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3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7.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3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4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4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4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4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46.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47.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48.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49.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50.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51.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2.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53.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5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55.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56.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57.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58.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59.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60.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6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6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6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6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6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66.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6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68.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69.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70.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71.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72.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73.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74.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75.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76.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77.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78.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79.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8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81.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notesSlides/notesSlide82.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83.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charts/chart7.xml" ContentType="application/vnd.openxmlformats-officedocument.drawingml.chart+xml"/>
  <Override PartName="/ppt/tags/tag234.xml" ContentType="application/vnd.openxmlformats-officedocument.presentationml.tags+xml"/>
  <Override PartName="/ppt/tags/tag235.xml" ContentType="application/vnd.openxmlformats-officedocument.presentationml.tags+xml"/>
  <Override PartName="/ppt/charts/chart8.xml" ContentType="application/vnd.openxmlformats-officedocument.drawingml.chart+xml"/>
  <Override PartName="/ppt/tags/tag236.xml" ContentType="application/vnd.openxmlformats-officedocument.presentationml.tags+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45.xml" ContentType="application/vnd.openxmlformats-officedocument.presentationml.tags+xml"/>
  <Override PartName="/ppt/notesSlides/notesSlide84.xml" ContentType="application/vnd.openxmlformats-officedocument.presentationml.notesSlide+xml"/>
  <Override PartName="/ppt/charts/chart16.xml" ContentType="application/vnd.openxmlformats-officedocument.drawingml.chart+xml"/>
  <Override PartName="/ppt/charts/style2.xml" ContentType="application/vnd.ms-office.chartstyle+xml"/>
  <Override PartName="/ppt/charts/colors2.xml" ContentType="application/vnd.ms-office.chartcolorstyle+xml"/>
  <Override PartName="/ppt/charts/chart17.xml" ContentType="application/vnd.openxmlformats-officedocument.drawingml.chart+xml"/>
  <Override PartName="/ppt/charts/style3.xml" ContentType="application/vnd.ms-office.chartstyle+xml"/>
  <Override PartName="/ppt/charts/colors3.xml" ContentType="application/vnd.ms-office.chartcolorstyl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85.xml" ContentType="application/vnd.openxmlformats-officedocument.presentationml.notesSlide+xml"/>
  <Override PartName="/ppt/tags/tag249.xml" ContentType="application/vnd.openxmlformats-officedocument.presentationml.tags+xml"/>
  <Override PartName="/ppt/notesSlides/notesSlide86.xml" ContentType="application/vnd.openxmlformats-officedocument.presentationml.notesSlide+xml"/>
  <Override PartName="/ppt/tags/tag250.xml" ContentType="application/vnd.openxmlformats-officedocument.presentationml.tags+xml"/>
  <Override PartName="/ppt/notesSlides/notesSlide87.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8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3"/>
  </p:notesMasterIdLst>
  <p:handoutMasterIdLst>
    <p:handoutMasterId r:id="rId194"/>
  </p:handoutMasterIdLst>
  <p:sldIdLst>
    <p:sldId id="1420" r:id="rId5"/>
    <p:sldId id="3419" r:id="rId6"/>
    <p:sldId id="1334" r:id="rId7"/>
    <p:sldId id="3418" r:id="rId8"/>
    <p:sldId id="1348" r:id="rId9"/>
    <p:sldId id="1384" r:id="rId10"/>
    <p:sldId id="1390" r:id="rId11"/>
    <p:sldId id="1412" r:id="rId12"/>
    <p:sldId id="3414" r:id="rId13"/>
    <p:sldId id="3408" r:id="rId14"/>
    <p:sldId id="3267" r:id="rId15"/>
    <p:sldId id="3268" r:id="rId16"/>
    <p:sldId id="3280" r:id="rId17"/>
    <p:sldId id="3410" r:id="rId18"/>
    <p:sldId id="3286" r:id="rId19"/>
    <p:sldId id="3270" r:id="rId20"/>
    <p:sldId id="3271" r:id="rId21"/>
    <p:sldId id="3272" r:id="rId22"/>
    <p:sldId id="3273" r:id="rId23"/>
    <p:sldId id="3287" r:id="rId24"/>
    <p:sldId id="3274" r:id="rId25"/>
    <p:sldId id="3275" r:id="rId26"/>
    <p:sldId id="3291" r:id="rId27"/>
    <p:sldId id="3283" r:id="rId28"/>
    <p:sldId id="3288" r:id="rId29"/>
    <p:sldId id="3334" r:id="rId30"/>
    <p:sldId id="3282" r:id="rId31"/>
    <p:sldId id="3265" r:id="rId32"/>
    <p:sldId id="3342" r:id="rId33"/>
    <p:sldId id="3343" r:id="rId34"/>
    <p:sldId id="3344" r:id="rId35"/>
    <p:sldId id="291" r:id="rId36"/>
    <p:sldId id="3289" r:id="rId37"/>
    <p:sldId id="3277" r:id="rId38"/>
    <p:sldId id="3279" r:id="rId39"/>
    <p:sldId id="3290" r:id="rId40"/>
    <p:sldId id="3278" r:id="rId41"/>
    <p:sldId id="3292" r:id="rId42"/>
    <p:sldId id="3298" r:id="rId43"/>
    <p:sldId id="3300" r:id="rId44"/>
    <p:sldId id="3301" r:id="rId45"/>
    <p:sldId id="3416" r:id="rId46"/>
    <p:sldId id="3296" r:id="rId47"/>
    <p:sldId id="3294" r:id="rId48"/>
    <p:sldId id="3305" r:id="rId49"/>
    <p:sldId id="3306" r:id="rId50"/>
    <p:sldId id="3354" r:id="rId51"/>
    <p:sldId id="3355" r:id="rId52"/>
    <p:sldId id="3356" r:id="rId53"/>
    <p:sldId id="3379" r:id="rId54"/>
    <p:sldId id="3315" r:id="rId55"/>
    <p:sldId id="3380" r:id="rId56"/>
    <p:sldId id="3316" r:id="rId57"/>
    <p:sldId id="3319" r:id="rId58"/>
    <p:sldId id="3366" r:id="rId59"/>
    <p:sldId id="3331" r:id="rId60"/>
    <p:sldId id="3324" r:id="rId61"/>
    <p:sldId id="3328" r:id="rId62"/>
    <p:sldId id="3330" r:id="rId63"/>
    <p:sldId id="300" r:id="rId64"/>
    <p:sldId id="3295" r:id="rId65"/>
    <p:sldId id="3417" r:id="rId66"/>
    <p:sldId id="3411" r:id="rId67"/>
    <p:sldId id="3303" r:id="rId68"/>
    <p:sldId id="3430" r:id="rId69"/>
    <p:sldId id="3352" r:id="rId70"/>
    <p:sldId id="3412" r:id="rId71"/>
    <p:sldId id="3310" r:id="rId72"/>
    <p:sldId id="3413" r:id="rId73"/>
    <p:sldId id="3311" r:id="rId74"/>
    <p:sldId id="3357" r:id="rId75"/>
    <p:sldId id="3321" r:id="rId76"/>
    <p:sldId id="3374" r:id="rId77"/>
    <p:sldId id="3375" r:id="rId78"/>
    <p:sldId id="3377" r:id="rId79"/>
    <p:sldId id="3391" r:id="rId80"/>
    <p:sldId id="3326" r:id="rId81"/>
    <p:sldId id="3381" r:id="rId82"/>
    <p:sldId id="3335" r:id="rId83"/>
    <p:sldId id="3340" r:id="rId84"/>
    <p:sldId id="3349" r:id="rId85"/>
    <p:sldId id="3350" r:id="rId86"/>
    <p:sldId id="3403" r:id="rId87"/>
    <p:sldId id="3351" r:id="rId88"/>
    <p:sldId id="3404" r:id="rId89"/>
    <p:sldId id="3384" r:id="rId90"/>
    <p:sldId id="3385" r:id="rId91"/>
    <p:sldId id="3386" r:id="rId92"/>
    <p:sldId id="3387" r:id="rId93"/>
    <p:sldId id="3406" r:id="rId94"/>
    <p:sldId id="287" r:id="rId95"/>
    <p:sldId id="3407" r:id="rId96"/>
    <p:sldId id="3420" r:id="rId97"/>
    <p:sldId id="1406" r:id="rId98"/>
    <p:sldId id="1335" r:id="rId99"/>
    <p:sldId id="1400" r:id="rId100"/>
    <p:sldId id="1402" r:id="rId101"/>
    <p:sldId id="1417" r:id="rId102"/>
    <p:sldId id="1418" r:id="rId103"/>
    <p:sldId id="1398" r:id="rId104"/>
    <p:sldId id="1414" r:id="rId105"/>
    <p:sldId id="1396" r:id="rId106"/>
    <p:sldId id="1336" r:id="rId107"/>
    <p:sldId id="1364" r:id="rId108"/>
    <p:sldId id="1338" r:id="rId109"/>
    <p:sldId id="1351" r:id="rId110"/>
    <p:sldId id="1363" r:id="rId111"/>
    <p:sldId id="1339" r:id="rId112"/>
    <p:sldId id="1350" r:id="rId113"/>
    <p:sldId id="1340" r:id="rId114"/>
    <p:sldId id="1341" r:id="rId115"/>
    <p:sldId id="1370" r:id="rId116"/>
    <p:sldId id="1352" r:id="rId117"/>
    <p:sldId id="1393" r:id="rId118"/>
    <p:sldId id="1408" r:id="rId119"/>
    <p:sldId id="1385" r:id="rId120"/>
    <p:sldId id="1380" r:id="rId121"/>
    <p:sldId id="1342" r:id="rId122"/>
    <p:sldId id="1357" r:id="rId123"/>
    <p:sldId id="1415" r:id="rId124"/>
    <p:sldId id="1397" r:id="rId125"/>
    <p:sldId id="1369" r:id="rId126"/>
    <p:sldId id="1343" r:id="rId127"/>
    <p:sldId id="1371" r:id="rId128"/>
    <p:sldId id="1362" r:id="rId129"/>
    <p:sldId id="1378" r:id="rId130"/>
    <p:sldId id="1377" r:id="rId131"/>
    <p:sldId id="1401" r:id="rId132"/>
    <p:sldId id="1365" r:id="rId133"/>
    <p:sldId id="1366" r:id="rId134"/>
    <p:sldId id="1374" r:id="rId135"/>
    <p:sldId id="1399" r:id="rId136"/>
    <p:sldId id="1416" r:id="rId137"/>
    <p:sldId id="1344" r:id="rId138"/>
    <p:sldId id="1407" r:id="rId139"/>
    <p:sldId id="1367" r:id="rId140"/>
    <p:sldId id="1349" r:id="rId141"/>
    <p:sldId id="1387" r:id="rId142"/>
    <p:sldId id="1355" r:id="rId143"/>
    <p:sldId id="1395" r:id="rId144"/>
    <p:sldId id="1372" r:id="rId145"/>
    <p:sldId id="1368" r:id="rId146"/>
    <p:sldId id="1356" r:id="rId147"/>
    <p:sldId id="1405" r:id="rId148"/>
    <p:sldId id="1394" r:id="rId149"/>
    <p:sldId id="1409" r:id="rId150"/>
    <p:sldId id="1347" r:id="rId151"/>
    <p:sldId id="1359" r:id="rId152"/>
    <p:sldId id="1375" r:id="rId153"/>
    <p:sldId id="1376" r:id="rId154"/>
    <p:sldId id="1346" r:id="rId155"/>
    <p:sldId id="1379" r:id="rId156"/>
    <p:sldId id="1388" r:id="rId157"/>
    <p:sldId id="1389" r:id="rId158"/>
    <p:sldId id="1381" r:id="rId159"/>
    <p:sldId id="1353" r:id="rId160"/>
    <p:sldId id="1410" r:id="rId161"/>
    <p:sldId id="1383" r:id="rId162"/>
    <p:sldId id="1360" r:id="rId163"/>
    <p:sldId id="1354" r:id="rId164"/>
    <p:sldId id="1361" r:id="rId165"/>
    <p:sldId id="1403" r:id="rId166"/>
    <p:sldId id="1358" r:id="rId167"/>
    <p:sldId id="1404" r:id="rId168"/>
    <p:sldId id="1345" r:id="rId169"/>
    <p:sldId id="1382" r:id="rId170"/>
    <p:sldId id="1392" r:id="rId171"/>
    <p:sldId id="1391" r:id="rId172"/>
    <p:sldId id="1337" r:id="rId173"/>
    <p:sldId id="1413" r:id="rId174"/>
    <p:sldId id="1373" r:id="rId175"/>
    <p:sldId id="1411" r:id="rId176"/>
    <p:sldId id="3421" r:id="rId177"/>
    <p:sldId id="3422" r:id="rId178"/>
    <p:sldId id="3425" r:id="rId179"/>
    <p:sldId id="3423" r:id="rId180"/>
    <p:sldId id="3426" r:id="rId181"/>
    <p:sldId id="3427" r:id="rId182"/>
    <p:sldId id="3428" r:id="rId183"/>
    <p:sldId id="3429" r:id="rId184"/>
    <p:sldId id="2865" r:id="rId185"/>
    <p:sldId id="3424" r:id="rId186"/>
    <p:sldId id="3161" r:id="rId187"/>
    <p:sldId id="500" r:id="rId188"/>
    <p:sldId id="504" r:id="rId189"/>
    <p:sldId id="3164" r:id="rId190"/>
    <p:sldId id="495" r:id="rId191"/>
    <p:sldId id="3177" r:id="rId192"/>
  </p:sldIdLst>
  <p:sldSz cx="12192000" cy="6858000"/>
  <p:notesSz cx="6858000" cy="9144000"/>
  <p:custDataLst>
    <p:tags r:id="rId195"/>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6C0E83F-732D-D84B-958E-49F765B3AAB6}">
          <p14:sldIdLst>
            <p14:sldId id="1420"/>
            <p14:sldId id="3419"/>
            <p14:sldId id="1334"/>
          </p14:sldIdLst>
        </p14:section>
        <p14:section name="Agendas" id="{2A980443-779E-9D4C-B52F-53468D73EE87}">
          <p14:sldIdLst>
            <p14:sldId id="3418"/>
            <p14:sldId id="1348"/>
            <p14:sldId id="1384"/>
            <p14:sldId id="1390"/>
            <p14:sldId id="1412"/>
            <p14:sldId id="3414"/>
            <p14:sldId id="3408"/>
            <p14:sldId id="3267"/>
            <p14:sldId id="3268"/>
            <p14:sldId id="3280"/>
            <p14:sldId id="3410"/>
            <p14:sldId id="3286"/>
            <p14:sldId id="3270"/>
            <p14:sldId id="3271"/>
            <p14:sldId id="3272"/>
            <p14:sldId id="3273"/>
            <p14:sldId id="3287"/>
            <p14:sldId id="3274"/>
            <p14:sldId id="3275"/>
            <p14:sldId id="3291"/>
            <p14:sldId id="3283"/>
            <p14:sldId id="3288"/>
            <p14:sldId id="3334"/>
            <p14:sldId id="3282"/>
            <p14:sldId id="3265"/>
            <p14:sldId id="3342"/>
            <p14:sldId id="3343"/>
            <p14:sldId id="3344"/>
            <p14:sldId id="291"/>
            <p14:sldId id="3289"/>
            <p14:sldId id="3277"/>
            <p14:sldId id="3279"/>
            <p14:sldId id="3290"/>
            <p14:sldId id="3278"/>
            <p14:sldId id="3292"/>
            <p14:sldId id="3298"/>
            <p14:sldId id="3300"/>
            <p14:sldId id="3301"/>
          </p14:sldIdLst>
        </p14:section>
        <p14:section name="Process" id="{5361FDA0-47D4-3A41-A161-4DBA7FF4C854}">
          <p14:sldIdLst>
            <p14:sldId id="3416"/>
            <p14:sldId id="3296"/>
            <p14:sldId id="3294"/>
            <p14:sldId id="3305"/>
            <p14:sldId id="3306"/>
            <p14:sldId id="3354"/>
            <p14:sldId id="3355"/>
            <p14:sldId id="3356"/>
            <p14:sldId id="3379"/>
            <p14:sldId id="3315"/>
            <p14:sldId id="3380"/>
            <p14:sldId id="3316"/>
            <p14:sldId id="3319"/>
            <p14:sldId id="3366"/>
            <p14:sldId id="3331"/>
            <p14:sldId id="3324"/>
            <p14:sldId id="3328"/>
            <p14:sldId id="3330"/>
            <p14:sldId id="300"/>
            <p14:sldId id="3295"/>
          </p14:sldIdLst>
        </p14:section>
        <p14:section name="Enumeration" id="{CF94A94E-FED9-C44B-9FEB-35FB8FF73437}">
          <p14:sldIdLst>
            <p14:sldId id="3417"/>
            <p14:sldId id="3411"/>
            <p14:sldId id="3303"/>
            <p14:sldId id="3430"/>
            <p14:sldId id="3352"/>
            <p14:sldId id="3412"/>
            <p14:sldId id="3310"/>
            <p14:sldId id="3413"/>
            <p14:sldId id="3311"/>
            <p14:sldId id="3357"/>
            <p14:sldId id="3321"/>
            <p14:sldId id="3374"/>
            <p14:sldId id="3375"/>
            <p14:sldId id="3377"/>
            <p14:sldId id="3391"/>
            <p14:sldId id="3326"/>
            <p14:sldId id="3381"/>
            <p14:sldId id="3335"/>
            <p14:sldId id="3340"/>
            <p14:sldId id="3349"/>
            <p14:sldId id="3350"/>
            <p14:sldId id="3403"/>
            <p14:sldId id="3351"/>
            <p14:sldId id="3404"/>
            <p14:sldId id="3384"/>
            <p14:sldId id="3385"/>
            <p14:sldId id="3386"/>
            <p14:sldId id="3387"/>
            <p14:sldId id="3406"/>
            <p14:sldId id="287"/>
            <p14:sldId id="3407"/>
          </p14:sldIdLst>
        </p14:section>
        <p14:section name="Illustration" id="{D4AB3D32-3FCF-A949-94B0-34925881615E}">
          <p14:sldIdLst>
            <p14:sldId id="3420"/>
            <p14:sldId id="1406"/>
            <p14:sldId id="1335"/>
            <p14:sldId id="1400"/>
            <p14:sldId id="1402"/>
            <p14:sldId id="1417"/>
            <p14:sldId id="1418"/>
            <p14:sldId id="1398"/>
            <p14:sldId id="1414"/>
            <p14:sldId id="1396"/>
            <p14:sldId id="1336"/>
            <p14:sldId id="1364"/>
            <p14:sldId id="1338"/>
            <p14:sldId id="1351"/>
            <p14:sldId id="1363"/>
            <p14:sldId id="1339"/>
            <p14:sldId id="1350"/>
            <p14:sldId id="1340"/>
            <p14:sldId id="1341"/>
            <p14:sldId id="1370"/>
            <p14:sldId id="1352"/>
            <p14:sldId id="1393"/>
            <p14:sldId id="1408"/>
            <p14:sldId id="1385"/>
            <p14:sldId id="1380"/>
            <p14:sldId id="1342"/>
            <p14:sldId id="1357"/>
            <p14:sldId id="1415"/>
            <p14:sldId id="1397"/>
            <p14:sldId id="1369"/>
            <p14:sldId id="1343"/>
            <p14:sldId id="1371"/>
            <p14:sldId id="1362"/>
            <p14:sldId id="1378"/>
            <p14:sldId id="1377"/>
            <p14:sldId id="1401"/>
            <p14:sldId id="1365"/>
            <p14:sldId id="1366"/>
            <p14:sldId id="1374"/>
            <p14:sldId id="1399"/>
            <p14:sldId id="1416"/>
            <p14:sldId id="1344"/>
            <p14:sldId id="1407"/>
            <p14:sldId id="1367"/>
            <p14:sldId id="1349"/>
            <p14:sldId id="1387"/>
            <p14:sldId id="1355"/>
            <p14:sldId id="1395"/>
            <p14:sldId id="1372"/>
            <p14:sldId id="1368"/>
            <p14:sldId id="1356"/>
            <p14:sldId id="1405"/>
            <p14:sldId id="1394"/>
            <p14:sldId id="1409"/>
            <p14:sldId id="1347"/>
            <p14:sldId id="1359"/>
            <p14:sldId id="1375"/>
            <p14:sldId id="1376"/>
            <p14:sldId id="1346"/>
            <p14:sldId id="1379"/>
            <p14:sldId id="1388"/>
            <p14:sldId id="1389"/>
            <p14:sldId id="1381"/>
            <p14:sldId id="1353"/>
            <p14:sldId id="1410"/>
            <p14:sldId id="1383"/>
            <p14:sldId id="1360"/>
            <p14:sldId id="1354"/>
            <p14:sldId id="1361"/>
            <p14:sldId id="1403"/>
            <p14:sldId id="1358"/>
            <p14:sldId id="1404"/>
            <p14:sldId id="1345"/>
            <p14:sldId id="1382"/>
            <p14:sldId id="1392"/>
            <p14:sldId id="1391"/>
            <p14:sldId id="1337"/>
            <p14:sldId id="1413"/>
            <p14:sldId id="1373"/>
            <p14:sldId id="1411"/>
          </p14:sldIdLst>
        </p14:section>
        <p14:section name="Addiitional Slides" id="{4EF7F301-8C86-E843-A50D-EC0E6D56B444}">
          <p14:sldIdLst>
            <p14:sldId id="3421"/>
            <p14:sldId id="3422"/>
            <p14:sldId id="3425"/>
            <p14:sldId id="3423"/>
            <p14:sldId id="3426"/>
            <p14:sldId id="3427"/>
            <p14:sldId id="3428"/>
            <p14:sldId id="3429"/>
            <p14:sldId id="2865"/>
            <p14:sldId id="3424"/>
            <p14:sldId id="3161"/>
            <p14:sldId id="500"/>
            <p14:sldId id="504"/>
            <p14:sldId id="3164"/>
            <p14:sldId id="495"/>
            <p14:sldId id="3177"/>
          </p14:sldIdLst>
        </p14:section>
      </p14:sectionLst>
    </p:ext>
    <p:ext uri="{EFAFB233-063F-42B5-8137-9DF3F51BA10A}">
      <p15:sldGuideLst xmlns:p15="http://schemas.microsoft.com/office/powerpoint/2012/main">
        <p15:guide id="1" orient="horz" pos="2205"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049"/>
    <a:srgbClr val="333657"/>
    <a:srgbClr val="8D8EA8"/>
    <a:srgbClr val="C9CAE1"/>
    <a:srgbClr val="4C4D6C"/>
    <a:srgbClr val="8D8EA7"/>
    <a:srgbClr val="024049"/>
    <a:srgbClr val="393838"/>
    <a:srgbClr val="00444C"/>
    <a:srgbClr val="0041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A871B5-2C71-5A44-B767-B29996E7B13F}" v="1" dt="2022-05-30T08:46:10.115"/>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997"/>
    <p:restoredTop sz="94830"/>
  </p:normalViewPr>
  <p:slideViewPr>
    <p:cSldViewPr snapToGrid="0">
      <p:cViewPr varScale="1">
        <p:scale>
          <a:sx n="113" d="100"/>
          <a:sy n="113" d="100"/>
        </p:scale>
        <p:origin x="208" y="352"/>
      </p:cViewPr>
      <p:guideLst>
        <p:guide orient="horz" pos="2205"/>
        <p:guide pos="3817"/>
      </p:guideLst>
    </p:cSldViewPr>
  </p:slideViewPr>
  <p:notesTextViewPr>
    <p:cViewPr>
      <p:scale>
        <a:sx n="1" d="1"/>
        <a:sy n="1" d="1"/>
      </p:scale>
      <p:origin x="0" y="0"/>
    </p:cViewPr>
  </p:notesTextViewPr>
  <p:notesViewPr>
    <p:cSldViewPr snapToGrid="0">
      <p:cViewPr>
        <p:scale>
          <a:sx n="1" d="2"/>
          <a:sy n="1" d="2"/>
        </p:scale>
        <p:origin x="4026" y="2016"/>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59" Type="http://schemas.openxmlformats.org/officeDocument/2006/relationships/slide" Target="slides/slide155.xml"/><Relationship Id="rId170" Type="http://schemas.openxmlformats.org/officeDocument/2006/relationships/slide" Target="slides/slide166.xml"/><Relationship Id="rId191" Type="http://schemas.openxmlformats.org/officeDocument/2006/relationships/slide" Target="slides/slide187.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slide" Target="slides/slide145.xml"/><Relationship Id="rId5" Type="http://schemas.openxmlformats.org/officeDocument/2006/relationships/slide" Target="slides/slide1.xml"/><Relationship Id="rId95" Type="http://schemas.openxmlformats.org/officeDocument/2006/relationships/slide" Target="slides/slide91.xml"/><Relationship Id="rId160" Type="http://schemas.openxmlformats.org/officeDocument/2006/relationships/slide" Target="slides/slide156.xml"/><Relationship Id="rId181" Type="http://schemas.openxmlformats.org/officeDocument/2006/relationships/slide" Target="slides/slide177.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5" Type="http://schemas.openxmlformats.org/officeDocument/2006/relationships/slide" Target="slides/slide81.xml"/><Relationship Id="rId150" Type="http://schemas.openxmlformats.org/officeDocument/2006/relationships/slide" Target="slides/slide146.xml"/><Relationship Id="rId171" Type="http://schemas.openxmlformats.org/officeDocument/2006/relationships/slide" Target="slides/slide167.xml"/><Relationship Id="rId192" Type="http://schemas.openxmlformats.org/officeDocument/2006/relationships/slide" Target="slides/slide188.xml"/><Relationship Id="rId12" Type="http://schemas.openxmlformats.org/officeDocument/2006/relationships/slide" Target="slides/slide8.xml"/><Relationship Id="rId33" Type="http://schemas.openxmlformats.org/officeDocument/2006/relationships/slide" Target="slides/slide29.xml"/><Relationship Id="rId108" Type="http://schemas.openxmlformats.org/officeDocument/2006/relationships/slide" Target="slides/slide104.xml"/><Relationship Id="rId129" Type="http://schemas.openxmlformats.org/officeDocument/2006/relationships/slide" Target="slides/slide125.xml"/><Relationship Id="rId54" Type="http://schemas.openxmlformats.org/officeDocument/2006/relationships/slide" Target="slides/slide50.xml"/><Relationship Id="rId75" Type="http://schemas.openxmlformats.org/officeDocument/2006/relationships/slide" Target="slides/slide71.xml"/><Relationship Id="rId96" Type="http://schemas.openxmlformats.org/officeDocument/2006/relationships/slide" Target="slides/slide92.xml"/><Relationship Id="rId140" Type="http://schemas.openxmlformats.org/officeDocument/2006/relationships/slide" Target="slides/slide136.xml"/><Relationship Id="rId161" Type="http://schemas.openxmlformats.org/officeDocument/2006/relationships/slide" Target="slides/slide157.xml"/><Relationship Id="rId182" Type="http://schemas.openxmlformats.org/officeDocument/2006/relationships/slide" Target="slides/slide178.xml"/><Relationship Id="rId6" Type="http://schemas.openxmlformats.org/officeDocument/2006/relationships/slide" Target="slides/slide2.xml"/><Relationship Id="rId23" Type="http://schemas.openxmlformats.org/officeDocument/2006/relationships/slide" Target="slides/slide19.xml"/><Relationship Id="rId119" Type="http://schemas.openxmlformats.org/officeDocument/2006/relationships/slide" Target="slides/slide115.xml"/><Relationship Id="rId44" Type="http://schemas.openxmlformats.org/officeDocument/2006/relationships/slide" Target="slides/slide40.xml"/><Relationship Id="rId65" Type="http://schemas.openxmlformats.org/officeDocument/2006/relationships/slide" Target="slides/slide61.xml"/><Relationship Id="rId86" Type="http://schemas.openxmlformats.org/officeDocument/2006/relationships/slide" Target="slides/slide82.xml"/><Relationship Id="rId130" Type="http://schemas.openxmlformats.org/officeDocument/2006/relationships/slide" Target="slides/slide126.xml"/><Relationship Id="rId151" Type="http://schemas.openxmlformats.org/officeDocument/2006/relationships/slide" Target="slides/slide147.xml"/><Relationship Id="rId172" Type="http://schemas.openxmlformats.org/officeDocument/2006/relationships/slide" Target="slides/slide168.xml"/><Relationship Id="rId193" Type="http://schemas.openxmlformats.org/officeDocument/2006/relationships/notesMaster" Target="notesMasters/notesMaster1.xml"/><Relationship Id="rId13" Type="http://schemas.openxmlformats.org/officeDocument/2006/relationships/slide" Target="slides/slide9.xml"/><Relationship Id="rId109" Type="http://schemas.openxmlformats.org/officeDocument/2006/relationships/slide" Target="slides/slide105.xml"/><Relationship Id="rId34" Type="http://schemas.openxmlformats.org/officeDocument/2006/relationships/slide" Target="slides/slide30.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20" Type="http://schemas.openxmlformats.org/officeDocument/2006/relationships/slide" Target="slides/slide116.xml"/><Relationship Id="rId141" Type="http://schemas.openxmlformats.org/officeDocument/2006/relationships/slide" Target="slides/slide137.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slide" Target="slides/slide158.xml"/><Relationship Id="rId183" Type="http://schemas.openxmlformats.org/officeDocument/2006/relationships/slide" Target="slides/slide179.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handoutMaster" Target="handoutMasters/handoutMaster1.xml"/><Relationship Id="rId199"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189" Type="http://schemas.openxmlformats.org/officeDocument/2006/relationships/slide" Target="slides/slide185.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79" Type="http://schemas.openxmlformats.org/officeDocument/2006/relationships/slide" Target="slides/slide175.xml"/><Relationship Id="rId195" Type="http://schemas.openxmlformats.org/officeDocument/2006/relationships/tags" Target="tags/tag1.xml"/><Relationship Id="rId190" Type="http://schemas.openxmlformats.org/officeDocument/2006/relationships/slide" Target="slides/slide186.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164" Type="http://schemas.openxmlformats.org/officeDocument/2006/relationships/slide" Target="slides/slide160.xml"/><Relationship Id="rId169" Type="http://schemas.openxmlformats.org/officeDocument/2006/relationships/slide" Target="slides/slide165.xml"/><Relationship Id="rId185" Type="http://schemas.openxmlformats.org/officeDocument/2006/relationships/slide" Target="slides/slide181.xml"/><Relationship Id="rId4" Type="http://schemas.openxmlformats.org/officeDocument/2006/relationships/slideMaster" Target="slideMasters/slideMaster1.xml"/><Relationship Id="rId9" Type="http://schemas.openxmlformats.org/officeDocument/2006/relationships/slide" Target="slides/slide5.xml"/><Relationship Id="rId180" Type="http://schemas.openxmlformats.org/officeDocument/2006/relationships/slide" Target="slides/slide176.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presProps" Target="presProps.xml"/><Relationship Id="rId200" Type="http://schemas.microsoft.com/office/2015/10/relationships/revisionInfo" Target="revisionInfo.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viewProps" Target="viewProps.xml"/><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theme" Target="theme/theme1.xml"/><Relationship Id="rId18" Type="http://schemas.openxmlformats.org/officeDocument/2006/relationships/slide" Target="slides/slide14.xml"/><Relationship Id="rId39" Type="http://schemas.openxmlformats.org/officeDocument/2006/relationships/slide" Target="slides/slide35.xml"/><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2.xml"/><Relationship Id="rId1" Type="http://schemas.microsoft.com/office/2011/relationships/chartStyle" Target="style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3.xml"/><Relationship Id="rId1" Type="http://schemas.microsoft.com/office/2011/relationships/chartStyle" Target="style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44920950180799"/>
          <c:y val="6.9859291285741004E-2"/>
          <c:w val="0.70551784182982402"/>
          <c:h val="0.86028141742851805"/>
        </c:manualLayout>
      </c:layout>
      <c:doughnutChart>
        <c:varyColors val="1"/>
        <c:ser>
          <c:idx val="0"/>
          <c:order val="0"/>
          <c:tx>
            <c:strRef>
              <c:f>Sheet1!$B$1</c:f>
              <c:strCache>
                <c:ptCount val="1"/>
                <c:pt idx="0">
                  <c:v>%</c:v>
                </c:pt>
              </c:strCache>
            </c:strRef>
          </c:tx>
          <c:dPt>
            <c:idx val="0"/>
            <c:bubble3D val="0"/>
            <c:spPr>
              <a:solidFill>
                <a:schemeClr val="accent4"/>
              </a:solidFill>
            </c:spPr>
            <c:extLst>
              <c:ext xmlns:c16="http://schemas.microsoft.com/office/drawing/2014/chart" uri="{C3380CC4-5D6E-409C-BE32-E72D297353CC}">
                <c16:uniqueId val="{00000001-5F03-1C41-AC30-4B302E62FEC2}"/>
              </c:ext>
            </c:extLst>
          </c:dPt>
          <c:dPt>
            <c:idx val="1"/>
            <c:bubble3D val="0"/>
            <c:spPr>
              <a:pattFill prst="ltDnDiag">
                <a:fgClr>
                  <a:schemeClr val="bg1">
                    <a:lumMod val="65000"/>
                  </a:schemeClr>
                </a:fgClr>
                <a:bgClr>
                  <a:schemeClr val="bg1">
                    <a:lumMod val="95000"/>
                  </a:schemeClr>
                </a:bgClr>
              </a:pattFill>
            </c:spPr>
            <c:extLst>
              <c:ext xmlns:c16="http://schemas.microsoft.com/office/drawing/2014/chart" uri="{C3380CC4-5D6E-409C-BE32-E72D297353CC}">
                <c16:uniqueId val="{00000003-5F03-1C41-AC30-4B302E62FEC2}"/>
              </c:ext>
            </c:extLst>
          </c:dPt>
          <c:cat>
            <c:strRef>
              <c:f>Sheet1!$A$2:$A$3</c:f>
              <c:strCache>
                <c:ptCount val="2"/>
                <c:pt idx="0">
                  <c:v>colored</c:v>
                </c:pt>
                <c:pt idx="1">
                  <c:v>blank</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5F03-1C41-AC30-4B302E62FEC2}"/>
            </c:ext>
          </c:extLst>
        </c:ser>
        <c:dLbls>
          <c:showLegendKey val="0"/>
          <c:showVal val="0"/>
          <c:showCatName val="0"/>
          <c:showSerName val="0"/>
          <c:showPercent val="0"/>
          <c:showBubbleSize val="0"/>
          <c:showLeaderLines val="1"/>
        </c:dLbls>
        <c:firstSliceAng val="0"/>
        <c:holeSize val="84"/>
      </c:doughnutChart>
    </c:plotArea>
    <c:plotVisOnly val="1"/>
    <c:dispBlanksAs val="gap"/>
    <c:showDLblsOverMax val="0"/>
  </c:chart>
  <c:txPr>
    <a:bodyPr/>
    <a:lstStyle/>
    <a:p>
      <a:pPr>
        <a:defRPr sz="1800"/>
      </a:pPr>
      <a:endParaRPr lang="en-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1C91-E84C-8F57-E8D2DAAE0C85}"/>
              </c:ext>
            </c:extLst>
          </c:dPt>
          <c:dPt>
            <c:idx val="1"/>
            <c:bubble3D val="0"/>
            <c:spPr>
              <a:noFill/>
            </c:spPr>
            <c:extLst>
              <c:ext xmlns:c16="http://schemas.microsoft.com/office/drawing/2014/chart" uri="{C3380CC4-5D6E-409C-BE32-E72D297353CC}">
                <c16:uniqueId val="{00000003-1C91-E84C-8F57-E8D2DAAE0C85}"/>
              </c:ext>
            </c:extLst>
          </c:dPt>
          <c:cat>
            <c:strRef>
              <c:f>Sheet1!$A$2:$A$3</c:f>
              <c:strCache>
                <c:ptCount val="2"/>
                <c:pt idx="0">
                  <c:v>1st Qtr</c:v>
                </c:pt>
                <c:pt idx="1">
                  <c:v>2nd Qtr</c:v>
                </c:pt>
              </c:strCache>
            </c:strRef>
          </c:cat>
          <c:val>
            <c:numRef>
              <c:f>Sheet1!$B$2:$B$3</c:f>
              <c:numCache>
                <c:formatCode>General</c:formatCode>
                <c:ptCount val="2"/>
                <c:pt idx="0">
                  <c:v>55</c:v>
                </c:pt>
                <c:pt idx="1">
                  <c:v>30</c:v>
                </c:pt>
              </c:numCache>
            </c:numRef>
          </c:val>
          <c:extLst>
            <c:ext xmlns:c16="http://schemas.microsoft.com/office/drawing/2014/chart" uri="{C3380CC4-5D6E-409C-BE32-E72D297353CC}">
              <c16:uniqueId val="{00000004-1C91-E84C-8F57-E8D2DAAE0C85}"/>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8CE5-0944-BF77-79E84459E86D}"/>
              </c:ext>
            </c:extLst>
          </c:dPt>
          <c:dPt>
            <c:idx val="1"/>
            <c:bubble3D val="0"/>
            <c:spPr>
              <a:noFill/>
            </c:spPr>
            <c:extLst>
              <c:ext xmlns:c16="http://schemas.microsoft.com/office/drawing/2014/chart" uri="{C3380CC4-5D6E-409C-BE32-E72D297353CC}">
                <c16:uniqueId val="{00000003-8CE5-0944-BF77-79E84459E86D}"/>
              </c:ext>
            </c:extLst>
          </c:dPt>
          <c:cat>
            <c:strRef>
              <c:f>Sheet1!$A$2:$A$3</c:f>
              <c:strCache>
                <c:ptCount val="2"/>
                <c:pt idx="0">
                  <c:v>1st Qtr</c:v>
                </c:pt>
                <c:pt idx="1">
                  <c:v>2nd Qtr</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8CE5-0944-BF77-79E84459E86D}"/>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3"/>
              </a:solidFill>
            </c:spPr>
            <c:extLst>
              <c:ext xmlns:c16="http://schemas.microsoft.com/office/drawing/2014/chart" uri="{C3380CC4-5D6E-409C-BE32-E72D297353CC}">
                <c16:uniqueId val="{00000001-9BAB-9844-AEE5-B35CC9D67428}"/>
              </c:ext>
            </c:extLst>
          </c:dPt>
          <c:dPt>
            <c:idx val="1"/>
            <c:bubble3D val="0"/>
            <c:spPr>
              <a:noFill/>
            </c:spPr>
            <c:extLst>
              <c:ext xmlns:c16="http://schemas.microsoft.com/office/drawing/2014/chart" uri="{C3380CC4-5D6E-409C-BE32-E72D297353CC}">
                <c16:uniqueId val="{00000003-9BAB-9844-AEE5-B35CC9D67428}"/>
              </c:ext>
            </c:extLst>
          </c:dPt>
          <c:cat>
            <c:strRef>
              <c:f>Sheet1!$A$2:$A$3</c:f>
              <c:strCache>
                <c:ptCount val="2"/>
                <c:pt idx="0">
                  <c:v>1st Qtr</c:v>
                </c:pt>
                <c:pt idx="1">
                  <c:v>2nd Qtr</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4-9BAB-9844-AEE5-B35CC9D67428}"/>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4"/>
              </a:solidFill>
            </c:spPr>
            <c:extLst>
              <c:ext xmlns:c16="http://schemas.microsoft.com/office/drawing/2014/chart" uri="{C3380CC4-5D6E-409C-BE32-E72D297353CC}">
                <c16:uniqueId val="{00000001-26AF-354C-8CA9-76A9A47BE3B6}"/>
              </c:ext>
            </c:extLst>
          </c:dPt>
          <c:dPt>
            <c:idx val="1"/>
            <c:bubble3D val="0"/>
            <c:spPr>
              <a:noFill/>
            </c:spPr>
            <c:extLst>
              <c:ext xmlns:c16="http://schemas.microsoft.com/office/drawing/2014/chart" uri="{C3380CC4-5D6E-409C-BE32-E72D297353CC}">
                <c16:uniqueId val="{00000003-26AF-354C-8CA9-76A9A47BE3B6}"/>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26AF-354C-8CA9-76A9A47BE3B6}"/>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483951277187252"/>
        </c:manualLayout>
      </c:layout>
      <c:doughnutChart>
        <c:varyColors val="1"/>
        <c:ser>
          <c:idx val="0"/>
          <c:order val="0"/>
          <c:tx>
            <c:strRef>
              <c:f>Sheet1!$B$1</c:f>
              <c:strCache>
                <c:ptCount val="1"/>
                <c:pt idx="0">
                  <c:v>%</c:v>
                </c:pt>
              </c:strCache>
            </c:strRef>
          </c:tx>
          <c:dPt>
            <c:idx val="0"/>
            <c:bubble3D val="0"/>
            <c:spPr>
              <a:solidFill>
                <a:schemeClr val="accent4"/>
              </a:solidFill>
            </c:spPr>
            <c:extLst>
              <c:ext xmlns:c16="http://schemas.microsoft.com/office/drawing/2014/chart" uri="{C3380CC4-5D6E-409C-BE32-E72D297353CC}">
                <c16:uniqueId val="{00000001-6AB9-964B-9933-318C08DE1F89}"/>
              </c:ext>
            </c:extLst>
          </c:dPt>
          <c:dPt>
            <c:idx val="1"/>
            <c:bubble3D val="0"/>
            <c:spPr>
              <a:solidFill>
                <a:schemeClr val="bg1">
                  <a:lumMod val="95000"/>
                </a:schemeClr>
              </a:solidFill>
            </c:spPr>
            <c:extLst>
              <c:ext xmlns:c16="http://schemas.microsoft.com/office/drawing/2014/chart" uri="{C3380CC4-5D6E-409C-BE32-E72D297353CC}">
                <c16:uniqueId val="{00000003-6AB9-964B-9933-318C08DE1F89}"/>
              </c:ext>
            </c:extLst>
          </c:dPt>
          <c:cat>
            <c:strRef>
              <c:f>Sheet1!$A$2:$A$3</c:f>
              <c:strCache>
                <c:ptCount val="2"/>
                <c:pt idx="0">
                  <c:v>colored</c:v>
                </c:pt>
                <c:pt idx="1">
                  <c:v>blank</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6AB9-964B-9933-318C08DE1F89}"/>
            </c:ext>
          </c:extLst>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en-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solidFill>
            </c:spPr>
            <c:extLst>
              <c:ext xmlns:c16="http://schemas.microsoft.com/office/drawing/2014/chart" uri="{C3380CC4-5D6E-409C-BE32-E72D297353CC}">
                <c16:uniqueId val="{00000001-8630-B645-B50F-03F46EC249A2}"/>
              </c:ext>
            </c:extLst>
          </c:dPt>
          <c:dPt>
            <c:idx val="1"/>
            <c:bubble3D val="0"/>
            <c:spPr>
              <a:noFill/>
            </c:spPr>
            <c:extLst>
              <c:ext xmlns:c16="http://schemas.microsoft.com/office/drawing/2014/chart" uri="{C3380CC4-5D6E-409C-BE32-E72D297353CC}">
                <c16:uniqueId val="{00000003-8630-B645-B50F-03F46EC249A2}"/>
              </c:ext>
            </c:extLst>
          </c:dPt>
          <c:cat>
            <c:strRef>
              <c:f>Sheet1!$A$2:$A$3</c:f>
              <c:strCache>
                <c:ptCount val="2"/>
                <c:pt idx="0">
                  <c:v>1st Qtr</c:v>
                </c:pt>
                <c:pt idx="1">
                  <c:v>2nd Qtr</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8630-B645-B50F-03F46EC249A2}"/>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4.5661827301382782E-2"/>
          <c:y val="0.14815910377581237"/>
          <c:w val="0.92009218569051054"/>
          <c:h val="0.75404479316944228"/>
        </c:manualLayout>
      </c:layout>
      <c:barChart>
        <c:barDir val="col"/>
        <c:grouping val="clustered"/>
        <c:varyColors val="0"/>
        <c:ser>
          <c:idx val="0"/>
          <c:order val="0"/>
          <c:tx>
            <c:strRef>
              <c:f>Sheet1!$B$1</c:f>
              <c:strCache>
                <c:ptCount val="1"/>
                <c:pt idx="0">
                  <c:v>data</c:v>
                </c:pt>
              </c:strCache>
            </c:strRef>
          </c:tx>
          <c:spPr>
            <a:solidFill>
              <a:srgbClr val="ADAAAB"/>
            </a:solidFill>
            <a:ln>
              <a:noFill/>
            </a:ln>
            <a:effectLst/>
          </c:spPr>
          <c:invertIfNegative val="0"/>
          <c:dPt>
            <c:idx val="1"/>
            <c:invertIfNegative val="0"/>
            <c:bubble3D val="0"/>
            <c:extLst>
              <c:ext xmlns:c16="http://schemas.microsoft.com/office/drawing/2014/chart" uri="{C3380CC4-5D6E-409C-BE32-E72D297353CC}">
                <c16:uniqueId val="{00000000-F2E3-D148-B098-BE96D43B782E}"/>
              </c:ext>
            </c:extLst>
          </c:dPt>
          <c:dPt>
            <c:idx val="2"/>
            <c:invertIfNegative val="0"/>
            <c:bubble3D val="0"/>
            <c:extLst>
              <c:ext xmlns:c16="http://schemas.microsoft.com/office/drawing/2014/chart" uri="{C3380CC4-5D6E-409C-BE32-E72D297353CC}">
                <c16:uniqueId val="{00000001-F2E3-D148-B098-BE96D43B782E}"/>
              </c:ext>
            </c:extLst>
          </c:dPt>
          <c:dPt>
            <c:idx val="3"/>
            <c:invertIfNegative val="0"/>
            <c:bubble3D val="0"/>
            <c:extLst>
              <c:ext xmlns:c16="http://schemas.microsoft.com/office/drawing/2014/chart" uri="{C3380CC4-5D6E-409C-BE32-E72D297353CC}">
                <c16:uniqueId val="{00000002-F2E3-D148-B098-BE96D43B782E}"/>
              </c:ext>
            </c:extLst>
          </c:dPt>
          <c:dPt>
            <c:idx val="4"/>
            <c:invertIfNegative val="0"/>
            <c:bubble3D val="0"/>
            <c:extLst>
              <c:ext xmlns:c16="http://schemas.microsoft.com/office/drawing/2014/chart" uri="{C3380CC4-5D6E-409C-BE32-E72D297353CC}">
                <c16:uniqueId val="{00000003-F2E3-D148-B098-BE96D43B782E}"/>
              </c:ext>
            </c:extLst>
          </c:dPt>
          <c:dPt>
            <c:idx val="5"/>
            <c:invertIfNegative val="0"/>
            <c:bubble3D val="0"/>
            <c:extLst>
              <c:ext xmlns:c16="http://schemas.microsoft.com/office/drawing/2014/chart" uri="{C3380CC4-5D6E-409C-BE32-E72D297353CC}">
                <c16:uniqueId val="{00000004-F2E3-D148-B098-BE96D43B782E}"/>
              </c:ext>
            </c:extLst>
          </c:dPt>
          <c:dPt>
            <c:idx val="7"/>
            <c:invertIfNegative val="0"/>
            <c:bubble3D val="0"/>
            <c:extLst>
              <c:ext xmlns:c16="http://schemas.microsoft.com/office/drawing/2014/chart" uri="{C3380CC4-5D6E-409C-BE32-E72D297353CC}">
                <c16:uniqueId val="{00000005-F2E3-D148-B098-BE96D43B782E}"/>
              </c:ext>
            </c:extLst>
          </c:dPt>
          <c:dPt>
            <c:idx val="8"/>
            <c:invertIfNegative val="0"/>
            <c:bubble3D val="0"/>
            <c:extLst>
              <c:ext xmlns:c16="http://schemas.microsoft.com/office/drawing/2014/chart" uri="{C3380CC4-5D6E-409C-BE32-E72D297353CC}">
                <c16:uniqueId val="{00000006-F2E3-D148-B098-BE96D43B782E}"/>
              </c:ext>
            </c:extLst>
          </c:dPt>
          <c:dPt>
            <c:idx val="9"/>
            <c:invertIfNegative val="0"/>
            <c:bubble3D val="0"/>
            <c:extLst>
              <c:ext xmlns:c16="http://schemas.microsoft.com/office/drawing/2014/chart" uri="{C3380CC4-5D6E-409C-BE32-E72D297353CC}">
                <c16:uniqueId val="{00000007-F2E3-D148-B098-BE96D43B782E}"/>
              </c:ext>
            </c:extLst>
          </c:dPt>
          <c:dPt>
            <c:idx val="10"/>
            <c:invertIfNegative val="0"/>
            <c:bubble3D val="0"/>
            <c:extLst>
              <c:ext xmlns:c16="http://schemas.microsoft.com/office/drawing/2014/chart" uri="{C3380CC4-5D6E-409C-BE32-E72D297353CC}">
                <c16:uniqueId val="{00000008-F2E3-D148-B098-BE96D43B782E}"/>
              </c:ext>
            </c:extLst>
          </c:dPt>
          <c:dPt>
            <c:idx val="11"/>
            <c:invertIfNegative val="0"/>
            <c:bubble3D val="0"/>
            <c:extLst>
              <c:ext xmlns:c16="http://schemas.microsoft.com/office/drawing/2014/chart" uri="{C3380CC4-5D6E-409C-BE32-E72D297353CC}">
                <c16:uniqueId val="{00000009-F2E3-D148-B098-BE96D43B782E}"/>
              </c:ext>
            </c:extLst>
          </c:dPt>
          <c:dLbls>
            <c:numFmt formatCode="General" sourceLinked="0"/>
            <c:spPr>
              <a:noFill/>
              <a:ln>
                <a:noFill/>
              </a:ln>
              <a:effectLst/>
            </c:spPr>
            <c:txPr>
              <a:bodyPr rot="0" spcFirstLastPara="1" vertOverflow="ellipsis" vert="horz" wrap="square" anchor="ctr" anchorCtr="1"/>
              <a:lstStyle/>
              <a:p>
                <a:pPr>
                  <a:defRPr sz="1400" b="0" i="0" u="none" strike="noStrike" kern="1200" baseline="0">
                    <a:solidFill>
                      <a:schemeClr val="bg2">
                        <a:lumMod val="50000"/>
                      </a:schemeClr>
                    </a:solidFill>
                    <a:latin typeface="Century Gothic" panose="020B0502020202020204" pitchFamily="34" charset="0"/>
                    <a:ea typeface="+mn-ea"/>
                    <a:cs typeface="+mn-cs"/>
                  </a:defRPr>
                </a:pPr>
                <a:endParaRPr lang="en-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90</c:v>
                </c:pt>
                <c:pt idx="1">
                  <c:v>80</c:v>
                </c:pt>
                <c:pt idx="2">
                  <c:v>84</c:v>
                </c:pt>
                <c:pt idx="3">
                  <c:v>68</c:v>
                </c:pt>
                <c:pt idx="4">
                  <c:v>90</c:v>
                </c:pt>
                <c:pt idx="5">
                  <c:v>75</c:v>
                </c:pt>
                <c:pt idx="6">
                  <c:v>63</c:v>
                </c:pt>
                <c:pt idx="7">
                  <c:v>65</c:v>
                </c:pt>
                <c:pt idx="8">
                  <c:v>90</c:v>
                </c:pt>
                <c:pt idx="9">
                  <c:v>80</c:v>
                </c:pt>
                <c:pt idx="10">
                  <c:v>47</c:v>
                </c:pt>
                <c:pt idx="11">
                  <c:v>85</c:v>
                </c:pt>
              </c:numCache>
            </c:numRef>
          </c:val>
          <c:extLst>
            <c:ext xmlns:c16="http://schemas.microsoft.com/office/drawing/2014/chart" uri="{C3380CC4-5D6E-409C-BE32-E72D297353CC}">
              <c16:uniqueId val="{0000000A-F2E3-D148-B098-BE96D43B782E}"/>
            </c:ext>
          </c:extLst>
        </c:ser>
        <c:dLbls>
          <c:showLegendKey val="0"/>
          <c:showVal val="0"/>
          <c:showCatName val="0"/>
          <c:showSerName val="0"/>
          <c:showPercent val="0"/>
          <c:showBubbleSize val="0"/>
        </c:dLbls>
        <c:gapWidth val="113"/>
        <c:overlap val="-70"/>
        <c:axId val="378231088"/>
        <c:axId val="378231648"/>
      </c:barChart>
      <c:catAx>
        <c:axId val="378231088"/>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2">
                    <a:lumMod val="50000"/>
                  </a:schemeClr>
                </a:solidFill>
                <a:latin typeface="Century Gothic" panose="020B0502020202020204" pitchFamily="34" charset="0"/>
                <a:ea typeface="+mn-ea"/>
                <a:cs typeface="+mn-cs"/>
              </a:defRPr>
            </a:pPr>
            <a:endParaRPr lang="en-DE"/>
          </a:p>
        </c:txPr>
        <c:crossAx val="378231648"/>
        <c:crosses val="autoZero"/>
        <c:auto val="1"/>
        <c:lblAlgn val="ctr"/>
        <c:lblOffset val="100"/>
        <c:noMultiLvlLbl val="0"/>
      </c:catAx>
      <c:valAx>
        <c:axId val="378231648"/>
        <c:scaling>
          <c:orientation val="minMax"/>
        </c:scaling>
        <c:delete val="1"/>
        <c:axPos val="l"/>
        <c:numFmt formatCode="General" sourceLinked="0"/>
        <c:majorTickMark val="none"/>
        <c:minorTickMark val="none"/>
        <c:tickLblPos val="low"/>
        <c:crossAx val="378231088"/>
        <c:crosses val="autoZero"/>
        <c:crossBetween val="between"/>
        <c:majorUnit val="20"/>
        <c:minorUnit val="10"/>
      </c:valAx>
      <c:spPr>
        <a:noFill/>
        <a:ln w="25400">
          <a:noFill/>
        </a:ln>
        <a:effectLst/>
      </c:spPr>
    </c:plotArea>
    <c:plotVisOnly val="1"/>
    <c:dispBlanksAs val="gap"/>
    <c:showDLblsOverMax val="0"/>
  </c:chart>
  <c:spPr>
    <a:noFill/>
    <a:ln>
      <a:noFill/>
    </a:ln>
    <a:effectLst/>
  </c:spPr>
  <c:txPr>
    <a:bodyPr/>
    <a:lstStyle/>
    <a:p>
      <a:pPr>
        <a:defRPr sz="1400">
          <a:latin typeface="Century Gothic" panose="020B0502020202020204" pitchFamily="34" charset="0"/>
        </a:defRPr>
      </a:pPr>
      <a:endParaRPr lang="en-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664547767719349E-2"/>
          <c:y val="0"/>
          <c:w val="0.91551414663583919"/>
          <c:h val="0.91109801473796481"/>
        </c:manualLayout>
      </c:layout>
      <c:areaChart>
        <c:grouping val="standard"/>
        <c:varyColors val="0"/>
        <c:ser>
          <c:idx val="1"/>
          <c:order val="1"/>
          <c:tx>
            <c:strRef>
              <c:f>Sheet1!$C$1</c:f>
              <c:strCache>
                <c:ptCount val="1"/>
                <c:pt idx="0">
                  <c:v>cost</c:v>
                </c:pt>
              </c:strCache>
            </c:strRef>
          </c:tx>
          <c:spPr>
            <a:gradFill flip="none" rotWithShape="1">
              <a:gsLst>
                <a:gs pos="100000">
                  <a:srgbClr val="D9D9D9"/>
                </a:gs>
                <a:gs pos="40000">
                  <a:schemeClr val="bg1">
                    <a:alpha val="0"/>
                  </a:schemeClr>
                </a:gs>
              </a:gsLst>
              <a:lin ang="16200000" scaled="1"/>
              <a:tileRect/>
            </a:gradFill>
            <a:ln>
              <a:noFill/>
            </a:ln>
            <a:effectLst/>
          </c:spPr>
          <c:dLbls>
            <c:delete val="1"/>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General</c:formatCode>
                <c:ptCount val="12"/>
                <c:pt idx="0">
                  <c:v>8.1999999999999993</c:v>
                </c:pt>
                <c:pt idx="1">
                  <c:v>4.3</c:v>
                </c:pt>
                <c:pt idx="2">
                  <c:v>5.9</c:v>
                </c:pt>
                <c:pt idx="3">
                  <c:v>7.6</c:v>
                </c:pt>
                <c:pt idx="4">
                  <c:v>3.5</c:v>
                </c:pt>
                <c:pt idx="5">
                  <c:v>9.1999999999999993</c:v>
                </c:pt>
                <c:pt idx="6">
                  <c:v>7</c:v>
                </c:pt>
                <c:pt idx="7">
                  <c:v>9.1999999999999993</c:v>
                </c:pt>
                <c:pt idx="8">
                  <c:v>8.1999999999999993</c:v>
                </c:pt>
                <c:pt idx="9">
                  <c:v>6</c:v>
                </c:pt>
                <c:pt idx="10">
                  <c:v>4</c:v>
                </c:pt>
                <c:pt idx="11">
                  <c:v>8.8000000000000007</c:v>
                </c:pt>
              </c:numCache>
            </c:numRef>
          </c:val>
          <c:extLst>
            <c:ext xmlns:c16="http://schemas.microsoft.com/office/drawing/2014/chart" uri="{C3380CC4-5D6E-409C-BE32-E72D297353CC}">
              <c16:uniqueId val="{00000000-562A-9F40-B646-4281F8530680}"/>
            </c:ext>
          </c:extLst>
        </c:ser>
        <c:dLbls>
          <c:showLegendKey val="0"/>
          <c:showVal val="1"/>
          <c:showCatName val="0"/>
          <c:showSerName val="0"/>
          <c:showPercent val="0"/>
          <c:showBubbleSize val="0"/>
        </c:dLbls>
        <c:axId val="354639808"/>
        <c:axId val="354639248"/>
      </c:areaChart>
      <c:lineChart>
        <c:grouping val="standard"/>
        <c:varyColors val="0"/>
        <c:ser>
          <c:idx val="0"/>
          <c:order val="0"/>
          <c:tx>
            <c:strRef>
              <c:f>Sheet1!$B$1</c:f>
              <c:strCache>
                <c:ptCount val="1"/>
                <c:pt idx="0">
                  <c:v>cost</c:v>
                </c:pt>
              </c:strCache>
            </c:strRef>
          </c:tx>
          <c:spPr>
            <a:ln w="38100" cap="rnd">
              <a:solidFill>
                <a:srgbClr val="ADAAAB"/>
              </a:solidFill>
              <a:round/>
            </a:ln>
            <a:effectLst/>
          </c:spPr>
          <c:marker>
            <c:symbol val="circle"/>
            <c:size val="12"/>
            <c:spPr>
              <a:solidFill>
                <a:srgbClr val="F1F1F1"/>
              </a:solidFill>
              <a:ln w="38100">
                <a:solidFill>
                  <a:srgbClr val="ADAAAB"/>
                </a:solidFill>
              </a:ln>
              <a:effectLst/>
            </c:spPr>
          </c:marker>
          <c:dLbls>
            <c:dLbl>
              <c:idx val="11"/>
              <c:layout>
                <c:manualLayout>
                  <c:x val="-3.3925165989256142E-2"/>
                  <c:y val="-3.51059813642129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2A-9F40-B646-4281F8530680}"/>
                </c:ext>
              </c:extLst>
            </c:dLbl>
            <c:spPr>
              <a:noFill/>
              <a:ln>
                <a:noFill/>
              </a:ln>
              <a:effectLst/>
            </c:spPr>
            <c:txPr>
              <a:bodyPr rot="0" spcFirstLastPara="1" vertOverflow="ellipsis" vert="horz" wrap="square" anchor="ctr" anchorCtr="1"/>
              <a:lstStyle/>
              <a:p>
                <a:pPr>
                  <a:defRPr sz="1400" b="0" i="0" u="none" strike="noStrike" kern="1200" spc="40" baseline="0">
                    <a:solidFill>
                      <a:schemeClr val="bg2">
                        <a:lumMod val="50000"/>
                      </a:schemeClr>
                    </a:solidFill>
                    <a:latin typeface="Century Gothic" panose="020B0502020202020204" pitchFamily="34" charset="0"/>
                    <a:ea typeface="+mn-ea"/>
                    <a:cs typeface="+mn-cs"/>
                  </a:defRPr>
                </a:pPr>
                <a:endParaRPr lang="en-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General</c:formatCode>
                <c:ptCount val="12"/>
                <c:pt idx="0">
                  <c:v>8.1999999999999993</c:v>
                </c:pt>
                <c:pt idx="1">
                  <c:v>4.3</c:v>
                </c:pt>
                <c:pt idx="2">
                  <c:v>5.9</c:v>
                </c:pt>
                <c:pt idx="3">
                  <c:v>7.6</c:v>
                </c:pt>
                <c:pt idx="4">
                  <c:v>3.5</c:v>
                </c:pt>
                <c:pt idx="5">
                  <c:v>9.1999999999999993</c:v>
                </c:pt>
                <c:pt idx="6">
                  <c:v>7</c:v>
                </c:pt>
                <c:pt idx="7">
                  <c:v>9.1999999999999993</c:v>
                </c:pt>
                <c:pt idx="8">
                  <c:v>8.1999999999999993</c:v>
                </c:pt>
                <c:pt idx="9">
                  <c:v>6</c:v>
                </c:pt>
                <c:pt idx="10">
                  <c:v>4</c:v>
                </c:pt>
                <c:pt idx="11">
                  <c:v>8.8000000000000007</c:v>
                </c:pt>
              </c:numCache>
            </c:numRef>
          </c:val>
          <c:smooth val="0"/>
          <c:extLst>
            <c:ext xmlns:c16="http://schemas.microsoft.com/office/drawing/2014/chart" uri="{C3380CC4-5D6E-409C-BE32-E72D297353CC}">
              <c16:uniqueId val="{00000002-562A-9F40-B646-4281F8530680}"/>
            </c:ext>
          </c:extLst>
        </c:ser>
        <c:dLbls>
          <c:showLegendKey val="0"/>
          <c:showVal val="1"/>
          <c:showCatName val="0"/>
          <c:showSerName val="0"/>
          <c:showPercent val="0"/>
          <c:showBubbleSize val="0"/>
        </c:dLbls>
        <c:marker val="1"/>
        <c:smooth val="0"/>
        <c:axId val="354639808"/>
        <c:axId val="354639248"/>
      </c:lineChart>
      <c:catAx>
        <c:axId val="354639808"/>
        <c:scaling>
          <c:orientation val="minMax"/>
        </c:scaling>
        <c:delete val="1"/>
        <c:axPos val="b"/>
        <c:numFmt formatCode="General" sourceLinked="1"/>
        <c:majorTickMark val="none"/>
        <c:minorTickMark val="none"/>
        <c:tickLblPos val="nextTo"/>
        <c:crossAx val="354639248"/>
        <c:crosses val="autoZero"/>
        <c:auto val="1"/>
        <c:lblAlgn val="ctr"/>
        <c:lblOffset val="100"/>
        <c:noMultiLvlLbl val="0"/>
      </c:catAx>
      <c:valAx>
        <c:axId val="354639248"/>
        <c:scaling>
          <c:orientation val="minMax"/>
          <c:max val="15"/>
          <c:min val="0"/>
        </c:scaling>
        <c:delete val="1"/>
        <c:axPos val="l"/>
        <c:numFmt formatCode="General" sourceLinked="1"/>
        <c:majorTickMark val="out"/>
        <c:minorTickMark val="none"/>
        <c:tickLblPos val="nextTo"/>
        <c:crossAx val="354639808"/>
        <c:crosses val="autoZero"/>
        <c:crossBetween val="midCat"/>
        <c:majorUnit val="5"/>
      </c:valAx>
      <c:spPr>
        <a:noFill/>
        <a:ln>
          <a:noFill/>
        </a:ln>
        <a:effectLst/>
      </c:spPr>
    </c:plotArea>
    <c:plotVisOnly val="1"/>
    <c:dispBlanksAs val="gap"/>
    <c:showDLblsOverMax val="0"/>
  </c:chart>
  <c:spPr>
    <a:noFill/>
    <a:ln>
      <a:noFill/>
    </a:ln>
    <a:effectLst/>
  </c:spPr>
  <c:txPr>
    <a:bodyPr/>
    <a:lstStyle/>
    <a:p>
      <a:pPr>
        <a:defRPr sz="1600" spc="40" baseline="0">
          <a:solidFill>
            <a:schemeClr val="bg2">
              <a:lumMod val="10000"/>
            </a:schemeClr>
          </a:solidFill>
          <a:latin typeface="Century Gothic" panose="020B0502020202020204" pitchFamily="34" charset="0"/>
        </a:defRPr>
      </a:pPr>
      <a:endParaRPr lang="en-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44920950180799"/>
          <c:y val="6.9859291285741004E-2"/>
          <c:w val="0.70551784182982402"/>
          <c:h val="0.86028141742851805"/>
        </c:manualLayout>
      </c:layout>
      <c:doughnutChart>
        <c:varyColors val="1"/>
        <c:ser>
          <c:idx val="0"/>
          <c:order val="0"/>
          <c:tx>
            <c:strRef>
              <c:f>Sheet1!$B$1</c:f>
              <c:strCache>
                <c:ptCount val="1"/>
                <c:pt idx="0">
                  <c:v>%</c:v>
                </c:pt>
              </c:strCache>
            </c:strRef>
          </c:tx>
          <c:dPt>
            <c:idx val="0"/>
            <c:bubble3D val="0"/>
            <c:spPr>
              <a:solidFill>
                <a:srgbClr val="8D8EA8"/>
              </a:solidFill>
            </c:spPr>
            <c:extLst>
              <c:ext xmlns:c16="http://schemas.microsoft.com/office/drawing/2014/chart" uri="{C3380CC4-5D6E-409C-BE32-E72D297353CC}">
                <c16:uniqueId val="{00000001-22FB-DF4A-98DC-443E1527FB25}"/>
              </c:ext>
            </c:extLst>
          </c:dPt>
          <c:dPt>
            <c:idx val="1"/>
            <c:bubble3D val="0"/>
            <c:spPr>
              <a:pattFill prst="ltDnDiag">
                <a:fgClr>
                  <a:schemeClr val="bg1">
                    <a:lumMod val="65000"/>
                  </a:schemeClr>
                </a:fgClr>
                <a:bgClr>
                  <a:schemeClr val="bg1">
                    <a:lumMod val="95000"/>
                  </a:schemeClr>
                </a:bgClr>
              </a:pattFill>
            </c:spPr>
            <c:extLst>
              <c:ext xmlns:c16="http://schemas.microsoft.com/office/drawing/2014/chart" uri="{C3380CC4-5D6E-409C-BE32-E72D297353CC}">
                <c16:uniqueId val="{00000003-22FB-DF4A-98DC-443E1527FB25}"/>
              </c:ext>
            </c:extLst>
          </c:dPt>
          <c:cat>
            <c:strRef>
              <c:f>Sheet1!$A$2:$A$3</c:f>
              <c:strCache>
                <c:ptCount val="2"/>
                <c:pt idx="0">
                  <c:v>colored</c:v>
                </c:pt>
                <c:pt idx="1">
                  <c:v>blank</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4-22FB-DF4A-98DC-443E1527FB25}"/>
            </c:ext>
          </c:extLst>
        </c:ser>
        <c:dLbls>
          <c:showLegendKey val="0"/>
          <c:showVal val="0"/>
          <c:showCatName val="0"/>
          <c:showSerName val="0"/>
          <c:showPercent val="0"/>
          <c:showBubbleSize val="0"/>
          <c:showLeaderLines val="1"/>
        </c:dLbls>
        <c:firstSliceAng val="0"/>
        <c:holeSize val="84"/>
      </c:doughnutChart>
    </c:plotArea>
    <c:plotVisOnly val="1"/>
    <c:dispBlanksAs val="gap"/>
    <c:showDLblsOverMax val="0"/>
  </c:chart>
  <c:txPr>
    <a:bodyPr/>
    <a:lstStyle/>
    <a:p>
      <a:pPr>
        <a:defRPr sz="1800"/>
      </a:pPr>
      <a:endParaRPr lang="en-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44920950180799"/>
          <c:y val="6.9859291285741004E-2"/>
          <c:w val="0.70551784182982402"/>
          <c:h val="0.86028141742851805"/>
        </c:manualLayout>
      </c:layout>
      <c:doughnutChart>
        <c:varyColors val="1"/>
        <c:ser>
          <c:idx val="0"/>
          <c:order val="0"/>
          <c:tx>
            <c:strRef>
              <c:f>Sheet1!$B$1</c:f>
              <c:strCache>
                <c:ptCount val="1"/>
                <c:pt idx="0">
                  <c:v>%</c:v>
                </c:pt>
              </c:strCache>
            </c:strRef>
          </c:tx>
          <c:dPt>
            <c:idx val="0"/>
            <c:bubble3D val="0"/>
            <c:spPr>
              <a:solidFill>
                <a:srgbClr val="8D8EA8"/>
              </a:solidFill>
            </c:spPr>
            <c:extLst>
              <c:ext xmlns:c16="http://schemas.microsoft.com/office/drawing/2014/chart" uri="{C3380CC4-5D6E-409C-BE32-E72D297353CC}">
                <c16:uniqueId val="{00000001-6313-1B4D-8A6C-8B860163B044}"/>
              </c:ext>
            </c:extLst>
          </c:dPt>
          <c:dPt>
            <c:idx val="1"/>
            <c:bubble3D val="0"/>
            <c:spPr>
              <a:pattFill prst="ltDnDiag">
                <a:fgClr>
                  <a:schemeClr val="bg1">
                    <a:lumMod val="65000"/>
                  </a:schemeClr>
                </a:fgClr>
                <a:bgClr>
                  <a:schemeClr val="bg1">
                    <a:lumMod val="95000"/>
                  </a:schemeClr>
                </a:bgClr>
              </a:pattFill>
            </c:spPr>
            <c:extLst>
              <c:ext xmlns:c16="http://schemas.microsoft.com/office/drawing/2014/chart" uri="{C3380CC4-5D6E-409C-BE32-E72D297353CC}">
                <c16:uniqueId val="{00000003-6313-1B4D-8A6C-8B860163B044}"/>
              </c:ext>
            </c:extLst>
          </c:dPt>
          <c:cat>
            <c:strRef>
              <c:f>Sheet1!$A$2:$A$3</c:f>
              <c:strCache>
                <c:ptCount val="2"/>
                <c:pt idx="0">
                  <c:v>colored</c:v>
                </c:pt>
                <c:pt idx="1">
                  <c:v>blank</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6313-1B4D-8A6C-8B860163B044}"/>
            </c:ext>
          </c:extLst>
        </c:ser>
        <c:dLbls>
          <c:showLegendKey val="0"/>
          <c:showVal val="0"/>
          <c:showCatName val="0"/>
          <c:showSerName val="0"/>
          <c:showPercent val="0"/>
          <c:showBubbleSize val="0"/>
          <c:showLeaderLines val="1"/>
        </c:dLbls>
        <c:firstSliceAng val="0"/>
        <c:holeSize val="84"/>
      </c:doughnutChart>
    </c:plotArea>
    <c:plotVisOnly val="1"/>
    <c:dispBlanksAs val="gap"/>
    <c:showDLblsOverMax val="0"/>
  </c:chart>
  <c:txPr>
    <a:bodyPr/>
    <a:lstStyle/>
    <a:p>
      <a:pPr>
        <a:defRPr sz="1800"/>
      </a:pPr>
      <a:endParaRPr lang="en-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44920950180799"/>
          <c:y val="6.9859291285741004E-2"/>
          <c:w val="0.70551784182982402"/>
          <c:h val="0.86028141742851805"/>
        </c:manualLayout>
      </c:layout>
      <c:doughnutChart>
        <c:varyColors val="1"/>
        <c:ser>
          <c:idx val="0"/>
          <c:order val="0"/>
          <c:tx>
            <c:strRef>
              <c:f>Sheet1!$B$1</c:f>
              <c:strCache>
                <c:ptCount val="1"/>
                <c:pt idx="0">
                  <c:v>%</c:v>
                </c:pt>
              </c:strCache>
            </c:strRef>
          </c:tx>
          <c:dPt>
            <c:idx val="0"/>
            <c:bubble3D val="0"/>
            <c:spPr>
              <a:solidFill>
                <a:srgbClr val="8D8EA8"/>
              </a:solidFill>
            </c:spPr>
            <c:extLst>
              <c:ext xmlns:c16="http://schemas.microsoft.com/office/drawing/2014/chart" uri="{C3380CC4-5D6E-409C-BE32-E72D297353CC}">
                <c16:uniqueId val="{00000001-30EE-8746-9402-5565D5E85BBF}"/>
              </c:ext>
            </c:extLst>
          </c:dPt>
          <c:dPt>
            <c:idx val="1"/>
            <c:bubble3D val="0"/>
            <c:spPr>
              <a:pattFill prst="ltDnDiag">
                <a:fgClr>
                  <a:schemeClr val="bg1">
                    <a:lumMod val="65000"/>
                  </a:schemeClr>
                </a:fgClr>
                <a:bgClr>
                  <a:schemeClr val="bg1">
                    <a:lumMod val="95000"/>
                  </a:schemeClr>
                </a:bgClr>
              </a:pattFill>
            </c:spPr>
            <c:extLst>
              <c:ext xmlns:c16="http://schemas.microsoft.com/office/drawing/2014/chart" uri="{C3380CC4-5D6E-409C-BE32-E72D297353CC}">
                <c16:uniqueId val="{00000003-30EE-8746-9402-5565D5E85BBF}"/>
              </c:ext>
            </c:extLst>
          </c:dPt>
          <c:cat>
            <c:strRef>
              <c:f>Sheet1!$A$2:$A$3</c:f>
              <c:strCache>
                <c:ptCount val="2"/>
                <c:pt idx="0">
                  <c:v>colored</c:v>
                </c:pt>
                <c:pt idx="1">
                  <c:v>blank</c:v>
                </c:pt>
              </c:strCache>
            </c:strRef>
          </c:cat>
          <c:val>
            <c:numRef>
              <c:f>Sheet1!$B$2:$B$3</c:f>
              <c:numCache>
                <c:formatCode>General</c:formatCode>
                <c:ptCount val="2"/>
                <c:pt idx="0">
                  <c:v>60</c:v>
                </c:pt>
                <c:pt idx="1">
                  <c:v>20</c:v>
                </c:pt>
              </c:numCache>
            </c:numRef>
          </c:val>
          <c:extLst>
            <c:ext xmlns:c16="http://schemas.microsoft.com/office/drawing/2014/chart" uri="{C3380CC4-5D6E-409C-BE32-E72D297353CC}">
              <c16:uniqueId val="{00000004-30EE-8746-9402-5565D5E85BBF}"/>
            </c:ext>
          </c:extLst>
        </c:ser>
        <c:dLbls>
          <c:showLegendKey val="0"/>
          <c:showVal val="0"/>
          <c:showCatName val="0"/>
          <c:showSerName val="0"/>
          <c:showPercent val="0"/>
          <c:showBubbleSize val="0"/>
          <c:showLeaderLines val="1"/>
        </c:dLbls>
        <c:firstSliceAng val="0"/>
        <c:holeSize val="84"/>
      </c:doughnutChart>
    </c:plotArea>
    <c:plotVisOnly val="1"/>
    <c:dispBlanksAs val="gap"/>
    <c:showDLblsOverMax val="0"/>
  </c:chart>
  <c:txPr>
    <a:bodyPr/>
    <a:lstStyle/>
    <a:p>
      <a:pPr>
        <a:defRPr sz="1800"/>
      </a:pPr>
      <a:endParaRPr lang="en-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w="38100">
              <a:noFill/>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244-9C44-87DE-0FE69A49CCC7}"/>
            </c:ext>
          </c:extLst>
        </c:ser>
        <c:dLbls>
          <c:showLegendKey val="0"/>
          <c:showVal val="0"/>
          <c:showCatName val="0"/>
          <c:showSerName val="0"/>
          <c:showPercent val="0"/>
          <c:showBubbleSize val="0"/>
        </c:dLbls>
        <c:gapWidth val="50"/>
        <c:axId val="167468416"/>
        <c:axId val="167494784"/>
      </c:barChart>
      <c:catAx>
        <c:axId val="167468416"/>
        <c:scaling>
          <c:orientation val="minMax"/>
        </c:scaling>
        <c:delete val="1"/>
        <c:axPos val="b"/>
        <c:numFmt formatCode="General" sourceLinked="0"/>
        <c:majorTickMark val="out"/>
        <c:minorTickMark val="none"/>
        <c:tickLblPos val="nextTo"/>
        <c:crossAx val="167494784"/>
        <c:crosses val="autoZero"/>
        <c:auto val="1"/>
        <c:lblAlgn val="ctr"/>
        <c:lblOffset val="100"/>
        <c:noMultiLvlLbl val="0"/>
      </c:catAx>
      <c:valAx>
        <c:axId val="167494784"/>
        <c:scaling>
          <c:orientation val="minMax"/>
        </c:scaling>
        <c:delete val="1"/>
        <c:axPos val="l"/>
        <c:majorGridlines>
          <c:spPr>
            <a:ln>
              <a:noFill/>
            </a:ln>
          </c:spPr>
        </c:majorGridlines>
        <c:numFmt formatCode="General" sourceLinked="1"/>
        <c:majorTickMark val="out"/>
        <c:minorTickMark val="none"/>
        <c:tickLblPos val="nextTo"/>
        <c:crossAx val="167468416"/>
        <c:crosses val="autoZero"/>
        <c:crossBetween val="between"/>
      </c:valAx>
      <c:spPr>
        <a:solidFill>
          <a:schemeClr val="bg1">
            <a:alpha val="19000"/>
          </a:schemeClr>
        </a:solidFill>
        <a:ln>
          <a:noFill/>
        </a:ln>
      </c:spPr>
    </c:plotArea>
    <c:plotVisOnly val="1"/>
    <c:dispBlanksAs val="gap"/>
    <c:showDLblsOverMax val="0"/>
  </c:chart>
  <c:txPr>
    <a:bodyPr/>
    <a:lstStyle/>
    <a:p>
      <a:pPr>
        <a:defRPr sz="1800"/>
      </a:pPr>
      <a:endParaRPr lang="en-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6"/>
            </a:solidFill>
            <a:ln w="38100">
              <a:noFill/>
            </a:ln>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0C8-DD4B-8F6B-CBF578E9AA92}"/>
            </c:ext>
          </c:extLst>
        </c:ser>
        <c:dLbls>
          <c:showLegendKey val="0"/>
          <c:showVal val="0"/>
          <c:showCatName val="0"/>
          <c:showSerName val="0"/>
          <c:showPercent val="0"/>
          <c:showBubbleSize val="0"/>
        </c:dLbls>
        <c:gapWidth val="50"/>
        <c:axId val="167468416"/>
        <c:axId val="167494784"/>
      </c:barChart>
      <c:catAx>
        <c:axId val="167468416"/>
        <c:scaling>
          <c:orientation val="minMax"/>
        </c:scaling>
        <c:delete val="1"/>
        <c:axPos val="b"/>
        <c:numFmt formatCode="General" sourceLinked="0"/>
        <c:majorTickMark val="out"/>
        <c:minorTickMark val="none"/>
        <c:tickLblPos val="nextTo"/>
        <c:crossAx val="167494784"/>
        <c:crosses val="autoZero"/>
        <c:auto val="1"/>
        <c:lblAlgn val="ctr"/>
        <c:lblOffset val="100"/>
        <c:noMultiLvlLbl val="0"/>
      </c:catAx>
      <c:valAx>
        <c:axId val="167494784"/>
        <c:scaling>
          <c:orientation val="minMax"/>
        </c:scaling>
        <c:delete val="1"/>
        <c:axPos val="l"/>
        <c:majorGridlines>
          <c:spPr>
            <a:ln>
              <a:noFill/>
            </a:ln>
          </c:spPr>
        </c:majorGridlines>
        <c:numFmt formatCode="General" sourceLinked="1"/>
        <c:majorTickMark val="out"/>
        <c:minorTickMark val="none"/>
        <c:tickLblPos val="nextTo"/>
        <c:crossAx val="167468416"/>
        <c:crosses val="autoZero"/>
        <c:crossBetween val="between"/>
      </c:valAx>
      <c:spPr>
        <a:solidFill>
          <a:schemeClr val="bg1">
            <a:alpha val="19000"/>
          </a:schemeClr>
        </a:solidFill>
        <a:ln>
          <a:noFill/>
        </a:ln>
      </c:spPr>
    </c:plotArea>
    <c:plotVisOnly val="1"/>
    <c:dispBlanksAs val="gap"/>
    <c:showDLblsOverMax val="0"/>
  </c:chart>
  <c:txPr>
    <a:bodyPr/>
    <a:lstStyle/>
    <a:p>
      <a:pPr>
        <a:defRPr sz="1800"/>
      </a:pPr>
      <a:endParaRPr lang="en-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2"/>
            </a:solidFill>
            <a:ln w="31750" cap="rnd" cmpd="sng">
              <a:noFill/>
            </a:ln>
          </c:spPr>
          <c:invertIfNegative val="0"/>
          <c:cat>
            <c:strRef>
              <c:f>Sheet1!$A$2:$A$6</c:f>
              <c:strCache>
                <c:ptCount val="4"/>
                <c:pt idx="0">
                  <c:v>Category 1</c:v>
                </c:pt>
                <c:pt idx="1">
                  <c:v>Category 2</c:v>
                </c:pt>
                <c:pt idx="2">
                  <c:v>Category 3</c:v>
                </c:pt>
                <c:pt idx="3">
                  <c:v>Category 4</c:v>
                </c:pt>
              </c:strCache>
            </c:strRef>
          </c:cat>
          <c:val>
            <c:numRef>
              <c:f>Sheet1!$B$2:$B$6</c:f>
              <c:numCache>
                <c:formatCode>General</c:formatCode>
                <c:ptCount val="5"/>
                <c:pt idx="0">
                  <c:v>30</c:v>
                </c:pt>
                <c:pt idx="1">
                  <c:v>45</c:v>
                </c:pt>
                <c:pt idx="2">
                  <c:v>60</c:v>
                </c:pt>
                <c:pt idx="3">
                  <c:v>80</c:v>
                </c:pt>
                <c:pt idx="4">
                  <c:v>90</c:v>
                </c:pt>
              </c:numCache>
            </c:numRef>
          </c:val>
          <c:extLst>
            <c:ext xmlns:c16="http://schemas.microsoft.com/office/drawing/2014/chart" uri="{C3380CC4-5D6E-409C-BE32-E72D297353CC}">
              <c16:uniqueId val="{00000000-61B9-D444-B3B3-F5915DB9E349}"/>
            </c:ext>
          </c:extLst>
        </c:ser>
        <c:dLbls>
          <c:showLegendKey val="0"/>
          <c:showVal val="0"/>
          <c:showCatName val="0"/>
          <c:showSerName val="0"/>
          <c:showPercent val="0"/>
          <c:showBubbleSize val="0"/>
        </c:dLbls>
        <c:gapWidth val="360"/>
        <c:overlap val="100"/>
        <c:axId val="-1959892848"/>
        <c:axId val="-1959893392"/>
      </c:barChart>
      <c:catAx>
        <c:axId val="-1959892848"/>
        <c:scaling>
          <c:orientation val="minMax"/>
        </c:scaling>
        <c:delete val="1"/>
        <c:axPos val="b"/>
        <c:numFmt formatCode="General" sourceLinked="0"/>
        <c:majorTickMark val="out"/>
        <c:minorTickMark val="none"/>
        <c:tickLblPos val="nextTo"/>
        <c:crossAx val="-1959893392"/>
        <c:crosses val="autoZero"/>
        <c:auto val="1"/>
        <c:lblAlgn val="ctr"/>
        <c:lblOffset val="100"/>
        <c:noMultiLvlLbl val="0"/>
      </c:catAx>
      <c:valAx>
        <c:axId val="-1959893392"/>
        <c:scaling>
          <c:orientation val="minMax"/>
        </c:scaling>
        <c:delete val="1"/>
        <c:axPos val="l"/>
        <c:majorGridlines>
          <c:spPr>
            <a:ln>
              <a:noFill/>
            </a:ln>
          </c:spPr>
        </c:majorGridlines>
        <c:numFmt formatCode="General" sourceLinked="1"/>
        <c:majorTickMark val="out"/>
        <c:minorTickMark val="none"/>
        <c:tickLblPos val="nextTo"/>
        <c:crossAx val="-1959892848"/>
        <c:crosses val="autoZero"/>
        <c:crossBetween val="between"/>
      </c:valAx>
    </c:plotArea>
    <c:plotVisOnly val="1"/>
    <c:dispBlanksAs val="gap"/>
    <c:showDLblsOverMax val="0"/>
  </c:chart>
  <c:txPr>
    <a:bodyPr/>
    <a:lstStyle/>
    <a:p>
      <a:pPr>
        <a:defRPr sz="1800"/>
      </a:pPr>
      <a:endParaRPr lang="en-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290487608145588E-2"/>
          <c:y val="5.7022637795275589E-2"/>
          <c:w val="0.83759195610226722"/>
          <c:h val="0.984375"/>
        </c:manualLayout>
      </c:layout>
      <c:pieChart>
        <c:varyColors val="1"/>
        <c:ser>
          <c:idx val="0"/>
          <c:order val="0"/>
          <c:tx>
            <c:strRef>
              <c:f>Sheet1!$B$1</c:f>
              <c:strCache>
                <c:ptCount val="1"/>
                <c:pt idx="0">
                  <c:v>Sales</c:v>
                </c:pt>
              </c:strCache>
            </c:strRef>
          </c:tx>
          <c:dPt>
            <c:idx val="0"/>
            <c:bubble3D val="0"/>
            <c:spPr>
              <a:solidFill>
                <a:srgbClr val="8D8EA7"/>
              </a:solidFill>
            </c:spPr>
            <c:extLst>
              <c:ext xmlns:c16="http://schemas.microsoft.com/office/drawing/2014/chart" uri="{C3380CC4-5D6E-409C-BE32-E72D297353CC}">
                <c16:uniqueId val="{00000001-F341-B148-8032-370BA26A4F6A}"/>
              </c:ext>
            </c:extLst>
          </c:dPt>
          <c:dPt>
            <c:idx val="1"/>
            <c:bubble3D val="0"/>
            <c:spPr>
              <a:solidFill>
                <a:srgbClr val="333657"/>
              </a:solidFill>
            </c:spPr>
            <c:extLst>
              <c:ext xmlns:c16="http://schemas.microsoft.com/office/drawing/2014/chart" uri="{C3380CC4-5D6E-409C-BE32-E72D297353CC}">
                <c16:uniqueId val="{00000003-F341-B148-8032-370BA26A4F6A}"/>
              </c:ext>
            </c:extLst>
          </c:dPt>
          <c:dPt>
            <c:idx val="2"/>
            <c:bubble3D val="0"/>
            <c:spPr>
              <a:solidFill>
                <a:schemeClr val="bg1">
                  <a:lumMod val="75000"/>
                </a:schemeClr>
              </a:solidFill>
            </c:spPr>
            <c:extLst>
              <c:ext xmlns:c16="http://schemas.microsoft.com/office/drawing/2014/chart" uri="{C3380CC4-5D6E-409C-BE32-E72D297353CC}">
                <c16:uniqueId val="{00000005-F341-B148-8032-370BA26A4F6A}"/>
              </c:ext>
            </c:extLst>
          </c:dPt>
          <c:cat>
            <c:strRef>
              <c:f>Sheet1!$A$2:$A$4</c:f>
              <c:strCache>
                <c:ptCount val="3"/>
                <c:pt idx="0">
                  <c:v>1st Qtr</c:v>
                </c:pt>
                <c:pt idx="1">
                  <c:v>2nd Qtr</c:v>
                </c:pt>
                <c:pt idx="2">
                  <c:v>3rd Qtr</c:v>
                </c:pt>
              </c:strCache>
            </c:strRef>
          </c:cat>
          <c:val>
            <c:numRef>
              <c:f>Sheet1!$B$2:$B$4</c:f>
              <c:numCache>
                <c:formatCode>General</c:formatCode>
                <c:ptCount val="3"/>
                <c:pt idx="0">
                  <c:v>45</c:v>
                </c:pt>
                <c:pt idx="1">
                  <c:v>30</c:v>
                </c:pt>
                <c:pt idx="2">
                  <c:v>25</c:v>
                </c:pt>
              </c:numCache>
            </c:numRef>
          </c:val>
          <c:extLst>
            <c:ext xmlns:c16="http://schemas.microsoft.com/office/drawing/2014/chart" uri="{C3380CC4-5D6E-409C-BE32-E72D297353CC}">
              <c16:uniqueId val="{00000006-F341-B148-8032-370BA26A4F6A}"/>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515455420878415E-2"/>
          <c:y val="2.8166071099168931E-2"/>
          <c:w val="0.89529531015629416"/>
          <c:h val="0.95162544490714984"/>
        </c:manualLayout>
      </c:layout>
      <c:doughnutChart>
        <c:varyColors val="1"/>
        <c:ser>
          <c:idx val="0"/>
          <c:order val="0"/>
          <c:tx>
            <c:strRef>
              <c:f>Sheet1!$B$1</c:f>
              <c:strCache>
                <c:ptCount val="1"/>
                <c:pt idx="0">
                  <c:v>Text</c:v>
                </c:pt>
              </c:strCache>
            </c:strRef>
          </c:tx>
          <c:dPt>
            <c:idx val="0"/>
            <c:bubble3D val="0"/>
            <c:spPr>
              <a:solidFill>
                <a:schemeClr val="accent3"/>
              </a:solidFill>
              <a:ln w="19050">
                <a:noFill/>
              </a:ln>
              <a:effectLst/>
            </c:spPr>
            <c:extLst>
              <c:ext xmlns:c16="http://schemas.microsoft.com/office/drawing/2014/chart" uri="{C3380CC4-5D6E-409C-BE32-E72D297353CC}">
                <c16:uniqueId val="{00000001-79CB-F149-9E4D-827557AA75C3}"/>
              </c:ext>
            </c:extLst>
          </c:dPt>
          <c:dPt>
            <c:idx val="1"/>
            <c:bubble3D val="0"/>
            <c:spPr>
              <a:solidFill>
                <a:schemeClr val="accent4"/>
              </a:solidFill>
              <a:ln w="19050">
                <a:noFill/>
              </a:ln>
              <a:effectLst/>
            </c:spPr>
            <c:extLst>
              <c:ext xmlns:c16="http://schemas.microsoft.com/office/drawing/2014/chart" uri="{C3380CC4-5D6E-409C-BE32-E72D297353CC}">
                <c16:uniqueId val="{00000003-79CB-F149-9E4D-827557AA75C3}"/>
              </c:ext>
            </c:extLst>
          </c:dPt>
          <c:dPt>
            <c:idx val="2"/>
            <c:bubble3D val="0"/>
            <c:spPr>
              <a:solidFill>
                <a:schemeClr val="accent5"/>
              </a:solidFill>
              <a:ln w="19050">
                <a:noFill/>
              </a:ln>
              <a:effectLst/>
            </c:spPr>
            <c:extLst>
              <c:ext xmlns:c16="http://schemas.microsoft.com/office/drawing/2014/chart" uri="{C3380CC4-5D6E-409C-BE32-E72D297353CC}">
                <c16:uniqueId val="{00000005-79CB-F149-9E4D-827557AA75C3}"/>
              </c:ext>
            </c:extLst>
          </c:dPt>
          <c:dPt>
            <c:idx val="3"/>
            <c:bubble3D val="0"/>
            <c:spPr>
              <a:noFill/>
              <a:ln w="19050">
                <a:noFill/>
              </a:ln>
              <a:effectLst/>
            </c:spPr>
            <c:extLst>
              <c:ext xmlns:c16="http://schemas.microsoft.com/office/drawing/2014/chart" uri="{C3380CC4-5D6E-409C-BE32-E72D297353CC}">
                <c16:uniqueId val="{00000007-79CB-F149-9E4D-827557AA75C3}"/>
              </c:ext>
            </c:extLst>
          </c:dPt>
          <c:cat>
            <c:numRef>
              <c:f>Sheet1!$A$2:$A$5</c:f>
              <c:numCache>
                <c:formatCode>General</c:formatCode>
                <c:ptCount val="4"/>
                <c:pt idx="0">
                  <c:v>1</c:v>
                </c:pt>
                <c:pt idx="1">
                  <c:v>2</c:v>
                </c:pt>
                <c:pt idx="2">
                  <c:v>3</c:v>
                </c:pt>
                <c:pt idx="3">
                  <c:v>4</c:v>
                </c:pt>
              </c:numCache>
            </c:num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79CB-F149-9E4D-827557AA75C3}"/>
            </c:ext>
          </c:extLst>
        </c:ser>
        <c:dLbls>
          <c:showLegendKey val="0"/>
          <c:showVal val="0"/>
          <c:showCatName val="0"/>
          <c:showSerName val="0"/>
          <c:showPercent val="0"/>
          <c:showBubbleSize val="0"/>
          <c:showLeaderLines val="1"/>
        </c:dLbls>
        <c:firstSliceAng val="0"/>
        <c:holeSize val="4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41AB54-1911-7A46-A2A7-94C0BFEB732C}" type="doc">
      <dgm:prSet loTypeId="urn:microsoft.com/office/officeart/2005/8/layout/venn2" loCatId="" qsTypeId="urn:microsoft.com/office/officeart/2005/8/quickstyle/simple4" qsCatId="simple" csTypeId="urn:microsoft.com/office/officeart/2005/8/colors/accent1_2" csCatId="accent1" phldr="1"/>
      <dgm:spPr/>
      <dgm:t>
        <a:bodyPr/>
        <a:lstStyle/>
        <a:p>
          <a:endParaRPr lang="en-US"/>
        </a:p>
      </dgm:t>
    </dgm:pt>
    <dgm:pt modelId="{21553131-6F1C-B547-94AF-9D3195A2AE0F}">
      <dgm:prSet phldrT="[Text]" custT="1"/>
      <dgm:spPr>
        <a:solidFill>
          <a:schemeClr val="bg2"/>
        </a:solidFill>
        <a:ln w="3175" cmpd="sng">
          <a:solidFill>
            <a:schemeClr val="bg1"/>
          </a:solidFill>
        </a:ln>
        <a:effectLst/>
      </dgm:spPr>
      <dgm:t>
        <a:bodyPr/>
        <a:lstStyle/>
        <a:p>
          <a:r>
            <a:rPr lang="en-US" sz="1200" baseline="0"/>
            <a:t> </a:t>
          </a:r>
          <a:endParaRPr lang="en-US" sz="1200"/>
        </a:p>
      </dgm:t>
    </dgm:pt>
    <dgm:pt modelId="{D03055C9-E660-E740-99C9-A198564D8F51}" type="parTrans" cxnId="{D3C811A2-8BF9-5F41-9EC6-AD4955D17B70}">
      <dgm:prSet/>
      <dgm:spPr/>
      <dgm:t>
        <a:bodyPr/>
        <a:lstStyle/>
        <a:p>
          <a:endParaRPr lang="en-US"/>
        </a:p>
      </dgm:t>
    </dgm:pt>
    <dgm:pt modelId="{7613DCF4-465B-564D-B029-FA0C175F6263}" type="sibTrans" cxnId="{D3C811A2-8BF9-5F41-9EC6-AD4955D17B70}">
      <dgm:prSet/>
      <dgm:spPr/>
      <dgm:t>
        <a:bodyPr/>
        <a:lstStyle/>
        <a:p>
          <a:endParaRPr lang="en-US"/>
        </a:p>
      </dgm:t>
    </dgm:pt>
    <dgm:pt modelId="{8299CB40-B120-1742-9B31-7AF4AFD2F243}">
      <dgm:prSet phldrT="[Text]" custT="1"/>
      <dgm:spPr>
        <a:solidFill>
          <a:schemeClr val="accent5"/>
        </a:solidFill>
        <a:ln w="3175" cmpd="sng">
          <a:solidFill>
            <a:schemeClr val="bg1"/>
          </a:solidFill>
        </a:ln>
        <a:effectLst/>
      </dgm:spPr>
      <dgm:t>
        <a:bodyPr/>
        <a:lstStyle/>
        <a:p>
          <a:r>
            <a:rPr lang="en-US" sz="1200"/>
            <a:t> </a:t>
          </a:r>
        </a:p>
      </dgm:t>
    </dgm:pt>
    <dgm:pt modelId="{409F2F6B-ACC9-C649-977B-2C6CF6065EB6}" type="parTrans" cxnId="{DC829EF0-8442-D142-9D98-3A21D5F00E44}">
      <dgm:prSet/>
      <dgm:spPr/>
      <dgm:t>
        <a:bodyPr/>
        <a:lstStyle/>
        <a:p>
          <a:endParaRPr lang="en-US"/>
        </a:p>
      </dgm:t>
    </dgm:pt>
    <dgm:pt modelId="{3F804525-870C-5D45-A354-739A7590E250}" type="sibTrans" cxnId="{DC829EF0-8442-D142-9D98-3A21D5F00E44}">
      <dgm:prSet/>
      <dgm:spPr/>
      <dgm:t>
        <a:bodyPr/>
        <a:lstStyle/>
        <a:p>
          <a:endParaRPr lang="en-US"/>
        </a:p>
      </dgm:t>
    </dgm:pt>
    <dgm:pt modelId="{1B2AC051-ADB6-864B-8EDF-F370BC852FC6}">
      <dgm:prSet phldrT="[Text]" custT="1"/>
      <dgm:spPr>
        <a:solidFill>
          <a:schemeClr val="accent3"/>
        </a:solidFill>
        <a:ln w="3175" cmpd="sng">
          <a:solidFill>
            <a:schemeClr val="bg1"/>
          </a:solidFill>
        </a:ln>
        <a:effectLst/>
      </dgm:spPr>
      <dgm:t>
        <a:bodyPr/>
        <a:lstStyle/>
        <a:p>
          <a:r>
            <a:rPr lang="en-US" sz="1200"/>
            <a:t> </a:t>
          </a:r>
        </a:p>
      </dgm:t>
    </dgm:pt>
    <dgm:pt modelId="{C256E36D-6CB5-EF4C-86E0-38254BD54EAD}" type="parTrans" cxnId="{55493D84-1222-C94A-8589-DC4E7E21B803}">
      <dgm:prSet/>
      <dgm:spPr/>
      <dgm:t>
        <a:bodyPr/>
        <a:lstStyle/>
        <a:p>
          <a:endParaRPr lang="en-US"/>
        </a:p>
      </dgm:t>
    </dgm:pt>
    <dgm:pt modelId="{9958A16C-E3B2-1243-AD6A-8939E2487436}" type="sibTrans" cxnId="{55493D84-1222-C94A-8589-DC4E7E21B803}">
      <dgm:prSet/>
      <dgm:spPr/>
      <dgm:t>
        <a:bodyPr/>
        <a:lstStyle/>
        <a:p>
          <a:endParaRPr lang="en-US"/>
        </a:p>
      </dgm:t>
    </dgm:pt>
    <dgm:pt modelId="{0838F22B-B89F-D34E-AA19-B204B0DD4249}">
      <dgm:prSet phldrT="[Text]" custT="1"/>
      <dgm:spPr>
        <a:solidFill>
          <a:schemeClr val="accent1"/>
        </a:solidFill>
        <a:ln w="3175" cmpd="sng">
          <a:solidFill>
            <a:schemeClr val="bg1"/>
          </a:solidFill>
        </a:ln>
        <a:effectLst/>
      </dgm:spPr>
      <dgm:t>
        <a:bodyPr/>
        <a:lstStyle/>
        <a:p>
          <a:r>
            <a:rPr lang="en-US" sz="1200"/>
            <a:t> </a:t>
          </a:r>
        </a:p>
      </dgm:t>
    </dgm:pt>
    <dgm:pt modelId="{BF22BA80-CCFB-0340-B330-71D8CD6FB972}" type="parTrans" cxnId="{FFB01ED5-D104-3743-A9F7-FDA0E0555006}">
      <dgm:prSet/>
      <dgm:spPr/>
      <dgm:t>
        <a:bodyPr/>
        <a:lstStyle/>
        <a:p>
          <a:endParaRPr lang="en-US"/>
        </a:p>
      </dgm:t>
    </dgm:pt>
    <dgm:pt modelId="{A742A116-2357-8840-B626-9E808A9CB902}" type="sibTrans" cxnId="{FFB01ED5-D104-3743-A9F7-FDA0E0555006}">
      <dgm:prSet/>
      <dgm:spPr/>
      <dgm:t>
        <a:bodyPr/>
        <a:lstStyle/>
        <a:p>
          <a:endParaRPr lang="en-US"/>
        </a:p>
      </dgm:t>
    </dgm:pt>
    <dgm:pt modelId="{BA78D310-9619-204F-91A4-21CE31FEDBBC}" type="pres">
      <dgm:prSet presAssocID="{3941AB54-1911-7A46-A2A7-94C0BFEB732C}" presName="Name0" presStyleCnt="0">
        <dgm:presLayoutVars>
          <dgm:chMax val="7"/>
          <dgm:resizeHandles val="exact"/>
        </dgm:presLayoutVars>
      </dgm:prSet>
      <dgm:spPr/>
    </dgm:pt>
    <dgm:pt modelId="{A62083B8-93AA-C64B-9AD5-546955DE2A3C}" type="pres">
      <dgm:prSet presAssocID="{3941AB54-1911-7A46-A2A7-94C0BFEB732C}" presName="comp1" presStyleCnt="0"/>
      <dgm:spPr/>
    </dgm:pt>
    <dgm:pt modelId="{CBDC1C1A-EBA1-C041-91B6-DB84A72A1EA4}" type="pres">
      <dgm:prSet presAssocID="{3941AB54-1911-7A46-A2A7-94C0BFEB732C}" presName="circle1" presStyleLbl="node1" presStyleIdx="0" presStyleCnt="4" custLinFactNeighborX="-4128"/>
      <dgm:spPr/>
    </dgm:pt>
    <dgm:pt modelId="{DF03A849-1D46-4745-9837-08F03C5DC6B0}" type="pres">
      <dgm:prSet presAssocID="{3941AB54-1911-7A46-A2A7-94C0BFEB732C}" presName="c1text" presStyleLbl="node1" presStyleIdx="0" presStyleCnt="4">
        <dgm:presLayoutVars>
          <dgm:bulletEnabled val="1"/>
        </dgm:presLayoutVars>
      </dgm:prSet>
      <dgm:spPr/>
    </dgm:pt>
    <dgm:pt modelId="{D77DED1B-5635-764D-8831-462975B037A8}" type="pres">
      <dgm:prSet presAssocID="{3941AB54-1911-7A46-A2A7-94C0BFEB732C}" presName="comp2" presStyleCnt="0"/>
      <dgm:spPr/>
    </dgm:pt>
    <dgm:pt modelId="{19D3CC6C-315D-6D46-A1D0-2DDEC1C7A2BA}" type="pres">
      <dgm:prSet presAssocID="{3941AB54-1911-7A46-A2A7-94C0BFEB732C}" presName="circle2" presStyleLbl="node1" presStyleIdx="1" presStyleCnt="4" custLinFactNeighborX="4460" custLinFactNeighborY="-12108"/>
      <dgm:spPr/>
    </dgm:pt>
    <dgm:pt modelId="{D105EAA0-84D8-D842-918D-571852F12DD0}" type="pres">
      <dgm:prSet presAssocID="{3941AB54-1911-7A46-A2A7-94C0BFEB732C}" presName="c2text" presStyleLbl="node1" presStyleIdx="1" presStyleCnt="4">
        <dgm:presLayoutVars>
          <dgm:bulletEnabled val="1"/>
        </dgm:presLayoutVars>
      </dgm:prSet>
      <dgm:spPr/>
    </dgm:pt>
    <dgm:pt modelId="{AA52D8A2-7DFE-5149-BA8B-72B1E7881D15}" type="pres">
      <dgm:prSet presAssocID="{3941AB54-1911-7A46-A2A7-94C0BFEB732C}" presName="comp3" presStyleCnt="0"/>
      <dgm:spPr/>
    </dgm:pt>
    <dgm:pt modelId="{87FD9542-8FD3-C842-BF99-47B1884B62F8}" type="pres">
      <dgm:prSet presAssocID="{3941AB54-1911-7A46-A2A7-94C0BFEB732C}" presName="circle3" presStyleLbl="node1" presStyleIdx="2" presStyleCnt="4" custLinFactNeighborX="18831" custLinFactNeighborY="-33256"/>
      <dgm:spPr/>
    </dgm:pt>
    <dgm:pt modelId="{C7D44A12-3EFE-4E4C-831D-020F89A9983E}" type="pres">
      <dgm:prSet presAssocID="{3941AB54-1911-7A46-A2A7-94C0BFEB732C}" presName="c3text" presStyleLbl="node1" presStyleIdx="2" presStyleCnt="4">
        <dgm:presLayoutVars>
          <dgm:bulletEnabled val="1"/>
        </dgm:presLayoutVars>
      </dgm:prSet>
      <dgm:spPr/>
    </dgm:pt>
    <dgm:pt modelId="{5988B638-B00F-0847-8A5F-8D9F2CC78924}" type="pres">
      <dgm:prSet presAssocID="{3941AB54-1911-7A46-A2A7-94C0BFEB732C}" presName="comp4" presStyleCnt="0"/>
      <dgm:spPr/>
    </dgm:pt>
    <dgm:pt modelId="{80C83430-0DBD-4F49-9E64-0C82594BD9F0}" type="pres">
      <dgm:prSet presAssocID="{3941AB54-1911-7A46-A2A7-94C0BFEB732C}" presName="circle4" presStyleLbl="node1" presStyleIdx="3" presStyleCnt="4" custLinFactNeighborX="47569" custLinFactNeighborY="-74690"/>
      <dgm:spPr/>
    </dgm:pt>
    <dgm:pt modelId="{0C21EA50-DE30-B440-B044-77530B27AB9B}" type="pres">
      <dgm:prSet presAssocID="{3941AB54-1911-7A46-A2A7-94C0BFEB732C}" presName="c4text" presStyleLbl="node1" presStyleIdx="3" presStyleCnt="4">
        <dgm:presLayoutVars>
          <dgm:bulletEnabled val="1"/>
        </dgm:presLayoutVars>
      </dgm:prSet>
      <dgm:spPr/>
    </dgm:pt>
  </dgm:ptLst>
  <dgm:cxnLst>
    <dgm:cxn modelId="{7483C006-92A2-5D48-8B28-F8799514313A}" type="presOf" srcId="{21553131-6F1C-B547-94AF-9D3195A2AE0F}" destId="{CBDC1C1A-EBA1-C041-91B6-DB84A72A1EA4}" srcOrd="0" destOrd="0" presId="urn:microsoft.com/office/officeart/2005/8/layout/venn2"/>
    <dgm:cxn modelId="{20CB3627-6959-984F-97C9-D7893A80730A}" type="presOf" srcId="{21553131-6F1C-B547-94AF-9D3195A2AE0F}" destId="{DF03A849-1D46-4745-9837-08F03C5DC6B0}" srcOrd="1" destOrd="0" presId="urn:microsoft.com/office/officeart/2005/8/layout/venn2"/>
    <dgm:cxn modelId="{1DFE2B2D-BCB2-6A4B-8D82-7AFD8AD4056E}" type="presOf" srcId="{8299CB40-B120-1742-9B31-7AF4AFD2F243}" destId="{19D3CC6C-315D-6D46-A1D0-2DDEC1C7A2BA}" srcOrd="0" destOrd="0" presId="urn:microsoft.com/office/officeart/2005/8/layout/venn2"/>
    <dgm:cxn modelId="{2C5AF56C-519F-9549-A067-60B120965D1D}" type="presOf" srcId="{8299CB40-B120-1742-9B31-7AF4AFD2F243}" destId="{D105EAA0-84D8-D842-918D-571852F12DD0}" srcOrd="1" destOrd="0" presId="urn:microsoft.com/office/officeart/2005/8/layout/venn2"/>
    <dgm:cxn modelId="{55493D84-1222-C94A-8589-DC4E7E21B803}" srcId="{3941AB54-1911-7A46-A2A7-94C0BFEB732C}" destId="{1B2AC051-ADB6-864B-8EDF-F370BC852FC6}" srcOrd="2" destOrd="0" parTransId="{C256E36D-6CB5-EF4C-86E0-38254BD54EAD}" sibTransId="{9958A16C-E3B2-1243-AD6A-8939E2487436}"/>
    <dgm:cxn modelId="{8CAFC2A1-A22A-0E44-90E3-03467FAAB009}" type="presOf" srcId="{0838F22B-B89F-D34E-AA19-B204B0DD4249}" destId="{80C83430-0DBD-4F49-9E64-0C82594BD9F0}" srcOrd="0" destOrd="0" presId="urn:microsoft.com/office/officeart/2005/8/layout/venn2"/>
    <dgm:cxn modelId="{D3C811A2-8BF9-5F41-9EC6-AD4955D17B70}" srcId="{3941AB54-1911-7A46-A2A7-94C0BFEB732C}" destId="{21553131-6F1C-B547-94AF-9D3195A2AE0F}" srcOrd="0" destOrd="0" parTransId="{D03055C9-E660-E740-99C9-A198564D8F51}" sibTransId="{7613DCF4-465B-564D-B029-FA0C175F6263}"/>
    <dgm:cxn modelId="{13E044A3-675B-7D47-B1B1-6F929DC15DD3}" type="presOf" srcId="{3941AB54-1911-7A46-A2A7-94C0BFEB732C}" destId="{BA78D310-9619-204F-91A4-21CE31FEDBBC}" srcOrd="0" destOrd="0" presId="urn:microsoft.com/office/officeart/2005/8/layout/venn2"/>
    <dgm:cxn modelId="{C7CAAAC4-DB7D-7644-8080-7C5E48674B5B}" type="presOf" srcId="{1B2AC051-ADB6-864B-8EDF-F370BC852FC6}" destId="{87FD9542-8FD3-C842-BF99-47B1884B62F8}" srcOrd="0" destOrd="0" presId="urn:microsoft.com/office/officeart/2005/8/layout/venn2"/>
    <dgm:cxn modelId="{427192D0-4CB3-124C-B006-1C1BE192C115}" type="presOf" srcId="{1B2AC051-ADB6-864B-8EDF-F370BC852FC6}" destId="{C7D44A12-3EFE-4E4C-831D-020F89A9983E}" srcOrd="1" destOrd="0" presId="urn:microsoft.com/office/officeart/2005/8/layout/venn2"/>
    <dgm:cxn modelId="{FFB01ED5-D104-3743-A9F7-FDA0E0555006}" srcId="{3941AB54-1911-7A46-A2A7-94C0BFEB732C}" destId="{0838F22B-B89F-D34E-AA19-B204B0DD4249}" srcOrd="3" destOrd="0" parTransId="{BF22BA80-CCFB-0340-B330-71D8CD6FB972}" sibTransId="{A742A116-2357-8840-B626-9E808A9CB902}"/>
    <dgm:cxn modelId="{4410CED5-7D73-FA45-9F88-A488EA0AF475}" type="presOf" srcId="{0838F22B-B89F-D34E-AA19-B204B0DD4249}" destId="{0C21EA50-DE30-B440-B044-77530B27AB9B}" srcOrd="1" destOrd="0" presId="urn:microsoft.com/office/officeart/2005/8/layout/venn2"/>
    <dgm:cxn modelId="{DC829EF0-8442-D142-9D98-3A21D5F00E44}" srcId="{3941AB54-1911-7A46-A2A7-94C0BFEB732C}" destId="{8299CB40-B120-1742-9B31-7AF4AFD2F243}" srcOrd="1" destOrd="0" parTransId="{409F2F6B-ACC9-C649-977B-2C6CF6065EB6}" sibTransId="{3F804525-870C-5D45-A354-739A7590E250}"/>
    <dgm:cxn modelId="{1086D4E8-280E-B04C-83EE-FC3E0FEAD36D}" type="presParOf" srcId="{BA78D310-9619-204F-91A4-21CE31FEDBBC}" destId="{A62083B8-93AA-C64B-9AD5-546955DE2A3C}" srcOrd="0" destOrd="0" presId="urn:microsoft.com/office/officeart/2005/8/layout/venn2"/>
    <dgm:cxn modelId="{0DE3A58F-6929-784D-A17F-663061017964}" type="presParOf" srcId="{A62083B8-93AA-C64B-9AD5-546955DE2A3C}" destId="{CBDC1C1A-EBA1-C041-91B6-DB84A72A1EA4}" srcOrd="0" destOrd="0" presId="urn:microsoft.com/office/officeart/2005/8/layout/venn2"/>
    <dgm:cxn modelId="{32398D58-E4F9-3F4B-B673-ED490BE9321A}" type="presParOf" srcId="{A62083B8-93AA-C64B-9AD5-546955DE2A3C}" destId="{DF03A849-1D46-4745-9837-08F03C5DC6B0}" srcOrd="1" destOrd="0" presId="urn:microsoft.com/office/officeart/2005/8/layout/venn2"/>
    <dgm:cxn modelId="{4B2422B9-ADAD-4A40-BB46-41613F1987AE}" type="presParOf" srcId="{BA78D310-9619-204F-91A4-21CE31FEDBBC}" destId="{D77DED1B-5635-764D-8831-462975B037A8}" srcOrd="1" destOrd="0" presId="urn:microsoft.com/office/officeart/2005/8/layout/venn2"/>
    <dgm:cxn modelId="{A1C0F0A0-C9AF-A04D-A0A6-E87421E7B336}" type="presParOf" srcId="{D77DED1B-5635-764D-8831-462975B037A8}" destId="{19D3CC6C-315D-6D46-A1D0-2DDEC1C7A2BA}" srcOrd="0" destOrd="0" presId="urn:microsoft.com/office/officeart/2005/8/layout/venn2"/>
    <dgm:cxn modelId="{A078240D-08B5-D540-8877-5D90FD8F6499}" type="presParOf" srcId="{D77DED1B-5635-764D-8831-462975B037A8}" destId="{D105EAA0-84D8-D842-918D-571852F12DD0}" srcOrd="1" destOrd="0" presId="urn:microsoft.com/office/officeart/2005/8/layout/venn2"/>
    <dgm:cxn modelId="{D2E5C37B-CCEF-BC4D-98CF-7437977901CF}" type="presParOf" srcId="{BA78D310-9619-204F-91A4-21CE31FEDBBC}" destId="{AA52D8A2-7DFE-5149-BA8B-72B1E7881D15}" srcOrd="2" destOrd="0" presId="urn:microsoft.com/office/officeart/2005/8/layout/venn2"/>
    <dgm:cxn modelId="{D7772177-ACB6-EE4B-9C51-A85081BE9862}" type="presParOf" srcId="{AA52D8A2-7DFE-5149-BA8B-72B1E7881D15}" destId="{87FD9542-8FD3-C842-BF99-47B1884B62F8}" srcOrd="0" destOrd="0" presId="urn:microsoft.com/office/officeart/2005/8/layout/venn2"/>
    <dgm:cxn modelId="{D516B2D5-E3C8-104D-9349-08B4207A7190}" type="presParOf" srcId="{AA52D8A2-7DFE-5149-BA8B-72B1E7881D15}" destId="{C7D44A12-3EFE-4E4C-831D-020F89A9983E}" srcOrd="1" destOrd="0" presId="urn:microsoft.com/office/officeart/2005/8/layout/venn2"/>
    <dgm:cxn modelId="{DF3C6ADE-76D8-1449-A072-A5788170368C}" type="presParOf" srcId="{BA78D310-9619-204F-91A4-21CE31FEDBBC}" destId="{5988B638-B00F-0847-8A5F-8D9F2CC78924}" srcOrd="3" destOrd="0" presId="urn:microsoft.com/office/officeart/2005/8/layout/venn2"/>
    <dgm:cxn modelId="{CFF47D31-1B0E-D444-9297-D30D3624C6DF}" type="presParOf" srcId="{5988B638-B00F-0847-8A5F-8D9F2CC78924}" destId="{80C83430-0DBD-4F49-9E64-0C82594BD9F0}" srcOrd="0" destOrd="0" presId="urn:microsoft.com/office/officeart/2005/8/layout/venn2"/>
    <dgm:cxn modelId="{1E070BB9-648D-5545-9BC9-11AC14D1A97A}" type="presParOf" srcId="{5988B638-B00F-0847-8A5F-8D9F2CC78924}" destId="{0C21EA50-DE30-B440-B044-77530B27AB9B}"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41AB54-1911-7A46-A2A7-94C0BFEB732C}" type="doc">
      <dgm:prSet loTypeId="urn:microsoft.com/office/officeart/2005/8/layout/venn2" loCatId="" qsTypeId="urn:microsoft.com/office/officeart/2005/8/quickstyle/simple4" qsCatId="simple" csTypeId="urn:microsoft.com/office/officeart/2005/8/colors/accent1_2" csCatId="accent1" phldr="1"/>
      <dgm:spPr/>
      <dgm:t>
        <a:bodyPr/>
        <a:lstStyle/>
        <a:p>
          <a:endParaRPr lang="en-US"/>
        </a:p>
      </dgm:t>
    </dgm:pt>
    <dgm:pt modelId="{21553131-6F1C-B547-94AF-9D3195A2AE0F}">
      <dgm:prSet phldrT="[Text]" custT="1"/>
      <dgm:spPr>
        <a:solidFill>
          <a:schemeClr val="bg2"/>
        </a:solidFill>
        <a:ln w="3175">
          <a:solidFill>
            <a:schemeClr val="bg1"/>
          </a:solidFill>
        </a:ln>
        <a:effectLst/>
      </dgm:spPr>
      <dgm:t>
        <a:bodyPr/>
        <a:lstStyle/>
        <a:p>
          <a:r>
            <a:rPr lang="en-US" sz="1100" err="1">
              <a:solidFill>
                <a:srgbClr val="FFFFFF"/>
              </a:solidFill>
            </a:rPr>
            <a:t>Xxxxx</a:t>
          </a:r>
          <a:r>
            <a:rPr lang="en-US" sz="1100">
              <a:solidFill>
                <a:srgbClr val="FFFFFF"/>
              </a:solidFill>
            </a:rPr>
            <a:t> x xxx xxx</a:t>
          </a:r>
        </a:p>
      </dgm:t>
    </dgm:pt>
    <dgm:pt modelId="{D03055C9-E660-E740-99C9-A198564D8F51}" type="parTrans" cxnId="{D3C811A2-8BF9-5F41-9EC6-AD4955D17B70}">
      <dgm:prSet/>
      <dgm:spPr/>
      <dgm:t>
        <a:bodyPr/>
        <a:lstStyle/>
        <a:p>
          <a:endParaRPr lang="en-US" sz="1100"/>
        </a:p>
      </dgm:t>
    </dgm:pt>
    <dgm:pt modelId="{7613DCF4-465B-564D-B029-FA0C175F6263}" type="sibTrans" cxnId="{D3C811A2-8BF9-5F41-9EC6-AD4955D17B70}">
      <dgm:prSet/>
      <dgm:spPr/>
      <dgm:t>
        <a:bodyPr/>
        <a:lstStyle/>
        <a:p>
          <a:endParaRPr lang="en-US" sz="1100"/>
        </a:p>
      </dgm:t>
    </dgm:pt>
    <dgm:pt modelId="{8299CB40-B120-1742-9B31-7AF4AFD2F243}">
      <dgm:prSet phldrT="[Text]" custT="1"/>
      <dgm:spPr>
        <a:solidFill>
          <a:schemeClr val="accent5"/>
        </a:solidFill>
        <a:ln w="3175">
          <a:solidFill>
            <a:schemeClr val="bg1"/>
          </a:solidFill>
        </a:ln>
        <a:effectLst/>
      </dgm:spPr>
      <dgm:t>
        <a:bodyPr/>
        <a:lstStyle/>
        <a:p>
          <a:r>
            <a:rPr lang="en-US" sz="1100" err="1">
              <a:solidFill>
                <a:srgbClr val="FFFFFF"/>
              </a:solidFill>
            </a:rPr>
            <a:t>Xxxx</a:t>
          </a:r>
          <a:r>
            <a:rPr lang="en-US" sz="1100">
              <a:solidFill>
                <a:srgbClr val="FFFFFF"/>
              </a:solidFill>
            </a:rPr>
            <a:t> x xxx </a:t>
          </a:r>
          <a:r>
            <a:rPr lang="en-US" sz="1100" err="1">
              <a:solidFill>
                <a:srgbClr val="FFFFFF"/>
              </a:solidFill>
            </a:rPr>
            <a:t>xxxx</a:t>
          </a:r>
          <a:endParaRPr lang="en-US" sz="1100">
            <a:solidFill>
              <a:srgbClr val="FFFFFF"/>
            </a:solidFill>
          </a:endParaRPr>
        </a:p>
      </dgm:t>
    </dgm:pt>
    <dgm:pt modelId="{409F2F6B-ACC9-C649-977B-2C6CF6065EB6}" type="parTrans" cxnId="{DC829EF0-8442-D142-9D98-3A21D5F00E44}">
      <dgm:prSet/>
      <dgm:spPr/>
      <dgm:t>
        <a:bodyPr/>
        <a:lstStyle/>
        <a:p>
          <a:endParaRPr lang="en-US" sz="1100"/>
        </a:p>
      </dgm:t>
    </dgm:pt>
    <dgm:pt modelId="{3F804525-870C-5D45-A354-739A7590E250}" type="sibTrans" cxnId="{DC829EF0-8442-D142-9D98-3A21D5F00E44}">
      <dgm:prSet/>
      <dgm:spPr/>
      <dgm:t>
        <a:bodyPr/>
        <a:lstStyle/>
        <a:p>
          <a:endParaRPr lang="en-US" sz="1100"/>
        </a:p>
      </dgm:t>
    </dgm:pt>
    <dgm:pt modelId="{1B2AC051-ADB6-864B-8EDF-F370BC852FC6}">
      <dgm:prSet phldrT="[Text]" custT="1"/>
      <dgm:spPr>
        <a:solidFill>
          <a:schemeClr val="accent3"/>
        </a:solidFill>
        <a:ln w="3175">
          <a:solidFill>
            <a:schemeClr val="bg1"/>
          </a:solidFill>
        </a:ln>
        <a:effectLst/>
      </dgm:spPr>
      <dgm:t>
        <a:bodyPr/>
        <a:lstStyle/>
        <a:p>
          <a:r>
            <a:rPr lang="en-US" sz="1100">
              <a:solidFill>
                <a:srgbClr val="FFFFFF"/>
              </a:solidFill>
            </a:rPr>
            <a:t>X xxx </a:t>
          </a:r>
          <a:r>
            <a:rPr lang="en-US" sz="1100" err="1">
              <a:solidFill>
                <a:srgbClr val="FFFFFF"/>
              </a:solidFill>
            </a:rPr>
            <a:t>xxxxxx</a:t>
          </a:r>
          <a:endParaRPr lang="en-US" sz="1100">
            <a:solidFill>
              <a:srgbClr val="FFFFFF"/>
            </a:solidFill>
          </a:endParaRPr>
        </a:p>
      </dgm:t>
    </dgm:pt>
    <dgm:pt modelId="{C256E36D-6CB5-EF4C-86E0-38254BD54EAD}" type="parTrans" cxnId="{55493D84-1222-C94A-8589-DC4E7E21B803}">
      <dgm:prSet/>
      <dgm:spPr/>
      <dgm:t>
        <a:bodyPr/>
        <a:lstStyle/>
        <a:p>
          <a:endParaRPr lang="en-US" sz="1100"/>
        </a:p>
      </dgm:t>
    </dgm:pt>
    <dgm:pt modelId="{9958A16C-E3B2-1243-AD6A-8939E2487436}" type="sibTrans" cxnId="{55493D84-1222-C94A-8589-DC4E7E21B803}">
      <dgm:prSet/>
      <dgm:spPr/>
      <dgm:t>
        <a:bodyPr/>
        <a:lstStyle/>
        <a:p>
          <a:endParaRPr lang="en-US" sz="1100"/>
        </a:p>
      </dgm:t>
    </dgm:pt>
    <dgm:pt modelId="{0838F22B-B89F-D34E-AA19-B204B0DD4249}">
      <dgm:prSet phldrT="[Text]" custT="1"/>
      <dgm:spPr>
        <a:solidFill>
          <a:schemeClr val="accent1"/>
        </a:solidFill>
        <a:ln w="3175">
          <a:solidFill>
            <a:schemeClr val="bg1"/>
          </a:solidFill>
        </a:ln>
        <a:effectLst/>
      </dgm:spPr>
      <dgm:t>
        <a:bodyPr/>
        <a:lstStyle/>
        <a:p>
          <a:r>
            <a:rPr lang="en-US" sz="1100">
              <a:solidFill>
                <a:srgbClr val="FFFFFF"/>
              </a:solidFill>
            </a:rPr>
            <a:t>Xxx x </a:t>
          </a:r>
          <a:r>
            <a:rPr lang="en-US" sz="1100" err="1">
              <a:solidFill>
                <a:srgbClr val="FFFFFF"/>
              </a:solidFill>
            </a:rPr>
            <a:t>xxxx</a:t>
          </a:r>
          <a:r>
            <a:rPr lang="en-US" sz="1100">
              <a:solidFill>
                <a:srgbClr val="FFFFFF"/>
              </a:solidFill>
            </a:rPr>
            <a:t> </a:t>
          </a:r>
          <a:r>
            <a:rPr lang="en-US" sz="1100" err="1">
              <a:solidFill>
                <a:srgbClr val="FFFFFF"/>
              </a:solidFill>
            </a:rPr>
            <a:t>xxxx</a:t>
          </a:r>
          <a:endParaRPr lang="en-US" sz="1100">
            <a:solidFill>
              <a:srgbClr val="FFFFFF"/>
            </a:solidFill>
          </a:endParaRPr>
        </a:p>
      </dgm:t>
    </dgm:pt>
    <dgm:pt modelId="{BF22BA80-CCFB-0340-B330-71D8CD6FB972}" type="parTrans" cxnId="{FFB01ED5-D104-3743-A9F7-FDA0E0555006}">
      <dgm:prSet/>
      <dgm:spPr/>
      <dgm:t>
        <a:bodyPr/>
        <a:lstStyle/>
        <a:p>
          <a:endParaRPr lang="en-US" sz="1100"/>
        </a:p>
      </dgm:t>
    </dgm:pt>
    <dgm:pt modelId="{A742A116-2357-8840-B626-9E808A9CB902}" type="sibTrans" cxnId="{FFB01ED5-D104-3743-A9F7-FDA0E0555006}">
      <dgm:prSet/>
      <dgm:spPr/>
      <dgm:t>
        <a:bodyPr/>
        <a:lstStyle/>
        <a:p>
          <a:endParaRPr lang="en-US" sz="1100"/>
        </a:p>
      </dgm:t>
    </dgm:pt>
    <dgm:pt modelId="{BA78D310-9619-204F-91A4-21CE31FEDBBC}" type="pres">
      <dgm:prSet presAssocID="{3941AB54-1911-7A46-A2A7-94C0BFEB732C}" presName="Name0" presStyleCnt="0">
        <dgm:presLayoutVars>
          <dgm:chMax val="7"/>
          <dgm:resizeHandles val="exact"/>
        </dgm:presLayoutVars>
      </dgm:prSet>
      <dgm:spPr/>
    </dgm:pt>
    <dgm:pt modelId="{A62083B8-93AA-C64B-9AD5-546955DE2A3C}" type="pres">
      <dgm:prSet presAssocID="{3941AB54-1911-7A46-A2A7-94C0BFEB732C}" presName="comp1" presStyleCnt="0"/>
      <dgm:spPr/>
    </dgm:pt>
    <dgm:pt modelId="{CBDC1C1A-EBA1-C041-91B6-DB84A72A1EA4}" type="pres">
      <dgm:prSet presAssocID="{3941AB54-1911-7A46-A2A7-94C0BFEB732C}" presName="circle1" presStyleLbl="node1" presStyleIdx="0" presStyleCnt="4"/>
      <dgm:spPr/>
    </dgm:pt>
    <dgm:pt modelId="{DF03A849-1D46-4745-9837-08F03C5DC6B0}" type="pres">
      <dgm:prSet presAssocID="{3941AB54-1911-7A46-A2A7-94C0BFEB732C}" presName="c1text" presStyleLbl="node1" presStyleIdx="0" presStyleCnt="4">
        <dgm:presLayoutVars>
          <dgm:bulletEnabled val="1"/>
        </dgm:presLayoutVars>
      </dgm:prSet>
      <dgm:spPr/>
    </dgm:pt>
    <dgm:pt modelId="{D77DED1B-5635-764D-8831-462975B037A8}" type="pres">
      <dgm:prSet presAssocID="{3941AB54-1911-7A46-A2A7-94C0BFEB732C}" presName="comp2" presStyleCnt="0"/>
      <dgm:spPr/>
    </dgm:pt>
    <dgm:pt modelId="{19D3CC6C-315D-6D46-A1D0-2DDEC1C7A2BA}" type="pres">
      <dgm:prSet presAssocID="{3941AB54-1911-7A46-A2A7-94C0BFEB732C}" presName="circle2" presStyleLbl="node1" presStyleIdx="1" presStyleCnt="4" custLinFactNeighborY="-1062"/>
      <dgm:spPr/>
    </dgm:pt>
    <dgm:pt modelId="{D105EAA0-84D8-D842-918D-571852F12DD0}" type="pres">
      <dgm:prSet presAssocID="{3941AB54-1911-7A46-A2A7-94C0BFEB732C}" presName="c2text" presStyleLbl="node1" presStyleIdx="1" presStyleCnt="4">
        <dgm:presLayoutVars>
          <dgm:bulletEnabled val="1"/>
        </dgm:presLayoutVars>
      </dgm:prSet>
      <dgm:spPr/>
    </dgm:pt>
    <dgm:pt modelId="{AA52D8A2-7DFE-5149-BA8B-72B1E7881D15}" type="pres">
      <dgm:prSet presAssocID="{3941AB54-1911-7A46-A2A7-94C0BFEB732C}" presName="comp3" presStyleCnt="0"/>
      <dgm:spPr/>
    </dgm:pt>
    <dgm:pt modelId="{87FD9542-8FD3-C842-BF99-47B1884B62F8}" type="pres">
      <dgm:prSet presAssocID="{3941AB54-1911-7A46-A2A7-94C0BFEB732C}" presName="circle3" presStyleLbl="node1" presStyleIdx="2" presStyleCnt="4" custLinFactNeighborY="-3081"/>
      <dgm:spPr/>
    </dgm:pt>
    <dgm:pt modelId="{C7D44A12-3EFE-4E4C-831D-020F89A9983E}" type="pres">
      <dgm:prSet presAssocID="{3941AB54-1911-7A46-A2A7-94C0BFEB732C}" presName="c3text" presStyleLbl="node1" presStyleIdx="2" presStyleCnt="4">
        <dgm:presLayoutVars>
          <dgm:bulletEnabled val="1"/>
        </dgm:presLayoutVars>
      </dgm:prSet>
      <dgm:spPr/>
    </dgm:pt>
    <dgm:pt modelId="{5988B638-B00F-0847-8A5F-8D9F2CC78924}" type="pres">
      <dgm:prSet presAssocID="{3941AB54-1911-7A46-A2A7-94C0BFEB732C}" presName="comp4" presStyleCnt="0"/>
      <dgm:spPr/>
    </dgm:pt>
    <dgm:pt modelId="{80C83430-0DBD-4F49-9E64-0C82594BD9F0}" type="pres">
      <dgm:prSet presAssocID="{3941AB54-1911-7A46-A2A7-94C0BFEB732C}" presName="circle4" presStyleLbl="node1" presStyleIdx="3" presStyleCnt="4" custLinFactNeighborY="-7100"/>
      <dgm:spPr/>
    </dgm:pt>
    <dgm:pt modelId="{0C21EA50-DE30-B440-B044-77530B27AB9B}" type="pres">
      <dgm:prSet presAssocID="{3941AB54-1911-7A46-A2A7-94C0BFEB732C}" presName="c4text" presStyleLbl="node1" presStyleIdx="3" presStyleCnt="4">
        <dgm:presLayoutVars>
          <dgm:bulletEnabled val="1"/>
        </dgm:presLayoutVars>
      </dgm:prSet>
      <dgm:spPr/>
    </dgm:pt>
  </dgm:ptLst>
  <dgm:cxnLst>
    <dgm:cxn modelId="{BA8AA020-3B66-4396-A0B1-6BF9F98A61B1}" type="presOf" srcId="{1B2AC051-ADB6-864B-8EDF-F370BC852FC6}" destId="{87FD9542-8FD3-C842-BF99-47B1884B62F8}" srcOrd="0" destOrd="0" presId="urn:microsoft.com/office/officeart/2005/8/layout/venn2"/>
    <dgm:cxn modelId="{AD75744C-FE40-466F-A097-C258A421A04D}" type="presOf" srcId="{8299CB40-B120-1742-9B31-7AF4AFD2F243}" destId="{19D3CC6C-315D-6D46-A1D0-2DDEC1C7A2BA}" srcOrd="0" destOrd="0" presId="urn:microsoft.com/office/officeart/2005/8/layout/venn2"/>
    <dgm:cxn modelId="{FEFA4F52-0DF5-443A-9450-15ADE6F90451}" type="presOf" srcId="{8299CB40-B120-1742-9B31-7AF4AFD2F243}" destId="{D105EAA0-84D8-D842-918D-571852F12DD0}" srcOrd="1" destOrd="0" presId="urn:microsoft.com/office/officeart/2005/8/layout/venn2"/>
    <dgm:cxn modelId="{22037E54-AC97-4303-9127-175B165E5F1E}" type="presOf" srcId="{21553131-6F1C-B547-94AF-9D3195A2AE0F}" destId="{CBDC1C1A-EBA1-C041-91B6-DB84A72A1EA4}" srcOrd="0" destOrd="0" presId="urn:microsoft.com/office/officeart/2005/8/layout/venn2"/>
    <dgm:cxn modelId="{44E93659-BDC8-4AB1-8986-B83D945923AD}" type="presOf" srcId="{0838F22B-B89F-D34E-AA19-B204B0DD4249}" destId="{0C21EA50-DE30-B440-B044-77530B27AB9B}" srcOrd="1" destOrd="0" presId="urn:microsoft.com/office/officeart/2005/8/layout/venn2"/>
    <dgm:cxn modelId="{7AFA0378-D835-41BD-9932-86CD9B4CC6A3}" type="presOf" srcId="{21553131-6F1C-B547-94AF-9D3195A2AE0F}" destId="{DF03A849-1D46-4745-9837-08F03C5DC6B0}" srcOrd="1" destOrd="0" presId="urn:microsoft.com/office/officeart/2005/8/layout/venn2"/>
    <dgm:cxn modelId="{86121F80-42AE-4FB2-A1DE-01C048CB3EC5}" type="presOf" srcId="{1B2AC051-ADB6-864B-8EDF-F370BC852FC6}" destId="{C7D44A12-3EFE-4E4C-831D-020F89A9983E}" srcOrd="1" destOrd="0" presId="urn:microsoft.com/office/officeart/2005/8/layout/venn2"/>
    <dgm:cxn modelId="{57B8B281-3412-402E-B05D-612625BDA0D2}" type="presOf" srcId="{3941AB54-1911-7A46-A2A7-94C0BFEB732C}" destId="{BA78D310-9619-204F-91A4-21CE31FEDBBC}" srcOrd="0" destOrd="0" presId="urn:microsoft.com/office/officeart/2005/8/layout/venn2"/>
    <dgm:cxn modelId="{55493D84-1222-C94A-8589-DC4E7E21B803}" srcId="{3941AB54-1911-7A46-A2A7-94C0BFEB732C}" destId="{1B2AC051-ADB6-864B-8EDF-F370BC852FC6}" srcOrd="2" destOrd="0" parTransId="{C256E36D-6CB5-EF4C-86E0-38254BD54EAD}" sibTransId="{9958A16C-E3B2-1243-AD6A-8939E2487436}"/>
    <dgm:cxn modelId="{D3C811A2-8BF9-5F41-9EC6-AD4955D17B70}" srcId="{3941AB54-1911-7A46-A2A7-94C0BFEB732C}" destId="{21553131-6F1C-B547-94AF-9D3195A2AE0F}" srcOrd="0" destOrd="0" parTransId="{D03055C9-E660-E740-99C9-A198564D8F51}" sibTransId="{7613DCF4-465B-564D-B029-FA0C175F6263}"/>
    <dgm:cxn modelId="{2A0FF1B7-E68F-4E13-82E0-E0C4B9AFEA0D}" type="presOf" srcId="{0838F22B-B89F-D34E-AA19-B204B0DD4249}" destId="{80C83430-0DBD-4F49-9E64-0C82594BD9F0}" srcOrd="0" destOrd="0" presId="urn:microsoft.com/office/officeart/2005/8/layout/venn2"/>
    <dgm:cxn modelId="{FFB01ED5-D104-3743-A9F7-FDA0E0555006}" srcId="{3941AB54-1911-7A46-A2A7-94C0BFEB732C}" destId="{0838F22B-B89F-D34E-AA19-B204B0DD4249}" srcOrd="3" destOrd="0" parTransId="{BF22BA80-CCFB-0340-B330-71D8CD6FB972}" sibTransId="{A742A116-2357-8840-B626-9E808A9CB902}"/>
    <dgm:cxn modelId="{DC829EF0-8442-D142-9D98-3A21D5F00E44}" srcId="{3941AB54-1911-7A46-A2A7-94C0BFEB732C}" destId="{8299CB40-B120-1742-9B31-7AF4AFD2F243}" srcOrd="1" destOrd="0" parTransId="{409F2F6B-ACC9-C649-977B-2C6CF6065EB6}" sibTransId="{3F804525-870C-5D45-A354-739A7590E250}"/>
    <dgm:cxn modelId="{7C76EFD5-6D36-47B6-A359-389C7F48E100}" type="presParOf" srcId="{BA78D310-9619-204F-91A4-21CE31FEDBBC}" destId="{A62083B8-93AA-C64B-9AD5-546955DE2A3C}" srcOrd="0" destOrd="0" presId="urn:microsoft.com/office/officeart/2005/8/layout/venn2"/>
    <dgm:cxn modelId="{10E293F4-C566-4AA7-8C0C-F09E220176CC}" type="presParOf" srcId="{A62083B8-93AA-C64B-9AD5-546955DE2A3C}" destId="{CBDC1C1A-EBA1-C041-91B6-DB84A72A1EA4}" srcOrd="0" destOrd="0" presId="urn:microsoft.com/office/officeart/2005/8/layout/venn2"/>
    <dgm:cxn modelId="{FFF67434-E5D3-41D0-B6C7-6CC88904497E}" type="presParOf" srcId="{A62083B8-93AA-C64B-9AD5-546955DE2A3C}" destId="{DF03A849-1D46-4745-9837-08F03C5DC6B0}" srcOrd="1" destOrd="0" presId="urn:microsoft.com/office/officeart/2005/8/layout/venn2"/>
    <dgm:cxn modelId="{CEFC9DA3-D8DA-4FA3-A8C5-10D4977A281B}" type="presParOf" srcId="{BA78D310-9619-204F-91A4-21CE31FEDBBC}" destId="{D77DED1B-5635-764D-8831-462975B037A8}" srcOrd="1" destOrd="0" presId="urn:microsoft.com/office/officeart/2005/8/layout/venn2"/>
    <dgm:cxn modelId="{09768492-4504-4B98-BEB2-2A24C92991F3}" type="presParOf" srcId="{D77DED1B-5635-764D-8831-462975B037A8}" destId="{19D3CC6C-315D-6D46-A1D0-2DDEC1C7A2BA}" srcOrd="0" destOrd="0" presId="urn:microsoft.com/office/officeart/2005/8/layout/venn2"/>
    <dgm:cxn modelId="{79AC574F-4D21-4BAA-BB3A-AFF95A05FE33}" type="presParOf" srcId="{D77DED1B-5635-764D-8831-462975B037A8}" destId="{D105EAA0-84D8-D842-918D-571852F12DD0}" srcOrd="1" destOrd="0" presId="urn:microsoft.com/office/officeart/2005/8/layout/venn2"/>
    <dgm:cxn modelId="{D625FB9B-3EC6-443F-8769-B82C307C5E08}" type="presParOf" srcId="{BA78D310-9619-204F-91A4-21CE31FEDBBC}" destId="{AA52D8A2-7DFE-5149-BA8B-72B1E7881D15}" srcOrd="2" destOrd="0" presId="urn:microsoft.com/office/officeart/2005/8/layout/venn2"/>
    <dgm:cxn modelId="{F89A4A63-DC17-4836-A6A6-4E5EE4E16C04}" type="presParOf" srcId="{AA52D8A2-7DFE-5149-BA8B-72B1E7881D15}" destId="{87FD9542-8FD3-C842-BF99-47B1884B62F8}" srcOrd="0" destOrd="0" presId="urn:microsoft.com/office/officeart/2005/8/layout/venn2"/>
    <dgm:cxn modelId="{B975E36E-94C1-4D1D-880C-3171012CA266}" type="presParOf" srcId="{AA52D8A2-7DFE-5149-BA8B-72B1E7881D15}" destId="{C7D44A12-3EFE-4E4C-831D-020F89A9983E}" srcOrd="1" destOrd="0" presId="urn:microsoft.com/office/officeart/2005/8/layout/venn2"/>
    <dgm:cxn modelId="{DECDEC6B-2D70-4246-983D-402BDED79367}" type="presParOf" srcId="{BA78D310-9619-204F-91A4-21CE31FEDBBC}" destId="{5988B638-B00F-0847-8A5F-8D9F2CC78924}" srcOrd="3" destOrd="0" presId="urn:microsoft.com/office/officeart/2005/8/layout/venn2"/>
    <dgm:cxn modelId="{E6E2A753-F9AB-4CCE-855A-3F6670F29BFC}" type="presParOf" srcId="{5988B638-B00F-0847-8A5F-8D9F2CC78924}" destId="{80C83430-0DBD-4F49-9E64-0C82594BD9F0}" srcOrd="0" destOrd="0" presId="urn:microsoft.com/office/officeart/2005/8/layout/venn2"/>
    <dgm:cxn modelId="{3BEEBAB9-9A19-4F7E-9A8F-42422EE4BFB0}" type="presParOf" srcId="{5988B638-B00F-0847-8A5F-8D9F2CC78924}" destId="{0C21EA50-DE30-B440-B044-77530B27AB9B}"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C1C1A-EBA1-C041-91B6-DB84A72A1EA4}">
      <dsp:nvSpPr>
        <dsp:cNvPr id="0" name=""/>
        <dsp:cNvSpPr/>
      </dsp:nvSpPr>
      <dsp:spPr>
        <a:xfrm>
          <a:off x="116904" y="0"/>
          <a:ext cx="3070130" cy="3070130"/>
        </a:xfrm>
        <a:prstGeom prst="ellipse">
          <a:avLst/>
        </a:prstGeom>
        <a:solidFill>
          <a:schemeClr val="bg2"/>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baseline="0"/>
            <a:t> </a:t>
          </a:r>
          <a:endParaRPr lang="en-US" sz="1200" kern="1200"/>
        </a:p>
      </dsp:txBody>
      <dsp:txXfrm>
        <a:off x="1222764" y="153506"/>
        <a:ext cx="858408" cy="460519"/>
      </dsp:txXfrm>
    </dsp:sp>
    <dsp:sp modelId="{19D3CC6C-315D-6D46-A1D0-2DDEC1C7A2BA}">
      <dsp:nvSpPr>
        <dsp:cNvPr id="0" name=""/>
        <dsp:cNvSpPr/>
      </dsp:nvSpPr>
      <dsp:spPr>
        <a:xfrm>
          <a:off x="660194" y="316640"/>
          <a:ext cx="2456103" cy="2456103"/>
        </a:xfrm>
        <a:prstGeom prst="ellipse">
          <a:avLst/>
        </a:prstGeom>
        <a:solidFill>
          <a:schemeClr val="accent5"/>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 </a:t>
          </a:r>
        </a:p>
      </dsp:txBody>
      <dsp:txXfrm>
        <a:off x="1459042" y="464007"/>
        <a:ext cx="858408" cy="442098"/>
      </dsp:txXfrm>
    </dsp:sp>
    <dsp:sp modelId="{87FD9542-8FD3-C842-BF99-47B1884B62F8}">
      <dsp:nvSpPr>
        <dsp:cNvPr id="0" name=""/>
        <dsp:cNvSpPr/>
      </dsp:nvSpPr>
      <dsp:spPr>
        <a:xfrm>
          <a:off x="1204546" y="615450"/>
          <a:ext cx="1842078" cy="1842078"/>
        </a:xfrm>
        <a:prstGeom prst="ellipse">
          <a:avLst/>
        </a:prstGeom>
        <a:solidFill>
          <a:schemeClr val="accent3"/>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 </a:t>
          </a:r>
        </a:p>
      </dsp:txBody>
      <dsp:txXfrm>
        <a:off x="1696381" y="753606"/>
        <a:ext cx="858408" cy="414467"/>
      </dsp:txXfrm>
    </dsp:sp>
    <dsp:sp modelId="{80C83430-0DBD-4F49-9E64-0C82594BD9F0}">
      <dsp:nvSpPr>
        <dsp:cNvPr id="0" name=""/>
        <dsp:cNvSpPr/>
      </dsp:nvSpPr>
      <dsp:spPr>
        <a:xfrm>
          <a:off x="1748850" y="924845"/>
          <a:ext cx="1228051" cy="1228051"/>
        </a:xfrm>
        <a:prstGeom prst="ellipse">
          <a:avLst/>
        </a:prstGeom>
        <a:solidFill>
          <a:schemeClr val="accent1"/>
        </a:solidFill>
        <a:ln w="3175" cmpd="sng">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a:t> </a:t>
          </a:r>
        </a:p>
      </dsp:txBody>
      <dsp:txXfrm>
        <a:off x="1928694" y="1231858"/>
        <a:ext cx="868363" cy="6140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C1C1A-EBA1-C041-91B6-DB84A72A1EA4}">
      <dsp:nvSpPr>
        <dsp:cNvPr id="0" name=""/>
        <dsp:cNvSpPr/>
      </dsp:nvSpPr>
      <dsp:spPr>
        <a:xfrm>
          <a:off x="266314" y="0"/>
          <a:ext cx="3355880" cy="3355880"/>
        </a:xfrm>
        <a:prstGeom prst="ellipse">
          <a:avLst/>
        </a:prstGeom>
        <a:solidFill>
          <a:schemeClr val="bg2"/>
        </a:solidFill>
        <a:ln w="3175">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err="1">
              <a:solidFill>
                <a:srgbClr val="FFFFFF"/>
              </a:solidFill>
            </a:rPr>
            <a:t>Xxxxx</a:t>
          </a:r>
          <a:r>
            <a:rPr lang="en-US" sz="1100" kern="1200">
              <a:solidFill>
                <a:srgbClr val="FFFFFF"/>
              </a:solidFill>
            </a:rPr>
            <a:t> x xxx xxx</a:t>
          </a:r>
        </a:p>
      </dsp:txBody>
      <dsp:txXfrm>
        <a:off x="1475102" y="167793"/>
        <a:ext cx="938304" cy="503382"/>
      </dsp:txXfrm>
    </dsp:sp>
    <dsp:sp modelId="{19D3CC6C-315D-6D46-A1D0-2DDEC1C7A2BA}">
      <dsp:nvSpPr>
        <dsp:cNvPr id="0" name=""/>
        <dsp:cNvSpPr/>
      </dsp:nvSpPr>
      <dsp:spPr>
        <a:xfrm>
          <a:off x="601902" y="642664"/>
          <a:ext cx="2684704" cy="2684704"/>
        </a:xfrm>
        <a:prstGeom prst="ellipse">
          <a:avLst/>
        </a:prstGeom>
        <a:solidFill>
          <a:schemeClr val="accent5"/>
        </a:solidFill>
        <a:ln w="3175">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err="1">
              <a:solidFill>
                <a:srgbClr val="FFFFFF"/>
              </a:solidFill>
            </a:rPr>
            <a:t>Xxxx</a:t>
          </a:r>
          <a:r>
            <a:rPr lang="en-US" sz="1100" kern="1200">
              <a:solidFill>
                <a:srgbClr val="FFFFFF"/>
              </a:solidFill>
            </a:rPr>
            <a:t> x xxx </a:t>
          </a:r>
          <a:r>
            <a:rPr lang="en-US" sz="1100" kern="1200" err="1">
              <a:solidFill>
                <a:srgbClr val="FFFFFF"/>
              </a:solidFill>
            </a:rPr>
            <a:t>xxxx</a:t>
          </a:r>
          <a:endParaRPr lang="en-US" sz="1100" kern="1200">
            <a:solidFill>
              <a:srgbClr val="FFFFFF"/>
            </a:solidFill>
          </a:endParaRPr>
        </a:p>
      </dsp:txBody>
      <dsp:txXfrm>
        <a:off x="1475102" y="803746"/>
        <a:ext cx="938304" cy="483246"/>
      </dsp:txXfrm>
    </dsp:sp>
    <dsp:sp modelId="{87FD9542-8FD3-C842-BF99-47B1884B62F8}">
      <dsp:nvSpPr>
        <dsp:cNvPr id="0" name=""/>
        <dsp:cNvSpPr/>
      </dsp:nvSpPr>
      <dsp:spPr>
        <a:xfrm>
          <a:off x="937490" y="1280315"/>
          <a:ext cx="2013528" cy="2013528"/>
        </a:xfrm>
        <a:prstGeom prst="ellipse">
          <a:avLst/>
        </a:prstGeom>
        <a:solidFill>
          <a:schemeClr val="accent3"/>
        </a:solidFill>
        <a:ln w="3175">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a:solidFill>
                <a:srgbClr val="FFFFFF"/>
              </a:solidFill>
            </a:rPr>
            <a:t>X xxx </a:t>
          </a:r>
          <a:r>
            <a:rPr lang="en-US" sz="1100" kern="1200" err="1">
              <a:solidFill>
                <a:srgbClr val="FFFFFF"/>
              </a:solidFill>
            </a:rPr>
            <a:t>xxxxxx</a:t>
          </a:r>
          <a:endParaRPr lang="en-US" sz="1100" kern="1200">
            <a:solidFill>
              <a:srgbClr val="FFFFFF"/>
            </a:solidFill>
          </a:endParaRPr>
        </a:p>
      </dsp:txBody>
      <dsp:txXfrm>
        <a:off x="1475102" y="1431329"/>
        <a:ext cx="938304" cy="453043"/>
      </dsp:txXfrm>
    </dsp:sp>
    <dsp:sp modelId="{80C83430-0DBD-4F49-9E64-0C82594BD9F0}">
      <dsp:nvSpPr>
        <dsp:cNvPr id="0" name=""/>
        <dsp:cNvSpPr/>
      </dsp:nvSpPr>
      <dsp:spPr>
        <a:xfrm>
          <a:off x="1273078" y="1918221"/>
          <a:ext cx="1342352" cy="1342352"/>
        </a:xfrm>
        <a:prstGeom prst="ellipse">
          <a:avLst/>
        </a:prstGeom>
        <a:solidFill>
          <a:schemeClr val="accent1"/>
        </a:solidFill>
        <a:ln w="3175">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kern="1200">
              <a:solidFill>
                <a:srgbClr val="FFFFFF"/>
              </a:solidFill>
            </a:rPr>
            <a:t>Xxx x </a:t>
          </a:r>
          <a:r>
            <a:rPr lang="en-US" sz="1100" kern="1200" err="1">
              <a:solidFill>
                <a:srgbClr val="FFFFFF"/>
              </a:solidFill>
            </a:rPr>
            <a:t>xxxx</a:t>
          </a:r>
          <a:r>
            <a:rPr lang="en-US" sz="1100" kern="1200">
              <a:solidFill>
                <a:srgbClr val="FFFFFF"/>
              </a:solidFill>
            </a:rPr>
            <a:t> </a:t>
          </a:r>
          <a:r>
            <a:rPr lang="en-US" sz="1100" kern="1200" err="1">
              <a:solidFill>
                <a:srgbClr val="FFFFFF"/>
              </a:solidFill>
            </a:rPr>
            <a:t>xxxx</a:t>
          </a:r>
          <a:endParaRPr lang="en-US" sz="1100" kern="1200">
            <a:solidFill>
              <a:srgbClr val="FFFFFF"/>
            </a:solidFill>
          </a:endParaRPr>
        </a:p>
      </dsp:txBody>
      <dsp:txXfrm>
        <a:off x="1469661" y="2253809"/>
        <a:ext cx="949186" cy="671176"/>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6C3EA9E-6BDC-4A79-AFF7-99C44CB824C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57F4F1B-A484-48CA-949E-C54FAD24ACD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3440642-083C-45F1-96AE-6C40D1428CD6}" type="datetimeFigureOut">
              <a:rPr lang="en-GB" smtClean="0"/>
              <a:t>20/06/2022</a:t>
            </a:fld>
            <a:endParaRPr lang="en-GB"/>
          </a:p>
        </p:txBody>
      </p:sp>
      <p:sp>
        <p:nvSpPr>
          <p:cNvPr id="4" name="Footer Placeholder 3">
            <a:extLst>
              <a:ext uri="{FF2B5EF4-FFF2-40B4-BE49-F238E27FC236}">
                <a16:creationId xmlns:a16="http://schemas.microsoft.com/office/drawing/2014/main" id="{195FCCD8-E031-4ADB-97E6-0462DC70D0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834311C-44CC-49A8-A38C-3C038F9763D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B2F52F-549D-4565-87BA-A1055EB5BA15}" type="slidenum">
              <a:rPr lang="en-GB" smtClean="0"/>
              <a:t>‹#›</a:t>
            </a:fld>
            <a:endParaRPr lang="en-GB"/>
          </a:p>
        </p:txBody>
      </p:sp>
    </p:spTree>
    <p:extLst>
      <p:ext uri="{BB962C8B-B14F-4D97-AF65-F5344CB8AC3E}">
        <p14:creationId xmlns:p14="http://schemas.microsoft.com/office/powerpoint/2010/main" val="2563889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2F1A5-1147-44AA-941C-401C9E3002E6}" type="datetimeFigureOut">
              <a:rPr lang="en-US" smtClean="0"/>
              <a:t>6/20/22</a:t>
            </a:fld>
            <a:endParaRPr lang="en-US"/>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ca gli stili del testo dello schema</a:t>
            </a:r>
          </a:p>
          <a:p>
            <a:pPr lvl="1"/>
            <a:r>
              <a:rPr lang="en-US"/>
              <a:t>Secondo livello</a:t>
            </a:r>
          </a:p>
          <a:p>
            <a:pPr lvl="2"/>
            <a:r>
              <a:rPr lang="en-US"/>
              <a:t>Terzo livello</a:t>
            </a:r>
          </a:p>
          <a:p>
            <a:pPr lvl="3"/>
            <a:r>
              <a:rPr lang="en-US"/>
              <a:t>Quarto livello</a:t>
            </a:r>
          </a:p>
          <a:p>
            <a:pPr lvl="4"/>
            <a:r>
              <a:rPr lang="en-US"/>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F3249D-E364-4AF9-8113-7FC01C784AA7}" type="slidenum">
              <a:rPr lang="en-US" smtClean="0"/>
              <a:t>‹#›</a:t>
            </a:fld>
            <a:endParaRPr lang="en-US"/>
          </a:p>
        </p:txBody>
      </p:sp>
    </p:spTree>
    <p:extLst>
      <p:ext uri="{BB962C8B-B14F-4D97-AF65-F5344CB8AC3E}">
        <p14:creationId xmlns:p14="http://schemas.microsoft.com/office/powerpoint/2010/main" val="1179644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a:t>
            </a:fld>
            <a:endParaRPr lang="en-GB"/>
          </a:p>
        </p:txBody>
      </p:sp>
    </p:spTree>
    <p:extLst>
      <p:ext uri="{BB962C8B-B14F-4D97-AF65-F5344CB8AC3E}">
        <p14:creationId xmlns:p14="http://schemas.microsoft.com/office/powerpoint/2010/main" val="4013594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7</a:t>
            </a:fld>
            <a:endParaRPr lang="en-GB"/>
          </a:p>
        </p:txBody>
      </p:sp>
    </p:spTree>
    <p:extLst>
      <p:ext uri="{BB962C8B-B14F-4D97-AF65-F5344CB8AC3E}">
        <p14:creationId xmlns:p14="http://schemas.microsoft.com/office/powerpoint/2010/main" val="675520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8</a:t>
            </a:fld>
            <a:endParaRPr lang="en-GB"/>
          </a:p>
        </p:txBody>
      </p:sp>
    </p:spTree>
    <p:extLst>
      <p:ext uri="{BB962C8B-B14F-4D97-AF65-F5344CB8AC3E}">
        <p14:creationId xmlns:p14="http://schemas.microsoft.com/office/powerpoint/2010/main" val="1508036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9</a:t>
            </a:fld>
            <a:endParaRPr lang="en-GB"/>
          </a:p>
        </p:txBody>
      </p:sp>
    </p:spTree>
    <p:extLst>
      <p:ext uri="{BB962C8B-B14F-4D97-AF65-F5344CB8AC3E}">
        <p14:creationId xmlns:p14="http://schemas.microsoft.com/office/powerpoint/2010/main" val="3354360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0</a:t>
            </a:fld>
            <a:endParaRPr lang="en-GB"/>
          </a:p>
        </p:txBody>
      </p:sp>
    </p:spTree>
    <p:extLst>
      <p:ext uri="{BB962C8B-B14F-4D97-AF65-F5344CB8AC3E}">
        <p14:creationId xmlns:p14="http://schemas.microsoft.com/office/powerpoint/2010/main" val="854837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1</a:t>
            </a:fld>
            <a:endParaRPr lang="en-GB"/>
          </a:p>
        </p:txBody>
      </p:sp>
    </p:spTree>
    <p:extLst>
      <p:ext uri="{BB962C8B-B14F-4D97-AF65-F5344CB8AC3E}">
        <p14:creationId xmlns:p14="http://schemas.microsoft.com/office/powerpoint/2010/main" val="39214274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2</a:t>
            </a:fld>
            <a:endParaRPr lang="en-GB"/>
          </a:p>
        </p:txBody>
      </p:sp>
    </p:spTree>
    <p:extLst>
      <p:ext uri="{BB962C8B-B14F-4D97-AF65-F5344CB8AC3E}">
        <p14:creationId xmlns:p14="http://schemas.microsoft.com/office/powerpoint/2010/main" val="681754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3</a:t>
            </a:fld>
            <a:endParaRPr lang="en-GB"/>
          </a:p>
        </p:txBody>
      </p:sp>
    </p:spTree>
    <p:extLst>
      <p:ext uri="{BB962C8B-B14F-4D97-AF65-F5344CB8AC3E}">
        <p14:creationId xmlns:p14="http://schemas.microsoft.com/office/powerpoint/2010/main" val="34731756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4</a:t>
            </a:fld>
            <a:endParaRPr lang="en-GB"/>
          </a:p>
        </p:txBody>
      </p:sp>
    </p:spTree>
    <p:extLst>
      <p:ext uri="{BB962C8B-B14F-4D97-AF65-F5344CB8AC3E}">
        <p14:creationId xmlns:p14="http://schemas.microsoft.com/office/powerpoint/2010/main" val="2188832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5</a:t>
            </a:fld>
            <a:endParaRPr lang="en-GB"/>
          </a:p>
        </p:txBody>
      </p:sp>
    </p:spTree>
    <p:extLst>
      <p:ext uri="{BB962C8B-B14F-4D97-AF65-F5344CB8AC3E}">
        <p14:creationId xmlns:p14="http://schemas.microsoft.com/office/powerpoint/2010/main" val="3027562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6</a:t>
            </a:fld>
            <a:endParaRPr lang="en-GB"/>
          </a:p>
        </p:txBody>
      </p:sp>
    </p:spTree>
    <p:extLst>
      <p:ext uri="{BB962C8B-B14F-4D97-AF65-F5344CB8AC3E}">
        <p14:creationId xmlns:p14="http://schemas.microsoft.com/office/powerpoint/2010/main" val="724112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9</a:t>
            </a:fld>
            <a:endParaRPr lang="en-GB"/>
          </a:p>
        </p:txBody>
      </p:sp>
    </p:spTree>
    <p:extLst>
      <p:ext uri="{BB962C8B-B14F-4D97-AF65-F5344CB8AC3E}">
        <p14:creationId xmlns:p14="http://schemas.microsoft.com/office/powerpoint/2010/main" val="3849331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7</a:t>
            </a:fld>
            <a:endParaRPr lang="en-GB"/>
          </a:p>
        </p:txBody>
      </p:sp>
    </p:spTree>
    <p:extLst>
      <p:ext uri="{BB962C8B-B14F-4D97-AF65-F5344CB8AC3E}">
        <p14:creationId xmlns:p14="http://schemas.microsoft.com/office/powerpoint/2010/main" val="22952261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8</a:t>
            </a:fld>
            <a:endParaRPr lang="en-GB"/>
          </a:p>
        </p:txBody>
      </p:sp>
    </p:spTree>
    <p:extLst>
      <p:ext uri="{BB962C8B-B14F-4D97-AF65-F5344CB8AC3E}">
        <p14:creationId xmlns:p14="http://schemas.microsoft.com/office/powerpoint/2010/main" val="2506946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29</a:t>
            </a:fld>
            <a:endParaRPr lang="en-GB"/>
          </a:p>
        </p:txBody>
      </p:sp>
    </p:spTree>
    <p:extLst>
      <p:ext uri="{BB962C8B-B14F-4D97-AF65-F5344CB8AC3E}">
        <p14:creationId xmlns:p14="http://schemas.microsoft.com/office/powerpoint/2010/main" val="5888810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0</a:t>
            </a:fld>
            <a:endParaRPr lang="en-GB"/>
          </a:p>
        </p:txBody>
      </p:sp>
    </p:spTree>
    <p:extLst>
      <p:ext uri="{BB962C8B-B14F-4D97-AF65-F5344CB8AC3E}">
        <p14:creationId xmlns:p14="http://schemas.microsoft.com/office/powerpoint/2010/main" val="3385090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1</a:t>
            </a:fld>
            <a:endParaRPr lang="en-GB"/>
          </a:p>
        </p:txBody>
      </p:sp>
    </p:spTree>
    <p:extLst>
      <p:ext uri="{BB962C8B-B14F-4D97-AF65-F5344CB8AC3E}">
        <p14:creationId xmlns:p14="http://schemas.microsoft.com/office/powerpoint/2010/main" val="4014075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2</a:t>
            </a:fld>
            <a:endParaRPr lang="en-GB"/>
          </a:p>
        </p:txBody>
      </p:sp>
    </p:spTree>
    <p:extLst>
      <p:ext uri="{BB962C8B-B14F-4D97-AF65-F5344CB8AC3E}">
        <p14:creationId xmlns:p14="http://schemas.microsoft.com/office/powerpoint/2010/main" val="563561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3</a:t>
            </a:fld>
            <a:endParaRPr lang="en-GB"/>
          </a:p>
        </p:txBody>
      </p:sp>
    </p:spTree>
    <p:extLst>
      <p:ext uri="{BB962C8B-B14F-4D97-AF65-F5344CB8AC3E}">
        <p14:creationId xmlns:p14="http://schemas.microsoft.com/office/powerpoint/2010/main" val="16900388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4</a:t>
            </a:fld>
            <a:endParaRPr lang="en-GB"/>
          </a:p>
        </p:txBody>
      </p:sp>
    </p:spTree>
    <p:extLst>
      <p:ext uri="{BB962C8B-B14F-4D97-AF65-F5344CB8AC3E}">
        <p14:creationId xmlns:p14="http://schemas.microsoft.com/office/powerpoint/2010/main" val="38267425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5</a:t>
            </a:fld>
            <a:endParaRPr lang="en-GB"/>
          </a:p>
        </p:txBody>
      </p:sp>
    </p:spTree>
    <p:extLst>
      <p:ext uri="{BB962C8B-B14F-4D97-AF65-F5344CB8AC3E}">
        <p14:creationId xmlns:p14="http://schemas.microsoft.com/office/powerpoint/2010/main" val="41434045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6</a:t>
            </a:fld>
            <a:endParaRPr lang="en-GB"/>
          </a:p>
        </p:txBody>
      </p:sp>
    </p:spTree>
    <p:extLst>
      <p:ext uri="{BB962C8B-B14F-4D97-AF65-F5344CB8AC3E}">
        <p14:creationId xmlns:p14="http://schemas.microsoft.com/office/powerpoint/2010/main" val="2368904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0</a:t>
            </a:fld>
            <a:endParaRPr lang="en-GB"/>
          </a:p>
        </p:txBody>
      </p:sp>
    </p:spTree>
    <p:extLst>
      <p:ext uri="{BB962C8B-B14F-4D97-AF65-F5344CB8AC3E}">
        <p14:creationId xmlns:p14="http://schemas.microsoft.com/office/powerpoint/2010/main" val="2576397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7</a:t>
            </a:fld>
            <a:endParaRPr lang="en-GB"/>
          </a:p>
        </p:txBody>
      </p:sp>
    </p:spTree>
    <p:extLst>
      <p:ext uri="{BB962C8B-B14F-4D97-AF65-F5344CB8AC3E}">
        <p14:creationId xmlns:p14="http://schemas.microsoft.com/office/powerpoint/2010/main" val="2686067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8</a:t>
            </a:fld>
            <a:endParaRPr lang="en-GB"/>
          </a:p>
        </p:txBody>
      </p:sp>
    </p:spTree>
    <p:extLst>
      <p:ext uri="{BB962C8B-B14F-4D97-AF65-F5344CB8AC3E}">
        <p14:creationId xmlns:p14="http://schemas.microsoft.com/office/powerpoint/2010/main" val="15500345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39</a:t>
            </a:fld>
            <a:endParaRPr lang="en-GB"/>
          </a:p>
        </p:txBody>
      </p:sp>
    </p:spTree>
    <p:extLst>
      <p:ext uri="{BB962C8B-B14F-4D97-AF65-F5344CB8AC3E}">
        <p14:creationId xmlns:p14="http://schemas.microsoft.com/office/powerpoint/2010/main" val="2754159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0</a:t>
            </a:fld>
            <a:endParaRPr lang="en-GB"/>
          </a:p>
        </p:txBody>
      </p:sp>
    </p:spTree>
    <p:extLst>
      <p:ext uri="{BB962C8B-B14F-4D97-AF65-F5344CB8AC3E}">
        <p14:creationId xmlns:p14="http://schemas.microsoft.com/office/powerpoint/2010/main" val="3288984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1</a:t>
            </a:fld>
            <a:endParaRPr lang="en-GB"/>
          </a:p>
        </p:txBody>
      </p:sp>
    </p:spTree>
    <p:extLst>
      <p:ext uri="{BB962C8B-B14F-4D97-AF65-F5344CB8AC3E}">
        <p14:creationId xmlns:p14="http://schemas.microsoft.com/office/powerpoint/2010/main" val="13878041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3</a:t>
            </a:fld>
            <a:endParaRPr lang="en-GB"/>
          </a:p>
        </p:txBody>
      </p:sp>
    </p:spTree>
    <p:extLst>
      <p:ext uri="{BB962C8B-B14F-4D97-AF65-F5344CB8AC3E}">
        <p14:creationId xmlns:p14="http://schemas.microsoft.com/office/powerpoint/2010/main" val="11354858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4</a:t>
            </a:fld>
            <a:endParaRPr lang="en-GB"/>
          </a:p>
        </p:txBody>
      </p:sp>
    </p:spTree>
    <p:extLst>
      <p:ext uri="{BB962C8B-B14F-4D97-AF65-F5344CB8AC3E}">
        <p14:creationId xmlns:p14="http://schemas.microsoft.com/office/powerpoint/2010/main" val="27350901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5</a:t>
            </a:fld>
            <a:endParaRPr lang="en-GB"/>
          </a:p>
        </p:txBody>
      </p:sp>
    </p:spTree>
    <p:extLst>
      <p:ext uri="{BB962C8B-B14F-4D97-AF65-F5344CB8AC3E}">
        <p14:creationId xmlns:p14="http://schemas.microsoft.com/office/powerpoint/2010/main" val="25246037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6</a:t>
            </a:fld>
            <a:endParaRPr lang="en-GB"/>
          </a:p>
        </p:txBody>
      </p:sp>
    </p:spTree>
    <p:extLst>
      <p:ext uri="{BB962C8B-B14F-4D97-AF65-F5344CB8AC3E}">
        <p14:creationId xmlns:p14="http://schemas.microsoft.com/office/powerpoint/2010/main" val="16257092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7</a:t>
            </a:fld>
            <a:endParaRPr lang="en-GB"/>
          </a:p>
        </p:txBody>
      </p:sp>
    </p:spTree>
    <p:extLst>
      <p:ext uri="{BB962C8B-B14F-4D97-AF65-F5344CB8AC3E}">
        <p14:creationId xmlns:p14="http://schemas.microsoft.com/office/powerpoint/2010/main" val="310173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1</a:t>
            </a:fld>
            <a:endParaRPr lang="en-GB"/>
          </a:p>
        </p:txBody>
      </p:sp>
    </p:spTree>
    <p:extLst>
      <p:ext uri="{BB962C8B-B14F-4D97-AF65-F5344CB8AC3E}">
        <p14:creationId xmlns:p14="http://schemas.microsoft.com/office/powerpoint/2010/main" val="3963498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8</a:t>
            </a:fld>
            <a:endParaRPr lang="en-GB"/>
          </a:p>
        </p:txBody>
      </p:sp>
    </p:spTree>
    <p:extLst>
      <p:ext uri="{BB962C8B-B14F-4D97-AF65-F5344CB8AC3E}">
        <p14:creationId xmlns:p14="http://schemas.microsoft.com/office/powerpoint/2010/main" val="8722604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49</a:t>
            </a:fld>
            <a:endParaRPr lang="en-GB"/>
          </a:p>
        </p:txBody>
      </p:sp>
    </p:spTree>
    <p:extLst>
      <p:ext uri="{BB962C8B-B14F-4D97-AF65-F5344CB8AC3E}">
        <p14:creationId xmlns:p14="http://schemas.microsoft.com/office/powerpoint/2010/main" val="24325532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0</a:t>
            </a:fld>
            <a:endParaRPr lang="en-GB"/>
          </a:p>
        </p:txBody>
      </p:sp>
    </p:spTree>
    <p:extLst>
      <p:ext uri="{BB962C8B-B14F-4D97-AF65-F5344CB8AC3E}">
        <p14:creationId xmlns:p14="http://schemas.microsoft.com/office/powerpoint/2010/main" val="26647744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1</a:t>
            </a:fld>
            <a:endParaRPr lang="en-GB"/>
          </a:p>
        </p:txBody>
      </p:sp>
    </p:spTree>
    <p:extLst>
      <p:ext uri="{BB962C8B-B14F-4D97-AF65-F5344CB8AC3E}">
        <p14:creationId xmlns:p14="http://schemas.microsoft.com/office/powerpoint/2010/main" val="14192361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2</a:t>
            </a:fld>
            <a:endParaRPr lang="en-GB"/>
          </a:p>
        </p:txBody>
      </p:sp>
    </p:spTree>
    <p:extLst>
      <p:ext uri="{BB962C8B-B14F-4D97-AF65-F5344CB8AC3E}">
        <p14:creationId xmlns:p14="http://schemas.microsoft.com/office/powerpoint/2010/main" val="26574548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3</a:t>
            </a:fld>
            <a:endParaRPr lang="en-GB"/>
          </a:p>
        </p:txBody>
      </p:sp>
    </p:spTree>
    <p:extLst>
      <p:ext uri="{BB962C8B-B14F-4D97-AF65-F5344CB8AC3E}">
        <p14:creationId xmlns:p14="http://schemas.microsoft.com/office/powerpoint/2010/main" val="13639320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4</a:t>
            </a:fld>
            <a:endParaRPr lang="en-GB"/>
          </a:p>
        </p:txBody>
      </p:sp>
    </p:spTree>
    <p:extLst>
      <p:ext uri="{BB962C8B-B14F-4D97-AF65-F5344CB8AC3E}">
        <p14:creationId xmlns:p14="http://schemas.microsoft.com/office/powerpoint/2010/main" val="25876585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5</a:t>
            </a:fld>
            <a:endParaRPr lang="en-GB"/>
          </a:p>
        </p:txBody>
      </p:sp>
    </p:spTree>
    <p:extLst>
      <p:ext uri="{BB962C8B-B14F-4D97-AF65-F5344CB8AC3E}">
        <p14:creationId xmlns:p14="http://schemas.microsoft.com/office/powerpoint/2010/main" val="15081254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6</a:t>
            </a:fld>
            <a:endParaRPr lang="en-GB"/>
          </a:p>
        </p:txBody>
      </p:sp>
    </p:spTree>
    <p:extLst>
      <p:ext uri="{BB962C8B-B14F-4D97-AF65-F5344CB8AC3E}">
        <p14:creationId xmlns:p14="http://schemas.microsoft.com/office/powerpoint/2010/main" val="30889098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7</a:t>
            </a:fld>
            <a:endParaRPr lang="en-GB"/>
          </a:p>
        </p:txBody>
      </p:sp>
    </p:spTree>
    <p:extLst>
      <p:ext uri="{BB962C8B-B14F-4D97-AF65-F5344CB8AC3E}">
        <p14:creationId xmlns:p14="http://schemas.microsoft.com/office/powerpoint/2010/main" val="1284843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2</a:t>
            </a:fld>
            <a:endParaRPr lang="en-GB"/>
          </a:p>
        </p:txBody>
      </p:sp>
    </p:spTree>
    <p:extLst>
      <p:ext uri="{BB962C8B-B14F-4D97-AF65-F5344CB8AC3E}">
        <p14:creationId xmlns:p14="http://schemas.microsoft.com/office/powerpoint/2010/main" val="1782000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8</a:t>
            </a:fld>
            <a:endParaRPr lang="en-GB"/>
          </a:p>
        </p:txBody>
      </p:sp>
    </p:spTree>
    <p:extLst>
      <p:ext uri="{BB962C8B-B14F-4D97-AF65-F5344CB8AC3E}">
        <p14:creationId xmlns:p14="http://schemas.microsoft.com/office/powerpoint/2010/main" val="37922910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59</a:t>
            </a:fld>
            <a:endParaRPr lang="en-GB"/>
          </a:p>
        </p:txBody>
      </p:sp>
    </p:spTree>
    <p:extLst>
      <p:ext uri="{BB962C8B-B14F-4D97-AF65-F5344CB8AC3E}">
        <p14:creationId xmlns:p14="http://schemas.microsoft.com/office/powerpoint/2010/main" val="37344969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0</a:t>
            </a:fld>
            <a:endParaRPr lang="en-GB"/>
          </a:p>
        </p:txBody>
      </p:sp>
    </p:spTree>
    <p:extLst>
      <p:ext uri="{BB962C8B-B14F-4D97-AF65-F5344CB8AC3E}">
        <p14:creationId xmlns:p14="http://schemas.microsoft.com/office/powerpoint/2010/main" val="33115356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1</a:t>
            </a:fld>
            <a:endParaRPr lang="en-GB"/>
          </a:p>
        </p:txBody>
      </p:sp>
    </p:spTree>
    <p:extLst>
      <p:ext uri="{BB962C8B-B14F-4D97-AF65-F5344CB8AC3E}">
        <p14:creationId xmlns:p14="http://schemas.microsoft.com/office/powerpoint/2010/main" val="9740791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3</a:t>
            </a:fld>
            <a:endParaRPr lang="en-GB"/>
          </a:p>
        </p:txBody>
      </p:sp>
    </p:spTree>
    <p:extLst>
      <p:ext uri="{BB962C8B-B14F-4D97-AF65-F5344CB8AC3E}">
        <p14:creationId xmlns:p14="http://schemas.microsoft.com/office/powerpoint/2010/main" val="9404418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4</a:t>
            </a:fld>
            <a:endParaRPr lang="en-GB"/>
          </a:p>
        </p:txBody>
      </p:sp>
    </p:spTree>
    <p:extLst>
      <p:ext uri="{BB962C8B-B14F-4D97-AF65-F5344CB8AC3E}">
        <p14:creationId xmlns:p14="http://schemas.microsoft.com/office/powerpoint/2010/main" val="41740901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5</a:t>
            </a:fld>
            <a:endParaRPr lang="en-GB"/>
          </a:p>
        </p:txBody>
      </p:sp>
    </p:spTree>
    <p:extLst>
      <p:ext uri="{BB962C8B-B14F-4D97-AF65-F5344CB8AC3E}">
        <p14:creationId xmlns:p14="http://schemas.microsoft.com/office/powerpoint/2010/main" val="216401603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6</a:t>
            </a:fld>
            <a:endParaRPr lang="en-GB"/>
          </a:p>
        </p:txBody>
      </p:sp>
    </p:spTree>
    <p:extLst>
      <p:ext uri="{BB962C8B-B14F-4D97-AF65-F5344CB8AC3E}">
        <p14:creationId xmlns:p14="http://schemas.microsoft.com/office/powerpoint/2010/main" val="37972255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7</a:t>
            </a:fld>
            <a:endParaRPr lang="en-GB"/>
          </a:p>
        </p:txBody>
      </p:sp>
    </p:spTree>
    <p:extLst>
      <p:ext uri="{BB962C8B-B14F-4D97-AF65-F5344CB8AC3E}">
        <p14:creationId xmlns:p14="http://schemas.microsoft.com/office/powerpoint/2010/main" val="35861110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8</a:t>
            </a:fld>
            <a:endParaRPr lang="en-GB"/>
          </a:p>
        </p:txBody>
      </p:sp>
    </p:spTree>
    <p:extLst>
      <p:ext uri="{BB962C8B-B14F-4D97-AF65-F5344CB8AC3E}">
        <p14:creationId xmlns:p14="http://schemas.microsoft.com/office/powerpoint/2010/main" val="524251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3</a:t>
            </a:fld>
            <a:endParaRPr lang="en-GB"/>
          </a:p>
        </p:txBody>
      </p:sp>
    </p:spTree>
    <p:extLst>
      <p:ext uri="{BB962C8B-B14F-4D97-AF65-F5344CB8AC3E}">
        <p14:creationId xmlns:p14="http://schemas.microsoft.com/office/powerpoint/2010/main" val="16735439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69</a:t>
            </a:fld>
            <a:endParaRPr lang="en-GB"/>
          </a:p>
        </p:txBody>
      </p:sp>
    </p:spTree>
    <p:extLst>
      <p:ext uri="{BB962C8B-B14F-4D97-AF65-F5344CB8AC3E}">
        <p14:creationId xmlns:p14="http://schemas.microsoft.com/office/powerpoint/2010/main" val="288637995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0</a:t>
            </a:fld>
            <a:endParaRPr lang="en-GB"/>
          </a:p>
        </p:txBody>
      </p:sp>
    </p:spTree>
    <p:extLst>
      <p:ext uri="{BB962C8B-B14F-4D97-AF65-F5344CB8AC3E}">
        <p14:creationId xmlns:p14="http://schemas.microsoft.com/office/powerpoint/2010/main" val="14700764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1</a:t>
            </a:fld>
            <a:endParaRPr lang="en-GB"/>
          </a:p>
        </p:txBody>
      </p:sp>
    </p:spTree>
    <p:extLst>
      <p:ext uri="{BB962C8B-B14F-4D97-AF65-F5344CB8AC3E}">
        <p14:creationId xmlns:p14="http://schemas.microsoft.com/office/powerpoint/2010/main" val="39354497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2</a:t>
            </a:fld>
            <a:endParaRPr lang="en-GB"/>
          </a:p>
        </p:txBody>
      </p:sp>
    </p:spTree>
    <p:extLst>
      <p:ext uri="{BB962C8B-B14F-4D97-AF65-F5344CB8AC3E}">
        <p14:creationId xmlns:p14="http://schemas.microsoft.com/office/powerpoint/2010/main" val="3627417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3</a:t>
            </a:fld>
            <a:endParaRPr lang="en-GB"/>
          </a:p>
        </p:txBody>
      </p:sp>
    </p:spTree>
    <p:extLst>
      <p:ext uri="{BB962C8B-B14F-4D97-AF65-F5344CB8AC3E}">
        <p14:creationId xmlns:p14="http://schemas.microsoft.com/office/powerpoint/2010/main" val="23743328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4</a:t>
            </a:fld>
            <a:endParaRPr lang="en-GB"/>
          </a:p>
        </p:txBody>
      </p:sp>
    </p:spTree>
    <p:extLst>
      <p:ext uri="{BB962C8B-B14F-4D97-AF65-F5344CB8AC3E}">
        <p14:creationId xmlns:p14="http://schemas.microsoft.com/office/powerpoint/2010/main" val="281235256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5</a:t>
            </a:fld>
            <a:endParaRPr lang="en-GB"/>
          </a:p>
        </p:txBody>
      </p:sp>
    </p:spTree>
    <p:extLst>
      <p:ext uri="{BB962C8B-B14F-4D97-AF65-F5344CB8AC3E}">
        <p14:creationId xmlns:p14="http://schemas.microsoft.com/office/powerpoint/2010/main" val="26107451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6</a:t>
            </a:fld>
            <a:endParaRPr lang="en-GB"/>
          </a:p>
        </p:txBody>
      </p:sp>
    </p:spTree>
    <p:extLst>
      <p:ext uri="{BB962C8B-B14F-4D97-AF65-F5344CB8AC3E}">
        <p14:creationId xmlns:p14="http://schemas.microsoft.com/office/powerpoint/2010/main" val="258847463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7</a:t>
            </a:fld>
            <a:endParaRPr lang="en-GB"/>
          </a:p>
        </p:txBody>
      </p:sp>
    </p:spTree>
    <p:extLst>
      <p:ext uri="{BB962C8B-B14F-4D97-AF65-F5344CB8AC3E}">
        <p14:creationId xmlns:p14="http://schemas.microsoft.com/office/powerpoint/2010/main" val="17913908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8</a:t>
            </a:fld>
            <a:endParaRPr lang="en-GB"/>
          </a:p>
        </p:txBody>
      </p:sp>
    </p:spTree>
    <p:extLst>
      <p:ext uri="{BB962C8B-B14F-4D97-AF65-F5344CB8AC3E}">
        <p14:creationId xmlns:p14="http://schemas.microsoft.com/office/powerpoint/2010/main" val="726874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4</a:t>
            </a:fld>
            <a:endParaRPr lang="en-GB"/>
          </a:p>
        </p:txBody>
      </p:sp>
    </p:spTree>
    <p:extLst>
      <p:ext uri="{BB962C8B-B14F-4D97-AF65-F5344CB8AC3E}">
        <p14:creationId xmlns:p14="http://schemas.microsoft.com/office/powerpoint/2010/main" val="355115813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79</a:t>
            </a:fld>
            <a:endParaRPr lang="en-GB"/>
          </a:p>
        </p:txBody>
      </p:sp>
    </p:spTree>
    <p:extLst>
      <p:ext uri="{BB962C8B-B14F-4D97-AF65-F5344CB8AC3E}">
        <p14:creationId xmlns:p14="http://schemas.microsoft.com/office/powerpoint/2010/main" val="264652526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0</a:t>
            </a:fld>
            <a:endParaRPr lang="en-GB"/>
          </a:p>
        </p:txBody>
      </p:sp>
    </p:spTree>
    <p:extLst>
      <p:ext uri="{BB962C8B-B14F-4D97-AF65-F5344CB8AC3E}">
        <p14:creationId xmlns:p14="http://schemas.microsoft.com/office/powerpoint/2010/main" val="14294849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1</a:t>
            </a:fld>
            <a:endParaRPr lang="en-GB"/>
          </a:p>
        </p:txBody>
      </p:sp>
    </p:spTree>
    <p:extLst>
      <p:ext uri="{BB962C8B-B14F-4D97-AF65-F5344CB8AC3E}">
        <p14:creationId xmlns:p14="http://schemas.microsoft.com/office/powerpoint/2010/main" val="921974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2</a:t>
            </a:fld>
            <a:endParaRPr lang="en-GB"/>
          </a:p>
        </p:txBody>
      </p:sp>
    </p:spTree>
    <p:extLst>
      <p:ext uri="{BB962C8B-B14F-4D97-AF65-F5344CB8AC3E}">
        <p14:creationId xmlns:p14="http://schemas.microsoft.com/office/powerpoint/2010/main" val="37055620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3</a:t>
            </a:fld>
            <a:endParaRPr lang="en-GB"/>
          </a:p>
        </p:txBody>
      </p:sp>
    </p:spTree>
    <p:extLst>
      <p:ext uri="{BB962C8B-B14F-4D97-AF65-F5344CB8AC3E}">
        <p14:creationId xmlns:p14="http://schemas.microsoft.com/office/powerpoint/2010/main" val="325822709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4</a:t>
            </a:fld>
            <a:endParaRPr lang="en-GB"/>
          </a:p>
        </p:txBody>
      </p:sp>
    </p:spTree>
    <p:extLst>
      <p:ext uri="{BB962C8B-B14F-4D97-AF65-F5344CB8AC3E}">
        <p14:creationId xmlns:p14="http://schemas.microsoft.com/office/powerpoint/2010/main" val="14030584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5</a:t>
            </a:fld>
            <a:endParaRPr lang="en-GB"/>
          </a:p>
        </p:txBody>
      </p:sp>
    </p:spTree>
    <p:extLst>
      <p:ext uri="{BB962C8B-B14F-4D97-AF65-F5344CB8AC3E}">
        <p14:creationId xmlns:p14="http://schemas.microsoft.com/office/powerpoint/2010/main" val="126360707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6</a:t>
            </a:fld>
            <a:endParaRPr lang="en-GB"/>
          </a:p>
        </p:txBody>
      </p:sp>
    </p:spTree>
    <p:extLst>
      <p:ext uri="{BB962C8B-B14F-4D97-AF65-F5344CB8AC3E}">
        <p14:creationId xmlns:p14="http://schemas.microsoft.com/office/powerpoint/2010/main" val="12650560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7</a:t>
            </a:fld>
            <a:endParaRPr lang="en-GB"/>
          </a:p>
        </p:txBody>
      </p:sp>
    </p:spTree>
    <p:extLst>
      <p:ext uri="{BB962C8B-B14F-4D97-AF65-F5344CB8AC3E}">
        <p14:creationId xmlns:p14="http://schemas.microsoft.com/office/powerpoint/2010/main" val="30632562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8</a:t>
            </a:fld>
            <a:endParaRPr lang="en-GB"/>
          </a:p>
        </p:txBody>
      </p:sp>
    </p:spTree>
    <p:extLst>
      <p:ext uri="{BB962C8B-B14F-4D97-AF65-F5344CB8AC3E}">
        <p14:creationId xmlns:p14="http://schemas.microsoft.com/office/powerpoint/2010/main" val="1873182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5</a:t>
            </a:fld>
            <a:endParaRPr lang="en-GB"/>
          </a:p>
        </p:txBody>
      </p:sp>
    </p:spTree>
    <p:extLst>
      <p:ext uri="{BB962C8B-B14F-4D97-AF65-F5344CB8AC3E}">
        <p14:creationId xmlns:p14="http://schemas.microsoft.com/office/powerpoint/2010/main" val="332813218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89</a:t>
            </a:fld>
            <a:endParaRPr lang="en-GB"/>
          </a:p>
        </p:txBody>
      </p:sp>
    </p:spTree>
    <p:extLst>
      <p:ext uri="{BB962C8B-B14F-4D97-AF65-F5344CB8AC3E}">
        <p14:creationId xmlns:p14="http://schemas.microsoft.com/office/powerpoint/2010/main" val="15282833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90</a:t>
            </a:fld>
            <a:endParaRPr lang="en-GB"/>
          </a:p>
        </p:txBody>
      </p:sp>
    </p:spTree>
    <p:extLst>
      <p:ext uri="{BB962C8B-B14F-4D97-AF65-F5344CB8AC3E}">
        <p14:creationId xmlns:p14="http://schemas.microsoft.com/office/powerpoint/2010/main" val="280116195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91</a:t>
            </a:fld>
            <a:endParaRPr lang="en-GB"/>
          </a:p>
        </p:txBody>
      </p:sp>
    </p:spTree>
    <p:extLst>
      <p:ext uri="{BB962C8B-B14F-4D97-AF65-F5344CB8AC3E}">
        <p14:creationId xmlns:p14="http://schemas.microsoft.com/office/powerpoint/2010/main" val="104121186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92</a:t>
            </a:fld>
            <a:endParaRPr lang="en-GB"/>
          </a:p>
        </p:txBody>
      </p:sp>
    </p:spTree>
    <p:extLst>
      <p:ext uri="{BB962C8B-B14F-4D97-AF65-F5344CB8AC3E}">
        <p14:creationId xmlns:p14="http://schemas.microsoft.com/office/powerpoint/2010/main" val="201784395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341509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F3249D-E364-4AF9-8113-7FC01C784AA7}" type="slidenum">
              <a:rPr lang="en-US" smtClean="0"/>
              <a:t>184</a:t>
            </a:fld>
            <a:endParaRPr lang="en-US"/>
          </a:p>
        </p:txBody>
      </p:sp>
    </p:spTree>
    <p:extLst>
      <p:ext uri="{BB962C8B-B14F-4D97-AF65-F5344CB8AC3E}">
        <p14:creationId xmlns:p14="http://schemas.microsoft.com/office/powerpoint/2010/main" val="38894222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Century Gothic" panose="020B0502020202020204" pitchFamily="34" charset="0"/>
              </a:rPr>
              <a:t>Greiner's Growth Model describes phases that organizations go through as they grow. Each growth phase is made up of a period of relatively stable growth, followed by a "crisis" when major organizational change is needed if the company is to carry on growing.</a:t>
            </a:r>
          </a:p>
          <a:p>
            <a:endParaRPr lang="en-GB"/>
          </a:p>
        </p:txBody>
      </p:sp>
      <p:sp>
        <p:nvSpPr>
          <p:cNvPr id="4" name="Slide Number Placeholder 3"/>
          <p:cNvSpPr>
            <a:spLocks noGrp="1"/>
          </p:cNvSpPr>
          <p:nvPr>
            <p:ph type="sldNum" sz="quarter" idx="5"/>
          </p:nvPr>
        </p:nvSpPr>
        <p:spPr/>
        <p:txBody>
          <a:bodyPr/>
          <a:lstStyle/>
          <a:p>
            <a:fld id="{4AF3249D-E364-4AF9-8113-7FC01C784AA7}" type="slidenum">
              <a:rPr lang="en-US" smtClean="0"/>
              <a:t>185</a:t>
            </a:fld>
            <a:endParaRPr lang="en-US"/>
          </a:p>
        </p:txBody>
      </p:sp>
    </p:spTree>
    <p:extLst>
      <p:ext uri="{BB962C8B-B14F-4D97-AF65-F5344CB8AC3E}">
        <p14:creationId xmlns:p14="http://schemas.microsoft.com/office/powerpoint/2010/main" val="178517726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4889059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2397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AF3249D-E364-4AF9-8113-7FC01C784AA7}" type="slidenum">
              <a:rPr lang="en-GB" smtClean="0"/>
              <a:t>16</a:t>
            </a:fld>
            <a:endParaRPr lang="en-GB"/>
          </a:p>
        </p:txBody>
      </p:sp>
    </p:spTree>
    <p:extLst>
      <p:ext uri="{BB962C8B-B14F-4D97-AF65-F5344CB8AC3E}">
        <p14:creationId xmlns:p14="http://schemas.microsoft.com/office/powerpoint/2010/main" val="2675062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file://localhost/Users/anna/_LAVORI/REPLY/REPLY%20NEW%20LOGO/TEMPLATE%20COSTRUZIONE%20LOGO/PPT/2017-05-27%20Reply%20Gradients%20NEW%20FINAL/PURPLE%20GREY/%3E%20Purple%20Grey/16-9/Purple-Grey-Reply-Gradients_Purple-Grey.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 One">
    <p:bg>
      <p:bgPr>
        <a:solidFill>
          <a:srgbClr val="8D8EA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178637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4800" b="1" i="0" baseline="0">
              <a:latin typeface="Arial Black" panose="020B0A04020102020204" pitchFamily="34" charset="0"/>
              <a:ea typeface="+mj-ea"/>
              <a:sym typeface="Arial Black" panose="020B0A04020102020204" pitchFamily="34" charset="0"/>
            </a:endParaRPr>
          </a:p>
        </p:txBody>
      </p:sp>
      <p:sp>
        <p:nvSpPr>
          <p:cNvPr id="8" name="Title 1">
            <a:extLst>
              <a:ext uri="{FF2B5EF4-FFF2-40B4-BE49-F238E27FC236}">
                <a16:creationId xmlns:a16="http://schemas.microsoft.com/office/drawing/2014/main" id="{17C87215-8867-4408-8D53-79F024BB1017}"/>
              </a:ext>
            </a:extLst>
          </p:cNvPr>
          <p:cNvSpPr>
            <a:spLocks noGrp="1"/>
          </p:cNvSpPr>
          <p:nvPr>
            <p:ph type="ctrTitle" hasCustomPrompt="1"/>
          </p:nvPr>
        </p:nvSpPr>
        <p:spPr>
          <a:xfrm>
            <a:off x="765137" y="2636211"/>
            <a:ext cx="912816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INSERT YOUR</a:t>
            </a:r>
            <a:br>
              <a:rPr lang="en-US" noProof="0"/>
            </a:br>
            <a:r>
              <a:rPr lang="en-US" noProof="0"/>
              <a:t>TITLE HERE</a:t>
            </a:r>
          </a:p>
        </p:txBody>
      </p:sp>
      <p:sp>
        <p:nvSpPr>
          <p:cNvPr id="9" name="Subtitle 2">
            <a:extLst>
              <a:ext uri="{FF2B5EF4-FFF2-40B4-BE49-F238E27FC236}">
                <a16:creationId xmlns:a16="http://schemas.microsoft.com/office/drawing/2014/main" id="{684B4384-FA9E-41EC-A943-404A58D6FB99}"/>
              </a:ext>
            </a:extLst>
          </p:cNvPr>
          <p:cNvSpPr>
            <a:spLocks noGrp="1"/>
          </p:cNvSpPr>
          <p:nvPr>
            <p:ph type="subTitle" idx="1" hasCustomPrompt="1"/>
          </p:nvPr>
        </p:nvSpPr>
        <p:spPr>
          <a:xfrm>
            <a:off x="765137" y="4221789"/>
            <a:ext cx="9128164" cy="438427"/>
          </a:xfrm>
          <a:prstGeom prst="rect">
            <a:avLst/>
          </a:prstGeom>
        </p:spPr>
        <p:txBody>
          <a:bodyPr lIns="0" bIns="0" anchor="t">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Data Reply | Contact person | Clients name | Date</a:t>
            </a:r>
          </a:p>
        </p:txBody>
      </p:sp>
      <p:pic>
        <p:nvPicPr>
          <p:cNvPr id="18" name="Immagine 6" descr="Machine Learning Reply - LOGO_White RGB.eps">
            <a:extLst>
              <a:ext uri="{FF2B5EF4-FFF2-40B4-BE49-F238E27FC236}">
                <a16:creationId xmlns:a16="http://schemas.microsoft.com/office/drawing/2014/main" id="{D6CF0610-B499-0649-9BA4-DD2413042FE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93308" y="6284667"/>
            <a:ext cx="1547997" cy="384000"/>
          </a:xfrm>
          <a:prstGeom prst="rect">
            <a:avLst/>
          </a:prstGeom>
        </p:spPr>
      </p:pic>
    </p:spTree>
    <p:extLst>
      <p:ext uri="{BB962C8B-B14F-4D97-AF65-F5344CB8AC3E}">
        <p14:creationId xmlns:p14="http://schemas.microsoft.com/office/powerpoint/2010/main" val="156699710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Tw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606A10-8F0C-4B96-8F0F-38986ED53B73}"/>
              </a:ext>
            </a:extLst>
          </p:cNvPr>
          <p:cNvGraphicFramePr>
            <a:graphicFrameLocks noChangeAspect="1"/>
          </p:cNvGraphicFramePr>
          <p:nvPr userDrawn="1">
            <p:custDataLst>
              <p:tags r:id="rId1"/>
            </p:custDataLst>
            <p:extLst>
              <p:ext uri="{D42A27DB-BD31-4B8C-83A1-F6EECF244321}">
                <p14:modId xmlns:p14="http://schemas.microsoft.com/office/powerpoint/2010/main" val="145047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3" name="Object 2" hidden="1">
                        <a:extLst>
                          <a:ext uri="{FF2B5EF4-FFF2-40B4-BE49-F238E27FC236}">
                            <a16:creationId xmlns:a16="http://schemas.microsoft.com/office/drawing/2014/main" id="{C7606A10-8F0C-4B96-8F0F-38986ED53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D7A1DBF-AD07-4E04-96CF-3D15977685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1600" b="1" i="0" baseline="0">
              <a:latin typeface="Arial Black" panose="020B0A04020102020204" pitchFamily="34" charset="0"/>
              <a:ea typeface="+mj-ea"/>
              <a:cs typeface="+mj-cs"/>
              <a:sym typeface="Arial Black" panose="020B0A04020102020204" pitchFamily="34" charset="0"/>
            </a:endParaRPr>
          </a:p>
        </p:txBody>
      </p:sp>
      <p:sp>
        <p:nvSpPr>
          <p:cNvPr id="25" name="Segnaposto numero diapositiva 5">
            <a:extLst>
              <a:ext uri="{FF2B5EF4-FFF2-40B4-BE49-F238E27FC236}">
                <a16:creationId xmlns:a16="http://schemas.microsoft.com/office/drawing/2014/main" id="{AF3DB202-8DE1-4A0F-A783-A1F0A4DA1605}"/>
              </a:ext>
            </a:extLst>
          </p:cNvPr>
          <p:cNvSpPr>
            <a:spLocks noGrp="1"/>
          </p:cNvSpPr>
          <p:nvPr>
            <p:ph type="sldNum" sz="quarter" idx="4"/>
          </p:nvPr>
        </p:nvSpPr>
        <p:spPr>
          <a:xfrm>
            <a:off x="9083117" y="6356352"/>
            <a:ext cx="2743200" cy="223200"/>
          </a:xfrm>
          <a:prstGeom prst="rect">
            <a:avLst/>
          </a:prstGeom>
        </p:spPr>
        <p:txBody>
          <a:bodyPr vert="horz" lIns="91440" tIns="45720" rIns="91440" bIns="45720" rtlCol="0" anchor="ctr"/>
          <a:lstStyle>
            <a:lvl1pPr algn="r">
              <a:defRPr sz="1200">
                <a:solidFill>
                  <a:schemeClr val="tx1">
                    <a:tint val="75000"/>
                  </a:schemeClr>
                </a:solidFill>
              </a:defRPr>
            </a:lvl1pPr>
          </a:lstStyle>
          <a:p>
            <a:fld id="{3D966009-6E5A-4F8C-8CA7-E37AFBF5FB92}" type="slidenum">
              <a:rPr lang="en-US" smtClean="0"/>
              <a:t>‹#›</a:t>
            </a:fld>
            <a:endParaRPr lang="en-US"/>
          </a:p>
        </p:txBody>
      </p:sp>
      <p:sp>
        <p:nvSpPr>
          <p:cNvPr id="28" name="Inhaltsplatzhalter 35">
            <a:extLst>
              <a:ext uri="{FF2B5EF4-FFF2-40B4-BE49-F238E27FC236}">
                <a16:creationId xmlns:a16="http://schemas.microsoft.com/office/drawing/2014/main" id="{7E990F5F-C9D7-47BA-8AEC-1DC95FB09B52}"/>
              </a:ext>
            </a:extLst>
          </p:cNvPr>
          <p:cNvSpPr>
            <a:spLocks noGrp="1"/>
          </p:cNvSpPr>
          <p:nvPr>
            <p:ph sz="quarter" idx="10" hasCustomPrompt="1"/>
          </p:nvPr>
        </p:nvSpPr>
        <p:spPr>
          <a:xfrm>
            <a:off x="365682" y="6028266"/>
            <a:ext cx="11460635" cy="22180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rgbClr val="64B987"/>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54000" bIns="36000" anchor="b" anchorCtr="0"/>
          <a:lstStyle>
            <a:lvl1pPr>
              <a:spcBef>
                <a:spcPts val="200"/>
              </a:spcBef>
              <a:defRPr lang="de-DE" sz="1200" b="0" i="1" u="none" kern="1200" dirty="0" smtClean="0">
                <a:solidFill>
                  <a:schemeClr val="tx1"/>
                </a:solidFill>
                <a:latin typeface="+mn-lt"/>
                <a:ea typeface="+mn-ea"/>
                <a:cs typeface="+mn-cs"/>
              </a:defRPr>
            </a:lvl1pPr>
            <a:lvl2pPr>
              <a:defRPr lang="de-DE" dirty="0" smtClean="0"/>
            </a:lvl2pPr>
            <a:lvl3pPr>
              <a:defRPr lang="de-DE" dirty="0" smtClean="0"/>
            </a:lvl3pPr>
            <a:lvl4pPr>
              <a:defRPr lang="de-DE" dirty="0" smtClean="0"/>
            </a:lvl4pPr>
            <a:lvl5pPr>
              <a:defRPr lang="de-DE" dirty="0"/>
            </a:lvl5pPr>
          </a:lstStyle>
          <a:p>
            <a:pPr marL="0" lvl="0" indent="0" algn="l" defTabSz="914400" rtl="0" eaLnBrk="1" latinLnBrk="0" hangingPunct="1">
              <a:lnSpc>
                <a:spcPct val="90000"/>
              </a:lnSpc>
              <a:spcBef>
                <a:spcPct val="0"/>
              </a:spcBef>
              <a:buFontTx/>
              <a:buNone/>
            </a:pPr>
            <a:r>
              <a:rPr lang="en-US"/>
              <a:t>Source: </a:t>
            </a:r>
          </a:p>
        </p:txBody>
      </p:sp>
      <p:sp>
        <p:nvSpPr>
          <p:cNvPr id="32" name="Freeform 27">
            <a:extLst>
              <a:ext uri="{FF2B5EF4-FFF2-40B4-BE49-F238E27FC236}">
                <a16:creationId xmlns:a16="http://schemas.microsoft.com/office/drawing/2014/main" id="{115D5E09-1E48-4E0E-82C0-2E1B99C3C405}"/>
              </a:ext>
            </a:extLst>
          </p:cNvPr>
          <p:cNvSpPr>
            <a:spLocks noChangeAspect="1"/>
          </p:cNvSpPr>
          <p:nvPr userDrawn="1"/>
        </p:nvSpPr>
        <p:spPr bwMode="gray">
          <a:xfrm flipH="1">
            <a:off x="10306049" y="0"/>
            <a:ext cx="1885950" cy="943264"/>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solidFill>
            <a:srgbClr val="024049"/>
          </a:solidFill>
          <a:ln w="9525" cap="flat" cmpd="sng">
            <a:noFill/>
            <a:prstDash val="solid"/>
            <a:round/>
            <a:headEnd type="none" w="med" len="med"/>
            <a:tailEnd type="none" w="med" len="med"/>
          </a:ln>
          <a:effectLst/>
        </p:spPr>
        <p:txBody>
          <a:bodyPr>
            <a:noAutofit/>
          </a:bodyPr>
          <a:lstStyle/>
          <a:p>
            <a:pPr eaLnBrk="1">
              <a:defRPr/>
            </a:pPr>
            <a:endParaRPr lang="en-US">
              <a:solidFill>
                <a:srgbClr val="000000"/>
              </a:solidFill>
              <a:cs typeface="Arial" pitchFamily="34" charset="0"/>
            </a:endParaRPr>
          </a:p>
        </p:txBody>
      </p:sp>
      <p:sp>
        <p:nvSpPr>
          <p:cNvPr id="6" name="Text Placeholder 5">
            <a:extLst>
              <a:ext uri="{FF2B5EF4-FFF2-40B4-BE49-F238E27FC236}">
                <a16:creationId xmlns:a16="http://schemas.microsoft.com/office/drawing/2014/main" id="{CAB7C09E-2209-40FC-8B57-708E1E3ECC1E}"/>
              </a:ext>
            </a:extLst>
          </p:cNvPr>
          <p:cNvSpPr>
            <a:spLocks noGrp="1"/>
          </p:cNvSpPr>
          <p:nvPr userDrawn="1">
            <p:ph type="body" sz="quarter" idx="11"/>
          </p:nvPr>
        </p:nvSpPr>
        <p:spPr>
          <a:xfrm>
            <a:off x="365681" y="1716195"/>
            <a:ext cx="11460635" cy="4205788"/>
          </a:xfrm>
          <a:prstGeom prst="rect">
            <a:avLst/>
          </a:prstGeom>
        </p:spPr>
        <p:txBody>
          <a:bodyPr lIns="0"/>
          <a:lstStyle>
            <a:lvl1pPr>
              <a:defRPr sz="1600" u="none">
                <a:solidFill>
                  <a:srgbClr val="333657"/>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9">
            <a:extLst>
              <a:ext uri="{FF2B5EF4-FFF2-40B4-BE49-F238E27FC236}">
                <a16:creationId xmlns:a16="http://schemas.microsoft.com/office/drawing/2014/main" id="{993F5916-D4AC-4CCB-B1D3-C3E23E7F75F0}"/>
              </a:ext>
            </a:extLst>
          </p:cNvPr>
          <p:cNvSpPr>
            <a:spLocks noGrp="1"/>
          </p:cNvSpPr>
          <p:nvPr userDrawn="1">
            <p:ph type="body" sz="quarter" idx="13" hasCustomPrompt="1"/>
          </p:nvPr>
        </p:nvSpPr>
        <p:spPr>
          <a:xfrm>
            <a:off x="365682" y="1300020"/>
            <a:ext cx="11462400" cy="309892"/>
          </a:xfrm>
          <a:prstGeom prst="rect">
            <a:avLst/>
          </a:prstGeom>
        </p:spPr>
        <p:txBody>
          <a:bodyPr lIns="0" tIns="0" rIns="0" bIns="0"/>
          <a:lstStyle>
            <a:lvl1pPr>
              <a:defRPr sz="180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US"/>
              <a:t>Subtitle</a:t>
            </a:r>
          </a:p>
        </p:txBody>
      </p:sp>
      <p:sp>
        <p:nvSpPr>
          <p:cNvPr id="44" name="Inhaltsplatzhalter 35">
            <a:extLst>
              <a:ext uri="{FF2B5EF4-FFF2-40B4-BE49-F238E27FC236}">
                <a16:creationId xmlns:a16="http://schemas.microsoft.com/office/drawing/2014/main" id="{5390D463-F6CC-43D7-81F0-CC42BBE0C8E0}"/>
              </a:ext>
            </a:extLst>
          </p:cNvPr>
          <p:cNvSpPr>
            <a:spLocks noGrp="1"/>
          </p:cNvSpPr>
          <p:nvPr userDrawn="1">
            <p:ph sz="quarter" idx="14" hasCustomPrompt="1"/>
          </p:nvPr>
        </p:nvSpPr>
        <p:spPr>
          <a:xfrm>
            <a:off x="365682" y="6356352"/>
            <a:ext cx="8607600" cy="22180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rgbClr val="64B987"/>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54000" bIns="36000" anchor="b" anchorCtr="0"/>
          <a:lstStyle>
            <a:lvl1pPr marL="0" indent="0" algn="l" defTabSz="914400" rtl="0" eaLnBrk="1" latinLnBrk="0" hangingPunct="1">
              <a:lnSpc>
                <a:spcPct val="90000"/>
              </a:lnSpc>
              <a:spcBef>
                <a:spcPct val="0"/>
              </a:spcBef>
              <a:buFontTx/>
              <a:buNone/>
              <a:defRPr lang="de-DE" sz="1200" b="0" i="0" u="none" kern="1200" dirty="0" smtClean="0">
                <a:solidFill>
                  <a:schemeClr val="bg1">
                    <a:lumMod val="50000"/>
                  </a:schemeClr>
                </a:solidFill>
                <a:latin typeface="+mn-lt"/>
                <a:ea typeface="+mn-ea"/>
                <a:cs typeface="+mn-cs"/>
              </a:defRPr>
            </a:lvl1pPr>
            <a:lvl2pPr>
              <a:defRPr lang="de-DE" dirty="0" smtClean="0"/>
            </a:lvl2pPr>
            <a:lvl3pPr>
              <a:defRPr lang="de-DE" dirty="0" smtClean="0"/>
            </a:lvl3pPr>
            <a:lvl4pPr>
              <a:defRPr lang="de-DE" dirty="0" smtClean="0"/>
            </a:lvl4pPr>
            <a:lvl5pPr>
              <a:defRPr lang="de-DE" dirty="0"/>
            </a:lvl5pPr>
          </a:lstStyle>
          <a:p>
            <a:pPr marL="0" lvl="0" indent="0" algn="l" defTabSz="914400" rtl="0" eaLnBrk="1" latinLnBrk="0" hangingPunct="1">
              <a:lnSpc>
                <a:spcPct val="90000"/>
              </a:lnSpc>
              <a:spcBef>
                <a:spcPct val="0"/>
              </a:spcBef>
              <a:buFontTx/>
              <a:buNone/>
            </a:pPr>
            <a:r>
              <a:rPr lang="en-US"/>
              <a:t>Machine Learning Reply | Client | Date</a:t>
            </a:r>
          </a:p>
        </p:txBody>
      </p:sp>
      <p:sp>
        <p:nvSpPr>
          <p:cNvPr id="13" name="Title Placeholder 54">
            <a:extLst>
              <a:ext uri="{FF2B5EF4-FFF2-40B4-BE49-F238E27FC236}">
                <a16:creationId xmlns:a16="http://schemas.microsoft.com/office/drawing/2014/main" id="{98BBD9EC-DDD9-43B6-A5EA-AE7AE77D3022}"/>
              </a:ext>
            </a:extLst>
          </p:cNvPr>
          <p:cNvSpPr>
            <a:spLocks noGrp="1"/>
          </p:cNvSpPr>
          <p:nvPr>
            <p:ph type="title" hasCustomPrompt="1"/>
          </p:nvPr>
        </p:nvSpPr>
        <p:spPr bwMode="gray">
          <a:xfrm>
            <a:off x="365682" y="397932"/>
            <a:ext cx="9940367" cy="795805"/>
          </a:xfrm>
          <a:prstGeom prst="rect">
            <a:avLst/>
          </a:prstGeom>
        </p:spPr>
        <p:txBody>
          <a:bodyPr vert="horz" lIns="0" tIns="0" rIns="0" bIns="0" rtlCol="0" anchor="t" anchorCtr="0">
            <a:noAutofit/>
          </a:bodyPr>
          <a:lstStyle>
            <a:lvl1pPr>
              <a:defRPr sz="2800">
                <a:solidFill>
                  <a:srgbClr val="333657"/>
                </a:solidFill>
              </a:defRPr>
            </a:lvl1pPr>
          </a:lstStyle>
          <a:p>
            <a:pPr lvl="0"/>
            <a:r>
              <a:rPr lang="en-US" noProof="0" err="1"/>
              <a:t>Actiontitle</a:t>
            </a:r>
            <a:endParaRPr lang="en-US" noProof="0"/>
          </a:p>
        </p:txBody>
      </p:sp>
      <p:sp>
        <p:nvSpPr>
          <p:cNvPr id="14" name="Text Placeholder 9">
            <a:extLst>
              <a:ext uri="{FF2B5EF4-FFF2-40B4-BE49-F238E27FC236}">
                <a16:creationId xmlns:a16="http://schemas.microsoft.com/office/drawing/2014/main" id="{C056089C-AB0C-4C92-BC18-38F7A98A0B5B}"/>
              </a:ext>
            </a:extLst>
          </p:cNvPr>
          <p:cNvSpPr>
            <a:spLocks noGrp="1"/>
          </p:cNvSpPr>
          <p:nvPr>
            <p:ph type="body" sz="quarter" idx="12" hasCustomPrompt="1"/>
          </p:nvPr>
        </p:nvSpPr>
        <p:spPr>
          <a:xfrm>
            <a:off x="365682" y="90049"/>
            <a:ext cx="9939600" cy="201600"/>
          </a:xfrm>
          <a:prstGeom prst="rect">
            <a:avLst/>
          </a:prstGeom>
        </p:spPr>
        <p:txBody>
          <a:bodyPr lIns="0" tIns="0" rIns="0" bIns="0"/>
          <a:lstStyle>
            <a:lvl1pPr>
              <a:defRPr sz="1600" b="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US"/>
              <a:t>Chapter name</a:t>
            </a:r>
          </a:p>
        </p:txBody>
      </p:sp>
      <p:pic>
        <p:nvPicPr>
          <p:cNvPr id="15" name="Immagine 6" descr="Machine Learning Reply - LOGO_White RGB.eps">
            <a:extLst>
              <a:ext uri="{FF2B5EF4-FFF2-40B4-BE49-F238E27FC236}">
                <a16:creationId xmlns:a16="http://schemas.microsoft.com/office/drawing/2014/main" id="{91DDA10E-413A-C741-A6FB-F652EFE745E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1641694833"/>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 Tw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678256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4800" b="1" i="0" baseline="0">
              <a:latin typeface="Arial Black" panose="020B0A04020102020204" pitchFamily="34" charset="0"/>
              <a:ea typeface="+mj-ea"/>
              <a:sym typeface="Arial Black" panose="020B0A04020102020204" pitchFamily="34" charset="0"/>
            </a:endParaRPr>
          </a:p>
        </p:txBody>
      </p:sp>
      <p:sp>
        <p:nvSpPr>
          <p:cNvPr id="8" name="object 3">
            <a:extLst>
              <a:ext uri="{FF2B5EF4-FFF2-40B4-BE49-F238E27FC236}">
                <a16:creationId xmlns:a16="http://schemas.microsoft.com/office/drawing/2014/main" id="{FDB456A3-3A6E-4AFD-82C8-6A9415A55F8A}"/>
              </a:ext>
            </a:extLst>
          </p:cNvPr>
          <p:cNvSpPr/>
          <p:nvPr userDrawn="1"/>
        </p:nvSpPr>
        <p:spPr>
          <a:xfrm>
            <a:off x="1"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8D8EA8"/>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grpSp>
        <p:nvGrpSpPr>
          <p:cNvPr id="10" name="Group 9">
            <a:extLst>
              <a:ext uri="{FF2B5EF4-FFF2-40B4-BE49-F238E27FC236}">
                <a16:creationId xmlns:a16="http://schemas.microsoft.com/office/drawing/2014/main" id="{9D2D0884-AD60-D247-AC42-751E0455F764}"/>
              </a:ext>
            </a:extLst>
          </p:cNvPr>
          <p:cNvGrpSpPr/>
          <p:nvPr userDrawn="1"/>
        </p:nvGrpSpPr>
        <p:grpSpPr>
          <a:xfrm>
            <a:off x="9714966" y="0"/>
            <a:ext cx="2477032" cy="6858000"/>
            <a:chOff x="9714966" y="0"/>
            <a:chExt cx="2477032" cy="6858000"/>
          </a:xfrm>
        </p:grpSpPr>
        <p:sp>
          <p:nvSpPr>
            <p:cNvPr id="9" name="object 3">
              <a:extLst>
                <a:ext uri="{FF2B5EF4-FFF2-40B4-BE49-F238E27FC236}">
                  <a16:creationId xmlns:a16="http://schemas.microsoft.com/office/drawing/2014/main" id="{E5E8C14A-1EB8-4FD2-B83E-DB29F2CF9CBB}"/>
                </a:ext>
              </a:extLst>
            </p:cNvPr>
            <p:cNvSpPr/>
            <p:nvPr userDrawn="1"/>
          </p:nvSpPr>
          <p:spPr>
            <a:xfrm flipH="1">
              <a:off x="10343959" y="0"/>
              <a:ext cx="184803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333657"/>
            </a:solidFill>
          </p:spPr>
          <p:txBody>
            <a:bodyPr wrap="square" lIns="0" tIns="0" rIns="0" bIns="0" rtlCol="0">
              <a:noAutofit/>
            </a:bodyPr>
            <a:lstStyle/>
            <a:p>
              <a:pPr eaLnBrk="1"/>
              <a:endParaRPr lang="en-US" sz="1800">
                <a:latin typeface="Arial" panose="020B0604020202020204" pitchFamily="34" charset="0"/>
              </a:endParaRPr>
            </a:p>
          </p:txBody>
        </p:sp>
        <p:sp>
          <p:nvSpPr>
            <p:cNvPr id="13" name="Isosceles Triangle 12">
              <a:extLst>
                <a:ext uri="{FF2B5EF4-FFF2-40B4-BE49-F238E27FC236}">
                  <a16:creationId xmlns:a16="http://schemas.microsoft.com/office/drawing/2014/main" id="{21059EA4-19F2-442E-A11A-9412621C239F}"/>
                </a:ext>
              </a:extLst>
            </p:cNvPr>
            <p:cNvSpPr/>
            <p:nvPr userDrawn="1"/>
          </p:nvSpPr>
          <p:spPr>
            <a:xfrm flipH="1">
              <a:off x="9714966" y="0"/>
              <a:ext cx="628994" cy="6858000"/>
            </a:xfrm>
            <a:prstGeom prst="triangle">
              <a:avLst>
                <a:gd name="adj" fmla="val 0"/>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p>
          </p:txBody>
        </p:sp>
      </p:grpSp>
      <p:sp>
        <p:nvSpPr>
          <p:cNvPr id="2" name="Title 1"/>
          <p:cNvSpPr>
            <a:spLocks noGrp="1"/>
          </p:cNvSpPr>
          <p:nvPr userDrawn="1">
            <p:ph type="ctrTitle" hasCustomPrompt="1"/>
          </p:nvPr>
        </p:nvSpPr>
        <p:spPr>
          <a:xfrm>
            <a:off x="765137" y="2636211"/>
            <a:ext cx="912816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INSERT YOUR</a:t>
            </a:r>
            <a:br>
              <a:rPr lang="en-US" noProof="0"/>
            </a:br>
            <a:r>
              <a:rPr lang="en-US" noProof="0"/>
              <a:t>TITLE HERE</a:t>
            </a:r>
          </a:p>
        </p:txBody>
      </p:sp>
      <p:sp>
        <p:nvSpPr>
          <p:cNvPr id="14" name="Subtitle 2">
            <a:extLst>
              <a:ext uri="{FF2B5EF4-FFF2-40B4-BE49-F238E27FC236}">
                <a16:creationId xmlns:a16="http://schemas.microsoft.com/office/drawing/2014/main" id="{5E0EA06B-7E8D-4D37-BFFF-F7D390284924}"/>
              </a:ext>
            </a:extLst>
          </p:cNvPr>
          <p:cNvSpPr>
            <a:spLocks noGrp="1"/>
          </p:cNvSpPr>
          <p:nvPr userDrawn="1">
            <p:ph type="subTitle" idx="1" hasCustomPrompt="1"/>
          </p:nvPr>
        </p:nvSpPr>
        <p:spPr>
          <a:xfrm>
            <a:off x="765137" y="4221789"/>
            <a:ext cx="9128164" cy="438427"/>
          </a:xfrm>
          <a:prstGeom prst="rect">
            <a:avLst/>
          </a:prstGeom>
        </p:spPr>
        <p:txBody>
          <a:bodyPr lIns="0" bIns="0" anchor="t">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Data Reply | Contact person | Clients name | Date</a:t>
            </a:r>
          </a:p>
        </p:txBody>
      </p:sp>
      <p:pic>
        <p:nvPicPr>
          <p:cNvPr id="19" name="Immagine 6" descr="Machine Learning Reply - LOGO_White RGB.eps">
            <a:extLst>
              <a:ext uri="{FF2B5EF4-FFF2-40B4-BE49-F238E27FC236}">
                <a16:creationId xmlns:a16="http://schemas.microsoft.com/office/drawing/2014/main" id="{46616876-ACCF-C74D-AAD7-8396BB59EA6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3975971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resentation Cover Tw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390214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4800" b="1" i="0" baseline="0">
              <a:latin typeface="Arial Black" panose="020B0A04020102020204" pitchFamily="34" charset="0"/>
              <a:ea typeface="+mj-ea"/>
              <a:sym typeface="Arial Black" panose="020B0A04020102020204" pitchFamily="34" charset="0"/>
            </a:endParaRPr>
          </a:p>
        </p:txBody>
      </p:sp>
      <p:sp>
        <p:nvSpPr>
          <p:cNvPr id="8" name="object 3">
            <a:extLst>
              <a:ext uri="{FF2B5EF4-FFF2-40B4-BE49-F238E27FC236}">
                <a16:creationId xmlns:a16="http://schemas.microsoft.com/office/drawing/2014/main" id="{FDB456A3-3A6E-4AFD-82C8-6A9415A55F8A}"/>
              </a:ext>
            </a:extLst>
          </p:cNvPr>
          <p:cNvSpPr/>
          <p:nvPr userDrawn="1"/>
        </p:nvSpPr>
        <p:spPr>
          <a:xfrm>
            <a:off x="1"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8D8EA8"/>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grpSp>
        <p:nvGrpSpPr>
          <p:cNvPr id="10" name="Group 9">
            <a:extLst>
              <a:ext uri="{FF2B5EF4-FFF2-40B4-BE49-F238E27FC236}">
                <a16:creationId xmlns:a16="http://schemas.microsoft.com/office/drawing/2014/main" id="{9D2D0884-AD60-D247-AC42-751E0455F764}"/>
              </a:ext>
            </a:extLst>
          </p:cNvPr>
          <p:cNvGrpSpPr/>
          <p:nvPr userDrawn="1"/>
        </p:nvGrpSpPr>
        <p:grpSpPr>
          <a:xfrm>
            <a:off x="9714966" y="0"/>
            <a:ext cx="2477032" cy="6858000"/>
            <a:chOff x="9714966" y="0"/>
            <a:chExt cx="2477032" cy="6858000"/>
          </a:xfrm>
          <a:solidFill>
            <a:schemeClr val="tx1">
              <a:lumMod val="85000"/>
              <a:lumOff val="15000"/>
            </a:schemeClr>
          </a:solidFill>
        </p:grpSpPr>
        <p:sp>
          <p:nvSpPr>
            <p:cNvPr id="9" name="object 3">
              <a:extLst>
                <a:ext uri="{FF2B5EF4-FFF2-40B4-BE49-F238E27FC236}">
                  <a16:creationId xmlns:a16="http://schemas.microsoft.com/office/drawing/2014/main" id="{E5E8C14A-1EB8-4FD2-B83E-DB29F2CF9CBB}"/>
                </a:ext>
              </a:extLst>
            </p:cNvPr>
            <p:cNvSpPr/>
            <p:nvPr userDrawn="1"/>
          </p:nvSpPr>
          <p:spPr>
            <a:xfrm flipH="1">
              <a:off x="10343959" y="0"/>
              <a:ext cx="184803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grpFill/>
          </p:spPr>
          <p:txBody>
            <a:bodyPr wrap="square" lIns="0" tIns="0" rIns="0" bIns="0" rtlCol="0">
              <a:noAutofit/>
            </a:bodyPr>
            <a:lstStyle/>
            <a:p>
              <a:pPr eaLnBrk="1"/>
              <a:endParaRPr lang="en-US" sz="1800">
                <a:latin typeface="Arial" panose="020B0604020202020204" pitchFamily="34" charset="0"/>
              </a:endParaRPr>
            </a:p>
          </p:txBody>
        </p:sp>
        <p:sp>
          <p:nvSpPr>
            <p:cNvPr id="13" name="Isosceles Triangle 12">
              <a:extLst>
                <a:ext uri="{FF2B5EF4-FFF2-40B4-BE49-F238E27FC236}">
                  <a16:creationId xmlns:a16="http://schemas.microsoft.com/office/drawing/2014/main" id="{21059EA4-19F2-442E-A11A-9412621C239F}"/>
                </a:ext>
              </a:extLst>
            </p:cNvPr>
            <p:cNvSpPr/>
            <p:nvPr userDrawn="1"/>
          </p:nvSpPr>
          <p:spPr>
            <a:xfrm flipH="1">
              <a:off x="9714966" y="0"/>
              <a:ext cx="628994" cy="6858000"/>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p>
          </p:txBody>
        </p:sp>
      </p:grpSp>
      <p:sp>
        <p:nvSpPr>
          <p:cNvPr id="2" name="Title 1"/>
          <p:cNvSpPr>
            <a:spLocks noGrp="1"/>
          </p:cNvSpPr>
          <p:nvPr userDrawn="1">
            <p:ph type="ctrTitle" hasCustomPrompt="1"/>
          </p:nvPr>
        </p:nvSpPr>
        <p:spPr>
          <a:xfrm>
            <a:off x="765137" y="2636211"/>
            <a:ext cx="912816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INSERT YOUR</a:t>
            </a:r>
            <a:br>
              <a:rPr lang="en-US" noProof="0"/>
            </a:br>
            <a:r>
              <a:rPr lang="en-US" noProof="0"/>
              <a:t>TITLE HERE</a:t>
            </a:r>
          </a:p>
        </p:txBody>
      </p:sp>
      <p:sp>
        <p:nvSpPr>
          <p:cNvPr id="14" name="Subtitle 2">
            <a:extLst>
              <a:ext uri="{FF2B5EF4-FFF2-40B4-BE49-F238E27FC236}">
                <a16:creationId xmlns:a16="http://schemas.microsoft.com/office/drawing/2014/main" id="{5E0EA06B-7E8D-4D37-BFFF-F7D390284924}"/>
              </a:ext>
            </a:extLst>
          </p:cNvPr>
          <p:cNvSpPr>
            <a:spLocks noGrp="1"/>
          </p:cNvSpPr>
          <p:nvPr userDrawn="1">
            <p:ph type="subTitle" idx="1" hasCustomPrompt="1"/>
          </p:nvPr>
        </p:nvSpPr>
        <p:spPr>
          <a:xfrm>
            <a:off x="765137" y="4221789"/>
            <a:ext cx="9128164" cy="438427"/>
          </a:xfrm>
          <a:prstGeom prst="rect">
            <a:avLst/>
          </a:prstGeom>
        </p:spPr>
        <p:txBody>
          <a:bodyPr lIns="0" bIns="0" anchor="t">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Data Reply | Contact person | Clients name | Date</a:t>
            </a:r>
          </a:p>
        </p:txBody>
      </p:sp>
      <p:pic>
        <p:nvPicPr>
          <p:cNvPr id="19" name="Immagine 6" descr="Machine Learning Reply - LOGO_White RGB.eps">
            <a:extLst>
              <a:ext uri="{FF2B5EF4-FFF2-40B4-BE49-F238E27FC236}">
                <a16:creationId xmlns:a16="http://schemas.microsoft.com/office/drawing/2014/main" id="{46616876-ACCF-C74D-AAD7-8396BB59EA6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626956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Cover Fou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273459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4800" b="1" i="0" baseline="0">
              <a:latin typeface="Arial Black" panose="020B0A04020102020204" pitchFamily="34" charset="0"/>
              <a:ea typeface="+mj-ea"/>
              <a:sym typeface="Arial Black" panose="020B0A04020102020204" pitchFamily="34" charset="0"/>
            </a:endParaRPr>
          </a:p>
        </p:txBody>
      </p:sp>
      <p:sp>
        <p:nvSpPr>
          <p:cNvPr id="14" name="object 3">
            <a:extLst>
              <a:ext uri="{FF2B5EF4-FFF2-40B4-BE49-F238E27FC236}">
                <a16:creationId xmlns:a16="http://schemas.microsoft.com/office/drawing/2014/main" id="{AAA6F190-F849-4FCE-BB0B-478F68CE7E60}"/>
              </a:ext>
            </a:extLst>
          </p:cNvPr>
          <p:cNvSpPr/>
          <p:nvPr userDrawn="1"/>
        </p:nvSpPr>
        <p:spPr>
          <a:xfrm>
            <a:off x="1"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C9CAE1"/>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sp>
        <p:nvSpPr>
          <p:cNvPr id="15" name="Title 1">
            <a:extLst>
              <a:ext uri="{FF2B5EF4-FFF2-40B4-BE49-F238E27FC236}">
                <a16:creationId xmlns:a16="http://schemas.microsoft.com/office/drawing/2014/main" id="{98CC665A-643E-4063-A6D9-70D2C8D0D427}"/>
              </a:ext>
            </a:extLst>
          </p:cNvPr>
          <p:cNvSpPr>
            <a:spLocks noGrp="1"/>
          </p:cNvSpPr>
          <p:nvPr>
            <p:ph type="ctrTitle" hasCustomPrompt="1"/>
          </p:nvPr>
        </p:nvSpPr>
        <p:spPr>
          <a:xfrm>
            <a:off x="765137" y="2636211"/>
            <a:ext cx="912816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024049"/>
                </a:solidFill>
                <a:latin typeface="Arial Black"/>
                <a:ea typeface="+mj-ea"/>
                <a:cs typeface="Arial Black"/>
              </a:defRPr>
            </a:lvl1pPr>
          </a:lstStyle>
          <a:p>
            <a:r>
              <a:rPr lang="en-US" noProof="0"/>
              <a:t>INSERT YOUR</a:t>
            </a:r>
            <a:br>
              <a:rPr lang="en-US" noProof="0"/>
            </a:br>
            <a:r>
              <a:rPr lang="en-US" noProof="0"/>
              <a:t>TITLE HERE</a:t>
            </a:r>
          </a:p>
        </p:txBody>
      </p:sp>
      <p:sp>
        <p:nvSpPr>
          <p:cNvPr id="16" name="Subtitle 2">
            <a:extLst>
              <a:ext uri="{FF2B5EF4-FFF2-40B4-BE49-F238E27FC236}">
                <a16:creationId xmlns:a16="http://schemas.microsoft.com/office/drawing/2014/main" id="{8427B5B6-635D-457F-B6E7-F59AD6BBE7DE}"/>
              </a:ext>
            </a:extLst>
          </p:cNvPr>
          <p:cNvSpPr>
            <a:spLocks noGrp="1"/>
          </p:cNvSpPr>
          <p:nvPr>
            <p:ph type="subTitle" idx="1" hasCustomPrompt="1"/>
          </p:nvPr>
        </p:nvSpPr>
        <p:spPr>
          <a:xfrm>
            <a:off x="765137" y="4221789"/>
            <a:ext cx="9128164" cy="438427"/>
          </a:xfrm>
          <a:prstGeom prst="rect">
            <a:avLst/>
          </a:prstGeom>
        </p:spPr>
        <p:txBody>
          <a:bodyPr lIns="0" bIns="0" anchor="t">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2400" b="0" u="none" cap="none">
                <a:solidFill>
                  <a:srgbClr val="024049"/>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Data Reply | Contact person | Clients name | Date</a:t>
            </a:r>
          </a:p>
        </p:txBody>
      </p:sp>
      <p:grpSp>
        <p:nvGrpSpPr>
          <p:cNvPr id="24" name="Group 23">
            <a:extLst>
              <a:ext uri="{FF2B5EF4-FFF2-40B4-BE49-F238E27FC236}">
                <a16:creationId xmlns:a16="http://schemas.microsoft.com/office/drawing/2014/main" id="{489D1B88-AF46-E547-AF0E-4FA57708B45D}"/>
              </a:ext>
            </a:extLst>
          </p:cNvPr>
          <p:cNvGrpSpPr/>
          <p:nvPr userDrawn="1"/>
        </p:nvGrpSpPr>
        <p:grpSpPr>
          <a:xfrm flipH="1">
            <a:off x="9714966" y="0"/>
            <a:ext cx="2477032" cy="6858000"/>
            <a:chOff x="9259184" y="0"/>
            <a:chExt cx="2313933" cy="6858000"/>
          </a:xfrm>
          <a:solidFill>
            <a:srgbClr val="024049"/>
          </a:solidFill>
        </p:grpSpPr>
        <p:sp>
          <p:nvSpPr>
            <p:cNvPr id="25" name="object 3">
              <a:extLst>
                <a:ext uri="{FF2B5EF4-FFF2-40B4-BE49-F238E27FC236}">
                  <a16:creationId xmlns:a16="http://schemas.microsoft.com/office/drawing/2014/main" id="{6F6F7C83-2C35-F940-B404-D49813AE72DA}"/>
                </a:ext>
              </a:extLst>
            </p:cNvPr>
            <p:cNvSpPr/>
            <p:nvPr userDrawn="1"/>
          </p:nvSpPr>
          <p:spPr>
            <a:xfrm>
              <a:off x="9259184" y="0"/>
              <a:ext cx="1726356"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grpFill/>
          </p:spPr>
          <p:txBody>
            <a:bodyPr wrap="square" lIns="0" tIns="0" rIns="0" bIns="0" rtlCol="0">
              <a:noAutofit/>
            </a:bodyPr>
            <a:lstStyle/>
            <a:p>
              <a:pPr eaLnBrk="1"/>
              <a:endParaRPr lang="en-US" sz="1800">
                <a:latin typeface="Arial" panose="020B0604020202020204" pitchFamily="34" charset="0"/>
              </a:endParaRPr>
            </a:p>
          </p:txBody>
        </p:sp>
        <p:sp>
          <p:nvSpPr>
            <p:cNvPr id="26" name="Isosceles Triangle 12">
              <a:extLst>
                <a:ext uri="{FF2B5EF4-FFF2-40B4-BE49-F238E27FC236}">
                  <a16:creationId xmlns:a16="http://schemas.microsoft.com/office/drawing/2014/main" id="{2646C5CA-8F40-CC40-B372-099DD5B5E6F2}"/>
                </a:ext>
              </a:extLst>
            </p:cNvPr>
            <p:cNvSpPr/>
            <p:nvPr userDrawn="1"/>
          </p:nvSpPr>
          <p:spPr>
            <a:xfrm>
              <a:off x="10985539" y="0"/>
              <a:ext cx="587578" cy="6858000"/>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p>
          </p:txBody>
        </p:sp>
      </p:grpSp>
      <p:pic>
        <p:nvPicPr>
          <p:cNvPr id="30" name="Immagine 6" descr="Machine Learning Reply - LOGO_White RGB.eps">
            <a:extLst>
              <a:ext uri="{FF2B5EF4-FFF2-40B4-BE49-F238E27FC236}">
                <a16:creationId xmlns:a16="http://schemas.microsoft.com/office/drawing/2014/main" id="{17422738-416F-A947-8137-08D3AE5B49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677600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9" name="Immagine 8"/>
          <p:cNvPicPr>
            <a:picLocks/>
          </p:cNvPicPr>
          <p:nvPr userDrawn="1"/>
        </p:nvPicPr>
        <p:blipFill>
          <a:blip r:embed="rId2" r:link="rId3">
            <a:extLst>
              <a:ext uri="{28A0092B-C50C-407E-A947-70E740481C1C}">
                <a14:useLocalDpi xmlns:a14="http://schemas.microsoft.com/office/drawing/2010/main" val="0"/>
              </a:ext>
            </a:extLst>
          </a:blip>
          <a:stretch>
            <a:fillRect/>
          </a:stretch>
        </p:blipFill>
        <p:spPr>
          <a:xfrm>
            <a:off x="-2" y="-2372"/>
            <a:ext cx="12240683" cy="6885384"/>
          </a:xfrm>
          <a:prstGeom prst="rect">
            <a:avLst/>
          </a:prstGeom>
        </p:spPr>
      </p:pic>
      <p:pic>
        <p:nvPicPr>
          <p:cNvPr id="7" name="Immagine 6" descr="Machine Learning Reply - LOGO_White RGB.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93308" y="6284667"/>
            <a:ext cx="1547997" cy="384000"/>
          </a:xfrm>
          <a:prstGeom prst="rect">
            <a:avLst/>
          </a:prstGeom>
        </p:spPr>
      </p:pic>
      <p:sp>
        <p:nvSpPr>
          <p:cNvPr id="11" name="Title 1">
            <a:extLst>
              <a:ext uri="{FF2B5EF4-FFF2-40B4-BE49-F238E27FC236}">
                <a16:creationId xmlns:a16="http://schemas.microsoft.com/office/drawing/2014/main" id="{E6191745-1316-E644-B2AB-829A6B8C1527}"/>
              </a:ext>
            </a:extLst>
          </p:cNvPr>
          <p:cNvSpPr>
            <a:spLocks noGrp="1"/>
          </p:cNvSpPr>
          <p:nvPr>
            <p:ph type="ctrTitle" hasCustomPrompt="1"/>
          </p:nvPr>
        </p:nvSpPr>
        <p:spPr>
          <a:xfrm>
            <a:off x="765137" y="2636211"/>
            <a:ext cx="912816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INSERT YOUR</a:t>
            </a:r>
            <a:br>
              <a:rPr lang="en-US" noProof="0"/>
            </a:br>
            <a:r>
              <a:rPr lang="en-US" noProof="0"/>
              <a:t>TITLE HERE</a:t>
            </a:r>
          </a:p>
        </p:txBody>
      </p:sp>
      <p:sp>
        <p:nvSpPr>
          <p:cNvPr id="13" name="Subtitle 2">
            <a:extLst>
              <a:ext uri="{FF2B5EF4-FFF2-40B4-BE49-F238E27FC236}">
                <a16:creationId xmlns:a16="http://schemas.microsoft.com/office/drawing/2014/main" id="{ABB7F511-30AF-B147-B76D-C4BB41333FC5}"/>
              </a:ext>
            </a:extLst>
          </p:cNvPr>
          <p:cNvSpPr>
            <a:spLocks noGrp="1"/>
          </p:cNvSpPr>
          <p:nvPr>
            <p:ph type="subTitle" idx="1" hasCustomPrompt="1"/>
          </p:nvPr>
        </p:nvSpPr>
        <p:spPr>
          <a:xfrm>
            <a:off x="765137" y="4221789"/>
            <a:ext cx="9128164" cy="438427"/>
          </a:xfrm>
          <a:prstGeom prst="rect">
            <a:avLst/>
          </a:prstGeom>
        </p:spPr>
        <p:txBody>
          <a:bodyPr lIns="0" bIns="0" anchor="t">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Data Reply | Contact person | Clients name | Date</a:t>
            </a:r>
          </a:p>
        </p:txBody>
      </p:sp>
    </p:spTree>
    <p:extLst>
      <p:ext uri="{BB962C8B-B14F-4D97-AF65-F5344CB8AC3E}">
        <p14:creationId xmlns:p14="http://schemas.microsoft.com/office/powerpoint/2010/main" val="754675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O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95478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1" i="0" baseline="0">
              <a:latin typeface="Arial Black" panose="020B0A04020102020204" pitchFamily="34" charset="0"/>
              <a:ea typeface="+mj-ea"/>
              <a:sym typeface="Arial Black" panose="020B0A04020102020204" pitchFamily="34" charset="0"/>
            </a:endParaRPr>
          </a:p>
        </p:txBody>
      </p:sp>
      <p:sp>
        <p:nvSpPr>
          <p:cNvPr id="16" name="object 3">
            <a:extLst>
              <a:ext uri="{FF2B5EF4-FFF2-40B4-BE49-F238E27FC236}">
                <a16:creationId xmlns:a16="http://schemas.microsoft.com/office/drawing/2014/main" id="{4605927C-AAE2-4204-BB51-2E83932EC773}"/>
              </a:ext>
            </a:extLst>
          </p:cNvPr>
          <p:cNvSpPr/>
          <p:nvPr userDrawn="1"/>
        </p:nvSpPr>
        <p:spPr>
          <a:xfrm>
            <a:off x="1587731" y="0"/>
            <a:ext cx="1060426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8D8EA8"/>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sp>
        <p:nvSpPr>
          <p:cNvPr id="11" name="object 3">
            <a:extLst>
              <a:ext uri="{FF2B5EF4-FFF2-40B4-BE49-F238E27FC236}">
                <a16:creationId xmlns:a16="http://schemas.microsoft.com/office/drawing/2014/main" id="{D9F3FA5B-38DB-4E66-A8F8-ED8F84F733CF}"/>
              </a:ext>
            </a:extLst>
          </p:cNvPr>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333657"/>
          </a:solidFill>
        </p:spPr>
        <p:txBody>
          <a:bodyPr wrap="square" lIns="0" tIns="0" rIns="0" bIns="0" rtlCol="0">
            <a:noAutofit/>
          </a:bodyPr>
          <a:lstStyle/>
          <a:p>
            <a:pPr eaLnBrk="1"/>
            <a:endParaRPr lang="en-US" sz="1800">
              <a:latin typeface="Arial" panose="020B0604020202020204" pitchFamily="34" charset="0"/>
            </a:endParaRPr>
          </a:p>
        </p:txBody>
      </p:sp>
      <p:sp>
        <p:nvSpPr>
          <p:cNvPr id="5" name="Isosceles Triangle 4">
            <a:extLst>
              <a:ext uri="{FF2B5EF4-FFF2-40B4-BE49-F238E27FC236}">
                <a16:creationId xmlns:a16="http://schemas.microsoft.com/office/drawing/2014/main" id="{B4E35D32-0A82-40B6-A9D9-6605F2E3A642}"/>
              </a:ext>
            </a:extLst>
          </p:cNvPr>
          <p:cNvSpPr/>
          <p:nvPr userDrawn="1"/>
        </p:nvSpPr>
        <p:spPr>
          <a:xfrm>
            <a:off x="1587731" y="0"/>
            <a:ext cx="587578" cy="6858000"/>
          </a:xfrm>
          <a:prstGeom prst="triangle">
            <a:avLst>
              <a:gd name="adj" fmla="val 0"/>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p>
        </p:txBody>
      </p:sp>
      <p:sp>
        <p:nvSpPr>
          <p:cNvPr id="17" name="Subtitle 2">
            <a:extLst>
              <a:ext uri="{FF2B5EF4-FFF2-40B4-BE49-F238E27FC236}">
                <a16:creationId xmlns:a16="http://schemas.microsoft.com/office/drawing/2014/main" id="{AC4C6A50-5379-4F24-A18D-F38529A8A885}"/>
              </a:ext>
            </a:extLst>
          </p:cNvPr>
          <p:cNvSpPr>
            <a:spLocks noGrp="1"/>
          </p:cNvSpPr>
          <p:nvPr>
            <p:ph type="subTitle" idx="1" hasCustomPrompt="1"/>
          </p:nvPr>
        </p:nvSpPr>
        <p:spPr>
          <a:xfrm>
            <a:off x="2873337" y="4221789"/>
            <a:ext cx="7670325" cy="438427"/>
          </a:xfrm>
          <a:prstGeom prst="rect">
            <a:avLst/>
          </a:prstGeom>
        </p:spPr>
        <p:txBody>
          <a:bodyPr lIns="0" bIns="0" anchor="t">
            <a:noAutofit/>
          </a:bodyPr>
          <a:lstStyle>
            <a:lvl1pPr marL="0" indent="0" algn="l">
              <a:buNone/>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Insert your subtitle here</a:t>
            </a:r>
          </a:p>
        </p:txBody>
      </p:sp>
      <p:sp>
        <p:nvSpPr>
          <p:cNvPr id="14" name="Title 1">
            <a:extLst>
              <a:ext uri="{FF2B5EF4-FFF2-40B4-BE49-F238E27FC236}">
                <a16:creationId xmlns:a16="http://schemas.microsoft.com/office/drawing/2014/main" id="{C5BF0887-B3C8-4AA5-A50C-0F9212A33B92}"/>
              </a:ext>
            </a:extLst>
          </p:cNvPr>
          <p:cNvSpPr>
            <a:spLocks noGrp="1"/>
          </p:cNvSpPr>
          <p:nvPr>
            <p:ph type="ctrTitle" hasCustomPrompt="1"/>
          </p:nvPr>
        </p:nvSpPr>
        <p:spPr>
          <a:xfrm>
            <a:off x="2873336" y="2636211"/>
            <a:ext cx="773093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Section</a:t>
            </a:r>
            <a:br>
              <a:rPr lang="en-US" noProof="0"/>
            </a:br>
            <a:r>
              <a:rPr lang="en-US" noProof="0"/>
              <a:t>Divider</a:t>
            </a:r>
          </a:p>
        </p:txBody>
      </p:sp>
      <p:pic>
        <p:nvPicPr>
          <p:cNvPr id="18" name="Immagine 6" descr="Machine Learning Reply - LOGO_White RGB.eps">
            <a:extLst>
              <a:ext uri="{FF2B5EF4-FFF2-40B4-BE49-F238E27FC236}">
                <a16:creationId xmlns:a16="http://schemas.microsoft.com/office/drawing/2014/main" id="{0E008E3D-2C31-3E44-B689-49F89BBCD1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2530561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O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3636895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1" i="0" baseline="0">
              <a:latin typeface="Arial Black" panose="020B0A04020102020204" pitchFamily="34" charset="0"/>
              <a:ea typeface="+mj-ea"/>
              <a:sym typeface="Arial Black" panose="020B0A04020102020204" pitchFamily="34" charset="0"/>
            </a:endParaRPr>
          </a:p>
        </p:txBody>
      </p:sp>
      <p:sp>
        <p:nvSpPr>
          <p:cNvPr id="16" name="object 3">
            <a:extLst>
              <a:ext uri="{FF2B5EF4-FFF2-40B4-BE49-F238E27FC236}">
                <a16:creationId xmlns:a16="http://schemas.microsoft.com/office/drawing/2014/main" id="{4605927C-AAE2-4204-BB51-2E83932EC773}"/>
              </a:ext>
            </a:extLst>
          </p:cNvPr>
          <p:cNvSpPr/>
          <p:nvPr userDrawn="1"/>
        </p:nvSpPr>
        <p:spPr>
          <a:xfrm>
            <a:off x="1587731" y="0"/>
            <a:ext cx="1060426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8D8EA8"/>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sp>
        <p:nvSpPr>
          <p:cNvPr id="11" name="object 3">
            <a:extLst>
              <a:ext uri="{FF2B5EF4-FFF2-40B4-BE49-F238E27FC236}">
                <a16:creationId xmlns:a16="http://schemas.microsoft.com/office/drawing/2014/main" id="{D9F3FA5B-38DB-4E66-A8F8-ED8F84F733CF}"/>
              </a:ext>
            </a:extLst>
          </p:cNvPr>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1">
              <a:lumMod val="85000"/>
              <a:lumOff val="15000"/>
            </a:schemeClr>
          </a:solidFill>
        </p:spPr>
        <p:txBody>
          <a:bodyPr wrap="square" lIns="0" tIns="0" rIns="0" bIns="0" rtlCol="0">
            <a:noAutofit/>
          </a:bodyPr>
          <a:lstStyle/>
          <a:p>
            <a:pPr eaLnBrk="1"/>
            <a:endParaRPr lang="en-US" sz="1800">
              <a:latin typeface="Arial" panose="020B0604020202020204" pitchFamily="34" charset="0"/>
            </a:endParaRPr>
          </a:p>
        </p:txBody>
      </p:sp>
      <p:sp>
        <p:nvSpPr>
          <p:cNvPr id="5" name="Isosceles Triangle 4">
            <a:extLst>
              <a:ext uri="{FF2B5EF4-FFF2-40B4-BE49-F238E27FC236}">
                <a16:creationId xmlns:a16="http://schemas.microsoft.com/office/drawing/2014/main" id="{B4E35D32-0A82-40B6-A9D9-6605F2E3A642}"/>
              </a:ext>
            </a:extLst>
          </p:cNvPr>
          <p:cNvSpPr/>
          <p:nvPr userDrawn="1"/>
        </p:nvSpPr>
        <p:spPr>
          <a:xfrm>
            <a:off x="1587731" y="0"/>
            <a:ext cx="587578" cy="6858000"/>
          </a:xfrm>
          <a:prstGeom prst="triangle">
            <a:avLst>
              <a:gd name="adj" fmla="val 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p>
        </p:txBody>
      </p:sp>
      <p:sp>
        <p:nvSpPr>
          <p:cNvPr id="17" name="Subtitle 2">
            <a:extLst>
              <a:ext uri="{FF2B5EF4-FFF2-40B4-BE49-F238E27FC236}">
                <a16:creationId xmlns:a16="http://schemas.microsoft.com/office/drawing/2014/main" id="{AC4C6A50-5379-4F24-A18D-F38529A8A885}"/>
              </a:ext>
            </a:extLst>
          </p:cNvPr>
          <p:cNvSpPr>
            <a:spLocks noGrp="1"/>
          </p:cNvSpPr>
          <p:nvPr>
            <p:ph type="subTitle" idx="1" hasCustomPrompt="1"/>
          </p:nvPr>
        </p:nvSpPr>
        <p:spPr>
          <a:xfrm>
            <a:off x="2873337" y="4221789"/>
            <a:ext cx="7670325" cy="438427"/>
          </a:xfrm>
          <a:prstGeom prst="rect">
            <a:avLst/>
          </a:prstGeom>
        </p:spPr>
        <p:txBody>
          <a:bodyPr lIns="0" bIns="0" anchor="t">
            <a:noAutofit/>
          </a:bodyPr>
          <a:lstStyle>
            <a:lvl1pPr marL="0" indent="0" algn="l">
              <a:buNone/>
              <a:defRPr sz="2400" b="0" u="none" cap="none">
                <a:solidFill>
                  <a:srgbClr val="FFFFFF"/>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Insert your subtitle here</a:t>
            </a:r>
          </a:p>
        </p:txBody>
      </p:sp>
      <p:sp>
        <p:nvSpPr>
          <p:cNvPr id="14" name="Title 1">
            <a:extLst>
              <a:ext uri="{FF2B5EF4-FFF2-40B4-BE49-F238E27FC236}">
                <a16:creationId xmlns:a16="http://schemas.microsoft.com/office/drawing/2014/main" id="{C5BF0887-B3C8-4AA5-A50C-0F9212A33B92}"/>
              </a:ext>
            </a:extLst>
          </p:cNvPr>
          <p:cNvSpPr>
            <a:spLocks noGrp="1"/>
          </p:cNvSpPr>
          <p:nvPr>
            <p:ph type="ctrTitle" hasCustomPrompt="1"/>
          </p:nvPr>
        </p:nvSpPr>
        <p:spPr>
          <a:xfrm>
            <a:off x="2873336" y="2636211"/>
            <a:ext cx="773093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FFFFFF"/>
                </a:solidFill>
                <a:latin typeface="Arial Black"/>
                <a:ea typeface="+mj-ea"/>
                <a:cs typeface="Arial Black"/>
              </a:defRPr>
            </a:lvl1pPr>
          </a:lstStyle>
          <a:p>
            <a:r>
              <a:rPr lang="en-US" noProof="0"/>
              <a:t>Section</a:t>
            </a:r>
            <a:br>
              <a:rPr lang="en-US" noProof="0"/>
            </a:br>
            <a:r>
              <a:rPr lang="en-US" noProof="0"/>
              <a:t>Divider</a:t>
            </a:r>
          </a:p>
        </p:txBody>
      </p:sp>
      <p:pic>
        <p:nvPicPr>
          <p:cNvPr id="18" name="Immagine 6" descr="Machine Learning Reply - LOGO_White RGB.eps">
            <a:extLst>
              <a:ext uri="{FF2B5EF4-FFF2-40B4-BE49-F238E27FC236}">
                <a16:creationId xmlns:a16="http://schemas.microsoft.com/office/drawing/2014/main" id="{0E008E3D-2C31-3E44-B689-49F89BBCD1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2579821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Tw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CBA406-7A5D-4393-9BD5-B62628934B32}"/>
              </a:ext>
            </a:extLst>
          </p:cNvPr>
          <p:cNvGraphicFramePr>
            <a:graphicFrameLocks noChangeAspect="1"/>
          </p:cNvGraphicFramePr>
          <p:nvPr userDrawn="1">
            <p:custDataLst>
              <p:tags r:id="rId1"/>
            </p:custDataLst>
            <p:extLst>
              <p:ext uri="{D42A27DB-BD31-4B8C-83A1-F6EECF244321}">
                <p14:modId xmlns:p14="http://schemas.microsoft.com/office/powerpoint/2010/main" val="230971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4" name="Object 3" hidden="1">
                        <a:extLst>
                          <a:ext uri="{FF2B5EF4-FFF2-40B4-BE49-F238E27FC236}">
                            <a16:creationId xmlns:a16="http://schemas.microsoft.com/office/drawing/2014/main" id="{4CCBA406-7A5D-4393-9BD5-B62628934B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6B3550-0E33-49C0-9113-B80267DFFE6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6000" b="1" i="0" baseline="0">
              <a:latin typeface="Arial Black" panose="020B0A04020102020204" pitchFamily="34" charset="0"/>
              <a:ea typeface="+mj-ea"/>
              <a:sym typeface="Arial Black" panose="020B0A04020102020204" pitchFamily="34" charset="0"/>
            </a:endParaRPr>
          </a:p>
        </p:txBody>
      </p:sp>
      <p:sp>
        <p:nvSpPr>
          <p:cNvPr id="16" name="object 3">
            <a:extLst>
              <a:ext uri="{FF2B5EF4-FFF2-40B4-BE49-F238E27FC236}">
                <a16:creationId xmlns:a16="http://schemas.microsoft.com/office/drawing/2014/main" id="{4605927C-AAE2-4204-BB51-2E83932EC773}"/>
              </a:ext>
            </a:extLst>
          </p:cNvPr>
          <p:cNvSpPr/>
          <p:nvPr userDrawn="1"/>
        </p:nvSpPr>
        <p:spPr>
          <a:xfrm>
            <a:off x="1587731" y="0"/>
            <a:ext cx="10604269"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C9CAE1"/>
          </a:solidFill>
          <a:ln w="9525" cap="flat" cmpd="sng">
            <a:noFill/>
            <a:prstDash val="solid"/>
            <a:round/>
            <a:headEnd type="none" w="med" len="med"/>
            <a:tailEnd type="none" w="med" len="med"/>
          </a:ln>
          <a:effectLst/>
        </p:spPr>
        <p:txBody>
          <a:bodyPr>
            <a:noAutofit/>
          </a:bodyPr>
          <a:lstStyle/>
          <a:p>
            <a:pPr lvl="0" eaLnBrk="1"/>
            <a:endParaRPr lang="en-US">
              <a:solidFill>
                <a:srgbClr val="000000"/>
              </a:solidFill>
              <a:cs typeface="Arial" pitchFamily="34" charset="0"/>
            </a:endParaRPr>
          </a:p>
        </p:txBody>
      </p:sp>
      <p:sp>
        <p:nvSpPr>
          <p:cNvPr id="11" name="object 3">
            <a:extLst>
              <a:ext uri="{FF2B5EF4-FFF2-40B4-BE49-F238E27FC236}">
                <a16:creationId xmlns:a16="http://schemas.microsoft.com/office/drawing/2014/main" id="{D9F3FA5B-38DB-4E66-A8F8-ED8F84F733CF}"/>
              </a:ext>
            </a:extLst>
          </p:cNvPr>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24049"/>
          </a:solidFill>
        </p:spPr>
        <p:txBody>
          <a:bodyPr wrap="square" lIns="0" tIns="0" rIns="0" bIns="0" rtlCol="0">
            <a:noAutofit/>
          </a:bodyPr>
          <a:lstStyle/>
          <a:p>
            <a:pPr eaLnBrk="1"/>
            <a:endParaRPr lang="en-US" sz="1800">
              <a:solidFill>
                <a:srgbClr val="024049"/>
              </a:solidFill>
              <a:latin typeface="Arial" panose="020B0604020202020204" pitchFamily="34" charset="0"/>
            </a:endParaRPr>
          </a:p>
        </p:txBody>
      </p:sp>
      <p:sp>
        <p:nvSpPr>
          <p:cNvPr id="5" name="Isosceles Triangle 4">
            <a:extLst>
              <a:ext uri="{FF2B5EF4-FFF2-40B4-BE49-F238E27FC236}">
                <a16:creationId xmlns:a16="http://schemas.microsoft.com/office/drawing/2014/main" id="{B4E35D32-0A82-40B6-A9D9-6605F2E3A642}"/>
              </a:ext>
            </a:extLst>
          </p:cNvPr>
          <p:cNvSpPr/>
          <p:nvPr userDrawn="1"/>
        </p:nvSpPr>
        <p:spPr>
          <a:xfrm>
            <a:off x="1587731" y="0"/>
            <a:ext cx="587578" cy="6858000"/>
          </a:xfrm>
          <a:prstGeom prst="triangle">
            <a:avLst>
              <a:gd name="adj" fmla="val 0"/>
            </a:avLst>
          </a:prstGeom>
          <a:solidFill>
            <a:srgbClr val="024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a:solidFill>
                <a:srgbClr val="024049"/>
              </a:solidFill>
            </a:endParaRPr>
          </a:p>
        </p:txBody>
      </p:sp>
      <p:sp>
        <p:nvSpPr>
          <p:cNvPr id="13" name="Subtitle 2">
            <a:extLst>
              <a:ext uri="{FF2B5EF4-FFF2-40B4-BE49-F238E27FC236}">
                <a16:creationId xmlns:a16="http://schemas.microsoft.com/office/drawing/2014/main" id="{96E17DF5-7BCE-4D73-8414-59C813D8EA2C}"/>
              </a:ext>
            </a:extLst>
          </p:cNvPr>
          <p:cNvSpPr>
            <a:spLocks noGrp="1"/>
          </p:cNvSpPr>
          <p:nvPr>
            <p:ph type="subTitle" idx="1" hasCustomPrompt="1"/>
          </p:nvPr>
        </p:nvSpPr>
        <p:spPr>
          <a:xfrm>
            <a:off x="2873337" y="4221789"/>
            <a:ext cx="7670325" cy="438427"/>
          </a:xfrm>
          <a:prstGeom prst="rect">
            <a:avLst/>
          </a:prstGeom>
        </p:spPr>
        <p:txBody>
          <a:bodyPr lIns="0" bIns="0" anchor="t">
            <a:noAutofit/>
          </a:bodyPr>
          <a:lstStyle>
            <a:lvl1pPr marL="0" indent="0" algn="l">
              <a:buNone/>
              <a:defRPr sz="2400" b="0" u="none" cap="none">
                <a:solidFill>
                  <a:srgbClr val="024049"/>
                </a:solidFill>
                <a:latin typeface="+mn-lt"/>
                <a:cs typeface="Arial Black"/>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a:t>Insert your subtitle here</a:t>
            </a:r>
          </a:p>
        </p:txBody>
      </p:sp>
      <p:sp>
        <p:nvSpPr>
          <p:cNvPr id="14" name="Title 1">
            <a:extLst>
              <a:ext uri="{FF2B5EF4-FFF2-40B4-BE49-F238E27FC236}">
                <a16:creationId xmlns:a16="http://schemas.microsoft.com/office/drawing/2014/main" id="{E049C0A7-284F-47E4-A82A-287770A008DD}"/>
              </a:ext>
            </a:extLst>
          </p:cNvPr>
          <p:cNvSpPr>
            <a:spLocks noGrp="1"/>
          </p:cNvSpPr>
          <p:nvPr>
            <p:ph type="ctrTitle" hasCustomPrompt="1"/>
          </p:nvPr>
        </p:nvSpPr>
        <p:spPr>
          <a:xfrm>
            <a:off x="2873336" y="2636211"/>
            <a:ext cx="7730933" cy="1366366"/>
          </a:xfrm>
          <a:prstGeom prst="rect">
            <a:avLst/>
          </a:prstGeom>
        </p:spPr>
        <p:txBody>
          <a:bodyPr lIns="0" anchor="b"/>
          <a:lstStyle>
            <a:lvl1pPr algn="l" defTabSz="1219170" rtl="0" eaLnBrk="1" latinLnBrk="0" hangingPunct="1">
              <a:lnSpc>
                <a:spcPct val="80000"/>
              </a:lnSpc>
              <a:spcBef>
                <a:spcPct val="0"/>
              </a:spcBef>
              <a:buNone/>
              <a:defRPr lang="it-IT" sz="4800" i="0" u="none" kern="1200" cap="all" spc="-133" dirty="0" smtClean="0">
                <a:solidFill>
                  <a:srgbClr val="024049"/>
                </a:solidFill>
                <a:latin typeface="Arial Black"/>
                <a:ea typeface="+mj-ea"/>
                <a:cs typeface="Arial Black"/>
              </a:defRPr>
            </a:lvl1pPr>
          </a:lstStyle>
          <a:p>
            <a:r>
              <a:rPr lang="en-US" noProof="0"/>
              <a:t>Section</a:t>
            </a:r>
            <a:br>
              <a:rPr lang="en-US" noProof="0"/>
            </a:br>
            <a:r>
              <a:rPr lang="en-US" noProof="0"/>
              <a:t>Divider</a:t>
            </a:r>
          </a:p>
        </p:txBody>
      </p:sp>
      <p:pic>
        <p:nvPicPr>
          <p:cNvPr id="22" name="Immagine 6" descr="Machine Learning Reply - LOGO_White RGB.eps">
            <a:extLst>
              <a:ext uri="{FF2B5EF4-FFF2-40B4-BE49-F238E27FC236}">
                <a16:creationId xmlns:a16="http://schemas.microsoft.com/office/drawing/2014/main" id="{0873479F-4369-0942-A8CF-6C17A85B238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3987727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O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606A10-8F0C-4B96-8F0F-38986ED53B73}"/>
              </a:ext>
            </a:extLst>
          </p:cNvPr>
          <p:cNvGraphicFramePr>
            <a:graphicFrameLocks noChangeAspect="1"/>
          </p:cNvGraphicFramePr>
          <p:nvPr userDrawn="1">
            <p:custDataLst>
              <p:tags r:id="rId1"/>
            </p:custDataLst>
            <p:extLst>
              <p:ext uri="{D42A27DB-BD31-4B8C-83A1-F6EECF244321}">
                <p14:modId xmlns:p14="http://schemas.microsoft.com/office/powerpoint/2010/main" val="184316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3" name="Object 2" hidden="1">
                        <a:extLst>
                          <a:ext uri="{FF2B5EF4-FFF2-40B4-BE49-F238E27FC236}">
                            <a16:creationId xmlns:a16="http://schemas.microsoft.com/office/drawing/2014/main" id="{C7606A10-8F0C-4B96-8F0F-38986ED53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D7A1DBF-AD07-4E04-96CF-3D15977685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1600" b="1" i="0" baseline="0">
              <a:latin typeface="Arial Black" panose="020B0A04020102020204" pitchFamily="34" charset="0"/>
              <a:ea typeface="+mj-ea"/>
              <a:cs typeface="+mj-cs"/>
              <a:sym typeface="Arial Black" panose="020B0A04020102020204" pitchFamily="34" charset="0"/>
            </a:endParaRPr>
          </a:p>
        </p:txBody>
      </p:sp>
      <p:sp>
        <p:nvSpPr>
          <p:cNvPr id="25" name="Segnaposto numero diapositiva 5">
            <a:extLst>
              <a:ext uri="{FF2B5EF4-FFF2-40B4-BE49-F238E27FC236}">
                <a16:creationId xmlns:a16="http://schemas.microsoft.com/office/drawing/2014/main" id="{AF3DB202-8DE1-4A0F-A783-A1F0A4DA1605}"/>
              </a:ext>
            </a:extLst>
          </p:cNvPr>
          <p:cNvSpPr>
            <a:spLocks noGrp="1"/>
          </p:cNvSpPr>
          <p:nvPr>
            <p:ph type="sldNum" sz="quarter" idx="4"/>
          </p:nvPr>
        </p:nvSpPr>
        <p:spPr>
          <a:xfrm>
            <a:off x="9083117" y="6356352"/>
            <a:ext cx="2743200" cy="223200"/>
          </a:xfrm>
          <a:prstGeom prst="rect">
            <a:avLst/>
          </a:prstGeom>
        </p:spPr>
        <p:txBody>
          <a:bodyPr vert="horz" lIns="91440" tIns="45720" rIns="91440" bIns="45720" rtlCol="0" anchor="ctr"/>
          <a:lstStyle>
            <a:lvl1pPr algn="r">
              <a:defRPr sz="1200">
                <a:solidFill>
                  <a:schemeClr val="tx1">
                    <a:tint val="75000"/>
                  </a:schemeClr>
                </a:solidFill>
              </a:defRPr>
            </a:lvl1pPr>
          </a:lstStyle>
          <a:p>
            <a:fld id="{3D966009-6E5A-4F8C-8CA7-E37AFBF5FB92}" type="slidenum">
              <a:rPr lang="en-US" smtClean="0"/>
              <a:t>‹#›</a:t>
            </a:fld>
            <a:endParaRPr lang="en-US"/>
          </a:p>
        </p:txBody>
      </p:sp>
      <p:sp>
        <p:nvSpPr>
          <p:cNvPr id="26" name="Title Placeholder 54">
            <a:extLst>
              <a:ext uri="{FF2B5EF4-FFF2-40B4-BE49-F238E27FC236}">
                <a16:creationId xmlns:a16="http://schemas.microsoft.com/office/drawing/2014/main" id="{5887A63D-817F-4DC7-8CDA-56F79EC08456}"/>
              </a:ext>
            </a:extLst>
          </p:cNvPr>
          <p:cNvSpPr>
            <a:spLocks noGrp="1"/>
          </p:cNvSpPr>
          <p:nvPr>
            <p:ph type="title" hasCustomPrompt="1"/>
          </p:nvPr>
        </p:nvSpPr>
        <p:spPr bwMode="gray">
          <a:xfrm>
            <a:off x="365682" y="397932"/>
            <a:ext cx="9940367" cy="795805"/>
          </a:xfrm>
          <a:prstGeom prst="rect">
            <a:avLst/>
          </a:prstGeom>
        </p:spPr>
        <p:txBody>
          <a:bodyPr vert="horz" lIns="0" tIns="0" rIns="0" bIns="0" rtlCol="0" anchor="t" anchorCtr="0">
            <a:noAutofit/>
          </a:bodyPr>
          <a:lstStyle>
            <a:lvl1pPr>
              <a:defRPr sz="2800"/>
            </a:lvl1pPr>
          </a:lstStyle>
          <a:p>
            <a:pPr lvl="0"/>
            <a:r>
              <a:rPr lang="en-US" noProof="0"/>
              <a:t>Actiontitle</a:t>
            </a:r>
          </a:p>
        </p:txBody>
      </p:sp>
      <p:sp>
        <p:nvSpPr>
          <p:cNvPr id="28" name="Inhaltsplatzhalter 35">
            <a:extLst>
              <a:ext uri="{FF2B5EF4-FFF2-40B4-BE49-F238E27FC236}">
                <a16:creationId xmlns:a16="http://schemas.microsoft.com/office/drawing/2014/main" id="{7E990F5F-C9D7-47BA-8AEC-1DC95FB09B52}"/>
              </a:ext>
            </a:extLst>
          </p:cNvPr>
          <p:cNvSpPr>
            <a:spLocks noGrp="1"/>
          </p:cNvSpPr>
          <p:nvPr>
            <p:ph sz="quarter" idx="10" hasCustomPrompt="1"/>
          </p:nvPr>
        </p:nvSpPr>
        <p:spPr>
          <a:xfrm>
            <a:off x="365682" y="6028266"/>
            <a:ext cx="11460635" cy="22180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rgbClr val="64B987"/>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54000" bIns="36000" anchor="b" anchorCtr="0"/>
          <a:lstStyle>
            <a:lvl1pPr>
              <a:spcBef>
                <a:spcPts val="200"/>
              </a:spcBef>
              <a:defRPr lang="de-DE" sz="1200" b="0" i="1" u="none" kern="1200" dirty="0" smtClean="0">
                <a:solidFill>
                  <a:schemeClr val="tx1"/>
                </a:solidFill>
                <a:latin typeface="+mn-lt"/>
                <a:ea typeface="+mn-ea"/>
                <a:cs typeface="+mn-cs"/>
              </a:defRPr>
            </a:lvl1pPr>
            <a:lvl2pPr>
              <a:defRPr lang="de-DE" dirty="0" smtClean="0"/>
            </a:lvl2pPr>
            <a:lvl3pPr>
              <a:defRPr lang="de-DE" dirty="0" smtClean="0"/>
            </a:lvl3pPr>
            <a:lvl4pPr>
              <a:defRPr lang="de-DE" dirty="0" smtClean="0"/>
            </a:lvl4pPr>
            <a:lvl5pPr>
              <a:defRPr lang="de-DE" dirty="0"/>
            </a:lvl5pPr>
          </a:lstStyle>
          <a:p>
            <a:pPr marL="0" lvl="0" indent="0" algn="l" defTabSz="914400" rtl="0" eaLnBrk="1" latinLnBrk="0" hangingPunct="1">
              <a:lnSpc>
                <a:spcPct val="90000"/>
              </a:lnSpc>
              <a:spcBef>
                <a:spcPct val="0"/>
              </a:spcBef>
              <a:buFontTx/>
              <a:buNone/>
            </a:pPr>
            <a:r>
              <a:rPr lang="en-US"/>
              <a:t>Source: </a:t>
            </a:r>
          </a:p>
        </p:txBody>
      </p:sp>
      <p:sp>
        <p:nvSpPr>
          <p:cNvPr id="32" name="Freeform 27">
            <a:extLst>
              <a:ext uri="{FF2B5EF4-FFF2-40B4-BE49-F238E27FC236}">
                <a16:creationId xmlns:a16="http://schemas.microsoft.com/office/drawing/2014/main" id="{115D5E09-1E48-4E0E-82C0-2E1B99C3C405}"/>
              </a:ext>
            </a:extLst>
          </p:cNvPr>
          <p:cNvSpPr>
            <a:spLocks noChangeAspect="1"/>
          </p:cNvSpPr>
          <p:nvPr userDrawn="1"/>
        </p:nvSpPr>
        <p:spPr bwMode="gray">
          <a:xfrm flipH="1">
            <a:off x="10305282" y="0"/>
            <a:ext cx="1886717" cy="943264"/>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solidFill>
            <a:srgbClr val="8D8EA8"/>
          </a:solidFill>
          <a:ln w="9525" cap="flat" cmpd="sng">
            <a:noFill/>
            <a:prstDash val="solid"/>
            <a:round/>
            <a:headEnd type="none" w="med" len="med"/>
            <a:tailEnd type="none" w="med" len="med"/>
          </a:ln>
          <a:effectLst/>
        </p:spPr>
        <p:txBody>
          <a:bodyPr>
            <a:noAutofit/>
          </a:bodyPr>
          <a:lstStyle/>
          <a:p>
            <a:pPr eaLnBrk="1">
              <a:defRPr/>
            </a:pPr>
            <a:endParaRPr lang="en-US">
              <a:solidFill>
                <a:srgbClr val="000000"/>
              </a:solidFill>
              <a:cs typeface="Arial" pitchFamily="34" charset="0"/>
            </a:endParaRPr>
          </a:p>
        </p:txBody>
      </p:sp>
      <p:sp>
        <p:nvSpPr>
          <p:cNvPr id="6" name="Text Placeholder 5">
            <a:extLst>
              <a:ext uri="{FF2B5EF4-FFF2-40B4-BE49-F238E27FC236}">
                <a16:creationId xmlns:a16="http://schemas.microsoft.com/office/drawing/2014/main" id="{CAB7C09E-2209-40FC-8B57-708E1E3ECC1E}"/>
              </a:ext>
            </a:extLst>
          </p:cNvPr>
          <p:cNvSpPr>
            <a:spLocks noGrp="1"/>
          </p:cNvSpPr>
          <p:nvPr>
            <p:ph type="body" sz="quarter" idx="11"/>
          </p:nvPr>
        </p:nvSpPr>
        <p:spPr>
          <a:xfrm>
            <a:off x="365681" y="1716195"/>
            <a:ext cx="11460635" cy="4205788"/>
          </a:xfrm>
          <a:prstGeom prst="rect">
            <a:avLst/>
          </a:prstGeom>
        </p:spPr>
        <p:txBody>
          <a:bodyPr lIns="0"/>
          <a:lstStyle>
            <a:lvl1pPr>
              <a:defRPr sz="1600" u="none"/>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9">
            <a:extLst>
              <a:ext uri="{FF2B5EF4-FFF2-40B4-BE49-F238E27FC236}">
                <a16:creationId xmlns:a16="http://schemas.microsoft.com/office/drawing/2014/main" id="{C02F74DA-7E83-4606-87CC-5EB5C7F1334F}"/>
              </a:ext>
            </a:extLst>
          </p:cNvPr>
          <p:cNvSpPr>
            <a:spLocks noGrp="1"/>
          </p:cNvSpPr>
          <p:nvPr>
            <p:ph type="body" sz="quarter" idx="12" hasCustomPrompt="1"/>
          </p:nvPr>
        </p:nvSpPr>
        <p:spPr>
          <a:xfrm>
            <a:off x="365682" y="90049"/>
            <a:ext cx="9939600" cy="201600"/>
          </a:xfrm>
          <a:prstGeom prst="rect">
            <a:avLst/>
          </a:prstGeom>
        </p:spPr>
        <p:txBody>
          <a:bodyPr lIns="0" tIns="0" rIns="0" bIns="0"/>
          <a:lstStyle>
            <a:lvl1pPr>
              <a:defRPr sz="1600" b="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US"/>
              <a:t>Chapter name</a:t>
            </a:r>
          </a:p>
        </p:txBody>
      </p:sp>
      <p:sp>
        <p:nvSpPr>
          <p:cNvPr id="42" name="Text Placeholder 9">
            <a:extLst>
              <a:ext uri="{FF2B5EF4-FFF2-40B4-BE49-F238E27FC236}">
                <a16:creationId xmlns:a16="http://schemas.microsoft.com/office/drawing/2014/main" id="{993F5916-D4AC-4CCB-B1D3-C3E23E7F75F0}"/>
              </a:ext>
            </a:extLst>
          </p:cNvPr>
          <p:cNvSpPr>
            <a:spLocks noGrp="1"/>
          </p:cNvSpPr>
          <p:nvPr>
            <p:ph type="body" sz="quarter" idx="13" hasCustomPrompt="1"/>
          </p:nvPr>
        </p:nvSpPr>
        <p:spPr>
          <a:xfrm>
            <a:off x="365682" y="1300020"/>
            <a:ext cx="11462400" cy="309892"/>
          </a:xfrm>
          <a:prstGeom prst="rect">
            <a:avLst/>
          </a:prstGeom>
        </p:spPr>
        <p:txBody>
          <a:bodyPr lIns="0" tIns="0" rIns="0" bIns="0"/>
          <a:lstStyle>
            <a:lvl1pPr>
              <a:defRPr sz="1800" u="none">
                <a:solidFill>
                  <a:schemeClr val="bg1">
                    <a:lumMod val="50000"/>
                  </a:schemeClr>
                </a:solidFill>
                <a:latin typeface="+mj-lt"/>
              </a:defRPr>
            </a:lvl1pPr>
            <a:lvl2pPr>
              <a:defRPr sz="1200" u="none">
                <a:solidFill>
                  <a:schemeClr val="bg1">
                    <a:lumMod val="50000"/>
                  </a:schemeClr>
                </a:solidFill>
                <a:latin typeface="+mj-lt"/>
              </a:defRPr>
            </a:lvl2pPr>
            <a:lvl3pPr>
              <a:defRPr sz="1200" u="none">
                <a:solidFill>
                  <a:schemeClr val="bg1">
                    <a:lumMod val="50000"/>
                  </a:schemeClr>
                </a:solidFill>
                <a:latin typeface="+mj-lt"/>
              </a:defRPr>
            </a:lvl3pPr>
            <a:lvl4pPr>
              <a:defRPr sz="1200" u="none">
                <a:solidFill>
                  <a:schemeClr val="bg1">
                    <a:lumMod val="50000"/>
                  </a:schemeClr>
                </a:solidFill>
                <a:latin typeface="+mj-lt"/>
              </a:defRPr>
            </a:lvl4pPr>
            <a:lvl5pPr>
              <a:defRPr sz="1200" u="none">
                <a:solidFill>
                  <a:schemeClr val="bg1">
                    <a:lumMod val="50000"/>
                  </a:schemeClr>
                </a:solidFill>
                <a:latin typeface="+mj-lt"/>
              </a:defRPr>
            </a:lvl5pPr>
          </a:lstStyle>
          <a:p>
            <a:pPr lvl="0"/>
            <a:r>
              <a:rPr lang="en-US"/>
              <a:t>Subtitle</a:t>
            </a:r>
          </a:p>
        </p:txBody>
      </p:sp>
      <p:sp>
        <p:nvSpPr>
          <p:cNvPr id="44" name="Inhaltsplatzhalter 35">
            <a:extLst>
              <a:ext uri="{FF2B5EF4-FFF2-40B4-BE49-F238E27FC236}">
                <a16:creationId xmlns:a16="http://schemas.microsoft.com/office/drawing/2014/main" id="{5390D463-F6CC-43D7-81F0-CC42BBE0C8E0}"/>
              </a:ext>
            </a:extLst>
          </p:cNvPr>
          <p:cNvSpPr>
            <a:spLocks noGrp="1"/>
          </p:cNvSpPr>
          <p:nvPr>
            <p:ph sz="quarter" idx="14" hasCustomPrompt="1"/>
          </p:nvPr>
        </p:nvSpPr>
        <p:spPr>
          <a:xfrm>
            <a:off x="365682" y="6356352"/>
            <a:ext cx="8607600" cy="22180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rgbClr val="64B987"/>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6000" rIns="54000" bIns="36000" anchor="b" anchorCtr="0"/>
          <a:lstStyle>
            <a:lvl1pPr marL="0" indent="0" algn="l" defTabSz="914400" rtl="0" eaLnBrk="1" latinLnBrk="0" hangingPunct="1">
              <a:lnSpc>
                <a:spcPct val="90000"/>
              </a:lnSpc>
              <a:spcBef>
                <a:spcPct val="0"/>
              </a:spcBef>
              <a:buFontTx/>
              <a:buNone/>
              <a:defRPr lang="de-DE" sz="1200" b="0" i="0" u="none" kern="1200" dirty="0" smtClean="0">
                <a:solidFill>
                  <a:schemeClr val="bg1">
                    <a:lumMod val="50000"/>
                  </a:schemeClr>
                </a:solidFill>
                <a:latin typeface="+mn-lt"/>
                <a:ea typeface="+mn-ea"/>
                <a:cs typeface="+mn-cs"/>
              </a:defRPr>
            </a:lvl1pPr>
            <a:lvl2pPr>
              <a:defRPr lang="de-DE" dirty="0" smtClean="0"/>
            </a:lvl2pPr>
            <a:lvl3pPr>
              <a:defRPr lang="de-DE" dirty="0" smtClean="0"/>
            </a:lvl3pPr>
            <a:lvl4pPr>
              <a:defRPr lang="de-DE" dirty="0" smtClean="0"/>
            </a:lvl4pPr>
            <a:lvl5pPr>
              <a:defRPr lang="de-DE" dirty="0"/>
            </a:lvl5pPr>
          </a:lstStyle>
          <a:p>
            <a:pPr marL="0" lvl="0" indent="0" algn="l" defTabSz="914400" rtl="0" eaLnBrk="1" latinLnBrk="0" hangingPunct="1">
              <a:lnSpc>
                <a:spcPct val="90000"/>
              </a:lnSpc>
              <a:spcBef>
                <a:spcPct val="0"/>
              </a:spcBef>
              <a:buFontTx/>
              <a:buNone/>
            </a:pPr>
            <a:r>
              <a:rPr lang="en-US"/>
              <a:t>Machine Learning Reply | Client | Date</a:t>
            </a:r>
          </a:p>
        </p:txBody>
      </p:sp>
      <p:pic>
        <p:nvPicPr>
          <p:cNvPr id="19" name="Immagine 6" descr="Machine Learning Reply - LOGO_White RGB.eps">
            <a:extLst>
              <a:ext uri="{FF2B5EF4-FFF2-40B4-BE49-F238E27FC236}">
                <a16:creationId xmlns:a16="http://schemas.microsoft.com/office/drawing/2014/main" id="{73C7907C-7BFF-EC4A-A558-C252C700CCF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77048" y="275432"/>
            <a:ext cx="1581861" cy="392400"/>
          </a:xfrm>
          <a:prstGeom prst="rect">
            <a:avLst/>
          </a:prstGeom>
        </p:spPr>
      </p:pic>
    </p:spTree>
    <p:extLst>
      <p:ext uri="{BB962C8B-B14F-4D97-AF65-F5344CB8AC3E}">
        <p14:creationId xmlns:p14="http://schemas.microsoft.com/office/powerpoint/2010/main" val="3717610897"/>
      </p:ext>
    </p:extLst>
  </p:cSld>
  <p:clrMapOvr>
    <a:masterClrMapping/>
  </p:clrMapOvr>
  <p:hf hdr="0" dt="0"/>
  <p:extLst>
    <p:ext uri="{DCECCB84-F9BA-43D5-87BE-67443E8EF086}">
      <p15:sldGuideLst xmlns:p15="http://schemas.microsoft.com/office/powerpoint/2012/main">
        <p15:guide id="2" pos="234" userDrawn="1">
          <p15:clr>
            <a:srgbClr val="FBAE40"/>
          </p15:clr>
        </p15:guide>
        <p15:guide id="3" pos="7446" userDrawn="1">
          <p15:clr>
            <a:srgbClr val="FBAE40"/>
          </p15:clr>
        </p15:guide>
        <p15:guide id="5" orient="horz" pos="1071" userDrawn="1">
          <p15:clr>
            <a:srgbClr val="FBAE40"/>
          </p15:clr>
        </p15:guide>
        <p15:guide id="6" orient="horz" pos="3725" userDrawn="1">
          <p15:clr>
            <a:srgbClr val="FBAE40"/>
          </p15:clr>
        </p15:guide>
        <p15:guide id="7" orient="horz" pos="238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47F358-451E-49C3-8163-F9C911B7CACA}"/>
              </a:ext>
            </a:extLst>
          </p:cNvPr>
          <p:cNvGraphicFramePr>
            <a:graphicFrameLocks noChangeAspect="1"/>
          </p:cNvGraphicFramePr>
          <p:nvPr userDrawn="1">
            <p:custDataLst>
              <p:tags r:id="rId12"/>
            </p:custDataLst>
            <p:extLst>
              <p:ext uri="{D42A27DB-BD31-4B8C-83A1-F6EECF244321}">
                <p14:modId xmlns:p14="http://schemas.microsoft.com/office/powerpoint/2010/main" val="3873459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15" imgH="416" progId="TCLayout.ActiveDocument.1">
                  <p:embed/>
                </p:oleObj>
              </mc:Choice>
              <mc:Fallback>
                <p:oleObj name="think-cell Folie" r:id="rId14" imgW="415" imgH="416" progId="TCLayout.ActiveDocument.1">
                  <p:embed/>
                  <p:pic>
                    <p:nvPicPr>
                      <p:cNvPr id="4" name="Object 3" hidden="1">
                        <a:extLst>
                          <a:ext uri="{FF2B5EF4-FFF2-40B4-BE49-F238E27FC236}">
                            <a16:creationId xmlns:a16="http://schemas.microsoft.com/office/drawing/2014/main" id="{E647F358-451E-49C3-8163-F9C911B7CAC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94BCBB1-4EA1-4F40-BA7B-FD3994190CF5}"/>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200" b="1" i="0" baseline="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3131030110"/>
      </p:ext>
    </p:extLst>
  </p:cSld>
  <p:clrMap bg1="lt1" tx1="dk1" bg2="lt2" tx2="dk2" accent1="accent1" accent2="accent2" accent3="accent3" accent4="accent4" accent5="accent5" accent6="accent6" hlink="hlink" folHlink="folHlink"/>
  <p:sldLayoutIdLst>
    <p:sldLayoutId id="2147483651" r:id="rId1"/>
    <p:sldLayoutId id="2147483657" r:id="rId2"/>
    <p:sldLayoutId id="2147483660" r:id="rId3"/>
    <p:sldLayoutId id="2147483658" r:id="rId4"/>
    <p:sldLayoutId id="2147483659" r:id="rId5"/>
    <p:sldLayoutId id="2147483655" r:id="rId6"/>
    <p:sldLayoutId id="2147483661" r:id="rId7"/>
    <p:sldLayoutId id="2147483653" r:id="rId8"/>
    <p:sldLayoutId id="2147483650" r:id="rId9"/>
    <p:sldLayoutId id="2147483654" r:id="rId10"/>
  </p:sldLayoutIdLst>
  <p:hf hdr="0" dt="0"/>
  <p:txStyles>
    <p:titleStyle>
      <a:lvl1pPr algn="l" defTabSz="914377" rtl="0" eaLnBrk="1" latinLnBrk="0" hangingPunct="1">
        <a:lnSpc>
          <a:spcPct val="90000"/>
        </a:lnSpc>
        <a:spcBef>
          <a:spcPct val="0"/>
        </a:spcBef>
        <a:buNone/>
        <a:defRPr sz="2200" b="1" kern="1200">
          <a:solidFill>
            <a:srgbClr val="004149"/>
          </a:solidFill>
          <a:latin typeface="+mj-lt"/>
          <a:ea typeface="+mj-ea"/>
          <a:cs typeface="+mj-cs"/>
        </a:defRPr>
      </a:lvl1pPr>
    </p:titleStyle>
    <p:body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US" sz="1400" b="1" u="sng" kern="1200" noProof="0" dirty="0" smtClean="0">
          <a:solidFill>
            <a:srgbClr val="004149"/>
          </a:solidFill>
          <a:latin typeface="+mn-lt"/>
          <a:ea typeface="+mn-ea"/>
          <a:cs typeface="+mn-cs"/>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400" kern="1200">
          <a:solidFill>
            <a:srgbClr val="004149"/>
          </a:solidFill>
          <a:latin typeface="+mn-lt"/>
          <a:ea typeface="+mn-ea"/>
          <a:cs typeface="+mn-cs"/>
        </a:defRPr>
      </a:lvl2pPr>
      <a:lvl3pPr marL="177800" marR="0" indent="-177800" algn="l" defTabSz="914400" rtl="0" eaLnBrk="1" fontAlgn="auto" latinLnBrk="0" hangingPunct="1">
        <a:lnSpc>
          <a:spcPct val="100000"/>
        </a:lnSpc>
        <a:spcBef>
          <a:spcPts val="600"/>
        </a:spcBef>
        <a:spcAft>
          <a:spcPts val="0"/>
        </a:spcAft>
        <a:buClr>
          <a:srgbClr val="97989A"/>
        </a:buClr>
        <a:buSzTx/>
        <a:buFont typeface="Arial" pitchFamily="34" charset="0"/>
        <a:buChar char="■"/>
        <a:tabLst/>
        <a:defRPr sz="1400" kern="1200">
          <a:solidFill>
            <a:srgbClr val="004149"/>
          </a:solidFill>
          <a:latin typeface="+mn-lt"/>
          <a:ea typeface="+mn-ea"/>
          <a:cs typeface="+mn-cs"/>
        </a:defRPr>
      </a:lvl3pPr>
      <a:lvl4pPr marL="355600" marR="0" indent="-177800" algn="l" defTabSz="914400" rtl="0" eaLnBrk="1" fontAlgn="auto" latinLnBrk="0" hangingPunct="1">
        <a:lnSpc>
          <a:spcPct val="100000"/>
        </a:lnSpc>
        <a:spcBef>
          <a:spcPts val="600"/>
        </a:spcBef>
        <a:spcAft>
          <a:spcPts val="0"/>
        </a:spcAft>
        <a:buClr>
          <a:srgbClr val="97989A"/>
        </a:buClr>
        <a:buSzTx/>
        <a:buFont typeface="Arial" pitchFamily="34" charset="0"/>
        <a:buChar char="–"/>
        <a:tabLst/>
        <a:defRPr sz="1400" kern="1200">
          <a:solidFill>
            <a:srgbClr val="004149"/>
          </a:solidFill>
          <a:latin typeface="+mn-lt"/>
          <a:ea typeface="+mn-ea"/>
          <a:cs typeface="+mn-cs"/>
        </a:defRPr>
      </a:lvl4pPr>
      <a:lvl5pPr marL="534988" marR="0" indent="-174625" algn="l" defTabSz="914400" rtl="0" eaLnBrk="1" fontAlgn="auto" latinLnBrk="0" hangingPunct="1">
        <a:lnSpc>
          <a:spcPct val="100000"/>
        </a:lnSpc>
        <a:spcBef>
          <a:spcPts val="600"/>
        </a:spcBef>
        <a:spcAft>
          <a:spcPts val="0"/>
        </a:spcAft>
        <a:buClr>
          <a:srgbClr val="97989A"/>
        </a:buClr>
        <a:buSzTx/>
        <a:buFont typeface="Arial" pitchFamily="34" charset="0"/>
        <a:buChar char="■"/>
        <a:tabLst/>
        <a:defRPr sz="1400" kern="1200">
          <a:solidFill>
            <a:srgbClr val="004149"/>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9.xml"/><Relationship Id="rId1" Type="http://schemas.openxmlformats.org/officeDocument/2006/relationships/tags" Target="../tags/tag198.xml"/><Relationship Id="rId4" Type="http://schemas.openxmlformats.org/officeDocument/2006/relationships/image" Target="../media/image17.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9.xml"/><Relationship Id="rId1" Type="http://schemas.openxmlformats.org/officeDocument/2006/relationships/tags" Target="../tags/tag199.xml"/><Relationship Id="rId4" Type="http://schemas.openxmlformats.org/officeDocument/2006/relationships/image" Target="../media/image18.emf"/></Relationships>
</file>

<file path=ppt/slides/_rels/slide10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103.bin"/><Relationship Id="rId7" Type="http://schemas.openxmlformats.org/officeDocument/2006/relationships/chart" Target="../charts/chart3.xml"/><Relationship Id="rId2" Type="http://schemas.openxmlformats.org/officeDocument/2006/relationships/slideLayout" Target="../slideLayouts/slideLayout9.xml"/><Relationship Id="rId1" Type="http://schemas.openxmlformats.org/officeDocument/2006/relationships/tags" Target="../tags/tag200.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9.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9.xml"/><Relationship Id="rId1" Type="http://schemas.openxmlformats.org/officeDocument/2006/relationships/tags" Target="../tags/tag201.xml"/><Relationship Id="rId4" Type="http://schemas.openxmlformats.org/officeDocument/2006/relationships/image" Target="../media/image20.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9.xml"/><Relationship Id="rId1" Type="http://schemas.openxmlformats.org/officeDocument/2006/relationships/tags" Target="../tags/tag202.xml"/><Relationship Id="rId4" Type="http://schemas.openxmlformats.org/officeDocument/2006/relationships/image" Target="../media/image21.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9.xml"/><Relationship Id="rId1" Type="http://schemas.openxmlformats.org/officeDocument/2006/relationships/tags" Target="../tags/tag203.xml"/><Relationship Id="rId4" Type="http://schemas.openxmlformats.org/officeDocument/2006/relationships/image" Target="../media/image22.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9.xml"/><Relationship Id="rId1" Type="http://schemas.openxmlformats.org/officeDocument/2006/relationships/tags" Target="../tags/tag204.xml"/><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4.x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9.xml"/><Relationship Id="rId1" Type="http://schemas.openxmlformats.org/officeDocument/2006/relationships/tags" Target="../tags/tag205.xml"/><Relationship Id="rId4" Type="http://schemas.openxmlformats.org/officeDocument/2006/relationships/image" Target="../media/image24.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9.xml"/><Relationship Id="rId1" Type="http://schemas.openxmlformats.org/officeDocument/2006/relationships/tags" Target="../tags/tag206.xml"/><Relationship Id="rId4" Type="http://schemas.openxmlformats.org/officeDocument/2006/relationships/image" Target="../media/image25.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9.xml"/><Relationship Id="rId1" Type="http://schemas.openxmlformats.org/officeDocument/2006/relationships/tags" Target="../tags/tag207.xml"/><Relationship Id="rId4" Type="http://schemas.openxmlformats.org/officeDocument/2006/relationships/image" Target="../media/image26.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9.xml"/><Relationship Id="rId1" Type="http://schemas.openxmlformats.org/officeDocument/2006/relationships/tags" Target="../tags/tag208.xml"/><Relationship Id="rId4" Type="http://schemas.openxmlformats.org/officeDocument/2006/relationships/image" Target="../media/image27.emf"/></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9.xml"/><Relationship Id="rId1" Type="http://schemas.openxmlformats.org/officeDocument/2006/relationships/tags" Target="../tags/tag209.xml"/><Relationship Id="rId4" Type="http://schemas.openxmlformats.org/officeDocument/2006/relationships/image" Target="../media/image28.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9.xml"/><Relationship Id="rId1" Type="http://schemas.openxmlformats.org/officeDocument/2006/relationships/tags" Target="../tags/tag210.xml"/><Relationship Id="rId4" Type="http://schemas.openxmlformats.org/officeDocument/2006/relationships/image" Target="../media/image29.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9.xml"/><Relationship Id="rId1" Type="http://schemas.openxmlformats.org/officeDocument/2006/relationships/tags" Target="../tags/tag211.xml"/><Relationship Id="rId4" Type="http://schemas.openxmlformats.org/officeDocument/2006/relationships/image" Target="../media/image30.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5.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9.xml"/><Relationship Id="rId1" Type="http://schemas.openxmlformats.org/officeDocument/2006/relationships/tags" Target="../tags/tag21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31.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9.xml"/><Relationship Id="rId1" Type="http://schemas.openxmlformats.org/officeDocument/2006/relationships/tags" Target="../tags/tag213.xml"/><Relationship Id="rId4" Type="http://schemas.openxmlformats.org/officeDocument/2006/relationships/image" Target="../media/image32.emf"/></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9.xml"/><Relationship Id="rId1" Type="http://schemas.openxmlformats.org/officeDocument/2006/relationships/tags" Target="../tags/tag214.xml"/><Relationship Id="rId4" Type="http://schemas.openxmlformats.org/officeDocument/2006/relationships/image" Target="../media/image33.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Layout" Target="../slideLayouts/slideLayout9.xml"/><Relationship Id="rId1" Type="http://schemas.openxmlformats.org/officeDocument/2006/relationships/tags" Target="../tags/tag215.xml"/><Relationship Id="rId4" Type="http://schemas.openxmlformats.org/officeDocument/2006/relationships/image" Target="../media/image34.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9.xml"/><Relationship Id="rId1" Type="http://schemas.openxmlformats.org/officeDocument/2006/relationships/tags" Target="../tags/tag216.xml"/><Relationship Id="rId4" Type="http://schemas.openxmlformats.org/officeDocument/2006/relationships/image" Target="../media/image35.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9.xml"/><Relationship Id="rId1" Type="http://schemas.openxmlformats.org/officeDocument/2006/relationships/tags" Target="../tags/tag217.xml"/><Relationship Id="rId4" Type="http://schemas.openxmlformats.org/officeDocument/2006/relationships/image" Target="../media/image36.emf"/></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9.xml"/><Relationship Id="rId1" Type="http://schemas.openxmlformats.org/officeDocument/2006/relationships/tags" Target="../tags/tag218.xml"/><Relationship Id="rId4" Type="http://schemas.openxmlformats.org/officeDocument/2006/relationships/image" Target="../media/image37.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6.xml"/></Relationships>
</file>

<file path=ppt/slides/_rels/slide13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9.xml"/><Relationship Id="rId1" Type="http://schemas.openxmlformats.org/officeDocument/2006/relationships/tags" Target="../tags/tag219.xml"/><Relationship Id="rId4" Type="http://schemas.openxmlformats.org/officeDocument/2006/relationships/image" Target="../media/image38.emf"/></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9.xml"/><Relationship Id="rId1" Type="http://schemas.openxmlformats.org/officeDocument/2006/relationships/tags" Target="../tags/tag220.xml"/><Relationship Id="rId4" Type="http://schemas.openxmlformats.org/officeDocument/2006/relationships/image" Target="../media/image39.emf"/></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4.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9.xml"/><Relationship Id="rId1" Type="http://schemas.openxmlformats.org/officeDocument/2006/relationships/tags" Target="../tags/tag221.xml"/><Relationship Id="rId4" Type="http://schemas.openxmlformats.org/officeDocument/2006/relationships/image" Target="../media/image40.emf"/></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9.xml"/><Relationship Id="rId1" Type="http://schemas.openxmlformats.org/officeDocument/2006/relationships/tags" Target="../tags/tag222.xml"/><Relationship Id="rId4" Type="http://schemas.openxmlformats.org/officeDocument/2006/relationships/image" Target="../media/image41.emf"/></Relationships>
</file>

<file path=ppt/slides/_rels/slide13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Layout" Target="../slideLayouts/slideLayout9.xml"/><Relationship Id="rId1" Type="http://schemas.openxmlformats.org/officeDocument/2006/relationships/tags" Target="../tags/tag223.xml"/><Relationship Id="rId4" Type="http://schemas.openxmlformats.org/officeDocument/2006/relationships/image" Target="../media/image42.e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Layout" Target="../slideLayouts/slideLayout9.xml"/><Relationship Id="rId1" Type="http://schemas.openxmlformats.org/officeDocument/2006/relationships/tags" Target="../tags/tag224.xml"/><Relationship Id="rId4" Type="http://schemas.openxmlformats.org/officeDocument/2006/relationships/image" Target="../media/image43.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1.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Layout" Target="../slideLayouts/slideLayout9.xml"/><Relationship Id="rId1" Type="http://schemas.openxmlformats.org/officeDocument/2006/relationships/tags" Target="../tags/tag225.xml"/><Relationship Id="rId4" Type="http://schemas.openxmlformats.org/officeDocument/2006/relationships/image" Target="../media/image44.emf"/></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Layout" Target="../slideLayouts/slideLayout9.xml"/><Relationship Id="rId1" Type="http://schemas.openxmlformats.org/officeDocument/2006/relationships/tags" Target="../tags/tag226.xml"/><Relationship Id="rId4" Type="http://schemas.openxmlformats.org/officeDocument/2006/relationships/image" Target="../media/image45.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9.xml"/><Relationship Id="rId1" Type="http://schemas.openxmlformats.org/officeDocument/2006/relationships/tags" Target="../tags/tag227.xml"/><Relationship Id="rId4" Type="http://schemas.openxmlformats.org/officeDocument/2006/relationships/image" Target="../media/image46.emf"/></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7.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Layout" Target="../slideLayouts/slideLayout9.xml"/><Relationship Id="rId1" Type="http://schemas.openxmlformats.org/officeDocument/2006/relationships/tags" Target="../tags/tag228.xml"/><Relationship Id="rId4" Type="http://schemas.openxmlformats.org/officeDocument/2006/relationships/image" Target="../media/image47.emf"/></Relationships>
</file>

<file path=ppt/slides/_rels/slide148.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Layout" Target="../slideLayouts/slideLayout9.xml"/><Relationship Id="rId1" Type="http://schemas.openxmlformats.org/officeDocument/2006/relationships/tags" Target="../tags/tag229.xml"/><Relationship Id="rId4" Type="http://schemas.openxmlformats.org/officeDocument/2006/relationships/image" Target="../media/image48.emf"/></Relationships>
</file>

<file path=ppt/slides/_rels/slide149.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Layout" Target="../slideLayouts/slideLayout9.xml"/><Relationship Id="rId1" Type="http://schemas.openxmlformats.org/officeDocument/2006/relationships/tags" Target="../tags/tag230.xml"/><Relationship Id="rId4" Type="http://schemas.openxmlformats.org/officeDocument/2006/relationships/image" Target="../media/image49.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50.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Layout" Target="../slideLayouts/slideLayout9.xml"/><Relationship Id="rId1" Type="http://schemas.openxmlformats.org/officeDocument/2006/relationships/tags" Target="../tags/tag231.xml"/><Relationship Id="rId4" Type="http://schemas.openxmlformats.org/officeDocument/2006/relationships/image" Target="../media/image50.emf"/></Relationships>
</file>

<file path=ppt/slides/_rels/slide15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Layout" Target="../slideLayouts/slideLayout9.xml"/><Relationship Id="rId1" Type="http://schemas.openxmlformats.org/officeDocument/2006/relationships/tags" Target="../tags/tag232.xml"/><Relationship Id="rId4" Type="http://schemas.openxmlformats.org/officeDocument/2006/relationships/image" Target="../media/image51.emf"/></Relationships>
</file>

<file path=ppt/slides/_rels/slide15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Layout" Target="../slideLayouts/slideLayout9.xml"/><Relationship Id="rId1" Type="http://schemas.openxmlformats.org/officeDocument/2006/relationships/tags" Target="../tags/tag233.xml"/><Relationship Id="rId4" Type="http://schemas.openxmlformats.org/officeDocument/2006/relationships/image" Target="../media/image52.emf"/></Relationships>
</file>

<file path=ppt/slides/_rels/slide15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9.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9.xml"/><Relationship Id="rId1" Type="http://schemas.openxmlformats.org/officeDocument/2006/relationships/tags" Target="../tags/tag234.xml"/><Relationship Id="rId5" Type="http://schemas.openxmlformats.org/officeDocument/2006/relationships/image" Target="../media/image54.png"/><Relationship Id="rId4" Type="http://schemas.openxmlformats.org/officeDocument/2006/relationships/image" Target="../media/image53.emf"/></Relationships>
</file>

<file path=ppt/slides/_rels/slide156.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Layout" Target="../slideLayouts/slideLayout9.xml"/><Relationship Id="rId1" Type="http://schemas.openxmlformats.org/officeDocument/2006/relationships/tags" Target="../tags/tag235.xml"/><Relationship Id="rId4" Type="http://schemas.openxmlformats.org/officeDocument/2006/relationships/image" Target="../media/image55.emf"/></Relationships>
</file>

<file path=ppt/slides/_rels/slide15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9.xml"/></Relationships>
</file>

<file path=ppt/slides/_rels/slide158.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oleObject" Target="../embeddings/oleObject139.bin"/><Relationship Id="rId7" Type="http://schemas.openxmlformats.org/officeDocument/2006/relationships/chart" Target="../charts/chart11.xml"/><Relationship Id="rId2" Type="http://schemas.openxmlformats.org/officeDocument/2006/relationships/slideLayout" Target="../slideLayouts/slideLayout9.xml"/><Relationship Id="rId1" Type="http://schemas.openxmlformats.org/officeDocument/2006/relationships/tags" Target="../tags/tag236.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chart" Target="../charts/chart9.xml"/><Relationship Id="rId10" Type="http://schemas.openxmlformats.org/officeDocument/2006/relationships/chart" Target="../charts/chart14.xml"/><Relationship Id="rId4" Type="http://schemas.openxmlformats.org/officeDocument/2006/relationships/image" Target="../media/image56.emf"/><Relationship Id="rId9" Type="http://schemas.openxmlformats.org/officeDocument/2006/relationships/chart" Target="../charts/chart13.xml"/></Relationships>
</file>

<file path=ppt/slides/_rels/slide159.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Layout" Target="../slideLayouts/slideLayout9.xml"/><Relationship Id="rId1" Type="http://schemas.openxmlformats.org/officeDocument/2006/relationships/tags" Target="../tags/tag237.xml"/><Relationship Id="rId4" Type="http://schemas.openxmlformats.org/officeDocument/2006/relationships/image" Target="../media/image57.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160.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Layout" Target="../slideLayouts/slideLayout9.xml"/><Relationship Id="rId1" Type="http://schemas.openxmlformats.org/officeDocument/2006/relationships/tags" Target="../tags/tag238.xml"/><Relationship Id="rId4" Type="http://schemas.openxmlformats.org/officeDocument/2006/relationships/image" Target="../media/image58.emf"/></Relationships>
</file>

<file path=ppt/slides/_rels/slide16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9.xml"/><Relationship Id="rId1" Type="http://schemas.openxmlformats.org/officeDocument/2006/relationships/tags" Target="../tags/tag239.xml"/><Relationship Id="rId4" Type="http://schemas.openxmlformats.org/officeDocument/2006/relationships/image" Target="../media/image59.emf"/></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3.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9.xml"/><Relationship Id="rId1" Type="http://schemas.openxmlformats.org/officeDocument/2006/relationships/tags" Target="../tags/tag240.xml"/><Relationship Id="rId4" Type="http://schemas.openxmlformats.org/officeDocument/2006/relationships/image" Target="../media/image60.emf"/></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9.xml"/><Relationship Id="rId1" Type="http://schemas.openxmlformats.org/officeDocument/2006/relationships/tags" Target="../tags/tag241.xml"/><Relationship Id="rId4" Type="http://schemas.openxmlformats.org/officeDocument/2006/relationships/image" Target="../media/image61.emf"/></Relationships>
</file>

<file path=ppt/slides/_rels/slide16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9.xml"/><Relationship Id="rId1" Type="http://schemas.openxmlformats.org/officeDocument/2006/relationships/tags" Target="../tags/tag24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emf"/></Relationships>
</file>

<file path=ppt/slides/_rels/slide16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16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xml"/></Relationships>
</file>

<file path=ppt/slides/_rels/slide169.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oleObject" Target="../embeddings/oleObject146.bin"/><Relationship Id="rId7" Type="http://schemas.openxmlformats.org/officeDocument/2006/relationships/image" Target="../media/image71.png"/><Relationship Id="rId2" Type="http://schemas.openxmlformats.org/officeDocument/2006/relationships/slideLayout" Target="../slideLayouts/slideLayout9.xml"/><Relationship Id="rId1" Type="http://schemas.openxmlformats.org/officeDocument/2006/relationships/tags" Target="../tags/tag243.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47.bin"/><Relationship Id="rId7" Type="http://schemas.openxmlformats.org/officeDocument/2006/relationships/image" Target="../media/image76.png"/><Relationship Id="rId2" Type="http://schemas.openxmlformats.org/officeDocument/2006/relationships/slideLayout" Target="../slideLayouts/slideLayout9.xml"/><Relationship Id="rId1" Type="http://schemas.openxmlformats.org/officeDocument/2006/relationships/tags" Target="../tags/tag24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emf"/></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7.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diagramLayout" Target="../diagrams/layout1.xml"/><Relationship Id="rId7" Type="http://schemas.openxmlformats.org/officeDocument/2006/relationships/image" Target="../media/image78.emf"/><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81.emf"/><Relationship Id="rId4" Type="http://schemas.openxmlformats.org/officeDocument/2006/relationships/diagramQuickStyle" Target="../diagrams/quickStyle1.xml"/><Relationship Id="rId9" Type="http://schemas.openxmlformats.org/officeDocument/2006/relationships/image" Target="../media/image80.emf"/></Relationships>
</file>

<file path=ppt/slides/_rels/slide178.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9.xml"/><Relationship Id="rId5" Type="http://schemas.openxmlformats.org/officeDocument/2006/relationships/image" Target="../media/image81.emf"/><Relationship Id="rId4" Type="http://schemas.openxmlformats.org/officeDocument/2006/relationships/image" Target="../media/image80.emf"/></Relationships>
</file>

<file path=ppt/slides/_rels/slide179.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diagramLayout" Target="../diagrams/layout2.xml"/><Relationship Id="rId7" Type="http://schemas.openxmlformats.org/officeDocument/2006/relationships/image" Target="../media/image78.emf"/><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80.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1.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1.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chart" Target="../charts/chart17.xml"/><Relationship Id="rId2" Type="http://schemas.openxmlformats.org/officeDocument/2006/relationships/slideLayout" Target="../slideLayouts/slideLayout9.xml"/><Relationship Id="rId1" Type="http://schemas.openxmlformats.org/officeDocument/2006/relationships/tags" Target="../tags/tag245.xml"/><Relationship Id="rId6" Type="http://schemas.openxmlformats.org/officeDocument/2006/relationships/chart" Target="../charts/chart16.xml"/><Relationship Id="rId5" Type="http://schemas.openxmlformats.org/officeDocument/2006/relationships/image" Target="../media/image82.emf"/><Relationship Id="rId4" Type="http://schemas.openxmlformats.org/officeDocument/2006/relationships/oleObject" Target="../embeddings/oleObject148.bin"/></Relationships>
</file>

<file path=ppt/slides/_rels/slide18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9.xml"/><Relationship Id="rId1" Type="http://schemas.openxmlformats.org/officeDocument/2006/relationships/tags" Target="../tags/tag246.xml"/><Relationship Id="rId4" Type="http://schemas.openxmlformats.org/officeDocument/2006/relationships/image" Target="../media/image83.emf"/></Relationships>
</file>

<file path=ppt/slides/_rels/slide18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9.xml"/><Relationship Id="rId1" Type="http://schemas.openxmlformats.org/officeDocument/2006/relationships/tags" Target="../tags/tag247.xml"/><Relationship Id="rId6" Type="http://schemas.openxmlformats.org/officeDocument/2006/relationships/image" Target="../media/image85.png"/><Relationship Id="rId5" Type="http://schemas.openxmlformats.org/officeDocument/2006/relationships/hyperlink" Target="https://youexec.com/plus" TargetMode="External"/><Relationship Id="rId4" Type="http://schemas.openxmlformats.org/officeDocument/2006/relationships/image" Target="../media/image84.emf"/></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9.xml"/><Relationship Id="rId1" Type="http://schemas.openxmlformats.org/officeDocument/2006/relationships/tags" Target="../tags/tag248.xml"/><Relationship Id="rId5" Type="http://schemas.openxmlformats.org/officeDocument/2006/relationships/image" Target="../media/image86.emf"/><Relationship Id="rId4" Type="http://schemas.openxmlformats.org/officeDocument/2006/relationships/oleObject" Target="../embeddings/oleObject151.bin"/></Relationships>
</file>

<file path=ppt/slides/_rels/slide185.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9.xml"/><Relationship Id="rId1" Type="http://schemas.openxmlformats.org/officeDocument/2006/relationships/tags" Target="../tags/tag249.xml"/><Relationship Id="rId5" Type="http://schemas.openxmlformats.org/officeDocument/2006/relationships/image" Target="../media/image87.emf"/><Relationship Id="rId4" Type="http://schemas.openxmlformats.org/officeDocument/2006/relationships/oleObject" Target="../embeddings/oleObject152.bin"/></Relationships>
</file>

<file path=ppt/slides/_rels/slide186.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9.xml"/><Relationship Id="rId1" Type="http://schemas.openxmlformats.org/officeDocument/2006/relationships/tags" Target="../tags/tag250.xml"/><Relationship Id="rId5" Type="http://schemas.openxmlformats.org/officeDocument/2006/relationships/image" Target="../media/image88.emf"/><Relationship Id="rId4" Type="http://schemas.openxmlformats.org/officeDocument/2006/relationships/oleObject" Target="../embeddings/oleObject153.bin"/></Relationships>
</file>

<file path=ppt/slides/_rels/slide187.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9.xml"/><Relationship Id="rId1" Type="http://schemas.openxmlformats.org/officeDocument/2006/relationships/tags" Target="../tags/tag251.xml"/><Relationship Id="rId4" Type="http://schemas.openxmlformats.org/officeDocument/2006/relationships/image" Target="../media/image89.emf"/></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9.xml"/><Relationship Id="rId1" Type="http://schemas.openxmlformats.org/officeDocument/2006/relationships/tags" Target="../tags/tag252.xml"/><Relationship Id="rId5" Type="http://schemas.openxmlformats.org/officeDocument/2006/relationships/image" Target="../media/image90.emf"/><Relationship Id="rId4" Type="http://schemas.openxmlformats.org/officeDocument/2006/relationships/oleObject" Target="../embeddings/oleObject15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3" Type="http://schemas.openxmlformats.org/officeDocument/2006/relationships/tags" Target="../tags/tag26.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2.bin"/><Relationship Id="rId11" Type="http://schemas.openxmlformats.org/officeDocument/2006/relationships/image" Target="../media/image8.svg"/><Relationship Id="rId5" Type="http://schemas.openxmlformats.org/officeDocument/2006/relationships/slideLayout" Target="../slideLayouts/slideLayout9.xml"/><Relationship Id="rId1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tags" Target="../tags/tag27.xml"/><Relationship Id="rId9" Type="http://schemas.openxmlformats.org/officeDocument/2006/relationships/image" Target="../media/image6.svg"/><Relationship Id="rId1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2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2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2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3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4.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6.xml"/><Relationship Id="rId1" Type="http://schemas.openxmlformats.org/officeDocument/2006/relationships/tags" Target="../tags/tag97.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35.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3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37.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38.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3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4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image" Target="../media/image13.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4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4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44.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4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46.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47.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48.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49.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50.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image" Target="../media/image14.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53.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6.xml"/><Relationship Id="rId1" Type="http://schemas.openxmlformats.org/officeDocument/2006/relationships/tags" Target="../tags/tag136.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54.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55.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56.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57.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58.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59.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6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6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6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64.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65.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6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67.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6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69.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7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71.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72.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73.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74.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75.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76.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77.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notesSlide" Target="../notesSlides/notesSlide78.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notesSlide" Target="../notesSlides/notesSlide79.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notesSlide" Target="../notesSlides/notesSlide8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81.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82.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notesSlide" Target="../notesSlides/notesSlide8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9.xml"/><Relationship Id="rId1" Type="http://schemas.openxmlformats.org/officeDocument/2006/relationships/tags" Target="../tags/tag197.xml"/><Relationship Id="rId4" Type="http://schemas.openxmlformats.org/officeDocument/2006/relationships/image" Target="../media/image15.emf"/></Relationships>
</file>

<file path=ppt/slides/_rels/slide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F7B06-800F-CF40-8C41-3936E658902A}"/>
              </a:ext>
            </a:extLst>
          </p:cNvPr>
          <p:cNvSpPr>
            <a:spLocks noGrp="1"/>
          </p:cNvSpPr>
          <p:nvPr>
            <p:ph type="ctrTitle"/>
          </p:nvPr>
        </p:nvSpPr>
        <p:spPr/>
        <p:txBody>
          <a:bodyPr/>
          <a:lstStyle/>
          <a:p>
            <a:r>
              <a:rPr lang="en-US" dirty="0"/>
              <a:t>Fancy </a:t>
            </a:r>
            <a:r>
              <a:rPr lang="en-US" dirty="0" err="1"/>
              <a:t>Slidemaster</a:t>
            </a:r>
            <a:endParaRPr lang="en-GB" dirty="0"/>
          </a:p>
        </p:txBody>
      </p:sp>
      <p:sp>
        <p:nvSpPr>
          <p:cNvPr id="3" name="Subtitle 2">
            <a:extLst>
              <a:ext uri="{FF2B5EF4-FFF2-40B4-BE49-F238E27FC236}">
                <a16:creationId xmlns:a16="http://schemas.microsoft.com/office/drawing/2014/main" id="{2CF05E49-D0D4-6044-BC04-D1F1F0484A41}"/>
              </a:ext>
            </a:extLst>
          </p:cNvPr>
          <p:cNvSpPr>
            <a:spLocks noGrp="1"/>
          </p:cNvSpPr>
          <p:nvPr>
            <p:ph type="subTitle" idx="1"/>
          </p:nvPr>
        </p:nvSpPr>
        <p:spPr/>
        <p:txBody>
          <a:bodyPr/>
          <a:lstStyle/>
          <a:p>
            <a:r>
              <a:rPr lang="en-US" dirty="0"/>
              <a:t>Template | January 2020</a:t>
            </a:r>
          </a:p>
        </p:txBody>
      </p:sp>
    </p:spTree>
    <p:extLst>
      <p:ext uri="{BB962C8B-B14F-4D97-AF65-F5344CB8AC3E}">
        <p14:creationId xmlns:p14="http://schemas.microsoft.com/office/powerpoint/2010/main" val="15252345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4" name="RBContent58">
            <a:extLst>
              <a:ext uri="{FF2B5EF4-FFF2-40B4-BE49-F238E27FC236}">
                <a16:creationId xmlns:a16="http://schemas.microsoft.com/office/drawing/2014/main" id="{E22E56F2-31AA-4CDB-ABDC-D92A06DB25A5}"/>
              </a:ext>
            </a:extLst>
          </p:cNvPr>
          <p:cNvSpPr txBox="1">
            <a:spLocks/>
          </p:cNvSpPr>
          <p:nvPr/>
        </p:nvSpPr>
        <p:spPr>
          <a:xfrm>
            <a:off x="365681" y="2488728"/>
            <a:ext cx="10382401" cy="1343958"/>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p:txBody>
      </p:sp>
      <p:sp>
        <p:nvSpPr>
          <p:cNvPr id="17" name="RBContent58">
            <a:extLst>
              <a:ext uri="{FF2B5EF4-FFF2-40B4-BE49-F238E27FC236}">
                <a16:creationId xmlns:a16="http://schemas.microsoft.com/office/drawing/2014/main" id="{0C8D50A0-54C6-41FC-910F-F35EB182DDC6}"/>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18" name="RBContent58">
            <a:extLst>
              <a:ext uri="{FF2B5EF4-FFF2-40B4-BE49-F238E27FC236}">
                <a16:creationId xmlns:a16="http://schemas.microsoft.com/office/drawing/2014/main" id="{5F3C3A19-9BC3-46F5-9D8D-A225A280E780}"/>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9" name="RBContent58">
            <a:extLst>
              <a:ext uri="{FF2B5EF4-FFF2-40B4-BE49-F238E27FC236}">
                <a16:creationId xmlns:a16="http://schemas.microsoft.com/office/drawing/2014/main" id="{C0DB1D66-737D-4AA5-92DF-43E34902D0F1}"/>
              </a:ext>
            </a:extLst>
          </p:cNvPr>
          <p:cNvSpPr txBox="1">
            <a:spLocks/>
          </p:cNvSpPr>
          <p:nvPr/>
        </p:nvSpPr>
        <p:spPr>
          <a:xfrm>
            <a:off x="11195403" y="2488728"/>
            <a:ext cx="630914" cy="1343958"/>
          </a:xfrm>
          <a:prstGeom prst="rect">
            <a:avLst/>
          </a:prstGeom>
          <a:noFill/>
          <a:ln w="9525">
            <a:noFill/>
          </a:ln>
        </p:spPr>
        <p:txBody>
          <a:bodyPr vert="horz" wrap="square" lIns="0" tIns="0" rIns="0" bIns="0" rtlCol="0">
            <a:spAutoFit/>
          </a:bodyPr>
          <a:lstStyle/>
          <a:p>
            <a:pPr algn="r">
              <a:spcAft>
                <a:spcPts val="2000"/>
              </a:spcAft>
            </a:pPr>
            <a:r>
              <a:rPr lang="en-GB"/>
              <a:t>1</a:t>
            </a:r>
          </a:p>
          <a:p>
            <a:pPr algn="r">
              <a:spcAft>
                <a:spcPts val="2000"/>
              </a:spcAft>
            </a:pPr>
            <a:r>
              <a:rPr lang="en-GB"/>
              <a:t>2</a:t>
            </a:r>
          </a:p>
          <a:p>
            <a:pPr algn="r">
              <a:spcAft>
                <a:spcPts val="2000"/>
              </a:spcAft>
            </a:pPr>
            <a:r>
              <a:rPr lang="en-GB"/>
              <a:t>3</a:t>
            </a:r>
          </a:p>
        </p:txBody>
      </p:sp>
    </p:spTree>
    <p:extLst>
      <p:ext uri="{BB962C8B-B14F-4D97-AF65-F5344CB8AC3E}">
        <p14:creationId xmlns:p14="http://schemas.microsoft.com/office/powerpoint/2010/main" val="283383097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595114-8A9E-484E-8528-044EE4D1C9F1}"/>
              </a:ext>
            </a:extLst>
          </p:cNvPr>
          <p:cNvSpPr>
            <a:spLocks noGrp="1"/>
          </p:cNvSpPr>
          <p:nvPr>
            <p:ph type="sldNum" sz="quarter" idx="4"/>
          </p:nvPr>
        </p:nvSpPr>
        <p:spPr/>
        <p:txBody>
          <a:bodyPr/>
          <a:lstStyle/>
          <a:p>
            <a:fld id="{3D966009-6E5A-4F8C-8CA7-E37AFBF5FB92}" type="slidenum">
              <a:rPr lang="en-US" smtClean="0"/>
              <a:t>100</a:t>
            </a:fld>
            <a:endParaRPr lang="en-US"/>
          </a:p>
        </p:txBody>
      </p:sp>
      <p:sp>
        <p:nvSpPr>
          <p:cNvPr id="3" name="Title 2">
            <a:extLst>
              <a:ext uri="{FF2B5EF4-FFF2-40B4-BE49-F238E27FC236}">
                <a16:creationId xmlns:a16="http://schemas.microsoft.com/office/drawing/2014/main" id="{02143DCA-442A-5F4C-A202-02B843D49A9A}"/>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FA51633F-4F97-5147-BE8C-63CEF5E132BA}"/>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25643817-AFEC-E34D-A790-27708F9264EA}"/>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D777E347-60BD-1942-AB71-02745C61976D}"/>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5AB2B00-7801-964F-AADD-9770C414E266}"/>
              </a:ext>
            </a:extLst>
          </p:cNvPr>
          <p:cNvSpPr>
            <a:spLocks noGrp="1"/>
          </p:cNvSpPr>
          <p:nvPr>
            <p:ph sz="quarter" idx="14"/>
          </p:nvPr>
        </p:nvSpPr>
        <p:spPr/>
        <p:txBody>
          <a:bodyPr/>
          <a:lstStyle/>
          <a:p>
            <a:endParaRPr lang="en-GB"/>
          </a:p>
        </p:txBody>
      </p:sp>
      <p:grpSp>
        <p:nvGrpSpPr>
          <p:cNvPr id="38" name="Group 37">
            <a:extLst>
              <a:ext uri="{FF2B5EF4-FFF2-40B4-BE49-F238E27FC236}">
                <a16:creationId xmlns:a16="http://schemas.microsoft.com/office/drawing/2014/main" id="{0C3D2C77-CC13-6943-8BB7-9E1CCB8BEE77}"/>
              </a:ext>
            </a:extLst>
          </p:cNvPr>
          <p:cNvGrpSpPr/>
          <p:nvPr/>
        </p:nvGrpSpPr>
        <p:grpSpPr>
          <a:xfrm>
            <a:off x="981560" y="1711451"/>
            <a:ext cx="10239213" cy="4348450"/>
            <a:chOff x="981560" y="1711451"/>
            <a:chExt cx="10239213" cy="4348450"/>
          </a:xfrm>
        </p:grpSpPr>
        <p:sp>
          <p:nvSpPr>
            <p:cNvPr id="9" name="Freeform: Shape 112">
              <a:extLst>
                <a:ext uri="{FF2B5EF4-FFF2-40B4-BE49-F238E27FC236}">
                  <a16:creationId xmlns:a16="http://schemas.microsoft.com/office/drawing/2014/main" id="{2EAA601A-3A43-6244-94BB-DE5C31C4A04C}"/>
                </a:ext>
              </a:extLst>
            </p:cNvPr>
            <p:cNvSpPr/>
            <p:nvPr/>
          </p:nvSpPr>
          <p:spPr>
            <a:xfrm>
              <a:off x="991891" y="2645043"/>
              <a:ext cx="4680488" cy="516610"/>
            </a:xfrm>
            <a:custGeom>
              <a:avLst/>
              <a:gdLst>
                <a:gd name="connsiteX0" fmla="*/ 0 w 7020732"/>
                <a:gd name="connsiteY0" fmla="*/ 0 h 774915"/>
                <a:gd name="connsiteX1" fmla="*/ 5672380 w 7020732"/>
                <a:gd name="connsiteY1" fmla="*/ 0 h 774915"/>
                <a:gd name="connsiteX2" fmla="*/ 7020732 w 7020732"/>
                <a:gd name="connsiteY2" fmla="*/ 774915 h 774915"/>
              </a:gdLst>
              <a:ahLst/>
              <a:cxnLst>
                <a:cxn ang="0">
                  <a:pos x="connsiteX0" y="connsiteY0"/>
                </a:cxn>
                <a:cxn ang="0">
                  <a:pos x="connsiteX1" y="connsiteY1"/>
                </a:cxn>
                <a:cxn ang="0">
                  <a:pos x="connsiteX2" y="connsiteY2"/>
                </a:cxn>
              </a:cxnLst>
              <a:rect l="l" t="t" r="r" b="b"/>
              <a:pathLst>
                <a:path w="7020732" h="774915">
                  <a:moveTo>
                    <a:pt x="0" y="0"/>
                  </a:moveTo>
                  <a:lnTo>
                    <a:pt x="5672380" y="0"/>
                  </a:lnTo>
                  <a:lnTo>
                    <a:pt x="7020732" y="774915"/>
                  </a:lnTo>
                </a:path>
              </a:pathLst>
            </a:custGeom>
            <a:noFill/>
            <a:ln w="19050">
              <a:solidFill>
                <a:schemeClr val="accent3"/>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 name="Freeform: Shape 113">
              <a:extLst>
                <a:ext uri="{FF2B5EF4-FFF2-40B4-BE49-F238E27FC236}">
                  <a16:creationId xmlns:a16="http://schemas.microsoft.com/office/drawing/2014/main" id="{26B48353-6B12-1448-B616-C30DE89F4846}"/>
                </a:ext>
              </a:extLst>
            </p:cNvPr>
            <p:cNvSpPr/>
            <p:nvPr/>
          </p:nvSpPr>
          <p:spPr>
            <a:xfrm>
              <a:off x="981560" y="4515172"/>
              <a:ext cx="3967566" cy="289302"/>
            </a:xfrm>
            <a:custGeom>
              <a:avLst/>
              <a:gdLst>
                <a:gd name="connsiteX0" fmla="*/ 0 w 5951349"/>
                <a:gd name="connsiteY0" fmla="*/ 0 h 433953"/>
                <a:gd name="connsiteX1" fmla="*/ 5300420 w 5951349"/>
                <a:gd name="connsiteY1" fmla="*/ 30997 h 433953"/>
                <a:gd name="connsiteX2" fmla="*/ 5951349 w 5951349"/>
                <a:gd name="connsiteY2" fmla="*/ 433953 h 433953"/>
                <a:gd name="connsiteX0" fmla="*/ 0 w 5951349"/>
                <a:gd name="connsiteY0" fmla="*/ 0 h 433953"/>
                <a:gd name="connsiteX1" fmla="*/ 5300420 w 5951349"/>
                <a:gd name="connsiteY1" fmla="*/ 0 h 433953"/>
                <a:gd name="connsiteX2" fmla="*/ 5951349 w 5951349"/>
                <a:gd name="connsiteY2" fmla="*/ 433953 h 433953"/>
              </a:gdLst>
              <a:ahLst/>
              <a:cxnLst>
                <a:cxn ang="0">
                  <a:pos x="connsiteX0" y="connsiteY0"/>
                </a:cxn>
                <a:cxn ang="0">
                  <a:pos x="connsiteX1" y="connsiteY1"/>
                </a:cxn>
                <a:cxn ang="0">
                  <a:pos x="connsiteX2" y="connsiteY2"/>
                </a:cxn>
              </a:cxnLst>
              <a:rect l="l" t="t" r="r" b="b"/>
              <a:pathLst>
                <a:path w="5951349" h="433953">
                  <a:moveTo>
                    <a:pt x="0" y="0"/>
                  </a:moveTo>
                  <a:lnTo>
                    <a:pt x="5300420" y="0"/>
                  </a:lnTo>
                  <a:lnTo>
                    <a:pt x="5951349" y="433953"/>
                  </a:lnTo>
                </a:path>
              </a:pathLst>
            </a:custGeom>
            <a:noFill/>
            <a:ln w="19050">
              <a:solidFill>
                <a:schemeClr val="accent1"/>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Freeform: Shape 114">
              <a:extLst>
                <a:ext uri="{FF2B5EF4-FFF2-40B4-BE49-F238E27FC236}">
                  <a16:creationId xmlns:a16="http://schemas.microsoft.com/office/drawing/2014/main" id="{AD5A8760-6BF0-C047-9D32-965381F27B72}"/>
                </a:ext>
              </a:extLst>
            </p:cNvPr>
            <p:cNvSpPr/>
            <p:nvPr/>
          </p:nvSpPr>
          <p:spPr>
            <a:xfrm>
              <a:off x="6581614" y="2645043"/>
              <a:ext cx="4639159" cy="464949"/>
            </a:xfrm>
            <a:custGeom>
              <a:avLst/>
              <a:gdLst>
                <a:gd name="connsiteX0" fmla="*/ 0 w 6958739"/>
                <a:gd name="connsiteY0" fmla="*/ 697423 h 697423"/>
                <a:gd name="connsiteX1" fmla="*/ 1255363 w 6958739"/>
                <a:gd name="connsiteY1" fmla="*/ 0 h 697423"/>
                <a:gd name="connsiteX2" fmla="*/ 6958739 w 6958739"/>
                <a:gd name="connsiteY2" fmla="*/ 0 h 697423"/>
              </a:gdLst>
              <a:ahLst/>
              <a:cxnLst>
                <a:cxn ang="0">
                  <a:pos x="connsiteX0" y="connsiteY0"/>
                </a:cxn>
                <a:cxn ang="0">
                  <a:pos x="connsiteX1" y="connsiteY1"/>
                </a:cxn>
                <a:cxn ang="0">
                  <a:pos x="connsiteX2" y="connsiteY2"/>
                </a:cxn>
              </a:cxnLst>
              <a:rect l="l" t="t" r="r" b="b"/>
              <a:pathLst>
                <a:path w="6958739" h="697423">
                  <a:moveTo>
                    <a:pt x="0" y="697423"/>
                  </a:moveTo>
                  <a:lnTo>
                    <a:pt x="1255363" y="0"/>
                  </a:lnTo>
                  <a:lnTo>
                    <a:pt x="6958739" y="0"/>
                  </a:lnTo>
                </a:path>
              </a:pathLst>
            </a:custGeom>
            <a:noFill/>
            <a:ln w="19050">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Freeform: Shape 115">
              <a:extLst>
                <a:ext uri="{FF2B5EF4-FFF2-40B4-BE49-F238E27FC236}">
                  <a16:creationId xmlns:a16="http://schemas.microsoft.com/office/drawing/2014/main" id="{77914111-FAEC-EC47-A35C-0B3E8A335CC2}"/>
                </a:ext>
              </a:extLst>
            </p:cNvPr>
            <p:cNvSpPr/>
            <p:nvPr/>
          </p:nvSpPr>
          <p:spPr>
            <a:xfrm>
              <a:off x="7089855" y="4515172"/>
              <a:ext cx="4112217" cy="392623"/>
            </a:xfrm>
            <a:custGeom>
              <a:avLst/>
              <a:gdLst>
                <a:gd name="connsiteX0" fmla="*/ 0 w 6168326"/>
                <a:gd name="connsiteY0" fmla="*/ 588935 h 588935"/>
                <a:gd name="connsiteX1" fmla="*/ 1022888 w 6168326"/>
                <a:gd name="connsiteY1" fmla="*/ 0 h 588935"/>
                <a:gd name="connsiteX2" fmla="*/ 6168326 w 6168326"/>
                <a:gd name="connsiteY2" fmla="*/ 46495 h 588935"/>
                <a:gd name="connsiteX0" fmla="*/ 0 w 6168326"/>
                <a:gd name="connsiteY0" fmla="*/ 588935 h 588935"/>
                <a:gd name="connsiteX1" fmla="*/ 1022888 w 6168326"/>
                <a:gd name="connsiteY1" fmla="*/ 0 h 588935"/>
                <a:gd name="connsiteX2" fmla="*/ 6168326 w 6168326"/>
                <a:gd name="connsiteY2" fmla="*/ 0 h 588935"/>
              </a:gdLst>
              <a:ahLst/>
              <a:cxnLst>
                <a:cxn ang="0">
                  <a:pos x="connsiteX0" y="connsiteY0"/>
                </a:cxn>
                <a:cxn ang="0">
                  <a:pos x="connsiteX1" y="connsiteY1"/>
                </a:cxn>
                <a:cxn ang="0">
                  <a:pos x="connsiteX2" y="connsiteY2"/>
                </a:cxn>
              </a:cxnLst>
              <a:rect l="l" t="t" r="r" b="b"/>
              <a:pathLst>
                <a:path w="6168326" h="588935">
                  <a:moveTo>
                    <a:pt x="0" y="588935"/>
                  </a:moveTo>
                  <a:lnTo>
                    <a:pt x="1022888" y="0"/>
                  </a:lnTo>
                  <a:lnTo>
                    <a:pt x="6168326" y="0"/>
                  </a:lnTo>
                </a:path>
              </a:pathLst>
            </a:custGeom>
            <a:noFill/>
            <a:ln w="19050">
              <a:solidFill>
                <a:schemeClr val="accent2"/>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13" name="그룹 4">
              <a:extLst>
                <a:ext uri="{FF2B5EF4-FFF2-40B4-BE49-F238E27FC236}">
                  <a16:creationId xmlns:a16="http://schemas.microsoft.com/office/drawing/2014/main" id="{FFF0BC78-D102-3E41-AD52-8A9BE7F1953B}"/>
                </a:ext>
              </a:extLst>
            </p:cNvPr>
            <p:cNvGrpSpPr/>
            <p:nvPr/>
          </p:nvGrpSpPr>
          <p:grpSpPr>
            <a:xfrm>
              <a:off x="4389330" y="2555097"/>
              <a:ext cx="2987325" cy="3504804"/>
              <a:chOff x="4389329" y="2708921"/>
              <a:chExt cx="2987325" cy="3504804"/>
            </a:xfrm>
          </p:grpSpPr>
          <p:sp>
            <p:nvSpPr>
              <p:cNvPr id="14" name="Freeform 2">
                <a:extLst>
                  <a:ext uri="{FF2B5EF4-FFF2-40B4-BE49-F238E27FC236}">
                    <a16:creationId xmlns:a16="http://schemas.microsoft.com/office/drawing/2014/main" id="{D9CB6118-257F-A04F-81CF-8E0311933F23}"/>
                  </a:ext>
                </a:extLst>
              </p:cNvPr>
              <p:cNvSpPr/>
              <p:nvPr/>
            </p:nvSpPr>
            <p:spPr>
              <a:xfrm flipH="1">
                <a:off x="5804264" y="4676931"/>
                <a:ext cx="1572390" cy="1536794"/>
              </a:xfrm>
              <a:custGeom>
                <a:avLst/>
                <a:gdLst/>
                <a:ahLst/>
                <a:cxnLst/>
                <a:rect l="l" t="t" r="r" b="b"/>
                <a:pathLst>
                  <a:path w="1572390" h="1536794">
                    <a:moveTo>
                      <a:pt x="1248143" y="0"/>
                    </a:moveTo>
                    <a:lnTo>
                      <a:pt x="879865" y="0"/>
                    </a:lnTo>
                    <a:cubicBezTo>
                      <a:pt x="929255" y="93876"/>
                      <a:pt x="906134" y="209735"/>
                      <a:pt x="824277" y="278532"/>
                    </a:cubicBezTo>
                    <a:cubicBezTo>
                      <a:pt x="739889" y="349455"/>
                      <a:pt x="616971" y="350279"/>
                      <a:pt x="531641" y="280492"/>
                    </a:cubicBezTo>
                    <a:cubicBezTo>
                      <a:pt x="448125" y="212189"/>
                      <a:pt x="423759" y="95175"/>
                      <a:pt x="473243" y="0"/>
                    </a:cubicBezTo>
                    <a:lnTo>
                      <a:pt x="0" y="0"/>
                    </a:lnTo>
                    <a:cubicBezTo>
                      <a:pt x="2104" y="26248"/>
                      <a:pt x="3963" y="56656"/>
                      <a:pt x="4027" y="94549"/>
                    </a:cubicBezTo>
                    <a:cubicBezTo>
                      <a:pt x="44267" y="236414"/>
                      <a:pt x="12272" y="293089"/>
                      <a:pt x="45740" y="420046"/>
                    </a:cubicBezTo>
                    <a:cubicBezTo>
                      <a:pt x="90589" y="583297"/>
                      <a:pt x="144467" y="663488"/>
                      <a:pt x="187059" y="752198"/>
                    </a:cubicBezTo>
                    <a:cubicBezTo>
                      <a:pt x="238977" y="877719"/>
                      <a:pt x="220919" y="903144"/>
                      <a:pt x="234462" y="971163"/>
                    </a:cubicBezTo>
                    <a:lnTo>
                      <a:pt x="284499" y="1004352"/>
                    </a:lnTo>
                    <a:cubicBezTo>
                      <a:pt x="262756" y="1087515"/>
                      <a:pt x="272618" y="1085489"/>
                      <a:pt x="268934" y="1153744"/>
                    </a:cubicBezTo>
                    <a:cubicBezTo>
                      <a:pt x="301414" y="1226245"/>
                      <a:pt x="306806" y="1243371"/>
                      <a:pt x="325743" y="1298834"/>
                    </a:cubicBezTo>
                    <a:lnTo>
                      <a:pt x="292823" y="1532264"/>
                    </a:lnTo>
                    <a:lnTo>
                      <a:pt x="1248143" y="1536794"/>
                    </a:lnTo>
                    <a:lnTo>
                      <a:pt x="1248143" y="816303"/>
                    </a:lnTo>
                    <a:lnTo>
                      <a:pt x="1250048" y="816303"/>
                    </a:lnTo>
                    <a:cubicBezTo>
                      <a:pt x="1280289" y="862546"/>
                      <a:pt x="1332969" y="891312"/>
                      <a:pt x="1392366" y="891312"/>
                    </a:cubicBezTo>
                    <a:cubicBezTo>
                      <a:pt x="1491791" y="891312"/>
                      <a:pt x="1572390" y="810714"/>
                      <a:pt x="1572390" y="711292"/>
                    </a:cubicBezTo>
                    <a:cubicBezTo>
                      <a:pt x="1572390" y="611869"/>
                      <a:pt x="1491791" y="531272"/>
                      <a:pt x="1392366" y="531272"/>
                    </a:cubicBezTo>
                    <a:cubicBezTo>
                      <a:pt x="1332969" y="531272"/>
                      <a:pt x="1280289" y="560037"/>
                      <a:pt x="1250048" y="606280"/>
                    </a:cubicBezTo>
                    <a:lnTo>
                      <a:pt x="1248143" y="60628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 name="Freeform 5">
                <a:extLst>
                  <a:ext uri="{FF2B5EF4-FFF2-40B4-BE49-F238E27FC236}">
                    <a16:creationId xmlns:a16="http://schemas.microsoft.com/office/drawing/2014/main" id="{50CEF78A-8073-5149-90B7-ADBF98F668A2}"/>
                  </a:ext>
                </a:extLst>
              </p:cNvPr>
              <p:cNvSpPr/>
              <p:nvPr/>
            </p:nvSpPr>
            <p:spPr>
              <a:xfrm flipH="1">
                <a:off x="4389329" y="4349265"/>
                <a:ext cx="1699617" cy="1864460"/>
              </a:xfrm>
              <a:custGeom>
                <a:avLst/>
                <a:gdLst/>
                <a:ahLst/>
                <a:cxnLst/>
                <a:rect l="l" t="t" r="r" b="b"/>
                <a:pathLst>
                  <a:path w="1699617" h="1864460">
                    <a:moveTo>
                      <a:pt x="376148" y="1079562"/>
                    </a:moveTo>
                    <a:lnTo>
                      <a:pt x="473212" y="1132806"/>
                    </a:lnTo>
                    <a:cubicBezTo>
                      <a:pt x="540933" y="1181790"/>
                      <a:pt x="518358" y="1303186"/>
                      <a:pt x="457411" y="1313834"/>
                    </a:cubicBezTo>
                    <a:cubicBezTo>
                      <a:pt x="477727" y="1229354"/>
                      <a:pt x="489015" y="1200247"/>
                      <a:pt x="376148" y="1079562"/>
                    </a:cubicBezTo>
                    <a:close/>
                    <a:moveTo>
                      <a:pt x="652259" y="0"/>
                    </a:moveTo>
                    <a:cubicBezTo>
                      <a:pt x="552836" y="0"/>
                      <a:pt x="472239" y="80599"/>
                      <a:pt x="472239" y="180023"/>
                    </a:cubicBezTo>
                    <a:cubicBezTo>
                      <a:pt x="472239" y="239421"/>
                      <a:pt x="501005" y="292100"/>
                      <a:pt x="547247" y="322341"/>
                    </a:cubicBezTo>
                    <a:lnTo>
                      <a:pt x="547247" y="322657"/>
                    </a:lnTo>
                    <a:lnTo>
                      <a:pt x="0" y="322657"/>
                    </a:lnTo>
                    <a:lnTo>
                      <a:pt x="0" y="843255"/>
                    </a:lnTo>
                    <a:lnTo>
                      <a:pt x="6954" y="843255"/>
                    </a:lnTo>
                    <a:lnTo>
                      <a:pt x="6926" y="839169"/>
                    </a:lnTo>
                    <a:cubicBezTo>
                      <a:pt x="30943" y="825654"/>
                      <a:pt x="56514" y="816890"/>
                      <a:pt x="82470" y="812665"/>
                    </a:cubicBezTo>
                    <a:cubicBezTo>
                      <a:pt x="101937" y="809497"/>
                      <a:pt x="121620" y="808881"/>
                      <a:pt x="141026" y="810730"/>
                    </a:cubicBezTo>
                    <a:cubicBezTo>
                      <a:pt x="199244" y="816274"/>
                      <a:pt x="254964" y="843991"/>
                      <a:pt x="294859" y="891459"/>
                    </a:cubicBezTo>
                    <a:cubicBezTo>
                      <a:pt x="365782" y="975847"/>
                      <a:pt x="366606" y="1098765"/>
                      <a:pt x="296819" y="1184095"/>
                    </a:cubicBezTo>
                    <a:cubicBezTo>
                      <a:pt x="227032" y="1269425"/>
                      <a:pt x="106396" y="1293008"/>
                      <a:pt x="9613" y="1240238"/>
                    </a:cubicBezTo>
                    <a:lnTo>
                      <a:pt x="9613" y="1240154"/>
                    </a:lnTo>
                    <a:lnTo>
                      <a:pt x="0" y="1240154"/>
                    </a:lnTo>
                    <a:lnTo>
                      <a:pt x="0" y="1859451"/>
                    </a:lnTo>
                    <a:lnTo>
                      <a:pt x="1056476" y="1864460"/>
                    </a:lnTo>
                    <a:lnTo>
                      <a:pt x="1021064" y="1732948"/>
                    </a:lnTo>
                    <a:cubicBezTo>
                      <a:pt x="1062668" y="1770381"/>
                      <a:pt x="1045582" y="1769478"/>
                      <a:pt x="1096215" y="1779224"/>
                    </a:cubicBezTo>
                    <a:lnTo>
                      <a:pt x="1387597" y="1775455"/>
                    </a:lnTo>
                    <a:cubicBezTo>
                      <a:pt x="1620023" y="1726544"/>
                      <a:pt x="1631232" y="1630779"/>
                      <a:pt x="1698873" y="1477511"/>
                    </a:cubicBezTo>
                    <a:cubicBezTo>
                      <a:pt x="1704015" y="1325249"/>
                      <a:pt x="1682068" y="1279474"/>
                      <a:pt x="1646578" y="1174066"/>
                    </a:cubicBezTo>
                    <a:lnTo>
                      <a:pt x="1541989" y="1112392"/>
                    </a:lnTo>
                    <a:cubicBezTo>
                      <a:pt x="1474833" y="972375"/>
                      <a:pt x="1362532" y="772726"/>
                      <a:pt x="1295376" y="743457"/>
                    </a:cubicBezTo>
                    <a:cubicBezTo>
                      <a:pt x="1296959" y="711836"/>
                      <a:pt x="1318859" y="678086"/>
                      <a:pt x="1300126" y="648594"/>
                    </a:cubicBezTo>
                    <a:cubicBezTo>
                      <a:pt x="1273821" y="619636"/>
                      <a:pt x="1265576" y="631142"/>
                      <a:pt x="1243787" y="619222"/>
                    </a:cubicBezTo>
                    <a:lnTo>
                      <a:pt x="1253521" y="570548"/>
                    </a:lnTo>
                    <a:cubicBezTo>
                      <a:pt x="1220884" y="541841"/>
                      <a:pt x="1240165" y="564247"/>
                      <a:pt x="1214300" y="524891"/>
                    </a:cubicBezTo>
                    <a:lnTo>
                      <a:pt x="1216699" y="409841"/>
                    </a:lnTo>
                    <a:cubicBezTo>
                      <a:pt x="1196257" y="384432"/>
                      <a:pt x="1191618" y="386709"/>
                      <a:pt x="1155374" y="333613"/>
                    </a:cubicBezTo>
                    <a:cubicBezTo>
                      <a:pt x="1154246" y="330251"/>
                      <a:pt x="1153164" y="326621"/>
                      <a:pt x="1152469" y="322657"/>
                    </a:cubicBezTo>
                    <a:lnTo>
                      <a:pt x="757271" y="322657"/>
                    </a:lnTo>
                    <a:lnTo>
                      <a:pt x="757271" y="322341"/>
                    </a:lnTo>
                    <a:cubicBezTo>
                      <a:pt x="803514" y="292100"/>
                      <a:pt x="832279" y="239421"/>
                      <a:pt x="832279" y="180023"/>
                    </a:cubicBezTo>
                    <a:cubicBezTo>
                      <a:pt x="832279" y="80599"/>
                      <a:pt x="751682" y="0"/>
                      <a:pt x="65225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 name="Freeform 7">
                <a:extLst>
                  <a:ext uri="{FF2B5EF4-FFF2-40B4-BE49-F238E27FC236}">
                    <a16:creationId xmlns:a16="http://schemas.microsoft.com/office/drawing/2014/main" id="{BCD62F89-2AB2-8149-A158-66F4C8136811}"/>
                  </a:ext>
                </a:extLst>
              </p:cNvPr>
              <p:cNvSpPr/>
              <p:nvPr/>
            </p:nvSpPr>
            <p:spPr>
              <a:xfrm flipH="1">
                <a:off x="4923562" y="2708921"/>
                <a:ext cx="1470219" cy="1921729"/>
              </a:xfrm>
              <a:custGeom>
                <a:avLst/>
                <a:gdLst/>
                <a:ahLst/>
                <a:cxnLst/>
                <a:rect l="l" t="t" r="r" b="b"/>
                <a:pathLst>
                  <a:path w="1470219" h="1921729">
                    <a:moveTo>
                      <a:pt x="317750" y="0"/>
                    </a:moveTo>
                    <a:lnTo>
                      <a:pt x="317750" y="519295"/>
                    </a:lnTo>
                    <a:cubicBezTo>
                      <a:pt x="287598" y="476035"/>
                      <a:pt x="236890" y="449670"/>
                      <a:pt x="180024" y="449670"/>
                    </a:cubicBezTo>
                    <a:cubicBezTo>
                      <a:pt x="80599" y="449670"/>
                      <a:pt x="0" y="530267"/>
                      <a:pt x="0" y="629690"/>
                    </a:cubicBezTo>
                    <a:cubicBezTo>
                      <a:pt x="0" y="729112"/>
                      <a:pt x="80599" y="809710"/>
                      <a:pt x="180024" y="809710"/>
                    </a:cubicBezTo>
                    <a:cubicBezTo>
                      <a:pt x="236890" y="809710"/>
                      <a:pt x="287598" y="783344"/>
                      <a:pt x="317750" y="740084"/>
                    </a:cubicBezTo>
                    <a:lnTo>
                      <a:pt x="317750" y="1366266"/>
                    </a:lnTo>
                    <a:cubicBezTo>
                      <a:pt x="334104" y="1364723"/>
                      <a:pt x="350498" y="1361676"/>
                      <a:pt x="369339" y="1360802"/>
                    </a:cubicBezTo>
                    <a:cubicBezTo>
                      <a:pt x="402266" y="1377733"/>
                      <a:pt x="435193" y="1387415"/>
                      <a:pt x="467827" y="1410291"/>
                    </a:cubicBezTo>
                    <a:lnTo>
                      <a:pt x="455870" y="1410142"/>
                    </a:lnTo>
                    <a:lnTo>
                      <a:pt x="317750" y="1534494"/>
                    </a:lnTo>
                    <a:lnTo>
                      <a:pt x="317750" y="1615990"/>
                    </a:lnTo>
                    <a:cubicBezTo>
                      <a:pt x="386499" y="1670478"/>
                      <a:pt x="389428" y="1688371"/>
                      <a:pt x="408089" y="1738922"/>
                    </a:cubicBezTo>
                    <a:cubicBezTo>
                      <a:pt x="379727" y="1707581"/>
                      <a:pt x="349150" y="1673825"/>
                      <a:pt x="317750" y="1638805"/>
                    </a:cubicBezTo>
                    <a:lnTo>
                      <a:pt x="317750" y="1921729"/>
                    </a:lnTo>
                    <a:lnTo>
                      <a:pt x="755913" y="1921729"/>
                    </a:lnTo>
                    <a:cubicBezTo>
                      <a:pt x="706403" y="1827798"/>
                      <a:pt x="729495" y="1711808"/>
                      <a:pt x="811417" y="1642956"/>
                    </a:cubicBezTo>
                    <a:cubicBezTo>
                      <a:pt x="895805" y="1572033"/>
                      <a:pt x="1018723" y="1571209"/>
                      <a:pt x="1104053" y="1640996"/>
                    </a:cubicBezTo>
                    <a:cubicBezTo>
                      <a:pt x="1187635" y="1709353"/>
                      <a:pt x="1211974" y="1826497"/>
                      <a:pt x="1162370" y="1921729"/>
                    </a:cubicBezTo>
                    <a:lnTo>
                      <a:pt x="1470219" y="1921729"/>
                    </a:lnTo>
                    <a:cubicBezTo>
                      <a:pt x="1451557" y="1854186"/>
                      <a:pt x="1443779" y="1713479"/>
                      <a:pt x="1383490" y="1654709"/>
                    </a:cubicBezTo>
                    <a:cubicBezTo>
                      <a:pt x="1345256" y="1600370"/>
                      <a:pt x="1270906" y="1605665"/>
                      <a:pt x="1214613" y="1581143"/>
                    </a:cubicBezTo>
                    <a:cubicBezTo>
                      <a:pt x="1023979" y="1516260"/>
                      <a:pt x="855919" y="1498231"/>
                      <a:pt x="667541" y="1420569"/>
                    </a:cubicBezTo>
                    <a:cubicBezTo>
                      <a:pt x="641002" y="1406060"/>
                      <a:pt x="628007" y="1359605"/>
                      <a:pt x="596953" y="1264165"/>
                    </a:cubicBezTo>
                    <a:lnTo>
                      <a:pt x="605982" y="1483707"/>
                    </a:lnTo>
                    <a:cubicBezTo>
                      <a:pt x="633003" y="1532193"/>
                      <a:pt x="647443" y="1570873"/>
                      <a:pt x="655559" y="1604936"/>
                    </a:cubicBezTo>
                    <a:lnTo>
                      <a:pt x="669187" y="1618813"/>
                    </a:lnTo>
                    <a:lnTo>
                      <a:pt x="658716" y="1618119"/>
                    </a:lnTo>
                    <a:cubicBezTo>
                      <a:pt x="671015" y="1675268"/>
                      <a:pt x="667528" y="1720297"/>
                      <a:pt x="683108" y="1780186"/>
                    </a:cubicBezTo>
                    <a:lnTo>
                      <a:pt x="591592" y="1613666"/>
                    </a:lnTo>
                    <a:lnTo>
                      <a:pt x="658716" y="1618119"/>
                    </a:lnTo>
                    <a:cubicBezTo>
                      <a:pt x="657988" y="1613751"/>
                      <a:pt x="656981" y="1609350"/>
                      <a:pt x="655559" y="1604936"/>
                    </a:cubicBezTo>
                    <a:cubicBezTo>
                      <a:pt x="595208" y="1543644"/>
                      <a:pt x="572037" y="1416889"/>
                      <a:pt x="482935" y="1410479"/>
                    </a:cubicBezTo>
                    <a:cubicBezTo>
                      <a:pt x="535122" y="1370544"/>
                      <a:pt x="588839" y="1317812"/>
                      <a:pt x="588628" y="1233771"/>
                    </a:cubicBezTo>
                    <a:cubicBezTo>
                      <a:pt x="593535" y="1201617"/>
                      <a:pt x="591670" y="1173724"/>
                      <a:pt x="603348" y="1137311"/>
                    </a:cubicBezTo>
                    <a:cubicBezTo>
                      <a:pt x="681305" y="1043677"/>
                      <a:pt x="723143" y="969209"/>
                      <a:pt x="728865" y="818070"/>
                    </a:cubicBezTo>
                    <a:cubicBezTo>
                      <a:pt x="757787" y="830627"/>
                      <a:pt x="777680" y="847444"/>
                      <a:pt x="802088" y="759902"/>
                    </a:cubicBezTo>
                    <a:cubicBezTo>
                      <a:pt x="810208" y="713002"/>
                      <a:pt x="879277" y="465908"/>
                      <a:pt x="776787" y="510588"/>
                    </a:cubicBezTo>
                    <a:cubicBezTo>
                      <a:pt x="737961" y="316337"/>
                      <a:pt x="730052" y="30689"/>
                      <a:pt x="31775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7" name="Oval 21">
                <a:extLst>
                  <a:ext uri="{FF2B5EF4-FFF2-40B4-BE49-F238E27FC236}">
                    <a16:creationId xmlns:a16="http://schemas.microsoft.com/office/drawing/2014/main" id="{ADB710F5-4EAF-7F4B-8F10-8B4C544D6C48}"/>
                  </a:ext>
                </a:extLst>
              </p:cNvPr>
              <p:cNvSpPr/>
              <p:nvPr/>
            </p:nvSpPr>
            <p:spPr>
              <a:xfrm>
                <a:off x="6118916" y="2711957"/>
                <a:ext cx="1252757" cy="2246116"/>
              </a:xfrm>
              <a:custGeom>
                <a:avLst/>
                <a:gdLst/>
                <a:ahLst/>
                <a:cxnLst/>
                <a:rect l="l" t="t" r="r" b="b"/>
                <a:pathLst>
                  <a:path w="1252757" h="2246116">
                    <a:moveTo>
                      <a:pt x="0" y="1537931"/>
                    </a:moveTo>
                    <a:lnTo>
                      <a:pt x="48955" y="1582006"/>
                    </a:lnTo>
                    <a:cubicBezTo>
                      <a:pt x="29607" y="1596227"/>
                      <a:pt x="13459" y="1608472"/>
                      <a:pt x="0" y="1619427"/>
                    </a:cubicBezTo>
                    <a:close/>
                    <a:moveTo>
                      <a:pt x="378777" y="1138883"/>
                    </a:moveTo>
                    <a:cubicBezTo>
                      <a:pt x="411277" y="1129216"/>
                      <a:pt x="503171" y="1342067"/>
                      <a:pt x="652602" y="1380835"/>
                    </a:cubicBezTo>
                    <a:cubicBezTo>
                      <a:pt x="847829" y="1434107"/>
                      <a:pt x="1074660" y="1515068"/>
                      <a:pt x="1177337" y="1610936"/>
                    </a:cubicBezTo>
                    <a:cubicBezTo>
                      <a:pt x="1265071" y="1783698"/>
                      <a:pt x="1255683" y="1823052"/>
                      <a:pt x="1248143" y="1925166"/>
                    </a:cubicBezTo>
                    <a:lnTo>
                      <a:pt x="682623" y="1925166"/>
                    </a:lnTo>
                    <a:cubicBezTo>
                      <a:pt x="727970" y="1955371"/>
                      <a:pt x="756000" y="2007459"/>
                      <a:pt x="756000" y="2066093"/>
                    </a:cubicBezTo>
                    <a:cubicBezTo>
                      <a:pt x="756000" y="2165517"/>
                      <a:pt x="675403" y="2246116"/>
                      <a:pt x="575980" y="2246116"/>
                    </a:cubicBezTo>
                    <a:cubicBezTo>
                      <a:pt x="476558" y="2246116"/>
                      <a:pt x="395960" y="2165517"/>
                      <a:pt x="395960" y="2066093"/>
                    </a:cubicBezTo>
                    <a:cubicBezTo>
                      <a:pt x="395960" y="2007459"/>
                      <a:pt x="423991" y="1955371"/>
                      <a:pt x="469338" y="1925166"/>
                    </a:cubicBezTo>
                    <a:lnTo>
                      <a:pt x="0" y="1925166"/>
                    </a:lnTo>
                    <a:lnTo>
                      <a:pt x="0" y="1642242"/>
                    </a:lnTo>
                    <a:cubicBezTo>
                      <a:pt x="181585" y="1440372"/>
                      <a:pt x="392125" y="1197753"/>
                      <a:pt x="373070" y="1143900"/>
                    </a:cubicBezTo>
                    <a:cubicBezTo>
                      <a:pt x="374708" y="1141161"/>
                      <a:pt x="376611" y="1139527"/>
                      <a:pt x="378777" y="1138883"/>
                    </a:cubicBezTo>
                    <a:close/>
                    <a:moveTo>
                      <a:pt x="60149" y="0"/>
                    </a:moveTo>
                    <a:cubicBezTo>
                      <a:pt x="424660" y="15130"/>
                      <a:pt x="592784" y="258144"/>
                      <a:pt x="528403" y="582088"/>
                    </a:cubicBezTo>
                    <a:cubicBezTo>
                      <a:pt x="564457" y="581792"/>
                      <a:pt x="595997" y="564458"/>
                      <a:pt x="593677" y="642963"/>
                    </a:cubicBezTo>
                    <a:cubicBezTo>
                      <a:pt x="586216" y="751211"/>
                      <a:pt x="524577" y="902053"/>
                      <a:pt x="487771" y="897424"/>
                    </a:cubicBezTo>
                    <a:cubicBezTo>
                      <a:pt x="464712" y="892973"/>
                      <a:pt x="450682" y="871482"/>
                      <a:pt x="432137" y="858512"/>
                    </a:cubicBezTo>
                    <a:cubicBezTo>
                      <a:pt x="401632" y="940744"/>
                      <a:pt x="393700" y="1031495"/>
                      <a:pt x="340621" y="1105208"/>
                    </a:cubicBezTo>
                    <a:cubicBezTo>
                      <a:pt x="299535" y="1169456"/>
                      <a:pt x="256191" y="1203886"/>
                      <a:pt x="206076" y="1253225"/>
                    </a:cubicBezTo>
                    <a:cubicBezTo>
                      <a:pt x="96325" y="1366844"/>
                      <a:pt x="48367" y="1374569"/>
                      <a:pt x="0" y="1369703"/>
                    </a:cubicBezTo>
                    <a:lnTo>
                      <a:pt x="0" y="835934"/>
                    </a:lnTo>
                    <a:cubicBezTo>
                      <a:pt x="94059" y="885724"/>
                      <a:pt x="210348" y="862698"/>
                      <a:pt x="279327" y="780625"/>
                    </a:cubicBezTo>
                    <a:cubicBezTo>
                      <a:pt x="350250" y="696237"/>
                      <a:pt x="351074" y="573319"/>
                      <a:pt x="281287" y="487989"/>
                    </a:cubicBezTo>
                    <a:cubicBezTo>
                      <a:pt x="212806" y="404257"/>
                      <a:pt x="95363" y="379981"/>
                      <a:pt x="0" y="429858"/>
                    </a:cubicBezTo>
                    <a:lnTo>
                      <a:pt x="0" y="343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18" name="Group 17">
              <a:extLst>
                <a:ext uri="{FF2B5EF4-FFF2-40B4-BE49-F238E27FC236}">
                  <a16:creationId xmlns:a16="http://schemas.microsoft.com/office/drawing/2014/main" id="{F8C56082-7B04-644C-ADF9-49B8D582885C}"/>
                </a:ext>
              </a:extLst>
            </p:cNvPr>
            <p:cNvGrpSpPr/>
            <p:nvPr/>
          </p:nvGrpSpPr>
          <p:grpSpPr>
            <a:xfrm>
              <a:off x="1439722" y="1711451"/>
              <a:ext cx="2652566" cy="865838"/>
              <a:chOff x="2079596" y="4282215"/>
              <a:chExt cx="3303213" cy="865838"/>
            </a:xfrm>
          </p:grpSpPr>
          <p:sp>
            <p:nvSpPr>
              <p:cNvPr id="19" name="TextBox 18">
                <a:extLst>
                  <a:ext uri="{FF2B5EF4-FFF2-40B4-BE49-F238E27FC236}">
                    <a16:creationId xmlns:a16="http://schemas.microsoft.com/office/drawing/2014/main" id="{1376BD00-8BF4-9341-A80E-31312040F106}"/>
                  </a:ext>
                </a:extLst>
              </p:cNvPr>
              <p:cNvSpPr txBox="1"/>
              <p:nvPr/>
            </p:nvSpPr>
            <p:spPr>
              <a:xfrm>
                <a:off x="2079596" y="4501722"/>
                <a:ext cx="3303212" cy="646331"/>
              </a:xfrm>
              <a:prstGeom prst="rect">
                <a:avLst/>
              </a:prstGeom>
              <a:noFill/>
            </p:spPr>
            <p:txBody>
              <a:bodyPr wrap="square" rtlCol="0">
                <a:spAutoFit/>
              </a:bodyPr>
              <a:lstStyle/>
              <a:p>
                <a:pPr algn="ctr"/>
                <a:r>
                  <a:rPr lang="en-US" altLang="ko-KR" sz="1200">
                    <a:solidFill>
                      <a:schemeClr val="tx1">
                        <a:lumMod val="65000"/>
                        <a:lumOff val="35000"/>
                      </a:schemeClr>
                    </a:solidFill>
                    <a:cs typeface="Arial" pitchFamily="34" charset="0"/>
                  </a:rPr>
                  <a:t>You can simply impress your audience and add a unique zing and appeal to your Presentations.  </a:t>
                </a:r>
              </a:p>
            </p:txBody>
          </p:sp>
          <p:sp>
            <p:nvSpPr>
              <p:cNvPr id="20" name="TextBox 19">
                <a:extLst>
                  <a:ext uri="{FF2B5EF4-FFF2-40B4-BE49-F238E27FC236}">
                    <a16:creationId xmlns:a16="http://schemas.microsoft.com/office/drawing/2014/main" id="{E2423BA4-7B31-A249-A229-6794C49F866E}"/>
                  </a:ext>
                </a:extLst>
              </p:cNvPr>
              <p:cNvSpPr txBox="1"/>
              <p:nvPr/>
            </p:nvSpPr>
            <p:spPr>
              <a:xfrm>
                <a:off x="2079598" y="4282215"/>
                <a:ext cx="3303211" cy="276999"/>
              </a:xfrm>
              <a:prstGeom prst="rect">
                <a:avLst/>
              </a:prstGeom>
              <a:noFill/>
            </p:spPr>
            <p:txBody>
              <a:bodyPr wrap="square" rtlCol="0">
                <a:spAutoFit/>
              </a:bodyPr>
              <a:lstStyle/>
              <a:p>
                <a:pPr algn="ctr"/>
                <a:r>
                  <a:rPr lang="en-US" altLang="ko-KR" sz="1200" b="1">
                    <a:solidFill>
                      <a:schemeClr val="tx1">
                        <a:lumMod val="65000"/>
                        <a:lumOff val="35000"/>
                      </a:schemeClr>
                    </a:solidFill>
                    <a:cs typeface="Arial" pitchFamily="34" charset="0"/>
                  </a:rPr>
                  <a:t>Content  Here</a:t>
                </a:r>
                <a:endParaRPr lang="ko-KR" altLang="en-US" sz="1200" b="1">
                  <a:solidFill>
                    <a:schemeClr val="tx1">
                      <a:lumMod val="65000"/>
                      <a:lumOff val="35000"/>
                    </a:schemeClr>
                  </a:solidFill>
                  <a:cs typeface="Arial" pitchFamily="34" charset="0"/>
                </a:endParaRPr>
              </a:p>
            </p:txBody>
          </p:sp>
        </p:grpSp>
        <p:grpSp>
          <p:nvGrpSpPr>
            <p:cNvPr id="21" name="Group 20">
              <a:extLst>
                <a:ext uri="{FF2B5EF4-FFF2-40B4-BE49-F238E27FC236}">
                  <a16:creationId xmlns:a16="http://schemas.microsoft.com/office/drawing/2014/main" id="{6CCEC11D-DD56-4F40-989C-40867E7AE061}"/>
                </a:ext>
              </a:extLst>
            </p:cNvPr>
            <p:cNvGrpSpPr/>
            <p:nvPr/>
          </p:nvGrpSpPr>
          <p:grpSpPr>
            <a:xfrm>
              <a:off x="8118720" y="1711451"/>
              <a:ext cx="2652566" cy="865838"/>
              <a:chOff x="2079596" y="4282215"/>
              <a:chExt cx="3303213" cy="865838"/>
            </a:xfrm>
          </p:grpSpPr>
          <p:sp>
            <p:nvSpPr>
              <p:cNvPr id="22" name="TextBox 21">
                <a:extLst>
                  <a:ext uri="{FF2B5EF4-FFF2-40B4-BE49-F238E27FC236}">
                    <a16:creationId xmlns:a16="http://schemas.microsoft.com/office/drawing/2014/main" id="{D04C7986-3991-E242-8C42-7E71ECBC5130}"/>
                  </a:ext>
                </a:extLst>
              </p:cNvPr>
              <p:cNvSpPr txBox="1"/>
              <p:nvPr/>
            </p:nvSpPr>
            <p:spPr>
              <a:xfrm>
                <a:off x="2079596" y="4501722"/>
                <a:ext cx="3303212" cy="646331"/>
              </a:xfrm>
              <a:prstGeom prst="rect">
                <a:avLst/>
              </a:prstGeom>
              <a:noFill/>
            </p:spPr>
            <p:txBody>
              <a:bodyPr wrap="square" rtlCol="0">
                <a:spAutoFit/>
              </a:bodyPr>
              <a:lstStyle/>
              <a:p>
                <a:pPr algn="ctr"/>
                <a:r>
                  <a:rPr lang="en-US" altLang="ko-KR" sz="1200">
                    <a:solidFill>
                      <a:schemeClr val="tx1">
                        <a:lumMod val="65000"/>
                        <a:lumOff val="35000"/>
                      </a:schemeClr>
                    </a:solidFill>
                    <a:cs typeface="Arial" pitchFamily="34" charset="0"/>
                  </a:rPr>
                  <a:t>You can simply impress your audience and add a unique zing and appeal to your Presentations.  </a:t>
                </a:r>
              </a:p>
            </p:txBody>
          </p:sp>
          <p:sp>
            <p:nvSpPr>
              <p:cNvPr id="23" name="TextBox 22">
                <a:extLst>
                  <a:ext uri="{FF2B5EF4-FFF2-40B4-BE49-F238E27FC236}">
                    <a16:creationId xmlns:a16="http://schemas.microsoft.com/office/drawing/2014/main" id="{688D46DE-EC64-2142-8AF4-3F967B1A7CEE}"/>
                  </a:ext>
                </a:extLst>
              </p:cNvPr>
              <p:cNvSpPr txBox="1"/>
              <p:nvPr/>
            </p:nvSpPr>
            <p:spPr>
              <a:xfrm>
                <a:off x="2079598" y="4282215"/>
                <a:ext cx="3303211" cy="276999"/>
              </a:xfrm>
              <a:prstGeom prst="rect">
                <a:avLst/>
              </a:prstGeom>
              <a:noFill/>
            </p:spPr>
            <p:txBody>
              <a:bodyPr wrap="square" rtlCol="0">
                <a:spAutoFit/>
              </a:bodyPr>
              <a:lstStyle/>
              <a:p>
                <a:pPr algn="ctr"/>
                <a:r>
                  <a:rPr lang="en-US" altLang="ko-KR" sz="1200" b="1">
                    <a:solidFill>
                      <a:schemeClr val="tx1">
                        <a:lumMod val="65000"/>
                        <a:lumOff val="35000"/>
                      </a:schemeClr>
                    </a:solidFill>
                    <a:cs typeface="Arial" pitchFamily="34" charset="0"/>
                  </a:rPr>
                  <a:t>Content  Here</a:t>
                </a:r>
                <a:endParaRPr lang="ko-KR" altLang="en-US" sz="1200" b="1">
                  <a:solidFill>
                    <a:schemeClr val="tx1">
                      <a:lumMod val="65000"/>
                      <a:lumOff val="35000"/>
                    </a:schemeClr>
                  </a:solidFill>
                  <a:cs typeface="Arial" pitchFamily="34" charset="0"/>
                </a:endParaRPr>
              </a:p>
            </p:txBody>
          </p:sp>
        </p:grpSp>
        <p:grpSp>
          <p:nvGrpSpPr>
            <p:cNvPr id="24" name="Group 23">
              <a:extLst>
                <a:ext uri="{FF2B5EF4-FFF2-40B4-BE49-F238E27FC236}">
                  <a16:creationId xmlns:a16="http://schemas.microsoft.com/office/drawing/2014/main" id="{4A570D52-DD0C-EC4A-810A-0CE4DC049831}"/>
                </a:ext>
              </a:extLst>
            </p:cNvPr>
            <p:cNvGrpSpPr/>
            <p:nvPr/>
          </p:nvGrpSpPr>
          <p:grpSpPr>
            <a:xfrm>
              <a:off x="8118720" y="4664024"/>
              <a:ext cx="2652566" cy="865838"/>
              <a:chOff x="2079596" y="4282215"/>
              <a:chExt cx="3303213" cy="865838"/>
            </a:xfrm>
          </p:grpSpPr>
          <p:sp>
            <p:nvSpPr>
              <p:cNvPr id="25" name="TextBox 24">
                <a:extLst>
                  <a:ext uri="{FF2B5EF4-FFF2-40B4-BE49-F238E27FC236}">
                    <a16:creationId xmlns:a16="http://schemas.microsoft.com/office/drawing/2014/main" id="{F8A99B06-ED2D-BE46-9046-C20E96BA07D1}"/>
                  </a:ext>
                </a:extLst>
              </p:cNvPr>
              <p:cNvSpPr txBox="1"/>
              <p:nvPr/>
            </p:nvSpPr>
            <p:spPr>
              <a:xfrm>
                <a:off x="2079596" y="4501722"/>
                <a:ext cx="3303212" cy="646331"/>
              </a:xfrm>
              <a:prstGeom prst="rect">
                <a:avLst/>
              </a:prstGeom>
              <a:noFill/>
            </p:spPr>
            <p:txBody>
              <a:bodyPr wrap="square" rtlCol="0">
                <a:spAutoFit/>
              </a:bodyPr>
              <a:lstStyle/>
              <a:p>
                <a:pPr algn="ctr"/>
                <a:r>
                  <a:rPr lang="en-US" altLang="ko-KR" sz="1200">
                    <a:solidFill>
                      <a:schemeClr val="tx1">
                        <a:lumMod val="65000"/>
                        <a:lumOff val="35000"/>
                      </a:schemeClr>
                    </a:solidFill>
                    <a:cs typeface="Arial" pitchFamily="34" charset="0"/>
                  </a:rPr>
                  <a:t>You can simply impress your audience and add a unique zing and appeal to your Presentations.  </a:t>
                </a:r>
              </a:p>
            </p:txBody>
          </p:sp>
          <p:sp>
            <p:nvSpPr>
              <p:cNvPr id="26" name="TextBox 25">
                <a:extLst>
                  <a:ext uri="{FF2B5EF4-FFF2-40B4-BE49-F238E27FC236}">
                    <a16:creationId xmlns:a16="http://schemas.microsoft.com/office/drawing/2014/main" id="{9CC53E52-BAD5-2647-B316-63557B1EC2BE}"/>
                  </a:ext>
                </a:extLst>
              </p:cNvPr>
              <p:cNvSpPr txBox="1"/>
              <p:nvPr/>
            </p:nvSpPr>
            <p:spPr>
              <a:xfrm>
                <a:off x="2079598" y="4282215"/>
                <a:ext cx="3303211" cy="276999"/>
              </a:xfrm>
              <a:prstGeom prst="rect">
                <a:avLst/>
              </a:prstGeom>
              <a:noFill/>
            </p:spPr>
            <p:txBody>
              <a:bodyPr wrap="square" rtlCol="0">
                <a:spAutoFit/>
              </a:bodyPr>
              <a:lstStyle/>
              <a:p>
                <a:pPr algn="ctr"/>
                <a:r>
                  <a:rPr lang="en-US" altLang="ko-KR" sz="1200" b="1">
                    <a:solidFill>
                      <a:schemeClr val="tx1">
                        <a:lumMod val="65000"/>
                        <a:lumOff val="35000"/>
                      </a:schemeClr>
                    </a:solidFill>
                    <a:cs typeface="Arial" pitchFamily="34" charset="0"/>
                  </a:rPr>
                  <a:t>Content  Here</a:t>
                </a:r>
                <a:endParaRPr lang="ko-KR" altLang="en-US" sz="1200" b="1">
                  <a:solidFill>
                    <a:schemeClr val="tx1">
                      <a:lumMod val="65000"/>
                      <a:lumOff val="35000"/>
                    </a:schemeClr>
                  </a:solidFill>
                  <a:cs typeface="Arial" pitchFamily="34" charset="0"/>
                </a:endParaRPr>
              </a:p>
            </p:txBody>
          </p:sp>
        </p:grpSp>
        <p:grpSp>
          <p:nvGrpSpPr>
            <p:cNvPr id="27" name="Group 26">
              <a:extLst>
                <a:ext uri="{FF2B5EF4-FFF2-40B4-BE49-F238E27FC236}">
                  <a16:creationId xmlns:a16="http://schemas.microsoft.com/office/drawing/2014/main" id="{8496EB72-B532-C343-A0D5-FAF56E2D37DE}"/>
                </a:ext>
              </a:extLst>
            </p:cNvPr>
            <p:cNvGrpSpPr/>
            <p:nvPr/>
          </p:nvGrpSpPr>
          <p:grpSpPr>
            <a:xfrm>
              <a:off x="1439722" y="4664024"/>
              <a:ext cx="2652566" cy="865838"/>
              <a:chOff x="2079596" y="4282215"/>
              <a:chExt cx="3303213" cy="865838"/>
            </a:xfrm>
          </p:grpSpPr>
          <p:sp>
            <p:nvSpPr>
              <p:cNvPr id="28" name="TextBox 27">
                <a:extLst>
                  <a:ext uri="{FF2B5EF4-FFF2-40B4-BE49-F238E27FC236}">
                    <a16:creationId xmlns:a16="http://schemas.microsoft.com/office/drawing/2014/main" id="{C9C2014D-0A98-C64C-B531-C5FC5E6F6F03}"/>
                  </a:ext>
                </a:extLst>
              </p:cNvPr>
              <p:cNvSpPr txBox="1"/>
              <p:nvPr/>
            </p:nvSpPr>
            <p:spPr>
              <a:xfrm>
                <a:off x="2079596" y="4501722"/>
                <a:ext cx="3303212" cy="646331"/>
              </a:xfrm>
              <a:prstGeom prst="rect">
                <a:avLst/>
              </a:prstGeom>
              <a:noFill/>
            </p:spPr>
            <p:txBody>
              <a:bodyPr wrap="square" rtlCol="0">
                <a:spAutoFit/>
              </a:bodyPr>
              <a:lstStyle/>
              <a:p>
                <a:pPr algn="ctr"/>
                <a:r>
                  <a:rPr lang="en-US" altLang="ko-KR" sz="1200">
                    <a:solidFill>
                      <a:schemeClr val="tx1">
                        <a:lumMod val="65000"/>
                        <a:lumOff val="35000"/>
                      </a:schemeClr>
                    </a:solidFill>
                    <a:cs typeface="Arial" pitchFamily="34" charset="0"/>
                  </a:rPr>
                  <a:t>You can simply impress your audience and add a unique zing and appeal to your Presentations.  </a:t>
                </a:r>
              </a:p>
            </p:txBody>
          </p:sp>
          <p:sp>
            <p:nvSpPr>
              <p:cNvPr id="29" name="TextBox 28">
                <a:extLst>
                  <a:ext uri="{FF2B5EF4-FFF2-40B4-BE49-F238E27FC236}">
                    <a16:creationId xmlns:a16="http://schemas.microsoft.com/office/drawing/2014/main" id="{8D00FC09-33BF-8641-B5F0-D63B64ECFE82}"/>
                  </a:ext>
                </a:extLst>
              </p:cNvPr>
              <p:cNvSpPr txBox="1"/>
              <p:nvPr/>
            </p:nvSpPr>
            <p:spPr>
              <a:xfrm>
                <a:off x="2079598" y="4282215"/>
                <a:ext cx="3303211" cy="276999"/>
              </a:xfrm>
              <a:prstGeom prst="rect">
                <a:avLst/>
              </a:prstGeom>
              <a:noFill/>
            </p:spPr>
            <p:txBody>
              <a:bodyPr wrap="square" rtlCol="0">
                <a:spAutoFit/>
              </a:bodyPr>
              <a:lstStyle/>
              <a:p>
                <a:pPr algn="ctr"/>
                <a:r>
                  <a:rPr lang="en-US" altLang="ko-KR" sz="1200" b="1">
                    <a:solidFill>
                      <a:schemeClr val="tx1">
                        <a:lumMod val="65000"/>
                        <a:lumOff val="35000"/>
                      </a:schemeClr>
                    </a:solidFill>
                    <a:cs typeface="Arial" pitchFamily="34" charset="0"/>
                  </a:rPr>
                  <a:t>Content  Here</a:t>
                </a:r>
                <a:endParaRPr lang="ko-KR" altLang="en-US" sz="1200" b="1">
                  <a:solidFill>
                    <a:schemeClr val="tx1">
                      <a:lumMod val="65000"/>
                      <a:lumOff val="35000"/>
                    </a:schemeClr>
                  </a:solidFill>
                  <a:cs typeface="Arial" pitchFamily="34" charset="0"/>
                </a:endParaRPr>
              </a:p>
            </p:txBody>
          </p:sp>
        </p:grpSp>
        <p:sp>
          <p:nvSpPr>
            <p:cNvPr id="30" name="Oval 7">
              <a:extLst>
                <a:ext uri="{FF2B5EF4-FFF2-40B4-BE49-F238E27FC236}">
                  <a16:creationId xmlns:a16="http://schemas.microsoft.com/office/drawing/2014/main" id="{CCEDD7E8-5017-1241-AA1B-0A4B5D874717}"/>
                </a:ext>
              </a:extLst>
            </p:cNvPr>
            <p:cNvSpPr/>
            <p:nvPr/>
          </p:nvSpPr>
          <p:spPr>
            <a:xfrm>
              <a:off x="1972760" y="3937469"/>
              <a:ext cx="375598" cy="493372"/>
            </a:xfrm>
            <a:custGeom>
              <a:avLst/>
              <a:gdLst/>
              <a:ahLst/>
              <a:cxnLst/>
              <a:rect l="l" t="t" r="r" b="b"/>
              <a:pathLst>
                <a:path w="3025265" h="3973870">
                  <a:moveTo>
                    <a:pt x="1048235" y="955278"/>
                  </a:moveTo>
                  <a:cubicBezTo>
                    <a:pt x="1143886" y="955278"/>
                    <a:pt x="1221426" y="1089843"/>
                    <a:pt x="1221426" y="1255837"/>
                  </a:cubicBezTo>
                  <a:cubicBezTo>
                    <a:pt x="1221426" y="1421831"/>
                    <a:pt x="1143886" y="1556396"/>
                    <a:pt x="1048235" y="1556396"/>
                  </a:cubicBezTo>
                  <a:cubicBezTo>
                    <a:pt x="952584" y="1556396"/>
                    <a:pt x="875044" y="1421831"/>
                    <a:pt x="875044" y="1255837"/>
                  </a:cubicBezTo>
                  <a:cubicBezTo>
                    <a:pt x="875044" y="1089843"/>
                    <a:pt x="952584" y="955278"/>
                    <a:pt x="1048235" y="955278"/>
                  </a:cubicBezTo>
                  <a:close/>
                  <a:moveTo>
                    <a:pt x="805954" y="648071"/>
                  </a:moveTo>
                  <a:lnTo>
                    <a:pt x="805954" y="1853034"/>
                  </a:lnTo>
                  <a:cubicBezTo>
                    <a:pt x="805954" y="1947724"/>
                    <a:pt x="869395" y="2027597"/>
                    <a:pt x="956357" y="2051540"/>
                  </a:cubicBezTo>
                  <a:lnTo>
                    <a:pt x="956356" y="2473030"/>
                  </a:lnTo>
                  <a:cubicBezTo>
                    <a:pt x="956356" y="2523517"/>
                    <a:pt x="997284" y="2564445"/>
                    <a:pt x="1047771" y="2564445"/>
                  </a:cubicBezTo>
                  <a:cubicBezTo>
                    <a:pt x="1098258" y="2564445"/>
                    <a:pt x="1139186" y="2523517"/>
                    <a:pt x="1139186" y="2473030"/>
                  </a:cubicBezTo>
                  <a:lnTo>
                    <a:pt x="1139186" y="2051828"/>
                  </a:lnTo>
                  <a:cubicBezTo>
                    <a:pt x="1226618" y="2028173"/>
                    <a:pt x="1290517" y="1948066"/>
                    <a:pt x="1290517" y="1853034"/>
                  </a:cubicBezTo>
                  <a:lnTo>
                    <a:pt x="1290517" y="649328"/>
                  </a:lnTo>
                  <a:cubicBezTo>
                    <a:pt x="1740927" y="708507"/>
                    <a:pt x="2088232" y="1094132"/>
                    <a:pt x="2088232" y="1560875"/>
                  </a:cubicBezTo>
                  <a:lnTo>
                    <a:pt x="2088232" y="2137870"/>
                  </a:lnTo>
                  <a:lnTo>
                    <a:pt x="2088233" y="2137870"/>
                  </a:lnTo>
                  <a:lnTo>
                    <a:pt x="2088233" y="3055870"/>
                  </a:lnTo>
                  <a:cubicBezTo>
                    <a:pt x="2088233" y="3562867"/>
                    <a:pt x="1677230" y="3973870"/>
                    <a:pt x="1170233" y="3973870"/>
                  </a:cubicBezTo>
                  <a:lnTo>
                    <a:pt x="918001" y="3973870"/>
                  </a:lnTo>
                  <a:cubicBezTo>
                    <a:pt x="411004" y="3973870"/>
                    <a:pt x="1" y="3562867"/>
                    <a:pt x="1" y="3055870"/>
                  </a:cubicBezTo>
                  <a:lnTo>
                    <a:pt x="1" y="2152339"/>
                  </a:lnTo>
                  <a:lnTo>
                    <a:pt x="0" y="2152339"/>
                  </a:lnTo>
                  <a:lnTo>
                    <a:pt x="0" y="1560875"/>
                  </a:lnTo>
                  <a:cubicBezTo>
                    <a:pt x="0" y="1091278"/>
                    <a:pt x="351565" y="703794"/>
                    <a:pt x="805954" y="648071"/>
                  </a:cubicBezTo>
                  <a:close/>
                  <a:moveTo>
                    <a:pt x="1619797" y="91"/>
                  </a:moveTo>
                  <a:cubicBezTo>
                    <a:pt x="1732841" y="1988"/>
                    <a:pt x="1845389" y="33430"/>
                    <a:pt x="1945434" y="94215"/>
                  </a:cubicBezTo>
                  <a:cubicBezTo>
                    <a:pt x="2133478" y="208468"/>
                    <a:pt x="2249869" y="409692"/>
                    <a:pt x="2255221" y="627780"/>
                  </a:cubicBezTo>
                  <a:lnTo>
                    <a:pt x="2257891" y="627572"/>
                  </a:lnTo>
                  <a:cubicBezTo>
                    <a:pt x="2272309" y="812739"/>
                    <a:pt x="2385479" y="975734"/>
                    <a:pt x="2553934" y="1053951"/>
                  </a:cubicBezTo>
                  <a:cubicBezTo>
                    <a:pt x="2706200" y="1124651"/>
                    <a:pt x="2882234" y="1116149"/>
                    <a:pt x="3025265" y="1032491"/>
                  </a:cubicBezTo>
                  <a:lnTo>
                    <a:pt x="3025265" y="1181594"/>
                  </a:lnTo>
                  <a:cubicBezTo>
                    <a:pt x="2858744" y="1255002"/>
                    <a:pt x="2666516" y="1253932"/>
                    <a:pt x="2497514" y="1175460"/>
                  </a:cubicBezTo>
                  <a:cubicBezTo>
                    <a:pt x="2293602" y="1080779"/>
                    <a:pt x="2153951" y="887555"/>
                    <a:pt x="2128339" y="665512"/>
                  </a:cubicBezTo>
                  <a:lnTo>
                    <a:pt x="2122734" y="665324"/>
                  </a:lnTo>
                  <a:cubicBezTo>
                    <a:pt x="2128967" y="479701"/>
                    <a:pt x="2034597" y="305147"/>
                    <a:pt x="1875870" y="208708"/>
                  </a:cubicBezTo>
                  <a:cubicBezTo>
                    <a:pt x="1717143" y="112268"/>
                    <a:pt x="1518741" y="108938"/>
                    <a:pt x="1356867" y="199997"/>
                  </a:cubicBezTo>
                  <a:cubicBezTo>
                    <a:pt x="1194993" y="291056"/>
                    <a:pt x="1094818" y="462344"/>
                    <a:pt x="1094818" y="648071"/>
                  </a:cubicBezTo>
                  <a:lnTo>
                    <a:pt x="960849" y="648071"/>
                  </a:lnTo>
                  <a:cubicBezTo>
                    <a:pt x="960849" y="413945"/>
                    <a:pt x="1087128" y="198021"/>
                    <a:pt x="1291185" y="83234"/>
                  </a:cubicBezTo>
                  <a:cubicBezTo>
                    <a:pt x="1393213" y="25840"/>
                    <a:pt x="1506753" y="-1807"/>
                    <a:pt x="1619797" y="9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1" name="Rounded Rectangle 1">
              <a:extLst>
                <a:ext uri="{FF2B5EF4-FFF2-40B4-BE49-F238E27FC236}">
                  <a16:creationId xmlns:a16="http://schemas.microsoft.com/office/drawing/2014/main" id="{9FC188A7-1A00-0E4F-992F-B5990981354A}"/>
                </a:ext>
              </a:extLst>
            </p:cNvPr>
            <p:cNvSpPr>
              <a:spLocks noChangeAspect="1"/>
            </p:cNvSpPr>
            <p:nvPr/>
          </p:nvSpPr>
          <p:spPr>
            <a:xfrm>
              <a:off x="1950498" y="2814987"/>
              <a:ext cx="420120" cy="421663"/>
            </a:xfrm>
            <a:custGeom>
              <a:avLst/>
              <a:gdLst/>
              <a:ahLst/>
              <a:cxnLst/>
              <a:rect l="l" t="t" r="r" b="b"/>
              <a:pathLst>
                <a:path w="3888432" h="3902714">
                  <a:moveTo>
                    <a:pt x="1113894" y="3227140"/>
                  </a:moveTo>
                  <a:lnTo>
                    <a:pt x="2774538" y="3227140"/>
                  </a:lnTo>
                  <a:cubicBezTo>
                    <a:pt x="2813020" y="3227140"/>
                    <a:pt x="2844216" y="3258336"/>
                    <a:pt x="2844216" y="3296818"/>
                  </a:cubicBezTo>
                  <a:lnTo>
                    <a:pt x="2844216" y="3337462"/>
                  </a:lnTo>
                  <a:cubicBezTo>
                    <a:pt x="2844216" y="3375944"/>
                    <a:pt x="2813020" y="3407140"/>
                    <a:pt x="2774538" y="3407140"/>
                  </a:cubicBezTo>
                  <a:lnTo>
                    <a:pt x="1113894" y="3407140"/>
                  </a:lnTo>
                  <a:cubicBezTo>
                    <a:pt x="1075412" y="3407140"/>
                    <a:pt x="1044216" y="3375944"/>
                    <a:pt x="1044216" y="3337462"/>
                  </a:cubicBezTo>
                  <a:lnTo>
                    <a:pt x="1044216" y="3296818"/>
                  </a:lnTo>
                  <a:cubicBezTo>
                    <a:pt x="1044216" y="3258336"/>
                    <a:pt x="1075412" y="3227140"/>
                    <a:pt x="1113894" y="3227140"/>
                  </a:cubicBezTo>
                  <a:close/>
                  <a:moveTo>
                    <a:pt x="1111898" y="2923315"/>
                  </a:moveTo>
                  <a:lnTo>
                    <a:pt x="2772542" y="2923315"/>
                  </a:lnTo>
                  <a:cubicBezTo>
                    <a:pt x="2811024" y="2923315"/>
                    <a:pt x="2842220" y="2954511"/>
                    <a:pt x="2842220" y="2992993"/>
                  </a:cubicBezTo>
                  <a:lnTo>
                    <a:pt x="2842220" y="3033637"/>
                  </a:lnTo>
                  <a:cubicBezTo>
                    <a:pt x="2842220" y="3072119"/>
                    <a:pt x="2811024" y="3103315"/>
                    <a:pt x="2772542" y="3103315"/>
                  </a:cubicBezTo>
                  <a:lnTo>
                    <a:pt x="1111898" y="3103315"/>
                  </a:lnTo>
                  <a:cubicBezTo>
                    <a:pt x="1073416" y="3103315"/>
                    <a:pt x="1042220" y="3072119"/>
                    <a:pt x="1042220" y="3033637"/>
                  </a:cubicBezTo>
                  <a:lnTo>
                    <a:pt x="1042220" y="2992993"/>
                  </a:lnTo>
                  <a:cubicBezTo>
                    <a:pt x="1042220" y="2954511"/>
                    <a:pt x="1073416" y="2923315"/>
                    <a:pt x="1111898" y="2923315"/>
                  </a:cubicBezTo>
                  <a:close/>
                  <a:moveTo>
                    <a:pt x="495275" y="2664296"/>
                  </a:moveTo>
                  <a:lnTo>
                    <a:pt x="853982" y="2664296"/>
                  </a:lnTo>
                  <a:lnTo>
                    <a:pt x="853982" y="3560524"/>
                  </a:lnTo>
                  <a:lnTo>
                    <a:pt x="3006222" y="3560524"/>
                  </a:lnTo>
                  <a:lnTo>
                    <a:pt x="3006222" y="2664296"/>
                  </a:lnTo>
                  <a:lnTo>
                    <a:pt x="3364929" y="2664296"/>
                  </a:lnTo>
                  <a:lnTo>
                    <a:pt x="3364929" y="3902714"/>
                  </a:lnTo>
                  <a:lnTo>
                    <a:pt x="495275" y="3902714"/>
                  </a:lnTo>
                  <a:close/>
                  <a:moveTo>
                    <a:pt x="1113894" y="2619490"/>
                  </a:moveTo>
                  <a:lnTo>
                    <a:pt x="2774538" y="2619490"/>
                  </a:lnTo>
                  <a:cubicBezTo>
                    <a:pt x="2813020" y="2619490"/>
                    <a:pt x="2844216" y="2650686"/>
                    <a:pt x="2844216" y="2689168"/>
                  </a:cubicBezTo>
                  <a:lnTo>
                    <a:pt x="2844216" y="2729812"/>
                  </a:lnTo>
                  <a:cubicBezTo>
                    <a:pt x="2844216" y="2768294"/>
                    <a:pt x="2813020" y="2799490"/>
                    <a:pt x="2774538" y="2799490"/>
                  </a:cubicBezTo>
                  <a:lnTo>
                    <a:pt x="1113894" y="2799490"/>
                  </a:lnTo>
                  <a:cubicBezTo>
                    <a:pt x="1075412" y="2799490"/>
                    <a:pt x="1044216" y="2768294"/>
                    <a:pt x="1044216" y="2729812"/>
                  </a:cubicBezTo>
                  <a:lnTo>
                    <a:pt x="1044216" y="2689168"/>
                  </a:lnTo>
                  <a:cubicBezTo>
                    <a:pt x="1044216" y="2650686"/>
                    <a:pt x="1075412" y="2619490"/>
                    <a:pt x="1113894" y="2619490"/>
                  </a:cubicBezTo>
                  <a:close/>
                  <a:moveTo>
                    <a:pt x="3183220" y="1512740"/>
                  </a:moveTo>
                  <a:cubicBezTo>
                    <a:pt x="3130821" y="1512740"/>
                    <a:pt x="3088344" y="1555217"/>
                    <a:pt x="3088344" y="1607616"/>
                  </a:cubicBezTo>
                  <a:lnTo>
                    <a:pt x="3088344" y="1777903"/>
                  </a:lnTo>
                  <a:cubicBezTo>
                    <a:pt x="3088344" y="1830302"/>
                    <a:pt x="3130821" y="1872779"/>
                    <a:pt x="3183220" y="1872779"/>
                  </a:cubicBezTo>
                  <a:lnTo>
                    <a:pt x="3334111" y="1872779"/>
                  </a:lnTo>
                  <a:cubicBezTo>
                    <a:pt x="3386510" y="1872779"/>
                    <a:pt x="3428987" y="1830302"/>
                    <a:pt x="3428987" y="1777903"/>
                  </a:cubicBezTo>
                  <a:lnTo>
                    <a:pt x="3428987" y="1607616"/>
                  </a:lnTo>
                  <a:cubicBezTo>
                    <a:pt x="3428987" y="1555217"/>
                    <a:pt x="3386510" y="1512740"/>
                    <a:pt x="3334111" y="1512740"/>
                  </a:cubicBezTo>
                  <a:close/>
                  <a:moveTo>
                    <a:pt x="317370" y="1192161"/>
                  </a:moveTo>
                  <a:lnTo>
                    <a:pt x="3571062" y="1192161"/>
                  </a:lnTo>
                  <a:cubicBezTo>
                    <a:pt x="3746341" y="1192161"/>
                    <a:pt x="3888432" y="1369515"/>
                    <a:pt x="3888432" y="1588294"/>
                  </a:cubicBezTo>
                  <a:lnTo>
                    <a:pt x="3888432" y="3172779"/>
                  </a:lnTo>
                  <a:cubicBezTo>
                    <a:pt x="3888432" y="3391558"/>
                    <a:pt x="3746341" y="3568912"/>
                    <a:pt x="3571062" y="3568912"/>
                  </a:cubicBezTo>
                  <a:lnTo>
                    <a:pt x="3484959" y="3568912"/>
                  </a:lnTo>
                  <a:lnTo>
                    <a:pt x="3484959" y="2490370"/>
                  </a:lnTo>
                  <a:lnTo>
                    <a:pt x="388615" y="2490370"/>
                  </a:lnTo>
                  <a:lnTo>
                    <a:pt x="388615" y="3568912"/>
                  </a:lnTo>
                  <a:lnTo>
                    <a:pt x="317370" y="3568912"/>
                  </a:lnTo>
                  <a:cubicBezTo>
                    <a:pt x="142091" y="3568912"/>
                    <a:pt x="0" y="3391558"/>
                    <a:pt x="0" y="3172779"/>
                  </a:cubicBezTo>
                  <a:lnTo>
                    <a:pt x="0" y="1588294"/>
                  </a:lnTo>
                  <a:cubicBezTo>
                    <a:pt x="0" y="1369515"/>
                    <a:pt x="142091" y="1192161"/>
                    <a:pt x="317370" y="1192161"/>
                  </a:cubicBezTo>
                  <a:close/>
                  <a:moveTo>
                    <a:pt x="3010811" y="792088"/>
                  </a:moveTo>
                  <a:lnTo>
                    <a:pt x="3369518" y="792088"/>
                  </a:lnTo>
                  <a:lnTo>
                    <a:pt x="3369518" y="1080119"/>
                  </a:lnTo>
                  <a:lnTo>
                    <a:pt x="3010811" y="1080119"/>
                  </a:lnTo>
                  <a:close/>
                  <a:moveTo>
                    <a:pt x="2700857" y="0"/>
                  </a:moveTo>
                  <a:lnTo>
                    <a:pt x="3329483" y="698376"/>
                  </a:lnTo>
                  <a:lnTo>
                    <a:pt x="2700857" y="698376"/>
                  </a:lnTo>
                  <a:close/>
                  <a:moveTo>
                    <a:pt x="499864" y="0"/>
                  </a:moveTo>
                  <a:lnTo>
                    <a:pt x="2592288" y="0"/>
                  </a:lnTo>
                  <a:lnTo>
                    <a:pt x="2592288" y="298450"/>
                  </a:lnTo>
                  <a:lnTo>
                    <a:pt x="858571" y="298450"/>
                  </a:lnTo>
                  <a:lnTo>
                    <a:pt x="858571" y="1080119"/>
                  </a:lnTo>
                  <a:lnTo>
                    <a:pt x="499864" y="108011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TextBox 31">
              <a:extLst>
                <a:ext uri="{FF2B5EF4-FFF2-40B4-BE49-F238E27FC236}">
                  <a16:creationId xmlns:a16="http://schemas.microsoft.com/office/drawing/2014/main" id="{226DBF7C-B77B-FA43-9954-E448C0529E47}"/>
                </a:ext>
              </a:extLst>
            </p:cNvPr>
            <p:cNvSpPr txBox="1"/>
            <p:nvPr/>
          </p:nvSpPr>
          <p:spPr>
            <a:xfrm>
              <a:off x="2584205" y="2871930"/>
              <a:ext cx="997308" cy="307777"/>
            </a:xfrm>
            <a:prstGeom prst="rect">
              <a:avLst/>
            </a:prstGeom>
            <a:noFill/>
          </p:spPr>
          <p:txBody>
            <a:bodyPr wrap="square" rtlCol="0">
              <a:spAutoFit/>
            </a:bodyPr>
            <a:lstStyle/>
            <a:p>
              <a:pPr algn="ctr"/>
              <a:r>
                <a:rPr lang="en-US" altLang="ko-KR" sz="1400" b="1">
                  <a:solidFill>
                    <a:schemeClr val="accent3"/>
                  </a:solidFill>
                  <a:cs typeface="Arial" pitchFamily="34" charset="0"/>
                </a:rPr>
                <a:t>Content</a:t>
              </a:r>
              <a:endParaRPr lang="ko-KR" altLang="en-US" sz="1400" b="1">
                <a:solidFill>
                  <a:schemeClr val="accent3"/>
                </a:solidFill>
                <a:cs typeface="Arial" pitchFamily="34" charset="0"/>
              </a:endParaRPr>
            </a:p>
          </p:txBody>
        </p:sp>
        <p:sp>
          <p:nvSpPr>
            <p:cNvPr id="33" name="TextBox 32">
              <a:extLst>
                <a:ext uri="{FF2B5EF4-FFF2-40B4-BE49-F238E27FC236}">
                  <a16:creationId xmlns:a16="http://schemas.microsoft.com/office/drawing/2014/main" id="{F4C993A6-8E4A-CA4E-9EBF-4E8035C5A6E1}"/>
                </a:ext>
              </a:extLst>
            </p:cNvPr>
            <p:cNvSpPr txBox="1"/>
            <p:nvPr/>
          </p:nvSpPr>
          <p:spPr>
            <a:xfrm>
              <a:off x="2584205" y="4030268"/>
              <a:ext cx="997308" cy="307777"/>
            </a:xfrm>
            <a:prstGeom prst="rect">
              <a:avLst/>
            </a:prstGeom>
            <a:noFill/>
          </p:spPr>
          <p:txBody>
            <a:bodyPr wrap="square" rtlCol="0">
              <a:spAutoFit/>
            </a:bodyPr>
            <a:lstStyle/>
            <a:p>
              <a:pPr algn="ctr"/>
              <a:r>
                <a:rPr lang="en-US" altLang="ko-KR" sz="1400" b="1">
                  <a:solidFill>
                    <a:schemeClr val="accent1"/>
                  </a:solidFill>
                  <a:cs typeface="Arial" pitchFamily="34" charset="0"/>
                </a:rPr>
                <a:t>Content</a:t>
              </a:r>
              <a:endParaRPr lang="ko-KR" altLang="en-US" sz="1400" b="1">
                <a:solidFill>
                  <a:schemeClr val="accent1"/>
                </a:solidFill>
                <a:cs typeface="Arial" pitchFamily="34" charset="0"/>
              </a:endParaRPr>
            </a:p>
          </p:txBody>
        </p:sp>
        <p:sp>
          <p:nvSpPr>
            <p:cNvPr id="34" name="Trapezoid 10">
              <a:extLst>
                <a:ext uri="{FF2B5EF4-FFF2-40B4-BE49-F238E27FC236}">
                  <a16:creationId xmlns:a16="http://schemas.microsoft.com/office/drawing/2014/main" id="{BBBDCD4D-E905-9C4A-BDB8-DF825734E8DB}"/>
                </a:ext>
              </a:extLst>
            </p:cNvPr>
            <p:cNvSpPr>
              <a:spLocks noChangeAspect="1"/>
            </p:cNvSpPr>
            <p:nvPr/>
          </p:nvSpPr>
          <p:spPr>
            <a:xfrm>
              <a:off x="8643928" y="2814987"/>
              <a:ext cx="422158" cy="421663"/>
            </a:xfrm>
            <a:custGeom>
              <a:avLst/>
              <a:gdLst/>
              <a:ahLst/>
              <a:cxnLst/>
              <a:rect l="l" t="t" r="r" b="b"/>
              <a:pathLst>
                <a:path w="3910377" h="3905794">
                  <a:moveTo>
                    <a:pt x="1" y="3797782"/>
                  </a:moveTo>
                  <a:lnTo>
                    <a:pt x="3910377" y="3797782"/>
                  </a:lnTo>
                  <a:lnTo>
                    <a:pt x="3910377" y="3905794"/>
                  </a:lnTo>
                  <a:lnTo>
                    <a:pt x="1" y="3905794"/>
                  </a:lnTo>
                  <a:close/>
                  <a:moveTo>
                    <a:pt x="1757257" y="3353296"/>
                  </a:moveTo>
                  <a:cubicBezTo>
                    <a:pt x="1690135" y="3353296"/>
                    <a:pt x="1635721" y="3407710"/>
                    <a:pt x="1635721" y="3474832"/>
                  </a:cubicBezTo>
                  <a:cubicBezTo>
                    <a:pt x="1635721" y="3541954"/>
                    <a:pt x="1690135" y="3596368"/>
                    <a:pt x="1757257" y="3596368"/>
                  </a:cubicBezTo>
                  <a:lnTo>
                    <a:pt x="2187409" y="3596368"/>
                  </a:lnTo>
                  <a:cubicBezTo>
                    <a:pt x="2254531" y="3596368"/>
                    <a:pt x="2308945" y="3541954"/>
                    <a:pt x="2308945" y="3474832"/>
                  </a:cubicBezTo>
                  <a:cubicBezTo>
                    <a:pt x="2308945" y="3407710"/>
                    <a:pt x="2254531" y="3353296"/>
                    <a:pt x="2187409" y="3353296"/>
                  </a:cubicBezTo>
                  <a:close/>
                  <a:moveTo>
                    <a:pt x="492288" y="2449553"/>
                  </a:moveTo>
                  <a:lnTo>
                    <a:pt x="472244" y="2517369"/>
                  </a:lnTo>
                  <a:lnTo>
                    <a:pt x="3438134" y="2517369"/>
                  </a:lnTo>
                  <a:lnTo>
                    <a:pt x="3418090" y="2449553"/>
                  </a:lnTo>
                  <a:close/>
                  <a:moveTo>
                    <a:pt x="432162" y="2249610"/>
                  </a:moveTo>
                  <a:lnTo>
                    <a:pt x="3478215" y="2249610"/>
                  </a:lnTo>
                  <a:lnTo>
                    <a:pt x="3910377" y="3711740"/>
                  </a:lnTo>
                  <a:lnTo>
                    <a:pt x="0" y="3711740"/>
                  </a:lnTo>
                  <a:close/>
                  <a:moveTo>
                    <a:pt x="1637280" y="544956"/>
                  </a:moveTo>
                  <a:cubicBezTo>
                    <a:pt x="1626413" y="544956"/>
                    <a:pt x="1615547" y="549102"/>
                    <a:pt x="1607256" y="557393"/>
                  </a:cubicBezTo>
                  <a:lnTo>
                    <a:pt x="796281" y="1368368"/>
                  </a:lnTo>
                  <a:cubicBezTo>
                    <a:pt x="779699" y="1384950"/>
                    <a:pt x="779699" y="1411834"/>
                    <a:pt x="796281" y="1428415"/>
                  </a:cubicBezTo>
                  <a:lnTo>
                    <a:pt x="825565" y="1457699"/>
                  </a:lnTo>
                  <a:cubicBezTo>
                    <a:pt x="842147" y="1474281"/>
                    <a:pt x="869031" y="1474281"/>
                    <a:pt x="885612" y="1457699"/>
                  </a:cubicBezTo>
                  <a:lnTo>
                    <a:pt x="1696588" y="646724"/>
                  </a:lnTo>
                  <a:cubicBezTo>
                    <a:pt x="1713169" y="630143"/>
                    <a:pt x="1713169" y="603258"/>
                    <a:pt x="1696588" y="586677"/>
                  </a:cubicBezTo>
                  <a:lnTo>
                    <a:pt x="1667304" y="557393"/>
                  </a:lnTo>
                  <a:cubicBezTo>
                    <a:pt x="1659013" y="549102"/>
                    <a:pt x="1648146" y="544956"/>
                    <a:pt x="1637280" y="544956"/>
                  </a:cubicBezTo>
                  <a:close/>
                  <a:moveTo>
                    <a:pt x="1372791" y="439020"/>
                  </a:moveTo>
                  <a:cubicBezTo>
                    <a:pt x="1361925" y="439020"/>
                    <a:pt x="1351058" y="443165"/>
                    <a:pt x="1342767" y="451456"/>
                  </a:cubicBezTo>
                  <a:lnTo>
                    <a:pt x="851745" y="942478"/>
                  </a:lnTo>
                  <a:cubicBezTo>
                    <a:pt x="835164" y="959060"/>
                    <a:pt x="835164" y="985944"/>
                    <a:pt x="851745" y="1002526"/>
                  </a:cubicBezTo>
                  <a:lnTo>
                    <a:pt x="881029" y="1031810"/>
                  </a:lnTo>
                  <a:cubicBezTo>
                    <a:pt x="897611" y="1048392"/>
                    <a:pt x="924495" y="1048392"/>
                    <a:pt x="941077" y="1031810"/>
                  </a:cubicBezTo>
                  <a:lnTo>
                    <a:pt x="1432099" y="540788"/>
                  </a:lnTo>
                  <a:cubicBezTo>
                    <a:pt x="1448681" y="524206"/>
                    <a:pt x="1448681" y="497322"/>
                    <a:pt x="1432099" y="480740"/>
                  </a:cubicBezTo>
                  <a:lnTo>
                    <a:pt x="1402815" y="451456"/>
                  </a:lnTo>
                  <a:cubicBezTo>
                    <a:pt x="1394524" y="443165"/>
                    <a:pt x="1383658" y="439020"/>
                    <a:pt x="1372791" y="439020"/>
                  </a:cubicBezTo>
                  <a:close/>
                  <a:moveTo>
                    <a:pt x="864042" y="270000"/>
                  </a:moveTo>
                  <a:lnTo>
                    <a:pt x="2945402" y="270000"/>
                  </a:lnTo>
                  <a:cubicBezTo>
                    <a:pt x="3094522" y="270000"/>
                    <a:pt x="3215407" y="390885"/>
                    <a:pt x="3215407" y="540005"/>
                  </a:cubicBezTo>
                  <a:lnTo>
                    <a:pt x="3215407" y="1619995"/>
                  </a:lnTo>
                  <a:cubicBezTo>
                    <a:pt x="3215407" y="1769115"/>
                    <a:pt x="3094522" y="1890000"/>
                    <a:pt x="2945402" y="1890000"/>
                  </a:cubicBezTo>
                  <a:lnTo>
                    <a:pt x="864042" y="1890000"/>
                  </a:lnTo>
                  <a:cubicBezTo>
                    <a:pt x="714922" y="1890000"/>
                    <a:pt x="594037" y="1769115"/>
                    <a:pt x="594037" y="1619995"/>
                  </a:cubicBezTo>
                  <a:lnTo>
                    <a:pt x="594037" y="540005"/>
                  </a:lnTo>
                  <a:cubicBezTo>
                    <a:pt x="594037" y="390885"/>
                    <a:pt x="714922" y="270000"/>
                    <a:pt x="864042" y="270000"/>
                  </a:cubicBezTo>
                  <a:close/>
                  <a:moveTo>
                    <a:pt x="804042" y="180000"/>
                  </a:moveTo>
                  <a:cubicBezTo>
                    <a:pt x="638353" y="180000"/>
                    <a:pt x="504036" y="314317"/>
                    <a:pt x="504036" y="480006"/>
                  </a:cubicBezTo>
                  <a:lnTo>
                    <a:pt x="504036" y="1679994"/>
                  </a:lnTo>
                  <a:cubicBezTo>
                    <a:pt x="504036" y="1845683"/>
                    <a:pt x="638353" y="1980000"/>
                    <a:pt x="804042" y="1980000"/>
                  </a:cubicBezTo>
                  <a:lnTo>
                    <a:pt x="3027043" y="1980000"/>
                  </a:lnTo>
                  <a:cubicBezTo>
                    <a:pt x="3192732" y="1980000"/>
                    <a:pt x="3327049" y="1845683"/>
                    <a:pt x="3327049" y="1679994"/>
                  </a:cubicBezTo>
                  <a:lnTo>
                    <a:pt x="3327049" y="480006"/>
                  </a:lnTo>
                  <a:cubicBezTo>
                    <a:pt x="3327049" y="314317"/>
                    <a:pt x="3192732" y="180000"/>
                    <a:pt x="3027043" y="180000"/>
                  </a:cubicBezTo>
                  <a:close/>
                  <a:moveTo>
                    <a:pt x="684043" y="0"/>
                  </a:moveTo>
                  <a:lnTo>
                    <a:pt x="3190330" y="0"/>
                  </a:lnTo>
                  <a:cubicBezTo>
                    <a:pt x="3389156" y="0"/>
                    <a:pt x="3550337" y="161181"/>
                    <a:pt x="3550337" y="360007"/>
                  </a:cubicBezTo>
                  <a:lnTo>
                    <a:pt x="3550337" y="1799993"/>
                  </a:lnTo>
                  <a:cubicBezTo>
                    <a:pt x="3550337" y="1998819"/>
                    <a:pt x="3389156" y="2160000"/>
                    <a:pt x="3190330" y="2160000"/>
                  </a:cubicBezTo>
                  <a:lnTo>
                    <a:pt x="684043" y="2160000"/>
                  </a:lnTo>
                  <a:cubicBezTo>
                    <a:pt x="485217" y="2160000"/>
                    <a:pt x="324036" y="1998819"/>
                    <a:pt x="324036" y="1799993"/>
                  </a:cubicBezTo>
                  <a:lnTo>
                    <a:pt x="324036" y="360007"/>
                  </a:lnTo>
                  <a:cubicBezTo>
                    <a:pt x="324036" y="161181"/>
                    <a:pt x="485217" y="0"/>
                    <a:pt x="684043"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5" name="Rounded Rectangle 12">
              <a:extLst>
                <a:ext uri="{FF2B5EF4-FFF2-40B4-BE49-F238E27FC236}">
                  <a16:creationId xmlns:a16="http://schemas.microsoft.com/office/drawing/2014/main" id="{417DF8BB-9BF7-DD49-8F1A-B5ECA92A89D6}"/>
                </a:ext>
              </a:extLst>
            </p:cNvPr>
            <p:cNvSpPr>
              <a:spLocks noChangeAspect="1"/>
            </p:cNvSpPr>
            <p:nvPr/>
          </p:nvSpPr>
          <p:spPr>
            <a:xfrm>
              <a:off x="8658646" y="3950155"/>
              <a:ext cx="392723" cy="468000"/>
            </a:xfrm>
            <a:custGeom>
              <a:avLst/>
              <a:gdLst/>
              <a:ahLst/>
              <a:cxnLst/>
              <a:rect l="l" t="t" r="r" b="b"/>
              <a:pathLst>
                <a:path w="3312367" h="3947283">
                  <a:moveTo>
                    <a:pt x="2537615" y="3705909"/>
                  </a:moveTo>
                  <a:cubicBezTo>
                    <a:pt x="2512344" y="3705909"/>
                    <a:pt x="2491857" y="3726396"/>
                    <a:pt x="2491857" y="3751667"/>
                  </a:cubicBezTo>
                  <a:cubicBezTo>
                    <a:pt x="2491857" y="3776938"/>
                    <a:pt x="2512344" y="3797425"/>
                    <a:pt x="2537615" y="3797425"/>
                  </a:cubicBezTo>
                  <a:lnTo>
                    <a:pt x="2762175" y="3797425"/>
                  </a:lnTo>
                  <a:cubicBezTo>
                    <a:pt x="2787446" y="3797425"/>
                    <a:pt x="2807933" y="3776938"/>
                    <a:pt x="2807933" y="3751667"/>
                  </a:cubicBezTo>
                  <a:cubicBezTo>
                    <a:pt x="2807933" y="3726396"/>
                    <a:pt x="2787446" y="3705909"/>
                    <a:pt x="2762175" y="3705909"/>
                  </a:cubicBezTo>
                  <a:close/>
                  <a:moveTo>
                    <a:pt x="1141114" y="3408594"/>
                  </a:moveTo>
                  <a:cubicBezTo>
                    <a:pt x="1097903" y="3408594"/>
                    <a:pt x="1062874" y="3443623"/>
                    <a:pt x="1062874" y="3486834"/>
                  </a:cubicBezTo>
                  <a:cubicBezTo>
                    <a:pt x="1062874" y="3530045"/>
                    <a:pt x="1097903" y="3565073"/>
                    <a:pt x="1141114" y="3565073"/>
                  </a:cubicBezTo>
                  <a:lnTo>
                    <a:pt x="1525078" y="3565074"/>
                  </a:lnTo>
                  <a:cubicBezTo>
                    <a:pt x="1568289" y="3565074"/>
                    <a:pt x="1603318" y="3530045"/>
                    <a:pt x="1603318" y="3486834"/>
                  </a:cubicBezTo>
                  <a:lnTo>
                    <a:pt x="1603319" y="3486834"/>
                  </a:lnTo>
                  <a:cubicBezTo>
                    <a:pt x="1603319" y="3443623"/>
                    <a:pt x="1568290" y="3408594"/>
                    <a:pt x="1525079" y="3408594"/>
                  </a:cubicBezTo>
                  <a:close/>
                  <a:moveTo>
                    <a:pt x="2129393" y="1705414"/>
                  </a:moveTo>
                  <a:lnTo>
                    <a:pt x="2129393" y="3580170"/>
                  </a:lnTo>
                  <a:lnTo>
                    <a:pt x="3126216" y="3580170"/>
                  </a:lnTo>
                  <a:lnTo>
                    <a:pt x="3126216" y="1705414"/>
                  </a:lnTo>
                  <a:close/>
                  <a:moveTo>
                    <a:pt x="2481193" y="1533789"/>
                  </a:moveTo>
                  <a:cubicBezTo>
                    <a:pt x="2462682" y="1533789"/>
                    <a:pt x="2447676" y="1548795"/>
                    <a:pt x="2447676" y="1567306"/>
                  </a:cubicBezTo>
                  <a:lnTo>
                    <a:pt x="2447676" y="1572258"/>
                  </a:lnTo>
                  <a:cubicBezTo>
                    <a:pt x="2447676" y="1590769"/>
                    <a:pt x="2462682" y="1605775"/>
                    <a:pt x="2481193" y="1605775"/>
                  </a:cubicBezTo>
                  <a:lnTo>
                    <a:pt x="2774415" y="1605775"/>
                  </a:lnTo>
                  <a:cubicBezTo>
                    <a:pt x="2792926" y="1605775"/>
                    <a:pt x="2807932" y="1590769"/>
                    <a:pt x="2807932" y="1572258"/>
                  </a:cubicBezTo>
                  <a:lnTo>
                    <a:pt x="2807932" y="1567306"/>
                  </a:lnTo>
                  <a:cubicBezTo>
                    <a:pt x="2807932" y="1548795"/>
                    <a:pt x="2792926" y="1533789"/>
                    <a:pt x="2774415" y="1533789"/>
                  </a:cubicBezTo>
                  <a:close/>
                  <a:moveTo>
                    <a:pt x="2113478" y="1418392"/>
                  </a:moveTo>
                  <a:lnTo>
                    <a:pt x="3142130" y="1418392"/>
                  </a:lnTo>
                  <a:cubicBezTo>
                    <a:pt x="3236149" y="1418392"/>
                    <a:pt x="3312367" y="1494610"/>
                    <a:pt x="3312367" y="1588629"/>
                  </a:cubicBezTo>
                  <a:lnTo>
                    <a:pt x="3312367" y="3777046"/>
                  </a:lnTo>
                  <a:cubicBezTo>
                    <a:pt x="3312367" y="3871065"/>
                    <a:pt x="3236149" y="3947283"/>
                    <a:pt x="3142130" y="3947283"/>
                  </a:cubicBezTo>
                  <a:lnTo>
                    <a:pt x="2113478" y="3947283"/>
                  </a:lnTo>
                  <a:cubicBezTo>
                    <a:pt x="2019459" y="3947283"/>
                    <a:pt x="1943241" y="3871065"/>
                    <a:pt x="1943241" y="3777046"/>
                  </a:cubicBezTo>
                  <a:lnTo>
                    <a:pt x="1943241" y="1588629"/>
                  </a:lnTo>
                  <a:cubicBezTo>
                    <a:pt x="1943241" y="1494610"/>
                    <a:pt x="2019459" y="1418392"/>
                    <a:pt x="2113478" y="1418392"/>
                  </a:cubicBezTo>
                  <a:close/>
                  <a:moveTo>
                    <a:pt x="1006317" y="157391"/>
                  </a:moveTo>
                  <a:cubicBezTo>
                    <a:pt x="987806" y="157391"/>
                    <a:pt x="972800" y="172397"/>
                    <a:pt x="972800" y="190908"/>
                  </a:cubicBezTo>
                  <a:lnTo>
                    <a:pt x="972800" y="195860"/>
                  </a:lnTo>
                  <a:cubicBezTo>
                    <a:pt x="972800" y="214371"/>
                    <a:pt x="987806" y="229377"/>
                    <a:pt x="1006317" y="229377"/>
                  </a:cubicBezTo>
                  <a:lnTo>
                    <a:pt x="1659876" y="229377"/>
                  </a:lnTo>
                  <a:cubicBezTo>
                    <a:pt x="1678387" y="229377"/>
                    <a:pt x="1693393" y="214371"/>
                    <a:pt x="1693393" y="195860"/>
                  </a:cubicBezTo>
                  <a:lnTo>
                    <a:pt x="1693393" y="190908"/>
                  </a:lnTo>
                  <a:cubicBezTo>
                    <a:pt x="1693393" y="172397"/>
                    <a:pt x="1678387" y="157391"/>
                    <a:pt x="1659876" y="157391"/>
                  </a:cubicBezTo>
                  <a:close/>
                  <a:moveTo>
                    <a:pt x="264780" y="0"/>
                  </a:moveTo>
                  <a:lnTo>
                    <a:pt x="2401413" y="0"/>
                  </a:lnTo>
                  <a:cubicBezTo>
                    <a:pt x="2547647" y="0"/>
                    <a:pt x="2666193" y="118546"/>
                    <a:pt x="2666193" y="264780"/>
                  </a:cubicBezTo>
                  <a:lnTo>
                    <a:pt x="2666193" y="1345374"/>
                  </a:lnTo>
                  <a:lnTo>
                    <a:pt x="2369517" y="1345374"/>
                  </a:lnTo>
                  <a:lnTo>
                    <a:pt x="2369517" y="366783"/>
                  </a:lnTo>
                  <a:lnTo>
                    <a:pt x="296676" y="366783"/>
                  </a:lnTo>
                  <a:lnTo>
                    <a:pt x="296676" y="3219873"/>
                  </a:lnTo>
                  <a:lnTo>
                    <a:pt x="1867527" y="3219873"/>
                  </a:lnTo>
                  <a:lnTo>
                    <a:pt x="1867527" y="3778374"/>
                  </a:lnTo>
                  <a:lnTo>
                    <a:pt x="264780" y="3778374"/>
                  </a:lnTo>
                  <a:cubicBezTo>
                    <a:pt x="118546" y="3778374"/>
                    <a:pt x="0" y="3659828"/>
                    <a:pt x="0" y="3513594"/>
                  </a:cubicBezTo>
                  <a:lnTo>
                    <a:pt x="0" y="264780"/>
                  </a:lnTo>
                  <a:cubicBezTo>
                    <a:pt x="0" y="118546"/>
                    <a:pt x="118546" y="0"/>
                    <a:pt x="26478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6" name="TextBox 35">
              <a:extLst>
                <a:ext uri="{FF2B5EF4-FFF2-40B4-BE49-F238E27FC236}">
                  <a16:creationId xmlns:a16="http://schemas.microsoft.com/office/drawing/2014/main" id="{48CB0E7D-37BB-CD4B-A1FE-974E460C1759}"/>
                </a:ext>
              </a:extLst>
            </p:cNvPr>
            <p:cNvSpPr txBox="1"/>
            <p:nvPr/>
          </p:nvSpPr>
          <p:spPr>
            <a:xfrm>
              <a:off x="9248772" y="4030268"/>
              <a:ext cx="997308" cy="307777"/>
            </a:xfrm>
            <a:prstGeom prst="rect">
              <a:avLst/>
            </a:prstGeom>
            <a:noFill/>
          </p:spPr>
          <p:txBody>
            <a:bodyPr wrap="square" rtlCol="0">
              <a:spAutoFit/>
            </a:bodyPr>
            <a:lstStyle/>
            <a:p>
              <a:pPr algn="ctr"/>
              <a:r>
                <a:rPr lang="en-US" altLang="ko-KR" sz="1400" b="1">
                  <a:solidFill>
                    <a:schemeClr val="accent2"/>
                  </a:solidFill>
                  <a:cs typeface="Arial" pitchFamily="34" charset="0"/>
                </a:rPr>
                <a:t>Content</a:t>
              </a:r>
              <a:endParaRPr lang="ko-KR" altLang="en-US" sz="1400" b="1">
                <a:solidFill>
                  <a:schemeClr val="accent2"/>
                </a:solidFill>
                <a:cs typeface="Arial" pitchFamily="34" charset="0"/>
              </a:endParaRPr>
            </a:p>
          </p:txBody>
        </p:sp>
        <p:sp>
          <p:nvSpPr>
            <p:cNvPr id="37" name="TextBox 36">
              <a:extLst>
                <a:ext uri="{FF2B5EF4-FFF2-40B4-BE49-F238E27FC236}">
                  <a16:creationId xmlns:a16="http://schemas.microsoft.com/office/drawing/2014/main" id="{90FD3157-D0DB-BD4E-830F-AA48D7C78598}"/>
                </a:ext>
              </a:extLst>
            </p:cNvPr>
            <p:cNvSpPr txBox="1"/>
            <p:nvPr/>
          </p:nvSpPr>
          <p:spPr>
            <a:xfrm>
              <a:off x="9248772" y="2871930"/>
              <a:ext cx="997308" cy="307777"/>
            </a:xfrm>
            <a:prstGeom prst="rect">
              <a:avLst/>
            </a:prstGeom>
            <a:noFill/>
          </p:spPr>
          <p:txBody>
            <a:bodyPr wrap="square" rtlCol="0">
              <a:spAutoFit/>
            </a:bodyPr>
            <a:lstStyle/>
            <a:p>
              <a:pPr algn="ctr"/>
              <a:r>
                <a:rPr lang="en-US" altLang="ko-KR" sz="1400" b="1">
                  <a:solidFill>
                    <a:schemeClr val="accent4"/>
                  </a:solidFill>
                  <a:cs typeface="Arial" pitchFamily="34" charset="0"/>
                </a:rPr>
                <a:t>Content</a:t>
              </a:r>
              <a:endParaRPr lang="ko-KR" altLang="en-US" sz="1400" b="1">
                <a:solidFill>
                  <a:schemeClr val="accent4"/>
                </a:solidFill>
                <a:cs typeface="Arial" pitchFamily="34" charset="0"/>
              </a:endParaRPr>
            </a:p>
          </p:txBody>
        </p:sp>
      </p:grpSp>
    </p:spTree>
    <p:extLst>
      <p:ext uri="{BB962C8B-B14F-4D97-AF65-F5344CB8AC3E}">
        <p14:creationId xmlns:p14="http://schemas.microsoft.com/office/powerpoint/2010/main" val="170521324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8DC31B-D453-2542-8493-1C1450E3707A}"/>
              </a:ext>
            </a:extLst>
          </p:cNvPr>
          <p:cNvSpPr>
            <a:spLocks noGrp="1"/>
          </p:cNvSpPr>
          <p:nvPr>
            <p:ph type="sldNum" sz="quarter" idx="4"/>
          </p:nvPr>
        </p:nvSpPr>
        <p:spPr/>
        <p:txBody>
          <a:bodyPr/>
          <a:lstStyle/>
          <a:p>
            <a:fld id="{3D966009-6E5A-4F8C-8CA7-E37AFBF5FB92}" type="slidenum">
              <a:rPr lang="en-US" smtClean="0"/>
              <a:t>101</a:t>
            </a:fld>
            <a:endParaRPr lang="en-US"/>
          </a:p>
        </p:txBody>
      </p:sp>
      <p:sp>
        <p:nvSpPr>
          <p:cNvPr id="3" name="Title 2">
            <a:extLst>
              <a:ext uri="{FF2B5EF4-FFF2-40B4-BE49-F238E27FC236}">
                <a16:creationId xmlns:a16="http://schemas.microsoft.com/office/drawing/2014/main" id="{A8D3DFC9-B4BD-9B45-BE30-0DF722D2B17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991F59CB-D4CC-D846-A195-10BFF0E2648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FD9D0CA6-FEB4-704C-ABE4-FD18F187351C}"/>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936260BB-9805-0E4F-8313-A18D91CB6781}"/>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B6DE805-4DCA-7848-9974-29D14E3E1A4F}"/>
              </a:ext>
            </a:extLst>
          </p:cNvPr>
          <p:cNvSpPr>
            <a:spLocks noGrp="1"/>
          </p:cNvSpPr>
          <p:nvPr>
            <p:ph sz="quarter" idx="14"/>
          </p:nvPr>
        </p:nvSpPr>
        <p:spPr/>
        <p:txBody>
          <a:bodyPr/>
          <a:lstStyle/>
          <a:p>
            <a:endParaRPr lang="en-GB"/>
          </a:p>
        </p:txBody>
      </p:sp>
      <p:sp>
        <p:nvSpPr>
          <p:cNvPr id="9" name="Rectangle 8">
            <a:extLst>
              <a:ext uri="{FF2B5EF4-FFF2-40B4-BE49-F238E27FC236}">
                <a16:creationId xmlns:a16="http://schemas.microsoft.com/office/drawing/2014/main" id="{83B5BB53-52D8-A44B-A001-6A751F159E4E}"/>
              </a:ext>
            </a:extLst>
          </p:cNvPr>
          <p:cNvSpPr/>
          <p:nvPr/>
        </p:nvSpPr>
        <p:spPr>
          <a:xfrm rot="16200000" flipH="1">
            <a:off x="1743089" y="2560241"/>
            <a:ext cx="653827" cy="4140000"/>
          </a:xfrm>
          <a:prstGeom prst="rect">
            <a:avLst/>
          </a:prstGeom>
          <a:gradFill>
            <a:gsLst>
              <a:gs pos="0">
                <a:schemeClr val="accent2">
                  <a:lumMod val="80000"/>
                </a:schemeClr>
              </a:gs>
              <a:gs pos="100000">
                <a:schemeClr val="accent2">
                  <a:lumMod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0" name="Rectangle 9">
            <a:extLst>
              <a:ext uri="{FF2B5EF4-FFF2-40B4-BE49-F238E27FC236}">
                <a16:creationId xmlns:a16="http://schemas.microsoft.com/office/drawing/2014/main" id="{38D682D1-958C-FA49-AD0E-5AC9BB1130DB}"/>
              </a:ext>
            </a:extLst>
          </p:cNvPr>
          <p:cNvSpPr/>
          <p:nvPr/>
        </p:nvSpPr>
        <p:spPr>
          <a:xfrm flipH="1">
            <a:off x="4643573" y="3758382"/>
            <a:ext cx="864000" cy="864000"/>
          </a:xfrm>
          <a:prstGeom prst="rect">
            <a:avLst/>
          </a:prstGeom>
          <a:gradFill flip="none" rotWithShape="1">
            <a:gsLst>
              <a:gs pos="0">
                <a:schemeClr val="accent2">
                  <a:lumMod val="90000"/>
                  <a:lumOff val="10000"/>
                </a:schemeClr>
              </a:gs>
              <a:gs pos="6800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1" name="Rectangle 10">
            <a:extLst>
              <a:ext uri="{FF2B5EF4-FFF2-40B4-BE49-F238E27FC236}">
                <a16:creationId xmlns:a16="http://schemas.microsoft.com/office/drawing/2014/main" id="{97DEC28B-6301-354C-A56C-07B531B23BBB}"/>
              </a:ext>
            </a:extLst>
          </p:cNvPr>
          <p:cNvSpPr/>
          <p:nvPr/>
        </p:nvSpPr>
        <p:spPr>
          <a:xfrm rot="16200000" flipH="1">
            <a:off x="1746002" y="822632"/>
            <a:ext cx="648000" cy="4140000"/>
          </a:xfrm>
          <a:prstGeom prst="rect">
            <a:avLst/>
          </a:prstGeom>
          <a:gradFill>
            <a:gsLst>
              <a:gs pos="0">
                <a:schemeClr val="accent1">
                  <a:lumMod val="80000"/>
                </a:schemeClr>
              </a:gs>
              <a:gs pos="68000">
                <a:schemeClr val="accent1">
                  <a:lumMod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2" name="Rectangle 15">
            <a:extLst>
              <a:ext uri="{FF2B5EF4-FFF2-40B4-BE49-F238E27FC236}">
                <a16:creationId xmlns:a16="http://schemas.microsoft.com/office/drawing/2014/main" id="{FCD4C727-4104-A14D-B447-EDABB8B94A58}"/>
              </a:ext>
            </a:extLst>
          </p:cNvPr>
          <p:cNvSpPr/>
          <p:nvPr/>
        </p:nvSpPr>
        <p:spPr>
          <a:xfrm rot="16200000" flipH="1">
            <a:off x="3791916" y="2913859"/>
            <a:ext cx="1200258" cy="504083"/>
          </a:xfrm>
          <a:custGeom>
            <a:avLst/>
            <a:gdLst>
              <a:gd name="connsiteX0" fmla="*/ 0 w 792088"/>
              <a:gd name="connsiteY0" fmla="*/ 0 h 163995"/>
              <a:gd name="connsiteX1" fmla="*/ 792088 w 792088"/>
              <a:gd name="connsiteY1" fmla="*/ 0 h 163995"/>
              <a:gd name="connsiteX2" fmla="*/ 792088 w 792088"/>
              <a:gd name="connsiteY2" fmla="*/ 163995 h 163995"/>
              <a:gd name="connsiteX3" fmla="*/ 0 w 792088"/>
              <a:gd name="connsiteY3" fmla="*/ 163995 h 163995"/>
              <a:gd name="connsiteX4" fmla="*/ 0 w 792088"/>
              <a:gd name="connsiteY4" fmla="*/ 0 h 163995"/>
              <a:gd name="connsiteX0" fmla="*/ 115410 w 792088"/>
              <a:gd name="connsiteY0" fmla="*/ 0 h 323793"/>
              <a:gd name="connsiteX1" fmla="*/ 792088 w 792088"/>
              <a:gd name="connsiteY1" fmla="*/ 159798 h 323793"/>
              <a:gd name="connsiteX2" fmla="*/ 792088 w 792088"/>
              <a:gd name="connsiteY2" fmla="*/ 323793 h 323793"/>
              <a:gd name="connsiteX3" fmla="*/ 0 w 792088"/>
              <a:gd name="connsiteY3" fmla="*/ 323793 h 323793"/>
              <a:gd name="connsiteX4" fmla="*/ 115410 w 792088"/>
              <a:gd name="connsiteY4" fmla="*/ 0 h 323793"/>
              <a:gd name="connsiteX0" fmla="*/ 115410 w 797373"/>
              <a:gd name="connsiteY0" fmla="*/ 4054 h 327847"/>
              <a:gd name="connsiteX1" fmla="*/ 797373 w 797373"/>
              <a:gd name="connsiteY1" fmla="*/ 0 h 327847"/>
              <a:gd name="connsiteX2" fmla="*/ 792088 w 797373"/>
              <a:gd name="connsiteY2" fmla="*/ 327847 h 327847"/>
              <a:gd name="connsiteX3" fmla="*/ 0 w 797373"/>
              <a:gd name="connsiteY3" fmla="*/ 327847 h 327847"/>
              <a:gd name="connsiteX4" fmla="*/ 115410 w 797373"/>
              <a:gd name="connsiteY4" fmla="*/ 4054 h 327847"/>
              <a:gd name="connsiteX0" fmla="*/ 115410 w 797373"/>
              <a:gd name="connsiteY0" fmla="*/ 0 h 323793"/>
              <a:gd name="connsiteX1" fmla="*/ 797373 w 797373"/>
              <a:gd name="connsiteY1" fmla="*/ 1231 h 323793"/>
              <a:gd name="connsiteX2" fmla="*/ 792088 w 797373"/>
              <a:gd name="connsiteY2" fmla="*/ 323793 h 323793"/>
              <a:gd name="connsiteX3" fmla="*/ 0 w 797373"/>
              <a:gd name="connsiteY3" fmla="*/ 323793 h 323793"/>
              <a:gd name="connsiteX4" fmla="*/ 115410 w 797373"/>
              <a:gd name="connsiteY4" fmla="*/ 0 h 323793"/>
              <a:gd name="connsiteX0" fmla="*/ 115410 w 797373"/>
              <a:gd name="connsiteY0" fmla="*/ 9340 h 333133"/>
              <a:gd name="connsiteX1" fmla="*/ 797373 w 797373"/>
              <a:gd name="connsiteY1" fmla="*/ 0 h 333133"/>
              <a:gd name="connsiteX2" fmla="*/ 792088 w 797373"/>
              <a:gd name="connsiteY2" fmla="*/ 333133 h 333133"/>
              <a:gd name="connsiteX3" fmla="*/ 0 w 797373"/>
              <a:gd name="connsiteY3" fmla="*/ 333133 h 333133"/>
              <a:gd name="connsiteX4" fmla="*/ 115410 w 797373"/>
              <a:gd name="connsiteY4" fmla="*/ 9340 h 333133"/>
              <a:gd name="connsiteX0" fmla="*/ 115410 w 813229"/>
              <a:gd name="connsiteY0" fmla="*/ 9340 h 333133"/>
              <a:gd name="connsiteX1" fmla="*/ 813229 w 813229"/>
              <a:gd name="connsiteY1" fmla="*/ 0 h 333133"/>
              <a:gd name="connsiteX2" fmla="*/ 792088 w 813229"/>
              <a:gd name="connsiteY2" fmla="*/ 333133 h 333133"/>
              <a:gd name="connsiteX3" fmla="*/ 0 w 813229"/>
              <a:gd name="connsiteY3" fmla="*/ 333133 h 333133"/>
              <a:gd name="connsiteX4" fmla="*/ 115410 w 813229"/>
              <a:gd name="connsiteY4" fmla="*/ 9340 h 333133"/>
              <a:gd name="connsiteX0" fmla="*/ 569967 w 1267786"/>
              <a:gd name="connsiteY0" fmla="*/ 9340 h 370132"/>
              <a:gd name="connsiteX1" fmla="*/ 1267786 w 1267786"/>
              <a:gd name="connsiteY1" fmla="*/ 0 h 370132"/>
              <a:gd name="connsiteX2" fmla="*/ 1246645 w 1267786"/>
              <a:gd name="connsiteY2" fmla="*/ 333133 h 370132"/>
              <a:gd name="connsiteX3" fmla="*/ 0 w 1267786"/>
              <a:gd name="connsiteY3" fmla="*/ 370132 h 370132"/>
              <a:gd name="connsiteX4" fmla="*/ 569967 w 1267786"/>
              <a:gd name="connsiteY4" fmla="*/ 9340 h 370132"/>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70132"/>
              <a:gd name="connsiteX1" fmla="*/ 1267786 w 1267786"/>
              <a:gd name="connsiteY1" fmla="*/ 0 h 370132"/>
              <a:gd name="connsiteX2" fmla="*/ 1164342 w 1267786"/>
              <a:gd name="connsiteY2" fmla="*/ 351014 h 370132"/>
              <a:gd name="connsiteX3" fmla="*/ 0 w 1267786"/>
              <a:gd name="connsiteY3" fmla="*/ 370132 h 370132"/>
              <a:gd name="connsiteX4" fmla="*/ 569967 w 1267786"/>
              <a:gd name="connsiteY4" fmla="*/ 9340 h 370132"/>
              <a:gd name="connsiteX0" fmla="*/ 332460 w 1030279"/>
              <a:gd name="connsiteY0" fmla="*/ 9340 h 370132"/>
              <a:gd name="connsiteX1" fmla="*/ 1030279 w 1030279"/>
              <a:gd name="connsiteY1" fmla="*/ 0 h 370132"/>
              <a:gd name="connsiteX2" fmla="*/ 926835 w 1030279"/>
              <a:gd name="connsiteY2" fmla="*/ 351014 h 370132"/>
              <a:gd name="connsiteX3" fmla="*/ 0 w 1030279"/>
              <a:gd name="connsiteY3" fmla="*/ 370132 h 370132"/>
              <a:gd name="connsiteX4" fmla="*/ 332460 w 1030279"/>
              <a:gd name="connsiteY4" fmla="*/ 9340 h 370132"/>
              <a:gd name="connsiteX0" fmla="*/ 350273 w 1048092"/>
              <a:gd name="connsiteY0" fmla="*/ 9340 h 358256"/>
              <a:gd name="connsiteX1" fmla="*/ 1048092 w 1048092"/>
              <a:gd name="connsiteY1" fmla="*/ 0 h 358256"/>
              <a:gd name="connsiteX2" fmla="*/ 944648 w 1048092"/>
              <a:gd name="connsiteY2" fmla="*/ 351014 h 358256"/>
              <a:gd name="connsiteX3" fmla="*/ 0 w 1048092"/>
              <a:gd name="connsiteY3" fmla="*/ 358256 h 358256"/>
              <a:gd name="connsiteX4" fmla="*/ 350273 w 1048092"/>
              <a:gd name="connsiteY4" fmla="*/ 9340 h 358256"/>
              <a:gd name="connsiteX0" fmla="*/ 344336 w 1048092"/>
              <a:gd name="connsiteY0" fmla="*/ 0 h 360791"/>
              <a:gd name="connsiteX1" fmla="*/ 1048092 w 1048092"/>
              <a:gd name="connsiteY1" fmla="*/ 2535 h 360791"/>
              <a:gd name="connsiteX2" fmla="*/ 944648 w 1048092"/>
              <a:gd name="connsiteY2" fmla="*/ 353549 h 360791"/>
              <a:gd name="connsiteX3" fmla="*/ 0 w 1048092"/>
              <a:gd name="connsiteY3" fmla="*/ 360791 h 360791"/>
              <a:gd name="connsiteX4" fmla="*/ 344336 w 1048092"/>
              <a:gd name="connsiteY4" fmla="*/ 0 h 360791"/>
              <a:gd name="connsiteX0" fmla="*/ 344336 w 1059967"/>
              <a:gd name="connsiteY0" fmla="*/ 0 h 360791"/>
              <a:gd name="connsiteX1" fmla="*/ 1059967 w 1059967"/>
              <a:gd name="connsiteY1" fmla="*/ 8472 h 360791"/>
              <a:gd name="connsiteX2" fmla="*/ 944648 w 1059967"/>
              <a:gd name="connsiteY2" fmla="*/ 353549 h 360791"/>
              <a:gd name="connsiteX3" fmla="*/ 0 w 1059967"/>
              <a:gd name="connsiteY3" fmla="*/ 360791 h 360791"/>
              <a:gd name="connsiteX4" fmla="*/ 344336 w 1059967"/>
              <a:gd name="connsiteY4" fmla="*/ 0 h 360791"/>
              <a:gd name="connsiteX0" fmla="*/ 344336 w 1065905"/>
              <a:gd name="connsiteY0" fmla="*/ 15278 h 376069"/>
              <a:gd name="connsiteX1" fmla="*/ 1065905 w 1065905"/>
              <a:gd name="connsiteY1" fmla="*/ 0 h 376069"/>
              <a:gd name="connsiteX2" fmla="*/ 944648 w 1065905"/>
              <a:gd name="connsiteY2" fmla="*/ 368827 h 376069"/>
              <a:gd name="connsiteX3" fmla="*/ 0 w 1065905"/>
              <a:gd name="connsiteY3" fmla="*/ 376069 h 376069"/>
              <a:gd name="connsiteX4" fmla="*/ 344336 w 1065905"/>
              <a:gd name="connsiteY4" fmla="*/ 15278 h 376069"/>
              <a:gd name="connsiteX0" fmla="*/ 356211 w 1065905"/>
              <a:gd name="connsiteY0" fmla="*/ 3403 h 376069"/>
              <a:gd name="connsiteX1" fmla="*/ 1065905 w 1065905"/>
              <a:gd name="connsiteY1" fmla="*/ 0 h 376069"/>
              <a:gd name="connsiteX2" fmla="*/ 944648 w 1065905"/>
              <a:gd name="connsiteY2" fmla="*/ 368827 h 376069"/>
              <a:gd name="connsiteX3" fmla="*/ 0 w 1065905"/>
              <a:gd name="connsiteY3" fmla="*/ 376069 h 376069"/>
              <a:gd name="connsiteX4" fmla="*/ 356211 w 1065905"/>
              <a:gd name="connsiteY4" fmla="*/ 3403 h 376069"/>
              <a:gd name="connsiteX0" fmla="*/ 356211 w 1170279"/>
              <a:gd name="connsiteY0" fmla="*/ 3403 h 380703"/>
              <a:gd name="connsiteX1" fmla="*/ 1065905 w 1170279"/>
              <a:gd name="connsiteY1" fmla="*/ 0 h 380703"/>
              <a:gd name="connsiteX2" fmla="*/ 1170279 w 1170279"/>
              <a:gd name="connsiteY2" fmla="*/ 380703 h 380703"/>
              <a:gd name="connsiteX3" fmla="*/ 0 w 1170279"/>
              <a:gd name="connsiteY3" fmla="*/ 376069 h 380703"/>
              <a:gd name="connsiteX4" fmla="*/ 356211 w 1170279"/>
              <a:gd name="connsiteY4" fmla="*/ 3403 h 380703"/>
              <a:gd name="connsiteX0" fmla="*/ 100891 w 914959"/>
              <a:gd name="connsiteY0" fmla="*/ 3403 h 382007"/>
              <a:gd name="connsiteX1" fmla="*/ 810585 w 914959"/>
              <a:gd name="connsiteY1" fmla="*/ 0 h 382007"/>
              <a:gd name="connsiteX2" fmla="*/ 914959 w 914959"/>
              <a:gd name="connsiteY2" fmla="*/ 380703 h 382007"/>
              <a:gd name="connsiteX3" fmla="*/ 0 w 914959"/>
              <a:gd name="connsiteY3" fmla="*/ 382007 h 382007"/>
              <a:gd name="connsiteX4" fmla="*/ 100891 w 914959"/>
              <a:gd name="connsiteY4" fmla="*/ 3403 h 382007"/>
              <a:gd name="connsiteX0" fmla="*/ 112766 w 914959"/>
              <a:gd name="connsiteY0" fmla="*/ 0 h 384541"/>
              <a:gd name="connsiteX1" fmla="*/ 810585 w 914959"/>
              <a:gd name="connsiteY1" fmla="*/ 2534 h 384541"/>
              <a:gd name="connsiteX2" fmla="*/ 914959 w 914959"/>
              <a:gd name="connsiteY2" fmla="*/ 383237 h 384541"/>
              <a:gd name="connsiteX3" fmla="*/ 0 w 914959"/>
              <a:gd name="connsiteY3" fmla="*/ 384541 h 384541"/>
              <a:gd name="connsiteX4" fmla="*/ 112766 w 914959"/>
              <a:gd name="connsiteY4" fmla="*/ 0 h 384541"/>
              <a:gd name="connsiteX0" fmla="*/ 112766 w 1146528"/>
              <a:gd name="connsiteY0" fmla="*/ 0 h 384541"/>
              <a:gd name="connsiteX1" fmla="*/ 810585 w 1146528"/>
              <a:gd name="connsiteY1" fmla="*/ 2534 h 384541"/>
              <a:gd name="connsiteX2" fmla="*/ 1146528 w 1146528"/>
              <a:gd name="connsiteY2" fmla="*/ 371362 h 384541"/>
              <a:gd name="connsiteX3" fmla="*/ 0 w 1146528"/>
              <a:gd name="connsiteY3" fmla="*/ 384541 h 384541"/>
              <a:gd name="connsiteX4" fmla="*/ 112766 w 1146528"/>
              <a:gd name="connsiteY4" fmla="*/ 0 h 384541"/>
              <a:gd name="connsiteX0" fmla="*/ 0 w 1033762"/>
              <a:gd name="connsiteY0" fmla="*/ 0 h 372666"/>
              <a:gd name="connsiteX1" fmla="*/ 697819 w 1033762"/>
              <a:gd name="connsiteY1" fmla="*/ 2534 h 372666"/>
              <a:gd name="connsiteX2" fmla="*/ 1033762 w 1033762"/>
              <a:gd name="connsiteY2" fmla="*/ 371362 h 372666"/>
              <a:gd name="connsiteX3" fmla="*/ 106928 w 1033762"/>
              <a:gd name="connsiteY3" fmla="*/ 372666 h 372666"/>
              <a:gd name="connsiteX4" fmla="*/ 0 w 1033762"/>
              <a:gd name="connsiteY4" fmla="*/ 0 h 372666"/>
              <a:gd name="connsiteX0" fmla="*/ 0 w 1033762"/>
              <a:gd name="connsiteY0" fmla="*/ 0 h 371362"/>
              <a:gd name="connsiteX1" fmla="*/ 697819 w 1033762"/>
              <a:gd name="connsiteY1" fmla="*/ 2534 h 371362"/>
              <a:gd name="connsiteX2" fmla="*/ 1033762 w 1033762"/>
              <a:gd name="connsiteY2" fmla="*/ 371362 h 371362"/>
              <a:gd name="connsiteX3" fmla="*/ 166304 w 1033762"/>
              <a:gd name="connsiteY3" fmla="*/ 366729 h 371362"/>
              <a:gd name="connsiteX4" fmla="*/ 0 w 1033762"/>
              <a:gd name="connsiteY4" fmla="*/ 0 h 371362"/>
              <a:gd name="connsiteX0" fmla="*/ 0 w 1033762"/>
              <a:gd name="connsiteY0" fmla="*/ 0 h 371362"/>
              <a:gd name="connsiteX1" fmla="*/ 697819 w 1033762"/>
              <a:gd name="connsiteY1" fmla="*/ 2534 h 371362"/>
              <a:gd name="connsiteX2" fmla="*/ 1033762 w 1033762"/>
              <a:gd name="connsiteY2" fmla="*/ 371362 h 371362"/>
              <a:gd name="connsiteX3" fmla="*/ 100990 w 1033762"/>
              <a:gd name="connsiteY3" fmla="*/ 366729 h 371362"/>
              <a:gd name="connsiteX4" fmla="*/ 0 w 1033762"/>
              <a:gd name="connsiteY4" fmla="*/ 0 h 371362"/>
              <a:gd name="connsiteX0" fmla="*/ 0 w 1259394"/>
              <a:gd name="connsiteY0" fmla="*/ 0 h 366729"/>
              <a:gd name="connsiteX1" fmla="*/ 697819 w 1259394"/>
              <a:gd name="connsiteY1" fmla="*/ 2534 h 366729"/>
              <a:gd name="connsiteX2" fmla="*/ 1259394 w 1259394"/>
              <a:gd name="connsiteY2" fmla="*/ 365424 h 366729"/>
              <a:gd name="connsiteX3" fmla="*/ 100990 w 1259394"/>
              <a:gd name="connsiteY3" fmla="*/ 366729 h 366729"/>
              <a:gd name="connsiteX4" fmla="*/ 0 w 1259394"/>
              <a:gd name="connsiteY4" fmla="*/ 0 h 366729"/>
              <a:gd name="connsiteX0" fmla="*/ 0 w 1259394"/>
              <a:gd name="connsiteY0" fmla="*/ 0 h 372666"/>
              <a:gd name="connsiteX1" fmla="*/ 697819 w 1259394"/>
              <a:gd name="connsiteY1" fmla="*/ 2534 h 372666"/>
              <a:gd name="connsiteX2" fmla="*/ 1259394 w 1259394"/>
              <a:gd name="connsiteY2" fmla="*/ 365424 h 372666"/>
              <a:gd name="connsiteX3" fmla="*/ 350372 w 1259394"/>
              <a:gd name="connsiteY3" fmla="*/ 372666 h 372666"/>
              <a:gd name="connsiteX4" fmla="*/ 0 w 1259394"/>
              <a:gd name="connsiteY4" fmla="*/ 0 h 372666"/>
              <a:gd name="connsiteX0" fmla="*/ 0 w 1265668"/>
              <a:gd name="connsiteY0" fmla="*/ 0 h 372666"/>
              <a:gd name="connsiteX1" fmla="*/ 697819 w 1265668"/>
              <a:gd name="connsiteY1" fmla="*/ 2534 h 372666"/>
              <a:gd name="connsiteX2" fmla="*/ 1265668 w 1265668"/>
              <a:gd name="connsiteY2" fmla="*/ 367613 h 372666"/>
              <a:gd name="connsiteX3" fmla="*/ 350372 w 1265668"/>
              <a:gd name="connsiteY3" fmla="*/ 372666 h 372666"/>
              <a:gd name="connsiteX4" fmla="*/ 0 w 1265668"/>
              <a:gd name="connsiteY4" fmla="*/ 0 h 372666"/>
              <a:gd name="connsiteX0" fmla="*/ 0 w 1265668"/>
              <a:gd name="connsiteY0" fmla="*/ 0 h 367613"/>
              <a:gd name="connsiteX1" fmla="*/ 697819 w 1265668"/>
              <a:gd name="connsiteY1" fmla="*/ 2534 h 367613"/>
              <a:gd name="connsiteX2" fmla="*/ 1265668 w 1265668"/>
              <a:gd name="connsiteY2" fmla="*/ 367613 h 367613"/>
              <a:gd name="connsiteX3" fmla="*/ 353510 w 1265668"/>
              <a:gd name="connsiteY3" fmla="*/ 366101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3510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3913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0373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70477"/>
              <a:gd name="connsiteX1" fmla="*/ 697819 w 1265668"/>
              <a:gd name="connsiteY1" fmla="*/ 2534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7821 w 1265668"/>
              <a:gd name="connsiteY1" fmla="*/ 2536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1598 w 1265668"/>
              <a:gd name="connsiteY1" fmla="*/ 2538 h 370477"/>
              <a:gd name="connsiteX2" fmla="*/ 1265668 w 1265668"/>
              <a:gd name="connsiteY2" fmla="*/ 367613 h 370477"/>
              <a:gd name="connsiteX3" fmla="*/ 350373 w 1265668"/>
              <a:gd name="connsiteY3" fmla="*/ 370477 h 370477"/>
              <a:gd name="connsiteX4" fmla="*/ 0 w 1265668"/>
              <a:gd name="connsiteY4" fmla="*/ 0 h 370477"/>
              <a:gd name="connsiteX0" fmla="*/ 0 w 1265665"/>
              <a:gd name="connsiteY0" fmla="*/ 0 h 370475"/>
              <a:gd name="connsiteX1" fmla="*/ 691595 w 1265665"/>
              <a:gd name="connsiteY1" fmla="*/ 2536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4 w 1265665"/>
              <a:gd name="connsiteY1" fmla="*/ 2538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7 w 1265665"/>
              <a:gd name="connsiteY1" fmla="*/ 378 h 370475"/>
              <a:gd name="connsiteX2" fmla="*/ 1265665 w 1265665"/>
              <a:gd name="connsiteY2" fmla="*/ 367611 h 370475"/>
              <a:gd name="connsiteX3" fmla="*/ 350370 w 1265665"/>
              <a:gd name="connsiteY3" fmla="*/ 370475 h 370475"/>
              <a:gd name="connsiteX4" fmla="*/ 0 w 1265665"/>
              <a:gd name="connsiteY4" fmla="*/ 0 h 370475"/>
              <a:gd name="connsiteX0" fmla="*/ 0 w 1262550"/>
              <a:gd name="connsiteY0" fmla="*/ 0 h 370473"/>
              <a:gd name="connsiteX1" fmla="*/ 685372 w 1262550"/>
              <a:gd name="connsiteY1" fmla="*/ 376 h 370473"/>
              <a:gd name="connsiteX2" fmla="*/ 1262550 w 1262550"/>
              <a:gd name="connsiteY2" fmla="*/ 367609 h 370473"/>
              <a:gd name="connsiteX3" fmla="*/ 347255 w 1262550"/>
              <a:gd name="connsiteY3" fmla="*/ 370473 h 370473"/>
              <a:gd name="connsiteX4" fmla="*/ 0 w 1262550"/>
              <a:gd name="connsiteY4" fmla="*/ 0 h 370473"/>
              <a:gd name="connsiteX0" fmla="*/ 0 w 1262550"/>
              <a:gd name="connsiteY0" fmla="*/ 0 h 368311"/>
              <a:gd name="connsiteX1" fmla="*/ 685372 w 1262550"/>
              <a:gd name="connsiteY1" fmla="*/ 376 h 368311"/>
              <a:gd name="connsiteX2" fmla="*/ 1262550 w 1262550"/>
              <a:gd name="connsiteY2" fmla="*/ 367609 h 368311"/>
              <a:gd name="connsiteX3" fmla="*/ 353484 w 1262550"/>
              <a:gd name="connsiteY3" fmla="*/ 368311 h 368311"/>
              <a:gd name="connsiteX4" fmla="*/ 0 w 1262550"/>
              <a:gd name="connsiteY4" fmla="*/ 0 h 36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550" h="368311">
                <a:moveTo>
                  <a:pt x="0" y="0"/>
                </a:moveTo>
                <a:lnTo>
                  <a:pt x="685372" y="376"/>
                </a:lnTo>
                <a:lnTo>
                  <a:pt x="1262550" y="367609"/>
                </a:lnTo>
                <a:lnTo>
                  <a:pt x="353484" y="368311"/>
                </a:lnTo>
                <a:lnTo>
                  <a:pt x="0" y="0"/>
                </a:lnTo>
                <a:close/>
              </a:path>
            </a:pathLst>
          </a:custGeom>
          <a:gradFill flip="none" rotWithShape="1">
            <a:gsLst>
              <a:gs pos="0">
                <a:schemeClr val="accent1">
                  <a:lumMod val="95000"/>
                  <a:lumOff val="5000"/>
                </a:schemeClr>
              </a:gs>
              <a:gs pos="68000">
                <a:schemeClr val="accent1">
                  <a:lumMod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3" name="Rectangle 12">
            <a:extLst>
              <a:ext uri="{FF2B5EF4-FFF2-40B4-BE49-F238E27FC236}">
                <a16:creationId xmlns:a16="http://schemas.microsoft.com/office/drawing/2014/main" id="{B955D7CC-46E9-CC4D-B37E-E89B4875173A}"/>
              </a:ext>
            </a:extLst>
          </p:cNvPr>
          <p:cNvSpPr/>
          <p:nvPr/>
        </p:nvSpPr>
        <p:spPr>
          <a:xfrm flipH="1">
            <a:off x="4643573" y="2902026"/>
            <a:ext cx="864000" cy="864000"/>
          </a:xfrm>
          <a:prstGeom prst="rect">
            <a:avLst/>
          </a:prstGeom>
          <a:gradFill>
            <a:gsLst>
              <a:gs pos="0">
                <a:schemeClr val="accent1">
                  <a:lumMod val="90000"/>
                  <a:lumOff val="10000"/>
                </a:schemeClr>
              </a:gs>
              <a:gs pos="68000">
                <a:schemeClr val="accent1">
                  <a:lumMod val="90000"/>
                  <a:lumOff val="10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4" name="Rectangle 13">
            <a:extLst>
              <a:ext uri="{FF2B5EF4-FFF2-40B4-BE49-F238E27FC236}">
                <a16:creationId xmlns:a16="http://schemas.microsoft.com/office/drawing/2014/main" id="{A5204A88-DD76-D74B-968F-7039A269380D}"/>
              </a:ext>
            </a:extLst>
          </p:cNvPr>
          <p:cNvSpPr/>
          <p:nvPr/>
        </p:nvSpPr>
        <p:spPr>
          <a:xfrm rot="5400000">
            <a:off x="9798000" y="2563155"/>
            <a:ext cx="648000" cy="4140000"/>
          </a:xfrm>
          <a:prstGeom prst="rect">
            <a:avLst/>
          </a:prstGeom>
          <a:gradFill flip="none" rotWithShape="1">
            <a:gsLst>
              <a:gs pos="0">
                <a:schemeClr val="accent3">
                  <a:lumMod val="80000"/>
                </a:schemeClr>
              </a:gs>
              <a:gs pos="68000">
                <a:schemeClr val="accent3">
                  <a:lumMod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5" name="Rectangle 14">
            <a:extLst>
              <a:ext uri="{FF2B5EF4-FFF2-40B4-BE49-F238E27FC236}">
                <a16:creationId xmlns:a16="http://schemas.microsoft.com/office/drawing/2014/main" id="{5E4D6456-E078-724C-BE5F-26C3CE919AA2}"/>
              </a:ext>
            </a:extLst>
          </p:cNvPr>
          <p:cNvSpPr/>
          <p:nvPr/>
        </p:nvSpPr>
        <p:spPr>
          <a:xfrm>
            <a:off x="6684522" y="3758382"/>
            <a:ext cx="864000" cy="864000"/>
          </a:xfrm>
          <a:prstGeom prst="rect">
            <a:avLst/>
          </a:prstGeom>
          <a:gradFill flip="none" rotWithShape="1">
            <a:gsLst>
              <a:gs pos="0">
                <a:schemeClr val="accent3">
                  <a:lumMod val="90000"/>
                  <a:lumOff val="10000"/>
                </a:schemeClr>
              </a:gs>
              <a:gs pos="68000">
                <a:schemeClr val="accent3"/>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6" name="Rectangle 15">
            <a:extLst>
              <a:ext uri="{FF2B5EF4-FFF2-40B4-BE49-F238E27FC236}">
                <a16:creationId xmlns:a16="http://schemas.microsoft.com/office/drawing/2014/main" id="{9192A94C-D241-3F44-98AC-8A96A1AB79B8}"/>
              </a:ext>
            </a:extLst>
          </p:cNvPr>
          <p:cNvSpPr/>
          <p:nvPr/>
        </p:nvSpPr>
        <p:spPr>
          <a:xfrm rot="5400000">
            <a:off x="9798000" y="822632"/>
            <a:ext cx="648000" cy="4140000"/>
          </a:xfrm>
          <a:prstGeom prst="rect">
            <a:avLst/>
          </a:prstGeom>
          <a:gradFill flip="none" rotWithShape="1">
            <a:gsLst>
              <a:gs pos="0">
                <a:schemeClr val="accent4">
                  <a:lumMod val="80000"/>
                </a:schemeClr>
              </a:gs>
              <a:gs pos="68000">
                <a:schemeClr val="accent4">
                  <a:lumMod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17" name="Rectangle 16">
            <a:extLst>
              <a:ext uri="{FF2B5EF4-FFF2-40B4-BE49-F238E27FC236}">
                <a16:creationId xmlns:a16="http://schemas.microsoft.com/office/drawing/2014/main" id="{03F25C0D-D8C6-C045-BB11-32ABE89EFC8A}"/>
              </a:ext>
            </a:extLst>
          </p:cNvPr>
          <p:cNvSpPr/>
          <p:nvPr/>
        </p:nvSpPr>
        <p:spPr>
          <a:xfrm>
            <a:off x="6684522" y="2902026"/>
            <a:ext cx="864000" cy="864000"/>
          </a:xfrm>
          <a:prstGeom prst="rect">
            <a:avLst/>
          </a:prstGeom>
          <a:gradFill>
            <a:gsLst>
              <a:gs pos="0">
                <a:schemeClr val="accent4">
                  <a:lumMod val="90000"/>
                  <a:lumOff val="10000"/>
                </a:schemeClr>
              </a:gs>
              <a:gs pos="68000">
                <a:schemeClr val="accent4"/>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grpSp>
        <p:nvGrpSpPr>
          <p:cNvPr id="18" name="Group 17">
            <a:extLst>
              <a:ext uri="{FF2B5EF4-FFF2-40B4-BE49-F238E27FC236}">
                <a16:creationId xmlns:a16="http://schemas.microsoft.com/office/drawing/2014/main" id="{5DEE1032-5CD9-EB43-996F-EB2128A7A42A}"/>
              </a:ext>
            </a:extLst>
          </p:cNvPr>
          <p:cNvGrpSpPr/>
          <p:nvPr/>
        </p:nvGrpSpPr>
        <p:grpSpPr>
          <a:xfrm>
            <a:off x="4758721" y="2305561"/>
            <a:ext cx="2590429" cy="2947770"/>
            <a:chOff x="4758721" y="2305561"/>
            <a:chExt cx="2590429" cy="2947770"/>
          </a:xfrm>
          <a:effectLst>
            <a:outerShdw blurRad="63500" sx="102000" sy="102000" algn="ctr" rotWithShape="0">
              <a:prstClr val="black">
                <a:alpha val="40000"/>
              </a:prstClr>
            </a:outerShdw>
          </a:effectLst>
        </p:grpSpPr>
        <p:sp>
          <p:nvSpPr>
            <p:cNvPr id="19" name="Freeform 18">
              <a:extLst>
                <a:ext uri="{FF2B5EF4-FFF2-40B4-BE49-F238E27FC236}">
                  <a16:creationId xmlns:a16="http://schemas.microsoft.com/office/drawing/2014/main" id="{7DEEC105-1C5A-944B-9C7A-FF06ECA3E027}"/>
                </a:ext>
              </a:extLst>
            </p:cNvPr>
            <p:cNvSpPr>
              <a:spLocks/>
            </p:cNvSpPr>
            <p:nvPr/>
          </p:nvSpPr>
          <p:spPr bwMode="auto">
            <a:xfrm>
              <a:off x="4808306" y="2306489"/>
              <a:ext cx="1276351" cy="1459538"/>
            </a:xfrm>
            <a:custGeom>
              <a:avLst/>
              <a:gdLst/>
              <a:ahLst/>
              <a:cxnLst/>
              <a:rect l="l" t="t" r="r" b="b"/>
              <a:pathLst>
                <a:path w="1095957" h="1253252">
                  <a:moveTo>
                    <a:pt x="1095957" y="0"/>
                  </a:moveTo>
                  <a:lnTo>
                    <a:pt x="1095957" y="1253252"/>
                  </a:lnTo>
                  <a:lnTo>
                    <a:pt x="0" y="1253252"/>
                  </a:lnTo>
                  <a:lnTo>
                    <a:pt x="2876" y="1250470"/>
                  </a:lnTo>
                  <a:lnTo>
                    <a:pt x="12723" y="1241092"/>
                  </a:lnTo>
                  <a:lnTo>
                    <a:pt x="41507" y="1206703"/>
                  </a:lnTo>
                  <a:lnTo>
                    <a:pt x="71806" y="1175441"/>
                  </a:lnTo>
                  <a:lnTo>
                    <a:pt x="102105" y="1144179"/>
                  </a:lnTo>
                  <a:lnTo>
                    <a:pt x="130889" y="1109790"/>
                  </a:lnTo>
                  <a:lnTo>
                    <a:pt x="158159" y="1076184"/>
                  </a:lnTo>
                  <a:lnTo>
                    <a:pt x="183155" y="1037887"/>
                  </a:lnTo>
                  <a:lnTo>
                    <a:pt x="203607" y="996465"/>
                  </a:lnTo>
                  <a:lnTo>
                    <a:pt x="214969" y="962077"/>
                  </a:lnTo>
                  <a:lnTo>
                    <a:pt x="218757" y="928470"/>
                  </a:lnTo>
                  <a:lnTo>
                    <a:pt x="218757" y="892518"/>
                  </a:lnTo>
                  <a:lnTo>
                    <a:pt x="217999" y="854222"/>
                  </a:lnTo>
                  <a:lnTo>
                    <a:pt x="216484" y="815926"/>
                  </a:lnTo>
                  <a:lnTo>
                    <a:pt x="217999" y="774503"/>
                  </a:lnTo>
                  <a:lnTo>
                    <a:pt x="221787" y="730736"/>
                  </a:lnTo>
                  <a:lnTo>
                    <a:pt x="264205" y="550197"/>
                  </a:lnTo>
                  <a:lnTo>
                    <a:pt x="290717" y="484547"/>
                  </a:lnTo>
                  <a:lnTo>
                    <a:pt x="322531" y="423585"/>
                  </a:lnTo>
                  <a:lnTo>
                    <a:pt x="359647" y="366532"/>
                  </a:lnTo>
                  <a:lnTo>
                    <a:pt x="402066" y="312605"/>
                  </a:lnTo>
                  <a:lnTo>
                    <a:pt x="449030" y="263367"/>
                  </a:lnTo>
                  <a:lnTo>
                    <a:pt x="499781" y="218036"/>
                  </a:lnTo>
                  <a:lnTo>
                    <a:pt x="555076" y="176614"/>
                  </a:lnTo>
                  <a:lnTo>
                    <a:pt x="612645" y="139881"/>
                  </a:lnTo>
                  <a:lnTo>
                    <a:pt x="674758" y="107056"/>
                  </a:lnTo>
                  <a:lnTo>
                    <a:pt x="738386" y="79701"/>
                  </a:lnTo>
                  <a:lnTo>
                    <a:pt x="802771" y="55473"/>
                  </a:lnTo>
                  <a:lnTo>
                    <a:pt x="1019410" y="623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20" name="Freeform 18">
              <a:extLst>
                <a:ext uri="{FF2B5EF4-FFF2-40B4-BE49-F238E27FC236}">
                  <a16:creationId xmlns:a16="http://schemas.microsoft.com/office/drawing/2014/main" id="{2DF43363-04CD-6540-97CE-427FA0D8BC28}"/>
                </a:ext>
              </a:extLst>
            </p:cNvPr>
            <p:cNvSpPr>
              <a:spLocks/>
            </p:cNvSpPr>
            <p:nvPr/>
          </p:nvSpPr>
          <p:spPr bwMode="auto">
            <a:xfrm>
              <a:off x="6079772" y="3758384"/>
              <a:ext cx="1209309" cy="1494947"/>
            </a:xfrm>
            <a:custGeom>
              <a:avLst/>
              <a:gdLst/>
              <a:ahLst/>
              <a:cxnLst/>
              <a:rect l="l" t="t" r="r" b="b"/>
              <a:pathLst>
                <a:path w="1038389" h="1283657">
                  <a:moveTo>
                    <a:pt x="0" y="0"/>
                  </a:moveTo>
                  <a:lnTo>
                    <a:pt x="1038389" y="0"/>
                  </a:lnTo>
                  <a:lnTo>
                    <a:pt x="1037701" y="1908"/>
                  </a:lnTo>
                  <a:lnTo>
                    <a:pt x="1011189" y="58961"/>
                  </a:lnTo>
                  <a:lnTo>
                    <a:pt x="979375" y="111325"/>
                  </a:lnTo>
                  <a:lnTo>
                    <a:pt x="946804" y="162126"/>
                  </a:lnTo>
                  <a:lnTo>
                    <a:pt x="910445" y="212146"/>
                  </a:lnTo>
                  <a:lnTo>
                    <a:pt x="874844" y="259039"/>
                  </a:lnTo>
                  <a:lnTo>
                    <a:pt x="839242" y="307495"/>
                  </a:lnTo>
                  <a:lnTo>
                    <a:pt x="804398" y="355952"/>
                  </a:lnTo>
                  <a:lnTo>
                    <a:pt x="780917" y="395030"/>
                  </a:lnTo>
                  <a:lnTo>
                    <a:pt x="761980" y="439578"/>
                  </a:lnTo>
                  <a:lnTo>
                    <a:pt x="746830" y="486471"/>
                  </a:lnTo>
                  <a:lnTo>
                    <a:pt x="734710" y="537273"/>
                  </a:lnTo>
                  <a:lnTo>
                    <a:pt x="733196" y="561501"/>
                  </a:lnTo>
                  <a:lnTo>
                    <a:pt x="734710" y="590418"/>
                  </a:lnTo>
                  <a:lnTo>
                    <a:pt x="738498" y="625588"/>
                  </a:lnTo>
                  <a:lnTo>
                    <a:pt x="743800" y="662321"/>
                  </a:lnTo>
                  <a:lnTo>
                    <a:pt x="752132" y="702181"/>
                  </a:lnTo>
                  <a:lnTo>
                    <a:pt x="761980" y="742040"/>
                  </a:lnTo>
                  <a:lnTo>
                    <a:pt x="771827" y="780336"/>
                  </a:lnTo>
                  <a:lnTo>
                    <a:pt x="782432" y="817069"/>
                  </a:lnTo>
                  <a:lnTo>
                    <a:pt x="792279" y="849894"/>
                  </a:lnTo>
                  <a:lnTo>
                    <a:pt x="802126" y="878812"/>
                  </a:lnTo>
                  <a:lnTo>
                    <a:pt x="810458" y="899914"/>
                  </a:lnTo>
                  <a:lnTo>
                    <a:pt x="822578" y="931176"/>
                  </a:lnTo>
                  <a:lnTo>
                    <a:pt x="833940" y="969472"/>
                  </a:lnTo>
                  <a:lnTo>
                    <a:pt x="846060" y="1012458"/>
                  </a:lnTo>
                  <a:lnTo>
                    <a:pt x="858179" y="1056225"/>
                  </a:lnTo>
                  <a:lnTo>
                    <a:pt x="871814" y="1096084"/>
                  </a:lnTo>
                  <a:lnTo>
                    <a:pt x="886206" y="1131254"/>
                  </a:lnTo>
                  <a:lnTo>
                    <a:pt x="756677" y="1174240"/>
                  </a:lnTo>
                  <a:lnTo>
                    <a:pt x="630936" y="1210973"/>
                  </a:lnTo>
                  <a:lnTo>
                    <a:pt x="511255" y="1240672"/>
                  </a:lnTo>
                  <a:lnTo>
                    <a:pt x="394603" y="1262555"/>
                  </a:lnTo>
                  <a:lnTo>
                    <a:pt x="280982" y="1278186"/>
                  </a:lnTo>
                  <a:lnTo>
                    <a:pt x="171148" y="1283657"/>
                  </a:lnTo>
                  <a:lnTo>
                    <a:pt x="63586" y="1282094"/>
                  </a:lnTo>
                  <a:lnTo>
                    <a:pt x="0" y="12759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21" name="Freeform 18">
              <a:extLst>
                <a:ext uri="{FF2B5EF4-FFF2-40B4-BE49-F238E27FC236}">
                  <a16:creationId xmlns:a16="http://schemas.microsoft.com/office/drawing/2014/main" id="{45A32DCB-ADD2-0442-91ED-E5B6A8EC1EE1}"/>
                </a:ext>
              </a:extLst>
            </p:cNvPr>
            <p:cNvSpPr>
              <a:spLocks/>
            </p:cNvSpPr>
            <p:nvPr/>
          </p:nvSpPr>
          <p:spPr bwMode="auto">
            <a:xfrm>
              <a:off x="4758721" y="3758385"/>
              <a:ext cx="1325933" cy="1485930"/>
            </a:xfrm>
            <a:custGeom>
              <a:avLst/>
              <a:gdLst/>
              <a:ahLst/>
              <a:cxnLst/>
              <a:rect l="l" t="t" r="r" b="b"/>
              <a:pathLst>
                <a:path w="1138530" h="1275914">
                  <a:moveTo>
                    <a:pt x="42573" y="0"/>
                  </a:moveTo>
                  <a:lnTo>
                    <a:pt x="1138530" y="0"/>
                  </a:lnTo>
                  <a:lnTo>
                    <a:pt x="1138530" y="1275914"/>
                  </a:lnTo>
                  <a:lnTo>
                    <a:pt x="1097584" y="1271934"/>
                  </a:lnTo>
                  <a:lnTo>
                    <a:pt x="994567" y="1253958"/>
                  </a:lnTo>
                  <a:lnTo>
                    <a:pt x="990022" y="1228167"/>
                  </a:lnTo>
                  <a:lnTo>
                    <a:pt x="984720" y="1198468"/>
                  </a:lnTo>
                  <a:lnTo>
                    <a:pt x="977903" y="1162516"/>
                  </a:lnTo>
                  <a:lnTo>
                    <a:pt x="972600" y="1124220"/>
                  </a:lnTo>
                  <a:lnTo>
                    <a:pt x="965026" y="1082798"/>
                  </a:lnTo>
                  <a:lnTo>
                    <a:pt x="957451" y="1040594"/>
                  </a:lnTo>
                  <a:lnTo>
                    <a:pt x="949118" y="999171"/>
                  </a:lnTo>
                  <a:lnTo>
                    <a:pt x="939271" y="959312"/>
                  </a:lnTo>
                  <a:lnTo>
                    <a:pt x="929424" y="921016"/>
                  </a:lnTo>
                  <a:lnTo>
                    <a:pt x="917304" y="887409"/>
                  </a:lnTo>
                  <a:lnTo>
                    <a:pt x="904427" y="858491"/>
                  </a:lnTo>
                  <a:lnTo>
                    <a:pt x="890793" y="835826"/>
                  </a:lnTo>
                  <a:lnTo>
                    <a:pt x="875643" y="821758"/>
                  </a:lnTo>
                  <a:lnTo>
                    <a:pt x="858979" y="814724"/>
                  </a:lnTo>
                  <a:lnTo>
                    <a:pt x="840042" y="811598"/>
                  </a:lnTo>
                  <a:lnTo>
                    <a:pt x="818075" y="813161"/>
                  </a:lnTo>
                  <a:lnTo>
                    <a:pt x="796108" y="816288"/>
                  </a:lnTo>
                  <a:lnTo>
                    <a:pt x="775656" y="821758"/>
                  </a:lnTo>
                  <a:lnTo>
                    <a:pt x="755962" y="827229"/>
                  </a:lnTo>
                  <a:lnTo>
                    <a:pt x="737782" y="832700"/>
                  </a:lnTo>
                  <a:lnTo>
                    <a:pt x="724148" y="837390"/>
                  </a:lnTo>
                  <a:lnTo>
                    <a:pt x="691576" y="848331"/>
                  </a:lnTo>
                  <a:lnTo>
                    <a:pt x="654460" y="858491"/>
                  </a:lnTo>
                  <a:lnTo>
                    <a:pt x="612799" y="867089"/>
                  </a:lnTo>
                  <a:lnTo>
                    <a:pt x="568865" y="872559"/>
                  </a:lnTo>
                  <a:lnTo>
                    <a:pt x="524932" y="877249"/>
                  </a:lnTo>
                  <a:lnTo>
                    <a:pt x="480240" y="878812"/>
                  </a:lnTo>
                  <a:lnTo>
                    <a:pt x="437822" y="875686"/>
                  </a:lnTo>
                  <a:lnTo>
                    <a:pt x="397675" y="868652"/>
                  </a:lnTo>
                  <a:lnTo>
                    <a:pt x="375709" y="863181"/>
                  </a:lnTo>
                  <a:lnTo>
                    <a:pt x="353742" y="853021"/>
                  </a:lnTo>
                  <a:lnTo>
                    <a:pt x="331775" y="841297"/>
                  </a:lnTo>
                  <a:lnTo>
                    <a:pt x="312838" y="827229"/>
                  </a:lnTo>
                  <a:lnTo>
                    <a:pt x="293144" y="810035"/>
                  </a:lnTo>
                  <a:lnTo>
                    <a:pt x="277994" y="792059"/>
                  </a:lnTo>
                  <a:lnTo>
                    <a:pt x="267390" y="769394"/>
                  </a:lnTo>
                  <a:lnTo>
                    <a:pt x="259057" y="743603"/>
                  </a:lnTo>
                  <a:lnTo>
                    <a:pt x="256027" y="715467"/>
                  </a:lnTo>
                  <a:lnTo>
                    <a:pt x="259057" y="684205"/>
                  </a:lnTo>
                  <a:lnTo>
                    <a:pt x="262845" y="662321"/>
                  </a:lnTo>
                  <a:lnTo>
                    <a:pt x="268147" y="638093"/>
                  </a:lnTo>
                  <a:lnTo>
                    <a:pt x="274207" y="613083"/>
                  </a:lnTo>
                  <a:lnTo>
                    <a:pt x="276479" y="588855"/>
                  </a:lnTo>
                  <a:lnTo>
                    <a:pt x="276479" y="563064"/>
                  </a:lnTo>
                  <a:lnTo>
                    <a:pt x="269662" y="540399"/>
                  </a:lnTo>
                  <a:lnTo>
                    <a:pt x="262845" y="527894"/>
                  </a:lnTo>
                  <a:lnTo>
                    <a:pt x="250725" y="516171"/>
                  </a:lnTo>
                  <a:lnTo>
                    <a:pt x="237848" y="507573"/>
                  </a:lnTo>
                  <a:lnTo>
                    <a:pt x="224213" y="500539"/>
                  </a:lnTo>
                  <a:lnTo>
                    <a:pt x="210579" y="490379"/>
                  </a:lnTo>
                  <a:lnTo>
                    <a:pt x="199974" y="479437"/>
                  </a:lnTo>
                  <a:lnTo>
                    <a:pt x="191642" y="465369"/>
                  </a:lnTo>
                  <a:lnTo>
                    <a:pt x="188612" y="449738"/>
                  </a:lnTo>
                  <a:lnTo>
                    <a:pt x="190127" y="434107"/>
                  </a:lnTo>
                  <a:lnTo>
                    <a:pt x="195429" y="419258"/>
                  </a:lnTo>
                  <a:lnTo>
                    <a:pt x="202247" y="406753"/>
                  </a:lnTo>
                  <a:lnTo>
                    <a:pt x="206791" y="394248"/>
                  </a:lnTo>
                  <a:lnTo>
                    <a:pt x="184825" y="378617"/>
                  </a:lnTo>
                  <a:lnTo>
                    <a:pt x="169675" y="362986"/>
                  </a:lnTo>
                  <a:lnTo>
                    <a:pt x="161343" y="347355"/>
                  </a:lnTo>
                  <a:lnTo>
                    <a:pt x="159828" y="330161"/>
                  </a:lnTo>
                  <a:lnTo>
                    <a:pt x="162100" y="314529"/>
                  </a:lnTo>
                  <a:lnTo>
                    <a:pt x="168160" y="297335"/>
                  </a:lnTo>
                  <a:lnTo>
                    <a:pt x="176492" y="280141"/>
                  </a:lnTo>
                  <a:lnTo>
                    <a:pt x="185582" y="262947"/>
                  </a:lnTo>
                  <a:lnTo>
                    <a:pt x="193914" y="244971"/>
                  </a:lnTo>
                  <a:lnTo>
                    <a:pt x="202247" y="227777"/>
                  </a:lnTo>
                  <a:lnTo>
                    <a:pt x="206791" y="209020"/>
                  </a:lnTo>
                  <a:lnTo>
                    <a:pt x="191642" y="194952"/>
                  </a:lnTo>
                  <a:lnTo>
                    <a:pt x="170433" y="184010"/>
                  </a:lnTo>
                  <a:lnTo>
                    <a:pt x="146951" y="173850"/>
                  </a:lnTo>
                  <a:lnTo>
                    <a:pt x="122711" y="165252"/>
                  </a:lnTo>
                  <a:lnTo>
                    <a:pt x="97715" y="156655"/>
                  </a:lnTo>
                  <a:lnTo>
                    <a:pt x="72718" y="148058"/>
                  </a:lnTo>
                  <a:lnTo>
                    <a:pt x="49236" y="137898"/>
                  </a:lnTo>
                  <a:lnTo>
                    <a:pt x="30299" y="126956"/>
                  </a:lnTo>
                  <a:lnTo>
                    <a:pt x="13635" y="111325"/>
                  </a:lnTo>
                  <a:lnTo>
                    <a:pt x="3788" y="92568"/>
                  </a:lnTo>
                  <a:lnTo>
                    <a:pt x="0" y="73029"/>
                  </a:lnTo>
                  <a:lnTo>
                    <a:pt x="3030" y="54272"/>
                  </a:lnTo>
                  <a:lnTo>
                    <a:pt x="9847" y="37078"/>
                  </a:lnTo>
                  <a:lnTo>
                    <a:pt x="20452" y="23010"/>
                  </a:lnTo>
                  <a:lnTo>
                    <a:pt x="33329" y="89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22" name="Freeform 18">
              <a:extLst>
                <a:ext uri="{FF2B5EF4-FFF2-40B4-BE49-F238E27FC236}">
                  <a16:creationId xmlns:a16="http://schemas.microsoft.com/office/drawing/2014/main" id="{AE81399B-A17A-6344-8F0E-A88AAE03B608}"/>
                </a:ext>
              </a:extLst>
            </p:cNvPr>
            <p:cNvSpPr>
              <a:spLocks/>
            </p:cNvSpPr>
            <p:nvPr/>
          </p:nvSpPr>
          <p:spPr bwMode="auto">
            <a:xfrm>
              <a:off x="6079775" y="2305561"/>
              <a:ext cx="1269375" cy="1460469"/>
            </a:xfrm>
            <a:custGeom>
              <a:avLst/>
              <a:gdLst/>
              <a:ahLst/>
              <a:cxnLst/>
              <a:rect l="l" t="t" r="r" b="b"/>
              <a:pathLst>
                <a:path w="1089967" h="1254051">
                  <a:moveTo>
                    <a:pt x="9805" y="0"/>
                  </a:moveTo>
                  <a:lnTo>
                    <a:pt x="106762" y="782"/>
                  </a:lnTo>
                  <a:lnTo>
                    <a:pt x="197659" y="7816"/>
                  </a:lnTo>
                  <a:lnTo>
                    <a:pt x="284012" y="19539"/>
                  </a:lnTo>
                  <a:lnTo>
                    <a:pt x="366576" y="36733"/>
                  </a:lnTo>
                  <a:lnTo>
                    <a:pt x="445354" y="57835"/>
                  </a:lnTo>
                  <a:lnTo>
                    <a:pt x="518072" y="85190"/>
                  </a:lnTo>
                  <a:lnTo>
                    <a:pt x="588517" y="114889"/>
                  </a:lnTo>
                  <a:lnTo>
                    <a:pt x="652903" y="150059"/>
                  </a:lnTo>
                  <a:lnTo>
                    <a:pt x="713501" y="189918"/>
                  </a:lnTo>
                  <a:lnTo>
                    <a:pt x="771827" y="234467"/>
                  </a:lnTo>
                  <a:lnTo>
                    <a:pt x="824093" y="282141"/>
                  </a:lnTo>
                  <a:lnTo>
                    <a:pt x="871814" y="335287"/>
                  </a:lnTo>
                  <a:lnTo>
                    <a:pt x="916505" y="390777"/>
                  </a:lnTo>
                  <a:lnTo>
                    <a:pt x="955894" y="450176"/>
                  </a:lnTo>
                  <a:lnTo>
                    <a:pt x="992252" y="512700"/>
                  </a:lnTo>
                  <a:lnTo>
                    <a:pt x="1016492" y="565064"/>
                  </a:lnTo>
                  <a:lnTo>
                    <a:pt x="1037701" y="623681"/>
                  </a:lnTo>
                  <a:lnTo>
                    <a:pt x="1056638" y="687768"/>
                  </a:lnTo>
                  <a:lnTo>
                    <a:pt x="1071788" y="757327"/>
                  </a:lnTo>
                  <a:lnTo>
                    <a:pt x="1083150" y="828448"/>
                  </a:lnTo>
                  <a:lnTo>
                    <a:pt x="1088452" y="901914"/>
                  </a:lnTo>
                  <a:lnTo>
                    <a:pt x="1089967" y="976944"/>
                  </a:lnTo>
                  <a:lnTo>
                    <a:pt x="1085422" y="1051191"/>
                  </a:lnTo>
                  <a:lnTo>
                    <a:pt x="1076332" y="1123876"/>
                  </a:lnTo>
                  <a:lnTo>
                    <a:pt x="1059668" y="1194997"/>
                  </a:lnTo>
                  <a:lnTo>
                    <a:pt x="1038388" y="1254051"/>
                  </a:lnTo>
                  <a:lnTo>
                    <a:pt x="0" y="1254051"/>
                  </a:lnTo>
                  <a:lnTo>
                    <a:pt x="0" y="79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sp>
        <p:nvSpPr>
          <p:cNvPr id="23" name="TextBox 22">
            <a:extLst>
              <a:ext uri="{FF2B5EF4-FFF2-40B4-BE49-F238E27FC236}">
                <a16:creationId xmlns:a16="http://schemas.microsoft.com/office/drawing/2014/main" id="{981B9E2B-F0BA-4F4A-8EF6-5F371ECFCF7D}"/>
              </a:ext>
            </a:extLst>
          </p:cNvPr>
          <p:cNvSpPr txBox="1"/>
          <p:nvPr/>
        </p:nvSpPr>
        <p:spPr>
          <a:xfrm>
            <a:off x="2244004" y="4454790"/>
            <a:ext cx="2005866" cy="307777"/>
          </a:xfrm>
          <a:prstGeom prst="rect">
            <a:avLst/>
          </a:prstGeom>
          <a:noFill/>
        </p:spPr>
        <p:txBody>
          <a:bodyPr wrap="square" rtlCol="0">
            <a:spAutoFit/>
          </a:bodyPr>
          <a:lstStyle/>
          <a:p>
            <a:r>
              <a:rPr lang="en-US" altLang="ko-KR" sz="1400" b="1">
                <a:solidFill>
                  <a:schemeClr val="bg1"/>
                </a:solidFill>
                <a:latin typeface="Arial" pitchFamily="34" charset="0"/>
                <a:cs typeface="Arial" pitchFamily="34" charset="0"/>
              </a:rPr>
              <a:t>Simple PowerPoint</a:t>
            </a:r>
            <a:endParaRPr lang="ko-KR" altLang="en-US" sz="1400" b="1">
              <a:solidFill>
                <a:schemeClr val="bg1"/>
              </a:solidFill>
              <a:latin typeface="Arial" pitchFamily="34" charset="0"/>
              <a:cs typeface="Arial" pitchFamily="34" charset="0"/>
            </a:endParaRPr>
          </a:p>
        </p:txBody>
      </p:sp>
      <p:sp>
        <p:nvSpPr>
          <p:cNvPr id="24" name="TextBox 23">
            <a:extLst>
              <a:ext uri="{FF2B5EF4-FFF2-40B4-BE49-F238E27FC236}">
                <a16:creationId xmlns:a16="http://schemas.microsoft.com/office/drawing/2014/main" id="{61DEA1EF-848A-0446-8C9C-7A747F70684A}"/>
              </a:ext>
            </a:extLst>
          </p:cNvPr>
          <p:cNvSpPr txBox="1"/>
          <p:nvPr/>
        </p:nvSpPr>
        <p:spPr>
          <a:xfrm>
            <a:off x="2257374" y="2735832"/>
            <a:ext cx="2005866" cy="307777"/>
          </a:xfrm>
          <a:prstGeom prst="rect">
            <a:avLst/>
          </a:prstGeom>
          <a:noFill/>
        </p:spPr>
        <p:txBody>
          <a:bodyPr wrap="square" rtlCol="0">
            <a:spAutoFit/>
          </a:bodyPr>
          <a:lstStyle/>
          <a:p>
            <a:r>
              <a:rPr lang="en-US" altLang="ko-KR" sz="1400" b="1">
                <a:solidFill>
                  <a:schemeClr val="bg1"/>
                </a:solidFill>
                <a:latin typeface="Arial" pitchFamily="34" charset="0"/>
                <a:cs typeface="Arial" pitchFamily="34" charset="0"/>
              </a:rPr>
              <a:t>Simple PowerPoint</a:t>
            </a:r>
            <a:endParaRPr lang="ko-KR" altLang="en-US" sz="1400" b="1">
              <a:solidFill>
                <a:schemeClr val="bg1"/>
              </a:solidFill>
              <a:latin typeface="Arial" pitchFamily="34" charset="0"/>
              <a:cs typeface="Arial" pitchFamily="34" charset="0"/>
            </a:endParaRPr>
          </a:p>
        </p:txBody>
      </p:sp>
      <p:sp>
        <p:nvSpPr>
          <p:cNvPr id="25" name="TextBox 24">
            <a:extLst>
              <a:ext uri="{FF2B5EF4-FFF2-40B4-BE49-F238E27FC236}">
                <a16:creationId xmlns:a16="http://schemas.microsoft.com/office/drawing/2014/main" id="{DBED34C1-EE67-EC43-AC40-F7C7A2B738EB}"/>
              </a:ext>
            </a:extLst>
          </p:cNvPr>
          <p:cNvSpPr txBox="1"/>
          <p:nvPr/>
        </p:nvSpPr>
        <p:spPr>
          <a:xfrm>
            <a:off x="7926341" y="4453301"/>
            <a:ext cx="2005866" cy="307777"/>
          </a:xfrm>
          <a:prstGeom prst="rect">
            <a:avLst/>
          </a:prstGeom>
          <a:noFill/>
        </p:spPr>
        <p:txBody>
          <a:bodyPr wrap="square" rtlCol="0">
            <a:spAutoFit/>
          </a:bodyPr>
          <a:lstStyle/>
          <a:p>
            <a:pPr algn="r"/>
            <a:r>
              <a:rPr lang="en-US" altLang="ko-KR" sz="1400" b="1">
                <a:solidFill>
                  <a:schemeClr val="bg1"/>
                </a:solidFill>
                <a:latin typeface="Arial" pitchFamily="34" charset="0"/>
                <a:cs typeface="Arial" pitchFamily="34" charset="0"/>
              </a:rPr>
              <a:t>Simple PowerPoint</a:t>
            </a:r>
            <a:endParaRPr lang="ko-KR" altLang="en-US" sz="1400" b="1">
              <a:solidFill>
                <a:schemeClr val="bg1"/>
              </a:solidFill>
              <a:latin typeface="Arial" pitchFamily="34" charset="0"/>
              <a:cs typeface="Arial" pitchFamily="34" charset="0"/>
            </a:endParaRPr>
          </a:p>
        </p:txBody>
      </p:sp>
      <p:sp>
        <p:nvSpPr>
          <p:cNvPr id="26" name="TextBox 25">
            <a:extLst>
              <a:ext uri="{FF2B5EF4-FFF2-40B4-BE49-F238E27FC236}">
                <a16:creationId xmlns:a16="http://schemas.microsoft.com/office/drawing/2014/main" id="{817CF2AB-906F-7E4B-93EF-F27BCCDF94C7}"/>
              </a:ext>
            </a:extLst>
          </p:cNvPr>
          <p:cNvSpPr txBox="1"/>
          <p:nvPr/>
        </p:nvSpPr>
        <p:spPr>
          <a:xfrm>
            <a:off x="5617284" y="2923263"/>
            <a:ext cx="468053" cy="923330"/>
          </a:xfrm>
          <a:prstGeom prst="rect">
            <a:avLst/>
          </a:prstGeom>
          <a:noFill/>
        </p:spPr>
        <p:txBody>
          <a:bodyPr wrap="square" rtlCol="0" anchor="ctr">
            <a:spAutoFit/>
          </a:bodyPr>
          <a:lstStyle/>
          <a:p>
            <a:pPr algn="ctr"/>
            <a:r>
              <a:rPr lang="en-US" altLang="ko-KR" sz="5400" b="1">
                <a:solidFill>
                  <a:schemeClr val="bg1"/>
                </a:solidFill>
                <a:latin typeface="Arial" pitchFamily="34" charset="0"/>
                <a:cs typeface="Arial" pitchFamily="34" charset="0"/>
              </a:rPr>
              <a:t>1</a:t>
            </a:r>
            <a:endParaRPr lang="ko-KR" altLang="en-US" sz="5400" b="1">
              <a:solidFill>
                <a:schemeClr val="bg1"/>
              </a:solidFill>
              <a:latin typeface="Arial" pitchFamily="34" charset="0"/>
              <a:cs typeface="Arial" pitchFamily="34" charset="0"/>
            </a:endParaRPr>
          </a:p>
        </p:txBody>
      </p:sp>
      <p:sp>
        <p:nvSpPr>
          <p:cNvPr id="27" name="TextBox 26">
            <a:extLst>
              <a:ext uri="{FF2B5EF4-FFF2-40B4-BE49-F238E27FC236}">
                <a16:creationId xmlns:a16="http://schemas.microsoft.com/office/drawing/2014/main" id="{C0B64C12-3B53-0247-8FF3-29B0FF12C443}"/>
              </a:ext>
            </a:extLst>
          </p:cNvPr>
          <p:cNvSpPr txBox="1"/>
          <p:nvPr/>
        </p:nvSpPr>
        <p:spPr>
          <a:xfrm>
            <a:off x="6071620" y="2923263"/>
            <a:ext cx="468053" cy="923330"/>
          </a:xfrm>
          <a:prstGeom prst="rect">
            <a:avLst/>
          </a:prstGeom>
          <a:noFill/>
        </p:spPr>
        <p:txBody>
          <a:bodyPr wrap="square" rtlCol="0" anchor="ctr">
            <a:spAutoFit/>
          </a:bodyPr>
          <a:lstStyle/>
          <a:p>
            <a:r>
              <a:rPr lang="en-US" altLang="ko-KR" sz="5400" b="1">
                <a:solidFill>
                  <a:schemeClr val="bg1"/>
                </a:solidFill>
                <a:latin typeface="Arial" pitchFamily="34" charset="0"/>
                <a:cs typeface="Arial" pitchFamily="34" charset="0"/>
              </a:rPr>
              <a:t>2</a:t>
            </a:r>
            <a:endParaRPr lang="ko-KR" altLang="en-US" sz="5400" b="1">
              <a:solidFill>
                <a:schemeClr val="bg1"/>
              </a:solidFill>
              <a:latin typeface="Arial" pitchFamily="34" charset="0"/>
              <a:cs typeface="Arial" pitchFamily="34" charset="0"/>
            </a:endParaRPr>
          </a:p>
        </p:txBody>
      </p:sp>
      <p:sp>
        <p:nvSpPr>
          <p:cNvPr id="28" name="TextBox 27">
            <a:extLst>
              <a:ext uri="{FF2B5EF4-FFF2-40B4-BE49-F238E27FC236}">
                <a16:creationId xmlns:a16="http://schemas.microsoft.com/office/drawing/2014/main" id="{B5CDA384-8832-3242-B134-68F76FE5C7E0}"/>
              </a:ext>
            </a:extLst>
          </p:cNvPr>
          <p:cNvSpPr txBox="1"/>
          <p:nvPr/>
        </p:nvSpPr>
        <p:spPr>
          <a:xfrm>
            <a:off x="5617284" y="3629509"/>
            <a:ext cx="468053" cy="923330"/>
          </a:xfrm>
          <a:prstGeom prst="rect">
            <a:avLst/>
          </a:prstGeom>
          <a:noFill/>
        </p:spPr>
        <p:txBody>
          <a:bodyPr wrap="square" rtlCol="0" anchor="ctr">
            <a:spAutoFit/>
          </a:bodyPr>
          <a:lstStyle/>
          <a:p>
            <a:pPr algn="ctr"/>
            <a:r>
              <a:rPr lang="en-US" altLang="ko-KR" sz="5400" b="1">
                <a:solidFill>
                  <a:schemeClr val="bg1"/>
                </a:solidFill>
                <a:latin typeface="Arial" pitchFamily="34" charset="0"/>
                <a:cs typeface="Arial" pitchFamily="34" charset="0"/>
              </a:rPr>
              <a:t>3</a:t>
            </a:r>
            <a:endParaRPr lang="ko-KR" altLang="en-US" sz="5400" b="1">
              <a:solidFill>
                <a:schemeClr val="bg1"/>
              </a:solidFill>
              <a:latin typeface="Arial" pitchFamily="34" charset="0"/>
              <a:cs typeface="Arial" pitchFamily="34" charset="0"/>
            </a:endParaRPr>
          </a:p>
        </p:txBody>
      </p:sp>
      <p:sp>
        <p:nvSpPr>
          <p:cNvPr id="29" name="TextBox 28">
            <a:extLst>
              <a:ext uri="{FF2B5EF4-FFF2-40B4-BE49-F238E27FC236}">
                <a16:creationId xmlns:a16="http://schemas.microsoft.com/office/drawing/2014/main" id="{1BE2DFD7-3916-424F-B7AB-C325C1760F21}"/>
              </a:ext>
            </a:extLst>
          </p:cNvPr>
          <p:cNvSpPr txBox="1"/>
          <p:nvPr/>
        </p:nvSpPr>
        <p:spPr>
          <a:xfrm>
            <a:off x="6071620" y="3629509"/>
            <a:ext cx="468053" cy="923330"/>
          </a:xfrm>
          <a:prstGeom prst="rect">
            <a:avLst/>
          </a:prstGeom>
          <a:noFill/>
        </p:spPr>
        <p:txBody>
          <a:bodyPr wrap="square" rtlCol="0" anchor="ctr">
            <a:spAutoFit/>
          </a:bodyPr>
          <a:lstStyle/>
          <a:p>
            <a:r>
              <a:rPr lang="en-US" altLang="ko-KR" sz="5400" b="1">
                <a:solidFill>
                  <a:schemeClr val="bg1"/>
                </a:solidFill>
                <a:latin typeface="Arial" pitchFamily="34" charset="0"/>
                <a:cs typeface="Arial" pitchFamily="34" charset="0"/>
              </a:rPr>
              <a:t>4</a:t>
            </a:r>
            <a:endParaRPr lang="ko-KR" altLang="en-US" sz="5400" b="1">
              <a:solidFill>
                <a:schemeClr val="bg1"/>
              </a:solidFill>
              <a:latin typeface="Arial" pitchFamily="34" charset="0"/>
              <a:cs typeface="Arial" pitchFamily="34" charset="0"/>
            </a:endParaRPr>
          </a:p>
        </p:txBody>
      </p:sp>
      <p:sp>
        <p:nvSpPr>
          <p:cNvPr id="30" name="Oval 29">
            <a:extLst>
              <a:ext uri="{FF2B5EF4-FFF2-40B4-BE49-F238E27FC236}">
                <a16:creationId xmlns:a16="http://schemas.microsoft.com/office/drawing/2014/main" id="{DA71F2C1-81F4-C34F-A2B7-55CF566DDF6C}"/>
              </a:ext>
            </a:extLst>
          </p:cNvPr>
          <p:cNvSpPr/>
          <p:nvPr/>
        </p:nvSpPr>
        <p:spPr>
          <a:xfrm>
            <a:off x="7118434" y="5129074"/>
            <a:ext cx="720000" cy="720000"/>
          </a:xfrm>
          <a:prstGeom prst="ellipse">
            <a:avLst/>
          </a:prstGeom>
          <a:solidFill>
            <a:schemeClr val="accent3"/>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1" name="Oval 30">
            <a:extLst>
              <a:ext uri="{FF2B5EF4-FFF2-40B4-BE49-F238E27FC236}">
                <a16:creationId xmlns:a16="http://schemas.microsoft.com/office/drawing/2014/main" id="{8FB38530-C977-0C4F-AB6A-3536F01AE2B4}"/>
              </a:ext>
            </a:extLst>
          </p:cNvPr>
          <p:cNvSpPr/>
          <p:nvPr/>
        </p:nvSpPr>
        <p:spPr>
          <a:xfrm>
            <a:off x="4353567" y="1673801"/>
            <a:ext cx="720000" cy="720000"/>
          </a:xfrm>
          <a:prstGeom prst="ellipse">
            <a:avLst/>
          </a:prstGeom>
          <a:solidFill>
            <a:schemeClr val="accent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2" name="Oval 31">
            <a:extLst>
              <a:ext uri="{FF2B5EF4-FFF2-40B4-BE49-F238E27FC236}">
                <a16:creationId xmlns:a16="http://schemas.microsoft.com/office/drawing/2014/main" id="{6669FFF5-F1A4-FA45-BABA-779EE7727287}"/>
              </a:ext>
            </a:extLst>
          </p:cNvPr>
          <p:cNvSpPr/>
          <p:nvPr/>
        </p:nvSpPr>
        <p:spPr>
          <a:xfrm>
            <a:off x="7118434" y="1673801"/>
            <a:ext cx="720000" cy="720000"/>
          </a:xfrm>
          <a:prstGeom prst="ellipse">
            <a:avLst/>
          </a:prstGeom>
          <a:solidFill>
            <a:schemeClr val="accent4"/>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3" name="Oval 32">
            <a:extLst>
              <a:ext uri="{FF2B5EF4-FFF2-40B4-BE49-F238E27FC236}">
                <a16:creationId xmlns:a16="http://schemas.microsoft.com/office/drawing/2014/main" id="{C68EFA3C-3C75-9045-AD40-8F911427F84A}"/>
              </a:ext>
            </a:extLst>
          </p:cNvPr>
          <p:cNvSpPr/>
          <p:nvPr/>
        </p:nvSpPr>
        <p:spPr>
          <a:xfrm>
            <a:off x="4353567" y="5129074"/>
            <a:ext cx="720000" cy="720000"/>
          </a:xfrm>
          <a:prstGeom prst="ellipse">
            <a:avLst/>
          </a:prstGeom>
          <a:solidFill>
            <a:schemeClr val="accent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4" name="Oval 21">
            <a:extLst>
              <a:ext uri="{FF2B5EF4-FFF2-40B4-BE49-F238E27FC236}">
                <a16:creationId xmlns:a16="http://schemas.microsoft.com/office/drawing/2014/main" id="{CC649615-475A-8644-9CC2-8F9CE98CF5A1}"/>
              </a:ext>
            </a:extLst>
          </p:cNvPr>
          <p:cNvSpPr/>
          <p:nvPr/>
        </p:nvSpPr>
        <p:spPr>
          <a:xfrm rot="20700000">
            <a:off x="4492454" y="1840011"/>
            <a:ext cx="442231" cy="387582"/>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5" name="Isosceles Triangle 41">
            <a:extLst>
              <a:ext uri="{FF2B5EF4-FFF2-40B4-BE49-F238E27FC236}">
                <a16:creationId xmlns:a16="http://schemas.microsoft.com/office/drawing/2014/main" id="{024CAC0A-A634-6545-820D-D8E6ECEE1325}"/>
              </a:ext>
            </a:extLst>
          </p:cNvPr>
          <p:cNvSpPr/>
          <p:nvPr/>
        </p:nvSpPr>
        <p:spPr>
          <a:xfrm>
            <a:off x="7343065" y="5294623"/>
            <a:ext cx="270747" cy="388911"/>
          </a:xfrm>
          <a:custGeom>
            <a:avLst/>
            <a:gdLst>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273826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67278 w 2736000"/>
              <a:gd name="connsiteY5" fmla="*/ 2273826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35821 w 2736000"/>
              <a:gd name="connsiteY1" fmla="*/ 2564417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98105 w 2736000"/>
              <a:gd name="connsiteY4" fmla="*/ 2565503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54231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45026 w 2736000"/>
              <a:gd name="connsiteY1" fmla="*/ 2558281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66505 w 2736000"/>
              <a:gd name="connsiteY1" fmla="*/ 257362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97963 w 2736000"/>
              <a:gd name="connsiteY0" fmla="*/ 2421112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97963 w 2736000"/>
              <a:gd name="connsiteY5" fmla="*/ 2421112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78778 w 2736000"/>
              <a:gd name="connsiteY1" fmla="*/ 2576692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63436 w 2736000"/>
              <a:gd name="connsiteY1" fmla="*/ 2564418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79552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79552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4231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32752 w 2736000"/>
              <a:gd name="connsiteY1" fmla="*/ 2552144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26615 w 2736000"/>
              <a:gd name="connsiteY1" fmla="*/ 2567486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 name="connsiteX0" fmla="*/ 1367278 w 2736000"/>
              <a:gd name="connsiteY0" fmla="*/ 2418044 h 3930092"/>
              <a:gd name="connsiteX1" fmla="*/ 1552576 w 2736000"/>
              <a:gd name="connsiteY1" fmla="*/ 2576139 h 3930092"/>
              <a:gd name="connsiteX2" fmla="*/ 2088000 w 2736000"/>
              <a:gd name="connsiteY2" fmla="*/ 3520946 h 3930092"/>
              <a:gd name="connsiteX3" fmla="*/ 648080 w 2736000"/>
              <a:gd name="connsiteY3" fmla="*/ 3506285 h 3930092"/>
              <a:gd name="connsiteX4" fmla="*/ 1182763 w 2736000"/>
              <a:gd name="connsiteY4" fmla="*/ 2571640 h 3930092"/>
              <a:gd name="connsiteX5" fmla="*/ 1367278 w 2736000"/>
              <a:gd name="connsiteY5" fmla="*/ 2418044 h 3930092"/>
              <a:gd name="connsiteX6" fmla="*/ 648003 w 2736000"/>
              <a:gd name="connsiteY6" fmla="*/ 793859 h 3930092"/>
              <a:gd name="connsiteX7" fmla="*/ 2087849 w 2736000"/>
              <a:gd name="connsiteY7" fmla="*/ 808518 h 3930092"/>
              <a:gd name="connsiteX8" fmla="*/ 1641214 w 2736000"/>
              <a:gd name="connsiteY8" fmla="*/ 1449982 h 3930092"/>
              <a:gd name="connsiteX9" fmla="*/ 1368003 w 2736000"/>
              <a:gd name="connsiteY9" fmla="*/ 1937706 h 3930092"/>
              <a:gd name="connsiteX10" fmla="*/ 1094068 w 2736000"/>
              <a:gd name="connsiteY10" fmla="*/ 1448735 h 3930092"/>
              <a:gd name="connsiteX11" fmla="*/ 648003 w 2736000"/>
              <a:gd name="connsiteY11" fmla="*/ 793859 h 3930092"/>
              <a:gd name="connsiteX12" fmla="*/ 516625 w 2736000"/>
              <a:gd name="connsiteY12" fmla="*/ 299874 h 3930092"/>
              <a:gd name="connsiteX13" fmla="*/ 516625 w 2736000"/>
              <a:gd name="connsiteY13" fmla="*/ 449580 h 3930092"/>
              <a:gd name="connsiteX14" fmla="*/ 1029987 w 2736000"/>
              <a:gd name="connsiteY14" fmla="*/ 1557992 h 3930092"/>
              <a:gd name="connsiteX15" fmla="*/ 1146996 w 2736000"/>
              <a:gd name="connsiteY15" fmla="*/ 2057479 h 3930092"/>
              <a:gd name="connsiteX16" fmla="*/ 1055065 w 2736000"/>
              <a:gd name="connsiteY16" fmla="*/ 2431585 h 3930092"/>
              <a:gd name="connsiteX17" fmla="*/ 539378 w 2736000"/>
              <a:gd name="connsiteY17" fmla="*/ 3468615 h 3930092"/>
              <a:gd name="connsiteX18" fmla="*/ 539378 w 2736000"/>
              <a:gd name="connsiteY18" fmla="*/ 3604591 h 3930092"/>
              <a:gd name="connsiteX19" fmla="*/ 2196077 w 2736000"/>
              <a:gd name="connsiteY19" fmla="*/ 3604591 h 3930092"/>
              <a:gd name="connsiteX20" fmla="*/ 2196077 w 2736000"/>
              <a:gd name="connsiteY20" fmla="*/ 3468615 h 3930092"/>
              <a:gd name="connsiteX21" fmla="*/ 1695313 w 2736000"/>
              <a:gd name="connsiteY21" fmla="*/ 2440912 h 3930092"/>
              <a:gd name="connsiteX22" fmla="*/ 1617547 w 2736000"/>
              <a:gd name="connsiteY22" fmla="*/ 2049252 h 3930092"/>
              <a:gd name="connsiteX23" fmla="*/ 1719395 w 2736000"/>
              <a:gd name="connsiteY23" fmla="*/ 1540961 h 3930092"/>
              <a:gd name="connsiteX24" fmla="*/ 2207952 w 2736000"/>
              <a:gd name="connsiteY24" fmla="*/ 449580 h 3930092"/>
              <a:gd name="connsiteX25" fmla="*/ 2207952 w 2736000"/>
              <a:gd name="connsiteY25" fmla="*/ 299874 h 3930092"/>
              <a:gd name="connsiteX26" fmla="*/ 516625 w 2736000"/>
              <a:gd name="connsiteY26" fmla="*/ 299874 h 3930092"/>
              <a:gd name="connsiteX27" fmla="*/ 144000 w 2736000"/>
              <a:gd name="connsiteY27" fmla="*/ 0 h 3930092"/>
              <a:gd name="connsiteX28" fmla="*/ 2592000 w 2736000"/>
              <a:gd name="connsiteY28" fmla="*/ 0 h 3930092"/>
              <a:gd name="connsiteX29" fmla="*/ 2736000 w 2736000"/>
              <a:gd name="connsiteY29" fmla="*/ 144000 h 3930092"/>
              <a:gd name="connsiteX30" fmla="*/ 2592000 w 2736000"/>
              <a:gd name="connsiteY30" fmla="*/ 288000 h 3930092"/>
              <a:gd name="connsiteX31" fmla="*/ 2396702 w 2736000"/>
              <a:gd name="connsiteY31" fmla="*/ 288000 h 3930092"/>
              <a:gd name="connsiteX32" fmla="*/ 2396702 w 2736000"/>
              <a:gd name="connsiteY32" fmla="*/ 413234 h 3930092"/>
              <a:gd name="connsiteX33" fmla="*/ 1815389 w 2736000"/>
              <a:gd name="connsiteY33" fmla="*/ 1665324 h 3930092"/>
              <a:gd name="connsiteX34" fmla="*/ 1753098 w 2736000"/>
              <a:gd name="connsiteY34" fmla="*/ 1974987 h 3930092"/>
              <a:gd name="connsiteX35" fmla="*/ 1825752 w 2736000"/>
              <a:gd name="connsiteY35" fmla="*/ 2312143 h 3930092"/>
              <a:gd name="connsiteX36" fmla="*/ 2395980 w 2736000"/>
              <a:gd name="connsiteY36" fmla="*/ 3557007 h 3930092"/>
              <a:gd name="connsiteX37" fmla="*/ 2395980 w 2736000"/>
              <a:gd name="connsiteY37" fmla="*/ 3642092 h 3930092"/>
              <a:gd name="connsiteX38" fmla="*/ 2592000 w 2736000"/>
              <a:gd name="connsiteY38" fmla="*/ 3642092 h 3930092"/>
              <a:gd name="connsiteX39" fmla="*/ 2736000 w 2736000"/>
              <a:gd name="connsiteY39" fmla="*/ 3786092 h 3930092"/>
              <a:gd name="connsiteX40" fmla="*/ 2592000 w 2736000"/>
              <a:gd name="connsiteY40" fmla="*/ 3930092 h 3930092"/>
              <a:gd name="connsiteX41" fmla="*/ 144000 w 2736000"/>
              <a:gd name="connsiteY41" fmla="*/ 3930092 h 3930092"/>
              <a:gd name="connsiteX42" fmla="*/ 0 w 2736000"/>
              <a:gd name="connsiteY42" fmla="*/ 3786092 h 3930092"/>
              <a:gd name="connsiteX43" fmla="*/ 144000 w 2736000"/>
              <a:gd name="connsiteY43" fmla="*/ 3642092 h 3930092"/>
              <a:gd name="connsiteX44" fmla="*/ 338578 w 2736000"/>
              <a:gd name="connsiteY44" fmla="*/ 3642092 h 3930092"/>
              <a:gd name="connsiteX45" fmla="*/ 338578 w 2736000"/>
              <a:gd name="connsiteY45" fmla="*/ 3557007 h 3930092"/>
              <a:gd name="connsiteX46" fmla="*/ 951672 w 2736000"/>
              <a:gd name="connsiteY46" fmla="*/ 2284199 h 3930092"/>
              <a:gd name="connsiteX47" fmla="*/ 1012216 w 2736000"/>
              <a:gd name="connsiteY47" fmla="*/ 1995181 h 3930092"/>
              <a:gd name="connsiteX48" fmla="*/ 943195 w 2736000"/>
              <a:gd name="connsiteY48" fmla="*/ 1693402 h 3930092"/>
              <a:gd name="connsiteX49" fmla="*/ 339300 w 2736000"/>
              <a:gd name="connsiteY49" fmla="*/ 413234 h 3930092"/>
              <a:gd name="connsiteX50" fmla="*/ 339300 w 2736000"/>
              <a:gd name="connsiteY50" fmla="*/ 288000 h 3930092"/>
              <a:gd name="connsiteX51" fmla="*/ 144000 w 2736000"/>
              <a:gd name="connsiteY51" fmla="*/ 288000 h 3930092"/>
              <a:gd name="connsiteX52" fmla="*/ 0 w 2736000"/>
              <a:gd name="connsiteY52" fmla="*/ 144000 h 3930092"/>
              <a:gd name="connsiteX53" fmla="*/ 144000 w 2736000"/>
              <a:gd name="connsiteY53" fmla="*/ 0 h 393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36000" h="3930092">
                <a:moveTo>
                  <a:pt x="1367278" y="2418044"/>
                </a:moveTo>
                <a:cubicBezTo>
                  <a:pt x="1475622" y="2496498"/>
                  <a:pt x="1442256" y="2523346"/>
                  <a:pt x="1552576" y="2576139"/>
                </a:cubicBezTo>
                <a:cubicBezTo>
                  <a:pt x="1866725" y="2636040"/>
                  <a:pt x="2088000" y="3057033"/>
                  <a:pt x="2088000" y="3520946"/>
                </a:cubicBezTo>
                <a:lnTo>
                  <a:pt x="648080" y="3506285"/>
                </a:lnTo>
                <a:cubicBezTo>
                  <a:pt x="653073" y="3048089"/>
                  <a:pt x="871005" y="2673776"/>
                  <a:pt x="1182763" y="2571640"/>
                </a:cubicBezTo>
                <a:cubicBezTo>
                  <a:pt x="1280064" y="2508169"/>
                  <a:pt x="1254632" y="2499927"/>
                  <a:pt x="1367278" y="2418044"/>
                </a:cubicBezTo>
                <a:close/>
                <a:moveTo>
                  <a:pt x="648003" y="793859"/>
                </a:moveTo>
                <a:lnTo>
                  <a:pt x="2087849" y="808518"/>
                </a:lnTo>
                <a:cubicBezTo>
                  <a:pt x="2081743" y="1099400"/>
                  <a:pt x="1898532" y="1346081"/>
                  <a:pt x="1641214" y="1449982"/>
                </a:cubicBezTo>
                <a:cubicBezTo>
                  <a:pt x="1581100" y="1476031"/>
                  <a:pt x="1454311" y="1749732"/>
                  <a:pt x="1368003" y="1937706"/>
                </a:cubicBezTo>
                <a:cubicBezTo>
                  <a:pt x="1290978" y="1744554"/>
                  <a:pt x="1168712" y="1479962"/>
                  <a:pt x="1094068" y="1448735"/>
                </a:cubicBezTo>
                <a:cubicBezTo>
                  <a:pt x="831917" y="1343398"/>
                  <a:pt x="648003" y="1089607"/>
                  <a:pt x="648003" y="793859"/>
                </a:cubicBezTo>
                <a:close/>
                <a:moveTo>
                  <a:pt x="516625" y="299874"/>
                </a:moveTo>
                <a:lnTo>
                  <a:pt x="516625" y="449580"/>
                </a:lnTo>
                <a:cubicBezTo>
                  <a:pt x="516625" y="947043"/>
                  <a:pt x="728081" y="1374116"/>
                  <a:pt x="1029987" y="1557992"/>
                </a:cubicBezTo>
                <a:cubicBezTo>
                  <a:pt x="1152140" y="1645374"/>
                  <a:pt x="1146996" y="1879118"/>
                  <a:pt x="1146996" y="2057479"/>
                </a:cubicBezTo>
                <a:cubicBezTo>
                  <a:pt x="1146996" y="2199170"/>
                  <a:pt x="1165085" y="2330604"/>
                  <a:pt x="1055065" y="2431585"/>
                </a:cubicBezTo>
                <a:cubicBezTo>
                  <a:pt x="746548" y="2590263"/>
                  <a:pt x="539378" y="3004916"/>
                  <a:pt x="539378" y="3468615"/>
                </a:cubicBezTo>
                <a:lnTo>
                  <a:pt x="539378" y="3604591"/>
                </a:lnTo>
                <a:lnTo>
                  <a:pt x="2196077" y="3604591"/>
                </a:lnTo>
                <a:lnTo>
                  <a:pt x="2196077" y="3468615"/>
                </a:lnTo>
                <a:cubicBezTo>
                  <a:pt x="2196077" y="3023625"/>
                  <a:pt x="1980552" y="2629673"/>
                  <a:pt x="1695313" y="2440912"/>
                </a:cubicBezTo>
                <a:cubicBezTo>
                  <a:pt x="1597256" y="2355530"/>
                  <a:pt x="1621109" y="2199255"/>
                  <a:pt x="1617547" y="2049252"/>
                </a:cubicBezTo>
                <a:cubicBezTo>
                  <a:pt x="1614246" y="1910233"/>
                  <a:pt x="1594005" y="1638458"/>
                  <a:pt x="1719395" y="1540961"/>
                </a:cubicBezTo>
                <a:cubicBezTo>
                  <a:pt x="2008283" y="1349911"/>
                  <a:pt x="2207952" y="932979"/>
                  <a:pt x="2207952" y="449580"/>
                </a:cubicBezTo>
                <a:lnTo>
                  <a:pt x="2207952" y="299874"/>
                </a:lnTo>
                <a:lnTo>
                  <a:pt x="516625" y="299874"/>
                </a:lnTo>
                <a:close/>
                <a:moveTo>
                  <a:pt x="144000" y="0"/>
                </a:moveTo>
                <a:lnTo>
                  <a:pt x="2592000" y="0"/>
                </a:lnTo>
                <a:cubicBezTo>
                  <a:pt x="2671529" y="0"/>
                  <a:pt x="2736000" y="64471"/>
                  <a:pt x="2736000" y="144000"/>
                </a:cubicBezTo>
                <a:cubicBezTo>
                  <a:pt x="2736000" y="223529"/>
                  <a:pt x="2671529" y="288000"/>
                  <a:pt x="2592000" y="288000"/>
                </a:cubicBezTo>
                <a:lnTo>
                  <a:pt x="2396702" y="288000"/>
                </a:lnTo>
                <a:lnTo>
                  <a:pt x="2396702" y="413234"/>
                </a:lnTo>
                <a:cubicBezTo>
                  <a:pt x="2396702" y="964640"/>
                  <a:pt x="2159804" y="1441170"/>
                  <a:pt x="1815389" y="1665324"/>
                </a:cubicBezTo>
                <a:cubicBezTo>
                  <a:pt x="1718143" y="1767020"/>
                  <a:pt x="1749155" y="1822697"/>
                  <a:pt x="1753098" y="1974987"/>
                </a:cubicBezTo>
                <a:cubicBezTo>
                  <a:pt x="1757412" y="2141597"/>
                  <a:pt x="1739638" y="2200230"/>
                  <a:pt x="1825752" y="2312143"/>
                </a:cubicBezTo>
                <a:cubicBezTo>
                  <a:pt x="2164142" y="2539312"/>
                  <a:pt x="2395980" y="3011520"/>
                  <a:pt x="2395980" y="3557007"/>
                </a:cubicBezTo>
                <a:lnTo>
                  <a:pt x="2395980" y="3642092"/>
                </a:lnTo>
                <a:lnTo>
                  <a:pt x="2592000" y="3642092"/>
                </a:lnTo>
                <a:cubicBezTo>
                  <a:pt x="2671529" y="3642092"/>
                  <a:pt x="2736000" y="3706563"/>
                  <a:pt x="2736000" y="3786092"/>
                </a:cubicBezTo>
                <a:cubicBezTo>
                  <a:pt x="2736000" y="3865621"/>
                  <a:pt x="2671529" y="3930092"/>
                  <a:pt x="2592000" y="3930092"/>
                </a:cubicBezTo>
                <a:lnTo>
                  <a:pt x="144000" y="3930092"/>
                </a:lnTo>
                <a:cubicBezTo>
                  <a:pt x="64471" y="3930092"/>
                  <a:pt x="0" y="3865621"/>
                  <a:pt x="0" y="3786092"/>
                </a:cubicBezTo>
                <a:cubicBezTo>
                  <a:pt x="0" y="3706563"/>
                  <a:pt x="64471" y="3642092"/>
                  <a:pt x="144000" y="3642092"/>
                </a:cubicBezTo>
                <a:lnTo>
                  <a:pt x="338578" y="3642092"/>
                </a:lnTo>
                <a:lnTo>
                  <a:pt x="338578" y="3557007"/>
                </a:lnTo>
                <a:cubicBezTo>
                  <a:pt x="338578" y="2988551"/>
                  <a:pt x="590352" y="2499674"/>
                  <a:pt x="951672" y="2284199"/>
                </a:cubicBezTo>
                <a:cubicBezTo>
                  <a:pt x="1026597" y="2195332"/>
                  <a:pt x="1008559" y="2142287"/>
                  <a:pt x="1012216" y="1995181"/>
                </a:cubicBezTo>
                <a:cubicBezTo>
                  <a:pt x="1001243" y="1843296"/>
                  <a:pt x="1013640" y="1774963"/>
                  <a:pt x="943195" y="1693402"/>
                </a:cubicBezTo>
                <a:cubicBezTo>
                  <a:pt x="584785" y="1476413"/>
                  <a:pt x="339300" y="978710"/>
                  <a:pt x="339300" y="413234"/>
                </a:cubicBezTo>
                <a:lnTo>
                  <a:pt x="339300" y="288000"/>
                </a:lnTo>
                <a:lnTo>
                  <a:pt x="144000" y="288000"/>
                </a:lnTo>
                <a:cubicBezTo>
                  <a:pt x="64471" y="288000"/>
                  <a:pt x="0" y="223529"/>
                  <a:pt x="0" y="144000"/>
                </a:cubicBezTo>
                <a:cubicBezTo>
                  <a:pt x="0" y="64471"/>
                  <a:pt x="64471" y="0"/>
                  <a:pt x="144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6" name="Rounded Rectangle 24">
            <a:extLst>
              <a:ext uri="{FF2B5EF4-FFF2-40B4-BE49-F238E27FC236}">
                <a16:creationId xmlns:a16="http://schemas.microsoft.com/office/drawing/2014/main" id="{92D32F7C-117D-FF45-B3EC-FA48F93970A3}"/>
              </a:ext>
            </a:extLst>
          </p:cNvPr>
          <p:cNvSpPr/>
          <p:nvPr/>
        </p:nvSpPr>
        <p:spPr>
          <a:xfrm>
            <a:off x="7282659" y="1882321"/>
            <a:ext cx="391554" cy="302962"/>
          </a:xfrm>
          <a:custGeom>
            <a:avLst/>
            <a:gdLst/>
            <a:ahLst/>
            <a:cxnLst/>
            <a:rect l="l" t="t" r="r" b="b"/>
            <a:pathLst>
              <a:path w="3960000" h="3064028">
                <a:moveTo>
                  <a:pt x="1955333" y="1285185"/>
                </a:moveTo>
                <a:cubicBezTo>
                  <a:pt x="2192176" y="1285185"/>
                  <a:pt x="2384176" y="1477185"/>
                  <a:pt x="2384176" y="1714028"/>
                </a:cubicBezTo>
                <a:cubicBezTo>
                  <a:pt x="2384176" y="1950871"/>
                  <a:pt x="2192176" y="2142871"/>
                  <a:pt x="1955333" y="2142871"/>
                </a:cubicBezTo>
                <a:cubicBezTo>
                  <a:pt x="1718490" y="2142871"/>
                  <a:pt x="1526490" y="1950871"/>
                  <a:pt x="1526490" y="1714028"/>
                </a:cubicBezTo>
                <a:cubicBezTo>
                  <a:pt x="1526490" y="1477185"/>
                  <a:pt x="1718490" y="1285185"/>
                  <a:pt x="1955333" y="1285185"/>
                </a:cubicBezTo>
                <a:close/>
                <a:moveTo>
                  <a:pt x="1955333" y="1074136"/>
                </a:moveTo>
                <a:cubicBezTo>
                  <a:pt x="1601930" y="1074136"/>
                  <a:pt x="1315441" y="1360625"/>
                  <a:pt x="1315441" y="1714028"/>
                </a:cubicBezTo>
                <a:cubicBezTo>
                  <a:pt x="1315441" y="2067431"/>
                  <a:pt x="1601930" y="2353920"/>
                  <a:pt x="1955333" y="2353920"/>
                </a:cubicBezTo>
                <a:cubicBezTo>
                  <a:pt x="2308736" y="2353920"/>
                  <a:pt x="2595225" y="2067431"/>
                  <a:pt x="2595225" y="1714028"/>
                </a:cubicBezTo>
                <a:cubicBezTo>
                  <a:pt x="2595225" y="1360625"/>
                  <a:pt x="2308736" y="1074136"/>
                  <a:pt x="1955333" y="1074136"/>
                </a:cubicBezTo>
                <a:close/>
                <a:moveTo>
                  <a:pt x="1955333" y="849503"/>
                </a:moveTo>
                <a:cubicBezTo>
                  <a:pt x="2432797" y="849503"/>
                  <a:pt x="2819858" y="1236564"/>
                  <a:pt x="2819858" y="1714028"/>
                </a:cubicBezTo>
                <a:cubicBezTo>
                  <a:pt x="2819858" y="2191492"/>
                  <a:pt x="2432797" y="2578553"/>
                  <a:pt x="1955333" y="2578553"/>
                </a:cubicBezTo>
                <a:cubicBezTo>
                  <a:pt x="1477869" y="2578553"/>
                  <a:pt x="1090808" y="2191492"/>
                  <a:pt x="1090808" y="1714028"/>
                </a:cubicBezTo>
                <a:cubicBezTo>
                  <a:pt x="1090808" y="1236564"/>
                  <a:pt x="1477869" y="849503"/>
                  <a:pt x="1955333" y="849503"/>
                </a:cubicBezTo>
                <a:close/>
                <a:moveTo>
                  <a:pt x="3253503" y="756254"/>
                </a:moveTo>
                <a:cubicBezTo>
                  <a:pt x="3162525" y="756254"/>
                  <a:pt x="3088773" y="830006"/>
                  <a:pt x="3088773" y="920984"/>
                </a:cubicBezTo>
                <a:cubicBezTo>
                  <a:pt x="3088773" y="1011962"/>
                  <a:pt x="3162525" y="1085714"/>
                  <a:pt x="3253503" y="1085714"/>
                </a:cubicBezTo>
                <a:cubicBezTo>
                  <a:pt x="3344481" y="1085714"/>
                  <a:pt x="3418233" y="1011962"/>
                  <a:pt x="3418233" y="920984"/>
                </a:cubicBezTo>
                <a:cubicBezTo>
                  <a:pt x="3418233" y="830006"/>
                  <a:pt x="3344481" y="756254"/>
                  <a:pt x="3253503" y="756254"/>
                </a:cubicBezTo>
                <a:close/>
                <a:moveTo>
                  <a:pt x="1955333" y="744677"/>
                </a:moveTo>
                <a:cubicBezTo>
                  <a:pt x="1419975" y="744677"/>
                  <a:pt x="985982" y="1178670"/>
                  <a:pt x="985982" y="1714028"/>
                </a:cubicBezTo>
                <a:cubicBezTo>
                  <a:pt x="985982" y="2249386"/>
                  <a:pt x="1419975" y="2683379"/>
                  <a:pt x="1955333" y="2683379"/>
                </a:cubicBezTo>
                <a:cubicBezTo>
                  <a:pt x="2490691" y="2683379"/>
                  <a:pt x="2924684" y="2249386"/>
                  <a:pt x="2924684" y="1714028"/>
                </a:cubicBezTo>
                <a:cubicBezTo>
                  <a:pt x="2924684" y="1178670"/>
                  <a:pt x="2490691" y="744677"/>
                  <a:pt x="1955333" y="744677"/>
                </a:cubicBezTo>
                <a:close/>
                <a:moveTo>
                  <a:pt x="1333922" y="0"/>
                </a:moveTo>
                <a:lnTo>
                  <a:pt x="2626078" y="0"/>
                </a:lnTo>
                <a:lnTo>
                  <a:pt x="2717085" y="364028"/>
                </a:lnTo>
                <a:lnTo>
                  <a:pt x="3699990" y="364028"/>
                </a:lnTo>
                <a:cubicBezTo>
                  <a:pt x="3843590" y="364028"/>
                  <a:pt x="3960000" y="480438"/>
                  <a:pt x="3960000" y="624038"/>
                </a:cubicBezTo>
                <a:lnTo>
                  <a:pt x="3960000" y="2804018"/>
                </a:lnTo>
                <a:cubicBezTo>
                  <a:pt x="3960000" y="2947618"/>
                  <a:pt x="3843590" y="3064028"/>
                  <a:pt x="3699990" y="3064028"/>
                </a:cubicBezTo>
                <a:lnTo>
                  <a:pt x="260010" y="3064028"/>
                </a:lnTo>
                <a:cubicBezTo>
                  <a:pt x="116410" y="3064028"/>
                  <a:pt x="0" y="2947618"/>
                  <a:pt x="0" y="2804018"/>
                </a:cubicBezTo>
                <a:lnTo>
                  <a:pt x="0" y="624038"/>
                </a:lnTo>
                <a:cubicBezTo>
                  <a:pt x="0" y="480438"/>
                  <a:pt x="116410" y="364028"/>
                  <a:pt x="260010" y="364028"/>
                </a:cubicBezTo>
                <a:lnTo>
                  <a:pt x="443165" y="364028"/>
                </a:lnTo>
                <a:lnTo>
                  <a:pt x="443165" y="237982"/>
                </a:lnTo>
                <a:cubicBezTo>
                  <a:pt x="443165" y="195266"/>
                  <a:pt x="477794" y="160637"/>
                  <a:pt x="520510" y="160637"/>
                </a:cubicBezTo>
                <a:lnTo>
                  <a:pt x="1049896" y="160637"/>
                </a:lnTo>
                <a:cubicBezTo>
                  <a:pt x="1092612" y="160637"/>
                  <a:pt x="1127241" y="195266"/>
                  <a:pt x="1127241" y="237982"/>
                </a:cubicBezTo>
                <a:lnTo>
                  <a:pt x="1127241" y="364028"/>
                </a:lnTo>
                <a:lnTo>
                  <a:pt x="1242915" y="3640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7" name="Donut 15">
            <a:extLst>
              <a:ext uri="{FF2B5EF4-FFF2-40B4-BE49-F238E27FC236}">
                <a16:creationId xmlns:a16="http://schemas.microsoft.com/office/drawing/2014/main" id="{326A5927-9C73-8041-BE64-5F070C9049A4}"/>
              </a:ext>
            </a:extLst>
          </p:cNvPr>
          <p:cNvSpPr/>
          <p:nvPr/>
        </p:nvSpPr>
        <p:spPr>
          <a:xfrm>
            <a:off x="4517200" y="5294073"/>
            <a:ext cx="392738" cy="390005"/>
          </a:xfrm>
          <a:custGeom>
            <a:avLst/>
            <a:gdLst/>
            <a:ahLst/>
            <a:cxnLst/>
            <a:rect l="l" t="t" r="r" b="b"/>
            <a:pathLst>
              <a:path w="3821708" h="3795110">
                <a:moveTo>
                  <a:pt x="1910854" y="903842"/>
                </a:moveTo>
                <a:lnTo>
                  <a:pt x="1793831" y="1129420"/>
                </a:lnTo>
                <a:lnTo>
                  <a:pt x="1791613" y="1129420"/>
                </a:lnTo>
                <a:lnTo>
                  <a:pt x="1791892" y="1133157"/>
                </a:lnTo>
                <a:lnTo>
                  <a:pt x="1791613" y="1133695"/>
                </a:lnTo>
                <a:lnTo>
                  <a:pt x="1791933" y="1133695"/>
                </a:lnTo>
                <a:lnTo>
                  <a:pt x="1833002" y="1683464"/>
                </a:lnTo>
                <a:cubicBezTo>
                  <a:pt x="1744939" y="1714584"/>
                  <a:pt x="1682254" y="1798749"/>
                  <a:pt x="1682254" y="1897555"/>
                </a:cubicBezTo>
                <a:cubicBezTo>
                  <a:pt x="1682254" y="2023808"/>
                  <a:pt x="1784602" y="2126156"/>
                  <a:pt x="1910855" y="2126156"/>
                </a:cubicBezTo>
                <a:cubicBezTo>
                  <a:pt x="1975561" y="2126156"/>
                  <a:pt x="2033988" y="2099273"/>
                  <a:pt x="2075304" y="2055803"/>
                </a:cubicBezTo>
                <a:lnTo>
                  <a:pt x="2443125" y="2288080"/>
                </a:lnTo>
                <a:lnTo>
                  <a:pt x="2443003" y="2288309"/>
                </a:lnTo>
                <a:lnTo>
                  <a:pt x="2443494" y="2288314"/>
                </a:lnTo>
                <a:lnTo>
                  <a:pt x="2446061" y="2289935"/>
                </a:lnTo>
                <a:lnTo>
                  <a:pt x="2446904" y="2288348"/>
                </a:lnTo>
                <a:lnTo>
                  <a:pt x="2652725" y="2290436"/>
                </a:lnTo>
                <a:lnTo>
                  <a:pt x="2535900" y="2120971"/>
                </a:lnTo>
                <a:lnTo>
                  <a:pt x="2536744" y="2119385"/>
                </a:lnTo>
                <a:lnTo>
                  <a:pt x="2533964" y="2118163"/>
                </a:lnTo>
                <a:lnTo>
                  <a:pt x="2533686" y="2117759"/>
                </a:lnTo>
                <a:lnTo>
                  <a:pt x="2533565" y="2117988"/>
                </a:lnTo>
                <a:lnTo>
                  <a:pt x="2134900" y="1942755"/>
                </a:lnTo>
                <a:cubicBezTo>
                  <a:pt x="2137918" y="1928156"/>
                  <a:pt x="2139456" y="1913035"/>
                  <a:pt x="2139456" y="1897555"/>
                </a:cubicBezTo>
                <a:cubicBezTo>
                  <a:pt x="2139456" y="1798748"/>
                  <a:pt x="2076770" y="1714583"/>
                  <a:pt x="1988706" y="1683463"/>
                </a:cubicBezTo>
                <a:lnTo>
                  <a:pt x="2029775" y="1133695"/>
                </a:lnTo>
                <a:lnTo>
                  <a:pt x="2030094" y="1133695"/>
                </a:lnTo>
                <a:lnTo>
                  <a:pt x="2029815" y="1133157"/>
                </a:lnTo>
                <a:lnTo>
                  <a:pt x="2030094" y="1129420"/>
                </a:lnTo>
                <a:lnTo>
                  <a:pt x="2027877" y="1129420"/>
                </a:lnTo>
                <a:close/>
                <a:moveTo>
                  <a:pt x="1910854" y="565406"/>
                </a:moveTo>
                <a:cubicBezTo>
                  <a:pt x="2646579" y="565406"/>
                  <a:pt x="3243002" y="1161829"/>
                  <a:pt x="3243002" y="1897554"/>
                </a:cubicBezTo>
                <a:cubicBezTo>
                  <a:pt x="3243002" y="2633279"/>
                  <a:pt x="2646579" y="3229702"/>
                  <a:pt x="1910854" y="3229702"/>
                </a:cubicBezTo>
                <a:cubicBezTo>
                  <a:pt x="1175129" y="3229702"/>
                  <a:pt x="578706" y="2633279"/>
                  <a:pt x="578706" y="1897554"/>
                </a:cubicBezTo>
                <a:cubicBezTo>
                  <a:pt x="578706" y="1161829"/>
                  <a:pt x="1175129" y="565406"/>
                  <a:pt x="1910854" y="565406"/>
                </a:cubicBezTo>
                <a:close/>
                <a:moveTo>
                  <a:pt x="1766837" y="367010"/>
                </a:moveTo>
                <a:cubicBezTo>
                  <a:pt x="1050362" y="432397"/>
                  <a:pt x="475174" y="981146"/>
                  <a:pt x="377476" y="1681610"/>
                </a:cubicBezTo>
                <a:lnTo>
                  <a:pt x="426306" y="1681610"/>
                </a:lnTo>
                <a:cubicBezTo>
                  <a:pt x="510474" y="1681610"/>
                  <a:pt x="578706" y="1746088"/>
                  <a:pt x="578706" y="1825626"/>
                </a:cubicBezTo>
                <a:cubicBezTo>
                  <a:pt x="578706" y="1905164"/>
                  <a:pt x="510474" y="1969642"/>
                  <a:pt x="426306" y="1969642"/>
                </a:cubicBezTo>
                <a:lnTo>
                  <a:pt x="364094" y="1969642"/>
                </a:lnTo>
                <a:cubicBezTo>
                  <a:pt x="398055" y="2738400"/>
                  <a:pt x="1003246" y="3359660"/>
                  <a:pt x="1769417" y="3427809"/>
                </a:cubicBezTo>
                <a:lnTo>
                  <a:pt x="1769417" y="3382101"/>
                </a:lnTo>
                <a:cubicBezTo>
                  <a:pt x="1769417" y="3297933"/>
                  <a:pt x="1833895" y="3229701"/>
                  <a:pt x="1913433" y="3229701"/>
                </a:cubicBezTo>
                <a:cubicBezTo>
                  <a:pt x="1992971" y="3229701"/>
                  <a:pt x="2057449" y="3297933"/>
                  <a:pt x="2057449" y="3382101"/>
                </a:cubicBezTo>
                <a:lnTo>
                  <a:pt x="2057449" y="3427707"/>
                </a:lnTo>
                <a:cubicBezTo>
                  <a:pt x="2804164" y="3358467"/>
                  <a:pt x="3396856" y="2764020"/>
                  <a:pt x="3455018" y="2020616"/>
                </a:cubicBezTo>
                <a:lnTo>
                  <a:pt x="3395402" y="2020616"/>
                </a:lnTo>
                <a:cubicBezTo>
                  <a:pt x="3311234" y="2020616"/>
                  <a:pt x="3243002" y="1956138"/>
                  <a:pt x="3243002" y="1876600"/>
                </a:cubicBezTo>
                <a:cubicBezTo>
                  <a:pt x="3243002" y="1797062"/>
                  <a:pt x="3311234" y="1732584"/>
                  <a:pt x="3395402" y="1732584"/>
                </a:cubicBezTo>
                <a:lnTo>
                  <a:pt x="3451747" y="1732584"/>
                </a:lnTo>
                <a:cubicBezTo>
                  <a:pt x="3374444" y="1008025"/>
                  <a:pt x="2788738" y="434055"/>
                  <a:pt x="2054869" y="367632"/>
                </a:cubicBezTo>
                <a:lnTo>
                  <a:pt x="2054869" y="407296"/>
                </a:lnTo>
                <a:cubicBezTo>
                  <a:pt x="2054869" y="491464"/>
                  <a:pt x="1990391" y="559696"/>
                  <a:pt x="1910853" y="559696"/>
                </a:cubicBezTo>
                <a:cubicBezTo>
                  <a:pt x="1831315" y="559696"/>
                  <a:pt x="1766837" y="491464"/>
                  <a:pt x="1766837" y="407296"/>
                </a:cubicBezTo>
                <a:close/>
                <a:moveTo>
                  <a:pt x="1910854" y="0"/>
                </a:moveTo>
                <a:cubicBezTo>
                  <a:pt x="2966190" y="0"/>
                  <a:pt x="3821708" y="849564"/>
                  <a:pt x="3821708" y="1897555"/>
                </a:cubicBezTo>
                <a:cubicBezTo>
                  <a:pt x="3821708" y="2945546"/>
                  <a:pt x="2966190" y="3795110"/>
                  <a:pt x="1910854" y="3795110"/>
                </a:cubicBezTo>
                <a:cubicBezTo>
                  <a:pt x="855518" y="3795110"/>
                  <a:pt x="0" y="2945546"/>
                  <a:pt x="0" y="1897555"/>
                </a:cubicBezTo>
                <a:cubicBezTo>
                  <a:pt x="0" y="849564"/>
                  <a:pt x="855518" y="0"/>
                  <a:pt x="19108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solidFill>
                <a:schemeClr val="tx1"/>
              </a:solidFill>
            </a:endParaRPr>
          </a:p>
        </p:txBody>
      </p:sp>
      <p:grpSp>
        <p:nvGrpSpPr>
          <p:cNvPr id="38" name="Group 37">
            <a:extLst>
              <a:ext uri="{FF2B5EF4-FFF2-40B4-BE49-F238E27FC236}">
                <a16:creationId xmlns:a16="http://schemas.microsoft.com/office/drawing/2014/main" id="{A04703E5-40ED-BD48-9E07-4C3A40654D0C}"/>
              </a:ext>
            </a:extLst>
          </p:cNvPr>
          <p:cNvGrpSpPr/>
          <p:nvPr/>
        </p:nvGrpSpPr>
        <p:grpSpPr>
          <a:xfrm>
            <a:off x="8038215" y="5025475"/>
            <a:ext cx="3168000" cy="927205"/>
            <a:chOff x="6533673" y="3357955"/>
            <a:chExt cx="2150471" cy="927205"/>
          </a:xfrm>
        </p:grpSpPr>
        <p:sp>
          <p:nvSpPr>
            <p:cNvPr id="39" name="TextBox 38">
              <a:extLst>
                <a:ext uri="{FF2B5EF4-FFF2-40B4-BE49-F238E27FC236}">
                  <a16:creationId xmlns:a16="http://schemas.microsoft.com/office/drawing/2014/main" id="{2AEE19CB-0DF3-5F4B-BA23-859D30BEA8B7}"/>
                </a:ext>
              </a:extLst>
            </p:cNvPr>
            <p:cNvSpPr txBox="1"/>
            <p:nvPr/>
          </p:nvSpPr>
          <p:spPr>
            <a:xfrm>
              <a:off x="6533673" y="3638829"/>
              <a:ext cx="2150471" cy="646331"/>
            </a:xfrm>
            <a:prstGeom prst="rect">
              <a:avLst/>
            </a:prstGeom>
            <a:noFill/>
          </p:spPr>
          <p:txBody>
            <a:bodyPr wrap="square" rtlCol="0">
              <a:spAutoFit/>
            </a:bodyPr>
            <a:lstStyle/>
            <a:p>
              <a:r>
                <a:rPr lang="en-US" altLang="ko-KR" sz="1200">
                  <a:solidFill>
                    <a:schemeClr val="tx1">
                      <a:lumMod val="65000"/>
                      <a:lumOff val="35000"/>
                    </a:schemeClr>
                  </a:solidFill>
                  <a:latin typeface="Arial" pitchFamily="34" charset="0"/>
                  <a:cs typeface="Arial" pitchFamily="34" charset="0"/>
                </a:rPr>
                <a:t>You can simply impress your audience and add a unique zing and appeal to your Presentations.   </a:t>
              </a:r>
            </a:p>
          </p:txBody>
        </p:sp>
        <p:sp>
          <p:nvSpPr>
            <p:cNvPr id="40" name="TextBox 39">
              <a:extLst>
                <a:ext uri="{FF2B5EF4-FFF2-40B4-BE49-F238E27FC236}">
                  <a16:creationId xmlns:a16="http://schemas.microsoft.com/office/drawing/2014/main" id="{78E2BC19-EAC1-9442-8DC4-15E1C59D67C7}"/>
                </a:ext>
              </a:extLst>
            </p:cNvPr>
            <p:cNvSpPr txBox="1"/>
            <p:nvPr/>
          </p:nvSpPr>
          <p:spPr>
            <a:xfrm>
              <a:off x="6533673" y="3357955"/>
              <a:ext cx="2150471" cy="276999"/>
            </a:xfrm>
            <a:prstGeom prst="rect">
              <a:avLst/>
            </a:prstGeom>
            <a:noFill/>
          </p:spPr>
          <p:txBody>
            <a:bodyPr wrap="square" rtlCol="0">
              <a:spAutoFit/>
            </a:bodyPr>
            <a:lstStyle/>
            <a:p>
              <a:r>
                <a:rPr lang="en-US" altLang="ko-KR" sz="1200" b="1">
                  <a:solidFill>
                    <a:schemeClr val="tx1">
                      <a:lumMod val="65000"/>
                      <a:lumOff val="35000"/>
                    </a:schemeClr>
                  </a:solidFill>
                  <a:latin typeface="Arial" pitchFamily="34" charset="0"/>
                  <a:cs typeface="Arial" pitchFamily="34" charset="0"/>
                </a:rPr>
                <a:t>Content  Here</a:t>
              </a:r>
              <a:endParaRPr lang="ko-KR" altLang="en-US" sz="1200" b="1">
                <a:solidFill>
                  <a:schemeClr val="tx1">
                    <a:lumMod val="65000"/>
                    <a:lumOff val="35000"/>
                  </a:schemeClr>
                </a:solidFill>
                <a:latin typeface="Arial" pitchFamily="34" charset="0"/>
                <a:cs typeface="Arial" pitchFamily="34" charset="0"/>
              </a:endParaRPr>
            </a:p>
          </p:txBody>
        </p:sp>
      </p:grpSp>
      <p:grpSp>
        <p:nvGrpSpPr>
          <p:cNvPr id="41" name="Group 40">
            <a:extLst>
              <a:ext uri="{FF2B5EF4-FFF2-40B4-BE49-F238E27FC236}">
                <a16:creationId xmlns:a16="http://schemas.microsoft.com/office/drawing/2014/main" id="{57976478-2FC3-8346-B65A-372A17A5358A}"/>
              </a:ext>
            </a:extLst>
          </p:cNvPr>
          <p:cNvGrpSpPr/>
          <p:nvPr/>
        </p:nvGrpSpPr>
        <p:grpSpPr>
          <a:xfrm>
            <a:off x="8038213" y="1570202"/>
            <a:ext cx="3168000" cy="927205"/>
            <a:chOff x="6533673" y="3357955"/>
            <a:chExt cx="2150472" cy="927205"/>
          </a:xfrm>
        </p:grpSpPr>
        <p:sp>
          <p:nvSpPr>
            <p:cNvPr id="42" name="TextBox 41">
              <a:extLst>
                <a:ext uri="{FF2B5EF4-FFF2-40B4-BE49-F238E27FC236}">
                  <a16:creationId xmlns:a16="http://schemas.microsoft.com/office/drawing/2014/main" id="{B86023EB-BF61-5C4B-91C8-30E45FD170CD}"/>
                </a:ext>
              </a:extLst>
            </p:cNvPr>
            <p:cNvSpPr txBox="1"/>
            <p:nvPr/>
          </p:nvSpPr>
          <p:spPr>
            <a:xfrm>
              <a:off x="6533674" y="3638829"/>
              <a:ext cx="2150471" cy="646331"/>
            </a:xfrm>
            <a:prstGeom prst="rect">
              <a:avLst/>
            </a:prstGeom>
            <a:noFill/>
          </p:spPr>
          <p:txBody>
            <a:bodyPr wrap="square" rtlCol="0">
              <a:spAutoFit/>
            </a:bodyPr>
            <a:lstStyle/>
            <a:p>
              <a:r>
                <a:rPr lang="en-US" altLang="ko-KR" sz="1200">
                  <a:solidFill>
                    <a:schemeClr val="tx1">
                      <a:lumMod val="65000"/>
                      <a:lumOff val="35000"/>
                    </a:schemeClr>
                  </a:solidFill>
                  <a:latin typeface="Arial" pitchFamily="34" charset="0"/>
                  <a:cs typeface="Arial" pitchFamily="34" charset="0"/>
                </a:rPr>
                <a:t>You can simply impress your audience and add a unique zing and appeal to your Presentations.   </a:t>
              </a:r>
            </a:p>
          </p:txBody>
        </p:sp>
        <p:sp>
          <p:nvSpPr>
            <p:cNvPr id="43" name="TextBox 42">
              <a:extLst>
                <a:ext uri="{FF2B5EF4-FFF2-40B4-BE49-F238E27FC236}">
                  <a16:creationId xmlns:a16="http://schemas.microsoft.com/office/drawing/2014/main" id="{A2AC6E5C-B316-D046-A068-28F4DAF9DF49}"/>
                </a:ext>
              </a:extLst>
            </p:cNvPr>
            <p:cNvSpPr txBox="1"/>
            <p:nvPr/>
          </p:nvSpPr>
          <p:spPr>
            <a:xfrm>
              <a:off x="6533673" y="3357955"/>
              <a:ext cx="2150471" cy="276999"/>
            </a:xfrm>
            <a:prstGeom prst="rect">
              <a:avLst/>
            </a:prstGeom>
            <a:noFill/>
          </p:spPr>
          <p:txBody>
            <a:bodyPr wrap="square" rtlCol="0">
              <a:spAutoFit/>
            </a:bodyPr>
            <a:lstStyle/>
            <a:p>
              <a:r>
                <a:rPr lang="en-US" altLang="ko-KR" sz="1200" b="1">
                  <a:solidFill>
                    <a:schemeClr val="tx1">
                      <a:lumMod val="65000"/>
                      <a:lumOff val="35000"/>
                    </a:schemeClr>
                  </a:solidFill>
                  <a:latin typeface="Arial" pitchFamily="34" charset="0"/>
                  <a:cs typeface="Arial" pitchFamily="34" charset="0"/>
                </a:rPr>
                <a:t>Content  Here</a:t>
              </a:r>
              <a:endParaRPr lang="ko-KR" altLang="en-US" sz="1200" b="1">
                <a:solidFill>
                  <a:schemeClr val="tx1">
                    <a:lumMod val="65000"/>
                    <a:lumOff val="35000"/>
                  </a:schemeClr>
                </a:solidFill>
                <a:latin typeface="Arial" pitchFamily="34" charset="0"/>
                <a:cs typeface="Arial" pitchFamily="34" charset="0"/>
              </a:endParaRPr>
            </a:p>
          </p:txBody>
        </p:sp>
      </p:grpSp>
      <p:grpSp>
        <p:nvGrpSpPr>
          <p:cNvPr id="44" name="Group 43">
            <a:extLst>
              <a:ext uri="{FF2B5EF4-FFF2-40B4-BE49-F238E27FC236}">
                <a16:creationId xmlns:a16="http://schemas.microsoft.com/office/drawing/2014/main" id="{ACEA5371-2C13-8045-9594-FB8E061BDF6A}"/>
              </a:ext>
            </a:extLst>
          </p:cNvPr>
          <p:cNvGrpSpPr/>
          <p:nvPr/>
        </p:nvGrpSpPr>
        <p:grpSpPr>
          <a:xfrm>
            <a:off x="981341" y="5025475"/>
            <a:ext cx="3168000" cy="927205"/>
            <a:chOff x="6533673" y="3357955"/>
            <a:chExt cx="2150471" cy="927205"/>
          </a:xfrm>
        </p:grpSpPr>
        <p:sp>
          <p:nvSpPr>
            <p:cNvPr id="45" name="TextBox 44">
              <a:extLst>
                <a:ext uri="{FF2B5EF4-FFF2-40B4-BE49-F238E27FC236}">
                  <a16:creationId xmlns:a16="http://schemas.microsoft.com/office/drawing/2014/main" id="{738C4920-3428-D440-A8A5-710615C515CC}"/>
                </a:ext>
              </a:extLst>
            </p:cNvPr>
            <p:cNvSpPr txBox="1"/>
            <p:nvPr/>
          </p:nvSpPr>
          <p:spPr>
            <a:xfrm>
              <a:off x="6533673" y="3638829"/>
              <a:ext cx="2150471" cy="646331"/>
            </a:xfrm>
            <a:prstGeom prst="rect">
              <a:avLst/>
            </a:prstGeom>
            <a:noFill/>
          </p:spPr>
          <p:txBody>
            <a:bodyPr wrap="square" rtlCol="0">
              <a:spAutoFit/>
            </a:bodyPr>
            <a:lstStyle/>
            <a:p>
              <a:pPr algn="r"/>
              <a:r>
                <a:rPr lang="en-US" altLang="ko-KR" sz="1200">
                  <a:solidFill>
                    <a:schemeClr val="tx1">
                      <a:lumMod val="65000"/>
                      <a:lumOff val="35000"/>
                    </a:schemeClr>
                  </a:solidFill>
                  <a:latin typeface="Arial" pitchFamily="34" charset="0"/>
                  <a:cs typeface="Arial" pitchFamily="34" charset="0"/>
                </a:rPr>
                <a:t>You can simply impress your audience and add a unique zing and appeal to your Presentations.   </a:t>
              </a:r>
            </a:p>
          </p:txBody>
        </p:sp>
        <p:sp>
          <p:nvSpPr>
            <p:cNvPr id="46" name="TextBox 45">
              <a:extLst>
                <a:ext uri="{FF2B5EF4-FFF2-40B4-BE49-F238E27FC236}">
                  <a16:creationId xmlns:a16="http://schemas.microsoft.com/office/drawing/2014/main" id="{DE130793-D26A-9C4C-8217-B4B38D8AD3CF}"/>
                </a:ext>
              </a:extLst>
            </p:cNvPr>
            <p:cNvSpPr txBox="1"/>
            <p:nvPr/>
          </p:nvSpPr>
          <p:spPr>
            <a:xfrm>
              <a:off x="6533673" y="3357955"/>
              <a:ext cx="2150471" cy="276999"/>
            </a:xfrm>
            <a:prstGeom prst="rect">
              <a:avLst/>
            </a:prstGeom>
            <a:noFill/>
          </p:spPr>
          <p:txBody>
            <a:bodyPr wrap="square" rtlCol="0">
              <a:spAutoFit/>
            </a:bodyPr>
            <a:lstStyle/>
            <a:p>
              <a:pPr algn="r"/>
              <a:r>
                <a:rPr lang="en-US" altLang="ko-KR" sz="1200" b="1">
                  <a:solidFill>
                    <a:schemeClr val="tx1">
                      <a:lumMod val="65000"/>
                      <a:lumOff val="35000"/>
                    </a:schemeClr>
                  </a:solidFill>
                  <a:latin typeface="Arial" pitchFamily="34" charset="0"/>
                  <a:cs typeface="Arial" pitchFamily="34" charset="0"/>
                </a:rPr>
                <a:t>Content  Here</a:t>
              </a:r>
              <a:endParaRPr lang="ko-KR" altLang="en-US" sz="1200" b="1">
                <a:solidFill>
                  <a:schemeClr val="tx1">
                    <a:lumMod val="65000"/>
                    <a:lumOff val="35000"/>
                  </a:schemeClr>
                </a:solidFill>
                <a:latin typeface="Arial" pitchFamily="34" charset="0"/>
                <a:cs typeface="Arial" pitchFamily="34" charset="0"/>
              </a:endParaRPr>
            </a:p>
          </p:txBody>
        </p:sp>
      </p:grpSp>
      <p:grpSp>
        <p:nvGrpSpPr>
          <p:cNvPr id="47" name="Group 46">
            <a:extLst>
              <a:ext uri="{FF2B5EF4-FFF2-40B4-BE49-F238E27FC236}">
                <a16:creationId xmlns:a16="http://schemas.microsoft.com/office/drawing/2014/main" id="{27F88886-7279-7D43-AD8F-6E91D461B740}"/>
              </a:ext>
            </a:extLst>
          </p:cNvPr>
          <p:cNvGrpSpPr/>
          <p:nvPr/>
        </p:nvGrpSpPr>
        <p:grpSpPr>
          <a:xfrm>
            <a:off x="981341" y="1570202"/>
            <a:ext cx="3168000" cy="927205"/>
            <a:chOff x="6533673" y="3357955"/>
            <a:chExt cx="2150472" cy="927205"/>
          </a:xfrm>
        </p:grpSpPr>
        <p:sp>
          <p:nvSpPr>
            <p:cNvPr id="48" name="TextBox 47">
              <a:extLst>
                <a:ext uri="{FF2B5EF4-FFF2-40B4-BE49-F238E27FC236}">
                  <a16:creationId xmlns:a16="http://schemas.microsoft.com/office/drawing/2014/main" id="{EEBE19A7-90F6-A74E-A6DC-0406FED1A185}"/>
                </a:ext>
              </a:extLst>
            </p:cNvPr>
            <p:cNvSpPr txBox="1"/>
            <p:nvPr/>
          </p:nvSpPr>
          <p:spPr>
            <a:xfrm>
              <a:off x="6533674" y="3638829"/>
              <a:ext cx="2150471" cy="646331"/>
            </a:xfrm>
            <a:prstGeom prst="rect">
              <a:avLst/>
            </a:prstGeom>
            <a:noFill/>
          </p:spPr>
          <p:txBody>
            <a:bodyPr wrap="square" rtlCol="0">
              <a:spAutoFit/>
            </a:bodyPr>
            <a:lstStyle/>
            <a:p>
              <a:pPr algn="r"/>
              <a:r>
                <a:rPr lang="en-US" altLang="ko-KR" sz="1200">
                  <a:solidFill>
                    <a:schemeClr val="tx1">
                      <a:lumMod val="65000"/>
                      <a:lumOff val="35000"/>
                    </a:schemeClr>
                  </a:solidFill>
                  <a:latin typeface="Arial" pitchFamily="34" charset="0"/>
                  <a:cs typeface="Arial" pitchFamily="34" charset="0"/>
                </a:rPr>
                <a:t>You can simply impress your audience and add a unique zing and appeal to your Presentations.   </a:t>
              </a:r>
            </a:p>
          </p:txBody>
        </p:sp>
        <p:sp>
          <p:nvSpPr>
            <p:cNvPr id="49" name="TextBox 48">
              <a:extLst>
                <a:ext uri="{FF2B5EF4-FFF2-40B4-BE49-F238E27FC236}">
                  <a16:creationId xmlns:a16="http://schemas.microsoft.com/office/drawing/2014/main" id="{C6C2B2D2-144E-0945-8D4D-00D1DF232D52}"/>
                </a:ext>
              </a:extLst>
            </p:cNvPr>
            <p:cNvSpPr txBox="1"/>
            <p:nvPr/>
          </p:nvSpPr>
          <p:spPr>
            <a:xfrm>
              <a:off x="6533673" y="3357955"/>
              <a:ext cx="2150471" cy="276999"/>
            </a:xfrm>
            <a:prstGeom prst="rect">
              <a:avLst/>
            </a:prstGeom>
            <a:noFill/>
          </p:spPr>
          <p:txBody>
            <a:bodyPr wrap="square" rtlCol="0">
              <a:spAutoFit/>
            </a:bodyPr>
            <a:lstStyle/>
            <a:p>
              <a:pPr algn="r"/>
              <a:r>
                <a:rPr lang="en-US" altLang="ko-KR" sz="1200" b="1">
                  <a:solidFill>
                    <a:schemeClr val="tx1">
                      <a:lumMod val="65000"/>
                      <a:lumOff val="35000"/>
                    </a:schemeClr>
                  </a:solidFill>
                  <a:latin typeface="Arial" pitchFamily="34" charset="0"/>
                  <a:cs typeface="Arial" pitchFamily="34" charset="0"/>
                </a:rPr>
                <a:t>Content  Here</a:t>
              </a:r>
              <a:endParaRPr lang="ko-KR" altLang="en-US" sz="1200" b="1">
                <a:solidFill>
                  <a:schemeClr val="tx1">
                    <a:lumMod val="65000"/>
                    <a:lumOff val="35000"/>
                  </a:schemeClr>
                </a:solidFill>
                <a:latin typeface="Arial" pitchFamily="34" charset="0"/>
                <a:cs typeface="Arial" pitchFamily="34" charset="0"/>
              </a:endParaRPr>
            </a:p>
          </p:txBody>
        </p:sp>
      </p:grpSp>
      <p:sp>
        <p:nvSpPr>
          <p:cNvPr id="50" name="TextBox 49">
            <a:extLst>
              <a:ext uri="{FF2B5EF4-FFF2-40B4-BE49-F238E27FC236}">
                <a16:creationId xmlns:a16="http://schemas.microsoft.com/office/drawing/2014/main" id="{48109F1D-DC99-E04B-AE80-F9E6D939EB06}"/>
              </a:ext>
            </a:extLst>
          </p:cNvPr>
          <p:cNvSpPr txBox="1"/>
          <p:nvPr/>
        </p:nvSpPr>
        <p:spPr>
          <a:xfrm>
            <a:off x="7915215" y="2728018"/>
            <a:ext cx="2005866" cy="307777"/>
          </a:xfrm>
          <a:prstGeom prst="rect">
            <a:avLst/>
          </a:prstGeom>
          <a:noFill/>
        </p:spPr>
        <p:txBody>
          <a:bodyPr wrap="square" rtlCol="0">
            <a:spAutoFit/>
          </a:bodyPr>
          <a:lstStyle/>
          <a:p>
            <a:pPr algn="r"/>
            <a:r>
              <a:rPr lang="en-US" altLang="ko-KR" sz="1400" b="1">
                <a:solidFill>
                  <a:schemeClr val="bg1"/>
                </a:solidFill>
                <a:latin typeface="Arial" pitchFamily="34" charset="0"/>
                <a:cs typeface="Arial" pitchFamily="34" charset="0"/>
              </a:rPr>
              <a:t>Simple PowerPoint</a:t>
            </a:r>
            <a:endParaRPr lang="ko-KR" altLang="en-US" sz="1400" b="1">
              <a:solidFill>
                <a:schemeClr val="bg1"/>
              </a:solidFill>
              <a:latin typeface="Arial" pitchFamily="34" charset="0"/>
              <a:cs typeface="Arial" pitchFamily="34" charset="0"/>
            </a:endParaRPr>
          </a:p>
        </p:txBody>
      </p:sp>
      <p:sp>
        <p:nvSpPr>
          <p:cNvPr id="51" name="Rectangle 15">
            <a:extLst>
              <a:ext uri="{FF2B5EF4-FFF2-40B4-BE49-F238E27FC236}">
                <a16:creationId xmlns:a16="http://schemas.microsoft.com/office/drawing/2014/main" id="{19EC8EEB-8663-2047-B980-36F00B90E817}"/>
              </a:ext>
            </a:extLst>
          </p:cNvPr>
          <p:cNvSpPr/>
          <p:nvPr/>
        </p:nvSpPr>
        <p:spPr>
          <a:xfrm rot="5400000" flipH="1" flipV="1">
            <a:off x="3791916" y="4106470"/>
            <a:ext cx="1200258" cy="504083"/>
          </a:xfrm>
          <a:custGeom>
            <a:avLst/>
            <a:gdLst>
              <a:gd name="connsiteX0" fmla="*/ 0 w 792088"/>
              <a:gd name="connsiteY0" fmla="*/ 0 h 163995"/>
              <a:gd name="connsiteX1" fmla="*/ 792088 w 792088"/>
              <a:gd name="connsiteY1" fmla="*/ 0 h 163995"/>
              <a:gd name="connsiteX2" fmla="*/ 792088 w 792088"/>
              <a:gd name="connsiteY2" fmla="*/ 163995 h 163995"/>
              <a:gd name="connsiteX3" fmla="*/ 0 w 792088"/>
              <a:gd name="connsiteY3" fmla="*/ 163995 h 163995"/>
              <a:gd name="connsiteX4" fmla="*/ 0 w 792088"/>
              <a:gd name="connsiteY4" fmla="*/ 0 h 163995"/>
              <a:gd name="connsiteX0" fmla="*/ 115410 w 792088"/>
              <a:gd name="connsiteY0" fmla="*/ 0 h 323793"/>
              <a:gd name="connsiteX1" fmla="*/ 792088 w 792088"/>
              <a:gd name="connsiteY1" fmla="*/ 159798 h 323793"/>
              <a:gd name="connsiteX2" fmla="*/ 792088 w 792088"/>
              <a:gd name="connsiteY2" fmla="*/ 323793 h 323793"/>
              <a:gd name="connsiteX3" fmla="*/ 0 w 792088"/>
              <a:gd name="connsiteY3" fmla="*/ 323793 h 323793"/>
              <a:gd name="connsiteX4" fmla="*/ 115410 w 792088"/>
              <a:gd name="connsiteY4" fmla="*/ 0 h 323793"/>
              <a:gd name="connsiteX0" fmla="*/ 115410 w 797373"/>
              <a:gd name="connsiteY0" fmla="*/ 4054 h 327847"/>
              <a:gd name="connsiteX1" fmla="*/ 797373 w 797373"/>
              <a:gd name="connsiteY1" fmla="*/ 0 h 327847"/>
              <a:gd name="connsiteX2" fmla="*/ 792088 w 797373"/>
              <a:gd name="connsiteY2" fmla="*/ 327847 h 327847"/>
              <a:gd name="connsiteX3" fmla="*/ 0 w 797373"/>
              <a:gd name="connsiteY3" fmla="*/ 327847 h 327847"/>
              <a:gd name="connsiteX4" fmla="*/ 115410 w 797373"/>
              <a:gd name="connsiteY4" fmla="*/ 4054 h 327847"/>
              <a:gd name="connsiteX0" fmla="*/ 115410 w 797373"/>
              <a:gd name="connsiteY0" fmla="*/ 0 h 323793"/>
              <a:gd name="connsiteX1" fmla="*/ 797373 w 797373"/>
              <a:gd name="connsiteY1" fmla="*/ 1231 h 323793"/>
              <a:gd name="connsiteX2" fmla="*/ 792088 w 797373"/>
              <a:gd name="connsiteY2" fmla="*/ 323793 h 323793"/>
              <a:gd name="connsiteX3" fmla="*/ 0 w 797373"/>
              <a:gd name="connsiteY3" fmla="*/ 323793 h 323793"/>
              <a:gd name="connsiteX4" fmla="*/ 115410 w 797373"/>
              <a:gd name="connsiteY4" fmla="*/ 0 h 323793"/>
              <a:gd name="connsiteX0" fmla="*/ 115410 w 797373"/>
              <a:gd name="connsiteY0" fmla="*/ 9340 h 333133"/>
              <a:gd name="connsiteX1" fmla="*/ 797373 w 797373"/>
              <a:gd name="connsiteY1" fmla="*/ 0 h 333133"/>
              <a:gd name="connsiteX2" fmla="*/ 792088 w 797373"/>
              <a:gd name="connsiteY2" fmla="*/ 333133 h 333133"/>
              <a:gd name="connsiteX3" fmla="*/ 0 w 797373"/>
              <a:gd name="connsiteY3" fmla="*/ 333133 h 333133"/>
              <a:gd name="connsiteX4" fmla="*/ 115410 w 797373"/>
              <a:gd name="connsiteY4" fmla="*/ 9340 h 333133"/>
              <a:gd name="connsiteX0" fmla="*/ 115410 w 813229"/>
              <a:gd name="connsiteY0" fmla="*/ 9340 h 333133"/>
              <a:gd name="connsiteX1" fmla="*/ 813229 w 813229"/>
              <a:gd name="connsiteY1" fmla="*/ 0 h 333133"/>
              <a:gd name="connsiteX2" fmla="*/ 792088 w 813229"/>
              <a:gd name="connsiteY2" fmla="*/ 333133 h 333133"/>
              <a:gd name="connsiteX3" fmla="*/ 0 w 813229"/>
              <a:gd name="connsiteY3" fmla="*/ 333133 h 333133"/>
              <a:gd name="connsiteX4" fmla="*/ 115410 w 813229"/>
              <a:gd name="connsiteY4" fmla="*/ 9340 h 333133"/>
              <a:gd name="connsiteX0" fmla="*/ 569967 w 1267786"/>
              <a:gd name="connsiteY0" fmla="*/ 9340 h 370132"/>
              <a:gd name="connsiteX1" fmla="*/ 1267786 w 1267786"/>
              <a:gd name="connsiteY1" fmla="*/ 0 h 370132"/>
              <a:gd name="connsiteX2" fmla="*/ 1246645 w 1267786"/>
              <a:gd name="connsiteY2" fmla="*/ 333133 h 370132"/>
              <a:gd name="connsiteX3" fmla="*/ 0 w 1267786"/>
              <a:gd name="connsiteY3" fmla="*/ 370132 h 370132"/>
              <a:gd name="connsiteX4" fmla="*/ 569967 w 1267786"/>
              <a:gd name="connsiteY4" fmla="*/ 9340 h 370132"/>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70132"/>
              <a:gd name="connsiteX1" fmla="*/ 1267786 w 1267786"/>
              <a:gd name="connsiteY1" fmla="*/ 0 h 370132"/>
              <a:gd name="connsiteX2" fmla="*/ 1164342 w 1267786"/>
              <a:gd name="connsiteY2" fmla="*/ 351014 h 370132"/>
              <a:gd name="connsiteX3" fmla="*/ 0 w 1267786"/>
              <a:gd name="connsiteY3" fmla="*/ 370132 h 370132"/>
              <a:gd name="connsiteX4" fmla="*/ 569967 w 1267786"/>
              <a:gd name="connsiteY4" fmla="*/ 9340 h 370132"/>
              <a:gd name="connsiteX0" fmla="*/ 332460 w 1030279"/>
              <a:gd name="connsiteY0" fmla="*/ 9340 h 370132"/>
              <a:gd name="connsiteX1" fmla="*/ 1030279 w 1030279"/>
              <a:gd name="connsiteY1" fmla="*/ 0 h 370132"/>
              <a:gd name="connsiteX2" fmla="*/ 926835 w 1030279"/>
              <a:gd name="connsiteY2" fmla="*/ 351014 h 370132"/>
              <a:gd name="connsiteX3" fmla="*/ 0 w 1030279"/>
              <a:gd name="connsiteY3" fmla="*/ 370132 h 370132"/>
              <a:gd name="connsiteX4" fmla="*/ 332460 w 1030279"/>
              <a:gd name="connsiteY4" fmla="*/ 9340 h 370132"/>
              <a:gd name="connsiteX0" fmla="*/ 350273 w 1048092"/>
              <a:gd name="connsiteY0" fmla="*/ 9340 h 358256"/>
              <a:gd name="connsiteX1" fmla="*/ 1048092 w 1048092"/>
              <a:gd name="connsiteY1" fmla="*/ 0 h 358256"/>
              <a:gd name="connsiteX2" fmla="*/ 944648 w 1048092"/>
              <a:gd name="connsiteY2" fmla="*/ 351014 h 358256"/>
              <a:gd name="connsiteX3" fmla="*/ 0 w 1048092"/>
              <a:gd name="connsiteY3" fmla="*/ 358256 h 358256"/>
              <a:gd name="connsiteX4" fmla="*/ 350273 w 1048092"/>
              <a:gd name="connsiteY4" fmla="*/ 9340 h 358256"/>
              <a:gd name="connsiteX0" fmla="*/ 344336 w 1048092"/>
              <a:gd name="connsiteY0" fmla="*/ 0 h 360791"/>
              <a:gd name="connsiteX1" fmla="*/ 1048092 w 1048092"/>
              <a:gd name="connsiteY1" fmla="*/ 2535 h 360791"/>
              <a:gd name="connsiteX2" fmla="*/ 944648 w 1048092"/>
              <a:gd name="connsiteY2" fmla="*/ 353549 h 360791"/>
              <a:gd name="connsiteX3" fmla="*/ 0 w 1048092"/>
              <a:gd name="connsiteY3" fmla="*/ 360791 h 360791"/>
              <a:gd name="connsiteX4" fmla="*/ 344336 w 1048092"/>
              <a:gd name="connsiteY4" fmla="*/ 0 h 360791"/>
              <a:gd name="connsiteX0" fmla="*/ 344336 w 1059967"/>
              <a:gd name="connsiteY0" fmla="*/ 0 h 360791"/>
              <a:gd name="connsiteX1" fmla="*/ 1059967 w 1059967"/>
              <a:gd name="connsiteY1" fmla="*/ 8472 h 360791"/>
              <a:gd name="connsiteX2" fmla="*/ 944648 w 1059967"/>
              <a:gd name="connsiteY2" fmla="*/ 353549 h 360791"/>
              <a:gd name="connsiteX3" fmla="*/ 0 w 1059967"/>
              <a:gd name="connsiteY3" fmla="*/ 360791 h 360791"/>
              <a:gd name="connsiteX4" fmla="*/ 344336 w 1059967"/>
              <a:gd name="connsiteY4" fmla="*/ 0 h 360791"/>
              <a:gd name="connsiteX0" fmla="*/ 344336 w 1065905"/>
              <a:gd name="connsiteY0" fmla="*/ 15278 h 376069"/>
              <a:gd name="connsiteX1" fmla="*/ 1065905 w 1065905"/>
              <a:gd name="connsiteY1" fmla="*/ 0 h 376069"/>
              <a:gd name="connsiteX2" fmla="*/ 944648 w 1065905"/>
              <a:gd name="connsiteY2" fmla="*/ 368827 h 376069"/>
              <a:gd name="connsiteX3" fmla="*/ 0 w 1065905"/>
              <a:gd name="connsiteY3" fmla="*/ 376069 h 376069"/>
              <a:gd name="connsiteX4" fmla="*/ 344336 w 1065905"/>
              <a:gd name="connsiteY4" fmla="*/ 15278 h 376069"/>
              <a:gd name="connsiteX0" fmla="*/ 356211 w 1065905"/>
              <a:gd name="connsiteY0" fmla="*/ 3403 h 376069"/>
              <a:gd name="connsiteX1" fmla="*/ 1065905 w 1065905"/>
              <a:gd name="connsiteY1" fmla="*/ 0 h 376069"/>
              <a:gd name="connsiteX2" fmla="*/ 944648 w 1065905"/>
              <a:gd name="connsiteY2" fmla="*/ 368827 h 376069"/>
              <a:gd name="connsiteX3" fmla="*/ 0 w 1065905"/>
              <a:gd name="connsiteY3" fmla="*/ 376069 h 376069"/>
              <a:gd name="connsiteX4" fmla="*/ 356211 w 1065905"/>
              <a:gd name="connsiteY4" fmla="*/ 3403 h 376069"/>
              <a:gd name="connsiteX0" fmla="*/ 356211 w 1170279"/>
              <a:gd name="connsiteY0" fmla="*/ 3403 h 380703"/>
              <a:gd name="connsiteX1" fmla="*/ 1065905 w 1170279"/>
              <a:gd name="connsiteY1" fmla="*/ 0 h 380703"/>
              <a:gd name="connsiteX2" fmla="*/ 1170279 w 1170279"/>
              <a:gd name="connsiteY2" fmla="*/ 380703 h 380703"/>
              <a:gd name="connsiteX3" fmla="*/ 0 w 1170279"/>
              <a:gd name="connsiteY3" fmla="*/ 376069 h 380703"/>
              <a:gd name="connsiteX4" fmla="*/ 356211 w 1170279"/>
              <a:gd name="connsiteY4" fmla="*/ 3403 h 380703"/>
              <a:gd name="connsiteX0" fmla="*/ 100891 w 914959"/>
              <a:gd name="connsiteY0" fmla="*/ 3403 h 382007"/>
              <a:gd name="connsiteX1" fmla="*/ 810585 w 914959"/>
              <a:gd name="connsiteY1" fmla="*/ 0 h 382007"/>
              <a:gd name="connsiteX2" fmla="*/ 914959 w 914959"/>
              <a:gd name="connsiteY2" fmla="*/ 380703 h 382007"/>
              <a:gd name="connsiteX3" fmla="*/ 0 w 914959"/>
              <a:gd name="connsiteY3" fmla="*/ 382007 h 382007"/>
              <a:gd name="connsiteX4" fmla="*/ 100891 w 914959"/>
              <a:gd name="connsiteY4" fmla="*/ 3403 h 382007"/>
              <a:gd name="connsiteX0" fmla="*/ 112766 w 914959"/>
              <a:gd name="connsiteY0" fmla="*/ 0 h 384541"/>
              <a:gd name="connsiteX1" fmla="*/ 810585 w 914959"/>
              <a:gd name="connsiteY1" fmla="*/ 2534 h 384541"/>
              <a:gd name="connsiteX2" fmla="*/ 914959 w 914959"/>
              <a:gd name="connsiteY2" fmla="*/ 383237 h 384541"/>
              <a:gd name="connsiteX3" fmla="*/ 0 w 914959"/>
              <a:gd name="connsiteY3" fmla="*/ 384541 h 384541"/>
              <a:gd name="connsiteX4" fmla="*/ 112766 w 914959"/>
              <a:gd name="connsiteY4" fmla="*/ 0 h 384541"/>
              <a:gd name="connsiteX0" fmla="*/ 112766 w 1146528"/>
              <a:gd name="connsiteY0" fmla="*/ 0 h 384541"/>
              <a:gd name="connsiteX1" fmla="*/ 810585 w 1146528"/>
              <a:gd name="connsiteY1" fmla="*/ 2534 h 384541"/>
              <a:gd name="connsiteX2" fmla="*/ 1146528 w 1146528"/>
              <a:gd name="connsiteY2" fmla="*/ 371362 h 384541"/>
              <a:gd name="connsiteX3" fmla="*/ 0 w 1146528"/>
              <a:gd name="connsiteY3" fmla="*/ 384541 h 384541"/>
              <a:gd name="connsiteX4" fmla="*/ 112766 w 1146528"/>
              <a:gd name="connsiteY4" fmla="*/ 0 h 384541"/>
              <a:gd name="connsiteX0" fmla="*/ 0 w 1033762"/>
              <a:gd name="connsiteY0" fmla="*/ 0 h 372666"/>
              <a:gd name="connsiteX1" fmla="*/ 697819 w 1033762"/>
              <a:gd name="connsiteY1" fmla="*/ 2534 h 372666"/>
              <a:gd name="connsiteX2" fmla="*/ 1033762 w 1033762"/>
              <a:gd name="connsiteY2" fmla="*/ 371362 h 372666"/>
              <a:gd name="connsiteX3" fmla="*/ 106928 w 1033762"/>
              <a:gd name="connsiteY3" fmla="*/ 372666 h 372666"/>
              <a:gd name="connsiteX4" fmla="*/ 0 w 1033762"/>
              <a:gd name="connsiteY4" fmla="*/ 0 h 372666"/>
              <a:gd name="connsiteX0" fmla="*/ 0 w 1033762"/>
              <a:gd name="connsiteY0" fmla="*/ 0 h 371362"/>
              <a:gd name="connsiteX1" fmla="*/ 697819 w 1033762"/>
              <a:gd name="connsiteY1" fmla="*/ 2534 h 371362"/>
              <a:gd name="connsiteX2" fmla="*/ 1033762 w 1033762"/>
              <a:gd name="connsiteY2" fmla="*/ 371362 h 371362"/>
              <a:gd name="connsiteX3" fmla="*/ 166304 w 1033762"/>
              <a:gd name="connsiteY3" fmla="*/ 366729 h 371362"/>
              <a:gd name="connsiteX4" fmla="*/ 0 w 1033762"/>
              <a:gd name="connsiteY4" fmla="*/ 0 h 371362"/>
              <a:gd name="connsiteX0" fmla="*/ 0 w 1033762"/>
              <a:gd name="connsiteY0" fmla="*/ 0 h 371362"/>
              <a:gd name="connsiteX1" fmla="*/ 697819 w 1033762"/>
              <a:gd name="connsiteY1" fmla="*/ 2534 h 371362"/>
              <a:gd name="connsiteX2" fmla="*/ 1033762 w 1033762"/>
              <a:gd name="connsiteY2" fmla="*/ 371362 h 371362"/>
              <a:gd name="connsiteX3" fmla="*/ 100990 w 1033762"/>
              <a:gd name="connsiteY3" fmla="*/ 366729 h 371362"/>
              <a:gd name="connsiteX4" fmla="*/ 0 w 1033762"/>
              <a:gd name="connsiteY4" fmla="*/ 0 h 371362"/>
              <a:gd name="connsiteX0" fmla="*/ 0 w 1259394"/>
              <a:gd name="connsiteY0" fmla="*/ 0 h 366729"/>
              <a:gd name="connsiteX1" fmla="*/ 697819 w 1259394"/>
              <a:gd name="connsiteY1" fmla="*/ 2534 h 366729"/>
              <a:gd name="connsiteX2" fmla="*/ 1259394 w 1259394"/>
              <a:gd name="connsiteY2" fmla="*/ 365424 h 366729"/>
              <a:gd name="connsiteX3" fmla="*/ 100990 w 1259394"/>
              <a:gd name="connsiteY3" fmla="*/ 366729 h 366729"/>
              <a:gd name="connsiteX4" fmla="*/ 0 w 1259394"/>
              <a:gd name="connsiteY4" fmla="*/ 0 h 366729"/>
              <a:gd name="connsiteX0" fmla="*/ 0 w 1259394"/>
              <a:gd name="connsiteY0" fmla="*/ 0 h 372666"/>
              <a:gd name="connsiteX1" fmla="*/ 697819 w 1259394"/>
              <a:gd name="connsiteY1" fmla="*/ 2534 h 372666"/>
              <a:gd name="connsiteX2" fmla="*/ 1259394 w 1259394"/>
              <a:gd name="connsiteY2" fmla="*/ 365424 h 372666"/>
              <a:gd name="connsiteX3" fmla="*/ 350372 w 1259394"/>
              <a:gd name="connsiteY3" fmla="*/ 372666 h 372666"/>
              <a:gd name="connsiteX4" fmla="*/ 0 w 1259394"/>
              <a:gd name="connsiteY4" fmla="*/ 0 h 372666"/>
              <a:gd name="connsiteX0" fmla="*/ 0 w 1265668"/>
              <a:gd name="connsiteY0" fmla="*/ 0 h 372666"/>
              <a:gd name="connsiteX1" fmla="*/ 697819 w 1265668"/>
              <a:gd name="connsiteY1" fmla="*/ 2534 h 372666"/>
              <a:gd name="connsiteX2" fmla="*/ 1265668 w 1265668"/>
              <a:gd name="connsiteY2" fmla="*/ 367613 h 372666"/>
              <a:gd name="connsiteX3" fmla="*/ 350372 w 1265668"/>
              <a:gd name="connsiteY3" fmla="*/ 372666 h 372666"/>
              <a:gd name="connsiteX4" fmla="*/ 0 w 1265668"/>
              <a:gd name="connsiteY4" fmla="*/ 0 h 372666"/>
              <a:gd name="connsiteX0" fmla="*/ 0 w 1265668"/>
              <a:gd name="connsiteY0" fmla="*/ 0 h 367613"/>
              <a:gd name="connsiteX1" fmla="*/ 697819 w 1265668"/>
              <a:gd name="connsiteY1" fmla="*/ 2534 h 367613"/>
              <a:gd name="connsiteX2" fmla="*/ 1265668 w 1265668"/>
              <a:gd name="connsiteY2" fmla="*/ 367613 h 367613"/>
              <a:gd name="connsiteX3" fmla="*/ 353510 w 1265668"/>
              <a:gd name="connsiteY3" fmla="*/ 366101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3510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3913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0373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70477"/>
              <a:gd name="connsiteX1" fmla="*/ 697819 w 1265668"/>
              <a:gd name="connsiteY1" fmla="*/ 2534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7821 w 1265668"/>
              <a:gd name="connsiteY1" fmla="*/ 2536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1598 w 1265668"/>
              <a:gd name="connsiteY1" fmla="*/ 2538 h 370477"/>
              <a:gd name="connsiteX2" fmla="*/ 1265668 w 1265668"/>
              <a:gd name="connsiteY2" fmla="*/ 367613 h 370477"/>
              <a:gd name="connsiteX3" fmla="*/ 350373 w 1265668"/>
              <a:gd name="connsiteY3" fmla="*/ 370477 h 370477"/>
              <a:gd name="connsiteX4" fmla="*/ 0 w 1265668"/>
              <a:gd name="connsiteY4" fmla="*/ 0 h 370477"/>
              <a:gd name="connsiteX0" fmla="*/ 0 w 1265665"/>
              <a:gd name="connsiteY0" fmla="*/ 0 h 370475"/>
              <a:gd name="connsiteX1" fmla="*/ 691595 w 1265665"/>
              <a:gd name="connsiteY1" fmla="*/ 2536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4 w 1265665"/>
              <a:gd name="connsiteY1" fmla="*/ 2538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7 w 1265665"/>
              <a:gd name="connsiteY1" fmla="*/ 378 h 370475"/>
              <a:gd name="connsiteX2" fmla="*/ 1265665 w 1265665"/>
              <a:gd name="connsiteY2" fmla="*/ 367611 h 370475"/>
              <a:gd name="connsiteX3" fmla="*/ 350370 w 1265665"/>
              <a:gd name="connsiteY3" fmla="*/ 370475 h 370475"/>
              <a:gd name="connsiteX4" fmla="*/ 0 w 1265665"/>
              <a:gd name="connsiteY4" fmla="*/ 0 h 370475"/>
              <a:gd name="connsiteX0" fmla="*/ 0 w 1262550"/>
              <a:gd name="connsiteY0" fmla="*/ 0 h 370473"/>
              <a:gd name="connsiteX1" fmla="*/ 685372 w 1262550"/>
              <a:gd name="connsiteY1" fmla="*/ 376 h 370473"/>
              <a:gd name="connsiteX2" fmla="*/ 1262550 w 1262550"/>
              <a:gd name="connsiteY2" fmla="*/ 367609 h 370473"/>
              <a:gd name="connsiteX3" fmla="*/ 347255 w 1262550"/>
              <a:gd name="connsiteY3" fmla="*/ 370473 h 370473"/>
              <a:gd name="connsiteX4" fmla="*/ 0 w 1262550"/>
              <a:gd name="connsiteY4" fmla="*/ 0 h 370473"/>
              <a:gd name="connsiteX0" fmla="*/ 0 w 1262550"/>
              <a:gd name="connsiteY0" fmla="*/ 0 h 368311"/>
              <a:gd name="connsiteX1" fmla="*/ 685372 w 1262550"/>
              <a:gd name="connsiteY1" fmla="*/ 376 h 368311"/>
              <a:gd name="connsiteX2" fmla="*/ 1262550 w 1262550"/>
              <a:gd name="connsiteY2" fmla="*/ 367609 h 368311"/>
              <a:gd name="connsiteX3" fmla="*/ 353484 w 1262550"/>
              <a:gd name="connsiteY3" fmla="*/ 368311 h 368311"/>
              <a:gd name="connsiteX4" fmla="*/ 0 w 1262550"/>
              <a:gd name="connsiteY4" fmla="*/ 0 h 36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550" h="368311">
                <a:moveTo>
                  <a:pt x="0" y="0"/>
                </a:moveTo>
                <a:lnTo>
                  <a:pt x="685372" y="376"/>
                </a:lnTo>
                <a:lnTo>
                  <a:pt x="1262550" y="367609"/>
                </a:lnTo>
                <a:lnTo>
                  <a:pt x="353484" y="368311"/>
                </a:lnTo>
                <a:lnTo>
                  <a:pt x="0" y="0"/>
                </a:lnTo>
                <a:close/>
              </a:path>
            </a:pathLst>
          </a:custGeom>
          <a:gradFill flip="none" rotWithShape="1">
            <a:gsLst>
              <a:gs pos="0">
                <a:schemeClr val="accent2">
                  <a:lumMod val="95000"/>
                  <a:lumOff val="5000"/>
                </a:schemeClr>
              </a:gs>
              <a:gs pos="68000">
                <a:schemeClr val="accent2">
                  <a:lumMod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52" name="Rectangle 15">
            <a:extLst>
              <a:ext uri="{FF2B5EF4-FFF2-40B4-BE49-F238E27FC236}">
                <a16:creationId xmlns:a16="http://schemas.microsoft.com/office/drawing/2014/main" id="{00454DD7-1A89-1741-B6B3-E2730E0A454C}"/>
              </a:ext>
            </a:extLst>
          </p:cNvPr>
          <p:cNvSpPr/>
          <p:nvPr/>
        </p:nvSpPr>
        <p:spPr>
          <a:xfrm rot="16200000" flipH="1" flipV="1">
            <a:off x="7197787" y="2913860"/>
            <a:ext cx="1200258" cy="504083"/>
          </a:xfrm>
          <a:custGeom>
            <a:avLst/>
            <a:gdLst>
              <a:gd name="connsiteX0" fmla="*/ 0 w 792088"/>
              <a:gd name="connsiteY0" fmla="*/ 0 h 163995"/>
              <a:gd name="connsiteX1" fmla="*/ 792088 w 792088"/>
              <a:gd name="connsiteY1" fmla="*/ 0 h 163995"/>
              <a:gd name="connsiteX2" fmla="*/ 792088 w 792088"/>
              <a:gd name="connsiteY2" fmla="*/ 163995 h 163995"/>
              <a:gd name="connsiteX3" fmla="*/ 0 w 792088"/>
              <a:gd name="connsiteY3" fmla="*/ 163995 h 163995"/>
              <a:gd name="connsiteX4" fmla="*/ 0 w 792088"/>
              <a:gd name="connsiteY4" fmla="*/ 0 h 163995"/>
              <a:gd name="connsiteX0" fmla="*/ 115410 w 792088"/>
              <a:gd name="connsiteY0" fmla="*/ 0 h 323793"/>
              <a:gd name="connsiteX1" fmla="*/ 792088 w 792088"/>
              <a:gd name="connsiteY1" fmla="*/ 159798 h 323793"/>
              <a:gd name="connsiteX2" fmla="*/ 792088 w 792088"/>
              <a:gd name="connsiteY2" fmla="*/ 323793 h 323793"/>
              <a:gd name="connsiteX3" fmla="*/ 0 w 792088"/>
              <a:gd name="connsiteY3" fmla="*/ 323793 h 323793"/>
              <a:gd name="connsiteX4" fmla="*/ 115410 w 792088"/>
              <a:gd name="connsiteY4" fmla="*/ 0 h 323793"/>
              <a:gd name="connsiteX0" fmla="*/ 115410 w 797373"/>
              <a:gd name="connsiteY0" fmla="*/ 4054 h 327847"/>
              <a:gd name="connsiteX1" fmla="*/ 797373 w 797373"/>
              <a:gd name="connsiteY1" fmla="*/ 0 h 327847"/>
              <a:gd name="connsiteX2" fmla="*/ 792088 w 797373"/>
              <a:gd name="connsiteY2" fmla="*/ 327847 h 327847"/>
              <a:gd name="connsiteX3" fmla="*/ 0 w 797373"/>
              <a:gd name="connsiteY3" fmla="*/ 327847 h 327847"/>
              <a:gd name="connsiteX4" fmla="*/ 115410 w 797373"/>
              <a:gd name="connsiteY4" fmla="*/ 4054 h 327847"/>
              <a:gd name="connsiteX0" fmla="*/ 115410 w 797373"/>
              <a:gd name="connsiteY0" fmla="*/ 0 h 323793"/>
              <a:gd name="connsiteX1" fmla="*/ 797373 w 797373"/>
              <a:gd name="connsiteY1" fmla="*/ 1231 h 323793"/>
              <a:gd name="connsiteX2" fmla="*/ 792088 w 797373"/>
              <a:gd name="connsiteY2" fmla="*/ 323793 h 323793"/>
              <a:gd name="connsiteX3" fmla="*/ 0 w 797373"/>
              <a:gd name="connsiteY3" fmla="*/ 323793 h 323793"/>
              <a:gd name="connsiteX4" fmla="*/ 115410 w 797373"/>
              <a:gd name="connsiteY4" fmla="*/ 0 h 323793"/>
              <a:gd name="connsiteX0" fmla="*/ 115410 w 797373"/>
              <a:gd name="connsiteY0" fmla="*/ 9340 h 333133"/>
              <a:gd name="connsiteX1" fmla="*/ 797373 w 797373"/>
              <a:gd name="connsiteY1" fmla="*/ 0 h 333133"/>
              <a:gd name="connsiteX2" fmla="*/ 792088 w 797373"/>
              <a:gd name="connsiteY2" fmla="*/ 333133 h 333133"/>
              <a:gd name="connsiteX3" fmla="*/ 0 w 797373"/>
              <a:gd name="connsiteY3" fmla="*/ 333133 h 333133"/>
              <a:gd name="connsiteX4" fmla="*/ 115410 w 797373"/>
              <a:gd name="connsiteY4" fmla="*/ 9340 h 333133"/>
              <a:gd name="connsiteX0" fmla="*/ 115410 w 813229"/>
              <a:gd name="connsiteY0" fmla="*/ 9340 h 333133"/>
              <a:gd name="connsiteX1" fmla="*/ 813229 w 813229"/>
              <a:gd name="connsiteY1" fmla="*/ 0 h 333133"/>
              <a:gd name="connsiteX2" fmla="*/ 792088 w 813229"/>
              <a:gd name="connsiteY2" fmla="*/ 333133 h 333133"/>
              <a:gd name="connsiteX3" fmla="*/ 0 w 813229"/>
              <a:gd name="connsiteY3" fmla="*/ 333133 h 333133"/>
              <a:gd name="connsiteX4" fmla="*/ 115410 w 813229"/>
              <a:gd name="connsiteY4" fmla="*/ 9340 h 333133"/>
              <a:gd name="connsiteX0" fmla="*/ 569967 w 1267786"/>
              <a:gd name="connsiteY0" fmla="*/ 9340 h 370132"/>
              <a:gd name="connsiteX1" fmla="*/ 1267786 w 1267786"/>
              <a:gd name="connsiteY1" fmla="*/ 0 h 370132"/>
              <a:gd name="connsiteX2" fmla="*/ 1246645 w 1267786"/>
              <a:gd name="connsiteY2" fmla="*/ 333133 h 370132"/>
              <a:gd name="connsiteX3" fmla="*/ 0 w 1267786"/>
              <a:gd name="connsiteY3" fmla="*/ 370132 h 370132"/>
              <a:gd name="connsiteX4" fmla="*/ 569967 w 1267786"/>
              <a:gd name="connsiteY4" fmla="*/ 9340 h 370132"/>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70132"/>
              <a:gd name="connsiteX1" fmla="*/ 1267786 w 1267786"/>
              <a:gd name="connsiteY1" fmla="*/ 0 h 370132"/>
              <a:gd name="connsiteX2" fmla="*/ 1164342 w 1267786"/>
              <a:gd name="connsiteY2" fmla="*/ 351014 h 370132"/>
              <a:gd name="connsiteX3" fmla="*/ 0 w 1267786"/>
              <a:gd name="connsiteY3" fmla="*/ 370132 h 370132"/>
              <a:gd name="connsiteX4" fmla="*/ 569967 w 1267786"/>
              <a:gd name="connsiteY4" fmla="*/ 9340 h 370132"/>
              <a:gd name="connsiteX0" fmla="*/ 332460 w 1030279"/>
              <a:gd name="connsiteY0" fmla="*/ 9340 h 370132"/>
              <a:gd name="connsiteX1" fmla="*/ 1030279 w 1030279"/>
              <a:gd name="connsiteY1" fmla="*/ 0 h 370132"/>
              <a:gd name="connsiteX2" fmla="*/ 926835 w 1030279"/>
              <a:gd name="connsiteY2" fmla="*/ 351014 h 370132"/>
              <a:gd name="connsiteX3" fmla="*/ 0 w 1030279"/>
              <a:gd name="connsiteY3" fmla="*/ 370132 h 370132"/>
              <a:gd name="connsiteX4" fmla="*/ 332460 w 1030279"/>
              <a:gd name="connsiteY4" fmla="*/ 9340 h 370132"/>
              <a:gd name="connsiteX0" fmla="*/ 350273 w 1048092"/>
              <a:gd name="connsiteY0" fmla="*/ 9340 h 358256"/>
              <a:gd name="connsiteX1" fmla="*/ 1048092 w 1048092"/>
              <a:gd name="connsiteY1" fmla="*/ 0 h 358256"/>
              <a:gd name="connsiteX2" fmla="*/ 944648 w 1048092"/>
              <a:gd name="connsiteY2" fmla="*/ 351014 h 358256"/>
              <a:gd name="connsiteX3" fmla="*/ 0 w 1048092"/>
              <a:gd name="connsiteY3" fmla="*/ 358256 h 358256"/>
              <a:gd name="connsiteX4" fmla="*/ 350273 w 1048092"/>
              <a:gd name="connsiteY4" fmla="*/ 9340 h 358256"/>
              <a:gd name="connsiteX0" fmla="*/ 344336 w 1048092"/>
              <a:gd name="connsiteY0" fmla="*/ 0 h 360791"/>
              <a:gd name="connsiteX1" fmla="*/ 1048092 w 1048092"/>
              <a:gd name="connsiteY1" fmla="*/ 2535 h 360791"/>
              <a:gd name="connsiteX2" fmla="*/ 944648 w 1048092"/>
              <a:gd name="connsiteY2" fmla="*/ 353549 h 360791"/>
              <a:gd name="connsiteX3" fmla="*/ 0 w 1048092"/>
              <a:gd name="connsiteY3" fmla="*/ 360791 h 360791"/>
              <a:gd name="connsiteX4" fmla="*/ 344336 w 1048092"/>
              <a:gd name="connsiteY4" fmla="*/ 0 h 360791"/>
              <a:gd name="connsiteX0" fmla="*/ 344336 w 1059967"/>
              <a:gd name="connsiteY0" fmla="*/ 0 h 360791"/>
              <a:gd name="connsiteX1" fmla="*/ 1059967 w 1059967"/>
              <a:gd name="connsiteY1" fmla="*/ 8472 h 360791"/>
              <a:gd name="connsiteX2" fmla="*/ 944648 w 1059967"/>
              <a:gd name="connsiteY2" fmla="*/ 353549 h 360791"/>
              <a:gd name="connsiteX3" fmla="*/ 0 w 1059967"/>
              <a:gd name="connsiteY3" fmla="*/ 360791 h 360791"/>
              <a:gd name="connsiteX4" fmla="*/ 344336 w 1059967"/>
              <a:gd name="connsiteY4" fmla="*/ 0 h 360791"/>
              <a:gd name="connsiteX0" fmla="*/ 344336 w 1065905"/>
              <a:gd name="connsiteY0" fmla="*/ 15278 h 376069"/>
              <a:gd name="connsiteX1" fmla="*/ 1065905 w 1065905"/>
              <a:gd name="connsiteY1" fmla="*/ 0 h 376069"/>
              <a:gd name="connsiteX2" fmla="*/ 944648 w 1065905"/>
              <a:gd name="connsiteY2" fmla="*/ 368827 h 376069"/>
              <a:gd name="connsiteX3" fmla="*/ 0 w 1065905"/>
              <a:gd name="connsiteY3" fmla="*/ 376069 h 376069"/>
              <a:gd name="connsiteX4" fmla="*/ 344336 w 1065905"/>
              <a:gd name="connsiteY4" fmla="*/ 15278 h 376069"/>
              <a:gd name="connsiteX0" fmla="*/ 356211 w 1065905"/>
              <a:gd name="connsiteY0" fmla="*/ 3403 h 376069"/>
              <a:gd name="connsiteX1" fmla="*/ 1065905 w 1065905"/>
              <a:gd name="connsiteY1" fmla="*/ 0 h 376069"/>
              <a:gd name="connsiteX2" fmla="*/ 944648 w 1065905"/>
              <a:gd name="connsiteY2" fmla="*/ 368827 h 376069"/>
              <a:gd name="connsiteX3" fmla="*/ 0 w 1065905"/>
              <a:gd name="connsiteY3" fmla="*/ 376069 h 376069"/>
              <a:gd name="connsiteX4" fmla="*/ 356211 w 1065905"/>
              <a:gd name="connsiteY4" fmla="*/ 3403 h 376069"/>
              <a:gd name="connsiteX0" fmla="*/ 356211 w 1170279"/>
              <a:gd name="connsiteY0" fmla="*/ 3403 h 380703"/>
              <a:gd name="connsiteX1" fmla="*/ 1065905 w 1170279"/>
              <a:gd name="connsiteY1" fmla="*/ 0 h 380703"/>
              <a:gd name="connsiteX2" fmla="*/ 1170279 w 1170279"/>
              <a:gd name="connsiteY2" fmla="*/ 380703 h 380703"/>
              <a:gd name="connsiteX3" fmla="*/ 0 w 1170279"/>
              <a:gd name="connsiteY3" fmla="*/ 376069 h 380703"/>
              <a:gd name="connsiteX4" fmla="*/ 356211 w 1170279"/>
              <a:gd name="connsiteY4" fmla="*/ 3403 h 380703"/>
              <a:gd name="connsiteX0" fmla="*/ 100891 w 914959"/>
              <a:gd name="connsiteY0" fmla="*/ 3403 h 382007"/>
              <a:gd name="connsiteX1" fmla="*/ 810585 w 914959"/>
              <a:gd name="connsiteY1" fmla="*/ 0 h 382007"/>
              <a:gd name="connsiteX2" fmla="*/ 914959 w 914959"/>
              <a:gd name="connsiteY2" fmla="*/ 380703 h 382007"/>
              <a:gd name="connsiteX3" fmla="*/ 0 w 914959"/>
              <a:gd name="connsiteY3" fmla="*/ 382007 h 382007"/>
              <a:gd name="connsiteX4" fmla="*/ 100891 w 914959"/>
              <a:gd name="connsiteY4" fmla="*/ 3403 h 382007"/>
              <a:gd name="connsiteX0" fmla="*/ 112766 w 914959"/>
              <a:gd name="connsiteY0" fmla="*/ 0 h 384541"/>
              <a:gd name="connsiteX1" fmla="*/ 810585 w 914959"/>
              <a:gd name="connsiteY1" fmla="*/ 2534 h 384541"/>
              <a:gd name="connsiteX2" fmla="*/ 914959 w 914959"/>
              <a:gd name="connsiteY2" fmla="*/ 383237 h 384541"/>
              <a:gd name="connsiteX3" fmla="*/ 0 w 914959"/>
              <a:gd name="connsiteY3" fmla="*/ 384541 h 384541"/>
              <a:gd name="connsiteX4" fmla="*/ 112766 w 914959"/>
              <a:gd name="connsiteY4" fmla="*/ 0 h 384541"/>
              <a:gd name="connsiteX0" fmla="*/ 112766 w 1146528"/>
              <a:gd name="connsiteY0" fmla="*/ 0 h 384541"/>
              <a:gd name="connsiteX1" fmla="*/ 810585 w 1146528"/>
              <a:gd name="connsiteY1" fmla="*/ 2534 h 384541"/>
              <a:gd name="connsiteX2" fmla="*/ 1146528 w 1146528"/>
              <a:gd name="connsiteY2" fmla="*/ 371362 h 384541"/>
              <a:gd name="connsiteX3" fmla="*/ 0 w 1146528"/>
              <a:gd name="connsiteY3" fmla="*/ 384541 h 384541"/>
              <a:gd name="connsiteX4" fmla="*/ 112766 w 1146528"/>
              <a:gd name="connsiteY4" fmla="*/ 0 h 384541"/>
              <a:gd name="connsiteX0" fmla="*/ 0 w 1033762"/>
              <a:gd name="connsiteY0" fmla="*/ 0 h 372666"/>
              <a:gd name="connsiteX1" fmla="*/ 697819 w 1033762"/>
              <a:gd name="connsiteY1" fmla="*/ 2534 h 372666"/>
              <a:gd name="connsiteX2" fmla="*/ 1033762 w 1033762"/>
              <a:gd name="connsiteY2" fmla="*/ 371362 h 372666"/>
              <a:gd name="connsiteX3" fmla="*/ 106928 w 1033762"/>
              <a:gd name="connsiteY3" fmla="*/ 372666 h 372666"/>
              <a:gd name="connsiteX4" fmla="*/ 0 w 1033762"/>
              <a:gd name="connsiteY4" fmla="*/ 0 h 372666"/>
              <a:gd name="connsiteX0" fmla="*/ 0 w 1033762"/>
              <a:gd name="connsiteY0" fmla="*/ 0 h 371362"/>
              <a:gd name="connsiteX1" fmla="*/ 697819 w 1033762"/>
              <a:gd name="connsiteY1" fmla="*/ 2534 h 371362"/>
              <a:gd name="connsiteX2" fmla="*/ 1033762 w 1033762"/>
              <a:gd name="connsiteY2" fmla="*/ 371362 h 371362"/>
              <a:gd name="connsiteX3" fmla="*/ 166304 w 1033762"/>
              <a:gd name="connsiteY3" fmla="*/ 366729 h 371362"/>
              <a:gd name="connsiteX4" fmla="*/ 0 w 1033762"/>
              <a:gd name="connsiteY4" fmla="*/ 0 h 371362"/>
              <a:gd name="connsiteX0" fmla="*/ 0 w 1033762"/>
              <a:gd name="connsiteY0" fmla="*/ 0 h 371362"/>
              <a:gd name="connsiteX1" fmla="*/ 697819 w 1033762"/>
              <a:gd name="connsiteY1" fmla="*/ 2534 h 371362"/>
              <a:gd name="connsiteX2" fmla="*/ 1033762 w 1033762"/>
              <a:gd name="connsiteY2" fmla="*/ 371362 h 371362"/>
              <a:gd name="connsiteX3" fmla="*/ 100990 w 1033762"/>
              <a:gd name="connsiteY3" fmla="*/ 366729 h 371362"/>
              <a:gd name="connsiteX4" fmla="*/ 0 w 1033762"/>
              <a:gd name="connsiteY4" fmla="*/ 0 h 371362"/>
              <a:gd name="connsiteX0" fmla="*/ 0 w 1259394"/>
              <a:gd name="connsiteY0" fmla="*/ 0 h 366729"/>
              <a:gd name="connsiteX1" fmla="*/ 697819 w 1259394"/>
              <a:gd name="connsiteY1" fmla="*/ 2534 h 366729"/>
              <a:gd name="connsiteX2" fmla="*/ 1259394 w 1259394"/>
              <a:gd name="connsiteY2" fmla="*/ 365424 h 366729"/>
              <a:gd name="connsiteX3" fmla="*/ 100990 w 1259394"/>
              <a:gd name="connsiteY3" fmla="*/ 366729 h 366729"/>
              <a:gd name="connsiteX4" fmla="*/ 0 w 1259394"/>
              <a:gd name="connsiteY4" fmla="*/ 0 h 366729"/>
              <a:gd name="connsiteX0" fmla="*/ 0 w 1259394"/>
              <a:gd name="connsiteY0" fmla="*/ 0 h 372666"/>
              <a:gd name="connsiteX1" fmla="*/ 697819 w 1259394"/>
              <a:gd name="connsiteY1" fmla="*/ 2534 h 372666"/>
              <a:gd name="connsiteX2" fmla="*/ 1259394 w 1259394"/>
              <a:gd name="connsiteY2" fmla="*/ 365424 h 372666"/>
              <a:gd name="connsiteX3" fmla="*/ 350372 w 1259394"/>
              <a:gd name="connsiteY3" fmla="*/ 372666 h 372666"/>
              <a:gd name="connsiteX4" fmla="*/ 0 w 1259394"/>
              <a:gd name="connsiteY4" fmla="*/ 0 h 372666"/>
              <a:gd name="connsiteX0" fmla="*/ 0 w 1265668"/>
              <a:gd name="connsiteY0" fmla="*/ 0 h 372666"/>
              <a:gd name="connsiteX1" fmla="*/ 697819 w 1265668"/>
              <a:gd name="connsiteY1" fmla="*/ 2534 h 372666"/>
              <a:gd name="connsiteX2" fmla="*/ 1265668 w 1265668"/>
              <a:gd name="connsiteY2" fmla="*/ 367613 h 372666"/>
              <a:gd name="connsiteX3" fmla="*/ 350372 w 1265668"/>
              <a:gd name="connsiteY3" fmla="*/ 372666 h 372666"/>
              <a:gd name="connsiteX4" fmla="*/ 0 w 1265668"/>
              <a:gd name="connsiteY4" fmla="*/ 0 h 372666"/>
              <a:gd name="connsiteX0" fmla="*/ 0 w 1265668"/>
              <a:gd name="connsiteY0" fmla="*/ 0 h 367613"/>
              <a:gd name="connsiteX1" fmla="*/ 697819 w 1265668"/>
              <a:gd name="connsiteY1" fmla="*/ 2534 h 367613"/>
              <a:gd name="connsiteX2" fmla="*/ 1265668 w 1265668"/>
              <a:gd name="connsiteY2" fmla="*/ 367613 h 367613"/>
              <a:gd name="connsiteX3" fmla="*/ 353510 w 1265668"/>
              <a:gd name="connsiteY3" fmla="*/ 366101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3510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3913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0373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70477"/>
              <a:gd name="connsiteX1" fmla="*/ 697819 w 1265668"/>
              <a:gd name="connsiteY1" fmla="*/ 2534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7821 w 1265668"/>
              <a:gd name="connsiteY1" fmla="*/ 2536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1598 w 1265668"/>
              <a:gd name="connsiteY1" fmla="*/ 2538 h 370477"/>
              <a:gd name="connsiteX2" fmla="*/ 1265668 w 1265668"/>
              <a:gd name="connsiteY2" fmla="*/ 367613 h 370477"/>
              <a:gd name="connsiteX3" fmla="*/ 350373 w 1265668"/>
              <a:gd name="connsiteY3" fmla="*/ 370477 h 370477"/>
              <a:gd name="connsiteX4" fmla="*/ 0 w 1265668"/>
              <a:gd name="connsiteY4" fmla="*/ 0 h 370477"/>
              <a:gd name="connsiteX0" fmla="*/ 0 w 1265665"/>
              <a:gd name="connsiteY0" fmla="*/ 0 h 370475"/>
              <a:gd name="connsiteX1" fmla="*/ 691595 w 1265665"/>
              <a:gd name="connsiteY1" fmla="*/ 2536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4 w 1265665"/>
              <a:gd name="connsiteY1" fmla="*/ 2538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7 w 1265665"/>
              <a:gd name="connsiteY1" fmla="*/ 378 h 370475"/>
              <a:gd name="connsiteX2" fmla="*/ 1265665 w 1265665"/>
              <a:gd name="connsiteY2" fmla="*/ 367611 h 370475"/>
              <a:gd name="connsiteX3" fmla="*/ 350370 w 1265665"/>
              <a:gd name="connsiteY3" fmla="*/ 370475 h 370475"/>
              <a:gd name="connsiteX4" fmla="*/ 0 w 1265665"/>
              <a:gd name="connsiteY4" fmla="*/ 0 h 370475"/>
              <a:gd name="connsiteX0" fmla="*/ 0 w 1262550"/>
              <a:gd name="connsiteY0" fmla="*/ 0 h 370473"/>
              <a:gd name="connsiteX1" fmla="*/ 685372 w 1262550"/>
              <a:gd name="connsiteY1" fmla="*/ 376 h 370473"/>
              <a:gd name="connsiteX2" fmla="*/ 1262550 w 1262550"/>
              <a:gd name="connsiteY2" fmla="*/ 367609 h 370473"/>
              <a:gd name="connsiteX3" fmla="*/ 347255 w 1262550"/>
              <a:gd name="connsiteY3" fmla="*/ 370473 h 370473"/>
              <a:gd name="connsiteX4" fmla="*/ 0 w 1262550"/>
              <a:gd name="connsiteY4" fmla="*/ 0 h 370473"/>
              <a:gd name="connsiteX0" fmla="*/ 0 w 1262550"/>
              <a:gd name="connsiteY0" fmla="*/ 0 h 368311"/>
              <a:gd name="connsiteX1" fmla="*/ 685372 w 1262550"/>
              <a:gd name="connsiteY1" fmla="*/ 376 h 368311"/>
              <a:gd name="connsiteX2" fmla="*/ 1262550 w 1262550"/>
              <a:gd name="connsiteY2" fmla="*/ 367609 h 368311"/>
              <a:gd name="connsiteX3" fmla="*/ 353484 w 1262550"/>
              <a:gd name="connsiteY3" fmla="*/ 368311 h 368311"/>
              <a:gd name="connsiteX4" fmla="*/ 0 w 1262550"/>
              <a:gd name="connsiteY4" fmla="*/ 0 h 36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550" h="368311">
                <a:moveTo>
                  <a:pt x="0" y="0"/>
                </a:moveTo>
                <a:lnTo>
                  <a:pt x="685372" y="376"/>
                </a:lnTo>
                <a:lnTo>
                  <a:pt x="1262550" y="367609"/>
                </a:lnTo>
                <a:lnTo>
                  <a:pt x="353484" y="368311"/>
                </a:lnTo>
                <a:lnTo>
                  <a:pt x="0" y="0"/>
                </a:lnTo>
                <a:close/>
              </a:path>
            </a:pathLst>
          </a:custGeom>
          <a:gradFill flip="none" rotWithShape="1">
            <a:gsLst>
              <a:gs pos="0">
                <a:schemeClr val="accent4">
                  <a:lumMod val="95000"/>
                  <a:lumOff val="5000"/>
                </a:schemeClr>
              </a:gs>
              <a:gs pos="68000">
                <a:schemeClr val="accent4">
                  <a:lumMod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
        <p:nvSpPr>
          <p:cNvPr id="53" name="Rectangle 15">
            <a:extLst>
              <a:ext uri="{FF2B5EF4-FFF2-40B4-BE49-F238E27FC236}">
                <a16:creationId xmlns:a16="http://schemas.microsoft.com/office/drawing/2014/main" id="{2352FCD9-8A97-5E41-9F3E-1F7B9F94A98A}"/>
              </a:ext>
            </a:extLst>
          </p:cNvPr>
          <p:cNvSpPr/>
          <p:nvPr/>
        </p:nvSpPr>
        <p:spPr>
          <a:xfrm rot="5400000" flipH="1">
            <a:off x="7197787" y="4106470"/>
            <a:ext cx="1200258" cy="504083"/>
          </a:xfrm>
          <a:custGeom>
            <a:avLst/>
            <a:gdLst>
              <a:gd name="connsiteX0" fmla="*/ 0 w 792088"/>
              <a:gd name="connsiteY0" fmla="*/ 0 h 163995"/>
              <a:gd name="connsiteX1" fmla="*/ 792088 w 792088"/>
              <a:gd name="connsiteY1" fmla="*/ 0 h 163995"/>
              <a:gd name="connsiteX2" fmla="*/ 792088 w 792088"/>
              <a:gd name="connsiteY2" fmla="*/ 163995 h 163995"/>
              <a:gd name="connsiteX3" fmla="*/ 0 w 792088"/>
              <a:gd name="connsiteY3" fmla="*/ 163995 h 163995"/>
              <a:gd name="connsiteX4" fmla="*/ 0 w 792088"/>
              <a:gd name="connsiteY4" fmla="*/ 0 h 163995"/>
              <a:gd name="connsiteX0" fmla="*/ 115410 w 792088"/>
              <a:gd name="connsiteY0" fmla="*/ 0 h 323793"/>
              <a:gd name="connsiteX1" fmla="*/ 792088 w 792088"/>
              <a:gd name="connsiteY1" fmla="*/ 159798 h 323793"/>
              <a:gd name="connsiteX2" fmla="*/ 792088 w 792088"/>
              <a:gd name="connsiteY2" fmla="*/ 323793 h 323793"/>
              <a:gd name="connsiteX3" fmla="*/ 0 w 792088"/>
              <a:gd name="connsiteY3" fmla="*/ 323793 h 323793"/>
              <a:gd name="connsiteX4" fmla="*/ 115410 w 792088"/>
              <a:gd name="connsiteY4" fmla="*/ 0 h 323793"/>
              <a:gd name="connsiteX0" fmla="*/ 115410 w 797373"/>
              <a:gd name="connsiteY0" fmla="*/ 4054 h 327847"/>
              <a:gd name="connsiteX1" fmla="*/ 797373 w 797373"/>
              <a:gd name="connsiteY1" fmla="*/ 0 h 327847"/>
              <a:gd name="connsiteX2" fmla="*/ 792088 w 797373"/>
              <a:gd name="connsiteY2" fmla="*/ 327847 h 327847"/>
              <a:gd name="connsiteX3" fmla="*/ 0 w 797373"/>
              <a:gd name="connsiteY3" fmla="*/ 327847 h 327847"/>
              <a:gd name="connsiteX4" fmla="*/ 115410 w 797373"/>
              <a:gd name="connsiteY4" fmla="*/ 4054 h 327847"/>
              <a:gd name="connsiteX0" fmla="*/ 115410 w 797373"/>
              <a:gd name="connsiteY0" fmla="*/ 0 h 323793"/>
              <a:gd name="connsiteX1" fmla="*/ 797373 w 797373"/>
              <a:gd name="connsiteY1" fmla="*/ 1231 h 323793"/>
              <a:gd name="connsiteX2" fmla="*/ 792088 w 797373"/>
              <a:gd name="connsiteY2" fmla="*/ 323793 h 323793"/>
              <a:gd name="connsiteX3" fmla="*/ 0 w 797373"/>
              <a:gd name="connsiteY3" fmla="*/ 323793 h 323793"/>
              <a:gd name="connsiteX4" fmla="*/ 115410 w 797373"/>
              <a:gd name="connsiteY4" fmla="*/ 0 h 323793"/>
              <a:gd name="connsiteX0" fmla="*/ 115410 w 797373"/>
              <a:gd name="connsiteY0" fmla="*/ 9340 h 333133"/>
              <a:gd name="connsiteX1" fmla="*/ 797373 w 797373"/>
              <a:gd name="connsiteY1" fmla="*/ 0 h 333133"/>
              <a:gd name="connsiteX2" fmla="*/ 792088 w 797373"/>
              <a:gd name="connsiteY2" fmla="*/ 333133 h 333133"/>
              <a:gd name="connsiteX3" fmla="*/ 0 w 797373"/>
              <a:gd name="connsiteY3" fmla="*/ 333133 h 333133"/>
              <a:gd name="connsiteX4" fmla="*/ 115410 w 797373"/>
              <a:gd name="connsiteY4" fmla="*/ 9340 h 333133"/>
              <a:gd name="connsiteX0" fmla="*/ 115410 w 813229"/>
              <a:gd name="connsiteY0" fmla="*/ 9340 h 333133"/>
              <a:gd name="connsiteX1" fmla="*/ 813229 w 813229"/>
              <a:gd name="connsiteY1" fmla="*/ 0 h 333133"/>
              <a:gd name="connsiteX2" fmla="*/ 792088 w 813229"/>
              <a:gd name="connsiteY2" fmla="*/ 333133 h 333133"/>
              <a:gd name="connsiteX3" fmla="*/ 0 w 813229"/>
              <a:gd name="connsiteY3" fmla="*/ 333133 h 333133"/>
              <a:gd name="connsiteX4" fmla="*/ 115410 w 813229"/>
              <a:gd name="connsiteY4" fmla="*/ 9340 h 333133"/>
              <a:gd name="connsiteX0" fmla="*/ 569967 w 1267786"/>
              <a:gd name="connsiteY0" fmla="*/ 9340 h 370132"/>
              <a:gd name="connsiteX1" fmla="*/ 1267786 w 1267786"/>
              <a:gd name="connsiteY1" fmla="*/ 0 h 370132"/>
              <a:gd name="connsiteX2" fmla="*/ 1246645 w 1267786"/>
              <a:gd name="connsiteY2" fmla="*/ 333133 h 370132"/>
              <a:gd name="connsiteX3" fmla="*/ 0 w 1267786"/>
              <a:gd name="connsiteY3" fmla="*/ 370132 h 370132"/>
              <a:gd name="connsiteX4" fmla="*/ 569967 w 1267786"/>
              <a:gd name="connsiteY4" fmla="*/ 9340 h 370132"/>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80703"/>
              <a:gd name="connsiteX1" fmla="*/ 1267786 w 1267786"/>
              <a:gd name="connsiteY1" fmla="*/ 0 h 380703"/>
              <a:gd name="connsiteX2" fmla="*/ 903084 w 1267786"/>
              <a:gd name="connsiteY2" fmla="*/ 380703 h 380703"/>
              <a:gd name="connsiteX3" fmla="*/ 0 w 1267786"/>
              <a:gd name="connsiteY3" fmla="*/ 370132 h 380703"/>
              <a:gd name="connsiteX4" fmla="*/ 569967 w 1267786"/>
              <a:gd name="connsiteY4" fmla="*/ 9340 h 380703"/>
              <a:gd name="connsiteX0" fmla="*/ 569967 w 1267786"/>
              <a:gd name="connsiteY0" fmla="*/ 9340 h 370132"/>
              <a:gd name="connsiteX1" fmla="*/ 1267786 w 1267786"/>
              <a:gd name="connsiteY1" fmla="*/ 0 h 370132"/>
              <a:gd name="connsiteX2" fmla="*/ 1164342 w 1267786"/>
              <a:gd name="connsiteY2" fmla="*/ 351014 h 370132"/>
              <a:gd name="connsiteX3" fmla="*/ 0 w 1267786"/>
              <a:gd name="connsiteY3" fmla="*/ 370132 h 370132"/>
              <a:gd name="connsiteX4" fmla="*/ 569967 w 1267786"/>
              <a:gd name="connsiteY4" fmla="*/ 9340 h 370132"/>
              <a:gd name="connsiteX0" fmla="*/ 332460 w 1030279"/>
              <a:gd name="connsiteY0" fmla="*/ 9340 h 370132"/>
              <a:gd name="connsiteX1" fmla="*/ 1030279 w 1030279"/>
              <a:gd name="connsiteY1" fmla="*/ 0 h 370132"/>
              <a:gd name="connsiteX2" fmla="*/ 926835 w 1030279"/>
              <a:gd name="connsiteY2" fmla="*/ 351014 h 370132"/>
              <a:gd name="connsiteX3" fmla="*/ 0 w 1030279"/>
              <a:gd name="connsiteY3" fmla="*/ 370132 h 370132"/>
              <a:gd name="connsiteX4" fmla="*/ 332460 w 1030279"/>
              <a:gd name="connsiteY4" fmla="*/ 9340 h 370132"/>
              <a:gd name="connsiteX0" fmla="*/ 350273 w 1048092"/>
              <a:gd name="connsiteY0" fmla="*/ 9340 h 358256"/>
              <a:gd name="connsiteX1" fmla="*/ 1048092 w 1048092"/>
              <a:gd name="connsiteY1" fmla="*/ 0 h 358256"/>
              <a:gd name="connsiteX2" fmla="*/ 944648 w 1048092"/>
              <a:gd name="connsiteY2" fmla="*/ 351014 h 358256"/>
              <a:gd name="connsiteX3" fmla="*/ 0 w 1048092"/>
              <a:gd name="connsiteY3" fmla="*/ 358256 h 358256"/>
              <a:gd name="connsiteX4" fmla="*/ 350273 w 1048092"/>
              <a:gd name="connsiteY4" fmla="*/ 9340 h 358256"/>
              <a:gd name="connsiteX0" fmla="*/ 344336 w 1048092"/>
              <a:gd name="connsiteY0" fmla="*/ 0 h 360791"/>
              <a:gd name="connsiteX1" fmla="*/ 1048092 w 1048092"/>
              <a:gd name="connsiteY1" fmla="*/ 2535 h 360791"/>
              <a:gd name="connsiteX2" fmla="*/ 944648 w 1048092"/>
              <a:gd name="connsiteY2" fmla="*/ 353549 h 360791"/>
              <a:gd name="connsiteX3" fmla="*/ 0 w 1048092"/>
              <a:gd name="connsiteY3" fmla="*/ 360791 h 360791"/>
              <a:gd name="connsiteX4" fmla="*/ 344336 w 1048092"/>
              <a:gd name="connsiteY4" fmla="*/ 0 h 360791"/>
              <a:gd name="connsiteX0" fmla="*/ 344336 w 1059967"/>
              <a:gd name="connsiteY0" fmla="*/ 0 h 360791"/>
              <a:gd name="connsiteX1" fmla="*/ 1059967 w 1059967"/>
              <a:gd name="connsiteY1" fmla="*/ 8472 h 360791"/>
              <a:gd name="connsiteX2" fmla="*/ 944648 w 1059967"/>
              <a:gd name="connsiteY2" fmla="*/ 353549 h 360791"/>
              <a:gd name="connsiteX3" fmla="*/ 0 w 1059967"/>
              <a:gd name="connsiteY3" fmla="*/ 360791 h 360791"/>
              <a:gd name="connsiteX4" fmla="*/ 344336 w 1059967"/>
              <a:gd name="connsiteY4" fmla="*/ 0 h 360791"/>
              <a:gd name="connsiteX0" fmla="*/ 344336 w 1065905"/>
              <a:gd name="connsiteY0" fmla="*/ 15278 h 376069"/>
              <a:gd name="connsiteX1" fmla="*/ 1065905 w 1065905"/>
              <a:gd name="connsiteY1" fmla="*/ 0 h 376069"/>
              <a:gd name="connsiteX2" fmla="*/ 944648 w 1065905"/>
              <a:gd name="connsiteY2" fmla="*/ 368827 h 376069"/>
              <a:gd name="connsiteX3" fmla="*/ 0 w 1065905"/>
              <a:gd name="connsiteY3" fmla="*/ 376069 h 376069"/>
              <a:gd name="connsiteX4" fmla="*/ 344336 w 1065905"/>
              <a:gd name="connsiteY4" fmla="*/ 15278 h 376069"/>
              <a:gd name="connsiteX0" fmla="*/ 356211 w 1065905"/>
              <a:gd name="connsiteY0" fmla="*/ 3403 h 376069"/>
              <a:gd name="connsiteX1" fmla="*/ 1065905 w 1065905"/>
              <a:gd name="connsiteY1" fmla="*/ 0 h 376069"/>
              <a:gd name="connsiteX2" fmla="*/ 944648 w 1065905"/>
              <a:gd name="connsiteY2" fmla="*/ 368827 h 376069"/>
              <a:gd name="connsiteX3" fmla="*/ 0 w 1065905"/>
              <a:gd name="connsiteY3" fmla="*/ 376069 h 376069"/>
              <a:gd name="connsiteX4" fmla="*/ 356211 w 1065905"/>
              <a:gd name="connsiteY4" fmla="*/ 3403 h 376069"/>
              <a:gd name="connsiteX0" fmla="*/ 356211 w 1170279"/>
              <a:gd name="connsiteY0" fmla="*/ 3403 h 380703"/>
              <a:gd name="connsiteX1" fmla="*/ 1065905 w 1170279"/>
              <a:gd name="connsiteY1" fmla="*/ 0 h 380703"/>
              <a:gd name="connsiteX2" fmla="*/ 1170279 w 1170279"/>
              <a:gd name="connsiteY2" fmla="*/ 380703 h 380703"/>
              <a:gd name="connsiteX3" fmla="*/ 0 w 1170279"/>
              <a:gd name="connsiteY3" fmla="*/ 376069 h 380703"/>
              <a:gd name="connsiteX4" fmla="*/ 356211 w 1170279"/>
              <a:gd name="connsiteY4" fmla="*/ 3403 h 380703"/>
              <a:gd name="connsiteX0" fmla="*/ 100891 w 914959"/>
              <a:gd name="connsiteY0" fmla="*/ 3403 h 382007"/>
              <a:gd name="connsiteX1" fmla="*/ 810585 w 914959"/>
              <a:gd name="connsiteY1" fmla="*/ 0 h 382007"/>
              <a:gd name="connsiteX2" fmla="*/ 914959 w 914959"/>
              <a:gd name="connsiteY2" fmla="*/ 380703 h 382007"/>
              <a:gd name="connsiteX3" fmla="*/ 0 w 914959"/>
              <a:gd name="connsiteY3" fmla="*/ 382007 h 382007"/>
              <a:gd name="connsiteX4" fmla="*/ 100891 w 914959"/>
              <a:gd name="connsiteY4" fmla="*/ 3403 h 382007"/>
              <a:gd name="connsiteX0" fmla="*/ 112766 w 914959"/>
              <a:gd name="connsiteY0" fmla="*/ 0 h 384541"/>
              <a:gd name="connsiteX1" fmla="*/ 810585 w 914959"/>
              <a:gd name="connsiteY1" fmla="*/ 2534 h 384541"/>
              <a:gd name="connsiteX2" fmla="*/ 914959 w 914959"/>
              <a:gd name="connsiteY2" fmla="*/ 383237 h 384541"/>
              <a:gd name="connsiteX3" fmla="*/ 0 w 914959"/>
              <a:gd name="connsiteY3" fmla="*/ 384541 h 384541"/>
              <a:gd name="connsiteX4" fmla="*/ 112766 w 914959"/>
              <a:gd name="connsiteY4" fmla="*/ 0 h 384541"/>
              <a:gd name="connsiteX0" fmla="*/ 112766 w 1146528"/>
              <a:gd name="connsiteY0" fmla="*/ 0 h 384541"/>
              <a:gd name="connsiteX1" fmla="*/ 810585 w 1146528"/>
              <a:gd name="connsiteY1" fmla="*/ 2534 h 384541"/>
              <a:gd name="connsiteX2" fmla="*/ 1146528 w 1146528"/>
              <a:gd name="connsiteY2" fmla="*/ 371362 h 384541"/>
              <a:gd name="connsiteX3" fmla="*/ 0 w 1146528"/>
              <a:gd name="connsiteY3" fmla="*/ 384541 h 384541"/>
              <a:gd name="connsiteX4" fmla="*/ 112766 w 1146528"/>
              <a:gd name="connsiteY4" fmla="*/ 0 h 384541"/>
              <a:gd name="connsiteX0" fmla="*/ 0 w 1033762"/>
              <a:gd name="connsiteY0" fmla="*/ 0 h 372666"/>
              <a:gd name="connsiteX1" fmla="*/ 697819 w 1033762"/>
              <a:gd name="connsiteY1" fmla="*/ 2534 h 372666"/>
              <a:gd name="connsiteX2" fmla="*/ 1033762 w 1033762"/>
              <a:gd name="connsiteY2" fmla="*/ 371362 h 372666"/>
              <a:gd name="connsiteX3" fmla="*/ 106928 w 1033762"/>
              <a:gd name="connsiteY3" fmla="*/ 372666 h 372666"/>
              <a:gd name="connsiteX4" fmla="*/ 0 w 1033762"/>
              <a:gd name="connsiteY4" fmla="*/ 0 h 372666"/>
              <a:gd name="connsiteX0" fmla="*/ 0 w 1033762"/>
              <a:gd name="connsiteY0" fmla="*/ 0 h 371362"/>
              <a:gd name="connsiteX1" fmla="*/ 697819 w 1033762"/>
              <a:gd name="connsiteY1" fmla="*/ 2534 h 371362"/>
              <a:gd name="connsiteX2" fmla="*/ 1033762 w 1033762"/>
              <a:gd name="connsiteY2" fmla="*/ 371362 h 371362"/>
              <a:gd name="connsiteX3" fmla="*/ 166304 w 1033762"/>
              <a:gd name="connsiteY3" fmla="*/ 366729 h 371362"/>
              <a:gd name="connsiteX4" fmla="*/ 0 w 1033762"/>
              <a:gd name="connsiteY4" fmla="*/ 0 h 371362"/>
              <a:gd name="connsiteX0" fmla="*/ 0 w 1033762"/>
              <a:gd name="connsiteY0" fmla="*/ 0 h 371362"/>
              <a:gd name="connsiteX1" fmla="*/ 697819 w 1033762"/>
              <a:gd name="connsiteY1" fmla="*/ 2534 h 371362"/>
              <a:gd name="connsiteX2" fmla="*/ 1033762 w 1033762"/>
              <a:gd name="connsiteY2" fmla="*/ 371362 h 371362"/>
              <a:gd name="connsiteX3" fmla="*/ 100990 w 1033762"/>
              <a:gd name="connsiteY3" fmla="*/ 366729 h 371362"/>
              <a:gd name="connsiteX4" fmla="*/ 0 w 1033762"/>
              <a:gd name="connsiteY4" fmla="*/ 0 h 371362"/>
              <a:gd name="connsiteX0" fmla="*/ 0 w 1259394"/>
              <a:gd name="connsiteY0" fmla="*/ 0 h 366729"/>
              <a:gd name="connsiteX1" fmla="*/ 697819 w 1259394"/>
              <a:gd name="connsiteY1" fmla="*/ 2534 h 366729"/>
              <a:gd name="connsiteX2" fmla="*/ 1259394 w 1259394"/>
              <a:gd name="connsiteY2" fmla="*/ 365424 h 366729"/>
              <a:gd name="connsiteX3" fmla="*/ 100990 w 1259394"/>
              <a:gd name="connsiteY3" fmla="*/ 366729 h 366729"/>
              <a:gd name="connsiteX4" fmla="*/ 0 w 1259394"/>
              <a:gd name="connsiteY4" fmla="*/ 0 h 366729"/>
              <a:gd name="connsiteX0" fmla="*/ 0 w 1259394"/>
              <a:gd name="connsiteY0" fmla="*/ 0 h 372666"/>
              <a:gd name="connsiteX1" fmla="*/ 697819 w 1259394"/>
              <a:gd name="connsiteY1" fmla="*/ 2534 h 372666"/>
              <a:gd name="connsiteX2" fmla="*/ 1259394 w 1259394"/>
              <a:gd name="connsiteY2" fmla="*/ 365424 h 372666"/>
              <a:gd name="connsiteX3" fmla="*/ 350372 w 1259394"/>
              <a:gd name="connsiteY3" fmla="*/ 372666 h 372666"/>
              <a:gd name="connsiteX4" fmla="*/ 0 w 1259394"/>
              <a:gd name="connsiteY4" fmla="*/ 0 h 372666"/>
              <a:gd name="connsiteX0" fmla="*/ 0 w 1265668"/>
              <a:gd name="connsiteY0" fmla="*/ 0 h 372666"/>
              <a:gd name="connsiteX1" fmla="*/ 697819 w 1265668"/>
              <a:gd name="connsiteY1" fmla="*/ 2534 h 372666"/>
              <a:gd name="connsiteX2" fmla="*/ 1265668 w 1265668"/>
              <a:gd name="connsiteY2" fmla="*/ 367613 h 372666"/>
              <a:gd name="connsiteX3" fmla="*/ 350372 w 1265668"/>
              <a:gd name="connsiteY3" fmla="*/ 372666 h 372666"/>
              <a:gd name="connsiteX4" fmla="*/ 0 w 1265668"/>
              <a:gd name="connsiteY4" fmla="*/ 0 h 372666"/>
              <a:gd name="connsiteX0" fmla="*/ 0 w 1265668"/>
              <a:gd name="connsiteY0" fmla="*/ 0 h 367613"/>
              <a:gd name="connsiteX1" fmla="*/ 697819 w 1265668"/>
              <a:gd name="connsiteY1" fmla="*/ 2534 h 367613"/>
              <a:gd name="connsiteX2" fmla="*/ 1265668 w 1265668"/>
              <a:gd name="connsiteY2" fmla="*/ 367613 h 367613"/>
              <a:gd name="connsiteX3" fmla="*/ 353510 w 1265668"/>
              <a:gd name="connsiteY3" fmla="*/ 366101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3510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3913 h 367613"/>
              <a:gd name="connsiteX4" fmla="*/ 0 w 1265668"/>
              <a:gd name="connsiteY4" fmla="*/ 0 h 367613"/>
              <a:gd name="connsiteX0" fmla="*/ 0 w 1265668"/>
              <a:gd name="connsiteY0" fmla="*/ 0 h 368289"/>
              <a:gd name="connsiteX1" fmla="*/ 697819 w 1265668"/>
              <a:gd name="connsiteY1" fmla="*/ 2534 h 368289"/>
              <a:gd name="connsiteX2" fmla="*/ 1265668 w 1265668"/>
              <a:gd name="connsiteY2" fmla="*/ 367613 h 368289"/>
              <a:gd name="connsiteX3" fmla="*/ 350373 w 1265668"/>
              <a:gd name="connsiteY3" fmla="*/ 368289 h 368289"/>
              <a:gd name="connsiteX4" fmla="*/ 0 w 1265668"/>
              <a:gd name="connsiteY4" fmla="*/ 0 h 368289"/>
              <a:gd name="connsiteX0" fmla="*/ 0 w 1265668"/>
              <a:gd name="connsiteY0" fmla="*/ 0 h 367613"/>
              <a:gd name="connsiteX1" fmla="*/ 697819 w 1265668"/>
              <a:gd name="connsiteY1" fmla="*/ 2534 h 367613"/>
              <a:gd name="connsiteX2" fmla="*/ 1265668 w 1265668"/>
              <a:gd name="connsiteY2" fmla="*/ 367613 h 367613"/>
              <a:gd name="connsiteX3" fmla="*/ 350373 w 1265668"/>
              <a:gd name="connsiteY3" fmla="*/ 366101 h 367613"/>
              <a:gd name="connsiteX4" fmla="*/ 0 w 1265668"/>
              <a:gd name="connsiteY4" fmla="*/ 0 h 367613"/>
              <a:gd name="connsiteX0" fmla="*/ 0 w 1265668"/>
              <a:gd name="connsiteY0" fmla="*/ 0 h 370477"/>
              <a:gd name="connsiteX1" fmla="*/ 697819 w 1265668"/>
              <a:gd name="connsiteY1" fmla="*/ 2534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7821 w 1265668"/>
              <a:gd name="connsiteY1" fmla="*/ 2536 h 370477"/>
              <a:gd name="connsiteX2" fmla="*/ 1265668 w 1265668"/>
              <a:gd name="connsiteY2" fmla="*/ 367613 h 370477"/>
              <a:gd name="connsiteX3" fmla="*/ 350373 w 1265668"/>
              <a:gd name="connsiteY3" fmla="*/ 370477 h 370477"/>
              <a:gd name="connsiteX4" fmla="*/ 0 w 1265668"/>
              <a:gd name="connsiteY4" fmla="*/ 0 h 370477"/>
              <a:gd name="connsiteX0" fmla="*/ 0 w 1265668"/>
              <a:gd name="connsiteY0" fmla="*/ 0 h 370477"/>
              <a:gd name="connsiteX1" fmla="*/ 691598 w 1265668"/>
              <a:gd name="connsiteY1" fmla="*/ 2538 h 370477"/>
              <a:gd name="connsiteX2" fmla="*/ 1265668 w 1265668"/>
              <a:gd name="connsiteY2" fmla="*/ 367613 h 370477"/>
              <a:gd name="connsiteX3" fmla="*/ 350373 w 1265668"/>
              <a:gd name="connsiteY3" fmla="*/ 370477 h 370477"/>
              <a:gd name="connsiteX4" fmla="*/ 0 w 1265668"/>
              <a:gd name="connsiteY4" fmla="*/ 0 h 370477"/>
              <a:gd name="connsiteX0" fmla="*/ 0 w 1265665"/>
              <a:gd name="connsiteY0" fmla="*/ 0 h 370475"/>
              <a:gd name="connsiteX1" fmla="*/ 691595 w 1265665"/>
              <a:gd name="connsiteY1" fmla="*/ 2536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4 w 1265665"/>
              <a:gd name="connsiteY1" fmla="*/ 2538 h 370475"/>
              <a:gd name="connsiteX2" fmla="*/ 1265665 w 1265665"/>
              <a:gd name="connsiteY2" fmla="*/ 367611 h 370475"/>
              <a:gd name="connsiteX3" fmla="*/ 350370 w 1265665"/>
              <a:gd name="connsiteY3" fmla="*/ 370475 h 370475"/>
              <a:gd name="connsiteX4" fmla="*/ 0 w 1265665"/>
              <a:gd name="connsiteY4" fmla="*/ 0 h 370475"/>
              <a:gd name="connsiteX0" fmla="*/ 0 w 1265665"/>
              <a:gd name="connsiteY0" fmla="*/ 0 h 370475"/>
              <a:gd name="connsiteX1" fmla="*/ 688487 w 1265665"/>
              <a:gd name="connsiteY1" fmla="*/ 378 h 370475"/>
              <a:gd name="connsiteX2" fmla="*/ 1265665 w 1265665"/>
              <a:gd name="connsiteY2" fmla="*/ 367611 h 370475"/>
              <a:gd name="connsiteX3" fmla="*/ 350370 w 1265665"/>
              <a:gd name="connsiteY3" fmla="*/ 370475 h 370475"/>
              <a:gd name="connsiteX4" fmla="*/ 0 w 1265665"/>
              <a:gd name="connsiteY4" fmla="*/ 0 h 370475"/>
              <a:gd name="connsiteX0" fmla="*/ 0 w 1262550"/>
              <a:gd name="connsiteY0" fmla="*/ 0 h 370473"/>
              <a:gd name="connsiteX1" fmla="*/ 685372 w 1262550"/>
              <a:gd name="connsiteY1" fmla="*/ 376 h 370473"/>
              <a:gd name="connsiteX2" fmla="*/ 1262550 w 1262550"/>
              <a:gd name="connsiteY2" fmla="*/ 367609 h 370473"/>
              <a:gd name="connsiteX3" fmla="*/ 347255 w 1262550"/>
              <a:gd name="connsiteY3" fmla="*/ 370473 h 370473"/>
              <a:gd name="connsiteX4" fmla="*/ 0 w 1262550"/>
              <a:gd name="connsiteY4" fmla="*/ 0 h 370473"/>
              <a:gd name="connsiteX0" fmla="*/ 0 w 1262550"/>
              <a:gd name="connsiteY0" fmla="*/ 0 h 368311"/>
              <a:gd name="connsiteX1" fmla="*/ 685372 w 1262550"/>
              <a:gd name="connsiteY1" fmla="*/ 376 h 368311"/>
              <a:gd name="connsiteX2" fmla="*/ 1262550 w 1262550"/>
              <a:gd name="connsiteY2" fmla="*/ 367609 h 368311"/>
              <a:gd name="connsiteX3" fmla="*/ 353484 w 1262550"/>
              <a:gd name="connsiteY3" fmla="*/ 368311 h 368311"/>
              <a:gd name="connsiteX4" fmla="*/ 0 w 1262550"/>
              <a:gd name="connsiteY4" fmla="*/ 0 h 368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550" h="368311">
                <a:moveTo>
                  <a:pt x="0" y="0"/>
                </a:moveTo>
                <a:lnTo>
                  <a:pt x="685372" y="376"/>
                </a:lnTo>
                <a:lnTo>
                  <a:pt x="1262550" y="367609"/>
                </a:lnTo>
                <a:lnTo>
                  <a:pt x="353484" y="368311"/>
                </a:lnTo>
                <a:lnTo>
                  <a:pt x="0" y="0"/>
                </a:lnTo>
                <a:close/>
              </a:path>
            </a:pathLst>
          </a:custGeom>
          <a:gradFill flip="none" rotWithShape="1">
            <a:gsLst>
              <a:gs pos="0">
                <a:schemeClr val="accent3">
                  <a:lumMod val="95000"/>
                  <a:lumOff val="5000"/>
                </a:schemeClr>
              </a:gs>
              <a:gs pos="68000">
                <a:schemeClr val="accent3">
                  <a:lumMod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1"/>
          </a:p>
        </p:txBody>
      </p:sp>
    </p:spTree>
    <p:extLst>
      <p:ext uri="{BB962C8B-B14F-4D97-AF65-F5344CB8AC3E}">
        <p14:creationId xmlns:p14="http://schemas.microsoft.com/office/powerpoint/2010/main" val="18682132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6EDC84-36F5-9D45-9289-21BEFA7307AF}"/>
              </a:ext>
            </a:extLst>
          </p:cNvPr>
          <p:cNvSpPr>
            <a:spLocks noGrp="1"/>
          </p:cNvSpPr>
          <p:nvPr>
            <p:ph type="sldNum" sz="quarter" idx="4"/>
          </p:nvPr>
        </p:nvSpPr>
        <p:spPr/>
        <p:txBody>
          <a:bodyPr/>
          <a:lstStyle/>
          <a:p>
            <a:fld id="{3D966009-6E5A-4F8C-8CA7-E37AFBF5FB92}" type="slidenum">
              <a:rPr lang="en-US" smtClean="0"/>
              <a:t>102</a:t>
            </a:fld>
            <a:endParaRPr lang="en-US"/>
          </a:p>
        </p:txBody>
      </p:sp>
      <p:sp>
        <p:nvSpPr>
          <p:cNvPr id="3" name="Title 2">
            <a:extLst>
              <a:ext uri="{FF2B5EF4-FFF2-40B4-BE49-F238E27FC236}">
                <a16:creationId xmlns:a16="http://schemas.microsoft.com/office/drawing/2014/main" id="{2DE283D7-C956-2040-B160-CB656EB39183}"/>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AB0EBE21-B065-FA4D-9009-FC05D9E3B5FC}"/>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F45AA920-F1F3-214B-BE07-3F2B73723884}"/>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5432C2B9-9ADF-454C-BA67-CB2FF3E9E2E4}"/>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05DB3FCC-7AD4-7B4D-840E-7A1B90EB60AF}"/>
              </a:ext>
            </a:extLst>
          </p:cNvPr>
          <p:cNvSpPr>
            <a:spLocks noGrp="1"/>
          </p:cNvSpPr>
          <p:nvPr>
            <p:ph sz="quarter" idx="14"/>
          </p:nvPr>
        </p:nvSpPr>
        <p:spPr/>
        <p:txBody>
          <a:bodyPr/>
          <a:lstStyle/>
          <a:p>
            <a:endParaRPr lang="en-GB"/>
          </a:p>
        </p:txBody>
      </p:sp>
      <p:grpSp>
        <p:nvGrpSpPr>
          <p:cNvPr id="9" name="Group 8">
            <a:extLst>
              <a:ext uri="{FF2B5EF4-FFF2-40B4-BE49-F238E27FC236}">
                <a16:creationId xmlns:a16="http://schemas.microsoft.com/office/drawing/2014/main" id="{E53C7DEB-A350-4148-B185-7FB57635186F}"/>
              </a:ext>
            </a:extLst>
          </p:cNvPr>
          <p:cNvGrpSpPr/>
          <p:nvPr/>
        </p:nvGrpSpPr>
        <p:grpSpPr>
          <a:xfrm>
            <a:off x="3835914" y="1752197"/>
            <a:ext cx="7416805" cy="929826"/>
            <a:chOff x="-1836693" y="2826095"/>
            <a:chExt cx="7416805" cy="929826"/>
          </a:xfrm>
        </p:grpSpPr>
        <p:sp>
          <p:nvSpPr>
            <p:cNvPr id="10" name="Oval 9">
              <a:extLst>
                <a:ext uri="{FF2B5EF4-FFF2-40B4-BE49-F238E27FC236}">
                  <a16:creationId xmlns:a16="http://schemas.microsoft.com/office/drawing/2014/main" id="{339382A7-5E12-A543-8F5C-1E6C24616282}"/>
                </a:ext>
              </a:extLst>
            </p:cNvPr>
            <p:cNvSpPr/>
            <p:nvPr/>
          </p:nvSpPr>
          <p:spPr>
            <a:xfrm>
              <a:off x="5033093" y="2826095"/>
              <a:ext cx="547019" cy="5470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2700">
                <a:solidFill>
                  <a:schemeClr val="tx1">
                    <a:lumMod val="75000"/>
                    <a:lumOff val="25000"/>
                  </a:schemeClr>
                </a:solidFill>
              </a:endParaRPr>
            </a:p>
          </p:txBody>
        </p:sp>
        <p:sp>
          <p:nvSpPr>
            <p:cNvPr id="11" name="TextBox 10">
              <a:extLst>
                <a:ext uri="{FF2B5EF4-FFF2-40B4-BE49-F238E27FC236}">
                  <a16:creationId xmlns:a16="http://schemas.microsoft.com/office/drawing/2014/main" id="{FC897120-2637-B149-B74D-BDEBF8030073}"/>
                </a:ext>
              </a:extLst>
            </p:cNvPr>
            <p:cNvSpPr txBox="1"/>
            <p:nvPr/>
          </p:nvSpPr>
          <p:spPr>
            <a:xfrm>
              <a:off x="-1704110" y="3109590"/>
              <a:ext cx="6605787" cy="646331"/>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  I hope and I believe that this Template will your Time, Money and Reputation. Get a modern PowerPoint  Presentation that is beautifully designed. </a:t>
              </a:r>
              <a:endParaRPr lang="ko-KR" altLang="en-US" sz="1200">
                <a:solidFill>
                  <a:schemeClr val="tx1">
                    <a:lumMod val="65000"/>
                    <a:lumOff val="35000"/>
                  </a:schemeClr>
                </a:solidFill>
                <a:cs typeface="Arial" pitchFamily="34" charset="0"/>
              </a:endParaRPr>
            </a:p>
          </p:txBody>
        </p:sp>
        <p:sp>
          <p:nvSpPr>
            <p:cNvPr id="12" name="TextBox 11">
              <a:extLst>
                <a:ext uri="{FF2B5EF4-FFF2-40B4-BE49-F238E27FC236}">
                  <a16:creationId xmlns:a16="http://schemas.microsoft.com/office/drawing/2014/main" id="{F937EC0D-557B-BE4D-A663-53459D1BBED6}"/>
                </a:ext>
              </a:extLst>
            </p:cNvPr>
            <p:cNvSpPr txBox="1"/>
            <p:nvPr/>
          </p:nvSpPr>
          <p:spPr>
            <a:xfrm>
              <a:off x="-1704110" y="2832591"/>
              <a:ext cx="6604620" cy="27699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cxnSp>
          <p:nvCxnSpPr>
            <p:cNvPr id="13" name="Straight Connector 12">
              <a:extLst>
                <a:ext uri="{FF2B5EF4-FFF2-40B4-BE49-F238E27FC236}">
                  <a16:creationId xmlns:a16="http://schemas.microsoft.com/office/drawing/2014/main" id="{698B0B59-531E-2C46-BBDE-BF5FB6F76E01}"/>
                </a:ext>
              </a:extLst>
            </p:cNvPr>
            <p:cNvCxnSpPr>
              <a:cxnSpLocks/>
              <a:endCxn id="10" idx="2"/>
            </p:cNvCxnSpPr>
            <p:nvPr/>
          </p:nvCxnSpPr>
          <p:spPr>
            <a:xfrm>
              <a:off x="-1836693" y="3099605"/>
              <a:ext cx="6869786" cy="0"/>
            </a:xfrm>
            <a:prstGeom prst="line">
              <a:avLst/>
            </a:prstGeom>
            <a:ln w="19050">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D2303A8D-A9CE-434F-BCB6-440F77656050}"/>
              </a:ext>
            </a:extLst>
          </p:cNvPr>
          <p:cNvGrpSpPr/>
          <p:nvPr/>
        </p:nvGrpSpPr>
        <p:grpSpPr>
          <a:xfrm>
            <a:off x="5029200" y="2886863"/>
            <a:ext cx="6223518" cy="929826"/>
            <a:chOff x="-643406" y="2826095"/>
            <a:chExt cx="6223518" cy="929826"/>
          </a:xfrm>
        </p:grpSpPr>
        <p:sp>
          <p:nvSpPr>
            <p:cNvPr id="15" name="Oval 14">
              <a:extLst>
                <a:ext uri="{FF2B5EF4-FFF2-40B4-BE49-F238E27FC236}">
                  <a16:creationId xmlns:a16="http://schemas.microsoft.com/office/drawing/2014/main" id="{4011E7EE-8EB9-A345-BC40-0F1119DBD1D4}"/>
                </a:ext>
              </a:extLst>
            </p:cNvPr>
            <p:cNvSpPr/>
            <p:nvPr/>
          </p:nvSpPr>
          <p:spPr>
            <a:xfrm>
              <a:off x="5033093" y="2826095"/>
              <a:ext cx="547019" cy="5470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2700">
                <a:solidFill>
                  <a:schemeClr val="tx1">
                    <a:lumMod val="75000"/>
                    <a:lumOff val="25000"/>
                  </a:schemeClr>
                </a:solidFill>
              </a:endParaRPr>
            </a:p>
          </p:txBody>
        </p:sp>
        <p:sp>
          <p:nvSpPr>
            <p:cNvPr id="16" name="TextBox 15">
              <a:extLst>
                <a:ext uri="{FF2B5EF4-FFF2-40B4-BE49-F238E27FC236}">
                  <a16:creationId xmlns:a16="http://schemas.microsoft.com/office/drawing/2014/main" id="{0EF65F5A-87DD-1446-B7F5-FBA1C556A502}"/>
                </a:ext>
              </a:extLst>
            </p:cNvPr>
            <p:cNvSpPr txBox="1"/>
            <p:nvPr/>
          </p:nvSpPr>
          <p:spPr>
            <a:xfrm>
              <a:off x="-186206" y="3109590"/>
              <a:ext cx="5087883" cy="646331"/>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  I hope and I believe that this Template will your Time, Money and Reputation. </a:t>
              </a:r>
              <a:endParaRPr lang="ko-KR" altLang="en-US" sz="1200">
                <a:solidFill>
                  <a:schemeClr val="tx1">
                    <a:lumMod val="65000"/>
                    <a:lumOff val="35000"/>
                  </a:schemeClr>
                </a:solidFill>
                <a:cs typeface="Arial" pitchFamily="34" charset="0"/>
              </a:endParaRPr>
            </a:p>
          </p:txBody>
        </p:sp>
        <p:sp>
          <p:nvSpPr>
            <p:cNvPr id="17" name="TextBox 16">
              <a:extLst>
                <a:ext uri="{FF2B5EF4-FFF2-40B4-BE49-F238E27FC236}">
                  <a16:creationId xmlns:a16="http://schemas.microsoft.com/office/drawing/2014/main" id="{9F4664EB-88CB-AF49-BC0A-C48CA512C113}"/>
                </a:ext>
              </a:extLst>
            </p:cNvPr>
            <p:cNvSpPr txBox="1"/>
            <p:nvPr/>
          </p:nvSpPr>
          <p:spPr>
            <a:xfrm>
              <a:off x="-186108" y="2832591"/>
              <a:ext cx="5086618" cy="27699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cxnSp>
          <p:nvCxnSpPr>
            <p:cNvPr id="18" name="Straight Connector 17">
              <a:extLst>
                <a:ext uri="{FF2B5EF4-FFF2-40B4-BE49-F238E27FC236}">
                  <a16:creationId xmlns:a16="http://schemas.microsoft.com/office/drawing/2014/main" id="{6EC6C023-CDF7-8D46-9DCF-941FD71436E0}"/>
                </a:ext>
              </a:extLst>
            </p:cNvPr>
            <p:cNvCxnSpPr>
              <a:cxnSpLocks/>
              <a:endCxn id="15" idx="2"/>
            </p:cNvCxnSpPr>
            <p:nvPr/>
          </p:nvCxnSpPr>
          <p:spPr>
            <a:xfrm flipV="1">
              <a:off x="-643406" y="3099605"/>
              <a:ext cx="5676499" cy="9985"/>
            </a:xfrm>
            <a:prstGeom prst="line">
              <a:avLst/>
            </a:prstGeom>
            <a:ln w="19050">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7DBFFF6F-5542-C345-BAE0-F849F9E212B5}"/>
              </a:ext>
            </a:extLst>
          </p:cNvPr>
          <p:cNvGrpSpPr/>
          <p:nvPr/>
        </p:nvGrpSpPr>
        <p:grpSpPr>
          <a:xfrm>
            <a:off x="5295501" y="4021529"/>
            <a:ext cx="5957216" cy="929826"/>
            <a:chOff x="-377104" y="2826095"/>
            <a:chExt cx="5957216" cy="929826"/>
          </a:xfrm>
        </p:grpSpPr>
        <p:sp>
          <p:nvSpPr>
            <p:cNvPr id="20" name="Oval 19">
              <a:extLst>
                <a:ext uri="{FF2B5EF4-FFF2-40B4-BE49-F238E27FC236}">
                  <a16:creationId xmlns:a16="http://schemas.microsoft.com/office/drawing/2014/main" id="{252B8C6D-62B2-2541-8B9E-B4676C3A3838}"/>
                </a:ext>
              </a:extLst>
            </p:cNvPr>
            <p:cNvSpPr/>
            <p:nvPr/>
          </p:nvSpPr>
          <p:spPr>
            <a:xfrm>
              <a:off x="5033093" y="2826095"/>
              <a:ext cx="547019" cy="5470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2700">
                <a:solidFill>
                  <a:schemeClr val="tx1">
                    <a:lumMod val="75000"/>
                    <a:lumOff val="25000"/>
                  </a:schemeClr>
                </a:solidFill>
              </a:endParaRPr>
            </a:p>
          </p:txBody>
        </p:sp>
        <p:sp>
          <p:nvSpPr>
            <p:cNvPr id="21" name="TextBox 20">
              <a:extLst>
                <a:ext uri="{FF2B5EF4-FFF2-40B4-BE49-F238E27FC236}">
                  <a16:creationId xmlns:a16="http://schemas.microsoft.com/office/drawing/2014/main" id="{09DED5DD-273E-B64F-9A46-949D616DC3BE}"/>
                </a:ext>
              </a:extLst>
            </p:cNvPr>
            <p:cNvSpPr txBox="1"/>
            <p:nvPr/>
          </p:nvSpPr>
          <p:spPr>
            <a:xfrm>
              <a:off x="-360293" y="3109590"/>
              <a:ext cx="5261969" cy="646331"/>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  I hope and I believe that this Template will your Time, Money and Reputation. </a:t>
              </a:r>
              <a:endParaRPr lang="ko-KR" altLang="en-US" sz="1200">
                <a:solidFill>
                  <a:schemeClr val="tx1">
                    <a:lumMod val="65000"/>
                    <a:lumOff val="35000"/>
                  </a:schemeClr>
                </a:solidFill>
                <a:cs typeface="Arial" pitchFamily="34" charset="0"/>
              </a:endParaRPr>
            </a:p>
          </p:txBody>
        </p:sp>
        <p:sp>
          <p:nvSpPr>
            <p:cNvPr id="22" name="TextBox 21">
              <a:extLst>
                <a:ext uri="{FF2B5EF4-FFF2-40B4-BE49-F238E27FC236}">
                  <a16:creationId xmlns:a16="http://schemas.microsoft.com/office/drawing/2014/main" id="{A239BF2F-ECCE-A646-9A79-F26A3A75067D}"/>
                </a:ext>
              </a:extLst>
            </p:cNvPr>
            <p:cNvSpPr txBox="1"/>
            <p:nvPr/>
          </p:nvSpPr>
          <p:spPr>
            <a:xfrm>
              <a:off x="-377104" y="2832591"/>
              <a:ext cx="5277613" cy="27699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cxnSp>
          <p:nvCxnSpPr>
            <p:cNvPr id="23" name="Straight Connector 22">
              <a:extLst>
                <a:ext uri="{FF2B5EF4-FFF2-40B4-BE49-F238E27FC236}">
                  <a16:creationId xmlns:a16="http://schemas.microsoft.com/office/drawing/2014/main" id="{5C49C619-FABB-F04C-97D6-5379F8D680E8}"/>
                </a:ext>
              </a:extLst>
            </p:cNvPr>
            <p:cNvCxnSpPr>
              <a:cxnSpLocks/>
              <a:endCxn id="20" idx="2"/>
            </p:cNvCxnSpPr>
            <p:nvPr/>
          </p:nvCxnSpPr>
          <p:spPr>
            <a:xfrm flipV="1">
              <a:off x="-291139" y="3099605"/>
              <a:ext cx="5324232" cy="16044"/>
            </a:xfrm>
            <a:prstGeom prst="line">
              <a:avLst/>
            </a:prstGeom>
            <a:ln w="19050">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B6BD5B08-7AA5-E54B-9632-C93CE1A47E1C}"/>
              </a:ext>
            </a:extLst>
          </p:cNvPr>
          <p:cNvGrpSpPr/>
          <p:nvPr/>
        </p:nvGrpSpPr>
        <p:grpSpPr>
          <a:xfrm>
            <a:off x="5029201" y="5156196"/>
            <a:ext cx="6223517" cy="929826"/>
            <a:chOff x="-643405" y="2826095"/>
            <a:chExt cx="6223517" cy="929826"/>
          </a:xfrm>
        </p:grpSpPr>
        <p:sp>
          <p:nvSpPr>
            <p:cNvPr id="25" name="Oval 24">
              <a:extLst>
                <a:ext uri="{FF2B5EF4-FFF2-40B4-BE49-F238E27FC236}">
                  <a16:creationId xmlns:a16="http://schemas.microsoft.com/office/drawing/2014/main" id="{67AFE13D-9667-5740-9349-4758724A9C7C}"/>
                </a:ext>
              </a:extLst>
            </p:cNvPr>
            <p:cNvSpPr/>
            <p:nvPr/>
          </p:nvSpPr>
          <p:spPr>
            <a:xfrm>
              <a:off x="5033093" y="2826095"/>
              <a:ext cx="547019" cy="5470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2700">
                <a:solidFill>
                  <a:schemeClr val="tx1">
                    <a:lumMod val="75000"/>
                    <a:lumOff val="25000"/>
                  </a:schemeClr>
                </a:solidFill>
              </a:endParaRPr>
            </a:p>
          </p:txBody>
        </p:sp>
        <p:sp>
          <p:nvSpPr>
            <p:cNvPr id="26" name="TextBox 25">
              <a:extLst>
                <a:ext uri="{FF2B5EF4-FFF2-40B4-BE49-F238E27FC236}">
                  <a16:creationId xmlns:a16="http://schemas.microsoft.com/office/drawing/2014/main" id="{864C164B-250A-A743-A1B1-4539DD2CC965}"/>
                </a:ext>
              </a:extLst>
            </p:cNvPr>
            <p:cNvSpPr txBox="1"/>
            <p:nvPr/>
          </p:nvSpPr>
          <p:spPr>
            <a:xfrm>
              <a:off x="-643405" y="3109590"/>
              <a:ext cx="5545081" cy="646331"/>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  I hope and I believe that this Template will your Time, Money and Reputation. </a:t>
              </a:r>
              <a:endParaRPr lang="ko-KR" altLang="en-US" sz="1200">
                <a:solidFill>
                  <a:schemeClr val="tx1">
                    <a:lumMod val="65000"/>
                    <a:lumOff val="35000"/>
                  </a:schemeClr>
                </a:solidFill>
                <a:cs typeface="Arial" pitchFamily="34" charset="0"/>
              </a:endParaRPr>
            </a:p>
          </p:txBody>
        </p:sp>
        <p:sp>
          <p:nvSpPr>
            <p:cNvPr id="27" name="TextBox 26">
              <a:extLst>
                <a:ext uri="{FF2B5EF4-FFF2-40B4-BE49-F238E27FC236}">
                  <a16:creationId xmlns:a16="http://schemas.microsoft.com/office/drawing/2014/main" id="{114F266C-FA11-9448-B638-35A94852DB77}"/>
                </a:ext>
              </a:extLst>
            </p:cNvPr>
            <p:cNvSpPr txBox="1"/>
            <p:nvPr/>
          </p:nvSpPr>
          <p:spPr>
            <a:xfrm>
              <a:off x="1043608" y="2832591"/>
              <a:ext cx="3856901" cy="27699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cxnSp>
          <p:nvCxnSpPr>
            <p:cNvPr id="28" name="Straight Connector 27">
              <a:extLst>
                <a:ext uri="{FF2B5EF4-FFF2-40B4-BE49-F238E27FC236}">
                  <a16:creationId xmlns:a16="http://schemas.microsoft.com/office/drawing/2014/main" id="{517A6580-383A-AA4D-B5DF-B4A9B14DA6C0}"/>
                </a:ext>
              </a:extLst>
            </p:cNvPr>
            <p:cNvCxnSpPr>
              <a:cxnSpLocks/>
              <a:endCxn id="25" idx="2"/>
            </p:cNvCxnSpPr>
            <p:nvPr/>
          </p:nvCxnSpPr>
          <p:spPr>
            <a:xfrm>
              <a:off x="-544532" y="3096114"/>
              <a:ext cx="5577625" cy="3491"/>
            </a:xfrm>
            <a:prstGeom prst="line">
              <a:avLst/>
            </a:prstGeom>
            <a:ln w="1905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ED103E1A-3BB1-C64A-87B4-B424CF7B8608}"/>
              </a:ext>
            </a:extLst>
          </p:cNvPr>
          <p:cNvGrpSpPr/>
          <p:nvPr/>
        </p:nvGrpSpPr>
        <p:grpSpPr>
          <a:xfrm rot="19356937">
            <a:off x="931166" y="1692232"/>
            <a:ext cx="3265741" cy="4172186"/>
            <a:chOff x="500396" y="1895835"/>
            <a:chExt cx="3483312" cy="4450146"/>
          </a:xfrm>
        </p:grpSpPr>
        <p:grpSp>
          <p:nvGrpSpPr>
            <p:cNvPr id="30" name="Group 29">
              <a:extLst>
                <a:ext uri="{FF2B5EF4-FFF2-40B4-BE49-F238E27FC236}">
                  <a16:creationId xmlns:a16="http://schemas.microsoft.com/office/drawing/2014/main" id="{9F1E0803-9C1F-F049-9158-7AAFF2077169}"/>
                </a:ext>
              </a:extLst>
            </p:cNvPr>
            <p:cNvGrpSpPr/>
            <p:nvPr/>
          </p:nvGrpSpPr>
          <p:grpSpPr>
            <a:xfrm>
              <a:off x="500396" y="1895835"/>
              <a:ext cx="3483312" cy="4450146"/>
              <a:chOff x="1404499" y="2043145"/>
              <a:chExt cx="3483312" cy="4450146"/>
            </a:xfrm>
          </p:grpSpPr>
          <p:sp>
            <p:nvSpPr>
              <p:cNvPr id="35" name="Rectangle 11">
                <a:extLst>
                  <a:ext uri="{FF2B5EF4-FFF2-40B4-BE49-F238E27FC236}">
                    <a16:creationId xmlns:a16="http://schemas.microsoft.com/office/drawing/2014/main" id="{270CD501-2126-EC40-8049-25673BF3EFCC}"/>
                  </a:ext>
                </a:extLst>
              </p:cNvPr>
              <p:cNvSpPr/>
              <p:nvPr/>
            </p:nvSpPr>
            <p:spPr>
              <a:xfrm>
                <a:off x="1950893" y="2985237"/>
                <a:ext cx="2390526" cy="1116000"/>
              </a:xfrm>
              <a:custGeom>
                <a:avLst/>
                <a:gdLst/>
                <a:ahLst/>
                <a:cxnLst/>
                <a:rect l="l" t="t" r="r" b="b"/>
                <a:pathLst>
                  <a:path w="2390525" h="1116000">
                    <a:moveTo>
                      <a:pt x="235871" y="0"/>
                    </a:moveTo>
                    <a:lnTo>
                      <a:pt x="2154656" y="0"/>
                    </a:lnTo>
                    <a:cubicBezTo>
                      <a:pt x="2298210" y="310471"/>
                      <a:pt x="2396706" y="714290"/>
                      <a:pt x="2390224" y="1069686"/>
                    </a:cubicBezTo>
                    <a:lnTo>
                      <a:pt x="2387265" y="1116000"/>
                    </a:lnTo>
                    <a:lnTo>
                      <a:pt x="3263" y="1116000"/>
                    </a:lnTo>
                    <a:cubicBezTo>
                      <a:pt x="665" y="1100130"/>
                      <a:pt x="302" y="1084652"/>
                      <a:pt x="302" y="1069685"/>
                    </a:cubicBezTo>
                    <a:cubicBezTo>
                      <a:pt x="-6179" y="714290"/>
                      <a:pt x="92317" y="310471"/>
                      <a:pt x="23587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6" name="Rectangle 12">
                <a:extLst>
                  <a:ext uri="{FF2B5EF4-FFF2-40B4-BE49-F238E27FC236}">
                    <a16:creationId xmlns:a16="http://schemas.microsoft.com/office/drawing/2014/main" id="{DD6D663A-3B12-0443-90BC-949DD1548312}"/>
                  </a:ext>
                </a:extLst>
              </p:cNvPr>
              <p:cNvSpPr/>
              <p:nvPr/>
            </p:nvSpPr>
            <p:spPr>
              <a:xfrm>
                <a:off x="1670119" y="4181264"/>
                <a:ext cx="2952072" cy="1116000"/>
              </a:xfrm>
              <a:custGeom>
                <a:avLst/>
                <a:gdLst/>
                <a:ahLst/>
                <a:cxnLst/>
                <a:rect l="l" t="t" r="r" b="b"/>
                <a:pathLst>
                  <a:path w="2952072" h="1116000">
                    <a:moveTo>
                      <a:pt x="284416" y="0"/>
                    </a:moveTo>
                    <a:lnTo>
                      <a:pt x="2666659" y="0"/>
                    </a:lnTo>
                    <a:cubicBezTo>
                      <a:pt x="2658933" y="175805"/>
                      <a:pt x="2609068" y="405909"/>
                      <a:pt x="2539680" y="642275"/>
                    </a:cubicBezTo>
                    <a:lnTo>
                      <a:pt x="2849820" y="831816"/>
                    </a:lnTo>
                    <a:lnTo>
                      <a:pt x="2952072" y="1116000"/>
                    </a:lnTo>
                    <a:lnTo>
                      <a:pt x="0" y="1116000"/>
                    </a:lnTo>
                    <a:lnTo>
                      <a:pt x="102252" y="831816"/>
                    </a:lnTo>
                    <a:lnTo>
                      <a:pt x="411552" y="642787"/>
                    </a:lnTo>
                    <a:cubicBezTo>
                      <a:pt x="342079" y="406245"/>
                      <a:pt x="292147" y="175934"/>
                      <a:pt x="28441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7" name="Rectangle 13">
                <a:extLst>
                  <a:ext uri="{FF2B5EF4-FFF2-40B4-BE49-F238E27FC236}">
                    <a16:creationId xmlns:a16="http://schemas.microsoft.com/office/drawing/2014/main" id="{34983FD5-63A6-634E-8EB3-AD0B72F7F5C2}"/>
                  </a:ext>
                </a:extLst>
              </p:cNvPr>
              <p:cNvSpPr/>
              <p:nvPr/>
            </p:nvSpPr>
            <p:spPr>
              <a:xfrm>
                <a:off x="1404499" y="5377291"/>
                <a:ext cx="3483312" cy="1116000"/>
              </a:xfrm>
              <a:custGeom>
                <a:avLst/>
                <a:gdLst/>
                <a:ahLst/>
                <a:cxnLst/>
                <a:rect l="l" t="t" r="r" b="b"/>
                <a:pathLst>
                  <a:path w="3483312" h="1116000">
                    <a:moveTo>
                      <a:pt x="1898185" y="1105560"/>
                    </a:moveTo>
                    <a:lnTo>
                      <a:pt x="1919880" y="1116000"/>
                    </a:lnTo>
                    <a:lnTo>
                      <a:pt x="1908776" y="1116000"/>
                    </a:lnTo>
                    <a:cubicBezTo>
                      <a:pt x="1905979" y="1111563"/>
                      <a:pt x="1902100" y="1108505"/>
                      <a:pt x="1898185" y="1105560"/>
                    </a:cubicBezTo>
                    <a:close/>
                    <a:moveTo>
                      <a:pt x="260668" y="0"/>
                    </a:moveTo>
                    <a:lnTo>
                      <a:pt x="3222644" y="0"/>
                    </a:lnTo>
                    <a:lnTo>
                      <a:pt x="3483312" y="724461"/>
                    </a:lnTo>
                    <a:lnTo>
                      <a:pt x="2489111" y="354812"/>
                    </a:lnTo>
                    <a:cubicBezTo>
                      <a:pt x="2465120" y="480738"/>
                      <a:pt x="2446948" y="534340"/>
                      <a:pt x="2365708" y="674887"/>
                    </a:cubicBezTo>
                    <a:cubicBezTo>
                      <a:pt x="2291173" y="814963"/>
                      <a:pt x="2172951" y="936315"/>
                      <a:pt x="2076571" y="1067029"/>
                    </a:cubicBezTo>
                    <a:lnTo>
                      <a:pt x="1413587" y="1067029"/>
                    </a:lnTo>
                    <a:cubicBezTo>
                      <a:pt x="1317208" y="936315"/>
                      <a:pt x="1208344" y="821204"/>
                      <a:pt x="1124449" y="674887"/>
                    </a:cubicBezTo>
                    <a:cubicBezTo>
                      <a:pt x="1052663" y="558938"/>
                      <a:pt x="1024571" y="508523"/>
                      <a:pt x="993354" y="355127"/>
                    </a:cubicBezTo>
                    <a:lnTo>
                      <a:pt x="0" y="72446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Diagonal Stripe 17">
                <a:extLst>
                  <a:ext uri="{FF2B5EF4-FFF2-40B4-BE49-F238E27FC236}">
                    <a16:creationId xmlns:a16="http://schemas.microsoft.com/office/drawing/2014/main" id="{F25E06F8-E6A7-CB45-80B2-4E7F29608F41}"/>
                  </a:ext>
                </a:extLst>
              </p:cNvPr>
              <p:cNvSpPr/>
              <p:nvPr/>
            </p:nvSpPr>
            <p:spPr>
              <a:xfrm rot="13500000">
                <a:off x="2388166" y="2062690"/>
                <a:ext cx="1515978" cy="1476887"/>
              </a:xfrm>
              <a:custGeom>
                <a:avLst/>
                <a:gdLst/>
                <a:ahLst/>
                <a:cxnLst/>
                <a:rect l="l" t="t" r="r" b="b"/>
                <a:pathLst>
                  <a:path w="1515978" h="1476887">
                    <a:moveTo>
                      <a:pt x="1432872" y="1407768"/>
                    </a:moveTo>
                    <a:cubicBezTo>
                      <a:pt x="1044152" y="1532778"/>
                      <a:pt x="463423" y="1466296"/>
                      <a:pt x="96513" y="1380535"/>
                    </a:cubicBezTo>
                    <a:lnTo>
                      <a:pt x="0" y="1347296"/>
                    </a:lnTo>
                    <a:lnTo>
                      <a:pt x="1347296" y="0"/>
                    </a:lnTo>
                    <a:cubicBezTo>
                      <a:pt x="1360006" y="32393"/>
                      <a:pt x="1370814" y="64720"/>
                      <a:pt x="1380535" y="96513"/>
                    </a:cubicBezTo>
                    <a:cubicBezTo>
                      <a:pt x="1465987" y="462097"/>
                      <a:pt x="1607423" y="1036327"/>
                      <a:pt x="1432872" y="1407768"/>
                    </a:cubicBezTo>
                    <a:close/>
                    <a:moveTo>
                      <a:pt x="1430390" y="1413759"/>
                    </a:moveTo>
                    <a:cubicBezTo>
                      <a:pt x="1431325" y="1411814"/>
                      <a:pt x="1432251" y="1409863"/>
                      <a:pt x="1432872" y="1407768"/>
                    </a:cubicBezTo>
                    <a:lnTo>
                      <a:pt x="1434816" y="140728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sp>
          <p:nvSpPr>
            <p:cNvPr id="31" name="TextBox 30">
              <a:extLst>
                <a:ext uri="{FF2B5EF4-FFF2-40B4-BE49-F238E27FC236}">
                  <a16:creationId xmlns:a16="http://schemas.microsoft.com/office/drawing/2014/main" id="{41D00FED-08F4-F24A-8F59-A270EC74F768}"/>
                </a:ext>
              </a:extLst>
            </p:cNvPr>
            <p:cNvSpPr txBox="1"/>
            <p:nvPr/>
          </p:nvSpPr>
          <p:spPr>
            <a:xfrm>
              <a:off x="1637872" y="2386623"/>
              <a:ext cx="1208361" cy="361109"/>
            </a:xfrm>
            <a:prstGeom prst="rect">
              <a:avLst/>
            </a:prstGeom>
            <a:noFill/>
          </p:spPr>
          <p:txBody>
            <a:bodyPr wrap="square" rtlCol="0">
              <a:spAutoFit/>
            </a:bodyPr>
            <a:lstStyle/>
            <a:p>
              <a:pPr algn="ctr"/>
              <a:r>
                <a:rPr lang="en-US" altLang="ko-KR" sz="1600" b="1">
                  <a:solidFill>
                    <a:schemeClr val="bg1"/>
                  </a:solidFill>
                  <a:cs typeface="Arial" pitchFamily="34" charset="0"/>
                </a:rPr>
                <a:t>Option A</a:t>
              </a:r>
              <a:endParaRPr lang="ko-KR" altLang="en-US" sz="1600" b="1">
                <a:solidFill>
                  <a:schemeClr val="bg1"/>
                </a:solidFill>
                <a:cs typeface="Arial" pitchFamily="34" charset="0"/>
              </a:endParaRPr>
            </a:p>
          </p:txBody>
        </p:sp>
        <p:sp>
          <p:nvSpPr>
            <p:cNvPr id="32" name="TextBox 31">
              <a:extLst>
                <a:ext uri="{FF2B5EF4-FFF2-40B4-BE49-F238E27FC236}">
                  <a16:creationId xmlns:a16="http://schemas.microsoft.com/office/drawing/2014/main" id="{6DA64957-BCD9-4340-B99B-B72AFE68C735}"/>
                </a:ext>
              </a:extLst>
            </p:cNvPr>
            <p:cNvSpPr txBox="1"/>
            <p:nvPr/>
          </p:nvSpPr>
          <p:spPr>
            <a:xfrm>
              <a:off x="1637873" y="3417722"/>
              <a:ext cx="1208361" cy="361109"/>
            </a:xfrm>
            <a:prstGeom prst="rect">
              <a:avLst/>
            </a:prstGeom>
            <a:noFill/>
          </p:spPr>
          <p:txBody>
            <a:bodyPr wrap="square" rtlCol="0">
              <a:spAutoFit/>
            </a:bodyPr>
            <a:lstStyle/>
            <a:p>
              <a:pPr algn="ctr"/>
              <a:r>
                <a:rPr lang="en-US" altLang="ko-KR" sz="1600" b="1">
                  <a:solidFill>
                    <a:schemeClr val="bg1"/>
                  </a:solidFill>
                  <a:cs typeface="Arial" pitchFamily="34" charset="0"/>
                </a:rPr>
                <a:t>Option B</a:t>
              </a:r>
              <a:endParaRPr lang="ko-KR" altLang="en-US" sz="1600" b="1">
                <a:solidFill>
                  <a:schemeClr val="bg1"/>
                </a:solidFill>
                <a:cs typeface="Arial" pitchFamily="34" charset="0"/>
              </a:endParaRPr>
            </a:p>
          </p:txBody>
        </p:sp>
        <p:sp>
          <p:nvSpPr>
            <p:cNvPr id="33" name="TextBox 32">
              <a:extLst>
                <a:ext uri="{FF2B5EF4-FFF2-40B4-BE49-F238E27FC236}">
                  <a16:creationId xmlns:a16="http://schemas.microsoft.com/office/drawing/2014/main" id="{D0813190-33E5-184A-B7EA-0DAAE6D62395}"/>
                </a:ext>
              </a:extLst>
            </p:cNvPr>
            <p:cNvSpPr txBox="1"/>
            <p:nvPr/>
          </p:nvSpPr>
          <p:spPr>
            <a:xfrm>
              <a:off x="1637872" y="4663345"/>
              <a:ext cx="1208361" cy="361109"/>
            </a:xfrm>
            <a:prstGeom prst="rect">
              <a:avLst/>
            </a:prstGeom>
            <a:noFill/>
          </p:spPr>
          <p:txBody>
            <a:bodyPr wrap="square" rtlCol="0">
              <a:spAutoFit/>
            </a:bodyPr>
            <a:lstStyle/>
            <a:p>
              <a:pPr algn="ctr"/>
              <a:r>
                <a:rPr lang="en-US" altLang="ko-KR" sz="1600" b="1">
                  <a:solidFill>
                    <a:schemeClr val="bg1"/>
                  </a:solidFill>
                  <a:cs typeface="Arial" pitchFamily="34" charset="0"/>
                </a:rPr>
                <a:t>Option C</a:t>
              </a:r>
              <a:endParaRPr lang="ko-KR" altLang="en-US" sz="1600" b="1">
                <a:solidFill>
                  <a:schemeClr val="bg1"/>
                </a:solidFill>
                <a:cs typeface="Arial" pitchFamily="34" charset="0"/>
              </a:endParaRPr>
            </a:p>
          </p:txBody>
        </p:sp>
        <p:sp>
          <p:nvSpPr>
            <p:cNvPr id="34" name="TextBox 33">
              <a:extLst>
                <a:ext uri="{FF2B5EF4-FFF2-40B4-BE49-F238E27FC236}">
                  <a16:creationId xmlns:a16="http://schemas.microsoft.com/office/drawing/2014/main" id="{A88B1CE1-A5AC-6641-9832-8DDD1F13983A}"/>
                </a:ext>
              </a:extLst>
            </p:cNvPr>
            <p:cNvSpPr txBox="1"/>
            <p:nvPr/>
          </p:nvSpPr>
          <p:spPr>
            <a:xfrm>
              <a:off x="1637871" y="5671456"/>
              <a:ext cx="1208361" cy="361109"/>
            </a:xfrm>
            <a:prstGeom prst="rect">
              <a:avLst/>
            </a:prstGeom>
            <a:noFill/>
          </p:spPr>
          <p:txBody>
            <a:bodyPr wrap="square" rtlCol="0">
              <a:spAutoFit/>
            </a:bodyPr>
            <a:lstStyle/>
            <a:p>
              <a:pPr algn="ctr"/>
              <a:r>
                <a:rPr lang="en-US" altLang="ko-KR" sz="1600" b="1">
                  <a:solidFill>
                    <a:schemeClr val="bg1"/>
                  </a:solidFill>
                  <a:cs typeface="Arial" pitchFamily="34" charset="0"/>
                </a:rPr>
                <a:t>Option D</a:t>
              </a:r>
              <a:endParaRPr lang="ko-KR" altLang="en-US" sz="1600" b="1">
                <a:solidFill>
                  <a:schemeClr val="bg1"/>
                </a:solidFill>
                <a:cs typeface="Arial" pitchFamily="34" charset="0"/>
              </a:endParaRPr>
            </a:p>
          </p:txBody>
        </p:sp>
      </p:grpSp>
      <p:sp>
        <p:nvSpPr>
          <p:cNvPr id="39" name="Parallelogram 30">
            <a:extLst>
              <a:ext uri="{FF2B5EF4-FFF2-40B4-BE49-F238E27FC236}">
                <a16:creationId xmlns:a16="http://schemas.microsoft.com/office/drawing/2014/main" id="{7557630E-94F0-3E4B-9C14-0E42EDA05D6B}"/>
              </a:ext>
            </a:extLst>
          </p:cNvPr>
          <p:cNvSpPr/>
          <p:nvPr/>
        </p:nvSpPr>
        <p:spPr>
          <a:xfrm flipH="1">
            <a:off x="10852930" y="5287505"/>
            <a:ext cx="276735" cy="277420"/>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0" name="Rectangle 130">
            <a:extLst>
              <a:ext uri="{FF2B5EF4-FFF2-40B4-BE49-F238E27FC236}">
                <a16:creationId xmlns:a16="http://schemas.microsoft.com/office/drawing/2014/main" id="{4618D35B-2663-334B-9578-B031D494A91E}"/>
              </a:ext>
            </a:extLst>
          </p:cNvPr>
          <p:cNvSpPr/>
          <p:nvPr/>
        </p:nvSpPr>
        <p:spPr>
          <a:xfrm>
            <a:off x="10847498" y="3036614"/>
            <a:ext cx="266279" cy="267488"/>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41" name="Rectangle 9">
            <a:extLst>
              <a:ext uri="{FF2B5EF4-FFF2-40B4-BE49-F238E27FC236}">
                <a16:creationId xmlns:a16="http://schemas.microsoft.com/office/drawing/2014/main" id="{36D40316-AEA4-B04C-88A3-BCECB57AFBC5}"/>
              </a:ext>
            </a:extLst>
          </p:cNvPr>
          <p:cNvSpPr/>
          <p:nvPr/>
        </p:nvSpPr>
        <p:spPr>
          <a:xfrm>
            <a:off x="10837116" y="1879670"/>
            <a:ext cx="292549" cy="292074"/>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2" name="Freeform 18">
            <a:extLst>
              <a:ext uri="{FF2B5EF4-FFF2-40B4-BE49-F238E27FC236}">
                <a16:creationId xmlns:a16="http://schemas.microsoft.com/office/drawing/2014/main" id="{17670D10-C325-7848-BC5F-FCB951A94F4C}"/>
              </a:ext>
            </a:extLst>
          </p:cNvPr>
          <p:cNvSpPr/>
          <p:nvPr/>
        </p:nvSpPr>
        <p:spPr>
          <a:xfrm>
            <a:off x="10811037" y="4110790"/>
            <a:ext cx="336343" cy="271454"/>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3" name="Parallelogram 30">
            <a:extLst>
              <a:ext uri="{FF2B5EF4-FFF2-40B4-BE49-F238E27FC236}">
                <a16:creationId xmlns:a16="http://schemas.microsoft.com/office/drawing/2014/main" id="{0AC70ABA-8E99-1B46-AFB0-4278F1846E02}"/>
              </a:ext>
            </a:extLst>
          </p:cNvPr>
          <p:cNvSpPr/>
          <p:nvPr/>
        </p:nvSpPr>
        <p:spPr>
          <a:xfrm rot="19380000" flipH="1">
            <a:off x="3195903" y="4620011"/>
            <a:ext cx="351685" cy="352555"/>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4" name="Rectangle 130">
            <a:extLst>
              <a:ext uri="{FF2B5EF4-FFF2-40B4-BE49-F238E27FC236}">
                <a16:creationId xmlns:a16="http://schemas.microsoft.com/office/drawing/2014/main" id="{C01119D9-B0FB-0247-B08A-5FF996F12B8A}"/>
              </a:ext>
            </a:extLst>
          </p:cNvPr>
          <p:cNvSpPr/>
          <p:nvPr/>
        </p:nvSpPr>
        <p:spPr>
          <a:xfrm rot="19380000">
            <a:off x="1812175" y="2969100"/>
            <a:ext cx="338397" cy="339933"/>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45" name="Rectangle 9">
            <a:extLst>
              <a:ext uri="{FF2B5EF4-FFF2-40B4-BE49-F238E27FC236}">
                <a16:creationId xmlns:a16="http://schemas.microsoft.com/office/drawing/2014/main" id="{6C244B74-C0F7-B24C-857F-5ECB2FAF5C18}"/>
              </a:ext>
            </a:extLst>
          </p:cNvPr>
          <p:cNvSpPr/>
          <p:nvPr/>
        </p:nvSpPr>
        <p:spPr>
          <a:xfrm rot="19380000">
            <a:off x="1245500" y="2164358"/>
            <a:ext cx="371782" cy="371178"/>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6" name="Freeform 18">
            <a:extLst>
              <a:ext uri="{FF2B5EF4-FFF2-40B4-BE49-F238E27FC236}">
                <a16:creationId xmlns:a16="http://schemas.microsoft.com/office/drawing/2014/main" id="{38FC7697-5B33-B64E-A405-92B83E277852}"/>
              </a:ext>
            </a:extLst>
          </p:cNvPr>
          <p:cNvSpPr/>
          <p:nvPr/>
        </p:nvSpPr>
        <p:spPr>
          <a:xfrm rot="19380000">
            <a:off x="2481490" y="3849040"/>
            <a:ext cx="427438" cy="344974"/>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206344693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9FB5A610-4204-A54B-A381-568344A9413E}"/>
              </a:ext>
            </a:extLst>
          </p:cNvPr>
          <p:cNvGraphicFramePr>
            <a:graphicFrameLocks noChangeAspect="1"/>
          </p:cNvGraphicFramePr>
          <p:nvPr>
            <p:custDataLst>
              <p:tags r:id="rId1"/>
            </p:custDataLst>
            <p:extLst>
              <p:ext uri="{D42A27DB-BD31-4B8C-83A1-F6EECF244321}">
                <p14:modId xmlns:p14="http://schemas.microsoft.com/office/powerpoint/2010/main" val="3567106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7" name="Object 46" hidden="1">
                        <a:extLst>
                          <a:ext uri="{FF2B5EF4-FFF2-40B4-BE49-F238E27FC236}">
                            <a16:creationId xmlns:a16="http://schemas.microsoft.com/office/drawing/2014/main" id="{9FB5A610-4204-A54B-A381-568344A941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735585C-3AE1-094D-B8D9-AA5C48A0541B}"/>
              </a:ext>
            </a:extLst>
          </p:cNvPr>
          <p:cNvSpPr>
            <a:spLocks noGrp="1"/>
          </p:cNvSpPr>
          <p:nvPr>
            <p:ph type="sldNum" sz="quarter" idx="4"/>
          </p:nvPr>
        </p:nvSpPr>
        <p:spPr/>
        <p:txBody>
          <a:bodyPr/>
          <a:lstStyle/>
          <a:p>
            <a:fld id="{3D966009-6E5A-4F8C-8CA7-E37AFBF5FB92}" type="slidenum">
              <a:rPr lang="en-US" smtClean="0"/>
              <a:t>103</a:t>
            </a:fld>
            <a:endParaRPr lang="en-US"/>
          </a:p>
        </p:txBody>
      </p:sp>
      <p:sp>
        <p:nvSpPr>
          <p:cNvPr id="3" name="Title 2">
            <a:extLst>
              <a:ext uri="{FF2B5EF4-FFF2-40B4-BE49-F238E27FC236}">
                <a16:creationId xmlns:a16="http://schemas.microsoft.com/office/drawing/2014/main" id="{C01DF33D-B342-5144-8BB2-578AB53A7F7D}"/>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DAB7FB1B-B2F5-1448-AC51-5165A4915FC3}"/>
              </a:ext>
            </a:extLst>
          </p:cNvPr>
          <p:cNvSpPr>
            <a:spLocks noGrp="1"/>
          </p:cNvSpPr>
          <p:nvPr>
            <p:ph sz="quarter" idx="10"/>
          </p:nvPr>
        </p:nvSpPr>
        <p:spPr>
          <a:xfrm>
            <a:off x="365682" y="6028266"/>
            <a:ext cx="11460635" cy="221803"/>
          </a:xfrm>
        </p:spPr>
        <p:txBody>
          <a:bodyPr/>
          <a:lstStyle/>
          <a:p>
            <a:endParaRPr lang="de-DE"/>
          </a:p>
        </p:txBody>
      </p:sp>
      <p:sp>
        <p:nvSpPr>
          <p:cNvPr id="6" name="Text Placeholder 5">
            <a:extLst>
              <a:ext uri="{FF2B5EF4-FFF2-40B4-BE49-F238E27FC236}">
                <a16:creationId xmlns:a16="http://schemas.microsoft.com/office/drawing/2014/main" id="{A6969E3D-99AF-3844-B961-C08BF5AABCDF}"/>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9C7A9539-3D0D-3742-B03A-6EFA2E3ABAC1}"/>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5E3A1DCA-7F4A-A341-B2CA-930A4FFC5F84}"/>
              </a:ext>
            </a:extLst>
          </p:cNvPr>
          <p:cNvSpPr>
            <a:spLocks noGrp="1"/>
          </p:cNvSpPr>
          <p:nvPr>
            <p:ph sz="quarter" idx="14"/>
          </p:nvPr>
        </p:nvSpPr>
        <p:spPr/>
        <p:txBody>
          <a:bodyPr/>
          <a:lstStyle/>
          <a:p>
            <a:endParaRPr lang="de-DE"/>
          </a:p>
        </p:txBody>
      </p:sp>
      <p:cxnSp>
        <p:nvCxnSpPr>
          <p:cNvPr id="13" name="Straight Arrow Connector 12">
            <a:extLst>
              <a:ext uri="{FF2B5EF4-FFF2-40B4-BE49-F238E27FC236}">
                <a16:creationId xmlns:a16="http://schemas.microsoft.com/office/drawing/2014/main" id="{88359349-A561-5044-B5B8-F5936F3BFE08}"/>
              </a:ext>
            </a:extLst>
          </p:cNvPr>
          <p:cNvCxnSpPr>
            <a:cxnSpLocks/>
            <a:endCxn id="9" idx="1"/>
          </p:cNvCxnSpPr>
          <p:nvPr/>
        </p:nvCxnSpPr>
        <p:spPr>
          <a:xfrm>
            <a:off x="3899913" y="2181406"/>
            <a:ext cx="2959983" cy="1"/>
          </a:xfrm>
          <a:prstGeom prst="straightConnector1">
            <a:avLst/>
          </a:prstGeom>
          <a:ln w="25400">
            <a:solidFill>
              <a:schemeClr val="bg1">
                <a:lumMod val="50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169DFEA-C45D-9E4A-B1C1-1A4C3C479FBE}"/>
              </a:ext>
            </a:extLst>
          </p:cNvPr>
          <p:cNvGrpSpPr/>
          <p:nvPr/>
        </p:nvGrpSpPr>
        <p:grpSpPr>
          <a:xfrm>
            <a:off x="1026773" y="1790388"/>
            <a:ext cx="4068000" cy="4068000"/>
            <a:chOff x="2514579" y="1730962"/>
            <a:chExt cx="4068000" cy="4068000"/>
          </a:xfrm>
        </p:grpSpPr>
        <p:sp>
          <p:nvSpPr>
            <p:cNvPr id="15" name="Oval 14">
              <a:extLst>
                <a:ext uri="{FF2B5EF4-FFF2-40B4-BE49-F238E27FC236}">
                  <a16:creationId xmlns:a16="http://schemas.microsoft.com/office/drawing/2014/main" id="{3A49A565-3C2F-D043-8468-EE7B969A6823}"/>
                </a:ext>
              </a:extLst>
            </p:cNvPr>
            <p:cNvSpPr/>
            <p:nvPr/>
          </p:nvSpPr>
          <p:spPr>
            <a:xfrm>
              <a:off x="2514579" y="1730962"/>
              <a:ext cx="4068000" cy="4068000"/>
            </a:xfrm>
            <a:prstGeom prst="ellipse">
              <a:avLst/>
            </a:prstGeom>
            <a:solidFill>
              <a:schemeClr val="bg1"/>
            </a:solidFill>
            <a:ln w="6350">
              <a:solidFill>
                <a:schemeClr val="bg1"/>
              </a:solidFill>
            </a:ln>
            <a:effectLst>
              <a:outerShdw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sp>
          <p:nvSpPr>
            <p:cNvPr id="16" name="Pie 10">
              <a:extLst>
                <a:ext uri="{FF2B5EF4-FFF2-40B4-BE49-F238E27FC236}">
                  <a16:creationId xmlns:a16="http://schemas.microsoft.com/office/drawing/2014/main" id="{6C455734-92CF-084F-9DE0-191C5955DBB2}"/>
                </a:ext>
              </a:extLst>
            </p:cNvPr>
            <p:cNvSpPr/>
            <p:nvPr/>
          </p:nvSpPr>
          <p:spPr>
            <a:xfrm>
              <a:off x="2514579" y="1730962"/>
              <a:ext cx="4068000" cy="4068000"/>
            </a:xfrm>
            <a:prstGeom prst="pie">
              <a:avLst>
                <a:gd name="adj1" fmla="val 16160009"/>
                <a:gd name="adj2" fmla="val 1927144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cxnSp>
        <p:nvCxnSpPr>
          <p:cNvPr id="17" name="Straight Arrow Connector 16">
            <a:extLst>
              <a:ext uri="{FF2B5EF4-FFF2-40B4-BE49-F238E27FC236}">
                <a16:creationId xmlns:a16="http://schemas.microsoft.com/office/drawing/2014/main" id="{FC8C5467-D076-2E40-A4C7-65A3A7729D6F}"/>
              </a:ext>
            </a:extLst>
          </p:cNvPr>
          <p:cNvCxnSpPr>
            <a:cxnSpLocks/>
            <a:endCxn id="10" idx="1"/>
          </p:cNvCxnSpPr>
          <p:nvPr/>
        </p:nvCxnSpPr>
        <p:spPr>
          <a:xfrm>
            <a:off x="4079302" y="3270708"/>
            <a:ext cx="2780594" cy="0"/>
          </a:xfrm>
          <a:prstGeom prst="straightConnector1">
            <a:avLst/>
          </a:prstGeom>
          <a:ln w="25400">
            <a:solidFill>
              <a:schemeClr val="bg1">
                <a:lumMod val="50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C420B79E-4E83-7244-96F6-369554E334AD}"/>
              </a:ext>
            </a:extLst>
          </p:cNvPr>
          <p:cNvGrpSpPr/>
          <p:nvPr/>
        </p:nvGrpSpPr>
        <p:grpSpPr>
          <a:xfrm>
            <a:off x="1386773" y="2150388"/>
            <a:ext cx="3348000" cy="3348000"/>
            <a:chOff x="2514579" y="1730962"/>
            <a:chExt cx="4068000" cy="4068000"/>
          </a:xfrm>
        </p:grpSpPr>
        <p:sp>
          <p:nvSpPr>
            <p:cNvPr id="19" name="Oval 18">
              <a:extLst>
                <a:ext uri="{FF2B5EF4-FFF2-40B4-BE49-F238E27FC236}">
                  <a16:creationId xmlns:a16="http://schemas.microsoft.com/office/drawing/2014/main" id="{427563FD-4DF6-A84A-A666-5C6990616BC0}"/>
                </a:ext>
              </a:extLst>
            </p:cNvPr>
            <p:cNvSpPr/>
            <p:nvPr/>
          </p:nvSpPr>
          <p:spPr>
            <a:xfrm>
              <a:off x="2514579" y="1730962"/>
              <a:ext cx="4068000" cy="4068000"/>
            </a:xfrm>
            <a:prstGeom prst="ellipse">
              <a:avLst/>
            </a:prstGeom>
            <a:solidFill>
              <a:schemeClr val="bg1"/>
            </a:solidFill>
            <a:ln w="6350">
              <a:solidFill>
                <a:schemeClr val="bg1"/>
              </a:solidFill>
            </a:ln>
            <a:effectLst>
              <a:outerShdw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sp>
          <p:nvSpPr>
            <p:cNvPr id="20" name="Pie 14">
              <a:extLst>
                <a:ext uri="{FF2B5EF4-FFF2-40B4-BE49-F238E27FC236}">
                  <a16:creationId xmlns:a16="http://schemas.microsoft.com/office/drawing/2014/main" id="{76985E8F-9EB9-1E4E-8A6B-F95454444163}"/>
                </a:ext>
              </a:extLst>
            </p:cNvPr>
            <p:cNvSpPr/>
            <p:nvPr/>
          </p:nvSpPr>
          <p:spPr>
            <a:xfrm>
              <a:off x="2514579" y="1730962"/>
              <a:ext cx="4068000" cy="4068000"/>
            </a:xfrm>
            <a:prstGeom prst="pie">
              <a:avLst>
                <a:gd name="adj1" fmla="val 16145699"/>
                <a:gd name="adj2" fmla="val 46266"/>
              </a:avLst>
            </a:prstGeom>
            <a:solidFill>
              <a:srgbClr val="C9C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cxnSp>
        <p:nvCxnSpPr>
          <p:cNvPr id="21" name="Straight Arrow Connector 20">
            <a:extLst>
              <a:ext uri="{FF2B5EF4-FFF2-40B4-BE49-F238E27FC236}">
                <a16:creationId xmlns:a16="http://schemas.microsoft.com/office/drawing/2014/main" id="{67BB7496-4431-A04D-B03F-3E2C790DFF49}"/>
              </a:ext>
            </a:extLst>
          </p:cNvPr>
          <p:cNvCxnSpPr>
            <a:cxnSpLocks/>
            <a:endCxn id="11" idx="1"/>
          </p:cNvCxnSpPr>
          <p:nvPr/>
        </p:nvCxnSpPr>
        <p:spPr>
          <a:xfrm>
            <a:off x="4079302" y="4351616"/>
            <a:ext cx="2780594" cy="0"/>
          </a:xfrm>
          <a:prstGeom prst="straightConnector1">
            <a:avLst/>
          </a:prstGeom>
          <a:ln w="25400">
            <a:solidFill>
              <a:schemeClr val="bg1">
                <a:lumMod val="50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E023954B-CDCA-064B-B851-AF424A60725D}"/>
              </a:ext>
            </a:extLst>
          </p:cNvPr>
          <p:cNvGrpSpPr/>
          <p:nvPr/>
        </p:nvGrpSpPr>
        <p:grpSpPr>
          <a:xfrm>
            <a:off x="1746773" y="2510388"/>
            <a:ext cx="2628000" cy="2628000"/>
            <a:chOff x="2514579" y="1730962"/>
            <a:chExt cx="4068000" cy="4068000"/>
          </a:xfrm>
        </p:grpSpPr>
        <p:sp>
          <p:nvSpPr>
            <p:cNvPr id="23" name="Oval 22">
              <a:extLst>
                <a:ext uri="{FF2B5EF4-FFF2-40B4-BE49-F238E27FC236}">
                  <a16:creationId xmlns:a16="http://schemas.microsoft.com/office/drawing/2014/main" id="{34671968-E134-594A-85DF-938028287462}"/>
                </a:ext>
              </a:extLst>
            </p:cNvPr>
            <p:cNvSpPr/>
            <p:nvPr/>
          </p:nvSpPr>
          <p:spPr>
            <a:xfrm>
              <a:off x="2514579" y="1730962"/>
              <a:ext cx="4068000" cy="4068000"/>
            </a:xfrm>
            <a:prstGeom prst="ellipse">
              <a:avLst/>
            </a:prstGeom>
            <a:solidFill>
              <a:schemeClr val="bg1"/>
            </a:solidFill>
            <a:ln w="6350">
              <a:solidFill>
                <a:schemeClr val="bg1"/>
              </a:solidFill>
            </a:ln>
            <a:effectLst>
              <a:outerShdw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sp>
          <p:nvSpPr>
            <p:cNvPr id="24" name="Pie 18">
              <a:extLst>
                <a:ext uri="{FF2B5EF4-FFF2-40B4-BE49-F238E27FC236}">
                  <a16:creationId xmlns:a16="http://schemas.microsoft.com/office/drawing/2014/main" id="{8A0FDBD6-F829-DC4A-8B45-397EBB5BC09E}"/>
                </a:ext>
              </a:extLst>
            </p:cNvPr>
            <p:cNvSpPr/>
            <p:nvPr/>
          </p:nvSpPr>
          <p:spPr>
            <a:xfrm>
              <a:off x="2514579" y="1730962"/>
              <a:ext cx="4068000" cy="4068000"/>
            </a:xfrm>
            <a:prstGeom prst="pie">
              <a:avLst>
                <a:gd name="adj1" fmla="val 16176551"/>
                <a:gd name="adj2" fmla="val 5277948"/>
              </a:avLst>
            </a:prstGeom>
            <a:solidFill>
              <a:srgbClr val="DEE0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grpSp>
        <p:nvGrpSpPr>
          <p:cNvPr id="25" name="Group 24">
            <a:extLst>
              <a:ext uri="{FF2B5EF4-FFF2-40B4-BE49-F238E27FC236}">
                <a16:creationId xmlns:a16="http://schemas.microsoft.com/office/drawing/2014/main" id="{80B87F92-2E1E-6F45-952B-0C1C208B842E}"/>
              </a:ext>
            </a:extLst>
          </p:cNvPr>
          <p:cNvGrpSpPr/>
          <p:nvPr/>
        </p:nvGrpSpPr>
        <p:grpSpPr>
          <a:xfrm>
            <a:off x="2106773" y="2870388"/>
            <a:ext cx="1908000" cy="1908000"/>
            <a:chOff x="2514579" y="1730962"/>
            <a:chExt cx="4068000" cy="4068000"/>
          </a:xfrm>
          <a:effectLst>
            <a:outerShdw dist="50800" dir="5400000" algn="ctr" rotWithShape="0">
              <a:srgbClr val="000000">
                <a:alpha val="43137"/>
              </a:srgbClr>
            </a:outerShdw>
          </a:effectLst>
        </p:grpSpPr>
        <p:sp>
          <p:nvSpPr>
            <p:cNvPr id="26" name="Oval 25">
              <a:extLst>
                <a:ext uri="{FF2B5EF4-FFF2-40B4-BE49-F238E27FC236}">
                  <a16:creationId xmlns:a16="http://schemas.microsoft.com/office/drawing/2014/main" id="{DA90A77D-D954-3449-8560-BF814E440047}"/>
                </a:ext>
              </a:extLst>
            </p:cNvPr>
            <p:cNvSpPr/>
            <p:nvPr/>
          </p:nvSpPr>
          <p:spPr>
            <a:xfrm>
              <a:off x="2514579" y="1730962"/>
              <a:ext cx="4068000" cy="4068000"/>
            </a:xfrm>
            <a:prstGeom prst="ellipse">
              <a:avLst/>
            </a:prstGeom>
            <a:solidFill>
              <a:schemeClr val="bg1"/>
            </a:solidFill>
            <a:ln w="6350">
              <a:solidFill>
                <a:schemeClr val="bg1"/>
              </a:solidFill>
            </a:ln>
            <a:effectLst>
              <a:outerShdw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sp>
          <p:nvSpPr>
            <p:cNvPr id="27" name="Pie 21">
              <a:extLst>
                <a:ext uri="{FF2B5EF4-FFF2-40B4-BE49-F238E27FC236}">
                  <a16:creationId xmlns:a16="http://schemas.microsoft.com/office/drawing/2014/main" id="{867FE2BE-C24D-1B47-9D73-6AA7F116EA5D}"/>
                </a:ext>
              </a:extLst>
            </p:cNvPr>
            <p:cNvSpPr/>
            <p:nvPr/>
          </p:nvSpPr>
          <p:spPr>
            <a:xfrm>
              <a:off x="2514579" y="1730962"/>
              <a:ext cx="4068000" cy="4068000"/>
            </a:xfrm>
            <a:prstGeom prst="pie">
              <a:avLst>
                <a:gd name="adj1" fmla="val 16115061"/>
                <a:gd name="adj2" fmla="val 7999258"/>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sp>
        <p:nvSpPr>
          <p:cNvPr id="28" name="Oval 27">
            <a:extLst>
              <a:ext uri="{FF2B5EF4-FFF2-40B4-BE49-F238E27FC236}">
                <a16:creationId xmlns:a16="http://schemas.microsoft.com/office/drawing/2014/main" id="{E3BF0417-978B-CE40-A291-22A90CF8BE9D}"/>
              </a:ext>
            </a:extLst>
          </p:cNvPr>
          <p:cNvSpPr/>
          <p:nvPr/>
        </p:nvSpPr>
        <p:spPr>
          <a:xfrm>
            <a:off x="2466773" y="3230388"/>
            <a:ext cx="1188000" cy="1188000"/>
          </a:xfrm>
          <a:prstGeom prst="ellipse">
            <a:avLst/>
          </a:prstGeom>
          <a:gradFill flip="none" rotWithShape="1">
            <a:gsLst>
              <a:gs pos="0">
                <a:schemeClr val="bg1">
                  <a:lumMod val="87000"/>
                </a:schemeClr>
              </a:gs>
              <a:gs pos="100000">
                <a:schemeClr val="bg1"/>
              </a:gs>
            </a:gsLst>
            <a:lin ang="8100000" scaled="1"/>
            <a:tileRect/>
          </a:gradFill>
          <a:ln w="6350">
            <a:solidFill>
              <a:schemeClr val="bg1"/>
            </a:solidFill>
          </a:ln>
          <a:effectLst>
            <a:outerShdw sx="115000" sy="115000" algn="ctr" rotWithShape="0">
              <a:schemeClr val="tx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65000"/>
                  <a:lumOff val="35000"/>
                </a:schemeClr>
              </a:solidFill>
            </a:endParaRPr>
          </a:p>
        </p:txBody>
      </p:sp>
      <p:cxnSp>
        <p:nvCxnSpPr>
          <p:cNvPr id="29" name="Elbow Connector 23">
            <a:extLst>
              <a:ext uri="{FF2B5EF4-FFF2-40B4-BE49-F238E27FC236}">
                <a16:creationId xmlns:a16="http://schemas.microsoft.com/office/drawing/2014/main" id="{0AEB0F88-9419-E649-8453-C1B5F61CE701}"/>
              </a:ext>
            </a:extLst>
          </p:cNvPr>
          <p:cNvCxnSpPr>
            <a:cxnSpLocks/>
            <a:stCxn id="12" idx="1"/>
          </p:cNvCxnSpPr>
          <p:nvPr/>
        </p:nvCxnSpPr>
        <p:spPr>
          <a:xfrm rot="10800000">
            <a:off x="2418460" y="4502230"/>
            <a:ext cx="4441436" cy="930295"/>
          </a:xfrm>
          <a:prstGeom prst="bentConnector3">
            <a:avLst>
              <a:gd name="adj1" fmla="val 99844"/>
            </a:avLst>
          </a:prstGeom>
          <a:ln w="25400">
            <a:solidFill>
              <a:schemeClr val="bg1">
                <a:lumMod val="50000"/>
              </a:schemeClr>
            </a:solidFill>
            <a:prstDash val="solid"/>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E907C573-B213-D34A-80FE-1264E8191FE1}"/>
              </a:ext>
            </a:extLst>
          </p:cNvPr>
          <p:cNvGrpSpPr/>
          <p:nvPr/>
        </p:nvGrpSpPr>
        <p:grpSpPr>
          <a:xfrm>
            <a:off x="6859896" y="4951330"/>
            <a:ext cx="4976385" cy="962387"/>
            <a:chOff x="6314468" y="5081960"/>
            <a:chExt cx="4976385" cy="962387"/>
          </a:xfrm>
        </p:grpSpPr>
        <p:sp>
          <p:nvSpPr>
            <p:cNvPr id="12" name="Rounded Rectangle 6">
              <a:extLst>
                <a:ext uri="{FF2B5EF4-FFF2-40B4-BE49-F238E27FC236}">
                  <a16:creationId xmlns:a16="http://schemas.microsoft.com/office/drawing/2014/main" id="{A7A5C4DB-0A16-E44F-83DE-3F0A78AC8790}"/>
                </a:ext>
              </a:extLst>
            </p:cNvPr>
            <p:cNvSpPr/>
            <p:nvPr/>
          </p:nvSpPr>
          <p:spPr>
            <a:xfrm>
              <a:off x="6314468" y="5081960"/>
              <a:ext cx="4976385" cy="962387"/>
            </a:xfrm>
            <a:prstGeom prst="roundRect">
              <a:avLst/>
            </a:prstGeom>
            <a:solidFill>
              <a:srgbClr val="A2A2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39" name="Group 38">
              <a:extLst>
                <a:ext uri="{FF2B5EF4-FFF2-40B4-BE49-F238E27FC236}">
                  <a16:creationId xmlns:a16="http://schemas.microsoft.com/office/drawing/2014/main" id="{D9A66947-C7A3-6C46-A482-8E9C77145A85}"/>
                </a:ext>
              </a:extLst>
            </p:cNvPr>
            <p:cNvGrpSpPr/>
            <p:nvPr/>
          </p:nvGrpSpPr>
          <p:grpSpPr>
            <a:xfrm>
              <a:off x="7264214" y="5119289"/>
              <a:ext cx="3827856" cy="895149"/>
              <a:chOff x="6210998" y="1433695"/>
              <a:chExt cx="2688349" cy="895149"/>
            </a:xfrm>
          </p:grpSpPr>
          <p:sp>
            <p:nvSpPr>
              <p:cNvPr id="40" name="TextBox 39">
                <a:extLst>
                  <a:ext uri="{FF2B5EF4-FFF2-40B4-BE49-F238E27FC236}">
                    <a16:creationId xmlns:a16="http://schemas.microsoft.com/office/drawing/2014/main" id="{AC880FB3-8CCA-D748-A227-E2FE7D7514EB}"/>
                  </a:ext>
                </a:extLst>
              </p:cNvPr>
              <p:cNvSpPr txBox="1"/>
              <p:nvPr/>
            </p:nvSpPr>
            <p:spPr>
              <a:xfrm>
                <a:off x="6210998" y="1433695"/>
                <a:ext cx="2688349" cy="276999"/>
              </a:xfrm>
              <a:prstGeom prst="rect">
                <a:avLst/>
              </a:prstGeom>
              <a:noFill/>
            </p:spPr>
            <p:txBody>
              <a:bodyPr wrap="square" rtlCol="0">
                <a:spAutoFit/>
              </a:bodyPr>
              <a:lstStyle/>
              <a:p>
                <a:r>
                  <a:rPr lang="en-US" altLang="ko-KR" sz="1200" b="1">
                    <a:cs typeface="Arial" pitchFamily="34" charset="0"/>
                  </a:rPr>
                  <a:t>Your Text  Here</a:t>
                </a:r>
                <a:endParaRPr lang="ko-KR" altLang="en-US" sz="1200" b="1">
                  <a:cs typeface="Arial" pitchFamily="34" charset="0"/>
                </a:endParaRPr>
              </a:p>
            </p:txBody>
          </p:sp>
          <p:sp>
            <p:nvSpPr>
              <p:cNvPr id="41" name="TextBox 40">
                <a:extLst>
                  <a:ext uri="{FF2B5EF4-FFF2-40B4-BE49-F238E27FC236}">
                    <a16:creationId xmlns:a16="http://schemas.microsoft.com/office/drawing/2014/main" id="{3D157B63-A38B-6E43-9655-C321269C84D4}"/>
                  </a:ext>
                </a:extLst>
              </p:cNvPr>
              <p:cNvSpPr txBox="1"/>
              <p:nvPr/>
            </p:nvSpPr>
            <p:spPr>
              <a:xfrm>
                <a:off x="6210998" y="1682513"/>
                <a:ext cx="2688349" cy="646331"/>
              </a:xfrm>
              <a:prstGeom prst="rect">
                <a:avLst/>
              </a:prstGeom>
              <a:noFill/>
            </p:spPr>
            <p:txBody>
              <a:bodyPr wrap="square" rtlCol="0">
                <a:spAutoFit/>
              </a:bodyPr>
              <a:lstStyle/>
              <a:p>
                <a:r>
                  <a:rPr lang="en-US" altLang="ko-KR" sz="1200"/>
                  <a:t>Easy to change colors, photos and Text. </a:t>
                </a:r>
                <a:r>
                  <a:rPr lang="en-US" altLang="ko-KR" sz="1200">
                    <a:latin typeface="Arial" pitchFamily="34" charset="0"/>
                    <a:cs typeface="Arial" pitchFamily="34" charset="0"/>
                  </a:rPr>
                  <a:t>You can simply impress your audience and add a unique zing and appeal to your Presentations. </a:t>
                </a:r>
                <a:endParaRPr lang="ko-KR" altLang="en-US" sz="1200">
                  <a:cs typeface="Arial" pitchFamily="34" charset="0"/>
                </a:endParaRPr>
              </a:p>
            </p:txBody>
          </p:sp>
        </p:grpSp>
        <p:sp>
          <p:nvSpPr>
            <p:cNvPr id="42" name="Rectangle 9">
              <a:extLst>
                <a:ext uri="{FF2B5EF4-FFF2-40B4-BE49-F238E27FC236}">
                  <a16:creationId xmlns:a16="http://schemas.microsoft.com/office/drawing/2014/main" id="{102DF510-3208-5F48-9C20-CCB9A41D2D57}"/>
                </a:ext>
              </a:extLst>
            </p:cNvPr>
            <p:cNvSpPr/>
            <p:nvPr/>
          </p:nvSpPr>
          <p:spPr>
            <a:xfrm>
              <a:off x="6693656" y="5409398"/>
              <a:ext cx="329463" cy="308407"/>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grpSp>
        <p:nvGrpSpPr>
          <p:cNvPr id="50" name="Group 49">
            <a:extLst>
              <a:ext uri="{FF2B5EF4-FFF2-40B4-BE49-F238E27FC236}">
                <a16:creationId xmlns:a16="http://schemas.microsoft.com/office/drawing/2014/main" id="{C6CB157A-59E1-3F4E-9741-10DE65B8F3D4}"/>
              </a:ext>
            </a:extLst>
          </p:cNvPr>
          <p:cNvGrpSpPr/>
          <p:nvPr/>
        </p:nvGrpSpPr>
        <p:grpSpPr>
          <a:xfrm>
            <a:off x="6859896" y="3870422"/>
            <a:ext cx="4976385" cy="962387"/>
            <a:chOff x="6314468" y="3935737"/>
            <a:chExt cx="4976385" cy="962387"/>
          </a:xfrm>
        </p:grpSpPr>
        <p:sp>
          <p:nvSpPr>
            <p:cNvPr id="11" name="Rounded Rectangle 5">
              <a:extLst>
                <a:ext uri="{FF2B5EF4-FFF2-40B4-BE49-F238E27FC236}">
                  <a16:creationId xmlns:a16="http://schemas.microsoft.com/office/drawing/2014/main" id="{B2319F65-93AB-F248-BB79-E5F1E4ECA680}"/>
                </a:ext>
              </a:extLst>
            </p:cNvPr>
            <p:cNvSpPr/>
            <p:nvPr/>
          </p:nvSpPr>
          <p:spPr>
            <a:xfrm>
              <a:off x="6314468" y="3935737"/>
              <a:ext cx="4976385" cy="962387"/>
            </a:xfrm>
            <a:prstGeom prst="roundRect">
              <a:avLst/>
            </a:prstGeom>
            <a:solidFill>
              <a:srgbClr val="DEE0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36" name="Group 35">
              <a:extLst>
                <a:ext uri="{FF2B5EF4-FFF2-40B4-BE49-F238E27FC236}">
                  <a16:creationId xmlns:a16="http://schemas.microsoft.com/office/drawing/2014/main" id="{B2EA6192-2FB7-144F-A331-E87350C39165}"/>
                </a:ext>
              </a:extLst>
            </p:cNvPr>
            <p:cNvGrpSpPr/>
            <p:nvPr/>
          </p:nvGrpSpPr>
          <p:grpSpPr>
            <a:xfrm>
              <a:off x="7264214" y="3979445"/>
              <a:ext cx="3827856" cy="895149"/>
              <a:chOff x="6210998" y="1433695"/>
              <a:chExt cx="2688349" cy="895149"/>
            </a:xfrm>
          </p:grpSpPr>
          <p:sp>
            <p:nvSpPr>
              <p:cNvPr id="37" name="TextBox 36">
                <a:extLst>
                  <a:ext uri="{FF2B5EF4-FFF2-40B4-BE49-F238E27FC236}">
                    <a16:creationId xmlns:a16="http://schemas.microsoft.com/office/drawing/2014/main" id="{77E5321F-655A-B44D-82BC-93207393373C}"/>
                  </a:ext>
                </a:extLst>
              </p:cNvPr>
              <p:cNvSpPr txBox="1"/>
              <p:nvPr/>
            </p:nvSpPr>
            <p:spPr>
              <a:xfrm>
                <a:off x="6210998" y="1433695"/>
                <a:ext cx="2688349" cy="276999"/>
              </a:xfrm>
              <a:prstGeom prst="rect">
                <a:avLst/>
              </a:prstGeom>
              <a:noFill/>
            </p:spPr>
            <p:txBody>
              <a:bodyPr wrap="square" rtlCol="0">
                <a:spAutoFit/>
              </a:bodyPr>
              <a:lstStyle/>
              <a:p>
                <a:r>
                  <a:rPr lang="en-US" altLang="ko-KR" sz="1200" b="1">
                    <a:cs typeface="Arial" pitchFamily="34" charset="0"/>
                  </a:rPr>
                  <a:t>Your Text  Here</a:t>
                </a:r>
                <a:endParaRPr lang="ko-KR" altLang="en-US" sz="1200" b="1">
                  <a:cs typeface="Arial" pitchFamily="34" charset="0"/>
                </a:endParaRPr>
              </a:p>
            </p:txBody>
          </p:sp>
          <p:sp>
            <p:nvSpPr>
              <p:cNvPr id="38" name="TextBox 37">
                <a:extLst>
                  <a:ext uri="{FF2B5EF4-FFF2-40B4-BE49-F238E27FC236}">
                    <a16:creationId xmlns:a16="http://schemas.microsoft.com/office/drawing/2014/main" id="{6C8C1A37-E644-E74B-ADD9-67D08B8FA94E}"/>
                  </a:ext>
                </a:extLst>
              </p:cNvPr>
              <p:cNvSpPr txBox="1"/>
              <p:nvPr/>
            </p:nvSpPr>
            <p:spPr>
              <a:xfrm>
                <a:off x="6210998" y="1682513"/>
                <a:ext cx="2688349" cy="646331"/>
              </a:xfrm>
              <a:prstGeom prst="rect">
                <a:avLst/>
              </a:prstGeom>
              <a:noFill/>
            </p:spPr>
            <p:txBody>
              <a:bodyPr wrap="square" rtlCol="0">
                <a:spAutoFit/>
              </a:bodyPr>
              <a:lstStyle/>
              <a:p>
                <a:r>
                  <a:rPr lang="en-US" altLang="ko-KR" sz="1200"/>
                  <a:t>Easy to change colors, photos and Text. </a:t>
                </a:r>
                <a:r>
                  <a:rPr lang="en-US" altLang="ko-KR" sz="1200">
                    <a:latin typeface="Arial" pitchFamily="34" charset="0"/>
                    <a:cs typeface="Arial" pitchFamily="34" charset="0"/>
                  </a:rPr>
                  <a:t>You can simply impress your audience and add a unique zing and appeal to your Presentations. </a:t>
                </a:r>
                <a:endParaRPr lang="ko-KR" altLang="en-US" sz="1200">
                  <a:cs typeface="Arial" pitchFamily="34" charset="0"/>
                </a:endParaRPr>
              </a:p>
            </p:txBody>
          </p:sp>
        </p:grpSp>
        <p:sp>
          <p:nvSpPr>
            <p:cNvPr id="43" name="Rounded Rectangle 5">
              <a:extLst>
                <a:ext uri="{FF2B5EF4-FFF2-40B4-BE49-F238E27FC236}">
                  <a16:creationId xmlns:a16="http://schemas.microsoft.com/office/drawing/2014/main" id="{1A98EE97-67AA-FC44-9D12-3C1243BC9BD4}"/>
                </a:ext>
              </a:extLst>
            </p:cNvPr>
            <p:cNvSpPr/>
            <p:nvPr/>
          </p:nvSpPr>
          <p:spPr>
            <a:xfrm flipH="1">
              <a:off x="6662546" y="4256444"/>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grpSp>
        <p:nvGrpSpPr>
          <p:cNvPr id="51" name="Group 50">
            <a:extLst>
              <a:ext uri="{FF2B5EF4-FFF2-40B4-BE49-F238E27FC236}">
                <a16:creationId xmlns:a16="http://schemas.microsoft.com/office/drawing/2014/main" id="{B3C78C24-91C1-874F-AF8A-19D9A5F8027B}"/>
              </a:ext>
            </a:extLst>
          </p:cNvPr>
          <p:cNvGrpSpPr/>
          <p:nvPr/>
        </p:nvGrpSpPr>
        <p:grpSpPr>
          <a:xfrm>
            <a:off x="6859896" y="2789514"/>
            <a:ext cx="4976385" cy="962387"/>
            <a:chOff x="6314468" y="2789514"/>
            <a:chExt cx="4976385" cy="962387"/>
          </a:xfrm>
        </p:grpSpPr>
        <p:sp>
          <p:nvSpPr>
            <p:cNvPr id="10" name="Rounded Rectangle 4">
              <a:extLst>
                <a:ext uri="{FF2B5EF4-FFF2-40B4-BE49-F238E27FC236}">
                  <a16:creationId xmlns:a16="http://schemas.microsoft.com/office/drawing/2014/main" id="{56906798-C1BB-4649-B285-3A30ADB8D6DE}"/>
                </a:ext>
              </a:extLst>
            </p:cNvPr>
            <p:cNvSpPr/>
            <p:nvPr/>
          </p:nvSpPr>
          <p:spPr>
            <a:xfrm>
              <a:off x="6314468" y="2789514"/>
              <a:ext cx="4976385" cy="9623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33" name="Group 32">
              <a:extLst>
                <a:ext uri="{FF2B5EF4-FFF2-40B4-BE49-F238E27FC236}">
                  <a16:creationId xmlns:a16="http://schemas.microsoft.com/office/drawing/2014/main" id="{C60C9F90-AC72-974D-8578-EB0BA609E67F}"/>
                </a:ext>
              </a:extLst>
            </p:cNvPr>
            <p:cNvGrpSpPr/>
            <p:nvPr/>
          </p:nvGrpSpPr>
          <p:grpSpPr>
            <a:xfrm>
              <a:off x="7264214" y="2818652"/>
              <a:ext cx="3827856" cy="895149"/>
              <a:chOff x="6210998" y="1433695"/>
              <a:chExt cx="2688349" cy="895149"/>
            </a:xfrm>
          </p:grpSpPr>
          <p:sp>
            <p:nvSpPr>
              <p:cNvPr id="34" name="TextBox 33">
                <a:extLst>
                  <a:ext uri="{FF2B5EF4-FFF2-40B4-BE49-F238E27FC236}">
                    <a16:creationId xmlns:a16="http://schemas.microsoft.com/office/drawing/2014/main" id="{00887210-042F-2D4C-A334-3A5C3FE1D893}"/>
                  </a:ext>
                </a:extLst>
              </p:cNvPr>
              <p:cNvSpPr txBox="1"/>
              <p:nvPr/>
            </p:nvSpPr>
            <p:spPr>
              <a:xfrm>
                <a:off x="6210998" y="1433695"/>
                <a:ext cx="2688349" cy="276999"/>
              </a:xfrm>
              <a:prstGeom prst="rect">
                <a:avLst/>
              </a:prstGeom>
              <a:noFill/>
            </p:spPr>
            <p:txBody>
              <a:bodyPr wrap="square" rtlCol="0">
                <a:spAutoFit/>
              </a:bodyPr>
              <a:lstStyle/>
              <a:p>
                <a:r>
                  <a:rPr lang="en-US" altLang="ko-KR" sz="1200" b="1">
                    <a:cs typeface="Arial" pitchFamily="34" charset="0"/>
                  </a:rPr>
                  <a:t>Your Text  Here</a:t>
                </a:r>
                <a:endParaRPr lang="ko-KR" altLang="en-US" sz="1200" b="1">
                  <a:cs typeface="Arial" pitchFamily="34" charset="0"/>
                </a:endParaRPr>
              </a:p>
            </p:txBody>
          </p:sp>
          <p:sp>
            <p:nvSpPr>
              <p:cNvPr id="35" name="TextBox 34">
                <a:extLst>
                  <a:ext uri="{FF2B5EF4-FFF2-40B4-BE49-F238E27FC236}">
                    <a16:creationId xmlns:a16="http://schemas.microsoft.com/office/drawing/2014/main" id="{0678C031-F785-D648-8023-D51C3BE1025D}"/>
                  </a:ext>
                </a:extLst>
              </p:cNvPr>
              <p:cNvSpPr txBox="1"/>
              <p:nvPr/>
            </p:nvSpPr>
            <p:spPr>
              <a:xfrm>
                <a:off x="6210998" y="1682513"/>
                <a:ext cx="2688349" cy="646331"/>
              </a:xfrm>
              <a:prstGeom prst="rect">
                <a:avLst/>
              </a:prstGeom>
              <a:noFill/>
            </p:spPr>
            <p:txBody>
              <a:bodyPr wrap="square" rtlCol="0">
                <a:spAutoFit/>
              </a:bodyPr>
              <a:lstStyle/>
              <a:p>
                <a:r>
                  <a:rPr lang="en-US" altLang="ko-KR" sz="1200"/>
                  <a:t>Easy to change colors, photos and Text. </a:t>
                </a:r>
                <a:r>
                  <a:rPr lang="en-US" altLang="ko-KR" sz="1200">
                    <a:latin typeface="Arial" pitchFamily="34" charset="0"/>
                    <a:cs typeface="Arial" pitchFamily="34" charset="0"/>
                  </a:rPr>
                  <a:t>You can simply impress your audience and add a unique zing and appeal to your Presentations. </a:t>
                </a:r>
                <a:endParaRPr lang="ko-KR" altLang="en-US" sz="1200">
                  <a:cs typeface="Arial" pitchFamily="34" charset="0"/>
                </a:endParaRPr>
              </a:p>
            </p:txBody>
          </p:sp>
        </p:grpSp>
        <p:sp>
          <p:nvSpPr>
            <p:cNvPr id="44" name="Round Same Side Corner Rectangle 11">
              <a:extLst>
                <a:ext uri="{FF2B5EF4-FFF2-40B4-BE49-F238E27FC236}">
                  <a16:creationId xmlns:a16="http://schemas.microsoft.com/office/drawing/2014/main" id="{A0576B87-A27F-6543-8ECD-6E334A500A70}"/>
                </a:ext>
              </a:extLst>
            </p:cNvPr>
            <p:cNvSpPr>
              <a:spLocks noChangeAspect="1"/>
            </p:cNvSpPr>
            <p:nvPr/>
          </p:nvSpPr>
          <p:spPr>
            <a:xfrm rot="9900000">
              <a:off x="6660386" y="3104196"/>
              <a:ext cx="396000" cy="3363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grpSp>
        <p:nvGrpSpPr>
          <p:cNvPr id="52" name="Group 51">
            <a:extLst>
              <a:ext uri="{FF2B5EF4-FFF2-40B4-BE49-F238E27FC236}">
                <a16:creationId xmlns:a16="http://schemas.microsoft.com/office/drawing/2014/main" id="{6033C8B9-351C-7643-A7D6-C5DFF15D7E5F}"/>
              </a:ext>
            </a:extLst>
          </p:cNvPr>
          <p:cNvGrpSpPr/>
          <p:nvPr/>
        </p:nvGrpSpPr>
        <p:grpSpPr>
          <a:xfrm>
            <a:off x="6859896" y="1700213"/>
            <a:ext cx="4976385" cy="962387"/>
            <a:chOff x="6314468" y="1643291"/>
            <a:chExt cx="4976385" cy="962387"/>
          </a:xfrm>
        </p:grpSpPr>
        <p:sp>
          <p:nvSpPr>
            <p:cNvPr id="9" name="Rounded Rectangle 3">
              <a:extLst>
                <a:ext uri="{FF2B5EF4-FFF2-40B4-BE49-F238E27FC236}">
                  <a16:creationId xmlns:a16="http://schemas.microsoft.com/office/drawing/2014/main" id="{8849F53D-90EB-0844-84B6-C3F7ECAFF932}"/>
                </a:ext>
              </a:extLst>
            </p:cNvPr>
            <p:cNvSpPr/>
            <p:nvPr/>
          </p:nvSpPr>
          <p:spPr>
            <a:xfrm>
              <a:off x="6314468" y="1643291"/>
              <a:ext cx="4976385" cy="962387"/>
            </a:xfrm>
            <a:prstGeom prst="roundRect">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30" name="Group 29">
              <a:extLst>
                <a:ext uri="{FF2B5EF4-FFF2-40B4-BE49-F238E27FC236}">
                  <a16:creationId xmlns:a16="http://schemas.microsoft.com/office/drawing/2014/main" id="{63740E6C-D039-104E-8890-C540960A9CBB}"/>
                </a:ext>
              </a:extLst>
            </p:cNvPr>
            <p:cNvGrpSpPr/>
            <p:nvPr/>
          </p:nvGrpSpPr>
          <p:grpSpPr>
            <a:xfrm>
              <a:off x="7264214" y="1676909"/>
              <a:ext cx="3827856" cy="895149"/>
              <a:chOff x="6210998" y="1433695"/>
              <a:chExt cx="2688349" cy="895149"/>
            </a:xfrm>
          </p:grpSpPr>
          <p:sp>
            <p:nvSpPr>
              <p:cNvPr id="31" name="TextBox 30">
                <a:extLst>
                  <a:ext uri="{FF2B5EF4-FFF2-40B4-BE49-F238E27FC236}">
                    <a16:creationId xmlns:a16="http://schemas.microsoft.com/office/drawing/2014/main" id="{9073BACD-E67D-0141-803A-418F7CC43E70}"/>
                  </a:ext>
                </a:extLst>
              </p:cNvPr>
              <p:cNvSpPr txBox="1"/>
              <p:nvPr/>
            </p:nvSpPr>
            <p:spPr>
              <a:xfrm>
                <a:off x="6210998" y="1433695"/>
                <a:ext cx="2688349" cy="276999"/>
              </a:xfrm>
              <a:prstGeom prst="rect">
                <a:avLst/>
              </a:prstGeom>
              <a:noFill/>
            </p:spPr>
            <p:txBody>
              <a:bodyPr wrap="square" rtlCol="0">
                <a:spAutoFit/>
              </a:bodyPr>
              <a:lstStyle/>
              <a:p>
                <a:r>
                  <a:rPr lang="en-US" altLang="ko-KR" sz="1200" b="1">
                    <a:cs typeface="Arial" pitchFamily="34" charset="0"/>
                  </a:rPr>
                  <a:t>Your Text  Here</a:t>
                </a:r>
                <a:endParaRPr lang="ko-KR" altLang="en-US" sz="1200" b="1">
                  <a:cs typeface="Arial" pitchFamily="34" charset="0"/>
                </a:endParaRPr>
              </a:p>
            </p:txBody>
          </p:sp>
          <p:sp>
            <p:nvSpPr>
              <p:cNvPr id="32" name="TextBox 31">
                <a:extLst>
                  <a:ext uri="{FF2B5EF4-FFF2-40B4-BE49-F238E27FC236}">
                    <a16:creationId xmlns:a16="http://schemas.microsoft.com/office/drawing/2014/main" id="{69C79E21-F086-F449-AB16-E9B837DA81C0}"/>
                  </a:ext>
                </a:extLst>
              </p:cNvPr>
              <p:cNvSpPr txBox="1"/>
              <p:nvPr/>
            </p:nvSpPr>
            <p:spPr>
              <a:xfrm>
                <a:off x="6210998" y="1682513"/>
                <a:ext cx="2688349" cy="646331"/>
              </a:xfrm>
              <a:prstGeom prst="rect">
                <a:avLst/>
              </a:prstGeom>
              <a:noFill/>
            </p:spPr>
            <p:txBody>
              <a:bodyPr wrap="square" rtlCol="0">
                <a:spAutoFit/>
              </a:bodyPr>
              <a:lstStyle/>
              <a:p>
                <a:r>
                  <a:rPr lang="en-US" altLang="ko-KR" sz="1200"/>
                  <a:t>Easy to change colors, photos and Text. </a:t>
                </a:r>
                <a:r>
                  <a:rPr lang="en-US" altLang="ko-KR" sz="1200">
                    <a:latin typeface="Arial" pitchFamily="34" charset="0"/>
                    <a:cs typeface="Arial" pitchFamily="34" charset="0"/>
                  </a:rPr>
                  <a:t>You can simply impress your audience and add a unique zing and appeal to your Presentations. </a:t>
                </a:r>
                <a:endParaRPr lang="ko-KR" altLang="en-US" sz="1200">
                  <a:cs typeface="Arial" pitchFamily="34" charset="0"/>
                </a:endParaRPr>
              </a:p>
            </p:txBody>
          </p:sp>
        </p:grpSp>
        <p:sp>
          <p:nvSpPr>
            <p:cNvPr id="45" name="Rounded Rectangle 27">
              <a:extLst>
                <a:ext uri="{FF2B5EF4-FFF2-40B4-BE49-F238E27FC236}">
                  <a16:creationId xmlns:a16="http://schemas.microsoft.com/office/drawing/2014/main" id="{F5A2A9B6-19D3-834D-80A1-B9A9380F96EB}"/>
                </a:ext>
              </a:extLst>
            </p:cNvPr>
            <p:cNvSpPr/>
            <p:nvPr/>
          </p:nvSpPr>
          <p:spPr>
            <a:xfrm>
              <a:off x="6685188" y="1991444"/>
              <a:ext cx="346396" cy="26607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
        <p:nvSpPr>
          <p:cNvPr id="46" name="Rounded Rectangle 51">
            <a:extLst>
              <a:ext uri="{FF2B5EF4-FFF2-40B4-BE49-F238E27FC236}">
                <a16:creationId xmlns:a16="http://schemas.microsoft.com/office/drawing/2014/main" id="{3D3E597C-4DEF-D04B-862A-A24CE4E3688E}"/>
              </a:ext>
            </a:extLst>
          </p:cNvPr>
          <p:cNvSpPr/>
          <p:nvPr/>
        </p:nvSpPr>
        <p:spPr>
          <a:xfrm rot="16200000" flipH="1">
            <a:off x="2807826" y="3569614"/>
            <a:ext cx="541062" cy="509551"/>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Tree>
    <p:extLst>
      <p:ext uri="{BB962C8B-B14F-4D97-AF65-F5344CB8AC3E}">
        <p14:creationId xmlns:p14="http://schemas.microsoft.com/office/powerpoint/2010/main" val="42153693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85FF29C4-EA32-EE45-A45C-F36CFAAA5E46}"/>
              </a:ext>
            </a:extLst>
          </p:cNvPr>
          <p:cNvGraphicFramePr>
            <a:graphicFrameLocks noChangeAspect="1"/>
          </p:cNvGraphicFramePr>
          <p:nvPr>
            <p:custDataLst>
              <p:tags r:id="rId1"/>
            </p:custDataLst>
            <p:extLst>
              <p:ext uri="{D42A27DB-BD31-4B8C-83A1-F6EECF244321}">
                <p14:modId xmlns:p14="http://schemas.microsoft.com/office/powerpoint/2010/main" val="3890144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2" name="Object 61" hidden="1">
                        <a:extLst>
                          <a:ext uri="{FF2B5EF4-FFF2-40B4-BE49-F238E27FC236}">
                            <a16:creationId xmlns:a16="http://schemas.microsoft.com/office/drawing/2014/main" id="{85FF29C4-EA32-EE45-A45C-F36CFAAA5E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FD4171B-20E1-274A-9862-877DAD8BBE09}"/>
              </a:ext>
            </a:extLst>
          </p:cNvPr>
          <p:cNvSpPr>
            <a:spLocks noGrp="1"/>
          </p:cNvSpPr>
          <p:nvPr>
            <p:ph type="sldNum" sz="quarter" idx="4"/>
          </p:nvPr>
        </p:nvSpPr>
        <p:spPr/>
        <p:txBody>
          <a:bodyPr/>
          <a:lstStyle/>
          <a:p>
            <a:fld id="{3D966009-6E5A-4F8C-8CA7-E37AFBF5FB92}" type="slidenum">
              <a:rPr lang="en-US" smtClean="0"/>
              <a:t>104</a:t>
            </a:fld>
            <a:endParaRPr lang="en-US"/>
          </a:p>
        </p:txBody>
      </p:sp>
      <p:sp>
        <p:nvSpPr>
          <p:cNvPr id="3" name="Title 2">
            <a:extLst>
              <a:ext uri="{FF2B5EF4-FFF2-40B4-BE49-F238E27FC236}">
                <a16:creationId xmlns:a16="http://schemas.microsoft.com/office/drawing/2014/main" id="{C10B0635-0E48-544D-B744-6B4976B4F91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98F97544-4D41-604D-BD93-3B5F45B050E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2AB27B6-8290-4E4D-93E4-8EF381D5DBF7}"/>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02E5BE8-9BBC-084B-8107-267F91E46A4B}"/>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D122AD6-0C5C-314F-979F-C6966B860EE5}"/>
              </a:ext>
            </a:extLst>
          </p:cNvPr>
          <p:cNvSpPr>
            <a:spLocks noGrp="1"/>
          </p:cNvSpPr>
          <p:nvPr>
            <p:ph sz="quarter" idx="14"/>
          </p:nvPr>
        </p:nvSpPr>
        <p:spPr/>
        <p:txBody>
          <a:bodyPr/>
          <a:lstStyle/>
          <a:p>
            <a:endParaRPr lang="en-GB"/>
          </a:p>
        </p:txBody>
      </p:sp>
      <p:grpSp>
        <p:nvGrpSpPr>
          <p:cNvPr id="61" name="Group 60">
            <a:extLst>
              <a:ext uri="{FF2B5EF4-FFF2-40B4-BE49-F238E27FC236}">
                <a16:creationId xmlns:a16="http://schemas.microsoft.com/office/drawing/2014/main" id="{AD5BC8D6-D787-1746-91EC-34C37C5B62D9}"/>
              </a:ext>
            </a:extLst>
          </p:cNvPr>
          <p:cNvGrpSpPr/>
          <p:nvPr/>
        </p:nvGrpSpPr>
        <p:grpSpPr>
          <a:xfrm>
            <a:off x="365683" y="1753552"/>
            <a:ext cx="11460634" cy="4202670"/>
            <a:chOff x="365683" y="1880552"/>
            <a:chExt cx="11460634" cy="4202670"/>
          </a:xfrm>
        </p:grpSpPr>
        <p:grpSp>
          <p:nvGrpSpPr>
            <p:cNvPr id="9" name="Group 8">
              <a:extLst>
                <a:ext uri="{FF2B5EF4-FFF2-40B4-BE49-F238E27FC236}">
                  <a16:creationId xmlns:a16="http://schemas.microsoft.com/office/drawing/2014/main" id="{3B27FCB6-2229-6C42-B4CB-4F01F1B32F2B}"/>
                </a:ext>
              </a:extLst>
            </p:cNvPr>
            <p:cNvGrpSpPr/>
            <p:nvPr/>
          </p:nvGrpSpPr>
          <p:grpSpPr>
            <a:xfrm>
              <a:off x="6091073" y="2057254"/>
              <a:ext cx="5735244" cy="3704733"/>
              <a:chOff x="4567071" y="1844824"/>
              <a:chExt cx="5742891" cy="3704733"/>
            </a:xfrm>
          </p:grpSpPr>
          <p:sp>
            <p:nvSpPr>
              <p:cNvPr id="10" name="Rectangle 4">
                <a:extLst>
                  <a:ext uri="{FF2B5EF4-FFF2-40B4-BE49-F238E27FC236}">
                    <a16:creationId xmlns:a16="http://schemas.microsoft.com/office/drawing/2014/main" id="{4D9EBB6D-AC37-F94F-9463-D34E7FE9967D}"/>
                  </a:ext>
                </a:extLst>
              </p:cNvPr>
              <p:cNvSpPr/>
              <p:nvPr/>
            </p:nvSpPr>
            <p:spPr>
              <a:xfrm>
                <a:off x="4580881" y="3930857"/>
                <a:ext cx="1676901" cy="1618700"/>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 name="connsiteX0" fmla="*/ 0 w 1676900"/>
                  <a:gd name="connsiteY0" fmla="*/ 35509 h 908486"/>
                  <a:gd name="connsiteX1" fmla="*/ 1659145 w 1676900"/>
                  <a:gd name="connsiteY1" fmla="*/ 0 h 908486"/>
                  <a:gd name="connsiteX2" fmla="*/ 1676900 w 1676900"/>
                  <a:gd name="connsiteY2" fmla="*/ 855218 h 908486"/>
                  <a:gd name="connsiteX3" fmla="*/ 0 w 1676900"/>
                  <a:gd name="connsiteY3" fmla="*/ 908486 h 908486"/>
                  <a:gd name="connsiteX4" fmla="*/ 0 w 1676900"/>
                  <a:gd name="connsiteY4" fmla="*/ 35509 h 908486"/>
                  <a:gd name="connsiteX0" fmla="*/ 0 w 1676900"/>
                  <a:gd name="connsiteY0" fmla="*/ 35509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35509 h 855218"/>
                  <a:gd name="connsiteX0" fmla="*/ 0 w 1676900"/>
                  <a:gd name="connsiteY0" fmla="*/ 8876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8876 h 855218"/>
                  <a:gd name="connsiteX0" fmla="*/ 8878 w 1685778"/>
                  <a:gd name="connsiteY0" fmla="*/ 8876 h 855218"/>
                  <a:gd name="connsiteX1" fmla="*/ 1668023 w 1685778"/>
                  <a:gd name="connsiteY1" fmla="*/ 0 h 855218"/>
                  <a:gd name="connsiteX2" fmla="*/ 1685778 w 1685778"/>
                  <a:gd name="connsiteY2" fmla="*/ 855218 h 855218"/>
                  <a:gd name="connsiteX3" fmla="*/ 0 w 1685778"/>
                  <a:gd name="connsiteY3" fmla="*/ 153884 h 855218"/>
                  <a:gd name="connsiteX4" fmla="*/ 8878 w 1685778"/>
                  <a:gd name="connsiteY4" fmla="*/ 8876 h 855218"/>
                  <a:gd name="connsiteX0" fmla="*/ 8878 w 1685778"/>
                  <a:gd name="connsiteY0" fmla="*/ 26632 h 872974"/>
                  <a:gd name="connsiteX1" fmla="*/ 1676901 w 1685778"/>
                  <a:gd name="connsiteY1" fmla="*/ 0 h 872974"/>
                  <a:gd name="connsiteX2" fmla="*/ 1685778 w 1685778"/>
                  <a:gd name="connsiteY2" fmla="*/ 872974 h 872974"/>
                  <a:gd name="connsiteX3" fmla="*/ 0 w 1685778"/>
                  <a:gd name="connsiteY3" fmla="*/ 171640 h 872974"/>
                  <a:gd name="connsiteX4" fmla="*/ 8878 w 1685778"/>
                  <a:gd name="connsiteY4" fmla="*/ 26632 h 872974"/>
                  <a:gd name="connsiteX0" fmla="*/ 8878 w 1694655"/>
                  <a:gd name="connsiteY0" fmla="*/ 26632 h 801953"/>
                  <a:gd name="connsiteX1" fmla="*/ 1676901 w 1694655"/>
                  <a:gd name="connsiteY1" fmla="*/ 0 h 801953"/>
                  <a:gd name="connsiteX2" fmla="*/ 1694655 w 1694655"/>
                  <a:gd name="connsiteY2" fmla="*/ 801953 h 801953"/>
                  <a:gd name="connsiteX3" fmla="*/ 0 w 1694655"/>
                  <a:gd name="connsiteY3" fmla="*/ 171640 h 801953"/>
                  <a:gd name="connsiteX4" fmla="*/ 8878 w 1694655"/>
                  <a:gd name="connsiteY4" fmla="*/ 26632 h 801953"/>
                  <a:gd name="connsiteX0" fmla="*/ 8878 w 1721288"/>
                  <a:gd name="connsiteY0" fmla="*/ 26632 h 872974"/>
                  <a:gd name="connsiteX1" fmla="*/ 1676901 w 1721288"/>
                  <a:gd name="connsiteY1" fmla="*/ 0 h 872974"/>
                  <a:gd name="connsiteX2" fmla="*/ 1721288 w 1721288"/>
                  <a:gd name="connsiteY2" fmla="*/ 872974 h 872974"/>
                  <a:gd name="connsiteX3" fmla="*/ 0 w 1721288"/>
                  <a:gd name="connsiteY3" fmla="*/ 171640 h 872974"/>
                  <a:gd name="connsiteX4" fmla="*/ 8878 w 1721288"/>
                  <a:gd name="connsiteY4" fmla="*/ 26632 h 872974"/>
                  <a:gd name="connsiteX0" fmla="*/ 8878 w 1676901"/>
                  <a:gd name="connsiteY0" fmla="*/ 26632 h 855219"/>
                  <a:gd name="connsiteX1" fmla="*/ 1676901 w 1676901"/>
                  <a:gd name="connsiteY1" fmla="*/ 0 h 855219"/>
                  <a:gd name="connsiteX2" fmla="*/ 1676900 w 1676901"/>
                  <a:gd name="connsiteY2" fmla="*/ 855219 h 855219"/>
                  <a:gd name="connsiteX3" fmla="*/ 0 w 1676901"/>
                  <a:gd name="connsiteY3" fmla="*/ 171640 h 855219"/>
                  <a:gd name="connsiteX4" fmla="*/ 8878 w 1676901"/>
                  <a:gd name="connsiteY4" fmla="*/ 26632 h 855219"/>
                  <a:gd name="connsiteX0" fmla="*/ 8878 w 1676901"/>
                  <a:gd name="connsiteY0" fmla="*/ 26632 h 943996"/>
                  <a:gd name="connsiteX1" fmla="*/ 1676901 w 1676901"/>
                  <a:gd name="connsiteY1" fmla="*/ 0 h 943996"/>
                  <a:gd name="connsiteX2" fmla="*/ 1668023 w 1676901"/>
                  <a:gd name="connsiteY2" fmla="*/ 943996 h 943996"/>
                  <a:gd name="connsiteX3" fmla="*/ 0 w 1676901"/>
                  <a:gd name="connsiteY3" fmla="*/ 171640 h 943996"/>
                  <a:gd name="connsiteX4" fmla="*/ 8878 w 1676901"/>
                  <a:gd name="connsiteY4" fmla="*/ 26632 h 94399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 name="connsiteX0" fmla="*/ 8878 w 1676901"/>
                  <a:gd name="connsiteY0" fmla="*/ 26632 h 997262"/>
                  <a:gd name="connsiteX1" fmla="*/ 1676901 w 1676901"/>
                  <a:gd name="connsiteY1" fmla="*/ 0 h 997262"/>
                  <a:gd name="connsiteX2" fmla="*/ 1641390 w 1676901"/>
                  <a:gd name="connsiteY2" fmla="*/ 997262 h 997262"/>
                  <a:gd name="connsiteX3" fmla="*/ 0 w 1676901"/>
                  <a:gd name="connsiteY3" fmla="*/ 171640 h 997262"/>
                  <a:gd name="connsiteX4" fmla="*/ 8878 w 1676901"/>
                  <a:gd name="connsiteY4" fmla="*/ 26632 h 997262"/>
                  <a:gd name="connsiteX0" fmla="*/ 8878 w 1676901"/>
                  <a:gd name="connsiteY0" fmla="*/ 26632 h 855219"/>
                  <a:gd name="connsiteX1" fmla="*/ 1676901 w 1676901"/>
                  <a:gd name="connsiteY1" fmla="*/ 0 h 855219"/>
                  <a:gd name="connsiteX2" fmla="*/ 1650267 w 1676901"/>
                  <a:gd name="connsiteY2" fmla="*/ 855219 h 855219"/>
                  <a:gd name="connsiteX3" fmla="*/ 0 w 1676901"/>
                  <a:gd name="connsiteY3" fmla="*/ 171640 h 855219"/>
                  <a:gd name="connsiteX4" fmla="*/ 8878 w 1676901"/>
                  <a:gd name="connsiteY4" fmla="*/ 26632 h 855219"/>
                  <a:gd name="connsiteX0" fmla="*/ 8878 w 1676901"/>
                  <a:gd name="connsiteY0" fmla="*/ 26632 h 935118"/>
                  <a:gd name="connsiteX1" fmla="*/ 1676901 w 1676901"/>
                  <a:gd name="connsiteY1" fmla="*/ 0 h 935118"/>
                  <a:gd name="connsiteX2" fmla="*/ 1668023 w 1676901"/>
                  <a:gd name="connsiteY2" fmla="*/ 935118 h 935118"/>
                  <a:gd name="connsiteX3" fmla="*/ 0 w 1676901"/>
                  <a:gd name="connsiteY3" fmla="*/ 171640 h 935118"/>
                  <a:gd name="connsiteX4" fmla="*/ 8878 w 1676901"/>
                  <a:gd name="connsiteY4" fmla="*/ 26632 h 935118"/>
                  <a:gd name="connsiteX0" fmla="*/ 8878 w 1676901"/>
                  <a:gd name="connsiteY0" fmla="*/ 26632 h 855219"/>
                  <a:gd name="connsiteX1" fmla="*/ 1676901 w 1676901"/>
                  <a:gd name="connsiteY1" fmla="*/ 0 h 855219"/>
                  <a:gd name="connsiteX2" fmla="*/ 1659145 w 1676901"/>
                  <a:gd name="connsiteY2" fmla="*/ 855219 h 855219"/>
                  <a:gd name="connsiteX3" fmla="*/ 0 w 1676901"/>
                  <a:gd name="connsiteY3" fmla="*/ 171640 h 855219"/>
                  <a:gd name="connsiteX4" fmla="*/ 8878 w 1676901"/>
                  <a:gd name="connsiteY4" fmla="*/ 26632 h 855219"/>
                  <a:gd name="connsiteX0" fmla="*/ 8878 w 1676901"/>
                  <a:gd name="connsiteY0" fmla="*/ 26632 h 864097"/>
                  <a:gd name="connsiteX1" fmla="*/ 1676901 w 1676901"/>
                  <a:gd name="connsiteY1" fmla="*/ 0 h 864097"/>
                  <a:gd name="connsiteX2" fmla="*/ 1668023 w 1676901"/>
                  <a:gd name="connsiteY2" fmla="*/ 864097 h 864097"/>
                  <a:gd name="connsiteX3" fmla="*/ 0 w 1676901"/>
                  <a:gd name="connsiteY3" fmla="*/ 171640 h 864097"/>
                  <a:gd name="connsiteX4" fmla="*/ 8878 w 1676901"/>
                  <a:gd name="connsiteY4" fmla="*/ 26632 h 864097"/>
                  <a:gd name="connsiteX0" fmla="*/ 8878 w 1676901"/>
                  <a:gd name="connsiteY0" fmla="*/ 26632 h 642156"/>
                  <a:gd name="connsiteX1" fmla="*/ 1676901 w 1676901"/>
                  <a:gd name="connsiteY1" fmla="*/ 0 h 642156"/>
                  <a:gd name="connsiteX2" fmla="*/ 1659145 w 1676901"/>
                  <a:gd name="connsiteY2" fmla="*/ 642156 h 642156"/>
                  <a:gd name="connsiteX3" fmla="*/ 0 w 1676901"/>
                  <a:gd name="connsiteY3" fmla="*/ 171640 h 642156"/>
                  <a:gd name="connsiteX4" fmla="*/ 8878 w 1676901"/>
                  <a:gd name="connsiteY4" fmla="*/ 26632 h 64215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 name="connsiteX0" fmla="*/ 8878 w 1676901"/>
                  <a:gd name="connsiteY0" fmla="*/ 26632 h 943996"/>
                  <a:gd name="connsiteX1" fmla="*/ 1676901 w 1676901"/>
                  <a:gd name="connsiteY1" fmla="*/ 0 h 943996"/>
                  <a:gd name="connsiteX2" fmla="*/ 1659145 w 1676901"/>
                  <a:gd name="connsiteY2" fmla="*/ 943996 h 943996"/>
                  <a:gd name="connsiteX3" fmla="*/ 0 w 1676901"/>
                  <a:gd name="connsiteY3" fmla="*/ 171640 h 943996"/>
                  <a:gd name="connsiteX4" fmla="*/ 8878 w 1676901"/>
                  <a:gd name="connsiteY4" fmla="*/ 26632 h 943996"/>
                  <a:gd name="connsiteX0" fmla="*/ 8878 w 1676901"/>
                  <a:gd name="connsiteY0" fmla="*/ 26632 h 872975"/>
                  <a:gd name="connsiteX1" fmla="*/ 1676901 w 1676901"/>
                  <a:gd name="connsiteY1" fmla="*/ 0 h 872975"/>
                  <a:gd name="connsiteX2" fmla="*/ 1668022 w 1676901"/>
                  <a:gd name="connsiteY2" fmla="*/ 872975 h 872975"/>
                  <a:gd name="connsiteX3" fmla="*/ 0 w 1676901"/>
                  <a:gd name="connsiteY3" fmla="*/ 171640 h 872975"/>
                  <a:gd name="connsiteX4" fmla="*/ 8878 w 1676901"/>
                  <a:gd name="connsiteY4" fmla="*/ 26632 h 872975"/>
                  <a:gd name="connsiteX0" fmla="*/ 0 w 1676901"/>
                  <a:gd name="connsiteY0" fmla="*/ 0 h 1618700"/>
                  <a:gd name="connsiteX1" fmla="*/ 1676901 w 1676901"/>
                  <a:gd name="connsiteY1" fmla="*/ 745725 h 1618700"/>
                  <a:gd name="connsiteX2" fmla="*/ 1668022 w 1676901"/>
                  <a:gd name="connsiteY2" fmla="*/ 1618700 h 1618700"/>
                  <a:gd name="connsiteX3" fmla="*/ 0 w 1676901"/>
                  <a:gd name="connsiteY3" fmla="*/ 917365 h 1618700"/>
                  <a:gd name="connsiteX4" fmla="*/ 0 w 1676901"/>
                  <a:gd name="connsiteY4" fmla="*/ 0 h 1618700"/>
                  <a:gd name="connsiteX0" fmla="*/ 0 w 1676901"/>
                  <a:gd name="connsiteY0" fmla="*/ 0 h 1618700"/>
                  <a:gd name="connsiteX1" fmla="*/ 1676901 w 1676901"/>
                  <a:gd name="connsiteY1" fmla="*/ 745725 h 1618700"/>
                  <a:gd name="connsiteX2" fmla="*/ 1668022 w 1676901"/>
                  <a:gd name="connsiteY2" fmla="*/ 1618700 h 1618700"/>
                  <a:gd name="connsiteX3" fmla="*/ 0 w 1676901"/>
                  <a:gd name="connsiteY3" fmla="*/ 100620 h 1618700"/>
                  <a:gd name="connsiteX4" fmla="*/ 0 w 1676901"/>
                  <a:gd name="connsiteY4" fmla="*/ 0 h 1618700"/>
                  <a:gd name="connsiteX0" fmla="*/ 0 w 1676901"/>
                  <a:gd name="connsiteY0" fmla="*/ 0 h 1592067"/>
                  <a:gd name="connsiteX1" fmla="*/ 1676901 w 1676901"/>
                  <a:gd name="connsiteY1" fmla="*/ 745725 h 1592067"/>
                  <a:gd name="connsiteX2" fmla="*/ 1659133 w 1676901"/>
                  <a:gd name="connsiteY2" fmla="*/ 1592067 h 1592067"/>
                  <a:gd name="connsiteX3" fmla="*/ 0 w 1676901"/>
                  <a:gd name="connsiteY3" fmla="*/ 100620 h 1592067"/>
                  <a:gd name="connsiteX4" fmla="*/ 0 w 1676901"/>
                  <a:gd name="connsiteY4" fmla="*/ 0 h 1592067"/>
                  <a:gd name="connsiteX0" fmla="*/ 0 w 1676901"/>
                  <a:gd name="connsiteY0" fmla="*/ 0 h 1592067"/>
                  <a:gd name="connsiteX1" fmla="*/ 1676901 w 1676901"/>
                  <a:gd name="connsiteY1" fmla="*/ 745725 h 1592067"/>
                  <a:gd name="connsiteX2" fmla="*/ 1668023 w 1676901"/>
                  <a:gd name="connsiteY2" fmla="*/ 1592067 h 1592067"/>
                  <a:gd name="connsiteX3" fmla="*/ 0 w 1676901"/>
                  <a:gd name="connsiteY3" fmla="*/ 100620 h 1592067"/>
                  <a:gd name="connsiteX4" fmla="*/ 0 w 1676901"/>
                  <a:gd name="connsiteY4" fmla="*/ 0 h 1592067"/>
                  <a:gd name="connsiteX0" fmla="*/ 0 w 1676901"/>
                  <a:gd name="connsiteY0" fmla="*/ 0 h 1600945"/>
                  <a:gd name="connsiteX1" fmla="*/ 1676901 w 1676901"/>
                  <a:gd name="connsiteY1" fmla="*/ 745725 h 1600945"/>
                  <a:gd name="connsiteX2" fmla="*/ 1668023 w 1676901"/>
                  <a:gd name="connsiteY2" fmla="*/ 1600945 h 1600945"/>
                  <a:gd name="connsiteX3" fmla="*/ 0 w 1676901"/>
                  <a:gd name="connsiteY3" fmla="*/ 100620 h 1600945"/>
                  <a:gd name="connsiteX4" fmla="*/ 0 w 1676901"/>
                  <a:gd name="connsiteY4" fmla="*/ 0 h 1600945"/>
                  <a:gd name="connsiteX0" fmla="*/ 0 w 1676901"/>
                  <a:gd name="connsiteY0" fmla="*/ 0 h 1618700"/>
                  <a:gd name="connsiteX1" fmla="*/ 1676901 w 1676901"/>
                  <a:gd name="connsiteY1" fmla="*/ 745725 h 1618700"/>
                  <a:gd name="connsiteX2" fmla="*/ 1668023 w 1676901"/>
                  <a:gd name="connsiteY2" fmla="*/ 1618700 h 1618700"/>
                  <a:gd name="connsiteX3" fmla="*/ 0 w 1676901"/>
                  <a:gd name="connsiteY3" fmla="*/ 100620 h 1618700"/>
                  <a:gd name="connsiteX4" fmla="*/ 0 w 1676901"/>
                  <a:gd name="connsiteY4" fmla="*/ 0 h 161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901" h="1618700">
                    <a:moveTo>
                      <a:pt x="0" y="0"/>
                    </a:moveTo>
                    <a:lnTo>
                      <a:pt x="1676901" y="745725"/>
                    </a:lnTo>
                    <a:cubicBezTo>
                      <a:pt x="1676901" y="1030798"/>
                      <a:pt x="1668023" y="1333627"/>
                      <a:pt x="1668023" y="1618700"/>
                    </a:cubicBezTo>
                    <a:lnTo>
                      <a:pt x="0" y="100620"/>
                    </a:lnTo>
                    <a:lnTo>
                      <a:pt x="0" y="0"/>
                    </a:lnTo>
                    <a:close/>
                  </a:path>
                </a:pathLst>
              </a:custGeom>
              <a:gradFill flip="none" rotWithShape="1">
                <a:gsLst>
                  <a:gs pos="35000">
                    <a:schemeClr val="accent2">
                      <a:alpha val="0"/>
                    </a:schemeClr>
                  </a:gs>
                  <a:gs pos="80000">
                    <a:schemeClr val="accent2">
                      <a:alpha val="85000"/>
                    </a:schemeClr>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 name="Rectangle 4">
                <a:extLst>
                  <a:ext uri="{FF2B5EF4-FFF2-40B4-BE49-F238E27FC236}">
                    <a16:creationId xmlns:a16="http://schemas.microsoft.com/office/drawing/2014/main" id="{A5987B1D-706B-8A40-BB79-19BB80B5FDBF}"/>
                  </a:ext>
                </a:extLst>
              </p:cNvPr>
              <p:cNvSpPr/>
              <p:nvPr/>
            </p:nvSpPr>
            <p:spPr>
              <a:xfrm>
                <a:off x="4572000" y="3731342"/>
                <a:ext cx="1676901" cy="864097"/>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 name="connsiteX0" fmla="*/ 0 w 1676900"/>
                  <a:gd name="connsiteY0" fmla="*/ 35509 h 908486"/>
                  <a:gd name="connsiteX1" fmla="*/ 1659145 w 1676900"/>
                  <a:gd name="connsiteY1" fmla="*/ 0 h 908486"/>
                  <a:gd name="connsiteX2" fmla="*/ 1676900 w 1676900"/>
                  <a:gd name="connsiteY2" fmla="*/ 855218 h 908486"/>
                  <a:gd name="connsiteX3" fmla="*/ 0 w 1676900"/>
                  <a:gd name="connsiteY3" fmla="*/ 908486 h 908486"/>
                  <a:gd name="connsiteX4" fmla="*/ 0 w 1676900"/>
                  <a:gd name="connsiteY4" fmla="*/ 35509 h 908486"/>
                  <a:gd name="connsiteX0" fmla="*/ 0 w 1676900"/>
                  <a:gd name="connsiteY0" fmla="*/ 35509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35509 h 855218"/>
                  <a:gd name="connsiteX0" fmla="*/ 0 w 1676900"/>
                  <a:gd name="connsiteY0" fmla="*/ 8876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8876 h 855218"/>
                  <a:gd name="connsiteX0" fmla="*/ 8878 w 1685778"/>
                  <a:gd name="connsiteY0" fmla="*/ 8876 h 855218"/>
                  <a:gd name="connsiteX1" fmla="*/ 1668023 w 1685778"/>
                  <a:gd name="connsiteY1" fmla="*/ 0 h 855218"/>
                  <a:gd name="connsiteX2" fmla="*/ 1685778 w 1685778"/>
                  <a:gd name="connsiteY2" fmla="*/ 855218 h 855218"/>
                  <a:gd name="connsiteX3" fmla="*/ 0 w 1685778"/>
                  <a:gd name="connsiteY3" fmla="*/ 153884 h 855218"/>
                  <a:gd name="connsiteX4" fmla="*/ 8878 w 1685778"/>
                  <a:gd name="connsiteY4" fmla="*/ 8876 h 855218"/>
                  <a:gd name="connsiteX0" fmla="*/ 8878 w 1685778"/>
                  <a:gd name="connsiteY0" fmla="*/ 26632 h 872974"/>
                  <a:gd name="connsiteX1" fmla="*/ 1676901 w 1685778"/>
                  <a:gd name="connsiteY1" fmla="*/ 0 h 872974"/>
                  <a:gd name="connsiteX2" fmla="*/ 1685778 w 1685778"/>
                  <a:gd name="connsiteY2" fmla="*/ 872974 h 872974"/>
                  <a:gd name="connsiteX3" fmla="*/ 0 w 1685778"/>
                  <a:gd name="connsiteY3" fmla="*/ 171640 h 872974"/>
                  <a:gd name="connsiteX4" fmla="*/ 8878 w 1685778"/>
                  <a:gd name="connsiteY4" fmla="*/ 26632 h 872974"/>
                  <a:gd name="connsiteX0" fmla="*/ 8878 w 1694655"/>
                  <a:gd name="connsiteY0" fmla="*/ 26632 h 801953"/>
                  <a:gd name="connsiteX1" fmla="*/ 1676901 w 1694655"/>
                  <a:gd name="connsiteY1" fmla="*/ 0 h 801953"/>
                  <a:gd name="connsiteX2" fmla="*/ 1694655 w 1694655"/>
                  <a:gd name="connsiteY2" fmla="*/ 801953 h 801953"/>
                  <a:gd name="connsiteX3" fmla="*/ 0 w 1694655"/>
                  <a:gd name="connsiteY3" fmla="*/ 171640 h 801953"/>
                  <a:gd name="connsiteX4" fmla="*/ 8878 w 1694655"/>
                  <a:gd name="connsiteY4" fmla="*/ 26632 h 801953"/>
                  <a:gd name="connsiteX0" fmla="*/ 8878 w 1721288"/>
                  <a:gd name="connsiteY0" fmla="*/ 26632 h 872974"/>
                  <a:gd name="connsiteX1" fmla="*/ 1676901 w 1721288"/>
                  <a:gd name="connsiteY1" fmla="*/ 0 h 872974"/>
                  <a:gd name="connsiteX2" fmla="*/ 1721288 w 1721288"/>
                  <a:gd name="connsiteY2" fmla="*/ 872974 h 872974"/>
                  <a:gd name="connsiteX3" fmla="*/ 0 w 1721288"/>
                  <a:gd name="connsiteY3" fmla="*/ 171640 h 872974"/>
                  <a:gd name="connsiteX4" fmla="*/ 8878 w 1721288"/>
                  <a:gd name="connsiteY4" fmla="*/ 26632 h 872974"/>
                  <a:gd name="connsiteX0" fmla="*/ 8878 w 1676901"/>
                  <a:gd name="connsiteY0" fmla="*/ 26632 h 855219"/>
                  <a:gd name="connsiteX1" fmla="*/ 1676901 w 1676901"/>
                  <a:gd name="connsiteY1" fmla="*/ 0 h 855219"/>
                  <a:gd name="connsiteX2" fmla="*/ 1676900 w 1676901"/>
                  <a:gd name="connsiteY2" fmla="*/ 855219 h 855219"/>
                  <a:gd name="connsiteX3" fmla="*/ 0 w 1676901"/>
                  <a:gd name="connsiteY3" fmla="*/ 171640 h 855219"/>
                  <a:gd name="connsiteX4" fmla="*/ 8878 w 1676901"/>
                  <a:gd name="connsiteY4" fmla="*/ 26632 h 855219"/>
                  <a:gd name="connsiteX0" fmla="*/ 8878 w 1676901"/>
                  <a:gd name="connsiteY0" fmla="*/ 26632 h 943996"/>
                  <a:gd name="connsiteX1" fmla="*/ 1676901 w 1676901"/>
                  <a:gd name="connsiteY1" fmla="*/ 0 h 943996"/>
                  <a:gd name="connsiteX2" fmla="*/ 1668023 w 1676901"/>
                  <a:gd name="connsiteY2" fmla="*/ 943996 h 943996"/>
                  <a:gd name="connsiteX3" fmla="*/ 0 w 1676901"/>
                  <a:gd name="connsiteY3" fmla="*/ 171640 h 943996"/>
                  <a:gd name="connsiteX4" fmla="*/ 8878 w 1676901"/>
                  <a:gd name="connsiteY4" fmla="*/ 26632 h 94399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901" h="864097">
                    <a:moveTo>
                      <a:pt x="8878" y="26632"/>
                    </a:moveTo>
                    <a:lnTo>
                      <a:pt x="1676901" y="0"/>
                    </a:lnTo>
                    <a:cubicBezTo>
                      <a:pt x="1676901" y="285073"/>
                      <a:pt x="1659145" y="579024"/>
                      <a:pt x="1659145" y="864097"/>
                    </a:cubicBezTo>
                    <a:lnTo>
                      <a:pt x="0" y="171640"/>
                    </a:lnTo>
                    <a:lnTo>
                      <a:pt x="8878" y="26632"/>
                    </a:lnTo>
                    <a:close/>
                  </a:path>
                </a:pathLst>
              </a:custGeom>
              <a:gradFill flip="none" rotWithShape="1">
                <a:gsLst>
                  <a:gs pos="50000">
                    <a:schemeClr val="accent2">
                      <a:alpha val="0"/>
                    </a:schemeClr>
                  </a:gs>
                  <a:gs pos="80000">
                    <a:schemeClr val="accent2">
                      <a:alpha val="85000"/>
                    </a:schemeClr>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Rectangle 11">
                <a:extLst>
                  <a:ext uri="{FF2B5EF4-FFF2-40B4-BE49-F238E27FC236}">
                    <a16:creationId xmlns:a16="http://schemas.microsoft.com/office/drawing/2014/main" id="{90A2CAC3-D711-CA45-B6C6-7CF18F30FECA}"/>
                  </a:ext>
                </a:extLst>
              </p:cNvPr>
              <p:cNvSpPr/>
              <p:nvPr/>
            </p:nvSpPr>
            <p:spPr>
              <a:xfrm>
                <a:off x="6228184" y="1844824"/>
                <a:ext cx="4081778"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 name="Rectangle 4">
                <a:extLst>
                  <a:ext uri="{FF2B5EF4-FFF2-40B4-BE49-F238E27FC236}">
                    <a16:creationId xmlns:a16="http://schemas.microsoft.com/office/drawing/2014/main" id="{0BA5DB6C-62A5-3C4B-B447-5EFD920F9EB9}"/>
                  </a:ext>
                </a:extLst>
              </p:cNvPr>
              <p:cNvSpPr/>
              <p:nvPr/>
            </p:nvSpPr>
            <p:spPr>
              <a:xfrm>
                <a:off x="4577918" y="1844826"/>
                <a:ext cx="1668022" cy="1822884"/>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68022"/>
                  <a:gd name="connsiteY0" fmla="*/ 1713390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13390 h 1849518"/>
                  <a:gd name="connsiteX0" fmla="*/ 0 w 1668022"/>
                  <a:gd name="connsiteY0" fmla="*/ 1713390 h 1787374"/>
                  <a:gd name="connsiteX1" fmla="*/ 1650267 w 1668022"/>
                  <a:gd name="connsiteY1" fmla="*/ 0 h 1787374"/>
                  <a:gd name="connsiteX2" fmla="*/ 1668022 w 1668022"/>
                  <a:gd name="connsiteY2" fmla="*/ 855218 h 1787374"/>
                  <a:gd name="connsiteX3" fmla="*/ 26633 w 1668022"/>
                  <a:gd name="connsiteY3" fmla="*/ 1787374 h 1787374"/>
                  <a:gd name="connsiteX4" fmla="*/ 0 w 1668022"/>
                  <a:gd name="connsiteY4" fmla="*/ 1713390 h 1787374"/>
                  <a:gd name="connsiteX0" fmla="*/ 0 w 1668022"/>
                  <a:gd name="connsiteY0" fmla="*/ 1713390 h 1805129"/>
                  <a:gd name="connsiteX1" fmla="*/ 1650267 w 1668022"/>
                  <a:gd name="connsiteY1" fmla="*/ 0 h 1805129"/>
                  <a:gd name="connsiteX2" fmla="*/ 1668022 w 1668022"/>
                  <a:gd name="connsiteY2" fmla="*/ 855218 h 1805129"/>
                  <a:gd name="connsiteX3" fmla="*/ 35511 w 1668022"/>
                  <a:gd name="connsiteY3" fmla="*/ 1805129 h 1805129"/>
                  <a:gd name="connsiteX4" fmla="*/ 0 w 1668022"/>
                  <a:gd name="connsiteY4" fmla="*/ 1713390 h 1805129"/>
                  <a:gd name="connsiteX0" fmla="*/ 0 w 1668022"/>
                  <a:gd name="connsiteY0" fmla="*/ 1713390 h 1822885"/>
                  <a:gd name="connsiteX1" fmla="*/ 1650267 w 1668022"/>
                  <a:gd name="connsiteY1" fmla="*/ 0 h 1822885"/>
                  <a:gd name="connsiteX2" fmla="*/ 1668022 w 1668022"/>
                  <a:gd name="connsiteY2" fmla="*/ 855218 h 1822885"/>
                  <a:gd name="connsiteX3" fmla="*/ 35511 w 1668022"/>
                  <a:gd name="connsiteY3" fmla="*/ 1822885 h 1822885"/>
                  <a:gd name="connsiteX4" fmla="*/ 0 w 1668022"/>
                  <a:gd name="connsiteY4" fmla="*/ 1713390 h 1822885"/>
                  <a:gd name="connsiteX0" fmla="*/ 0 w 1668022"/>
                  <a:gd name="connsiteY0" fmla="*/ 1702959 h 1812454"/>
                  <a:gd name="connsiteX1" fmla="*/ 1657230 w 1668022"/>
                  <a:gd name="connsiteY1" fmla="*/ 0 h 1812454"/>
                  <a:gd name="connsiteX2" fmla="*/ 1668022 w 1668022"/>
                  <a:gd name="connsiteY2" fmla="*/ 844787 h 1812454"/>
                  <a:gd name="connsiteX3" fmla="*/ 35511 w 1668022"/>
                  <a:gd name="connsiteY3" fmla="*/ 1812454 h 1812454"/>
                  <a:gd name="connsiteX4" fmla="*/ 0 w 1668022"/>
                  <a:gd name="connsiteY4" fmla="*/ 1702959 h 1812454"/>
                  <a:gd name="connsiteX0" fmla="*/ 0 w 1668022"/>
                  <a:gd name="connsiteY0" fmla="*/ 1720343 h 1829838"/>
                  <a:gd name="connsiteX1" fmla="*/ 1664192 w 1668022"/>
                  <a:gd name="connsiteY1" fmla="*/ 0 h 1829838"/>
                  <a:gd name="connsiteX2" fmla="*/ 1668022 w 1668022"/>
                  <a:gd name="connsiteY2" fmla="*/ 862171 h 1829838"/>
                  <a:gd name="connsiteX3" fmla="*/ 35511 w 1668022"/>
                  <a:gd name="connsiteY3" fmla="*/ 1829838 h 1829838"/>
                  <a:gd name="connsiteX4" fmla="*/ 0 w 1668022"/>
                  <a:gd name="connsiteY4" fmla="*/ 1720343 h 1829838"/>
                  <a:gd name="connsiteX0" fmla="*/ 0 w 1668022"/>
                  <a:gd name="connsiteY0" fmla="*/ 1713389 h 1822884"/>
                  <a:gd name="connsiteX1" fmla="*/ 1664192 w 1668022"/>
                  <a:gd name="connsiteY1" fmla="*/ 0 h 1822884"/>
                  <a:gd name="connsiteX2" fmla="*/ 1668022 w 1668022"/>
                  <a:gd name="connsiteY2" fmla="*/ 855217 h 1822884"/>
                  <a:gd name="connsiteX3" fmla="*/ 35511 w 1668022"/>
                  <a:gd name="connsiteY3" fmla="*/ 1822884 h 1822884"/>
                  <a:gd name="connsiteX4" fmla="*/ 0 w 1668022"/>
                  <a:gd name="connsiteY4" fmla="*/ 1713389 h 182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022" h="1822884">
                    <a:moveTo>
                      <a:pt x="0" y="1713389"/>
                    </a:moveTo>
                    <a:lnTo>
                      <a:pt x="1664192" y="0"/>
                    </a:lnTo>
                    <a:cubicBezTo>
                      <a:pt x="1665469" y="287390"/>
                      <a:pt x="1666745" y="567827"/>
                      <a:pt x="1668022" y="855217"/>
                    </a:cubicBezTo>
                    <a:lnTo>
                      <a:pt x="35511" y="1822884"/>
                    </a:lnTo>
                    <a:lnTo>
                      <a:pt x="0" y="1713389"/>
                    </a:lnTo>
                    <a:close/>
                  </a:path>
                </a:pathLst>
              </a:custGeom>
              <a:gradFill flip="none" rotWithShape="1">
                <a:gsLst>
                  <a:gs pos="35000">
                    <a:schemeClr val="accent2">
                      <a:alpha val="0"/>
                    </a:schemeClr>
                  </a:gs>
                  <a:gs pos="80000">
                    <a:schemeClr val="accent2">
                      <a:alpha val="85000"/>
                    </a:schemeClr>
                  </a:gs>
                </a:gsLst>
                <a:lin ang="21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 name="Rectangle 13">
                <a:extLst>
                  <a:ext uri="{FF2B5EF4-FFF2-40B4-BE49-F238E27FC236}">
                    <a16:creationId xmlns:a16="http://schemas.microsoft.com/office/drawing/2014/main" id="{CAF56B84-4F49-A249-8FA3-9587DD1FBC67}"/>
                  </a:ext>
                </a:extLst>
              </p:cNvPr>
              <p:cNvSpPr/>
              <p:nvPr/>
            </p:nvSpPr>
            <p:spPr>
              <a:xfrm>
                <a:off x="6228184" y="2787832"/>
                <a:ext cx="4081778"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 name="Rectangle 14">
                <a:extLst>
                  <a:ext uri="{FF2B5EF4-FFF2-40B4-BE49-F238E27FC236}">
                    <a16:creationId xmlns:a16="http://schemas.microsoft.com/office/drawing/2014/main" id="{7FBF2D89-A4FE-CB41-BA17-639190ED2BD6}"/>
                  </a:ext>
                </a:extLst>
              </p:cNvPr>
              <p:cNvSpPr/>
              <p:nvPr/>
            </p:nvSpPr>
            <p:spPr>
              <a:xfrm>
                <a:off x="6228184" y="3730840"/>
                <a:ext cx="4081778"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 name="Rectangle 15">
                <a:extLst>
                  <a:ext uri="{FF2B5EF4-FFF2-40B4-BE49-F238E27FC236}">
                    <a16:creationId xmlns:a16="http://schemas.microsoft.com/office/drawing/2014/main" id="{B7F06EB0-F32E-F94A-9438-FDDFA09690E7}"/>
                  </a:ext>
                </a:extLst>
              </p:cNvPr>
              <p:cNvSpPr/>
              <p:nvPr/>
            </p:nvSpPr>
            <p:spPr>
              <a:xfrm>
                <a:off x="6228184" y="4673848"/>
                <a:ext cx="4081778"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7" name="Rectangle 4">
                <a:extLst>
                  <a:ext uri="{FF2B5EF4-FFF2-40B4-BE49-F238E27FC236}">
                    <a16:creationId xmlns:a16="http://schemas.microsoft.com/office/drawing/2014/main" id="{4781A956-ABC8-A946-A598-AE0F4C28DCE5}"/>
                  </a:ext>
                </a:extLst>
              </p:cNvPr>
              <p:cNvSpPr/>
              <p:nvPr/>
            </p:nvSpPr>
            <p:spPr>
              <a:xfrm>
                <a:off x="4567071" y="2791036"/>
                <a:ext cx="1685778" cy="1002679"/>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78" h="1002679">
                    <a:moveTo>
                      <a:pt x="0" y="905521"/>
                    </a:moveTo>
                    <a:lnTo>
                      <a:pt x="1668023" y="0"/>
                    </a:lnTo>
                    <a:lnTo>
                      <a:pt x="1685778" y="855218"/>
                    </a:lnTo>
                    <a:lnTo>
                      <a:pt x="8878" y="908486"/>
                    </a:lnTo>
                    <a:cubicBezTo>
                      <a:pt x="8878" y="573106"/>
                      <a:pt x="0" y="1240901"/>
                      <a:pt x="0" y="905521"/>
                    </a:cubicBezTo>
                    <a:close/>
                  </a:path>
                </a:pathLst>
              </a:custGeom>
              <a:gradFill flip="none" rotWithShape="1">
                <a:gsLst>
                  <a:gs pos="50000">
                    <a:schemeClr val="accent2">
                      <a:alpha val="0"/>
                    </a:schemeClr>
                  </a:gs>
                  <a:gs pos="80000">
                    <a:schemeClr val="accent2">
                      <a:alpha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nvGrpSpPr>
            <p:cNvPr id="18" name="Group 17">
              <a:extLst>
                <a:ext uri="{FF2B5EF4-FFF2-40B4-BE49-F238E27FC236}">
                  <a16:creationId xmlns:a16="http://schemas.microsoft.com/office/drawing/2014/main" id="{1982D4F4-D765-6D4E-87FD-B5CAAD7C77F5}"/>
                </a:ext>
              </a:extLst>
            </p:cNvPr>
            <p:cNvGrpSpPr/>
            <p:nvPr/>
          </p:nvGrpSpPr>
          <p:grpSpPr>
            <a:xfrm flipH="1">
              <a:off x="365683" y="2066674"/>
              <a:ext cx="5750660" cy="3702808"/>
              <a:chOff x="4474601" y="1837871"/>
              <a:chExt cx="5757689" cy="3702808"/>
            </a:xfrm>
          </p:grpSpPr>
          <p:sp>
            <p:nvSpPr>
              <p:cNvPr id="19" name="Rectangle 4">
                <a:extLst>
                  <a:ext uri="{FF2B5EF4-FFF2-40B4-BE49-F238E27FC236}">
                    <a16:creationId xmlns:a16="http://schemas.microsoft.com/office/drawing/2014/main" id="{4DEEB85C-7FDB-C646-8A65-62DED911F4E8}"/>
                  </a:ext>
                </a:extLst>
              </p:cNvPr>
              <p:cNvSpPr/>
              <p:nvPr/>
            </p:nvSpPr>
            <p:spPr>
              <a:xfrm>
                <a:off x="4488401" y="3921979"/>
                <a:ext cx="1676901" cy="1618700"/>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 name="connsiteX0" fmla="*/ 0 w 1676900"/>
                  <a:gd name="connsiteY0" fmla="*/ 35509 h 908486"/>
                  <a:gd name="connsiteX1" fmla="*/ 1659145 w 1676900"/>
                  <a:gd name="connsiteY1" fmla="*/ 0 h 908486"/>
                  <a:gd name="connsiteX2" fmla="*/ 1676900 w 1676900"/>
                  <a:gd name="connsiteY2" fmla="*/ 855218 h 908486"/>
                  <a:gd name="connsiteX3" fmla="*/ 0 w 1676900"/>
                  <a:gd name="connsiteY3" fmla="*/ 908486 h 908486"/>
                  <a:gd name="connsiteX4" fmla="*/ 0 w 1676900"/>
                  <a:gd name="connsiteY4" fmla="*/ 35509 h 908486"/>
                  <a:gd name="connsiteX0" fmla="*/ 0 w 1676900"/>
                  <a:gd name="connsiteY0" fmla="*/ 35509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35509 h 855218"/>
                  <a:gd name="connsiteX0" fmla="*/ 0 w 1676900"/>
                  <a:gd name="connsiteY0" fmla="*/ 8876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8876 h 855218"/>
                  <a:gd name="connsiteX0" fmla="*/ 8878 w 1685778"/>
                  <a:gd name="connsiteY0" fmla="*/ 8876 h 855218"/>
                  <a:gd name="connsiteX1" fmla="*/ 1668023 w 1685778"/>
                  <a:gd name="connsiteY1" fmla="*/ 0 h 855218"/>
                  <a:gd name="connsiteX2" fmla="*/ 1685778 w 1685778"/>
                  <a:gd name="connsiteY2" fmla="*/ 855218 h 855218"/>
                  <a:gd name="connsiteX3" fmla="*/ 0 w 1685778"/>
                  <a:gd name="connsiteY3" fmla="*/ 153884 h 855218"/>
                  <a:gd name="connsiteX4" fmla="*/ 8878 w 1685778"/>
                  <a:gd name="connsiteY4" fmla="*/ 8876 h 855218"/>
                  <a:gd name="connsiteX0" fmla="*/ 8878 w 1685778"/>
                  <a:gd name="connsiteY0" fmla="*/ 26632 h 872974"/>
                  <a:gd name="connsiteX1" fmla="*/ 1676901 w 1685778"/>
                  <a:gd name="connsiteY1" fmla="*/ 0 h 872974"/>
                  <a:gd name="connsiteX2" fmla="*/ 1685778 w 1685778"/>
                  <a:gd name="connsiteY2" fmla="*/ 872974 h 872974"/>
                  <a:gd name="connsiteX3" fmla="*/ 0 w 1685778"/>
                  <a:gd name="connsiteY3" fmla="*/ 171640 h 872974"/>
                  <a:gd name="connsiteX4" fmla="*/ 8878 w 1685778"/>
                  <a:gd name="connsiteY4" fmla="*/ 26632 h 872974"/>
                  <a:gd name="connsiteX0" fmla="*/ 8878 w 1694655"/>
                  <a:gd name="connsiteY0" fmla="*/ 26632 h 801953"/>
                  <a:gd name="connsiteX1" fmla="*/ 1676901 w 1694655"/>
                  <a:gd name="connsiteY1" fmla="*/ 0 h 801953"/>
                  <a:gd name="connsiteX2" fmla="*/ 1694655 w 1694655"/>
                  <a:gd name="connsiteY2" fmla="*/ 801953 h 801953"/>
                  <a:gd name="connsiteX3" fmla="*/ 0 w 1694655"/>
                  <a:gd name="connsiteY3" fmla="*/ 171640 h 801953"/>
                  <a:gd name="connsiteX4" fmla="*/ 8878 w 1694655"/>
                  <a:gd name="connsiteY4" fmla="*/ 26632 h 801953"/>
                  <a:gd name="connsiteX0" fmla="*/ 8878 w 1721288"/>
                  <a:gd name="connsiteY0" fmla="*/ 26632 h 872974"/>
                  <a:gd name="connsiteX1" fmla="*/ 1676901 w 1721288"/>
                  <a:gd name="connsiteY1" fmla="*/ 0 h 872974"/>
                  <a:gd name="connsiteX2" fmla="*/ 1721288 w 1721288"/>
                  <a:gd name="connsiteY2" fmla="*/ 872974 h 872974"/>
                  <a:gd name="connsiteX3" fmla="*/ 0 w 1721288"/>
                  <a:gd name="connsiteY3" fmla="*/ 171640 h 872974"/>
                  <a:gd name="connsiteX4" fmla="*/ 8878 w 1721288"/>
                  <a:gd name="connsiteY4" fmla="*/ 26632 h 872974"/>
                  <a:gd name="connsiteX0" fmla="*/ 8878 w 1676901"/>
                  <a:gd name="connsiteY0" fmla="*/ 26632 h 855219"/>
                  <a:gd name="connsiteX1" fmla="*/ 1676901 w 1676901"/>
                  <a:gd name="connsiteY1" fmla="*/ 0 h 855219"/>
                  <a:gd name="connsiteX2" fmla="*/ 1676900 w 1676901"/>
                  <a:gd name="connsiteY2" fmla="*/ 855219 h 855219"/>
                  <a:gd name="connsiteX3" fmla="*/ 0 w 1676901"/>
                  <a:gd name="connsiteY3" fmla="*/ 171640 h 855219"/>
                  <a:gd name="connsiteX4" fmla="*/ 8878 w 1676901"/>
                  <a:gd name="connsiteY4" fmla="*/ 26632 h 855219"/>
                  <a:gd name="connsiteX0" fmla="*/ 8878 w 1676901"/>
                  <a:gd name="connsiteY0" fmla="*/ 26632 h 943996"/>
                  <a:gd name="connsiteX1" fmla="*/ 1676901 w 1676901"/>
                  <a:gd name="connsiteY1" fmla="*/ 0 h 943996"/>
                  <a:gd name="connsiteX2" fmla="*/ 1668023 w 1676901"/>
                  <a:gd name="connsiteY2" fmla="*/ 943996 h 943996"/>
                  <a:gd name="connsiteX3" fmla="*/ 0 w 1676901"/>
                  <a:gd name="connsiteY3" fmla="*/ 171640 h 943996"/>
                  <a:gd name="connsiteX4" fmla="*/ 8878 w 1676901"/>
                  <a:gd name="connsiteY4" fmla="*/ 26632 h 94399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 name="connsiteX0" fmla="*/ 8878 w 1676901"/>
                  <a:gd name="connsiteY0" fmla="*/ 26632 h 997262"/>
                  <a:gd name="connsiteX1" fmla="*/ 1676901 w 1676901"/>
                  <a:gd name="connsiteY1" fmla="*/ 0 h 997262"/>
                  <a:gd name="connsiteX2" fmla="*/ 1641390 w 1676901"/>
                  <a:gd name="connsiteY2" fmla="*/ 997262 h 997262"/>
                  <a:gd name="connsiteX3" fmla="*/ 0 w 1676901"/>
                  <a:gd name="connsiteY3" fmla="*/ 171640 h 997262"/>
                  <a:gd name="connsiteX4" fmla="*/ 8878 w 1676901"/>
                  <a:gd name="connsiteY4" fmla="*/ 26632 h 997262"/>
                  <a:gd name="connsiteX0" fmla="*/ 8878 w 1676901"/>
                  <a:gd name="connsiteY0" fmla="*/ 26632 h 855219"/>
                  <a:gd name="connsiteX1" fmla="*/ 1676901 w 1676901"/>
                  <a:gd name="connsiteY1" fmla="*/ 0 h 855219"/>
                  <a:gd name="connsiteX2" fmla="*/ 1650267 w 1676901"/>
                  <a:gd name="connsiteY2" fmla="*/ 855219 h 855219"/>
                  <a:gd name="connsiteX3" fmla="*/ 0 w 1676901"/>
                  <a:gd name="connsiteY3" fmla="*/ 171640 h 855219"/>
                  <a:gd name="connsiteX4" fmla="*/ 8878 w 1676901"/>
                  <a:gd name="connsiteY4" fmla="*/ 26632 h 855219"/>
                  <a:gd name="connsiteX0" fmla="*/ 8878 w 1676901"/>
                  <a:gd name="connsiteY0" fmla="*/ 26632 h 935118"/>
                  <a:gd name="connsiteX1" fmla="*/ 1676901 w 1676901"/>
                  <a:gd name="connsiteY1" fmla="*/ 0 h 935118"/>
                  <a:gd name="connsiteX2" fmla="*/ 1668023 w 1676901"/>
                  <a:gd name="connsiteY2" fmla="*/ 935118 h 935118"/>
                  <a:gd name="connsiteX3" fmla="*/ 0 w 1676901"/>
                  <a:gd name="connsiteY3" fmla="*/ 171640 h 935118"/>
                  <a:gd name="connsiteX4" fmla="*/ 8878 w 1676901"/>
                  <a:gd name="connsiteY4" fmla="*/ 26632 h 935118"/>
                  <a:gd name="connsiteX0" fmla="*/ 8878 w 1676901"/>
                  <a:gd name="connsiteY0" fmla="*/ 26632 h 855219"/>
                  <a:gd name="connsiteX1" fmla="*/ 1676901 w 1676901"/>
                  <a:gd name="connsiteY1" fmla="*/ 0 h 855219"/>
                  <a:gd name="connsiteX2" fmla="*/ 1659145 w 1676901"/>
                  <a:gd name="connsiteY2" fmla="*/ 855219 h 855219"/>
                  <a:gd name="connsiteX3" fmla="*/ 0 w 1676901"/>
                  <a:gd name="connsiteY3" fmla="*/ 171640 h 855219"/>
                  <a:gd name="connsiteX4" fmla="*/ 8878 w 1676901"/>
                  <a:gd name="connsiteY4" fmla="*/ 26632 h 855219"/>
                  <a:gd name="connsiteX0" fmla="*/ 8878 w 1676901"/>
                  <a:gd name="connsiteY0" fmla="*/ 26632 h 864097"/>
                  <a:gd name="connsiteX1" fmla="*/ 1676901 w 1676901"/>
                  <a:gd name="connsiteY1" fmla="*/ 0 h 864097"/>
                  <a:gd name="connsiteX2" fmla="*/ 1668023 w 1676901"/>
                  <a:gd name="connsiteY2" fmla="*/ 864097 h 864097"/>
                  <a:gd name="connsiteX3" fmla="*/ 0 w 1676901"/>
                  <a:gd name="connsiteY3" fmla="*/ 171640 h 864097"/>
                  <a:gd name="connsiteX4" fmla="*/ 8878 w 1676901"/>
                  <a:gd name="connsiteY4" fmla="*/ 26632 h 864097"/>
                  <a:gd name="connsiteX0" fmla="*/ 8878 w 1676901"/>
                  <a:gd name="connsiteY0" fmla="*/ 26632 h 642156"/>
                  <a:gd name="connsiteX1" fmla="*/ 1676901 w 1676901"/>
                  <a:gd name="connsiteY1" fmla="*/ 0 h 642156"/>
                  <a:gd name="connsiteX2" fmla="*/ 1659145 w 1676901"/>
                  <a:gd name="connsiteY2" fmla="*/ 642156 h 642156"/>
                  <a:gd name="connsiteX3" fmla="*/ 0 w 1676901"/>
                  <a:gd name="connsiteY3" fmla="*/ 171640 h 642156"/>
                  <a:gd name="connsiteX4" fmla="*/ 8878 w 1676901"/>
                  <a:gd name="connsiteY4" fmla="*/ 26632 h 64215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 name="connsiteX0" fmla="*/ 8878 w 1676901"/>
                  <a:gd name="connsiteY0" fmla="*/ 26632 h 943996"/>
                  <a:gd name="connsiteX1" fmla="*/ 1676901 w 1676901"/>
                  <a:gd name="connsiteY1" fmla="*/ 0 h 943996"/>
                  <a:gd name="connsiteX2" fmla="*/ 1659145 w 1676901"/>
                  <a:gd name="connsiteY2" fmla="*/ 943996 h 943996"/>
                  <a:gd name="connsiteX3" fmla="*/ 0 w 1676901"/>
                  <a:gd name="connsiteY3" fmla="*/ 171640 h 943996"/>
                  <a:gd name="connsiteX4" fmla="*/ 8878 w 1676901"/>
                  <a:gd name="connsiteY4" fmla="*/ 26632 h 943996"/>
                  <a:gd name="connsiteX0" fmla="*/ 8878 w 1676901"/>
                  <a:gd name="connsiteY0" fmla="*/ 26632 h 872975"/>
                  <a:gd name="connsiteX1" fmla="*/ 1676901 w 1676901"/>
                  <a:gd name="connsiteY1" fmla="*/ 0 h 872975"/>
                  <a:gd name="connsiteX2" fmla="*/ 1668022 w 1676901"/>
                  <a:gd name="connsiteY2" fmla="*/ 872975 h 872975"/>
                  <a:gd name="connsiteX3" fmla="*/ 0 w 1676901"/>
                  <a:gd name="connsiteY3" fmla="*/ 171640 h 872975"/>
                  <a:gd name="connsiteX4" fmla="*/ 8878 w 1676901"/>
                  <a:gd name="connsiteY4" fmla="*/ 26632 h 872975"/>
                  <a:gd name="connsiteX0" fmla="*/ 0 w 1676901"/>
                  <a:gd name="connsiteY0" fmla="*/ 0 h 1618700"/>
                  <a:gd name="connsiteX1" fmla="*/ 1676901 w 1676901"/>
                  <a:gd name="connsiteY1" fmla="*/ 745725 h 1618700"/>
                  <a:gd name="connsiteX2" fmla="*/ 1668022 w 1676901"/>
                  <a:gd name="connsiteY2" fmla="*/ 1618700 h 1618700"/>
                  <a:gd name="connsiteX3" fmla="*/ 0 w 1676901"/>
                  <a:gd name="connsiteY3" fmla="*/ 917365 h 1618700"/>
                  <a:gd name="connsiteX4" fmla="*/ 0 w 1676901"/>
                  <a:gd name="connsiteY4" fmla="*/ 0 h 1618700"/>
                  <a:gd name="connsiteX0" fmla="*/ 0 w 1676901"/>
                  <a:gd name="connsiteY0" fmla="*/ 0 h 1618700"/>
                  <a:gd name="connsiteX1" fmla="*/ 1676901 w 1676901"/>
                  <a:gd name="connsiteY1" fmla="*/ 745725 h 1618700"/>
                  <a:gd name="connsiteX2" fmla="*/ 1668022 w 1676901"/>
                  <a:gd name="connsiteY2" fmla="*/ 1618700 h 1618700"/>
                  <a:gd name="connsiteX3" fmla="*/ 0 w 1676901"/>
                  <a:gd name="connsiteY3" fmla="*/ 100620 h 1618700"/>
                  <a:gd name="connsiteX4" fmla="*/ 0 w 1676901"/>
                  <a:gd name="connsiteY4" fmla="*/ 0 h 161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901" h="1618700">
                    <a:moveTo>
                      <a:pt x="0" y="0"/>
                    </a:moveTo>
                    <a:lnTo>
                      <a:pt x="1676901" y="745725"/>
                    </a:lnTo>
                    <a:cubicBezTo>
                      <a:pt x="1676901" y="1030798"/>
                      <a:pt x="1668022" y="1333627"/>
                      <a:pt x="1668022" y="1618700"/>
                    </a:cubicBezTo>
                    <a:lnTo>
                      <a:pt x="0" y="100620"/>
                    </a:lnTo>
                    <a:lnTo>
                      <a:pt x="0" y="0"/>
                    </a:lnTo>
                    <a:close/>
                  </a:path>
                </a:pathLst>
              </a:custGeom>
              <a:gradFill flip="none" rotWithShape="1">
                <a:gsLst>
                  <a:gs pos="35000">
                    <a:schemeClr val="accent3">
                      <a:alpha val="0"/>
                    </a:schemeClr>
                  </a:gs>
                  <a:gs pos="80000">
                    <a:schemeClr val="accent3">
                      <a:alpha val="85000"/>
                    </a:schemeClr>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0" name="Rectangle 4">
                <a:extLst>
                  <a:ext uri="{FF2B5EF4-FFF2-40B4-BE49-F238E27FC236}">
                    <a16:creationId xmlns:a16="http://schemas.microsoft.com/office/drawing/2014/main" id="{760D9A9E-C023-EE47-8B92-35263B7709E4}"/>
                  </a:ext>
                </a:extLst>
              </p:cNvPr>
              <p:cNvSpPr/>
              <p:nvPr/>
            </p:nvSpPr>
            <p:spPr>
              <a:xfrm>
                <a:off x="4479520" y="3731342"/>
                <a:ext cx="1676901" cy="864097"/>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 name="connsiteX0" fmla="*/ 0 w 1676900"/>
                  <a:gd name="connsiteY0" fmla="*/ 35509 h 908486"/>
                  <a:gd name="connsiteX1" fmla="*/ 1659145 w 1676900"/>
                  <a:gd name="connsiteY1" fmla="*/ 0 h 908486"/>
                  <a:gd name="connsiteX2" fmla="*/ 1676900 w 1676900"/>
                  <a:gd name="connsiteY2" fmla="*/ 855218 h 908486"/>
                  <a:gd name="connsiteX3" fmla="*/ 0 w 1676900"/>
                  <a:gd name="connsiteY3" fmla="*/ 908486 h 908486"/>
                  <a:gd name="connsiteX4" fmla="*/ 0 w 1676900"/>
                  <a:gd name="connsiteY4" fmla="*/ 35509 h 908486"/>
                  <a:gd name="connsiteX0" fmla="*/ 0 w 1676900"/>
                  <a:gd name="connsiteY0" fmla="*/ 35509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35509 h 855218"/>
                  <a:gd name="connsiteX0" fmla="*/ 0 w 1676900"/>
                  <a:gd name="connsiteY0" fmla="*/ 8876 h 855218"/>
                  <a:gd name="connsiteX1" fmla="*/ 1659145 w 1676900"/>
                  <a:gd name="connsiteY1" fmla="*/ 0 h 855218"/>
                  <a:gd name="connsiteX2" fmla="*/ 1676900 w 1676900"/>
                  <a:gd name="connsiteY2" fmla="*/ 855218 h 855218"/>
                  <a:gd name="connsiteX3" fmla="*/ 26633 w 1676900"/>
                  <a:gd name="connsiteY3" fmla="*/ 198272 h 855218"/>
                  <a:gd name="connsiteX4" fmla="*/ 0 w 1676900"/>
                  <a:gd name="connsiteY4" fmla="*/ 8876 h 855218"/>
                  <a:gd name="connsiteX0" fmla="*/ 8878 w 1685778"/>
                  <a:gd name="connsiteY0" fmla="*/ 8876 h 855218"/>
                  <a:gd name="connsiteX1" fmla="*/ 1668023 w 1685778"/>
                  <a:gd name="connsiteY1" fmla="*/ 0 h 855218"/>
                  <a:gd name="connsiteX2" fmla="*/ 1685778 w 1685778"/>
                  <a:gd name="connsiteY2" fmla="*/ 855218 h 855218"/>
                  <a:gd name="connsiteX3" fmla="*/ 0 w 1685778"/>
                  <a:gd name="connsiteY3" fmla="*/ 153884 h 855218"/>
                  <a:gd name="connsiteX4" fmla="*/ 8878 w 1685778"/>
                  <a:gd name="connsiteY4" fmla="*/ 8876 h 855218"/>
                  <a:gd name="connsiteX0" fmla="*/ 8878 w 1685778"/>
                  <a:gd name="connsiteY0" fmla="*/ 26632 h 872974"/>
                  <a:gd name="connsiteX1" fmla="*/ 1676901 w 1685778"/>
                  <a:gd name="connsiteY1" fmla="*/ 0 h 872974"/>
                  <a:gd name="connsiteX2" fmla="*/ 1685778 w 1685778"/>
                  <a:gd name="connsiteY2" fmla="*/ 872974 h 872974"/>
                  <a:gd name="connsiteX3" fmla="*/ 0 w 1685778"/>
                  <a:gd name="connsiteY3" fmla="*/ 171640 h 872974"/>
                  <a:gd name="connsiteX4" fmla="*/ 8878 w 1685778"/>
                  <a:gd name="connsiteY4" fmla="*/ 26632 h 872974"/>
                  <a:gd name="connsiteX0" fmla="*/ 8878 w 1694655"/>
                  <a:gd name="connsiteY0" fmla="*/ 26632 h 801953"/>
                  <a:gd name="connsiteX1" fmla="*/ 1676901 w 1694655"/>
                  <a:gd name="connsiteY1" fmla="*/ 0 h 801953"/>
                  <a:gd name="connsiteX2" fmla="*/ 1694655 w 1694655"/>
                  <a:gd name="connsiteY2" fmla="*/ 801953 h 801953"/>
                  <a:gd name="connsiteX3" fmla="*/ 0 w 1694655"/>
                  <a:gd name="connsiteY3" fmla="*/ 171640 h 801953"/>
                  <a:gd name="connsiteX4" fmla="*/ 8878 w 1694655"/>
                  <a:gd name="connsiteY4" fmla="*/ 26632 h 801953"/>
                  <a:gd name="connsiteX0" fmla="*/ 8878 w 1721288"/>
                  <a:gd name="connsiteY0" fmla="*/ 26632 h 872974"/>
                  <a:gd name="connsiteX1" fmla="*/ 1676901 w 1721288"/>
                  <a:gd name="connsiteY1" fmla="*/ 0 h 872974"/>
                  <a:gd name="connsiteX2" fmla="*/ 1721288 w 1721288"/>
                  <a:gd name="connsiteY2" fmla="*/ 872974 h 872974"/>
                  <a:gd name="connsiteX3" fmla="*/ 0 w 1721288"/>
                  <a:gd name="connsiteY3" fmla="*/ 171640 h 872974"/>
                  <a:gd name="connsiteX4" fmla="*/ 8878 w 1721288"/>
                  <a:gd name="connsiteY4" fmla="*/ 26632 h 872974"/>
                  <a:gd name="connsiteX0" fmla="*/ 8878 w 1676901"/>
                  <a:gd name="connsiteY0" fmla="*/ 26632 h 855219"/>
                  <a:gd name="connsiteX1" fmla="*/ 1676901 w 1676901"/>
                  <a:gd name="connsiteY1" fmla="*/ 0 h 855219"/>
                  <a:gd name="connsiteX2" fmla="*/ 1676900 w 1676901"/>
                  <a:gd name="connsiteY2" fmla="*/ 855219 h 855219"/>
                  <a:gd name="connsiteX3" fmla="*/ 0 w 1676901"/>
                  <a:gd name="connsiteY3" fmla="*/ 171640 h 855219"/>
                  <a:gd name="connsiteX4" fmla="*/ 8878 w 1676901"/>
                  <a:gd name="connsiteY4" fmla="*/ 26632 h 855219"/>
                  <a:gd name="connsiteX0" fmla="*/ 8878 w 1676901"/>
                  <a:gd name="connsiteY0" fmla="*/ 26632 h 943996"/>
                  <a:gd name="connsiteX1" fmla="*/ 1676901 w 1676901"/>
                  <a:gd name="connsiteY1" fmla="*/ 0 h 943996"/>
                  <a:gd name="connsiteX2" fmla="*/ 1668023 w 1676901"/>
                  <a:gd name="connsiteY2" fmla="*/ 943996 h 943996"/>
                  <a:gd name="connsiteX3" fmla="*/ 0 w 1676901"/>
                  <a:gd name="connsiteY3" fmla="*/ 171640 h 943996"/>
                  <a:gd name="connsiteX4" fmla="*/ 8878 w 1676901"/>
                  <a:gd name="connsiteY4" fmla="*/ 26632 h 943996"/>
                  <a:gd name="connsiteX0" fmla="*/ 8878 w 1676901"/>
                  <a:gd name="connsiteY0" fmla="*/ 26632 h 864097"/>
                  <a:gd name="connsiteX1" fmla="*/ 1676901 w 1676901"/>
                  <a:gd name="connsiteY1" fmla="*/ 0 h 864097"/>
                  <a:gd name="connsiteX2" fmla="*/ 1659145 w 1676901"/>
                  <a:gd name="connsiteY2" fmla="*/ 864097 h 864097"/>
                  <a:gd name="connsiteX3" fmla="*/ 0 w 1676901"/>
                  <a:gd name="connsiteY3" fmla="*/ 171640 h 864097"/>
                  <a:gd name="connsiteX4" fmla="*/ 8878 w 1676901"/>
                  <a:gd name="connsiteY4" fmla="*/ 26632 h 86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901" h="864097">
                    <a:moveTo>
                      <a:pt x="8878" y="26632"/>
                    </a:moveTo>
                    <a:lnTo>
                      <a:pt x="1676901" y="0"/>
                    </a:lnTo>
                    <a:cubicBezTo>
                      <a:pt x="1676901" y="285073"/>
                      <a:pt x="1659145" y="579024"/>
                      <a:pt x="1659145" y="864097"/>
                    </a:cubicBezTo>
                    <a:lnTo>
                      <a:pt x="0" y="171640"/>
                    </a:lnTo>
                    <a:lnTo>
                      <a:pt x="8878" y="26632"/>
                    </a:lnTo>
                    <a:close/>
                  </a:path>
                </a:pathLst>
              </a:custGeom>
              <a:gradFill flip="none" rotWithShape="1">
                <a:gsLst>
                  <a:gs pos="50000">
                    <a:schemeClr val="accent3">
                      <a:alpha val="0"/>
                    </a:schemeClr>
                  </a:gs>
                  <a:gs pos="80000">
                    <a:schemeClr val="accent3">
                      <a:alpha val="85000"/>
                    </a:schemeClr>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1" name="Rectangle 20">
                <a:extLst>
                  <a:ext uri="{FF2B5EF4-FFF2-40B4-BE49-F238E27FC236}">
                    <a16:creationId xmlns:a16="http://schemas.microsoft.com/office/drawing/2014/main" id="{060A7E81-43E7-4F4D-9C89-79ABE54FDAEF}"/>
                  </a:ext>
                </a:extLst>
              </p:cNvPr>
              <p:cNvSpPr/>
              <p:nvPr/>
            </p:nvSpPr>
            <p:spPr>
              <a:xfrm rot="10800000">
                <a:off x="6144963" y="1844824"/>
                <a:ext cx="4087327" cy="864096"/>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2" name="Rectangle 4">
                <a:extLst>
                  <a:ext uri="{FF2B5EF4-FFF2-40B4-BE49-F238E27FC236}">
                    <a16:creationId xmlns:a16="http://schemas.microsoft.com/office/drawing/2014/main" id="{F419AFDF-619E-DC4B-B83D-C0E3D6415FD1}"/>
                  </a:ext>
                </a:extLst>
              </p:cNvPr>
              <p:cNvSpPr/>
              <p:nvPr/>
            </p:nvSpPr>
            <p:spPr>
              <a:xfrm>
                <a:off x="4485442" y="1837871"/>
                <a:ext cx="1670406" cy="1829838"/>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68022"/>
                  <a:gd name="connsiteY0" fmla="*/ 1713390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13390 h 1849518"/>
                  <a:gd name="connsiteX0" fmla="*/ 0 w 1668022"/>
                  <a:gd name="connsiteY0" fmla="*/ 1713390 h 1787374"/>
                  <a:gd name="connsiteX1" fmla="*/ 1650267 w 1668022"/>
                  <a:gd name="connsiteY1" fmla="*/ 0 h 1787374"/>
                  <a:gd name="connsiteX2" fmla="*/ 1668022 w 1668022"/>
                  <a:gd name="connsiteY2" fmla="*/ 855218 h 1787374"/>
                  <a:gd name="connsiteX3" fmla="*/ 26633 w 1668022"/>
                  <a:gd name="connsiteY3" fmla="*/ 1787374 h 1787374"/>
                  <a:gd name="connsiteX4" fmla="*/ 0 w 1668022"/>
                  <a:gd name="connsiteY4" fmla="*/ 1713390 h 1787374"/>
                  <a:gd name="connsiteX0" fmla="*/ 0 w 1668022"/>
                  <a:gd name="connsiteY0" fmla="*/ 1713390 h 1805129"/>
                  <a:gd name="connsiteX1" fmla="*/ 1650267 w 1668022"/>
                  <a:gd name="connsiteY1" fmla="*/ 0 h 1805129"/>
                  <a:gd name="connsiteX2" fmla="*/ 1668022 w 1668022"/>
                  <a:gd name="connsiteY2" fmla="*/ 855218 h 1805129"/>
                  <a:gd name="connsiteX3" fmla="*/ 35511 w 1668022"/>
                  <a:gd name="connsiteY3" fmla="*/ 1805129 h 1805129"/>
                  <a:gd name="connsiteX4" fmla="*/ 0 w 1668022"/>
                  <a:gd name="connsiteY4" fmla="*/ 1713390 h 1805129"/>
                  <a:gd name="connsiteX0" fmla="*/ 0 w 1668022"/>
                  <a:gd name="connsiteY0" fmla="*/ 1713390 h 1822885"/>
                  <a:gd name="connsiteX1" fmla="*/ 1650267 w 1668022"/>
                  <a:gd name="connsiteY1" fmla="*/ 0 h 1822885"/>
                  <a:gd name="connsiteX2" fmla="*/ 1668022 w 1668022"/>
                  <a:gd name="connsiteY2" fmla="*/ 855218 h 1822885"/>
                  <a:gd name="connsiteX3" fmla="*/ 35511 w 1668022"/>
                  <a:gd name="connsiteY3" fmla="*/ 1822885 h 1822885"/>
                  <a:gd name="connsiteX4" fmla="*/ 0 w 1668022"/>
                  <a:gd name="connsiteY4" fmla="*/ 1713390 h 1822885"/>
                  <a:gd name="connsiteX0" fmla="*/ 0 w 1668022"/>
                  <a:gd name="connsiteY0" fmla="*/ 1720343 h 1829838"/>
                  <a:gd name="connsiteX1" fmla="*/ 1660710 w 1668022"/>
                  <a:gd name="connsiteY1" fmla="*/ 0 h 1829838"/>
                  <a:gd name="connsiteX2" fmla="*/ 1668022 w 1668022"/>
                  <a:gd name="connsiteY2" fmla="*/ 862171 h 1829838"/>
                  <a:gd name="connsiteX3" fmla="*/ 35511 w 1668022"/>
                  <a:gd name="connsiteY3" fmla="*/ 1829838 h 1829838"/>
                  <a:gd name="connsiteX4" fmla="*/ 0 w 1668022"/>
                  <a:gd name="connsiteY4" fmla="*/ 1720343 h 1829838"/>
                  <a:gd name="connsiteX0" fmla="*/ 0 w 1670406"/>
                  <a:gd name="connsiteY0" fmla="*/ 1720343 h 1829838"/>
                  <a:gd name="connsiteX1" fmla="*/ 1669865 w 1670406"/>
                  <a:gd name="connsiteY1" fmla="*/ 0 h 1829838"/>
                  <a:gd name="connsiteX2" fmla="*/ 1668022 w 1670406"/>
                  <a:gd name="connsiteY2" fmla="*/ 862171 h 1829838"/>
                  <a:gd name="connsiteX3" fmla="*/ 35511 w 1670406"/>
                  <a:gd name="connsiteY3" fmla="*/ 1829838 h 1829838"/>
                  <a:gd name="connsiteX4" fmla="*/ 0 w 1670406"/>
                  <a:gd name="connsiteY4" fmla="*/ 1720343 h 1829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0406" h="1829838">
                    <a:moveTo>
                      <a:pt x="0" y="1720343"/>
                    </a:moveTo>
                    <a:lnTo>
                      <a:pt x="1669865" y="0"/>
                    </a:lnTo>
                    <a:cubicBezTo>
                      <a:pt x="1672302" y="287390"/>
                      <a:pt x="1665585" y="574781"/>
                      <a:pt x="1668022" y="862171"/>
                    </a:cubicBezTo>
                    <a:lnTo>
                      <a:pt x="35511" y="1829838"/>
                    </a:lnTo>
                    <a:lnTo>
                      <a:pt x="0" y="1720343"/>
                    </a:lnTo>
                    <a:close/>
                  </a:path>
                </a:pathLst>
              </a:custGeom>
              <a:gradFill flip="none" rotWithShape="1">
                <a:gsLst>
                  <a:gs pos="35000">
                    <a:schemeClr val="accent3">
                      <a:alpha val="0"/>
                    </a:schemeClr>
                  </a:gs>
                  <a:gs pos="80000">
                    <a:schemeClr val="accent3">
                      <a:alpha val="85000"/>
                    </a:schemeClr>
                  </a:gs>
                </a:gsLst>
                <a:lin ang="21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Rectangle 22">
                <a:extLst>
                  <a:ext uri="{FF2B5EF4-FFF2-40B4-BE49-F238E27FC236}">
                    <a16:creationId xmlns:a16="http://schemas.microsoft.com/office/drawing/2014/main" id="{F8D771B7-A1C4-0247-84A3-DD93C2DA932D}"/>
                  </a:ext>
                </a:extLst>
              </p:cNvPr>
              <p:cNvSpPr/>
              <p:nvPr/>
            </p:nvSpPr>
            <p:spPr>
              <a:xfrm rot="10800000">
                <a:off x="6144962" y="2787832"/>
                <a:ext cx="4087327" cy="864096"/>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4" name="Rectangle 23">
                <a:extLst>
                  <a:ext uri="{FF2B5EF4-FFF2-40B4-BE49-F238E27FC236}">
                    <a16:creationId xmlns:a16="http://schemas.microsoft.com/office/drawing/2014/main" id="{7F53AC8C-8ED4-CF4E-95C9-74A99730DAF0}"/>
                  </a:ext>
                </a:extLst>
              </p:cNvPr>
              <p:cNvSpPr/>
              <p:nvPr/>
            </p:nvSpPr>
            <p:spPr>
              <a:xfrm rot="10800000">
                <a:off x="6135715" y="3730840"/>
                <a:ext cx="4087328" cy="864096"/>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5" name="Rectangle 24">
                <a:extLst>
                  <a:ext uri="{FF2B5EF4-FFF2-40B4-BE49-F238E27FC236}">
                    <a16:creationId xmlns:a16="http://schemas.microsoft.com/office/drawing/2014/main" id="{D4776AD8-E543-8E44-BBF1-AC4D237277F4}"/>
                  </a:ext>
                </a:extLst>
              </p:cNvPr>
              <p:cNvSpPr/>
              <p:nvPr/>
            </p:nvSpPr>
            <p:spPr>
              <a:xfrm rot="10800000">
                <a:off x="6135715" y="4673848"/>
                <a:ext cx="4087328" cy="864096"/>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6" name="Rectangle 4">
                <a:extLst>
                  <a:ext uri="{FF2B5EF4-FFF2-40B4-BE49-F238E27FC236}">
                    <a16:creationId xmlns:a16="http://schemas.microsoft.com/office/drawing/2014/main" id="{47D9762D-AC31-3844-AADE-756A38721D12}"/>
                  </a:ext>
                </a:extLst>
              </p:cNvPr>
              <p:cNvSpPr/>
              <p:nvPr/>
            </p:nvSpPr>
            <p:spPr>
              <a:xfrm>
                <a:off x="4474601" y="2791036"/>
                <a:ext cx="1685778" cy="1002679"/>
              </a:xfrm>
              <a:custGeom>
                <a:avLst/>
                <a:gdLst>
                  <a:gd name="connsiteX0" fmla="*/ 0 w 1872208"/>
                  <a:gd name="connsiteY0" fmla="*/ 0 h 864096"/>
                  <a:gd name="connsiteX1" fmla="*/ 1872208 w 1872208"/>
                  <a:gd name="connsiteY1" fmla="*/ 0 h 864096"/>
                  <a:gd name="connsiteX2" fmla="*/ 1872208 w 1872208"/>
                  <a:gd name="connsiteY2" fmla="*/ 864096 h 864096"/>
                  <a:gd name="connsiteX3" fmla="*/ 0 w 1872208"/>
                  <a:gd name="connsiteY3" fmla="*/ 864096 h 864096"/>
                  <a:gd name="connsiteX4" fmla="*/ 0 w 1872208"/>
                  <a:gd name="connsiteY4" fmla="*/ 0 h 864096"/>
                  <a:gd name="connsiteX0" fmla="*/ 0 w 1872208"/>
                  <a:gd name="connsiteY0" fmla="*/ 0 h 1849518"/>
                  <a:gd name="connsiteX1" fmla="*/ 1872208 w 1872208"/>
                  <a:gd name="connsiteY1" fmla="*/ 0 h 1849518"/>
                  <a:gd name="connsiteX2" fmla="*/ 1872208 w 1872208"/>
                  <a:gd name="connsiteY2" fmla="*/ 864096 h 1849518"/>
                  <a:gd name="connsiteX3" fmla="*/ 230819 w 1872208"/>
                  <a:gd name="connsiteY3" fmla="*/ 1849518 h 1849518"/>
                  <a:gd name="connsiteX4" fmla="*/ 0 w 1872208"/>
                  <a:gd name="connsiteY4" fmla="*/ 0 h 1849518"/>
                  <a:gd name="connsiteX0" fmla="*/ 0 w 1650267"/>
                  <a:gd name="connsiteY0" fmla="*/ 1784411 h 1849518"/>
                  <a:gd name="connsiteX1" fmla="*/ 1650267 w 1650267"/>
                  <a:gd name="connsiteY1" fmla="*/ 0 h 1849518"/>
                  <a:gd name="connsiteX2" fmla="*/ 1650267 w 1650267"/>
                  <a:gd name="connsiteY2" fmla="*/ 864096 h 1849518"/>
                  <a:gd name="connsiteX3" fmla="*/ 8878 w 1650267"/>
                  <a:gd name="connsiteY3" fmla="*/ 1849518 h 1849518"/>
                  <a:gd name="connsiteX4" fmla="*/ 0 w 1650267"/>
                  <a:gd name="connsiteY4" fmla="*/ 1784411 h 1849518"/>
                  <a:gd name="connsiteX0" fmla="*/ 0 w 1668022"/>
                  <a:gd name="connsiteY0" fmla="*/ 1784411 h 1849518"/>
                  <a:gd name="connsiteX1" fmla="*/ 1650267 w 1668022"/>
                  <a:gd name="connsiteY1" fmla="*/ 0 h 1849518"/>
                  <a:gd name="connsiteX2" fmla="*/ 1668022 w 1668022"/>
                  <a:gd name="connsiteY2" fmla="*/ 855218 h 1849518"/>
                  <a:gd name="connsiteX3" fmla="*/ 8878 w 1668022"/>
                  <a:gd name="connsiteY3" fmla="*/ 1849518 h 1849518"/>
                  <a:gd name="connsiteX4" fmla="*/ 0 w 1668022"/>
                  <a:gd name="connsiteY4" fmla="*/ 1784411 h 1849518"/>
                  <a:gd name="connsiteX0" fmla="*/ 0 w 1659145"/>
                  <a:gd name="connsiteY0" fmla="*/ 843378 h 1849518"/>
                  <a:gd name="connsiteX1" fmla="*/ 1641390 w 1659145"/>
                  <a:gd name="connsiteY1" fmla="*/ 0 h 1849518"/>
                  <a:gd name="connsiteX2" fmla="*/ 1659145 w 1659145"/>
                  <a:gd name="connsiteY2" fmla="*/ 855218 h 1849518"/>
                  <a:gd name="connsiteX3" fmla="*/ 1 w 1659145"/>
                  <a:gd name="connsiteY3" fmla="*/ 1849518 h 1849518"/>
                  <a:gd name="connsiteX4" fmla="*/ 0 w 1659145"/>
                  <a:gd name="connsiteY4" fmla="*/ 843378 h 1849518"/>
                  <a:gd name="connsiteX0" fmla="*/ 0 w 1659145"/>
                  <a:gd name="connsiteY0" fmla="*/ 843378 h 945987"/>
                  <a:gd name="connsiteX1" fmla="*/ 1641390 w 1659145"/>
                  <a:gd name="connsiteY1" fmla="*/ 0 h 945987"/>
                  <a:gd name="connsiteX2" fmla="*/ 1659145 w 1659145"/>
                  <a:gd name="connsiteY2" fmla="*/ 855218 h 945987"/>
                  <a:gd name="connsiteX3" fmla="*/ 8878 w 1659145"/>
                  <a:gd name="connsiteY3" fmla="*/ 890730 h 945987"/>
                  <a:gd name="connsiteX4" fmla="*/ 0 w 1659145"/>
                  <a:gd name="connsiteY4" fmla="*/ 843378 h 945987"/>
                  <a:gd name="connsiteX0" fmla="*/ 17755 w 1676900"/>
                  <a:gd name="connsiteY0" fmla="*/ 843378 h 948353"/>
                  <a:gd name="connsiteX1" fmla="*/ 1659145 w 1676900"/>
                  <a:gd name="connsiteY1" fmla="*/ 0 h 948353"/>
                  <a:gd name="connsiteX2" fmla="*/ 1676900 w 1676900"/>
                  <a:gd name="connsiteY2" fmla="*/ 855218 h 948353"/>
                  <a:gd name="connsiteX3" fmla="*/ 0 w 1676900"/>
                  <a:gd name="connsiteY3" fmla="*/ 908486 h 948353"/>
                  <a:gd name="connsiteX4" fmla="*/ 17755 w 1676900"/>
                  <a:gd name="connsiteY4" fmla="*/ 843378 h 948353"/>
                  <a:gd name="connsiteX0" fmla="*/ 8878 w 1676900"/>
                  <a:gd name="connsiteY0" fmla="*/ 923277 h 1018421"/>
                  <a:gd name="connsiteX1" fmla="*/ 1659145 w 1676900"/>
                  <a:gd name="connsiteY1" fmla="*/ 0 h 1018421"/>
                  <a:gd name="connsiteX2" fmla="*/ 1676900 w 1676900"/>
                  <a:gd name="connsiteY2" fmla="*/ 855218 h 1018421"/>
                  <a:gd name="connsiteX3" fmla="*/ 0 w 1676900"/>
                  <a:gd name="connsiteY3" fmla="*/ 908486 h 1018421"/>
                  <a:gd name="connsiteX4" fmla="*/ 8878 w 1676900"/>
                  <a:gd name="connsiteY4" fmla="*/ 923277 h 1018421"/>
                  <a:gd name="connsiteX0" fmla="*/ 0 w 1685778"/>
                  <a:gd name="connsiteY0" fmla="*/ 905521 h 1002679"/>
                  <a:gd name="connsiteX1" fmla="*/ 1668023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 name="connsiteX0" fmla="*/ 0 w 1685778"/>
                  <a:gd name="connsiteY0" fmla="*/ 905521 h 1002679"/>
                  <a:gd name="connsiteX1" fmla="*/ 1678467 w 1685778"/>
                  <a:gd name="connsiteY1" fmla="*/ 0 h 1002679"/>
                  <a:gd name="connsiteX2" fmla="*/ 1685778 w 1685778"/>
                  <a:gd name="connsiteY2" fmla="*/ 855218 h 1002679"/>
                  <a:gd name="connsiteX3" fmla="*/ 8878 w 1685778"/>
                  <a:gd name="connsiteY3" fmla="*/ 908486 h 1002679"/>
                  <a:gd name="connsiteX4" fmla="*/ 0 w 1685778"/>
                  <a:gd name="connsiteY4" fmla="*/ 905521 h 100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778" h="1002679">
                    <a:moveTo>
                      <a:pt x="0" y="905521"/>
                    </a:moveTo>
                    <a:lnTo>
                      <a:pt x="1678467" y="0"/>
                    </a:lnTo>
                    <a:lnTo>
                      <a:pt x="1685778" y="855218"/>
                    </a:lnTo>
                    <a:lnTo>
                      <a:pt x="8878" y="908486"/>
                    </a:lnTo>
                    <a:cubicBezTo>
                      <a:pt x="8878" y="573106"/>
                      <a:pt x="0" y="1240901"/>
                      <a:pt x="0" y="905521"/>
                    </a:cubicBezTo>
                    <a:close/>
                  </a:path>
                </a:pathLst>
              </a:custGeom>
              <a:gradFill flip="none" rotWithShape="1">
                <a:gsLst>
                  <a:gs pos="50000">
                    <a:schemeClr val="accent3">
                      <a:alpha val="0"/>
                    </a:schemeClr>
                  </a:gs>
                  <a:gs pos="80000">
                    <a:schemeClr val="accent3">
                      <a:alpha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nvGrpSpPr>
            <p:cNvPr id="27" name="Group 26">
              <a:extLst>
                <a:ext uri="{FF2B5EF4-FFF2-40B4-BE49-F238E27FC236}">
                  <a16:creationId xmlns:a16="http://schemas.microsoft.com/office/drawing/2014/main" id="{1574DCF4-72F2-1443-9FD3-5362BCD517A1}"/>
                </a:ext>
              </a:extLst>
            </p:cNvPr>
            <p:cNvGrpSpPr/>
            <p:nvPr/>
          </p:nvGrpSpPr>
          <p:grpSpPr>
            <a:xfrm>
              <a:off x="7944259" y="2146921"/>
              <a:ext cx="3434935" cy="677510"/>
              <a:chOff x="6417575" y="2011204"/>
              <a:chExt cx="2232250" cy="648844"/>
            </a:xfrm>
          </p:grpSpPr>
          <p:sp>
            <p:nvSpPr>
              <p:cNvPr id="28" name="TextBox 27">
                <a:extLst>
                  <a:ext uri="{FF2B5EF4-FFF2-40B4-BE49-F238E27FC236}">
                    <a16:creationId xmlns:a16="http://schemas.microsoft.com/office/drawing/2014/main" id="{9FA5BE4C-A3B2-B54E-9629-CDFE7F102A1C}"/>
                  </a:ext>
                </a:extLst>
              </p:cNvPr>
              <p:cNvSpPr txBox="1"/>
              <p:nvPr/>
            </p:nvSpPr>
            <p:spPr>
              <a:xfrm>
                <a:off x="6417576" y="2217917"/>
                <a:ext cx="2232249" cy="442131"/>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29" name="TextBox 28">
                <a:extLst>
                  <a:ext uri="{FF2B5EF4-FFF2-40B4-BE49-F238E27FC236}">
                    <a16:creationId xmlns:a16="http://schemas.microsoft.com/office/drawing/2014/main" id="{6B0772C2-95A6-164B-93A0-585ED2818E3D}"/>
                  </a:ext>
                </a:extLst>
              </p:cNvPr>
              <p:cNvSpPr txBox="1"/>
              <p:nvPr/>
            </p:nvSpPr>
            <p:spPr>
              <a:xfrm>
                <a:off x="6417575" y="2011204"/>
                <a:ext cx="2232249" cy="265279"/>
              </a:xfrm>
              <a:prstGeom prst="rect">
                <a:avLst/>
              </a:prstGeom>
              <a:noFill/>
            </p:spPr>
            <p:txBody>
              <a:bodyPr wrap="square" rtlCol="0">
                <a:spAutoFit/>
              </a:bodyPr>
              <a:lstStyle/>
              <a:p>
                <a:r>
                  <a:rPr lang="en-US" altLang="ko-KR" sz="1200" b="1">
                    <a:solidFill>
                      <a:schemeClr val="bg1"/>
                    </a:solidFill>
                  </a:rPr>
                  <a:t>Add Contents Title</a:t>
                </a:r>
                <a:endParaRPr lang="ko-KR" altLang="en-US" sz="1200" b="1">
                  <a:solidFill>
                    <a:schemeClr val="bg1"/>
                  </a:solidFill>
                </a:endParaRPr>
              </a:p>
            </p:txBody>
          </p:sp>
        </p:grpSp>
        <p:grpSp>
          <p:nvGrpSpPr>
            <p:cNvPr id="30" name="Group 29">
              <a:extLst>
                <a:ext uri="{FF2B5EF4-FFF2-40B4-BE49-F238E27FC236}">
                  <a16:creationId xmlns:a16="http://schemas.microsoft.com/office/drawing/2014/main" id="{EFE46FD0-8AD6-E44B-8508-93A4398022B8}"/>
                </a:ext>
              </a:extLst>
            </p:cNvPr>
            <p:cNvGrpSpPr/>
            <p:nvPr/>
          </p:nvGrpSpPr>
          <p:grpSpPr>
            <a:xfrm>
              <a:off x="7944260" y="3098071"/>
              <a:ext cx="3434935" cy="677510"/>
              <a:chOff x="6417575" y="2011204"/>
              <a:chExt cx="2232250" cy="648844"/>
            </a:xfrm>
          </p:grpSpPr>
          <p:sp>
            <p:nvSpPr>
              <p:cNvPr id="31" name="TextBox 30">
                <a:extLst>
                  <a:ext uri="{FF2B5EF4-FFF2-40B4-BE49-F238E27FC236}">
                    <a16:creationId xmlns:a16="http://schemas.microsoft.com/office/drawing/2014/main" id="{2DCFEB80-67C2-C049-A0DA-18CC43421827}"/>
                  </a:ext>
                </a:extLst>
              </p:cNvPr>
              <p:cNvSpPr txBox="1"/>
              <p:nvPr/>
            </p:nvSpPr>
            <p:spPr>
              <a:xfrm>
                <a:off x="6417576" y="2217917"/>
                <a:ext cx="2232249" cy="442131"/>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32" name="TextBox 31">
                <a:extLst>
                  <a:ext uri="{FF2B5EF4-FFF2-40B4-BE49-F238E27FC236}">
                    <a16:creationId xmlns:a16="http://schemas.microsoft.com/office/drawing/2014/main" id="{79528406-F56D-0E4B-A47D-B8C39F703E6E}"/>
                  </a:ext>
                </a:extLst>
              </p:cNvPr>
              <p:cNvSpPr txBox="1"/>
              <p:nvPr/>
            </p:nvSpPr>
            <p:spPr>
              <a:xfrm>
                <a:off x="6417575" y="2011204"/>
                <a:ext cx="2232249" cy="265279"/>
              </a:xfrm>
              <a:prstGeom prst="rect">
                <a:avLst/>
              </a:prstGeom>
              <a:noFill/>
            </p:spPr>
            <p:txBody>
              <a:bodyPr wrap="square" rtlCol="0">
                <a:spAutoFit/>
              </a:bodyPr>
              <a:lstStyle/>
              <a:p>
                <a:r>
                  <a:rPr lang="en-US" altLang="ko-KR" sz="1200" b="1">
                    <a:solidFill>
                      <a:schemeClr val="bg1"/>
                    </a:solidFill>
                  </a:rPr>
                  <a:t>Add Contents Title</a:t>
                </a:r>
                <a:endParaRPr lang="ko-KR" altLang="en-US" sz="1200" b="1">
                  <a:solidFill>
                    <a:schemeClr val="bg1"/>
                  </a:solidFill>
                </a:endParaRPr>
              </a:p>
            </p:txBody>
          </p:sp>
        </p:grpSp>
        <p:grpSp>
          <p:nvGrpSpPr>
            <p:cNvPr id="33" name="Group 32">
              <a:extLst>
                <a:ext uri="{FF2B5EF4-FFF2-40B4-BE49-F238E27FC236}">
                  <a16:creationId xmlns:a16="http://schemas.microsoft.com/office/drawing/2014/main" id="{2F8771B6-09D5-024C-8624-6B9B519CC51A}"/>
                </a:ext>
              </a:extLst>
            </p:cNvPr>
            <p:cNvGrpSpPr/>
            <p:nvPr/>
          </p:nvGrpSpPr>
          <p:grpSpPr>
            <a:xfrm>
              <a:off x="7944261" y="4040345"/>
              <a:ext cx="3434935" cy="677511"/>
              <a:chOff x="6417575" y="2011204"/>
              <a:chExt cx="2232250" cy="648845"/>
            </a:xfrm>
          </p:grpSpPr>
          <p:sp>
            <p:nvSpPr>
              <p:cNvPr id="34" name="TextBox 33">
                <a:extLst>
                  <a:ext uri="{FF2B5EF4-FFF2-40B4-BE49-F238E27FC236}">
                    <a16:creationId xmlns:a16="http://schemas.microsoft.com/office/drawing/2014/main" id="{1E7E8FDB-43FD-0344-AD2D-05C43179F84E}"/>
                  </a:ext>
                </a:extLst>
              </p:cNvPr>
              <p:cNvSpPr txBox="1"/>
              <p:nvPr/>
            </p:nvSpPr>
            <p:spPr>
              <a:xfrm>
                <a:off x="6417576" y="2217917"/>
                <a:ext cx="2232249" cy="442132"/>
              </a:xfrm>
              <a:prstGeom prst="rect">
                <a:avLst/>
              </a:prstGeom>
              <a:noFill/>
            </p:spPr>
            <p:txBody>
              <a:bodyPr wrap="square" rtlCol="0">
                <a:spAutoFit/>
              </a:bodyPr>
              <a:lstStyle/>
              <a:p>
                <a:r>
                  <a:rPr lang="en-US" altLang="ko-KR" sz="1200">
                    <a:solidFill>
                      <a:schemeClr val="bg1"/>
                    </a:solidFill>
                  </a:rPr>
                  <a:t>You can simply impress your audience and add a unique zing.</a:t>
                </a:r>
                <a:endParaRPr lang="ko-KR" altLang="en-US" sz="1200">
                  <a:solidFill>
                    <a:schemeClr val="bg1"/>
                  </a:solidFill>
                </a:endParaRPr>
              </a:p>
            </p:txBody>
          </p:sp>
          <p:sp>
            <p:nvSpPr>
              <p:cNvPr id="35" name="TextBox 34">
                <a:extLst>
                  <a:ext uri="{FF2B5EF4-FFF2-40B4-BE49-F238E27FC236}">
                    <a16:creationId xmlns:a16="http://schemas.microsoft.com/office/drawing/2014/main" id="{CA8CB3F3-DDF1-9C4F-9E4D-AE3A3DBF9344}"/>
                  </a:ext>
                </a:extLst>
              </p:cNvPr>
              <p:cNvSpPr txBox="1"/>
              <p:nvPr/>
            </p:nvSpPr>
            <p:spPr>
              <a:xfrm>
                <a:off x="6417575" y="2011204"/>
                <a:ext cx="2232249" cy="265279"/>
              </a:xfrm>
              <a:prstGeom prst="rect">
                <a:avLst/>
              </a:prstGeom>
              <a:noFill/>
            </p:spPr>
            <p:txBody>
              <a:bodyPr wrap="square" rtlCol="0">
                <a:spAutoFit/>
              </a:bodyPr>
              <a:lstStyle/>
              <a:p>
                <a:r>
                  <a:rPr lang="en-US" altLang="ko-KR" sz="1200" b="1">
                    <a:solidFill>
                      <a:schemeClr val="bg1"/>
                    </a:solidFill>
                  </a:rPr>
                  <a:t>Add Contents Title</a:t>
                </a:r>
                <a:endParaRPr lang="ko-KR" altLang="en-US" sz="1200" b="1">
                  <a:solidFill>
                    <a:schemeClr val="bg1"/>
                  </a:solidFill>
                </a:endParaRPr>
              </a:p>
            </p:txBody>
          </p:sp>
        </p:grpSp>
        <p:grpSp>
          <p:nvGrpSpPr>
            <p:cNvPr id="36" name="Group 35">
              <a:extLst>
                <a:ext uri="{FF2B5EF4-FFF2-40B4-BE49-F238E27FC236}">
                  <a16:creationId xmlns:a16="http://schemas.microsoft.com/office/drawing/2014/main" id="{20C82A59-E2C2-A647-926E-EEEF67CCC478}"/>
                </a:ext>
              </a:extLst>
            </p:cNvPr>
            <p:cNvGrpSpPr/>
            <p:nvPr/>
          </p:nvGrpSpPr>
          <p:grpSpPr>
            <a:xfrm>
              <a:off x="7944262" y="4982615"/>
              <a:ext cx="3434935" cy="677510"/>
              <a:chOff x="6417575" y="2011204"/>
              <a:chExt cx="2232250" cy="648844"/>
            </a:xfrm>
          </p:grpSpPr>
          <p:sp>
            <p:nvSpPr>
              <p:cNvPr id="37" name="TextBox 36">
                <a:extLst>
                  <a:ext uri="{FF2B5EF4-FFF2-40B4-BE49-F238E27FC236}">
                    <a16:creationId xmlns:a16="http://schemas.microsoft.com/office/drawing/2014/main" id="{4F72C6BA-702C-AE4F-BF1B-F3E98CA8410A}"/>
                  </a:ext>
                </a:extLst>
              </p:cNvPr>
              <p:cNvSpPr txBox="1"/>
              <p:nvPr/>
            </p:nvSpPr>
            <p:spPr>
              <a:xfrm>
                <a:off x="6417576" y="2217917"/>
                <a:ext cx="2232249" cy="442131"/>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38" name="TextBox 37">
                <a:extLst>
                  <a:ext uri="{FF2B5EF4-FFF2-40B4-BE49-F238E27FC236}">
                    <a16:creationId xmlns:a16="http://schemas.microsoft.com/office/drawing/2014/main" id="{C2FB1CFD-C46B-9642-8DF8-95CCF73E9DD9}"/>
                  </a:ext>
                </a:extLst>
              </p:cNvPr>
              <p:cNvSpPr txBox="1"/>
              <p:nvPr/>
            </p:nvSpPr>
            <p:spPr>
              <a:xfrm>
                <a:off x="6417575" y="2011204"/>
                <a:ext cx="2232249" cy="265279"/>
              </a:xfrm>
              <a:prstGeom prst="rect">
                <a:avLst/>
              </a:prstGeom>
              <a:noFill/>
            </p:spPr>
            <p:txBody>
              <a:bodyPr wrap="square" rtlCol="0">
                <a:spAutoFit/>
              </a:bodyPr>
              <a:lstStyle/>
              <a:p>
                <a:r>
                  <a:rPr lang="en-US" altLang="ko-KR" sz="1200" b="1">
                    <a:solidFill>
                      <a:schemeClr val="bg1"/>
                    </a:solidFill>
                  </a:rPr>
                  <a:t>Add Contents Title</a:t>
                </a:r>
                <a:endParaRPr lang="ko-KR" altLang="en-US" sz="1200" b="1">
                  <a:solidFill>
                    <a:schemeClr val="bg1"/>
                  </a:solidFill>
                </a:endParaRPr>
              </a:p>
            </p:txBody>
          </p:sp>
        </p:grpSp>
        <p:grpSp>
          <p:nvGrpSpPr>
            <p:cNvPr id="39" name="Group 38">
              <a:extLst>
                <a:ext uri="{FF2B5EF4-FFF2-40B4-BE49-F238E27FC236}">
                  <a16:creationId xmlns:a16="http://schemas.microsoft.com/office/drawing/2014/main" id="{39CD0E4B-37FC-E049-A132-B74F273810F3}"/>
                </a:ext>
              </a:extLst>
            </p:cNvPr>
            <p:cNvGrpSpPr/>
            <p:nvPr/>
          </p:nvGrpSpPr>
          <p:grpSpPr>
            <a:xfrm>
              <a:off x="796352" y="2167533"/>
              <a:ext cx="3376706" cy="677510"/>
              <a:chOff x="6417575" y="2011204"/>
              <a:chExt cx="2232250" cy="648844"/>
            </a:xfrm>
          </p:grpSpPr>
          <p:sp>
            <p:nvSpPr>
              <p:cNvPr id="40" name="TextBox 39">
                <a:extLst>
                  <a:ext uri="{FF2B5EF4-FFF2-40B4-BE49-F238E27FC236}">
                    <a16:creationId xmlns:a16="http://schemas.microsoft.com/office/drawing/2014/main" id="{A1EA5050-F244-5445-9C14-521996678AAF}"/>
                  </a:ext>
                </a:extLst>
              </p:cNvPr>
              <p:cNvSpPr txBox="1"/>
              <p:nvPr/>
            </p:nvSpPr>
            <p:spPr>
              <a:xfrm>
                <a:off x="6417576" y="2217917"/>
                <a:ext cx="2232249" cy="442131"/>
              </a:xfrm>
              <a:prstGeom prst="rect">
                <a:avLst/>
              </a:prstGeom>
              <a:noFill/>
            </p:spPr>
            <p:txBody>
              <a:bodyPr wrap="square" rtlCol="0">
                <a:spAutoFit/>
              </a:bodyPr>
              <a:lstStyle/>
              <a:p>
                <a:pPr algn="r"/>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41" name="TextBox 40">
                <a:extLst>
                  <a:ext uri="{FF2B5EF4-FFF2-40B4-BE49-F238E27FC236}">
                    <a16:creationId xmlns:a16="http://schemas.microsoft.com/office/drawing/2014/main" id="{C106E300-2E9D-2A4D-9FCF-DA794EBEC47F}"/>
                  </a:ext>
                </a:extLst>
              </p:cNvPr>
              <p:cNvSpPr txBox="1"/>
              <p:nvPr/>
            </p:nvSpPr>
            <p:spPr>
              <a:xfrm>
                <a:off x="6417575" y="2011204"/>
                <a:ext cx="2232249" cy="265279"/>
              </a:xfrm>
              <a:prstGeom prst="rect">
                <a:avLst/>
              </a:prstGeom>
              <a:noFill/>
            </p:spPr>
            <p:txBody>
              <a:bodyPr wrap="square" rtlCol="0">
                <a:spAutoFit/>
              </a:bodyPr>
              <a:lstStyle/>
              <a:p>
                <a:pPr algn="r"/>
                <a:r>
                  <a:rPr lang="en-US" altLang="ko-KR" sz="1200" b="1">
                    <a:solidFill>
                      <a:schemeClr val="bg1"/>
                    </a:solidFill>
                  </a:rPr>
                  <a:t>Add Contents Title</a:t>
                </a:r>
                <a:endParaRPr lang="ko-KR" altLang="en-US" sz="1200" b="1">
                  <a:solidFill>
                    <a:schemeClr val="bg1"/>
                  </a:solidFill>
                </a:endParaRPr>
              </a:p>
            </p:txBody>
          </p:sp>
        </p:grpSp>
        <p:grpSp>
          <p:nvGrpSpPr>
            <p:cNvPr id="42" name="Group 41">
              <a:extLst>
                <a:ext uri="{FF2B5EF4-FFF2-40B4-BE49-F238E27FC236}">
                  <a16:creationId xmlns:a16="http://schemas.microsoft.com/office/drawing/2014/main" id="{FCEEE482-CC06-3C4B-A322-EF59C02C9FBA}"/>
                </a:ext>
              </a:extLst>
            </p:cNvPr>
            <p:cNvGrpSpPr/>
            <p:nvPr/>
          </p:nvGrpSpPr>
          <p:grpSpPr>
            <a:xfrm>
              <a:off x="801836" y="3115827"/>
              <a:ext cx="3376706" cy="677510"/>
              <a:chOff x="6417575" y="2011204"/>
              <a:chExt cx="2232250" cy="648844"/>
            </a:xfrm>
          </p:grpSpPr>
          <p:sp>
            <p:nvSpPr>
              <p:cNvPr id="43" name="TextBox 42">
                <a:extLst>
                  <a:ext uri="{FF2B5EF4-FFF2-40B4-BE49-F238E27FC236}">
                    <a16:creationId xmlns:a16="http://schemas.microsoft.com/office/drawing/2014/main" id="{41475FD4-65E5-8347-B01E-DC36072BD3B0}"/>
                  </a:ext>
                </a:extLst>
              </p:cNvPr>
              <p:cNvSpPr txBox="1"/>
              <p:nvPr/>
            </p:nvSpPr>
            <p:spPr>
              <a:xfrm>
                <a:off x="6417576" y="2217917"/>
                <a:ext cx="2232249" cy="442131"/>
              </a:xfrm>
              <a:prstGeom prst="rect">
                <a:avLst/>
              </a:prstGeom>
              <a:noFill/>
            </p:spPr>
            <p:txBody>
              <a:bodyPr wrap="square" rtlCol="0">
                <a:spAutoFit/>
              </a:bodyPr>
              <a:lstStyle/>
              <a:p>
                <a:pPr algn="r"/>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44" name="TextBox 43">
                <a:extLst>
                  <a:ext uri="{FF2B5EF4-FFF2-40B4-BE49-F238E27FC236}">
                    <a16:creationId xmlns:a16="http://schemas.microsoft.com/office/drawing/2014/main" id="{BAABB9DE-36F7-FE45-997A-8688BEAB10E0}"/>
                  </a:ext>
                </a:extLst>
              </p:cNvPr>
              <p:cNvSpPr txBox="1"/>
              <p:nvPr/>
            </p:nvSpPr>
            <p:spPr>
              <a:xfrm>
                <a:off x="6417575" y="2011204"/>
                <a:ext cx="2232249" cy="265279"/>
              </a:xfrm>
              <a:prstGeom prst="rect">
                <a:avLst/>
              </a:prstGeom>
              <a:noFill/>
            </p:spPr>
            <p:txBody>
              <a:bodyPr wrap="square" rtlCol="0">
                <a:spAutoFit/>
              </a:bodyPr>
              <a:lstStyle/>
              <a:p>
                <a:pPr algn="r"/>
                <a:r>
                  <a:rPr lang="en-US" altLang="ko-KR" sz="1200" b="1">
                    <a:solidFill>
                      <a:schemeClr val="bg1"/>
                    </a:solidFill>
                  </a:rPr>
                  <a:t>Add Contents Title</a:t>
                </a:r>
                <a:endParaRPr lang="ko-KR" altLang="en-US" sz="1200" b="1">
                  <a:solidFill>
                    <a:schemeClr val="bg1"/>
                  </a:solidFill>
                </a:endParaRPr>
              </a:p>
            </p:txBody>
          </p:sp>
        </p:grpSp>
        <p:grpSp>
          <p:nvGrpSpPr>
            <p:cNvPr id="45" name="Group 44">
              <a:extLst>
                <a:ext uri="{FF2B5EF4-FFF2-40B4-BE49-F238E27FC236}">
                  <a16:creationId xmlns:a16="http://schemas.microsoft.com/office/drawing/2014/main" id="{E74C4C32-0CFE-B14E-9CBF-2D58B809D7B3}"/>
                </a:ext>
              </a:extLst>
            </p:cNvPr>
            <p:cNvGrpSpPr/>
            <p:nvPr/>
          </p:nvGrpSpPr>
          <p:grpSpPr>
            <a:xfrm>
              <a:off x="807318" y="4055243"/>
              <a:ext cx="3376706" cy="677510"/>
              <a:chOff x="6417575" y="2011204"/>
              <a:chExt cx="2232250" cy="648844"/>
            </a:xfrm>
          </p:grpSpPr>
          <p:sp>
            <p:nvSpPr>
              <p:cNvPr id="46" name="TextBox 45">
                <a:extLst>
                  <a:ext uri="{FF2B5EF4-FFF2-40B4-BE49-F238E27FC236}">
                    <a16:creationId xmlns:a16="http://schemas.microsoft.com/office/drawing/2014/main" id="{DBC422AA-DE92-774E-B1CC-2E8E9082C788}"/>
                  </a:ext>
                </a:extLst>
              </p:cNvPr>
              <p:cNvSpPr txBox="1"/>
              <p:nvPr/>
            </p:nvSpPr>
            <p:spPr>
              <a:xfrm>
                <a:off x="6417576" y="2217917"/>
                <a:ext cx="2232249" cy="442131"/>
              </a:xfrm>
              <a:prstGeom prst="rect">
                <a:avLst/>
              </a:prstGeom>
              <a:noFill/>
            </p:spPr>
            <p:txBody>
              <a:bodyPr wrap="square" rtlCol="0">
                <a:spAutoFit/>
              </a:bodyPr>
              <a:lstStyle/>
              <a:p>
                <a:pPr algn="r"/>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47" name="TextBox 46">
                <a:extLst>
                  <a:ext uri="{FF2B5EF4-FFF2-40B4-BE49-F238E27FC236}">
                    <a16:creationId xmlns:a16="http://schemas.microsoft.com/office/drawing/2014/main" id="{A2186664-0425-B643-9BA8-FE3B844712B0}"/>
                  </a:ext>
                </a:extLst>
              </p:cNvPr>
              <p:cNvSpPr txBox="1"/>
              <p:nvPr/>
            </p:nvSpPr>
            <p:spPr>
              <a:xfrm>
                <a:off x="6417575" y="2011204"/>
                <a:ext cx="2232249" cy="265279"/>
              </a:xfrm>
              <a:prstGeom prst="rect">
                <a:avLst/>
              </a:prstGeom>
              <a:noFill/>
            </p:spPr>
            <p:txBody>
              <a:bodyPr wrap="square" rtlCol="0">
                <a:spAutoFit/>
              </a:bodyPr>
              <a:lstStyle/>
              <a:p>
                <a:pPr algn="r"/>
                <a:r>
                  <a:rPr lang="en-US" altLang="ko-KR" sz="1200" b="1">
                    <a:solidFill>
                      <a:schemeClr val="bg1"/>
                    </a:solidFill>
                  </a:rPr>
                  <a:t>Add Contents Title</a:t>
                </a:r>
                <a:endParaRPr lang="ko-KR" altLang="en-US" sz="1200" b="1">
                  <a:solidFill>
                    <a:schemeClr val="bg1"/>
                  </a:solidFill>
                </a:endParaRPr>
              </a:p>
            </p:txBody>
          </p:sp>
        </p:grpSp>
        <p:grpSp>
          <p:nvGrpSpPr>
            <p:cNvPr id="48" name="Group 47">
              <a:extLst>
                <a:ext uri="{FF2B5EF4-FFF2-40B4-BE49-F238E27FC236}">
                  <a16:creationId xmlns:a16="http://schemas.microsoft.com/office/drawing/2014/main" id="{91339CAA-A86A-6342-962E-C513941CDA0C}"/>
                </a:ext>
              </a:extLst>
            </p:cNvPr>
            <p:cNvGrpSpPr/>
            <p:nvPr/>
          </p:nvGrpSpPr>
          <p:grpSpPr>
            <a:xfrm>
              <a:off x="812802" y="4994659"/>
              <a:ext cx="3376706" cy="677510"/>
              <a:chOff x="6417575" y="2011204"/>
              <a:chExt cx="2232250" cy="648844"/>
            </a:xfrm>
          </p:grpSpPr>
          <p:sp>
            <p:nvSpPr>
              <p:cNvPr id="49" name="TextBox 48">
                <a:extLst>
                  <a:ext uri="{FF2B5EF4-FFF2-40B4-BE49-F238E27FC236}">
                    <a16:creationId xmlns:a16="http://schemas.microsoft.com/office/drawing/2014/main" id="{42912101-8447-AA42-BAA1-603F00DEF3D2}"/>
                  </a:ext>
                </a:extLst>
              </p:cNvPr>
              <p:cNvSpPr txBox="1"/>
              <p:nvPr/>
            </p:nvSpPr>
            <p:spPr>
              <a:xfrm>
                <a:off x="6417576" y="2217917"/>
                <a:ext cx="2232249" cy="442131"/>
              </a:xfrm>
              <a:prstGeom prst="rect">
                <a:avLst/>
              </a:prstGeom>
              <a:noFill/>
            </p:spPr>
            <p:txBody>
              <a:bodyPr wrap="square" rtlCol="0">
                <a:spAutoFit/>
              </a:bodyPr>
              <a:lstStyle/>
              <a:p>
                <a:pPr algn="r"/>
                <a:r>
                  <a:rPr lang="en-US" altLang="ko-KR" sz="1200">
                    <a:solidFill>
                      <a:schemeClr val="bg1"/>
                    </a:solidFill>
                    <a:cs typeface="Arial" pitchFamily="34" charset="0"/>
                  </a:rPr>
                  <a:t>You can simply impress your audience and add a unique zing and appeal to your Presentations.</a:t>
                </a:r>
                <a:endParaRPr lang="ko-KR" altLang="en-US" sz="1200">
                  <a:solidFill>
                    <a:schemeClr val="bg1"/>
                  </a:solidFill>
                </a:endParaRPr>
              </a:p>
            </p:txBody>
          </p:sp>
          <p:sp>
            <p:nvSpPr>
              <p:cNvPr id="50" name="TextBox 49">
                <a:extLst>
                  <a:ext uri="{FF2B5EF4-FFF2-40B4-BE49-F238E27FC236}">
                    <a16:creationId xmlns:a16="http://schemas.microsoft.com/office/drawing/2014/main" id="{5F635B12-7780-4F44-879D-1C0009B0B455}"/>
                  </a:ext>
                </a:extLst>
              </p:cNvPr>
              <p:cNvSpPr txBox="1"/>
              <p:nvPr/>
            </p:nvSpPr>
            <p:spPr>
              <a:xfrm>
                <a:off x="6417575" y="2011204"/>
                <a:ext cx="2232249" cy="265279"/>
              </a:xfrm>
              <a:prstGeom prst="rect">
                <a:avLst/>
              </a:prstGeom>
              <a:noFill/>
            </p:spPr>
            <p:txBody>
              <a:bodyPr wrap="square" rtlCol="0">
                <a:spAutoFit/>
              </a:bodyPr>
              <a:lstStyle/>
              <a:p>
                <a:pPr algn="r"/>
                <a:r>
                  <a:rPr lang="en-US" altLang="ko-KR" sz="1200" b="1">
                    <a:solidFill>
                      <a:schemeClr val="bg1"/>
                    </a:solidFill>
                  </a:rPr>
                  <a:t>Add Contents Title</a:t>
                </a:r>
                <a:endParaRPr lang="ko-KR" altLang="en-US" sz="1200" b="1">
                  <a:solidFill>
                    <a:schemeClr val="bg1"/>
                  </a:solidFill>
                </a:endParaRPr>
              </a:p>
            </p:txBody>
          </p:sp>
        </p:grpSp>
        <p:grpSp>
          <p:nvGrpSpPr>
            <p:cNvPr id="51" name="Group 50">
              <a:extLst>
                <a:ext uri="{FF2B5EF4-FFF2-40B4-BE49-F238E27FC236}">
                  <a16:creationId xmlns:a16="http://schemas.microsoft.com/office/drawing/2014/main" id="{A8B6F430-40DF-C94E-9C3F-77D26BD1BDB9}"/>
                </a:ext>
              </a:extLst>
            </p:cNvPr>
            <p:cNvGrpSpPr/>
            <p:nvPr/>
          </p:nvGrpSpPr>
          <p:grpSpPr>
            <a:xfrm>
              <a:off x="4973772" y="2797798"/>
              <a:ext cx="2237674" cy="2237674"/>
              <a:chOff x="3467528" y="2657377"/>
              <a:chExt cx="2237674" cy="2237674"/>
            </a:xfrm>
          </p:grpSpPr>
          <p:grpSp>
            <p:nvGrpSpPr>
              <p:cNvPr id="52" name="Group 51">
                <a:extLst>
                  <a:ext uri="{FF2B5EF4-FFF2-40B4-BE49-F238E27FC236}">
                    <a16:creationId xmlns:a16="http://schemas.microsoft.com/office/drawing/2014/main" id="{E1AB2495-998C-EC46-A99A-44E578FB5EB6}"/>
                  </a:ext>
                </a:extLst>
              </p:cNvPr>
              <p:cNvGrpSpPr/>
              <p:nvPr/>
            </p:nvGrpSpPr>
            <p:grpSpPr>
              <a:xfrm>
                <a:off x="3467528" y="2657377"/>
                <a:ext cx="2237674" cy="2237674"/>
                <a:chOff x="3436380" y="2612003"/>
                <a:chExt cx="2237674" cy="2237674"/>
              </a:xfrm>
            </p:grpSpPr>
            <p:sp>
              <p:nvSpPr>
                <p:cNvPr id="54" name="Oval 53">
                  <a:extLst>
                    <a:ext uri="{FF2B5EF4-FFF2-40B4-BE49-F238E27FC236}">
                      <a16:creationId xmlns:a16="http://schemas.microsoft.com/office/drawing/2014/main" id="{7BD60B4B-E220-F44C-9244-4EF7CEDD768C}"/>
                    </a:ext>
                  </a:extLst>
                </p:cNvPr>
                <p:cNvSpPr/>
                <p:nvPr/>
              </p:nvSpPr>
              <p:spPr>
                <a:xfrm>
                  <a:off x="3436380" y="2612003"/>
                  <a:ext cx="2237674" cy="2237674"/>
                </a:xfrm>
                <a:prstGeom prst="ellipse">
                  <a:avLst/>
                </a:prstGeom>
                <a:solidFill>
                  <a:schemeClr val="bg1">
                    <a:alpha val="57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5" name="Oval 54">
                  <a:extLst>
                    <a:ext uri="{FF2B5EF4-FFF2-40B4-BE49-F238E27FC236}">
                      <a16:creationId xmlns:a16="http://schemas.microsoft.com/office/drawing/2014/main" id="{2F211921-FA06-7B4C-9B44-F3DD9767B04E}"/>
                    </a:ext>
                  </a:extLst>
                </p:cNvPr>
                <p:cNvSpPr/>
                <p:nvPr/>
              </p:nvSpPr>
              <p:spPr>
                <a:xfrm>
                  <a:off x="3914050" y="3089673"/>
                  <a:ext cx="1282335" cy="128233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3" name="Oval 52">
                <a:extLst>
                  <a:ext uri="{FF2B5EF4-FFF2-40B4-BE49-F238E27FC236}">
                    <a16:creationId xmlns:a16="http://schemas.microsoft.com/office/drawing/2014/main" id="{30C98196-5C2E-644E-961A-CFAC9382DE24}"/>
                  </a:ext>
                </a:extLst>
              </p:cNvPr>
              <p:cNvSpPr/>
              <p:nvPr/>
            </p:nvSpPr>
            <p:spPr>
              <a:xfrm>
                <a:off x="3695636" y="2885485"/>
                <a:ext cx="1781460" cy="1781460"/>
              </a:xfrm>
              <a:prstGeom prst="ellipse">
                <a:avLst/>
              </a:prstGeom>
              <a:noFill/>
              <a:ln w="19050">
                <a:solidFill>
                  <a:schemeClr val="bg1">
                    <a:lumMod val="8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6" name="TextBox 55">
              <a:extLst>
                <a:ext uri="{FF2B5EF4-FFF2-40B4-BE49-F238E27FC236}">
                  <a16:creationId xmlns:a16="http://schemas.microsoft.com/office/drawing/2014/main" id="{325E4C2B-7C8B-C94F-98E0-5CED0B4DB205}"/>
                </a:ext>
              </a:extLst>
            </p:cNvPr>
            <p:cNvSpPr txBox="1"/>
            <p:nvPr/>
          </p:nvSpPr>
          <p:spPr>
            <a:xfrm>
              <a:off x="5451960" y="3640446"/>
              <a:ext cx="1281819" cy="584775"/>
            </a:xfrm>
            <a:prstGeom prst="rect">
              <a:avLst/>
            </a:prstGeom>
            <a:noFill/>
          </p:spPr>
          <p:txBody>
            <a:bodyPr wrap="square" rtlCol="0">
              <a:spAutoFit/>
            </a:bodyPr>
            <a:lstStyle/>
            <a:p>
              <a:pPr algn="ctr"/>
              <a:r>
                <a:rPr lang="en-US" altLang="ko-KR" sz="1600" b="1">
                  <a:solidFill>
                    <a:schemeClr val="bg1"/>
                  </a:solidFill>
                </a:rPr>
                <a:t>Contents</a:t>
              </a:r>
            </a:p>
            <a:p>
              <a:pPr algn="ctr"/>
              <a:r>
                <a:rPr lang="en-US" altLang="ko-KR" sz="1600" b="1">
                  <a:solidFill>
                    <a:schemeClr val="bg1"/>
                  </a:solidFill>
                </a:rPr>
                <a:t>Title</a:t>
              </a:r>
              <a:endParaRPr lang="ko-KR" altLang="en-US" sz="1600" b="1">
                <a:solidFill>
                  <a:schemeClr val="bg1"/>
                </a:solidFill>
              </a:endParaRPr>
            </a:p>
          </p:txBody>
        </p:sp>
        <p:sp>
          <p:nvSpPr>
            <p:cNvPr id="57" name="TextBox 56">
              <a:extLst>
                <a:ext uri="{FF2B5EF4-FFF2-40B4-BE49-F238E27FC236}">
                  <a16:creationId xmlns:a16="http://schemas.microsoft.com/office/drawing/2014/main" id="{49121EC6-2589-C544-9ED1-4C400021195D}"/>
                </a:ext>
              </a:extLst>
            </p:cNvPr>
            <p:cNvSpPr txBox="1"/>
            <p:nvPr/>
          </p:nvSpPr>
          <p:spPr>
            <a:xfrm>
              <a:off x="4876592" y="1880552"/>
              <a:ext cx="2418372" cy="646331"/>
            </a:xfrm>
            <a:prstGeom prst="rect">
              <a:avLst/>
            </a:prstGeom>
            <a:noFill/>
          </p:spPr>
          <p:txBody>
            <a:bodyPr wrap="square" rtlCol="0">
              <a:spAutoFit/>
            </a:bodyPr>
            <a:lstStyle/>
            <a:p>
              <a:pPr algn="ctr"/>
              <a:r>
                <a:rPr lang="en-US" altLang="ko-KR" b="1">
                  <a:solidFill>
                    <a:schemeClr val="tx1">
                      <a:lumMod val="75000"/>
                      <a:lumOff val="25000"/>
                    </a:schemeClr>
                  </a:solidFill>
                </a:rPr>
                <a:t>Add Contents</a:t>
              </a:r>
            </a:p>
            <a:p>
              <a:pPr algn="ctr"/>
              <a:r>
                <a:rPr lang="en-US" altLang="ko-KR" b="1">
                  <a:solidFill>
                    <a:schemeClr val="tx1">
                      <a:lumMod val="75000"/>
                      <a:lumOff val="25000"/>
                    </a:schemeClr>
                  </a:solidFill>
                </a:rPr>
                <a:t>Here</a:t>
              </a:r>
              <a:endParaRPr lang="ko-KR" altLang="en-US" b="1">
                <a:solidFill>
                  <a:schemeClr val="tx1">
                    <a:lumMod val="75000"/>
                    <a:lumOff val="25000"/>
                  </a:schemeClr>
                </a:solidFill>
              </a:endParaRPr>
            </a:p>
          </p:txBody>
        </p:sp>
        <p:grpSp>
          <p:nvGrpSpPr>
            <p:cNvPr id="58" name="Group 57">
              <a:extLst>
                <a:ext uri="{FF2B5EF4-FFF2-40B4-BE49-F238E27FC236}">
                  <a16:creationId xmlns:a16="http://schemas.microsoft.com/office/drawing/2014/main" id="{37A3859B-A8D0-7C40-9436-84FDC4AD73FF}"/>
                </a:ext>
              </a:extLst>
            </p:cNvPr>
            <p:cNvGrpSpPr/>
            <p:nvPr/>
          </p:nvGrpSpPr>
          <p:grpSpPr>
            <a:xfrm>
              <a:off x="4960112" y="5230177"/>
              <a:ext cx="2251334" cy="853045"/>
              <a:chOff x="1579264" y="5496925"/>
              <a:chExt cx="2251334" cy="853045"/>
            </a:xfrm>
          </p:grpSpPr>
          <p:sp>
            <p:nvSpPr>
              <p:cNvPr id="59" name="TextBox 58">
                <a:extLst>
                  <a:ext uri="{FF2B5EF4-FFF2-40B4-BE49-F238E27FC236}">
                    <a16:creationId xmlns:a16="http://schemas.microsoft.com/office/drawing/2014/main" id="{F6C02531-F820-CF4F-9A6E-55D331B3582B}"/>
                  </a:ext>
                </a:extLst>
              </p:cNvPr>
              <p:cNvSpPr txBox="1"/>
              <p:nvPr/>
            </p:nvSpPr>
            <p:spPr>
              <a:xfrm>
                <a:off x="1579265" y="5703639"/>
                <a:ext cx="2251333"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a:t>
                </a:r>
                <a:endParaRPr lang="ko-KR" altLang="en-US" sz="1200">
                  <a:solidFill>
                    <a:schemeClr val="tx1">
                      <a:lumMod val="75000"/>
                      <a:lumOff val="25000"/>
                    </a:schemeClr>
                  </a:solidFill>
                </a:endParaRPr>
              </a:p>
            </p:txBody>
          </p:sp>
          <p:sp>
            <p:nvSpPr>
              <p:cNvPr id="60" name="TextBox 59">
                <a:extLst>
                  <a:ext uri="{FF2B5EF4-FFF2-40B4-BE49-F238E27FC236}">
                    <a16:creationId xmlns:a16="http://schemas.microsoft.com/office/drawing/2014/main" id="{1386CC6E-25CD-6D4D-88E6-F970F3DD11A8}"/>
                  </a:ext>
                </a:extLst>
              </p:cNvPr>
              <p:cNvSpPr txBox="1"/>
              <p:nvPr/>
            </p:nvSpPr>
            <p:spPr>
              <a:xfrm>
                <a:off x="1579264" y="5496925"/>
                <a:ext cx="2251333" cy="276999"/>
              </a:xfrm>
              <a:prstGeom prst="rect">
                <a:avLst/>
              </a:prstGeom>
              <a:noFill/>
            </p:spPr>
            <p:txBody>
              <a:bodyPr wrap="square" rtlCol="0">
                <a:spAutoFit/>
              </a:bodyPr>
              <a:lstStyle/>
              <a:p>
                <a:pPr algn="ctr"/>
                <a:r>
                  <a:rPr lang="en-US" altLang="ko-KR" sz="1200" b="1">
                    <a:solidFill>
                      <a:schemeClr val="tx1">
                        <a:lumMod val="75000"/>
                        <a:lumOff val="25000"/>
                      </a:schemeClr>
                    </a:solidFill>
                  </a:rPr>
                  <a:t>Add Contents Title</a:t>
                </a:r>
                <a:endParaRPr lang="ko-KR" altLang="en-US" sz="1200" b="1">
                  <a:solidFill>
                    <a:schemeClr val="tx1">
                      <a:lumMod val="75000"/>
                      <a:lumOff val="25000"/>
                    </a:schemeClr>
                  </a:solidFill>
                </a:endParaRPr>
              </a:p>
            </p:txBody>
          </p:sp>
        </p:grpSp>
      </p:grpSp>
    </p:spTree>
    <p:extLst>
      <p:ext uri="{BB962C8B-B14F-4D97-AF65-F5344CB8AC3E}">
        <p14:creationId xmlns:p14="http://schemas.microsoft.com/office/powerpoint/2010/main" val="245561255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35B2A6-A13F-A449-8900-1220AD8B1ED1}"/>
              </a:ext>
            </a:extLst>
          </p:cNvPr>
          <p:cNvGraphicFramePr>
            <a:graphicFrameLocks noChangeAspect="1"/>
          </p:cNvGraphicFramePr>
          <p:nvPr>
            <p:custDataLst>
              <p:tags r:id="rId1"/>
            </p:custDataLst>
            <p:extLst>
              <p:ext uri="{D42A27DB-BD31-4B8C-83A1-F6EECF244321}">
                <p14:modId xmlns:p14="http://schemas.microsoft.com/office/powerpoint/2010/main" val="1985235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4035B2A6-A13F-A449-8900-1220AD8B1E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19108E7-5781-0945-B196-0D2CFF64E61B}"/>
              </a:ext>
            </a:extLst>
          </p:cNvPr>
          <p:cNvSpPr>
            <a:spLocks noGrp="1"/>
          </p:cNvSpPr>
          <p:nvPr>
            <p:ph type="sldNum" sz="quarter" idx="4"/>
          </p:nvPr>
        </p:nvSpPr>
        <p:spPr/>
        <p:txBody>
          <a:bodyPr/>
          <a:lstStyle/>
          <a:p>
            <a:fld id="{3D966009-6E5A-4F8C-8CA7-E37AFBF5FB92}" type="slidenum">
              <a:rPr lang="en-US" smtClean="0"/>
              <a:t>105</a:t>
            </a:fld>
            <a:endParaRPr lang="en-US"/>
          </a:p>
        </p:txBody>
      </p:sp>
      <p:sp>
        <p:nvSpPr>
          <p:cNvPr id="3" name="Title 2">
            <a:extLst>
              <a:ext uri="{FF2B5EF4-FFF2-40B4-BE49-F238E27FC236}">
                <a16:creationId xmlns:a16="http://schemas.microsoft.com/office/drawing/2014/main" id="{F972521F-9461-4340-820B-30D80091D5D3}"/>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D60E34C9-49D9-1B49-B3F1-88767E05DB10}"/>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DBFC1F6E-29E4-BC4E-97CA-85F6E42ED7BD}"/>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47FB3832-F731-E746-A07C-D9D269ACA09B}"/>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3D9D15FE-973C-804A-ACE0-4AC677D3CA08}"/>
              </a:ext>
            </a:extLst>
          </p:cNvPr>
          <p:cNvSpPr>
            <a:spLocks noGrp="1"/>
          </p:cNvSpPr>
          <p:nvPr>
            <p:ph sz="quarter" idx="14"/>
          </p:nvPr>
        </p:nvSpPr>
        <p:spPr/>
        <p:txBody>
          <a:bodyPr/>
          <a:lstStyle/>
          <a:p>
            <a:endParaRPr lang="de-DE"/>
          </a:p>
        </p:txBody>
      </p:sp>
      <p:grpSp>
        <p:nvGrpSpPr>
          <p:cNvPr id="9" name="그룹 10">
            <a:extLst>
              <a:ext uri="{FF2B5EF4-FFF2-40B4-BE49-F238E27FC236}">
                <a16:creationId xmlns:a16="http://schemas.microsoft.com/office/drawing/2014/main" id="{6B170E0A-03EC-1148-9EF5-F3F7EB47519E}"/>
              </a:ext>
            </a:extLst>
          </p:cNvPr>
          <p:cNvGrpSpPr/>
          <p:nvPr/>
        </p:nvGrpSpPr>
        <p:grpSpPr>
          <a:xfrm>
            <a:off x="3436233" y="1679531"/>
            <a:ext cx="5309791" cy="3123969"/>
            <a:chOff x="635000" y="1382713"/>
            <a:chExt cx="7869238" cy="4572000"/>
          </a:xfrm>
          <a:solidFill>
            <a:schemeClr val="bg1">
              <a:lumMod val="85000"/>
            </a:schemeClr>
          </a:solidFill>
        </p:grpSpPr>
        <p:sp>
          <p:nvSpPr>
            <p:cNvPr id="10" name="Freeform 8">
              <a:extLst>
                <a:ext uri="{FF2B5EF4-FFF2-40B4-BE49-F238E27FC236}">
                  <a16:creationId xmlns:a16="http://schemas.microsoft.com/office/drawing/2014/main" id="{89F39E47-0FEF-1740-9F28-B1950904BD69}"/>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60960" tIns="30480" rIns="60960" bIns="30480" numCol="1" anchor="t" anchorCtr="0" compatLnSpc="1">
              <a:prstTxWarp prst="textNoShape">
                <a:avLst/>
              </a:prstTxWarp>
            </a:bodyPr>
            <a:lstStyle/>
            <a:p>
              <a:endParaRPr lang="ko-KR" altLang="en-US" sz="1200"/>
            </a:p>
          </p:txBody>
        </p:sp>
        <p:sp>
          <p:nvSpPr>
            <p:cNvPr id="11" name="Freeform 9">
              <a:extLst>
                <a:ext uri="{FF2B5EF4-FFF2-40B4-BE49-F238E27FC236}">
                  <a16:creationId xmlns:a16="http://schemas.microsoft.com/office/drawing/2014/main" id="{3774BD94-898F-3E46-9C8D-A23223586106}"/>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60960" tIns="30480" rIns="60960" bIns="30480" numCol="1" anchor="t" anchorCtr="0" compatLnSpc="1">
              <a:prstTxWarp prst="textNoShape">
                <a:avLst/>
              </a:prstTxWarp>
            </a:bodyPr>
            <a:lstStyle/>
            <a:p>
              <a:endParaRPr lang="ko-KR" altLang="en-US" sz="1200"/>
            </a:p>
          </p:txBody>
        </p:sp>
        <p:sp>
          <p:nvSpPr>
            <p:cNvPr id="12" name="Freeform 10">
              <a:extLst>
                <a:ext uri="{FF2B5EF4-FFF2-40B4-BE49-F238E27FC236}">
                  <a16:creationId xmlns:a16="http://schemas.microsoft.com/office/drawing/2014/main" id="{2ACC4A89-1545-3F4D-9CD6-512A1D76ED2E}"/>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60960" tIns="30480" rIns="60960" bIns="30480" numCol="1" anchor="t" anchorCtr="0" compatLnSpc="1">
              <a:prstTxWarp prst="textNoShape">
                <a:avLst/>
              </a:prstTxWarp>
            </a:bodyPr>
            <a:lstStyle/>
            <a:p>
              <a:endParaRPr lang="ko-KR" altLang="en-US" sz="1200"/>
            </a:p>
          </p:txBody>
        </p:sp>
        <p:sp>
          <p:nvSpPr>
            <p:cNvPr id="13" name="Freeform 11">
              <a:extLst>
                <a:ext uri="{FF2B5EF4-FFF2-40B4-BE49-F238E27FC236}">
                  <a16:creationId xmlns:a16="http://schemas.microsoft.com/office/drawing/2014/main" id="{D3F12DFB-3723-C64F-8638-051AC603B3F7}"/>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60960" tIns="30480" rIns="60960" bIns="30480" numCol="1" anchor="t" anchorCtr="0" compatLnSpc="1">
              <a:prstTxWarp prst="textNoShape">
                <a:avLst/>
              </a:prstTxWarp>
            </a:bodyPr>
            <a:lstStyle/>
            <a:p>
              <a:endParaRPr lang="ko-KR" altLang="en-US" sz="1200"/>
            </a:p>
          </p:txBody>
        </p:sp>
      </p:grpSp>
      <p:grpSp>
        <p:nvGrpSpPr>
          <p:cNvPr id="15" name="그룹 4">
            <a:extLst>
              <a:ext uri="{FF2B5EF4-FFF2-40B4-BE49-F238E27FC236}">
                <a16:creationId xmlns:a16="http://schemas.microsoft.com/office/drawing/2014/main" id="{D6AE21EB-304E-034C-847F-F2BA7C44A722}"/>
              </a:ext>
            </a:extLst>
          </p:cNvPr>
          <p:cNvGrpSpPr/>
          <p:nvPr/>
        </p:nvGrpSpPr>
        <p:grpSpPr>
          <a:xfrm>
            <a:off x="1162578" y="5060893"/>
            <a:ext cx="1692000" cy="926443"/>
            <a:chOff x="1254019" y="5143184"/>
            <a:chExt cx="1692000" cy="926443"/>
          </a:xfrm>
        </p:grpSpPr>
        <p:sp>
          <p:nvSpPr>
            <p:cNvPr id="16" name="TextBox 15">
              <a:extLst>
                <a:ext uri="{FF2B5EF4-FFF2-40B4-BE49-F238E27FC236}">
                  <a16:creationId xmlns:a16="http://schemas.microsoft.com/office/drawing/2014/main" id="{F12C0FC5-E76A-654B-9EA7-24BA5298DB36}"/>
                </a:ext>
              </a:extLst>
            </p:cNvPr>
            <p:cNvSpPr txBox="1"/>
            <p:nvPr/>
          </p:nvSpPr>
          <p:spPr>
            <a:xfrm>
              <a:off x="1254019" y="5607962"/>
              <a:ext cx="1692000"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Easy to change colors, photos and Text. </a:t>
              </a:r>
              <a:endParaRPr lang="ko-KR" altLang="en-US" sz="1200">
                <a:solidFill>
                  <a:schemeClr val="tx1">
                    <a:lumMod val="75000"/>
                    <a:lumOff val="25000"/>
                  </a:schemeClr>
                </a:solidFill>
              </a:endParaRPr>
            </a:p>
          </p:txBody>
        </p:sp>
        <p:sp>
          <p:nvSpPr>
            <p:cNvPr id="17" name="TextBox 16">
              <a:extLst>
                <a:ext uri="{FF2B5EF4-FFF2-40B4-BE49-F238E27FC236}">
                  <a16:creationId xmlns:a16="http://schemas.microsoft.com/office/drawing/2014/main" id="{76532960-F696-2443-96F2-63A916861E7B}"/>
                </a:ext>
              </a:extLst>
            </p:cNvPr>
            <p:cNvSpPr txBox="1"/>
            <p:nvPr/>
          </p:nvSpPr>
          <p:spPr>
            <a:xfrm>
              <a:off x="1254019" y="5143184"/>
              <a:ext cx="1692000" cy="461665"/>
            </a:xfrm>
            <a:prstGeom prst="rect">
              <a:avLst/>
            </a:prstGeom>
            <a:noFill/>
          </p:spPr>
          <p:txBody>
            <a:bodyPr wrap="square" rtlCol="0">
              <a:spAutoFit/>
            </a:bodyPr>
            <a:lstStyle/>
            <a:p>
              <a:r>
                <a:rPr lang="en-US" altLang="ko-KR" sz="1200">
                  <a:solidFill>
                    <a:schemeClr val="tx1">
                      <a:lumMod val="75000"/>
                      <a:lumOff val="25000"/>
                    </a:schemeClr>
                  </a:solidFill>
                </a:rPr>
                <a:t>Contents </a:t>
              </a:r>
            </a:p>
            <a:p>
              <a:r>
                <a:rPr lang="en-US" altLang="ko-KR" sz="1200">
                  <a:solidFill>
                    <a:schemeClr val="tx1">
                      <a:lumMod val="75000"/>
                      <a:lumOff val="25000"/>
                    </a:schemeClr>
                  </a:solidFill>
                </a:rPr>
                <a:t>Performance</a:t>
              </a:r>
              <a:endParaRPr lang="ko-KR" altLang="en-US" sz="1200">
                <a:solidFill>
                  <a:schemeClr val="tx1">
                    <a:lumMod val="75000"/>
                    <a:lumOff val="25000"/>
                  </a:schemeClr>
                </a:solidFill>
              </a:endParaRPr>
            </a:p>
          </p:txBody>
        </p:sp>
      </p:grpSp>
      <p:grpSp>
        <p:nvGrpSpPr>
          <p:cNvPr id="19" name="그룹 6">
            <a:extLst>
              <a:ext uri="{FF2B5EF4-FFF2-40B4-BE49-F238E27FC236}">
                <a16:creationId xmlns:a16="http://schemas.microsoft.com/office/drawing/2014/main" id="{DE63E7F0-87A4-D74B-AE41-83AF7E0090D3}"/>
              </a:ext>
            </a:extLst>
          </p:cNvPr>
          <p:cNvGrpSpPr/>
          <p:nvPr/>
        </p:nvGrpSpPr>
        <p:grpSpPr>
          <a:xfrm>
            <a:off x="4002426" y="5048180"/>
            <a:ext cx="1692000" cy="926443"/>
            <a:chOff x="4530549" y="5130471"/>
            <a:chExt cx="1692000" cy="926443"/>
          </a:xfrm>
        </p:grpSpPr>
        <p:sp>
          <p:nvSpPr>
            <p:cNvPr id="20" name="TextBox 19">
              <a:extLst>
                <a:ext uri="{FF2B5EF4-FFF2-40B4-BE49-F238E27FC236}">
                  <a16:creationId xmlns:a16="http://schemas.microsoft.com/office/drawing/2014/main" id="{9402BF89-C5FF-D94A-BBF5-53D3B66CBEF9}"/>
                </a:ext>
              </a:extLst>
            </p:cNvPr>
            <p:cNvSpPr txBox="1"/>
            <p:nvPr/>
          </p:nvSpPr>
          <p:spPr>
            <a:xfrm>
              <a:off x="4530549" y="5595249"/>
              <a:ext cx="1692000"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Easy to change colors, photos and Text.</a:t>
              </a:r>
              <a:endParaRPr lang="ko-KR" altLang="en-US" sz="1200">
                <a:solidFill>
                  <a:schemeClr val="tx1">
                    <a:lumMod val="75000"/>
                    <a:lumOff val="25000"/>
                  </a:schemeClr>
                </a:solidFill>
              </a:endParaRPr>
            </a:p>
          </p:txBody>
        </p:sp>
        <p:sp>
          <p:nvSpPr>
            <p:cNvPr id="21" name="TextBox 20">
              <a:extLst>
                <a:ext uri="{FF2B5EF4-FFF2-40B4-BE49-F238E27FC236}">
                  <a16:creationId xmlns:a16="http://schemas.microsoft.com/office/drawing/2014/main" id="{5964593C-05C0-A845-B868-DDF50132C40F}"/>
                </a:ext>
              </a:extLst>
            </p:cNvPr>
            <p:cNvSpPr txBox="1"/>
            <p:nvPr/>
          </p:nvSpPr>
          <p:spPr>
            <a:xfrm>
              <a:off x="4530549" y="5130471"/>
              <a:ext cx="1692000" cy="461665"/>
            </a:xfrm>
            <a:prstGeom prst="rect">
              <a:avLst/>
            </a:prstGeom>
            <a:noFill/>
          </p:spPr>
          <p:txBody>
            <a:bodyPr wrap="square" rtlCol="0">
              <a:spAutoFit/>
            </a:bodyPr>
            <a:lstStyle/>
            <a:p>
              <a:r>
                <a:rPr lang="en-US" altLang="ko-KR" sz="1200">
                  <a:solidFill>
                    <a:schemeClr val="tx1">
                      <a:lumMod val="75000"/>
                      <a:lumOff val="25000"/>
                    </a:schemeClr>
                  </a:solidFill>
                </a:rPr>
                <a:t>Contents </a:t>
              </a:r>
            </a:p>
            <a:p>
              <a:r>
                <a:rPr lang="en-US" altLang="ko-KR" sz="1200">
                  <a:solidFill>
                    <a:schemeClr val="tx1">
                      <a:lumMod val="75000"/>
                      <a:lumOff val="25000"/>
                    </a:schemeClr>
                  </a:solidFill>
                </a:rPr>
                <a:t>Performance</a:t>
              </a:r>
              <a:endParaRPr lang="ko-KR" altLang="en-US" sz="1200">
                <a:solidFill>
                  <a:schemeClr val="tx1">
                    <a:lumMod val="75000"/>
                    <a:lumOff val="25000"/>
                  </a:schemeClr>
                </a:solidFill>
              </a:endParaRPr>
            </a:p>
          </p:txBody>
        </p:sp>
      </p:grpSp>
      <p:grpSp>
        <p:nvGrpSpPr>
          <p:cNvPr id="23" name="그룹 7">
            <a:extLst>
              <a:ext uri="{FF2B5EF4-FFF2-40B4-BE49-F238E27FC236}">
                <a16:creationId xmlns:a16="http://schemas.microsoft.com/office/drawing/2014/main" id="{A00BCEEA-98A5-B840-A116-25185737AD21}"/>
              </a:ext>
            </a:extLst>
          </p:cNvPr>
          <p:cNvGrpSpPr/>
          <p:nvPr/>
        </p:nvGrpSpPr>
        <p:grpSpPr>
          <a:xfrm>
            <a:off x="6842274" y="5044992"/>
            <a:ext cx="1692000" cy="926443"/>
            <a:chOff x="6690464" y="5127283"/>
            <a:chExt cx="1692000" cy="926443"/>
          </a:xfrm>
        </p:grpSpPr>
        <p:sp>
          <p:nvSpPr>
            <p:cNvPr id="24" name="TextBox 23">
              <a:extLst>
                <a:ext uri="{FF2B5EF4-FFF2-40B4-BE49-F238E27FC236}">
                  <a16:creationId xmlns:a16="http://schemas.microsoft.com/office/drawing/2014/main" id="{82CE8E40-15FB-3546-84CA-E65F6C8902C8}"/>
                </a:ext>
              </a:extLst>
            </p:cNvPr>
            <p:cNvSpPr txBox="1"/>
            <p:nvPr/>
          </p:nvSpPr>
          <p:spPr>
            <a:xfrm>
              <a:off x="6690464" y="5592061"/>
              <a:ext cx="1692000"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Easy to change colors, photos and Text.</a:t>
              </a:r>
              <a:endParaRPr lang="ko-KR" altLang="en-US" sz="1200">
                <a:solidFill>
                  <a:schemeClr val="tx1">
                    <a:lumMod val="75000"/>
                    <a:lumOff val="25000"/>
                  </a:schemeClr>
                </a:solidFill>
              </a:endParaRPr>
            </a:p>
          </p:txBody>
        </p:sp>
        <p:sp>
          <p:nvSpPr>
            <p:cNvPr id="25" name="TextBox 24">
              <a:extLst>
                <a:ext uri="{FF2B5EF4-FFF2-40B4-BE49-F238E27FC236}">
                  <a16:creationId xmlns:a16="http://schemas.microsoft.com/office/drawing/2014/main" id="{1BF185E0-C0B7-E745-A4D0-A51F7DEAF237}"/>
                </a:ext>
              </a:extLst>
            </p:cNvPr>
            <p:cNvSpPr txBox="1"/>
            <p:nvPr/>
          </p:nvSpPr>
          <p:spPr>
            <a:xfrm>
              <a:off x="6690464" y="5127283"/>
              <a:ext cx="1692000" cy="461665"/>
            </a:xfrm>
            <a:prstGeom prst="rect">
              <a:avLst/>
            </a:prstGeom>
            <a:noFill/>
          </p:spPr>
          <p:txBody>
            <a:bodyPr wrap="square" rtlCol="0">
              <a:spAutoFit/>
            </a:bodyPr>
            <a:lstStyle/>
            <a:p>
              <a:r>
                <a:rPr lang="en-US" altLang="ko-KR" sz="1200">
                  <a:solidFill>
                    <a:schemeClr val="tx1">
                      <a:lumMod val="75000"/>
                      <a:lumOff val="25000"/>
                    </a:schemeClr>
                  </a:solidFill>
                </a:rPr>
                <a:t>Contents </a:t>
              </a:r>
            </a:p>
            <a:p>
              <a:r>
                <a:rPr lang="en-US" altLang="ko-KR" sz="1200">
                  <a:solidFill>
                    <a:schemeClr val="tx1">
                      <a:lumMod val="75000"/>
                      <a:lumOff val="25000"/>
                    </a:schemeClr>
                  </a:solidFill>
                </a:rPr>
                <a:t>Performance</a:t>
              </a:r>
              <a:endParaRPr lang="ko-KR" altLang="en-US" sz="1200">
                <a:solidFill>
                  <a:schemeClr val="tx1">
                    <a:lumMod val="75000"/>
                    <a:lumOff val="25000"/>
                  </a:schemeClr>
                </a:solidFill>
              </a:endParaRPr>
            </a:p>
          </p:txBody>
        </p:sp>
      </p:grpSp>
      <p:grpSp>
        <p:nvGrpSpPr>
          <p:cNvPr id="27" name="그룹 8">
            <a:extLst>
              <a:ext uri="{FF2B5EF4-FFF2-40B4-BE49-F238E27FC236}">
                <a16:creationId xmlns:a16="http://schemas.microsoft.com/office/drawing/2014/main" id="{C5212113-ED9F-354C-BF11-123703478A82}"/>
              </a:ext>
            </a:extLst>
          </p:cNvPr>
          <p:cNvGrpSpPr/>
          <p:nvPr/>
        </p:nvGrpSpPr>
        <p:grpSpPr>
          <a:xfrm>
            <a:off x="9682123" y="5022754"/>
            <a:ext cx="1692000" cy="926443"/>
            <a:chOff x="8850379" y="5105045"/>
            <a:chExt cx="1692000" cy="926443"/>
          </a:xfrm>
        </p:grpSpPr>
        <p:sp>
          <p:nvSpPr>
            <p:cNvPr id="28" name="TextBox 27">
              <a:extLst>
                <a:ext uri="{FF2B5EF4-FFF2-40B4-BE49-F238E27FC236}">
                  <a16:creationId xmlns:a16="http://schemas.microsoft.com/office/drawing/2014/main" id="{7A5D8E60-288C-9142-9FE7-1125401D2767}"/>
                </a:ext>
              </a:extLst>
            </p:cNvPr>
            <p:cNvSpPr txBox="1"/>
            <p:nvPr/>
          </p:nvSpPr>
          <p:spPr>
            <a:xfrm>
              <a:off x="8850379" y="5569823"/>
              <a:ext cx="1692000"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Easy to change colors, photos and Text.</a:t>
              </a:r>
              <a:endParaRPr lang="ko-KR" altLang="en-US" sz="1200">
                <a:solidFill>
                  <a:schemeClr val="tx1">
                    <a:lumMod val="75000"/>
                    <a:lumOff val="25000"/>
                  </a:schemeClr>
                </a:solidFill>
              </a:endParaRPr>
            </a:p>
          </p:txBody>
        </p:sp>
        <p:sp>
          <p:nvSpPr>
            <p:cNvPr id="29" name="TextBox 28">
              <a:extLst>
                <a:ext uri="{FF2B5EF4-FFF2-40B4-BE49-F238E27FC236}">
                  <a16:creationId xmlns:a16="http://schemas.microsoft.com/office/drawing/2014/main" id="{69D5971E-8BC7-1D4A-9DF2-FBD10595D0AF}"/>
                </a:ext>
              </a:extLst>
            </p:cNvPr>
            <p:cNvSpPr txBox="1"/>
            <p:nvPr/>
          </p:nvSpPr>
          <p:spPr>
            <a:xfrm>
              <a:off x="8850379" y="5105045"/>
              <a:ext cx="1692000" cy="461665"/>
            </a:xfrm>
            <a:prstGeom prst="rect">
              <a:avLst/>
            </a:prstGeom>
            <a:noFill/>
          </p:spPr>
          <p:txBody>
            <a:bodyPr wrap="square" rtlCol="0">
              <a:spAutoFit/>
            </a:bodyPr>
            <a:lstStyle/>
            <a:p>
              <a:r>
                <a:rPr lang="en-US" altLang="ko-KR" sz="1200">
                  <a:solidFill>
                    <a:schemeClr val="tx1">
                      <a:lumMod val="75000"/>
                      <a:lumOff val="25000"/>
                    </a:schemeClr>
                  </a:solidFill>
                </a:rPr>
                <a:t>Contents </a:t>
              </a:r>
            </a:p>
            <a:p>
              <a:r>
                <a:rPr lang="en-US" altLang="ko-KR" sz="1200">
                  <a:solidFill>
                    <a:schemeClr val="tx1">
                      <a:lumMod val="75000"/>
                      <a:lumOff val="25000"/>
                    </a:schemeClr>
                  </a:solidFill>
                </a:rPr>
                <a:t>Performance</a:t>
              </a:r>
              <a:endParaRPr lang="ko-KR" altLang="en-US" sz="1200">
                <a:solidFill>
                  <a:schemeClr val="tx1">
                    <a:lumMod val="75000"/>
                    <a:lumOff val="25000"/>
                  </a:schemeClr>
                </a:solidFill>
              </a:endParaRPr>
            </a:p>
          </p:txBody>
        </p:sp>
      </p:grpSp>
      <p:sp>
        <p:nvSpPr>
          <p:cNvPr id="30" name="Oval 29">
            <a:extLst>
              <a:ext uri="{FF2B5EF4-FFF2-40B4-BE49-F238E27FC236}">
                <a16:creationId xmlns:a16="http://schemas.microsoft.com/office/drawing/2014/main" id="{76780A10-B40D-034D-9180-4204D269B599}"/>
              </a:ext>
            </a:extLst>
          </p:cNvPr>
          <p:cNvSpPr/>
          <p:nvPr/>
        </p:nvSpPr>
        <p:spPr>
          <a:xfrm>
            <a:off x="3750854" y="2282966"/>
            <a:ext cx="1008112" cy="1008112"/>
          </a:xfrm>
          <a:prstGeom prst="ellipse">
            <a:avLst/>
          </a:prstGeom>
          <a:solidFill>
            <a:srgbClr val="333657">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31" name="Elbow Connector 5">
            <a:extLst>
              <a:ext uri="{FF2B5EF4-FFF2-40B4-BE49-F238E27FC236}">
                <a16:creationId xmlns:a16="http://schemas.microsoft.com/office/drawing/2014/main" id="{9C1A8506-BBE4-7A4C-893E-8270C9A793CE}"/>
              </a:ext>
            </a:extLst>
          </p:cNvPr>
          <p:cNvCxnSpPr>
            <a:cxnSpLocks/>
            <a:stCxn id="34" idx="0"/>
            <a:endCxn id="30" idx="0"/>
          </p:cNvCxnSpPr>
          <p:nvPr/>
        </p:nvCxnSpPr>
        <p:spPr>
          <a:xfrm rot="5400000" flipH="1" flipV="1">
            <a:off x="3074235" y="1262440"/>
            <a:ext cx="160148" cy="2201201"/>
          </a:xfrm>
          <a:prstGeom prst="bentConnector3">
            <a:avLst>
              <a:gd name="adj1" fmla="val 242743"/>
            </a:avLst>
          </a:prstGeom>
          <a:ln w="19050">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aphicFrame>
        <p:nvGraphicFramePr>
          <p:cNvPr id="32" name="Chart 7">
            <a:extLst>
              <a:ext uri="{FF2B5EF4-FFF2-40B4-BE49-F238E27FC236}">
                <a16:creationId xmlns:a16="http://schemas.microsoft.com/office/drawing/2014/main" id="{9D235049-C519-6842-B42B-DF485F084019}"/>
              </a:ext>
            </a:extLst>
          </p:cNvPr>
          <p:cNvGraphicFramePr/>
          <p:nvPr>
            <p:extLst>
              <p:ext uri="{D42A27DB-BD31-4B8C-83A1-F6EECF244321}">
                <p14:modId xmlns:p14="http://schemas.microsoft.com/office/powerpoint/2010/main" val="3316175649"/>
              </p:ext>
            </p:extLst>
          </p:nvPr>
        </p:nvGraphicFramePr>
        <p:xfrm>
          <a:off x="538810" y="2285435"/>
          <a:ext cx="924253" cy="995730"/>
        </p:xfrm>
        <a:graphic>
          <a:graphicData uri="http://schemas.openxmlformats.org/drawingml/2006/chart">
            <c:chart xmlns:c="http://schemas.openxmlformats.org/drawingml/2006/chart" xmlns:r="http://schemas.openxmlformats.org/officeDocument/2006/relationships" r:id="rId5"/>
          </a:graphicData>
        </a:graphic>
      </p:graphicFrame>
      <p:grpSp>
        <p:nvGrpSpPr>
          <p:cNvPr id="33" name="그룹 9">
            <a:extLst>
              <a:ext uri="{FF2B5EF4-FFF2-40B4-BE49-F238E27FC236}">
                <a16:creationId xmlns:a16="http://schemas.microsoft.com/office/drawing/2014/main" id="{7E58DC80-016C-9D4F-9A65-B9B3A9D89120}"/>
              </a:ext>
            </a:extLst>
          </p:cNvPr>
          <p:cNvGrpSpPr/>
          <p:nvPr/>
        </p:nvGrpSpPr>
        <p:grpSpPr>
          <a:xfrm>
            <a:off x="1369709" y="2443114"/>
            <a:ext cx="1368000" cy="680372"/>
            <a:chOff x="1461150" y="2929298"/>
            <a:chExt cx="1368000" cy="680372"/>
          </a:xfrm>
        </p:grpSpPr>
        <p:sp>
          <p:nvSpPr>
            <p:cNvPr id="34" name="TextBox 33">
              <a:extLst>
                <a:ext uri="{FF2B5EF4-FFF2-40B4-BE49-F238E27FC236}">
                  <a16:creationId xmlns:a16="http://schemas.microsoft.com/office/drawing/2014/main" id="{2B7FAAFB-FFB7-E343-932F-E7F80FF6FAC3}"/>
                </a:ext>
              </a:extLst>
            </p:cNvPr>
            <p:cNvSpPr txBox="1"/>
            <p:nvPr/>
          </p:nvSpPr>
          <p:spPr>
            <a:xfrm>
              <a:off x="1461150" y="2929298"/>
              <a:ext cx="1368000" cy="276999"/>
            </a:xfrm>
            <a:prstGeom prst="rect">
              <a:avLst/>
            </a:prstGeom>
            <a:noFill/>
          </p:spPr>
          <p:txBody>
            <a:bodyPr wrap="square" rtlCol="0">
              <a:spAutoFit/>
            </a:bodyPr>
            <a:lstStyle/>
            <a:p>
              <a:r>
                <a:rPr lang="en-US" altLang="ko-KR" sz="1200">
                  <a:solidFill>
                    <a:schemeClr val="tx1">
                      <a:lumMod val="75000"/>
                      <a:lumOff val="25000"/>
                    </a:schemeClr>
                  </a:solidFill>
                </a:rPr>
                <a:t>Country</a:t>
              </a:r>
            </a:p>
          </p:txBody>
        </p:sp>
        <p:sp>
          <p:nvSpPr>
            <p:cNvPr id="35" name="TextBox 34">
              <a:extLst>
                <a:ext uri="{FF2B5EF4-FFF2-40B4-BE49-F238E27FC236}">
                  <a16:creationId xmlns:a16="http://schemas.microsoft.com/office/drawing/2014/main" id="{22201842-E68B-1246-B97F-20B967EC2F7E}"/>
                </a:ext>
              </a:extLst>
            </p:cNvPr>
            <p:cNvSpPr txBox="1"/>
            <p:nvPr/>
          </p:nvSpPr>
          <p:spPr>
            <a:xfrm>
              <a:off x="1461150" y="3148005"/>
              <a:ext cx="1368000" cy="461665"/>
            </a:xfrm>
            <a:prstGeom prst="rect">
              <a:avLst/>
            </a:prstGeom>
            <a:noFill/>
          </p:spPr>
          <p:txBody>
            <a:bodyPr wrap="square" rtlCol="0">
              <a:spAutoFit/>
            </a:bodyPr>
            <a:lstStyle/>
            <a:p>
              <a:r>
                <a:rPr lang="en-US" altLang="ko-KR" sz="1200">
                  <a:solidFill>
                    <a:schemeClr val="tx1">
                      <a:lumMod val="75000"/>
                      <a:lumOff val="25000"/>
                    </a:schemeClr>
                  </a:solidFill>
                </a:rPr>
                <a:t>Data_01 : 12,000</a:t>
              </a:r>
            </a:p>
            <a:p>
              <a:r>
                <a:rPr lang="en-US" altLang="ko-KR" sz="1200">
                  <a:solidFill>
                    <a:schemeClr val="tx1">
                      <a:lumMod val="75000"/>
                      <a:lumOff val="25000"/>
                    </a:schemeClr>
                  </a:solidFill>
                </a:rPr>
                <a:t>Data_02 : 23,300</a:t>
              </a:r>
              <a:endParaRPr lang="ko-KR" altLang="en-US" sz="1200">
                <a:solidFill>
                  <a:schemeClr val="tx1">
                    <a:lumMod val="75000"/>
                    <a:lumOff val="25000"/>
                  </a:schemeClr>
                </a:solidFill>
              </a:endParaRPr>
            </a:p>
          </p:txBody>
        </p:sp>
      </p:grpSp>
      <p:sp>
        <p:nvSpPr>
          <p:cNvPr id="36" name="Oval 35">
            <a:extLst>
              <a:ext uri="{FF2B5EF4-FFF2-40B4-BE49-F238E27FC236}">
                <a16:creationId xmlns:a16="http://schemas.microsoft.com/office/drawing/2014/main" id="{3BD69A58-0B68-1D42-BE0B-BE39EB3E510C}"/>
              </a:ext>
            </a:extLst>
          </p:cNvPr>
          <p:cNvSpPr/>
          <p:nvPr/>
        </p:nvSpPr>
        <p:spPr>
          <a:xfrm>
            <a:off x="4630296" y="3451249"/>
            <a:ext cx="1008112" cy="1008112"/>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37" name="Elbow Connector 97">
            <a:extLst>
              <a:ext uri="{FF2B5EF4-FFF2-40B4-BE49-F238E27FC236}">
                <a16:creationId xmlns:a16="http://schemas.microsoft.com/office/drawing/2014/main" id="{B9A45D4B-B155-8248-8C9C-85E7F12FDE30}"/>
              </a:ext>
            </a:extLst>
          </p:cNvPr>
          <p:cNvCxnSpPr>
            <a:cxnSpLocks/>
            <a:stCxn id="40" idx="2"/>
            <a:endCxn id="36" idx="4"/>
          </p:cNvCxnSpPr>
          <p:nvPr/>
        </p:nvCxnSpPr>
        <p:spPr>
          <a:xfrm rot="16200000" flipH="1">
            <a:off x="3499358" y="2824366"/>
            <a:ext cx="189345" cy="3080643"/>
          </a:xfrm>
          <a:prstGeom prst="bentConnector3">
            <a:avLst>
              <a:gd name="adj1" fmla="val 220732"/>
            </a:avLst>
          </a:prstGeom>
          <a:ln w="19050">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38" name="그룹 10">
            <a:extLst>
              <a:ext uri="{FF2B5EF4-FFF2-40B4-BE49-F238E27FC236}">
                <a16:creationId xmlns:a16="http://schemas.microsoft.com/office/drawing/2014/main" id="{99AAD401-77C8-C74E-A31B-F0EA4283FF9D}"/>
              </a:ext>
            </a:extLst>
          </p:cNvPr>
          <p:cNvGrpSpPr/>
          <p:nvPr/>
        </p:nvGrpSpPr>
        <p:grpSpPr>
          <a:xfrm>
            <a:off x="1369709" y="3589644"/>
            <a:ext cx="1368000" cy="680372"/>
            <a:chOff x="1461150" y="3733768"/>
            <a:chExt cx="1368000" cy="680372"/>
          </a:xfrm>
        </p:grpSpPr>
        <p:sp>
          <p:nvSpPr>
            <p:cNvPr id="39" name="TextBox 38">
              <a:extLst>
                <a:ext uri="{FF2B5EF4-FFF2-40B4-BE49-F238E27FC236}">
                  <a16:creationId xmlns:a16="http://schemas.microsoft.com/office/drawing/2014/main" id="{500DA433-3F4D-B649-8100-7D874CF03D23}"/>
                </a:ext>
              </a:extLst>
            </p:cNvPr>
            <p:cNvSpPr txBox="1"/>
            <p:nvPr/>
          </p:nvSpPr>
          <p:spPr>
            <a:xfrm>
              <a:off x="1461150" y="3733768"/>
              <a:ext cx="1368000" cy="276999"/>
            </a:xfrm>
            <a:prstGeom prst="rect">
              <a:avLst/>
            </a:prstGeom>
            <a:noFill/>
          </p:spPr>
          <p:txBody>
            <a:bodyPr wrap="square" rtlCol="0">
              <a:spAutoFit/>
            </a:bodyPr>
            <a:lstStyle/>
            <a:p>
              <a:r>
                <a:rPr lang="en-US" altLang="ko-KR" sz="1200">
                  <a:solidFill>
                    <a:schemeClr val="tx1">
                      <a:lumMod val="75000"/>
                      <a:lumOff val="25000"/>
                    </a:schemeClr>
                  </a:solidFill>
                </a:rPr>
                <a:t>Country</a:t>
              </a:r>
            </a:p>
          </p:txBody>
        </p:sp>
        <p:sp>
          <p:nvSpPr>
            <p:cNvPr id="40" name="TextBox 39">
              <a:extLst>
                <a:ext uri="{FF2B5EF4-FFF2-40B4-BE49-F238E27FC236}">
                  <a16:creationId xmlns:a16="http://schemas.microsoft.com/office/drawing/2014/main" id="{FEC5E45C-D7FE-AD4F-A31E-85B843E6823F}"/>
                </a:ext>
              </a:extLst>
            </p:cNvPr>
            <p:cNvSpPr txBox="1"/>
            <p:nvPr/>
          </p:nvSpPr>
          <p:spPr>
            <a:xfrm>
              <a:off x="1461150" y="3952475"/>
              <a:ext cx="1368000" cy="461665"/>
            </a:xfrm>
            <a:prstGeom prst="rect">
              <a:avLst/>
            </a:prstGeom>
            <a:noFill/>
          </p:spPr>
          <p:txBody>
            <a:bodyPr wrap="square" rtlCol="0">
              <a:spAutoFit/>
            </a:bodyPr>
            <a:lstStyle/>
            <a:p>
              <a:r>
                <a:rPr lang="en-US" altLang="ko-KR" sz="1200">
                  <a:solidFill>
                    <a:schemeClr val="tx1">
                      <a:lumMod val="75000"/>
                      <a:lumOff val="25000"/>
                    </a:schemeClr>
                  </a:solidFill>
                </a:rPr>
                <a:t>Data_01 : 12,000</a:t>
              </a:r>
            </a:p>
            <a:p>
              <a:r>
                <a:rPr lang="en-US" altLang="ko-KR" sz="1200">
                  <a:solidFill>
                    <a:schemeClr val="tx1">
                      <a:lumMod val="75000"/>
                      <a:lumOff val="25000"/>
                    </a:schemeClr>
                  </a:solidFill>
                </a:rPr>
                <a:t>Data_02 : 23,300</a:t>
              </a:r>
              <a:endParaRPr lang="ko-KR" altLang="en-US" sz="1200">
                <a:solidFill>
                  <a:schemeClr val="tx1">
                    <a:lumMod val="75000"/>
                    <a:lumOff val="25000"/>
                  </a:schemeClr>
                </a:solidFill>
              </a:endParaRPr>
            </a:p>
          </p:txBody>
        </p:sp>
      </p:grpSp>
      <p:sp>
        <p:nvSpPr>
          <p:cNvPr id="41" name="Oval 40">
            <a:extLst>
              <a:ext uri="{FF2B5EF4-FFF2-40B4-BE49-F238E27FC236}">
                <a16:creationId xmlns:a16="http://schemas.microsoft.com/office/drawing/2014/main" id="{7B2EC76A-5FE3-F34C-BFB3-4B4F7A0503B3}"/>
              </a:ext>
            </a:extLst>
          </p:cNvPr>
          <p:cNvSpPr/>
          <p:nvPr/>
        </p:nvSpPr>
        <p:spPr>
          <a:xfrm>
            <a:off x="5884825" y="2091803"/>
            <a:ext cx="1008112" cy="1008112"/>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42" name="Elbow Connector 117">
            <a:extLst>
              <a:ext uri="{FF2B5EF4-FFF2-40B4-BE49-F238E27FC236}">
                <a16:creationId xmlns:a16="http://schemas.microsoft.com/office/drawing/2014/main" id="{D146CDBE-67DC-8742-ABFF-8467B843DBE0}"/>
              </a:ext>
            </a:extLst>
          </p:cNvPr>
          <p:cNvCxnSpPr>
            <a:cxnSpLocks/>
            <a:stCxn id="46" idx="0"/>
            <a:endCxn id="41" idx="0"/>
          </p:cNvCxnSpPr>
          <p:nvPr/>
        </p:nvCxnSpPr>
        <p:spPr>
          <a:xfrm rot="16200000" flipV="1">
            <a:off x="8007122" y="473563"/>
            <a:ext cx="351311" cy="3587792"/>
          </a:xfrm>
          <a:prstGeom prst="bentConnector3">
            <a:avLst>
              <a:gd name="adj1" fmla="val 165071"/>
            </a:avLst>
          </a:prstGeom>
          <a:ln w="19050">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FF05900-D010-7846-B2BE-A285058481CC}"/>
              </a:ext>
            </a:extLst>
          </p:cNvPr>
          <p:cNvSpPr/>
          <p:nvPr/>
        </p:nvSpPr>
        <p:spPr>
          <a:xfrm>
            <a:off x="7456174" y="3686949"/>
            <a:ext cx="1008112" cy="1008112"/>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44" name="Elbow Connector 119">
            <a:extLst>
              <a:ext uri="{FF2B5EF4-FFF2-40B4-BE49-F238E27FC236}">
                <a16:creationId xmlns:a16="http://schemas.microsoft.com/office/drawing/2014/main" id="{2701AB9C-0B76-964F-B63D-3007249FEDB9}"/>
              </a:ext>
            </a:extLst>
          </p:cNvPr>
          <p:cNvCxnSpPr>
            <a:cxnSpLocks/>
            <a:stCxn id="50" idx="2"/>
            <a:endCxn id="43" idx="4"/>
          </p:cNvCxnSpPr>
          <p:nvPr/>
        </p:nvCxnSpPr>
        <p:spPr>
          <a:xfrm rot="5400000">
            <a:off x="8757701" y="3472546"/>
            <a:ext cx="425045" cy="2019985"/>
          </a:xfrm>
          <a:prstGeom prst="bentConnector3">
            <a:avLst>
              <a:gd name="adj1" fmla="val 153783"/>
            </a:avLst>
          </a:prstGeom>
          <a:ln w="19050">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45" name="그룹 11">
            <a:extLst>
              <a:ext uri="{FF2B5EF4-FFF2-40B4-BE49-F238E27FC236}">
                <a16:creationId xmlns:a16="http://schemas.microsoft.com/office/drawing/2014/main" id="{EDE0ED8C-ED90-AA4E-AB33-0F8226F13404}"/>
              </a:ext>
            </a:extLst>
          </p:cNvPr>
          <p:cNvGrpSpPr/>
          <p:nvPr/>
        </p:nvGrpSpPr>
        <p:grpSpPr>
          <a:xfrm>
            <a:off x="9292673" y="2443114"/>
            <a:ext cx="1368000" cy="680372"/>
            <a:chOff x="9384114" y="2697830"/>
            <a:chExt cx="1368000" cy="680372"/>
          </a:xfrm>
        </p:grpSpPr>
        <p:sp>
          <p:nvSpPr>
            <p:cNvPr id="46" name="TextBox 45">
              <a:extLst>
                <a:ext uri="{FF2B5EF4-FFF2-40B4-BE49-F238E27FC236}">
                  <a16:creationId xmlns:a16="http://schemas.microsoft.com/office/drawing/2014/main" id="{937D0173-1EB6-224F-9B44-D3A17E3AB1C0}"/>
                </a:ext>
              </a:extLst>
            </p:cNvPr>
            <p:cNvSpPr txBox="1"/>
            <p:nvPr/>
          </p:nvSpPr>
          <p:spPr>
            <a:xfrm>
              <a:off x="9384114" y="2697830"/>
              <a:ext cx="1368000" cy="276999"/>
            </a:xfrm>
            <a:prstGeom prst="rect">
              <a:avLst/>
            </a:prstGeom>
            <a:noFill/>
          </p:spPr>
          <p:txBody>
            <a:bodyPr wrap="square" rtlCol="0">
              <a:spAutoFit/>
            </a:bodyPr>
            <a:lstStyle/>
            <a:p>
              <a:pPr algn="r"/>
              <a:r>
                <a:rPr lang="en-US" altLang="ko-KR" sz="1200">
                  <a:solidFill>
                    <a:schemeClr val="tx1">
                      <a:lumMod val="75000"/>
                      <a:lumOff val="25000"/>
                    </a:schemeClr>
                  </a:solidFill>
                </a:rPr>
                <a:t>Country</a:t>
              </a:r>
            </a:p>
          </p:txBody>
        </p:sp>
        <p:sp>
          <p:nvSpPr>
            <p:cNvPr id="47" name="TextBox 46">
              <a:extLst>
                <a:ext uri="{FF2B5EF4-FFF2-40B4-BE49-F238E27FC236}">
                  <a16:creationId xmlns:a16="http://schemas.microsoft.com/office/drawing/2014/main" id="{16915CB0-9F6C-5242-872C-888E832C1343}"/>
                </a:ext>
              </a:extLst>
            </p:cNvPr>
            <p:cNvSpPr txBox="1"/>
            <p:nvPr/>
          </p:nvSpPr>
          <p:spPr>
            <a:xfrm>
              <a:off x="9384114" y="2916537"/>
              <a:ext cx="1368000" cy="461665"/>
            </a:xfrm>
            <a:prstGeom prst="rect">
              <a:avLst/>
            </a:prstGeom>
            <a:noFill/>
          </p:spPr>
          <p:txBody>
            <a:bodyPr wrap="square" rtlCol="0">
              <a:spAutoFit/>
            </a:bodyPr>
            <a:lstStyle/>
            <a:p>
              <a:pPr algn="r"/>
              <a:r>
                <a:rPr lang="en-US" altLang="ko-KR" sz="1200">
                  <a:solidFill>
                    <a:schemeClr val="tx1">
                      <a:lumMod val="75000"/>
                      <a:lumOff val="25000"/>
                    </a:schemeClr>
                  </a:solidFill>
                </a:rPr>
                <a:t>Data_01 : 12,000</a:t>
              </a:r>
            </a:p>
            <a:p>
              <a:pPr algn="r"/>
              <a:r>
                <a:rPr lang="en-US" altLang="ko-KR" sz="1200">
                  <a:solidFill>
                    <a:schemeClr val="tx1">
                      <a:lumMod val="75000"/>
                      <a:lumOff val="25000"/>
                    </a:schemeClr>
                  </a:solidFill>
                </a:rPr>
                <a:t>Data_02 : 23,300</a:t>
              </a:r>
              <a:endParaRPr lang="ko-KR" altLang="en-US" sz="1200">
                <a:solidFill>
                  <a:schemeClr val="tx1">
                    <a:lumMod val="75000"/>
                    <a:lumOff val="25000"/>
                  </a:schemeClr>
                </a:solidFill>
              </a:endParaRPr>
            </a:p>
          </p:txBody>
        </p:sp>
      </p:grpSp>
      <p:grpSp>
        <p:nvGrpSpPr>
          <p:cNvPr id="48" name="그룹 12">
            <a:extLst>
              <a:ext uri="{FF2B5EF4-FFF2-40B4-BE49-F238E27FC236}">
                <a16:creationId xmlns:a16="http://schemas.microsoft.com/office/drawing/2014/main" id="{D44312C3-73E5-2440-87BB-B186100C464B}"/>
              </a:ext>
            </a:extLst>
          </p:cNvPr>
          <p:cNvGrpSpPr/>
          <p:nvPr/>
        </p:nvGrpSpPr>
        <p:grpSpPr>
          <a:xfrm>
            <a:off x="9296215" y="3589644"/>
            <a:ext cx="1368000" cy="680372"/>
            <a:chOff x="9387656" y="3672034"/>
            <a:chExt cx="1368000" cy="680372"/>
          </a:xfrm>
        </p:grpSpPr>
        <p:sp>
          <p:nvSpPr>
            <p:cNvPr id="49" name="TextBox 48">
              <a:extLst>
                <a:ext uri="{FF2B5EF4-FFF2-40B4-BE49-F238E27FC236}">
                  <a16:creationId xmlns:a16="http://schemas.microsoft.com/office/drawing/2014/main" id="{5F312EB6-0720-FB4E-9874-634EE13B7555}"/>
                </a:ext>
              </a:extLst>
            </p:cNvPr>
            <p:cNvSpPr txBox="1"/>
            <p:nvPr/>
          </p:nvSpPr>
          <p:spPr>
            <a:xfrm>
              <a:off x="9387656" y="3672034"/>
              <a:ext cx="1368000" cy="276999"/>
            </a:xfrm>
            <a:prstGeom prst="rect">
              <a:avLst/>
            </a:prstGeom>
            <a:noFill/>
          </p:spPr>
          <p:txBody>
            <a:bodyPr wrap="square" rtlCol="0">
              <a:spAutoFit/>
            </a:bodyPr>
            <a:lstStyle/>
            <a:p>
              <a:pPr algn="r"/>
              <a:r>
                <a:rPr lang="en-US" altLang="ko-KR" sz="1200">
                  <a:solidFill>
                    <a:schemeClr val="tx1">
                      <a:lumMod val="75000"/>
                      <a:lumOff val="25000"/>
                    </a:schemeClr>
                  </a:solidFill>
                </a:rPr>
                <a:t>Country</a:t>
              </a:r>
            </a:p>
          </p:txBody>
        </p:sp>
        <p:sp>
          <p:nvSpPr>
            <p:cNvPr id="50" name="TextBox 49">
              <a:extLst>
                <a:ext uri="{FF2B5EF4-FFF2-40B4-BE49-F238E27FC236}">
                  <a16:creationId xmlns:a16="http://schemas.microsoft.com/office/drawing/2014/main" id="{E4B5D4C2-0A46-8B45-9F15-1AC6FBA8DAD2}"/>
                </a:ext>
              </a:extLst>
            </p:cNvPr>
            <p:cNvSpPr txBox="1"/>
            <p:nvPr/>
          </p:nvSpPr>
          <p:spPr>
            <a:xfrm>
              <a:off x="9387656" y="3890741"/>
              <a:ext cx="1368000" cy="461665"/>
            </a:xfrm>
            <a:prstGeom prst="rect">
              <a:avLst/>
            </a:prstGeom>
            <a:noFill/>
          </p:spPr>
          <p:txBody>
            <a:bodyPr wrap="square" rtlCol="0">
              <a:spAutoFit/>
            </a:bodyPr>
            <a:lstStyle/>
            <a:p>
              <a:pPr algn="r"/>
              <a:r>
                <a:rPr lang="en-US" altLang="ko-KR" sz="1200">
                  <a:solidFill>
                    <a:schemeClr val="tx1">
                      <a:lumMod val="75000"/>
                      <a:lumOff val="25000"/>
                    </a:schemeClr>
                  </a:solidFill>
                </a:rPr>
                <a:t>Data_01 : 12,000</a:t>
              </a:r>
            </a:p>
            <a:p>
              <a:pPr algn="r"/>
              <a:r>
                <a:rPr lang="en-US" altLang="ko-KR" sz="1200">
                  <a:solidFill>
                    <a:schemeClr val="tx1">
                      <a:lumMod val="75000"/>
                      <a:lumOff val="25000"/>
                    </a:schemeClr>
                  </a:solidFill>
                </a:rPr>
                <a:t>Data_02 : 23,300</a:t>
              </a:r>
              <a:endParaRPr lang="ko-KR" altLang="en-US" sz="1200">
                <a:solidFill>
                  <a:schemeClr val="tx1">
                    <a:lumMod val="75000"/>
                    <a:lumOff val="25000"/>
                  </a:schemeClr>
                </a:solidFill>
              </a:endParaRPr>
            </a:p>
          </p:txBody>
        </p:sp>
      </p:grpSp>
      <p:sp>
        <p:nvSpPr>
          <p:cNvPr id="54" name="Freeform 22">
            <a:extLst>
              <a:ext uri="{FF2B5EF4-FFF2-40B4-BE49-F238E27FC236}">
                <a16:creationId xmlns:a16="http://schemas.microsoft.com/office/drawing/2014/main" id="{04514170-70C3-8B44-BB9D-3140CFA53E2D}"/>
              </a:ext>
            </a:extLst>
          </p:cNvPr>
          <p:cNvSpPr>
            <a:spLocks noChangeAspect="1"/>
          </p:cNvSpPr>
          <p:nvPr/>
        </p:nvSpPr>
        <p:spPr>
          <a:xfrm rot="8580000">
            <a:off x="3556612" y="5105583"/>
            <a:ext cx="313884" cy="313047"/>
          </a:xfrm>
          <a:custGeom>
            <a:avLst/>
            <a:gdLst/>
            <a:ahLst/>
            <a:cxnLst/>
            <a:rect l="l" t="t" r="r" b="b"/>
            <a:pathLst>
              <a:path w="3872365" h="3862045">
                <a:moveTo>
                  <a:pt x="1786489" y="808318"/>
                </a:moveTo>
                <a:cubicBezTo>
                  <a:pt x="1525809" y="610106"/>
                  <a:pt x="1257124" y="397966"/>
                  <a:pt x="1040385" y="230829"/>
                </a:cubicBezTo>
                <a:cubicBezTo>
                  <a:pt x="1905215" y="-194386"/>
                  <a:pt x="2650439" y="24572"/>
                  <a:pt x="3162062" y="429660"/>
                </a:cubicBezTo>
                <a:cubicBezTo>
                  <a:pt x="3007351" y="875340"/>
                  <a:pt x="2905932" y="1443216"/>
                  <a:pt x="2745609" y="1410478"/>
                </a:cubicBezTo>
                <a:cubicBezTo>
                  <a:pt x="2633182" y="1430335"/>
                  <a:pt x="2220955" y="1138671"/>
                  <a:pt x="1786489" y="808318"/>
                </a:cubicBezTo>
                <a:close/>
                <a:moveTo>
                  <a:pt x="2701004" y="2590217"/>
                </a:moveTo>
                <a:cubicBezTo>
                  <a:pt x="2682933" y="2576481"/>
                  <a:pt x="2672282" y="2559744"/>
                  <a:pt x="2670336" y="2539383"/>
                </a:cubicBezTo>
                <a:cubicBezTo>
                  <a:pt x="2587360" y="2376647"/>
                  <a:pt x="3042640" y="1246798"/>
                  <a:pt x="3299881" y="563773"/>
                </a:cubicBezTo>
                <a:cubicBezTo>
                  <a:pt x="3959368" y="1266493"/>
                  <a:pt x="3967860" y="2043171"/>
                  <a:pt x="3730056" y="2650875"/>
                </a:cubicBezTo>
                <a:cubicBezTo>
                  <a:pt x="3317547" y="2635434"/>
                  <a:pt x="2827499" y="2686366"/>
                  <a:pt x="2701004" y="2590217"/>
                </a:cubicBezTo>
                <a:close/>
                <a:moveTo>
                  <a:pt x="19691" y="2248546"/>
                </a:moveTo>
                <a:cubicBezTo>
                  <a:pt x="-100797" y="1292396"/>
                  <a:pt x="348853" y="659059"/>
                  <a:pt x="898439" y="307194"/>
                </a:cubicBezTo>
                <a:cubicBezTo>
                  <a:pt x="1269469" y="598575"/>
                  <a:pt x="1773388" y="879352"/>
                  <a:pt x="1690237" y="1020281"/>
                </a:cubicBezTo>
                <a:cubicBezTo>
                  <a:pt x="1661713" y="1200709"/>
                  <a:pt x="629275" y="1847170"/>
                  <a:pt x="19691" y="2248546"/>
                </a:cubicBezTo>
                <a:close/>
                <a:moveTo>
                  <a:pt x="1805382" y="3858278"/>
                </a:moveTo>
                <a:cubicBezTo>
                  <a:pt x="1676483" y="3404460"/>
                  <a:pt x="1433840" y="2881111"/>
                  <a:pt x="1583946" y="2815971"/>
                </a:cubicBezTo>
                <a:cubicBezTo>
                  <a:pt x="1713076" y="2686769"/>
                  <a:pt x="2928316" y="2770622"/>
                  <a:pt x="3657403" y="2804207"/>
                </a:cubicBezTo>
                <a:cubicBezTo>
                  <a:pt x="3192869" y="3648569"/>
                  <a:pt x="2456828" y="3896652"/>
                  <a:pt x="1805382" y="3858278"/>
                </a:cubicBezTo>
                <a:close/>
                <a:moveTo>
                  <a:pt x="762284" y="3480575"/>
                </a:moveTo>
                <a:cubicBezTo>
                  <a:pt x="380940" y="3198297"/>
                  <a:pt x="161300" y="2806810"/>
                  <a:pt x="58293" y="2412172"/>
                </a:cubicBezTo>
                <a:cubicBezTo>
                  <a:pt x="450067" y="2149344"/>
                  <a:pt x="872820" y="1756853"/>
                  <a:pt x="981158" y="1879484"/>
                </a:cubicBezTo>
                <a:cubicBezTo>
                  <a:pt x="1143940" y="1962367"/>
                  <a:pt x="1439720" y="3144041"/>
                  <a:pt x="1633080" y="3847823"/>
                </a:cubicBezTo>
                <a:cubicBezTo>
                  <a:pt x="1278110" y="3779994"/>
                  <a:pt x="991090" y="3649942"/>
                  <a:pt x="762284" y="348057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graphicFrame>
        <p:nvGraphicFramePr>
          <p:cNvPr id="55" name="Chart 7">
            <a:extLst>
              <a:ext uri="{FF2B5EF4-FFF2-40B4-BE49-F238E27FC236}">
                <a16:creationId xmlns:a16="http://schemas.microsoft.com/office/drawing/2014/main" id="{B7FC5D5A-33F8-BE4B-8D37-AA9123BDD58A}"/>
              </a:ext>
            </a:extLst>
          </p:cNvPr>
          <p:cNvGraphicFramePr/>
          <p:nvPr>
            <p:extLst>
              <p:ext uri="{D42A27DB-BD31-4B8C-83A1-F6EECF244321}">
                <p14:modId xmlns:p14="http://schemas.microsoft.com/office/powerpoint/2010/main" val="4246229964"/>
              </p:ext>
            </p:extLst>
          </p:nvPr>
        </p:nvGraphicFramePr>
        <p:xfrm>
          <a:off x="10567603" y="3431965"/>
          <a:ext cx="924253" cy="9957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6" name="Chart 7">
            <a:extLst>
              <a:ext uri="{FF2B5EF4-FFF2-40B4-BE49-F238E27FC236}">
                <a16:creationId xmlns:a16="http://schemas.microsoft.com/office/drawing/2014/main" id="{212AD288-D426-234B-B3A1-A0684C2F037D}"/>
              </a:ext>
            </a:extLst>
          </p:cNvPr>
          <p:cNvGraphicFramePr/>
          <p:nvPr>
            <p:extLst>
              <p:ext uri="{D42A27DB-BD31-4B8C-83A1-F6EECF244321}">
                <p14:modId xmlns:p14="http://schemas.microsoft.com/office/powerpoint/2010/main" val="890020316"/>
              </p:ext>
            </p:extLst>
          </p:nvPr>
        </p:nvGraphicFramePr>
        <p:xfrm>
          <a:off x="10567603" y="2285435"/>
          <a:ext cx="924253" cy="99573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7" name="Chart 7">
            <a:extLst>
              <a:ext uri="{FF2B5EF4-FFF2-40B4-BE49-F238E27FC236}">
                <a16:creationId xmlns:a16="http://schemas.microsoft.com/office/drawing/2014/main" id="{DE6DCA25-8CFA-E74D-908A-3E75F0899331}"/>
              </a:ext>
            </a:extLst>
          </p:cNvPr>
          <p:cNvGraphicFramePr/>
          <p:nvPr>
            <p:extLst>
              <p:ext uri="{D42A27DB-BD31-4B8C-83A1-F6EECF244321}">
                <p14:modId xmlns:p14="http://schemas.microsoft.com/office/powerpoint/2010/main" val="3403965177"/>
              </p:ext>
            </p:extLst>
          </p:nvPr>
        </p:nvGraphicFramePr>
        <p:xfrm>
          <a:off x="541455" y="3431965"/>
          <a:ext cx="924253" cy="995730"/>
        </p:xfrm>
        <a:graphic>
          <a:graphicData uri="http://schemas.openxmlformats.org/drawingml/2006/chart">
            <c:chart xmlns:c="http://schemas.openxmlformats.org/drawingml/2006/chart" xmlns:r="http://schemas.openxmlformats.org/officeDocument/2006/relationships" r:id="rId8"/>
          </a:graphicData>
        </a:graphic>
      </p:graphicFrame>
      <p:sp>
        <p:nvSpPr>
          <p:cNvPr id="58" name="Oval 57">
            <a:extLst>
              <a:ext uri="{FF2B5EF4-FFF2-40B4-BE49-F238E27FC236}">
                <a16:creationId xmlns:a16="http://schemas.microsoft.com/office/drawing/2014/main" id="{289F05BF-E28C-4849-BD93-8AEB5F081A6E}"/>
              </a:ext>
            </a:extLst>
          </p:cNvPr>
          <p:cNvSpPr/>
          <p:nvPr/>
        </p:nvSpPr>
        <p:spPr>
          <a:xfrm>
            <a:off x="741607" y="5089676"/>
            <a:ext cx="351656" cy="344859"/>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59" name="Oval 58">
            <a:extLst>
              <a:ext uri="{FF2B5EF4-FFF2-40B4-BE49-F238E27FC236}">
                <a16:creationId xmlns:a16="http://schemas.microsoft.com/office/drawing/2014/main" id="{BB5B6217-CC3B-1E44-BE4A-8B2666E84312}"/>
              </a:ext>
            </a:extLst>
          </p:cNvPr>
          <p:cNvSpPr/>
          <p:nvPr/>
        </p:nvSpPr>
        <p:spPr>
          <a:xfrm>
            <a:off x="3661788" y="5089676"/>
            <a:ext cx="351656" cy="344859"/>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60" name="Oval 59">
            <a:extLst>
              <a:ext uri="{FF2B5EF4-FFF2-40B4-BE49-F238E27FC236}">
                <a16:creationId xmlns:a16="http://schemas.microsoft.com/office/drawing/2014/main" id="{C40BBE80-E727-6043-AC74-D66A140C5F4E}"/>
              </a:ext>
            </a:extLst>
          </p:cNvPr>
          <p:cNvSpPr/>
          <p:nvPr/>
        </p:nvSpPr>
        <p:spPr>
          <a:xfrm>
            <a:off x="6463982" y="5089676"/>
            <a:ext cx="351656" cy="344859"/>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61" name="Oval 60">
            <a:extLst>
              <a:ext uri="{FF2B5EF4-FFF2-40B4-BE49-F238E27FC236}">
                <a16:creationId xmlns:a16="http://schemas.microsoft.com/office/drawing/2014/main" id="{FDC31A64-5A2C-9F4F-B84F-67F29C8A2B5E}"/>
              </a:ext>
            </a:extLst>
          </p:cNvPr>
          <p:cNvSpPr/>
          <p:nvPr/>
        </p:nvSpPr>
        <p:spPr>
          <a:xfrm>
            <a:off x="9295672" y="5089676"/>
            <a:ext cx="351656" cy="344859"/>
          </a:xfrm>
          <a:prstGeom prst="ellipse">
            <a:avLst/>
          </a:prstGeom>
          <a:solidFill>
            <a:srgbClr val="8D8EA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Tree>
    <p:extLst>
      <p:ext uri="{BB962C8B-B14F-4D97-AF65-F5344CB8AC3E}">
        <p14:creationId xmlns:p14="http://schemas.microsoft.com/office/powerpoint/2010/main" val="20052671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3E7F57-782F-DA49-AAAE-A33FCDD964D7}"/>
              </a:ext>
            </a:extLst>
          </p:cNvPr>
          <p:cNvGraphicFramePr>
            <a:graphicFrameLocks noChangeAspect="1"/>
          </p:cNvGraphicFramePr>
          <p:nvPr>
            <p:custDataLst>
              <p:tags r:id="rId1"/>
            </p:custDataLst>
            <p:extLst>
              <p:ext uri="{D42A27DB-BD31-4B8C-83A1-F6EECF244321}">
                <p14:modId xmlns:p14="http://schemas.microsoft.com/office/powerpoint/2010/main" val="1438211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5C3E7F57-782F-DA49-AAAE-A33FCDD964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CAEDB26-1019-7045-8417-E51D8812D52B}"/>
              </a:ext>
            </a:extLst>
          </p:cNvPr>
          <p:cNvSpPr>
            <a:spLocks noGrp="1"/>
          </p:cNvSpPr>
          <p:nvPr>
            <p:ph type="sldNum" sz="quarter" idx="4"/>
          </p:nvPr>
        </p:nvSpPr>
        <p:spPr/>
        <p:txBody>
          <a:bodyPr/>
          <a:lstStyle/>
          <a:p>
            <a:fld id="{3D966009-6E5A-4F8C-8CA7-E37AFBF5FB92}" type="slidenum">
              <a:rPr lang="en-US" smtClean="0"/>
              <a:t>106</a:t>
            </a:fld>
            <a:endParaRPr lang="en-US"/>
          </a:p>
        </p:txBody>
      </p:sp>
      <p:sp>
        <p:nvSpPr>
          <p:cNvPr id="3" name="Title 2">
            <a:extLst>
              <a:ext uri="{FF2B5EF4-FFF2-40B4-BE49-F238E27FC236}">
                <a16:creationId xmlns:a16="http://schemas.microsoft.com/office/drawing/2014/main" id="{99BD8DC4-FB47-3F48-86EA-E1B57E93E189}"/>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77396C33-D14F-7D4A-89B8-3A0663E8786D}"/>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22C631FF-E9A8-0B4F-B55A-ADDF16C1EFB5}"/>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5B56E03E-23EF-994A-89EE-D1607E26504E}"/>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E11F361C-4DB7-4745-974D-A9572BA0F1C2}"/>
              </a:ext>
            </a:extLst>
          </p:cNvPr>
          <p:cNvSpPr>
            <a:spLocks noGrp="1"/>
          </p:cNvSpPr>
          <p:nvPr>
            <p:ph sz="quarter" idx="14"/>
          </p:nvPr>
        </p:nvSpPr>
        <p:spPr/>
        <p:txBody>
          <a:bodyPr/>
          <a:lstStyle/>
          <a:p>
            <a:endParaRPr lang="de-DE"/>
          </a:p>
        </p:txBody>
      </p:sp>
      <p:sp>
        <p:nvSpPr>
          <p:cNvPr id="89" name="TextBox 88">
            <a:extLst>
              <a:ext uri="{FF2B5EF4-FFF2-40B4-BE49-F238E27FC236}">
                <a16:creationId xmlns:a16="http://schemas.microsoft.com/office/drawing/2014/main" id="{93C039C6-62DD-B24A-AE57-7151F61F1CF0}"/>
              </a:ext>
            </a:extLst>
          </p:cNvPr>
          <p:cNvSpPr txBox="1"/>
          <p:nvPr/>
        </p:nvSpPr>
        <p:spPr>
          <a:xfrm>
            <a:off x="360132" y="3105856"/>
            <a:ext cx="4688254" cy="1200329"/>
          </a:xfrm>
          <a:prstGeom prst="rect">
            <a:avLst/>
          </a:prstGeom>
          <a:noFill/>
        </p:spPr>
        <p:txBody>
          <a:bodyPr wrap="square" rtlCol="0">
            <a:spAutoFit/>
          </a:bodyPr>
          <a:lstStyle/>
          <a:p>
            <a:pPr latinLnBrk="1"/>
            <a:r>
              <a:rPr lang="en-US" altLang="ko-KR" sz="1200">
                <a:solidFill>
                  <a:prstClr val="black">
                    <a:lumMod val="75000"/>
                    <a:lumOff val="25000"/>
                  </a:prstClr>
                </a:solidFill>
                <a:ea typeface="Arial Unicode MS"/>
                <a:cs typeface="Arial" pitchFamily="34" charset="0"/>
              </a:rPr>
              <a:t>This PowerPoint Template has clean and neutral design that can be adapted to any content and meets various market segments. With this many slides you are able to make a complete PowerPoint Presentation that best suit your needs. </a:t>
            </a:r>
          </a:p>
          <a:p>
            <a:pPr latinLnBrk="1"/>
            <a:endParaRPr lang="en-US" altLang="ko-KR" sz="1200">
              <a:solidFill>
                <a:prstClr val="black">
                  <a:lumMod val="75000"/>
                  <a:lumOff val="25000"/>
                </a:prstClr>
              </a:solidFill>
              <a:ea typeface="Arial Unicode MS"/>
              <a:cs typeface="Arial" pitchFamily="34" charset="0"/>
            </a:endParaRPr>
          </a:p>
          <a:p>
            <a:pPr latinLnBrk="1"/>
            <a:r>
              <a:rPr lang="en-US" altLang="ko-KR" sz="1200">
                <a:solidFill>
                  <a:prstClr val="black">
                    <a:lumMod val="75000"/>
                    <a:lumOff val="25000"/>
                  </a:prstClr>
                </a:solidFill>
                <a:ea typeface="Arial Unicode MS"/>
                <a:cs typeface="Arial" pitchFamily="34" charset="0"/>
              </a:rPr>
              <a:t>You can simply impress your audience and add a unique zing.</a:t>
            </a:r>
            <a:endParaRPr lang="ko-KR" altLang="en-US" sz="1200">
              <a:solidFill>
                <a:prstClr val="black">
                  <a:lumMod val="75000"/>
                  <a:lumOff val="25000"/>
                </a:prstClr>
              </a:solidFill>
              <a:ea typeface="Arial Unicode MS"/>
              <a:cs typeface="Arial" pitchFamily="34" charset="0"/>
            </a:endParaRPr>
          </a:p>
        </p:txBody>
      </p:sp>
      <p:sp>
        <p:nvSpPr>
          <p:cNvPr id="90" name="TextBox 89">
            <a:extLst>
              <a:ext uri="{FF2B5EF4-FFF2-40B4-BE49-F238E27FC236}">
                <a16:creationId xmlns:a16="http://schemas.microsoft.com/office/drawing/2014/main" id="{B4E5CED7-84FB-FF4C-9364-5CB263C9F02A}"/>
              </a:ext>
            </a:extLst>
          </p:cNvPr>
          <p:cNvSpPr txBox="1"/>
          <p:nvPr/>
        </p:nvSpPr>
        <p:spPr>
          <a:xfrm>
            <a:off x="1296236" y="2362636"/>
            <a:ext cx="2824422" cy="461665"/>
          </a:xfrm>
          <a:prstGeom prst="rect">
            <a:avLst/>
          </a:prstGeom>
          <a:noFill/>
        </p:spPr>
        <p:txBody>
          <a:bodyPr wrap="square" rtlCol="0">
            <a:spAutoFit/>
          </a:bodyPr>
          <a:lstStyle/>
          <a:p>
            <a:pPr latinLnBrk="1"/>
            <a:r>
              <a:rPr lang="en-US" altLang="ko-KR" sz="1200">
                <a:solidFill>
                  <a:prstClr val="black">
                    <a:lumMod val="75000"/>
                    <a:lumOff val="25000"/>
                  </a:prstClr>
                </a:solidFill>
                <a:ea typeface="Arial Unicode MS"/>
                <a:cs typeface="Arial" pitchFamily="34" charset="0"/>
              </a:rPr>
              <a:t>You can simply impress your audience and add a unique zing.</a:t>
            </a:r>
            <a:endParaRPr lang="ko-KR" altLang="en-US" sz="1200">
              <a:solidFill>
                <a:prstClr val="black">
                  <a:lumMod val="75000"/>
                  <a:lumOff val="25000"/>
                </a:prstClr>
              </a:solidFill>
              <a:ea typeface="Arial Unicode MS"/>
              <a:cs typeface="Arial" pitchFamily="34" charset="0"/>
            </a:endParaRPr>
          </a:p>
        </p:txBody>
      </p:sp>
      <p:sp>
        <p:nvSpPr>
          <p:cNvPr id="91" name="TextBox 90">
            <a:extLst>
              <a:ext uri="{FF2B5EF4-FFF2-40B4-BE49-F238E27FC236}">
                <a16:creationId xmlns:a16="http://schemas.microsoft.com/office/drawing/2014/main" id="{836C2164-9400-3741-9561-C1F2746B536D}"/>
              </a:ext>
            </a:extLst>
          </p:cNvPr>
          <p:cNvSpPr txBox="1"/>
          <p:nvPr/>
        </p:nvSpPr>
        <p:spPr>
          <a:xfrm>
            <a:off x="358991" y="2454969"/>
            <a:ext cx="936103" cy="646331"/>
          </a:xfrm>
          <a:prstGeom prst="rect">
            <a:avLst/>
          </a:prstGeom>
          <a:noFill/>
        </p:spPr>
        <p:txBody>
          <a:bodyPr wrap="square" rtlCol="0" anchor="ctr">
            <a:spAutoFit/>
          </a:bodyPr>
          <a:lstStyle/>
          <a:p>
            <a:pPr algn="ctr" latinLnBrk="1"/>
            <a:r>
              <a:rPr lang="en-US" altLang="ko-KR" sz="3600" b="1">
                <a:solidFill>
                  <a:srgbClr val="8D8EA7"/>
                </a:solidFill>
                <a:ea typeface="Arial Unicode MS"/>
                <a:cs typeface="Arial" pitchFamily="34" charset="0"/>
              </a:rPr>
              <a:t>50</a:t>
            </a:r>
            <a:r>
              <a:rPr lang="en-US" altLang="ko-KR" sz="2000" b="1">
                <a:solidFill>
                  <a:srgbClr val="8D8EA7"/>
                </a:solidFill>
                <a:ea typeface="Arial Unicode MS"/>
                <a:cs typeface="Arial" pitchFamily="34" charset="0"/>
              </a:rPr>
              <a:t>%</a:t>
            </a:r>
            <a:endParaRPr lang="ko-KR" altLang="en-US" sz="2000" b="1">
              <a:solidFill>
                <a:srgbClr val="8D8EA7"/>
              </a:solidFill>
              <a:ea typeface="Arial Unicode MS"/>
              <a:cs typeface="Arial" pitchFamily="34" charset="0"/>
            </a:endParaRPr>
          </a:p>
        </p:txBody>
      </p:sp>
      <p:sp>
        <p:nvSpPr>
          <p:cNvPr id="92" name="TextBox 91">
            <a:extLst>
              <a:ext uri="{FF2B5EF4-FFF2-40B4-BE49-F238E27FC236}">
                <a16:creationId xmlns:a16="http://schemas.microsoft.com/office/drawing/2014/main" id="{D2852F13-2D89-D24E-9D5C-971EA5E6D4D1}"/>
              </a:ext>
            </a:extLst>
          </p:cNvPr>
          <p:cNvSpPr txBox="1"/>
          <p:nvPr/>
        </p:nvSpPr>
        <p:spPr>
          <a:xfrm>
            <a:off x="360132" y="1998650"/>
            <a:ext cx="3832243" cy="338554"/>
          </a:xfrm>
          <a:prstGeom prst="rect">
            <a:avLst/>
          </a:prstGeom>
          <a:noFill/>
        </p:spPr>
        <p:txBody>
          <a:bodyPr wrap="square" rtlCol="0">
            <a:spAutoFit/>
          </a:bodyPr>
          <a:lstStyle/>
          <a:p>
            <a:pPr latinLnBrk="1"/>
            <a:r>
              <a:rPr lang="en-US" altLang="ko-KR" sz="1600" b="1">
                <a:solidFill>
                  <a:prstClr val="black">
                    <a:lumMod val="75000"/>
                    <a:lumOff val="25000"/>
                  </a:prstClr>
                </a:solidFill>
                <a:ea typeface="Arial Unicode MS"/>
                <a:cs typeface="Arial" pitchFamily="34" charset="0"/>
              </a:rPr>
              <a:t>Your Text Here</a:t>
            </a:r>
            <a:endParaRPr lang="ko-KR" altLang="en-US" sz="1600" b="1">
              <a:solidFill>
                <a:prstClr val="black">
                  <a:lumMod val="75000"/>
                  <a:lumOff val="25000"/>
                </a:prstClr>
              </a:solidFill>
              <a:ea typeface="Arial Unicode MS"/>
              <a:cs typeface="Arial" pitchFamily="34" charset="0"/>
            </a:endParaRPr>
          </a:p>
        </p:txBody>
      </p:sp>
      <p:grpSp>
        <p:nvGrpSpPr>
          <p:cNvPr id="110" name="Group 109">
            <a:extLst>
              <a:ext uri="{FF2B5EF4-FFF2-40B4-BE49-F238E27FC236}">
                <a16:creationId xmlns:a16="http://schemas.microsoft.com/office/drawing/2014/main" id="{6FA69FD3-4676-7A41-9AB3-FAD70C03D27F}"/>
              </a:ext>
            </a:extLst>
          </p:cNvPr>
          <p:cNvGrpSpPr>
            <a:grpSpLocks noChangeAspect="1"/>
          </p:cNvGrpSpPr>
          <p:nvPr/>
        </p:nvGrpSpPr>
        <p:grpSpPr>
          <a:xfrm>
            <a:off x="5577925" y="1983089"/>
            <a:ext cx="5947165" cy="3672000"/>
            <a:chOff x="5508652" y="2149076"/>
            <a:chExt cx="5665735" cy="3498236"/>
          </a:xfrm>
        </p:grpSpPr>
        <p:grpSp>
          <p:nvGrpSpPr>
            <p:cNvPr id="84" name="그룹 306">
              <a:extLst>
                <a:ext uri="{FF2B5EF4-FFF2-40B4-BE49-F238E27FC236}">
                  <a16:creationId xmlns:a16="http://schemas.microsoft.com/office/drawing/2014/main" id="{9B7ADF82-420D-CD41-8A93-E0077AA62FCE}"/>
                </a:ext>
              </a:extLst>
            </p:cNvPr>
            <p:cNvGrpSpPr/>
            <p:nvPr/>
          </p:nvGrpSpPr>
          <p:grpSpPr>
            <a:xfrm>
              <a:off x="5508652" y="2313926"/>
              <a:ext cx="5665735" cy="3333386"/>
              <a:chOff x="635000" y="1382713"/>
              <a:chExt cx="7869238" cy="4572000"/>
            </a:xfrm>
            <a:solidFill>
              <a:sysClr val="window" lastClr="FFFFFF">
                <a:lumMod val="85000"/>
              </a:sysClr>
            </a:solidFill>
          </p:grpSpPr>
          <p:sp>
            <p:nvSpPr>
              <p:cNvPr id="85" name="Freeform 8">
                <a:extLst>
                  <a:ext uri="{FF2B5EF4-FFF2-40B4-BE49-F238E27FC236}">
                    <a16:creationId xmlns:a16="http://schemas.microsoft.com/office/drawing/2014/main" id="{F6DCCC5B-226D-AE44-8E04-DCC566EB6908}"/>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a typeface="Arial Unicode MS"/>
                </a:endParaRPr>
              </a:p>
            </p:txBody>
          </p:sp>
          <p:sp>
            <p:nvSpPr>
              <p:cNvPr id="86" name="Freeform 9">
                <a:extLst>
                  <a:ext uri="{FF2B5EF4-FFF2-40B4-BE49-F238E27FC236}">
                    <a16:creationId xmlns:a16="http://schemas.microsoft.com/office/drawing/2014/main" id="{8F0A069E-8DBB-2C4C-A8EF-DFCEC1729A6D}"/>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a typeface="Arial Unicode MS"/>
                </a:endParaRPr>
              </a:p>
            </p:txBody>
          </p:sp>
          <p:sp>
            <p:nvSpPr>
              <p:cNvPr id="87" name="Freeform 10">
                <a:extLst>
                  <a:ext uri="{FF2B5EF4-FFF2-40B4-BE49-F238E27FC236}">
                    <a16:creationId xmlns:a16="http://schemas.microsoft.com/office/drawing/2014/main" id="{260502E0-C299-B148-B71D-6B3F5C64542F}"/>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a typeface="Arial Unicode MS"/>
                </a:endParaRPr>
              </a:p>
            </p:txBody>
          </p:sp>
          <p:sp>
            <p:nvSpPr>
              <p:cNvPr id="88" name="Freeform 11">
                <a:extLst>
                  <a:ext uri="{FF2B5EF4-FFF2-40B4-BE49-F238E27FC236}">
                    <a16:creationId xmlns:a16="http://schemas.microsoft.com/office/drawing/2014/main" id="{CA4C4C22-BA3E-0F4F-8A44-D6FA8AAA4080}"/>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ea typeface="Arial Unicode MS"/>
                </a:endParaRPr>
              </a:p>
            </p:txBody>
          </p:sp>
        </p:grpSp>
        <p:grpSp>
          <p:nvGrpSpPr>
            <p:cNvPr id="93" name="Group 92">
              <a:extLst>
                <a:ext uri="{FF2B5EF4-FFF2-40B4-BE49-F238E27FC236}">
                  <a16:creationId xmlns:a16="http://schemas.microsoft.com/office/drawing/2014/main" id="{EA94186A-A2C8-9C42-8059-F42230C6D183}"/>
                </a:ext>
              </a:extLst>
            </p:cNvPr>
            <p:cNvGrpSpPr/>
            <p:nvPr/>
          </p:nvGrpSpPr>
          <p:grpSpPr>
            <a:xfrm>
              <a:off x="9790910" y="2594395"/>
              <a:ext cx="674717" cy="674717"/>
              <a:chOff x="5580112" y="1609001"/>
              <a:chExt cx="914400" cy="914400"/>
            </a:xfrm>
          </p:grpSpPr>
          <p:sp>
            <p:nvSpPr>
              <p:cNvPr id="94" name="Teardrop 93">
                <a:extLst>
                  <a:ext uri="{FF2B5EF4-FFF2-40B4-BE49-F238E27FC236}">
                    <a16:creationId xmlns:a16="http://schemas.microsoft.com/office/drawing/2014/main" id="{8F6B3222-F946-7242-B911-7F04B995D49B}"/>
                  </a:ext>
                </a:extLst>
              </p:cNvPr>
              <p:cNvSpPr/>
              <p:nvPr/>
            </p:nvSpPr>
            <p:spPr>
              <a:xfrm rot="8100000">
                <a:off x="5580112" y="1609001"/>
                <a:ext cx="914400" cy="914400"/>
              </a:xfrm>
              <a:prstGeom prst="teardrop">
                <a:avLst>
                  <a:gd name="adj" fmla="val 169014"/>
                </a:avLst>
              </a:prstGeom>
              <a:solidFill>
                <a:srgbClr val="8D8EA7"/>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95" name="Oval 94">
                <a:extLst>
                  <a:ext uri="{FF2B5EF4-FFF2-40B4-BE49-F238E27FC236}">
                    <a16:creationId xmlns:a16="http://schemas.microsoft.com/office/drawing/2014/main" id="{981F3D37-B7B2-2243-9CD0-67101A5EAF83}"/>
                  </a:ext>
                </a:extLst>
              </p:cNvPr>
              <p:cNvSpPr/>
              <p:nvPr/>
            </p:nvSpPr>
            <p:spPr>
              <a:xfrm>
                <a:off x="5674537" y="1688796"/>
                <a:ext cx="725550" cy="725550"/>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96" name="Group 95">
              <a:extLst>
                <a:ext uri="{FF2B5EF4-FFF2-40B4-BE49-F238E27FC236}">
                  <a16:creationId xmlns:a16="http://schemas.microsoft.com/office/drawing/2014/main" id="{97B21A94-C7C4-8D4F-9E86-F558EFCAA7C6}"/>
                </a:ext>
              </a:extLst>
            </p:cNvPr>
            <p:cNvGrpSpPr/>
            <p:nvPr/>
          </p:nvGrpSpPr>
          <p:grpSpPr>
            <a:xfrm>
              <a:off x="5567993" y="2149076"/>
              <a:ext cx="674717" cy="674717"/>
              <a:chOff x="5580112" y="1609001"/>
              <a:chExt cx="914400" cy="914400"/>
            </a:xfrm>
          </p:grpSpPr>
          <p:sp>
            <p:nvSpPr>
              <p:cNvPr id="97" name="Teardrop 96">
                <a:extLst>
                  <a:ext uri="{FF2B5EF4-FFF2-40B4-BE49-F238E27FC236}">
                    <a16:creationId xmlns:a16="http://schemas.microsoft.com/office/drawing/2014/main" id="{896DD611-1FA4-3646-95B1-31333E8E920F}"/>
                  </a:ext>
                </a:extLst>
              </p:cNvPr>
              <p:cNvSpPr/>
              <p:nvPr/>
            </p:nvSpPr>
            <p:spPr>
              <a:xfrm rot="8100000">
                <a:off x="5580112" y="1609001"/>
                <a:ext cx="914400" cy="914400"/>
              </a:xfrm>
              <a:prstGeom prst="teardrop">
                <a:avLst>
                  <a:gd name="adj" fmla="val 169014"/>
                </a:avLst>
              </a:prstGeom>
              <a:solidFill>
                <a:srgbClr val="8D8EA7"/>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8B2A3"/>
                  </a:solidFill>
                  <a:effectLst/>
                  <a:uLnTx/>
                  <a:uFillTx/>
                  <a:latin typeface="Arial"/>
                  <a:ea typeface="Arial Unicode MS"/>
                  <a:cs typeface="+mn-cs"/>
                </a:endParaRPr>
              </a:p>
            </p:txBody>
          </p:sp>
          <p:sp>
            <p:nvSpPr>
              <p:cNvPr id="98" name="Oval 97">
                <a:extLst>
                  <a:ext uri="{FF2B5EF4-FFF2-40B4-BE49-F238E27FC236}">
                    <a16:creationId xmlns:a16="http://schemas.microsoft.com/office/drawing/2014/main" id="{3B11D6BD-B9A2-CB4A-8F22-B6A034360B6B}"/>
                  </a:ext>
                </a:extLst>
              </p:cNvPr>
              <p:cNvSpPr/>
              <p:nvPr/>
            </p:nvSpPr>
            <p:spPr>
              <a:xfrm>
                <a:off x="5674537" y="1688796"/>
                <a:ext cx="725550" cy="725550"/>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srgbClr val="F8B2A3"/>
                  </a:solidFill>
                  <a:effectLst/>
                  <a:uLnTx/>
                  <a:uFillTx/>
                  <a:latin typeface="Arial"/>
                  <a:ea typeface="Arial Unicode MS"/>
                  <a:cs typeface="+mn-cs"/>
                </a:endParaRPr>
              </a:p>
            </p:txBody>
          </p:sp>
        </p:grpSp>
        <p:sp>
          <p:nvSpPr>
            <p:cNvPr id="99" name="Rounded Rectangle 27">
              <a:extLst>
                <a:ext uri="{FF2B5EF4-FFF2-40B4-BE49-F238E27FC236}">
                  <a16:creationId xmlns:a16="http://schemas.microsoft.com/office/drawing/2014/main" id="{C066AA28-8337-D749-A3CB-1EF54F3190E6}"/>
                </a:ext>
              </a:extLst>
            </p:cNvPr>
            <p:cNvSpPr/>
            <p:nvPr/>
          </p:nvSpPr>
          <p:spPr>
            <a:xfrm>
              <a:off x="5767460" y="2369720"/>
              <a:ext cx="275782" cy="211838"/>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tx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100" name="Group 99">
              <a:extLst>
                <a:ext uri="{FF2B5EF4-FFF2-40B4-BE49-F238E27FC236}">
                  <a16:creationId xmlns:a16="http://schemas.microsoft.com/office/drawing/2014/main" id="{7C92A10C-EB5D-8849-9F03-5102FFC59D2E}"/>
                </a:ext>
              </a:extLst>
            </p:cNvPr>
            <p:cNvGrpSpPr/>
            <p:nvPr/>
          </p:nvGrpSpPr>
          <p:grpSpPr>
            <a:xfrm>
              <a:off x="7107698" y="3707845"/>
              <a:ext cx="674717" cy="674717"/>
              <a:chOff x="5580112" y="1609002"/>
              <a:chExt cx="914400" cy="914400"/>
            </a:xfrm>
          </p:grpSpPr>
          <p:sp>
            <p:nvSpPr>
              <p:cNvPr id="101" name="Teardrop 100">
                <a:extLst>
                  <a:ext uri="{FF2B5EF4-FFF2-40B4-BE49-F238E27FC236}">
                    <a16:creationId xmlns:a16="http://schemas.microsoft.com/office/drawing/2014/main" id="{45031891-B5F7-9E44-92EA-F8576197B9D3}"/>
                  </a:ext>
                </a:extLst>
              </p:cNvPr>
              <p:cNvSpPr/>
              <p:nvPr/>
            </p:nvSpPr>
            <p:spPr>
              <a:xfrm rot="8100000">
                <a:off x="5580112" y="1609002"/>
                <a:ext cx="914400" cy="914400"/>
              </a:xfrm>
              <a:prstGeom prst="teardrop">
                <a:avLst>
                  <a:gd name="adj" fmla="val 169014"/>
                </a:avLst>
              </a:prstGeom>
              <a:solidFill>
                <a:srgbClr val="8D8EA7"/>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102" name="Oval 101">
                <a:extLst>
                  <a:ext uri="{FF2B5EF4-FFF2-40B4-BE49-F238E27FC236}">
                    <a16:creationId xmlns:a16="http://schemas.microsoft.com/office/drawing/2014/main" id="{D99415FD-46E8-124D-B20A-DA7C5FBC9843}"/>
                  </a:ext>
                </a:extLst>
              </p:cNvPr>
              <p:cNvSpPr/>
              <p:nvPr/>
            </p:nvSpPr>
            <p:spPr>
              <a:xfrm>
                <a:off x="5674537" y="1688796"/>
                <a:ext cx="725550" cy="725550"/>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103" name="Rectangle 9">
              <a:extLst>
                <a:ext uri="{FF2B5EF4-FFF2-40B4-BE49-F238E27FC236}">
                  <a16:creationId xmlns:a16="http://schemas.microsoft.com/office/drawing/2014/main" id="{ED7A0EDF-1E00-9746-A9C0-3947295019F3}"/>
                </a:ext>
              </a:extLst>
            </p:cNvPr>
            <p:cNvSpPr/>
            <p:nvPr/>
          </p:nvSpPr>
          <p:spPr>
            <a:xfrm>
              <a:off x="7324232" y="3921306"/>
              <a:ext cx="241648" cy="226204"/>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tx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104" name="Group 103">
              <a:extLst>
                <a:ext uri="{FF2B5EF4-FFF2-40B4-BE49-F238E27FC236}">
                  <a16:creationId xmlns:a16="http://schemas.microsoft.com/office/drawing/2014/main" id="{B62D71FF-3EA6-0D4F-9456-F3042232E7DC}"/>
                </a:ext>
              </a:extLst>
            </p:cNvPr>
            <p:cNvGrpSpPr/>
            <p:nvPr/>
          </p:nvGrpSpPr>
          <p:grpSpPr>
            <a:xfrm>
              <a:off x="8332235" y="3245914"/>
              <a:ext cx="674717" cy="674717"/>
              <a:chOff x="5580112" y="1609001"/>
              <a:chExt cx="914400" cy="914400"/>
            </a:xfrm>
          </p:grpSpPr>
          <p:sp>
            <p:nvSpPr>
              <p:cNvPr id="105" name="Teardrop 104">
                <a:extLst>
                  <a:ext uri="{FF2B5EF4-FFF2-40B4-BE49-F238E27FC236}">
                    <a16:creationId xmlns:a16="http://schemas.microsoft.com/office/drawing/2014/main" id="{A367E7AD-43B6-1745-AA3B-CF5359078FE7}"/>
                  </a:ext>
                </a:extLst>
              </p:cNvPr>
              <p:cNvSpPr/>
              <p:nvPr/>
            </p:nvSpPr>
            <p:spPr>
              <a:xfrm rot="8100000">
                <a:off x="5580112" y="1609001"/>
                <a:ext cx="914400" cy="914400"/>
              </a:xfrm>
              <a:prstGeom prst="teardrop">
                <a:avLst>
                  <a:gd name="adj" fmla="val 169014"/>
                </a:avLst>
              </a:prstGeom>
              <a:solidFill>
                <a:srgbClr val="8D8EA7"/>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106" name="Oval 105">
                <a:extLst>
                  <a:ext uri="{FF2B5EF4-FFF2-40B4-BE49-F238E27FC236}">
                    <a16:creationId xmlns:a16="http://schemas.microsoft.com/office/drawing/2014/main" id="{C644DC68-443A-D74C-9A80-90A8052D53D5}"/>
                  </a:ext>
                </a:extLst>
              </p:cNvPr>
              <p:cNvSpPr/>
              <p:nvPr/>
            </p:nvSpPr>
            <p:spPr>
              <a:xfrm>
                <a:off x="5674537" y="1688796"/>
                <a:ext cx="725550" cy="725550"/>
              </a:xfrm>
              <a:prstGeom prst="ellipse">
                <a:avLst/>
              </a:prstGeom>
              <a:solidFill>
                <a:sysClr val="window" lastClr="FFFFFF"/>
              </a:solidFill>
              <a:ln w="381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107" name="Rounded Rectangle 7">
              <a:extLst>
                <a:ext uri="{FF2B5EF4-FFF2-40B4-BE49-F238E27FC236}">
                  <a16:creationId xmlns:a16="http://schemas.microsoft.com/office/drawing/2014/main" id="{4E484620-0143-9342-B355-FC8AB811E293}"/>
                </a:ext>
              </a:extLst>
            </p:cNvPr>
            <p:cNvSpPr/>
            <p:nvPr/>
          </p:nvSpPr>
          <p:spPr>
            <a:xfrm>
              <a:off x="8545409" y="3465308"/>
              <a:ext cx="248367" cy="214337"/>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tx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108" name="Rounded Rectangle 7">
              <a:extLst>
                <a:ext uri="{FF2B5EF4-FFF2-40B4-BE49-F238E27FC236}">
                  <a16:creationId xmlns:a16="http://schemas.microsoft.com/office/drawing/2014/main" id="{BFCA3656-9596-EE49-88A7-0229397506ED}"/>
                </a:ext>
              </a:extLst>
            </p:cNvPr>
            <p:cNvSpPr/>
            <p:nvPr/>
          </p:nvSpPr>
          <p:spPr>
            <a:xfrm>
              <a:off x="10045613" y="2772592"/>
              <a:ext cx="165479" cy="286375"/>
            </a:xfrm>
            <a:custGeom>
              <a:avLst/>
              <a:gdLst/>
              <a:ahLst/>
              <a:cxnLst/>
              <a:rect l="l" t="t" r="r" b="b"/>
              <a:pathLst>
                <a:path w="1872208" h="3240000">
                  <a:moveTo>
                    <a:pt x="936104" y="2852499"/>
                  </a:moveTo>
                  <a:cubicBezTo>
                    <a:pt x="861605" y="2852499"/>
                    <a:pt x="801211" y="2912893"/>
                    <a:pt x="801211" y="2987392"/>
                  </a:cubicBezTo>
                  <a:cubicBezTo>
                    <a:pt x="801211" y="3061891"/>
                    <a:pt x="861605" y="3122285"/>
                    <a:pt x="936104" y="3122285"/>
                  </a:cubicBezTo>
                  <a:cubicBezTo>
                    <a:pt x="1010603" y="3122285"/>
                    <a:pt x="1070997" y="3061891"/>
                    <a:pt x="1070997" y="2987392"/>
                  </a:cubicBezTo>
                  <a:cubicBezTo>
                    <a:pt x="1070997" y="2912893"/>
                    <a:pt x="1010603" y="2852499"/>
                    <a:pt x="936104" y="2852499"/>
                  </a:cubicBezTo>
                  <a:close/>
                  <a:moveTo>
                    <a:pt x="144016" y="323096"/>
                  </a:moveTo>
                  <a:lnTo>
                    <a:pt x="144016" y="2699360"/>
                  </a:lnTo>
                  <a:lnTo>
                    <a:pt x="1728192" y="2699360"/>
                  </a:lnTo>
                  <a:lnTo>
                    <a:pt x="1728192" y="323096"/>
                  </a:lnTo>
                  <a:close/>
                  <a:moveTo>
                    <a:pt x="720104" y="107072"/>
                  </a:moveTo>
                  <a:cubicBezTo>
                    <a:pt x="690281" y="107072"/>
                    <a:pt x="666104" y="131249"/>
                    <a:pt x="666104" y="161072"/>
                  </a:cubicBezTo>
                  <a:cubicBezTo>
                    <a:pt x="666104" y="190895"/>
                    <a:pt x="690281" y="215072"/>
                    <a:pt x="720104" y="215072"/>
                  </a:cubicBezTo>
                  <a:lnTo>
                    <a:pt x="1152104" y="215072"/>
                  </a:lnTo>
                  <a:cubicBezTo>
                    <a:pt x="1181927" y="215072"/>
                    <a:pt x="1206104" y="190895"/>
                    <a:pt x="1206104" y="161072"/>
                  </a:cubicBezTo>
                  <a:cubicBezTo>
                    <a:pt x="1206104" y="131249"/>
                    <a:pt x="1181927" y="107072"/>
                    <a:pt x="1152104" y="107072"/>
                  </a:cubicBezTo>
                  <a:close/>
                  <a:moveTo>
                    <a:pt x="312041" y="0"/>
                  </a:moveTo>
                  <a:lnTo>
                    <a:pt x="1560167" y="0"/>
                  </a:lnTo>
                  <a:cubicBezTo>
                    <a:pt x="1732502" y="0"/>
                    <a:pt x="1872208" y="139706"/>
                    <a:pt x="1872208" y="312041"/>
                  </a:cubicBezTo>
                  <a:lnTo>
                    <a:pt x="1872208" y="2927959"/>
                  </a:lnTo>
                  <a:cubicBezTo>
                    <a:pt x="1872208" y="3100294"/>
                    <a:pt x="1732502" y="3240000"/>
                    <a:pt x="1560167" y="3240000"/>
                  </a:cubicBezTo>
                  <a:lnTo>
                    <a:pt x="312041" y="3240000"/>
                  </a:lnTo>
                  <a:cubicBezTo>
                    <a:pt x="139706" y="3240000"/>
                    <a:pt x="0" y="3100294"/>
                    <a:pt x="0" y="2927959"/>
                  </a:cubicBezTo>
                  <a:lnTo>
                    <a:pt x="0" y="312041"/>
                  </a:lnTo>
                  <a:cubicBezTo>
                    <a:pt x="0" y="139706"/>
                    <a:pt x="139706" y="0"/>
                    <a:pt x="312041" y="0"/>
                  </a:cubicBezTo>
                  <a:close/>
                </a:path>
              </a:pathLst>
            </a:custGeom>
            <a:solidFill>
              <a:schemeClr val="tx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Tree>
    <p:extLst>
      <p:ext uri="{BB962C8B-B14F-4D97-AF65-F5344CB8AC3E}">
        <p14:creationId xmlns:p14="http://schemas.microsoft.com/office/powerpoint/2010/main" val="385765927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0C259FA0-1451-164D-8F6D-CF59FB2DFEA7}"/>
              </a:ext>
            </a:extLst>
          </p:cNvPr>
          <p:cNvGraphicFramePr>
            <a:graphicFrameLocks noChangeAspect="1"/>
          </p:cNvGraphicFramePr>
          <p:nvPr>
            <p:custDataLst>
              <p:tags r:id="rId1"/>
            </p:custDataLst>
            <p:extLst>
              <p:ext uri="{D42A27DB-BD31-4B8C-83A1-F6EECF244321}">
                <p14:modId xmlns:p14="http://schemas.microsoft.com/office/powerpoint/2010/main" val="4151942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3" name="Object 42" hidden="1">
                        <a:extLst>
                          <a:ext uri="{FF2B5EF4-FFF2-40B4-BE49-F238E27FC236}">
                            <a16:creationId xmlns:a16="http://schemas.microsoft.com/office/drawing/2014/main" id="{0C259FA0-1451-164D-8F6D-CF59FB2DFEA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C64076-68F8-AD45-8DFF-54AAED96A2DE}"/>
              </a:ext>
            </a:extLst>
          </p:cNvPr>
          <p:cNvSpPr>
            <a:spLocks noGrp="1"/>
          </p:cNvSpPr>
          <p:nvPr>
            <p:ph type="sldNum" sz="quarter" idx="4"/>
          </p:nvPr>
        </p:nvSpPr>
        <p:spPr/>
        <p:txBody>
          <a:bodyPr/>
          <a:lstStyle/>
          <a:p>
            <a:fld id="{3D966009-6E5A-4F8C-8CA7-E37AFBF5FB92}" type="slidenum">
              <a:rPr lang="en-US" smtClean="0"/>
              <a:t>107</a:t>
            </a:fld>
            <a:endParaRPr lang="en-US"/>
          </a:p>
        </p:txBody>
      </p:sp>
      <p:sp>
        <p:nvSpPr>
          <p:cNvPr id="3" name="Title 2">
            <a:extLst>
              <a:ext uri="{FF2B5EF4-FFF2-40B4-BE49-F238E27FC236}">
                <a16:creationId xmlns:a16="http://schemas.microsoft.com/office/drawing/2014/main" id="{96D6FC5D-ED92-964B-A34E-EBAD426498D6}"/>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10BFA596-D96B-5F47-9F71-60562CD7DF7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6E44909C-0DD3-BC49-BE5F-2A494B36D270}"/>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8660A8B1-C9A9-FF42-9974-7BE16DB368B4}"/>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7D66161-6960-024B-B515-D1248E7E4EF8}"/>
              </a:ext>
            </a:extLst>
          </p:cNvPr>
          <p:cNvSpPr>
            <a:spLocks noGrp="1"/>
          </p:cNvSpPr>
          <p:nvPr>
            <p:ph sz="quarter" idx="14"/>
          </p:nvPr>
        </p:nvSpPr>
        <p:spPr/>
        <p:txBody>
          <a:bodyPr/>
          <a:lstStyle/>
          <a:p>
            <a:endParaRPr lang="en-GB"/>
          </a:p>
        </p:txBody>
      </p:sp>
      <p:grpSp>
        <p:nvGrpSpPr>
          <p:cNvPr id="42" name="Group 41">
            <a:extLst>
              <a:ext uri="{FF2B5EF4-FFF2-40B4-BE49-F238E27FC236}">
                <a16:creationId xmlns:a16="http://schemas.microsoft.com/office/drawing/2014/main" id="{4C69E579-B9B3-E04E-805B-189B274DC689}"/>
              </a:ext>
            </a:extLst>
          </p:cNvPr>
          <p:cNvGrpSpPr/>
          <p:nvPr/>
        </p:nvGrpSpPr>
        <p:grpSpPr>
          <a:xfrm>
            <a:off x="688008" y="1693646"/>
            <a:ext cx="11153515" cy="4399421"/>
            <a:chOff x="688008" y="1693646"/>
            <a:chExt cx="11153515" cy="4399421"/>
          </a:xfrm>
        </p:grpSpPr>
        <p:grpSp>
          <p:nvGrpSpPr>
            <p:cNvPr id="9" name="그룹 10">
              <a:extLst>
                <a:ext uri="{FF2B5EF4-FFF2-40B4-BE49-F238E27FC236}">
                  <a16:creationId xmlns:a16="http://schemas.microsoft.com/office/drawing/2014/main" id="{7D18EDB5-1499-304B-A05C-BCF59996CDD4}"/>
                </a:ext>
              </a:extLst>
            </p:cNvPr>
            <p:cNvGrpSpPr/>
            <p:nvPr/>
          </p:nvGrpSpPr>
          <p:grpSpPr>
            <a:xfrm>
              <a:off x="2515526" y="1992601"/>
              <a:ext cx="6969538" cy="4100466"/>
              <a:chOff x="635000" y="1382713"/>
              <a:chExt cx="7869238" cy="4572000"/>
            </a:xfrm>
            <a:solidFill>
              <a:schemeClr val="bg1">
                <a:lumMod val="85000"/>
              </a:schemeClr>
            </a:solidFill>
          </p:grpSpPr>
          <p:sp>
            <p:nvSpPr>
              <p:cNvPr id="10" name="Freeform 8">
                <a:extLst>
                  <a:ext uri="{FF2B5EF4-FFF2-40B4-BE49-F238E27FC236}">
                    <a16:creationId xmlns:a16="http://schemas.microsoft.com/office/drawing/2014/main" id="{B3A059FE-EF6A-7549-99CF-0CE8170A496D}"/>
                  </a:ext>
                </a:extLst>
              </p:cNvPr>
              <p:cNvSpPr>
                <a:spLocks noEditPoints="1"/>
              </p:cNvSpPr>
              <p:nvPr/>
            </p:nvSpPr>
            <p:spPr bwMode="auto">
              <a:xfrm>
                <a:off x="811213" y="3267075"/>
                <a:ext cx="7478713" cy="2654300"/>
              </a:xfrm>
              <a:custGeom>
                <a:avLst/>
                <a:gdLst>
                  <a:gd name="T0" fmla="*/ 1383 w 4711"/>
                  <a:gd name="T1" fmla="*/ 1616 h 1672"/>
                  <a:gd name="T2" fmla="*/ 4289 w 4711"/>
                  <a:gd name="T3" fmla="*/ 1370 h 1672"/>
                  <a:gd name="T4" fmla="*/ 4547 w 4711"/>
                  <a:gd name="T5" fmla="*/ 1482 h 1672"/>
                  <a:gd name="T6" fmla="*/ 4645 w 4711"/>
                  <a:gd name="T7" fmla="*/ 1305 h 1672"/>
                  <a:gd name="T8" fmla="*/ 4596 w 4711"/>
                  <a:gd name="T9" fmla="*/ 1330 h 1672"/>
                  <a:gd name="T10" fmla="*/ 4699 w 4711"/>
                  <a:gd name="T11" fmla="*/ 1014 h 1672"/>
                  <a:gd name="T12" fmla="*/ 2870 w 4711"/>
                  <a:gd name="T13" fmla="*/ 1134 h 1672"/>
                  <a:gd name="T14" fmla="*/ 4455 w 4711"/>
                  <a:gd name="T15" fmla="*/ 918 h 1672"/>
                  <a:gd name="T16" fmla="*/ 4359 w 4711"/>
                  <a:gd name="T17" fmla="*/ 1140 h 1672"/>
                  <a:gd name="T18" fmla="*/ 4144 w 4711"/>
                  <a:gd name="T19" fmla="*/ 1286 h 1672"/>
                  <a:gd name="T20" fmla="*/ 3936 w 4711"/>
                  <a:gd name="T21" fmla="*/ 1271 h 1672"/>
                  <a:gd name="T22" fmla="*/ 3802 w 4711"/>
                  <a:gd name="T23" fmla="*/ 1080 h 1672"/>
                  <a:gd name="T24" fmla="*/ 4059 w 4711"/>
                  <a:gd name="T25" fmla="*/ 932 h 1672"/>
                  <a:gd name="T26" fmla="*/ 4430 w 4711"/>
                  <a:gd name="T27" fmla="*/ 909 h 1672"/>
                  <a:gd name="T28" fmla="*/ 3982 w 4711"/>
                  <a:gd name="T29" fmla="*/ 883 h 1672"/>
                  <a:gd name="T30" fmla="*/ 3891 w 4711"/>
                  <a:gd name="T31" fmla="*/ 883 h 1672"/>
                  <a:gd name="T32" fmla="*/ 4388 w 4711"/>
                  <a:gd name="T33" fmla="*/ 864 h 1672"/>
                  <a:gd name="T34" fmla="*/ 4362 w 4711"/>
                  <a:gd name="T35" fmla="*/ 825 h 1672"/>
                  <a:gd name="T36" fmla="*/ 3994 w 4711"/>
                  <a:gd name="T37" fmla="*/ 817 h 1672"/>
                  <a:gd name="T38" fmla="*/ 4270 w 4711"/>
                  <a:gd name="T39" fmla="*/ 855 h 1672"/>
                  <a:gd name="T40" fmla="*/ 4132 w 4711"/>
                  <a:gd name="T41" fmla="*/ 887 h 1672"/>
                  <a:gd name="T42" fmla="*/ 1563 w 4711"/>
                  <a:gd name="T43" fmla="*/ 787 h 1672"/>
                  <a:gd name="T44" fmla="*/ 3886 w 4711"/>
                  <a:gd name="T45" fmla="*/ 778 h 1672"/>
                  <a:gd name="T46" fmla="*/ 3870 w 4711"/>
                  <a:gd name="T47" fmla="*/ 845 h 1672"/>
                  <a:gd name="T48" fmla="*/ 3987 w 4711"/>
                  <a:gd name="T49" fmla="*/ 764 h 1672"/>
                  <a:gd name="T50" fmla="*/ 3821 w 4711"/>
                  <a:gd name="T51" fmla="*/ 885 h 1672"/>
                  <a:gd name="T52" fmla="*/ 3860 w 4711"/>
                  <a:gd name="T53" fmla="*/ 710 h 1672"/>
                  <a:gd name="T54" fmla="*/ 3786 w 4711"/>
                  <a:gd name="T55" fmla="*/ 726 h 1672"/>
                  <a:gd name="T56" fmla="*/ 3331 w 4711"/>
                  <a:gd name="T57" fmla="*/ 700 h 1672"/>
                  <a:gd name="T58" fmla="*/ 3957 w 4711"/>
                  <a:gd name="T59" fmla="*/ 677 h 1672"/>
                  <a:gd name="T60" fmla="*/ 1245 w 4711"/>
                  <a:gd name="T61" fmla="*/ 637 h 1672"/>
                  <a:gd name="T62" fmla="*/ 1351 w 4711"/>
                  <a:gd name="T63" fmla="*/ 529 h 1672"/>
                  <a:gd name="T64" fmla="*/ 3942 w 4711"/>
                  <a:gd name="T65" fmla="*/ 620 h 1672"/>
                  <a:gd name="T66" fmla="*/ 3942 w 4711"/>
                  <a:gd name="T67" fmla="*/ 602 h 1672"/>
                  <a:gd name="T68" fmla="*/ 1173 w 4711"/>
                  <a:gd name="T69" fmla="*/ 511 h 1672"/>
                  <a:gd name="T70" fmla="*/ 1255 w 4711"/>
                  <a:gd name="T71" fmla="*/ 515 h 1672"/>
                  <a:gd name="T72" fmla="*/ 96 w 4711"/>
                  <a:gd name="T73" fmla="*/ 454 h 1672"/>
                  <a:gd name="T74" fmla="*/ 1088 w 4711"/>
                  <a:gd name="T75" fmla="*/ 445 h 1672"/>
                  <a:gd name="T76" fmla="*/ 1166 w 4711"/>
                  <a:gd name="T77" fmla="*/ 429 h 1672"/>
                  <a:gd name="T78" fmla="*/ 1149 w 4711"/>
                  <a:gd name="T79" fmla="*/ 400 h 1672"/>
                  <a:gd name="T80" fmla="*/ 2694 w 4711"/>
                  <a:gd name="T81" fmla="*/ 262 h 1672"/>
                  <a:gd name="T82" fmla="*/ 2256 w 4711"/>
                  <a:gd name="T83" fmla="*/ 181 h 1672"/>
                  <a:gd name="T84" fmla="*/ 2353 w 4711"/>
                  <a:gd name="T85" fmla="*/ 119 h 1672"/>
                  <a:gd name="T86" fmla="*/ 4183 w 4711"/>
                  <a:gd name="T87" fmla="*/ 162 h 1672"/>
                  <a:gd name="T88" fmla="*/ 4046 w 4711"/>
                  <a:gd name="T89" fmla="*/ 288 h 1672"/>
                  <a:gd name="T90" fmla="*/ 4128 w 4711"/>
                  <a:gd name="T91" fmla="*/ 225 h 1672"/>
                  <a:gd name="T92" fmla="*/ 2400 w 4711"/>
                  <a:gd name="T93" fmla="*/ 78 h 1672"/>
                  <a:gd name="T94" fmla="*/ 2425 w 4711"/>
                  <a:gd name="T95" fmla="*/ 227 h 1672"/>
                  <a:gd name="T96" fmla="*/ 2247 w 4711"/>
                  <a:gd name="T97" fmla="*/ 148 h 1672"/>
                  <a:gd name="T98" fmla="*/ 2167 w 4711"/>
                  <a:gd name="T99" fmla="*/ 232 h 1672"/>
                  <a:gd name="T100" fmla="*/ 2489 w 4711"/>
                  <a:gd name="T101" fmla="*/ 332 h 1672"/>
                  <a:gd name="T102" fmla="*/ 2720 w 4711"/>
                  <a:gd name="T103" fmla="*/ 234 h 1672"/>
                  <a:gd name="T104" fmla="*/ 2577 w 4711"/>
                  <a:gd name="T105" fmla="*/ 157 h 1672"/>
                  <a:gd name="T106" fmla="*/ 2533 w 4711"/>
                  <a:gd name="T107" fmla="*/ 232 h 1672"/>
                  <a:gd name="T108" fmla="*/ 1210 w 4711"/>
                  <a:gd name="T109" fmla="*/ 78 h 1672"/>
                  <a:gd name="T110" fmla="*/ 2798 w 4711"/>
                  <a:gd name="T111" fmla="*/ 145 h 1672"/>
                  <a:gd name="T112" fmla="*/ 2903 w 4711"/>
                  <a:gd name="T113" fmla="*/ 147 h 1672"/>
                  <a:gd name="T114" fmla="*/ 2943 w 4711"/>
                  <a:gd name="T115" fmla="*/ 127 h 1672"/>
                  <a:gd name="T116" fmla="*/ 1393 w 4711"/>
                  <a:gd name="T117" fmla="*/ 66 h 1672"/>
                  <a:gd name="T118" fmla="*/ 1028 w 4711"/>
                  <a:gd name="T119" fmla="*/ 126 h 1672"/>
                  <a:gd name="T120" fmla="*/ 1194 w 4711"/>
                  <a:gd name="T121" fmla="*/ 89 h 1672"/>
                  <a:gd name="T122" fmla="*/ 1076 w 4711"/>
                  <a:gd name="T123" fmla="*/ 54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11" h="1672">
                    <a:moveTo>
                      <a:pt x="1290" y="1620"/>
                    </a:moveTo>
                    <a:lnTo>
                      <a:pt x="1304" y="1628"/>
                    </a:lnTo>
                    <a:lnTo>
                      <a:pt x="1318" y="1641"/>
                    </a:lnTo>
                    <a:lnTo>
                      <a:pt x="1332" y="1653"/>
                    </a:lnTo>
                    <a:lnTo>
                      <a:pt x="1348" y="1662"/>
                    </a:lnTo>
                    <a:lnTo>
                      <a:pt x="1348" y="1670"/>
                    </a:lnTo>
                    <a:lnTo>
                      <a:pt x="1339" y="1670"/>
                    </a:lnTo>
                    <a:lnTo>
                      <a:pt x="1330" y="1672"/>
                    </a:lnTo>
                    <a:lnTo>
                      <a:pt x="1316" y="1672"/>
                    </a:lnTo>
                    <a:lnTo>
                      <a:pt x="1304" y="1669"/>
                    </a:lnTo>
                    <a:lnTo>
                      <a:pt x="1297" y="1667"/>
                    </a:lnTo>
                    <a:lnTo>
                      <a:pt x="1294" y="1653"/>
                    </a:lnTo>
                    <a:lnTo>
                      <a:pt x="1290" y="1635"/>
                    </a:lnTo>
                    <a:lnTo>
                      <a:pt x="1290" y="1620"/>
                    </a:lnTo>
                    <a:close/>
                    <a:moveTo>
                      <a:pt x="1402" y="1590"/>
                    </a:moveTo>
                    <a:lnTo>
                      <a:pt x="1416" y="1593"/>
                    </a:lnTo>
                    <a:lnTo>
                      <a:pt x="1432" y="1599"/>
                    </a:lnTo>
                    <a:lnTo>
                      <a:pt x="1444" y="1604"/>
                    </a:lnTo>
                    <a:lnTo>
                      <a:pt x="1440" y="1604"/>
                    </a:lnTo>
                    <a:lnTo>
                      <a:pt x="1428" y="1611"/>
                    </a:lnTo>
                    <a:lnTo>
                      <a:pt x="1416" y="1616"/>
                    </a:lnTo>
                    <a:lnTo>
                      <a:pt x="1402" y="1620"/>
                    </a:lnTo>
                    <a:lnTo>
                      <a:pt x="1402" y="1613"/>
                    </a:lnTo>
                    <a:lnTo>
                      <a:pt x="1404" y="1611"/>
                    </a:lnTo>
                    <a:lnTo>
                      <a:pt x="1407" y="1609"/>
                    </a:lnTo>
                    <a:lnTo>
                      <a:pt x="1409" y="1607"/>
                    </a:lnTo>
                    <a:lnTo>
                      <a:pt x="1409" y="1606"/>
                    </a:lnTo>
                    <a:lnTo>
                      <a:pt x="1411" y="1604"/>
                    </a:lnTo>
                    <a:lnTo>
                      <a:pt x="1412" y="1600"/>
                    </a:lnTo>
                    <a:lnTo>
                      <a:pt x="1409" y="1600"/>
                    </a:lnTo>
                    <a:lnTo>
                      <a:pt x="1400" y="1609"/>
                    </a:lnTo>
                    <a:lnTo>
                      <a:pt x="1392" y="1614"/>
                    </a:lnTo>
                    <a:lnTo>
                      <a:pt x="1383" y="1616"/>
                    </a:lnTo>
                    <a:lnTo>
                      <a:pt x="1371" y="1620"/>
                    </a:lnTo>
                    <a:lnTo>
                      <a:pt x="1371" y="1604"/>
                    </a:lnTo>
                    <a:lnTo>
                      <a:pt x="1381" y="1600"/>
                    </a:lnTo>
                    <a:lnTo>
                      <a:pt x="1392" y="1595"/>
                    </a:lnTo>
                    <a:lnTo>
                      <a:pt x="1402" y="1590"/>
                    </a:lnTo>
                    <a:close/>
                    <a:moveTo>
                      <a:pt x="1374" y="1393"/>
                    </a:moveTo>
                    <a:lnTo>
                      <a:pt x="1378" y="1396"/>
                    </a:lnTo>
                    <a:lnTo>
                      <a:pt x="1381" y="1398"/>
                    </a:lnTo>
                    <a:lnTo>
                      <a:pt x="1383" y="1400"/>
                    </a:lnTo>
                    <a:lnTo>
                      <a:pt x="1385" y="1403"/>
                    </a:lnTo>
                    <a:lnTo>
                      <a:pt x="1385" y="1407"/>
                    </a:lnTo>
                    <a:lnTo>
                      <a:pt x="1386" y="1412"/>
                    </a:lnTo>
                    <a:lnTo>
                      <a:pt x="1378" y="1412"/>
                    </a:lnTo>
                    <a:lnTo>
                      <a:pt x="1376" y="1408"/>
                    </a:lnTo>
                    <a:lnTo>
                      <a:pt x="1374" y="1405"/>
                    </a:lnTo>
                    <a:lnTo>
                      <a:pt x="1374" y="1403"/>
                    </a:lnTo>
                    <a:lnTo>
                      <a:pt x="1372" y="1401"/>
                    </a:lnTo>
                    <a:lnTo>
                      <a:pt x="1374" y="1398"/>
                    </a:lnTo>
                    <a:lnTo>
                      <a:pt x="1374" y="1393"/>
                    </a:lnTo>
                    <a:close/>
                    <a:moveTo>
                      <a:pt x="4289" y="1370"/>
                    </a:moveTo>
                    <a:lnTo>
                      <a:pt x="4294" y="1384"/>
                    </a:lnTo>
                    <a:lnTo>
                      <a:pt x="4296" y="1400"/>
                    </a:lnTo>
                    <a:lnTo>
                      <a:pt x="4292" y="1415"/>
                    </a:lnTo>
                    <a:lnTo>
                      <a:pt x="4284" y="1424"/>
                    </a:lnTo>
                    <a:lnTo>
                      <a:pt x="4275" y="1429"/>
                    </a:lnTo>
                    <a:lnTo>
                      <a:pt x="4263" y="1435"/>
                    </a:lnTo>
                    <a:lnTo>
                      <a:pt x="4258" y="1414"/>
                    </a:lnTo>
                    <a:lnTo>
                      <a:pt x="4251" y="1393"/>
                    </a:lnTo>
                    <a:lnTo>
                      <a:pt x="4244" y="1374"/>
                    </a:lnTo>
                    <a:lnTo>
                      <a:pt x="4258" y="1374"/>
                    </a:lnTo>
                    <a:lnTo>
                      <a:pt x="4270" y="1381"/>
                    </a:lnTo>
                    <a:lnTo>
                      <a:pt x="4280" y="1379"/>
                    </a:lnTo>
                    <a:lnTo>
                      <a:pt x="4289" y="1370"/>
                    </a:lnTo>
                    <a:close/>
                    <a:moveTo>
                      <a:pt x="4577" y="1367"/>
                    </a:moveTo>
                    <a:lnTo>
                      <a:pt x="4580" y="1368"/>
                    </a:lnTo>
                    <a:lnTo>
                      <a:pt x="4584" y="1370"/>
                    </a:lnTo>
                    <a:lnTo>
                      <a:pt x="4586" y="1372"/>
                    </a:lnTo>
                    <a:lnTo>
                      <a:pt x="4587" y="1374"/>
                    </a:lnTo>
                    <a:lnTo>
                      <a:pt x="4589" y="1375"/>
                    </a:lnTo>
                    <a:lnTo>
                      <a:pt x="4593" y="1379"/>
                    </a:lnTo>
                    <a:lnTo>
                      <a:pt x="4593" y="1377"/>
                    </a:lnTo>
                    <a:lnTo>
                      <a:pt x="4594" y="1375"/>
                    </a:lnTo>
                    <a:lnTo>
                      <a:pt x="4596" y="1372"/>
                    </a:lnTo>
                    <a:lnTo>
                      <a:pt x="4596" y="1370"/>
                    </a:lnTo>
                    <a:lnTo>
                      <a:pt x="4598" y="1370"/>
                    </a:lnTo>
                    <a:lnTo>
                      <a:pt x="4600" y="1370"/>
                    </a:lnTo>
                    <a:lnTo>
                      <a:pt x="4600" y="1374"/>
                    </a:lnTo>
                    <a:lnTo>
                      <a:pt x="4601" y="1377"/>
                    </a:lnTo>
                    <a:lnTo>
                      <a:pt x="4603" y="1382"/>
                    </a:lnTo>
                    <a:lnTo>
                      <a:pt x="4603" y="1388"/>
                    </a:lnTo>
                    <a:lnTo>
                      <a:pt x="4603" y="1393"/>
                    </a:lnTo>
                    <a:lnTo>
                      <a:pt x="4591" y="1407"/>
                    </a:lnTo>
                    <a:lnTo>
                      <a:pt x="4580" y="1424"/>
                    </a:lnTo>
                    <a:lnTo>
                      <a:pt x="4584" y="1435"/>
                    </a:lnTo>
                    <a:lnTo>
                      <a:pt x="4582" y="1438"/>
                    </a:lnTo>
                    <a:lnTo>
                      <a:pt x="4577" y="1442"/>
                    </a:lnTo>
                    <a:lnTo>
                      <a:pt x="4572" y="1443"/>
                    </a:lnTo>
                    <a:lnTo>
                      <a:pt x="4567" y="1445"/>
                    </a:lnTo>
                    <a:lnTo>
                      <a:pt x="4561" y="1449"/>
                    </a:lnTo>
                    <a:lnTo>
                      <a:pt x="4558" y="1450"/>
                    </a:lnTo>
                    <a:lnTo>
                      <a:pt x="4554" y="1456"/>
                    </a:lnTo>
                    <a:lnTo>
                      <a:pt x="4554" y="1461"/>
                    </a:lnTo>
                    <a:lnTo>
                      <a:pt x="4553" y="1466"/>
                    </a:lnTo>
                    <a:lnTo>
                      <a:pt x="4553" y="1471"/>
                    </a:lnTo>
                    <a:lnTo>
                      <a:pt x="4551" y="1478"/>
                    </a:lnTo>
                    <a:lnTo>
                      <a:pt x="4547" y="1482"/>
                    </a:lnTo>
                    <a:lnTo>
                      <a:pt x="4542" y="1485"/>
                    </a:lnTo>
                    <a:lnTo>
                      <a:pt x="4537" y="1489"/>
                    </a:lnTo>
                    <a:lnTo>
                      <a:pt x="4532" y="1492"/>
                    </a:lnTo>
                    <a:lnTo>
                      <a:pt x="4526" y="1497"/>
                    </a:lnTo>
                    <a:lnTo>
                      <a:pt x="4519" y="1497"/>
                    </a:lnTo>
                    <a:lnTo>
                      <a:pt x="4511" y="1491"/>
                    </a:lnTo>
                    <a:lnTo>
                      <a:pt x="4502" y="1485"/>
                    </a:lnTo>
                    <a:lnTo>
                      <a:pt x="4495" y="1480"/>
                    </a:lnTo>
                    <a:lnTo>
                      <a:pt x="4488" y="1470"/>
                    </a:lnTo>
                    <a:lnTo>
                      <a:pt x="4493" y="1466"/>
                    </a:lnTo>
                    <a:lnTo>
                      <a:pt x="4495" y="1461"/>
                    </a:lnTo>
                    <a:lnTo>
                      <a:pt x="4497" y="1457"/>
                    </a:lnTo>
                    <a:lnTo>
                      <a:pt x="4498" y="1452"/>
                    </a:lnTo>
                    <a:lnTo>
                      <a:pt x="4500" y="1447"/>
                    </a:lnTo>
                    <a:lnTo>
                      <a:pt x="4504" y="1443"/>
                    </a:lnTo>
                    <a:lnTo>
                      <a:pt x="4514" y="1440"/>
                    </a:lnTo>
                    <a:lnTo>
                      <a:pt x="4525" y="1438"/>
                    </a:lnTo>
                    <a:lnTo>
                      <a:pt x="4535" y="1435"/>
                    </a:lnTo>
                    <a:lnTo>
                      <a:pt x="4540" y="1429"/>
                    </a:lnTo>
                    <a:lnTo>
                      <a:pt x="4549" y="1417"/>
                    </a:lnTo>
                    <a:lnTo>
                      <a:pt x="4556" y="1403"/>
                    </a:lnTo>
                    <a:lnTo>
                      <a:pt x="4565" y="1389"/>
                    </a:lnTo>
                    <a:lnTo>
                      <a:pt x="4572" y="1375"/>
                    </a:lnTo>
                    <a:lnTo>
                      <a:pt x="4577" y="1367"/>
                    </a:lnTo>
                    <a:close/>
                    <a:moveTo>
                      <a:pt x="4570" y="1239"/>
                    </a:moveTo>
                    <a:lnTo>
                      <a:pt x="4577" y="1239"/>
                    </a:lnTo>
                    <a:lnTo>
                      <a:pt x="4593" y="1255"/>
                    </a:lnTo>
                    <a:lnTo>
                      <a:pt x="4607" y="1269"/>
                    </a:lnTo>
                    <a:lnTo>
                      <a:pt x="4621" y="1285"/>
                    </a:lnTo>
                    <a:lnTo>
                      <a:pt x="4631" y="1305"/>
                    </a:lnTo>
                    <a:lnTo>
                      <a:pt x="4636" y="1305"/>
                    </a:lnTo>
                    <a:lnTo>
                      <a:pt x="4642" y="1305"/>
                    </a:lnTo>
                    <a:lnTo>
                      <a:pt x="4645" y="1305"/>
                    </a:lnTo>
                    <a:lnTo>
                      <a:pt x="4647" y="1305"/>
                    </a:lnTo>
                    <a:lnTo>
                      <a:pt x="4650" y="1305"/>
                    </a:lnTo>
                    <a:lnTo>
                      <a:pt x="4654" y="1302"/>
                    </a:lnTo>
                    <a:lnTo>
                      <a:pt x="4656" y="1299"/>
                    </a:lnTo>
                    <a:lnTo>
                      <a:pt x="4657" y="1293"/>
                    </a:lnTo>
                    <a:lnTo>
                      <a:pt x="4661" y="1293"/>
                    </a:lnTo>
                    <a:lnTo>
                      <a:pt x="4661" y="1316"/>
                    </a:lnTo>
                    <a:lnTo>
                      <a:pt x="4659" y="1321"/>
                    </a:lnTo>
                    <a:lnTo>
                      <a:pt x="4657" y="1326"/>
                    </a:lnTo>
                    <a:lnTo>
                      <a:pt x="4656" y="1332"/>
                    </a:lnTo>
                    <a:lnTo>
                      <a:pt x="4654" y="1335"/>
                    </a:lnTo>
                    <a:lnTo>
                      <a:pt x="4642" y="1335"/>
                    </a:lnTo>
                    <a:lnTo>
                      <a:pt x="4642" y="1347"/>
                    </a:lnTo>
                    <a:lnTo>
                      <a:pt x="4631" y="1358"/>
                    </a:lnTo>
                    <a:lnTo>
                      <a:pt x="4622" y="1368"/>
                    </a:lnTo>
                    <a:lnTo>
                      <a:pt x="4612" y="1379"/>
                    </a:lnTo>
                    <a:lnTo>
                      <a:pt x="4612" y="1374"/>
                    </a:lnTo>
                    <a:lnTo>
                      <a:pt x="4610" y="1370"/>
                    </a:lnTo>
                    <a:lnTo>
                      <a:pt x="4610" y="1367"/>
                    </a:lnTo>
                    <a:lnTo>
                      <a:pt x="4610" y="1361"/>
                    </a:lnTo>
                    <a:lnTo>
                      <a:pt x="4612" y="1358"/>
                    </a:lnTo>
                    <a:lnTo>
                      <a:pt x="4612" y="1354"/>
                    </a:lnTo>
                    <a:lnTo>
                      <a:pt x="4612" y="1351"/>
                    </a:lnTo>
                    <a:lnTo>
                      <a:pt x="4610" y="1349"/>
                    </a:lnTo>
                    <a:lnTo>
                      <a:pt x="4607" y="1347"/>
                    </a:lnTo>
                    <a:lnTo>
                      <a:pt x="4603" y="1346"/>
                    </a:lnTo>
                    <a:lnTo>
                      <a:pt x="4600" y="1344"/>
                    </a:lnTo>
                    <a:lnTo>
                      <a:pt x="4596" y="1342"/>
                    </a:lnTo>
                    <a:lnTo>
                      <a:pt x="4593" y="1340"/>
                    </a:lnTo>
                    <a:lnTo>
                      <a:pt x="4591" y="1339"/>
                    </a:lnTo>
                    <a:lnTo>
                      <a:pt x="4591" y="1337"/>
                    </a:lnTo>
                    <a:lnTo>
                      <a:pt x="4593" y="1335"/>
                    </a:lnTo>
                    <a:lnTo>
                      <a:pt x="4596" y="1330"/>
                    </a:lnTo>
                    <a:lnTo>
                      <a:pt x="4601" y="1326"/>
                    </a:lnTo>
                    <a:lnTo>
                      <a:pt x="4607" y="1321"/>
                    </a:lnTo>
                    <a:lnTo>
                      <a:pt x="4612" y="1316"/>
                    </a:lnTo>
                    <a:lnTo>
                      <a:pt x="4605" y="1309"/>
                    </a:lnTo>
                    <a:lnTo>
                      <a:pt x="4598" y="1297"/>
                    </a:lnTo>
                    <a:lnTo>
                      <a:pt x="4587" y="1279"/>
                    </a:lnTo>
                    <a:lnTo>
                      <a:pt x="4579" y="1264"/>
                    </a:lnTo>
                    <a:lnTo>
                      <a:pt x="4574" y="1250"/>
                    </a:lnTo>
                    <a:lnTo>
                      <a:pt x="4570" y="1239"/>
                    </a:lnTo>
                    <a:close/>
                    <a:moveTo>
                      <a:pt x="4507" y="1056"/>
                    </a:moveTo>
                    <a:lnTo>
                      <a:pt x="4516" y="1056"/>
                    </a:lnTo>
                    <a:lnTo>
                      <a:pt x="4532" y="1068"/>
                    </a:lnTo>
                    <a:lnTo>
                      <a:pt x="4551" y="1079"/>
                    </a:lnTo>
                    <a:lnTo>
                      <a:pt x="4551" y="1089"/>
                    </a:lnTo>
                    <a:lnTo>
                      <a:pt x="4539" y="1089"/>
                    </a:lnTo>
                    <a:lnTo>
                      <a:pt x="4530" y="1082"/>
                    </a:lnTo>
                    <a:lnTo>
                      <a:pt x="4521" y="1075"/>
                    </a:lnTo>
                    <a:lnTo>
                      <a:pt x="4514" y="1066"/>
                    </a:lnTo>
                    <a:lnTo>
                      <a:pt x="4507" y="1056"/>
                    </a:lnTo>
                    <a:close/>
                    <a:moveTo>
                      <a:pt x="4692" y="995"/>
                    </a:moveTo>
                    <a:lnTo>
                      <a:pt x="4696" y="995"/>
                    </a:lnTo>
                    <a:lnTo>
                      <a:pt x="4699" y="997"/>
                    </a:lnTo>
                    <a:lnTo>
                      <a:pt x="4699" y="997"/>
                    </a:lnTo>
                    <a:lnTo>
                      <a:pt x="4701" y="998"/>
                    </a:lnTo>
                    <a:lnTo>
                      <a:pt x="4701" y="1000"/>
                    </a:lnTo>
                    <a:lnTo>
                      <a:pt x="4703" y="1002"/>
                    </a:lnTo>
                    <a:lnTo>
                      <a:pt x="4704" y="1005"/>
                    </a:lnTo>
                    <a:lnTo>
                      <a:pt x="4708" y="1011"/>
                    </a:lnTo>
                    <a:lnTo>
                      <a:pt x="4710" y="1017"/>
                    </a:lnTo>
                    <a:lnTo>
                      <a:pt x="4711" y="1024"/>
                    </a:lnTo>
                    <a:lnTo>
                      <a:pt x="4704" y="1024"/>
                    </a:lnTo>
                    <a:lnTo>
                      <a:pt x="4704" y="1017"/>
                    </a:lnTo>
                    <a:lnTo>
                      <a:pt x="4699" y="1014"/>
                    </a:lnTo>
                    <a:lnTo>
                      <a:pt x="4697" y="1009"/>
                    </a:lnTo>
                    <a:lnTo>
                      <a:pt x="4696" y="1005"/>
                    </a:lnTo>
                    <a:lnTo>
                      <a:pt x="4694" y="1000"/>
                    </a:lnTo>
                    <a:lnTo>
                      <a:pt x="4692" y="995"/>
                    </a:lnTo>
                    <a:close/>
                    <a:moveTo>
                      <a:pt x="4532" y="974"/>
                    </a:moveTo>
                    <a:lnTo>
                      <a:pt x="4535" y="974"/>
                    </a:lnTo>
                    <a:lnTo>
                      <a:pt x="4537" y="976"/>
                    </a:lnTo>
                    <a:lnTo>
                      <a:pt x="4537" y="977"/>
                    </a:lnTo>
                    <a:lnTo>
                      <a:pt x="4539" y="977"/>
                    </a:lnTo>
                    <a:lnTo>
                      <a:pt x="4540" y="977"/>
                    </a:lnTo>
                    <a:lnTo>
                      <a:pt x="4542" y="979"/>
                    </a:lnTo>
                    <a:lnTo>
                      <a:pt x="4544" y="984"/>
                    </a:lnTo>
                    <a:lnTo>
                      <a:pt x="4544" y="990"/>
                    </a:lnTo>
                    <a:lnTo>
                      <a:pt x="4546" y="993"/>
                    </a:lnTo>
                    <a:lnTo>
                      <a:pt x="4547" y="997"/>
                    </a:lnTo>
                    <a:lnTo>
                      <a:pt x="4549" y="1000"/>
                    </a:lnTo>
                    <a:lnTo>
                      <a:pt x="4551" y="1005"/>
                    </a:lnTo>
                    <a:lnTo>
                      <a:pt x="4539" y="1005"/>
                    </a:lnTo>
                    <a:lnTo>
                      <a:pt x="4537" y="997"/>
                    </a:lnTo>
                    <a:lnTo>
                      <a:pt x="4533" y="991"/>
                    </a:lnTo>
                    <a:lnTo>
                      <a:pt x="4532" y="984"/>
                    </a:lnTo>
                    <a:lnTo>
                      <a:pt x="4532" y="974"/>
                    </a:lnTo>
                    <a:close/>
                    <a:moveTo>
                      <a:pt x="2907" y="967"/>
                    </a:moveTo>
                    <a:lnTo>
                      <a:pt x="2907" y="974"/>
                    </a:lnTo>
                    <a:lnTo>
                      <a:pt x="2915" y="993"/>
                    </a:lnTo>
                    <a:lnTo>
                      <a:pt x="2915" y="1014"/>
                    </a:lnTo>
                    <a:lnTo>
                      <a:pt x="2910" y="1033"/>
                    </a:lnTo>
                    <a:lnTo>
                      <a:pt x="2901" y="1052"/>
                    </a:lnTo>
                    <a:lnTo>
                      <a:pt x="2891" y="1070"/>
                    </a:lnTo>
                    <a:lnTo>
                      <a:pt x="2882" y="1087"/>
                    </a:lnTo>
                    <a:lnTo>
                      <a:pt x="2875" y="1101"/>
                    </a:lnTo>
                    <a:lnTo>
                      <a:pt x="2872" y="1119"/>
                    </a:lnTo>
                    <a:lnTo>
                      <a:pt x="2870" y="1134"/>
                    </a:lnTo>
                    <a:lnTo>
                      <a:pt x="2868" y="1147"/>
                    </a:lnTo>
                    <a:lnTo>
                      <a:pt x="2861" y="1157"/>
                    </a:lnTo>
                    <a:lnTo>
                      <a:pt x="2849" y="1166"/>
                    </a:lnTo>
                    <a:lnTo>
                      <a:pt x="2849" y="1162"/>
                    </a:lnTo>
                    <a:lnTo>
                      <a:pt x="2842" y="1161"/>
                    </a:lnTo>
                    <a:lnTo>
                      <a:pt x="2837" y="1159"/>
                    </a:lnTo>
                    <a:lnTo>
                      <a:pt x="2832" y="1155"/>
                    </a:lnTo>
                    <a:lnTo>
                      <a:pt x="2828" y="1150"/>
                    </a:lnTo>
                    <a:lnTo>
                      <a:pt x="2826" y="1143"/>
                    </a:lnTo>
                    <a:lnTo>
                      <a:pt x="2819" y="1129"/>
                    </a:lnTo>
                    <a:lnTo>
                      <a:pt x="2818" y="1115"/>
                    </a:lnTo>
                    <a:lnTo>
                      <a:pt x="2823" y="1103"/>
                    </a:lnTo>
                    <a:lnTo>
                      <a:pt x="2828" y="1089"/>
                    </a:lnTo>
                    <a:lnTo>
                      <a:pt x="2833" y="1075"/>
                    </a:lnTo>
                    <a:lnTo>
                      <a:pt x="2833" y="1066"/>
                    </a:lnTo>
                    <a:lnTo>
                      <a:pt x="2832" y="1052"/>
                    </a:lnTo>
                    <a:lnTo>
                      <a:pt x="2830" y="1038"/>
                    </a:lnTo>
                    <a:lnTo>
                      <a:pt x="2830" y="1024"/>
                    </a:lnTo>
                    <a:lnTo>
                      <a:pt x="2849" y="1024"/>
                    </a:lnTo>
                    <a:lnTo>
                      <a:pt x="2854" y="1016"/>
                    </a:lnTo>
                    <a:lnTo>
                      <a:pt x="2865" y="1005"/>
                    </a:lnTo>
                    <a:lnTo>
                      <a:pt x="2875" y="993"/>
                    </a:lnTo>
                    <a:lnTo>
                      <a:pt x="2887" y="981"/>
                    </a:lnTo>
                    <a:lnTo>
                      <a:pt x="2898" y="972"/>
                    </a:lnTo>
                    <a:lnTo>
                      <a:pt x="2907" y="967"/>
                    </a:lnTo>
                    <a:close/>
                    <a:moveTo>
                      <a:pt x="4455" y="913"/>
                    </a:moveTo>
                    <a:lnTo>
                      <a:pt x="4469" y="918"/>
                    </a:lnTo>
                    <a:lnTo>
                      <a:pt x="4469" y="925"/>
                    </a:lnTo>
                    <a:lnTo>
                      <a:pt x="4458" y="925"/>
                    </a:lnTo>
                    <a:lnTo>
                      <a:pt x="4458" y="921"/>
                    </a:lnTo>
                    <a:lnTo>
                      <a:pt x="4457" y="920"/>
                    </a:lnTo>
                    <a:lnTo>
                      <a:pt x="4457" y="918"/>
                    </a:lnTo>
                    <a:lnTo>
                      <a:pt x="4455" y="918"/>
                    </a:lnTo>
                    <a:lnTo>
                      <a:pt x="4455" y="916"/>
                    </a:lnTo>
                    <a:lnTo>
                      <a:pt x="4455" y="913"/>
                    </a:lnTo>
                    <a:close/>
                    <a:moveTo>
                      <a:pt x="4205" y="909"/>
                    </a:moveTo>
                    <a:lnTo>
                      <a:pt x="4209" y="909"/>
                    </a:lnTo>
                    <a:lnTo>
                      <a:pt x="4210" y="918"/>
                    </a:lnTo>
                    <a:lnTo>
                      <a:pt x="4212" y="930"/>
                    </a:lnTo>
                    <a:lnTo>
                      <a:pt x="4217" y="944"/>
                    </a:lnTo>
                    <a:lnTo>
                      <a:pt x="4221" y="956"/>
                    </a:lnTo>
                    <a:lnTo>
                      <a:pt x="4224" y="963"/>
                    </a:lnTo>
                    <a:lnTo>
                      <a:pt x="4226" y="965"/>
                    </a:lnTo>
                    <a:lnTo>
                      <a:pt x="4231" y="967"/>
                    </a:lnTo>
                    <a:lnTo>
                      <a:pt x="4235" y="967"/>
                    </a:lnTo>
                    <a:lnTo>
                      <a:pt x="4240" y="969"/>
                    </a:lnTo>
                    <a:lnTo>
                      <a:pt x="4244" y="969"/>
                    </a:lnTo>
                    <a:lnTo>
                      <a:pt x="4247" y="970"/>
                    </a:lnTo>
                    <a:lnTo>
                      <a:pt x="4247" y="976"/>
                    </a:lnTo>
                    <a:lnTo>
                      <a:pt x="4251" y="988"/>
                    </a:lnTo>
                    <a:lnTo>
                      <a:pt x="4254" y="1002"/>
                    </a:lnTo>
                    <a:lnTo>
                      <a:pt x="4259" y="1019"/>
                    </a:lnTo>
                    <a:lnTo>
                      <a:pt x="4263" y="1031"/>
                    </a:lnTo>
                    <a:lnTo>
                      <a:pt x="4266" y="1040"/>
                    </a:lnTo>
                    <a:lnTo>
                      <a:pt x="4275" y="1040"/>
                    </a:lnTo>
                    <a:lnTo>
                      <a:pt x="4280" y="1042"/>
                    </a:lnTo>
                    <a:lnTo>
                      <a:pt x="4286" y="1044"/>
                    </a:lnTo>
                    <a:lnTo>
                      <a:pt x="4289" y="1047"/>
                    </a:lnTo>
                    <a:lnTo>
                      <a:pt x="4292" y="1052"/>
                    </a:lnTo>
                    <a:lnTo>
                      <a:pt x="4301" y="1065"/>
                    </a:lnTo>
                    <a:lnTo>
                      <a:pt x="4305" y="1082"/>
                    </a:lnTo>
                    <a:lnTo>
                      <a:pt x="4324" y="1082"/>
                    </a:lnTo>
                    <a:lnTo>
                      <a:pt x="4331" y="1100"/>
                    </a:lnTo>
                    <a:lnTo>
                      <a:pt x="4341" y="1112"/>
                    </a:lnTo>
                    <a:lnTo>
                      <a:pt x="4350" y="1124"/>
                    </a:lnTo>
                    <a:lnTo>
                      <a:pt x="4359" y="1140"/>
                    </a:lnTo>
                    <a:lnTo>
                      <a:pt x="4362" y="1166"/>
                    </a:lnTo>
                    <a:lnTo>
                      <a:pt x="4361" y="1187"/>
                    </a:lnTo>
                    <a:lnTo>
                      <a:pt x="4355" y="1208"/>
                    </a:lnTo>
                    <a:lnTo>
                      <a:pt x="4347" y="1227"/>
                    </a:lnTo>
                    <a:lnTo>
                      <a:pt x="4338" y="1248"/>
                    </a:lnTo>
                    <a:lnTo>
                      <a:pt x="4327" y="1271"/>
                    </a:lnTo>
                    <a:lnTo>
                      <a:pt x="4324" y="1285"/>
                    </a:lnTo>
                    <a:lnTo>
                      <a:pt x="4319" y="1299"/>
                    </a:lnTo>
                    <a:lnTo>
                      <a:pt x="4315" y="1314"/>
                    </a:lnTo>
                    <a:lnTo>
                      <a:pt x="4310" y="1326"/>
                    </a:lnTo>
                    <a:lnTo>
                      <a:pt x="4301" y="1335"/>
                    </a:lnTo>
                    <a:lnTo>
                      <a:pt x="4291" y="1340"/>
                    </a:lnTo>
                    <a:lnTo>
                      <a:pt x="4279" y="1346"/>
                    </a:lnTo>
                    <a:lnTo>
                      <a:pt x="4266" y="1351"/>
                    </a:lnTo>
                    <a:lnTo>
                      <a:pt x="4258" y="1354"/>
                    </a:lnTo>
                    <a:lnTo>
                      <a:pt x="4247" y="1346"/>
                    </a:lnTo>
                    <a:lnTo>
                      <a:pt x="4235" y="1335"/>
                    </a:lnTo>
                    <a:lnTo>
                      <a:pt x="4226" y="1342"/>
                    </a:lnTo>
                    <a:lnTo>
                      <a:pt x="4216" y="1346"/>
                    </a:lnTo>
                    <a:lnTo>
                      <a:pt x="4203" y="1344"/>
                    </a:lnTo>
                    <a:lnTo>
                      <a:pt x="4190" y="1342"/>
                    </a:lnTo>
                    <a:lnTo>
                      <a:pt x="4174" y="1340"/>
                    </a:lnTo>
                    <a:lnTo>
                      <a:pt x="4167" y="1305"/>
                    </a:lnTo>
                    <a:lnTo>
                      <a:pt x="4162" y="1304"/>
                    </a:lnTo>
                    <a:lnTo>
                      <a:pt x="4156" y="1302"/>
                    </a:lnTo>
                    <a:lnTo>
                      <a:pt x="4151" y="1300"/>
                    </a:lnTo>
                    <a:lnTo>
                      <a:pt x="4148" y="1297"/>
                    </a:lnTo>
                    <a:lnTo>
                      <a:pt x="4144" y="1295"/>
                    </a:lnTo>
                    <a:lnTo>
                      <a:pt x="4142" y="1293"/>
                    </a:lnTo>
                    <a:lnTo>
                      <a:pt x="4142" y="1292"/>
                    </a:lnTo>
                    <a:lnTo>
                      <a:pt x="4144" y="1290"/>
                    </a:lnTo>
                    <a:lnTo>
                      <a:pt x="4144" y="1288"/>
                    </a:lnTo>
                    <a:lnTo>
                      <a:pt x="4144" y="1286"/>
                    </a:lnTo>
                    <a:lnTo>
                      <a:pt x="4142" y="1285"/>
                    </a:lnTo>
                    <a:lnTo>
                      <a:pt x="4141" y="1283"/>
                    </a:lnTo>
                    <a:lnTo>
                      <a:pt x="4135" y="1281"/>
                    </a:lnTo>
                    <a:lnTo>
                      <a:pt x="4134" y="1283"/>
                    </a:lnTo>
                    <a:lnTo>
                      <a:pt x="4134" y="1285"/>
                    </a:lnTo>
                    <a:lnTo>
                      <a:pt x="4134" y="1285"/>
                    </a:lnTo>
                    <a:lnTo>
                      <a:pt x="4132" y="1286"/>
                    </a:lnTo>
                    <a:lnTo>
                      <a:pt x="4130" y="1286"/>
                    </a:lnTo>
                    <a:lnTo>
                      <a:pt x="4128" y="1286"/>
                    </a:lnTo>
                    <a:lnTo>
                      <a:pt x="4128" y="1281"/>
                    </a:lnTo>
                    <a:lnTo>
                      <a:pt x="4123" y="1281"/>
                    </a:lnTo>
                    <a:lnTo>
                      <a:pt x="4123" y="1278"/>
                    </a:lnTo>
                    <a:lnTo>
                      <a:pt x="4130" y="1274"/>
                    </a:lnTo>
                    <a:lnTo>
                      <a:pt x="4135" y="1269"/>
                    </a:lnTo>
                    <a:lnTo>
                      <a:pt x="4139" y="1264"/>
                    </a:lnTo>
                    <a:lnTo>
                      <a:pt x="4135" y="1264"/>
                    </a:lnTo>
                    <a:lnTo>
                      <a:pt x="4135" y="1258"/>
                    </a:lnTo>
                    <a:lnTo>
                      <a:pt x="4127" y="1267"/>
                    </a:lnTo>
                    <a:lnTo>
                      <a:pt x="4118" y="1272"/>
                    </a:lnTo>
                    <a:lnTo>
                      <a:pt x="4104" y="1278"/>
                    </a:lnTo>
                    <a:lnTo>
                      <a:pt x="4099" y="1267"/>
                    </a:lnTo>
                    <a:lnTo>
                      <a:pt x="4092" y="1257"/>
                    </a:lnTo>
                    <a:lnTo>
                      <a:pt x="4083" y="1248"/>
                    </a:lnTo>
                    <a:lnTo>
                      <a:pt x="4071" y="1241"/>
                    </a:lnTo>
                    <a:lnTo>
                      <a:pt x="4055" y="1239"/>
                    </a:lnTo>
                    <a:lnTo>
                      <a:pt x="4045" y="1236"/>
                    </a:lnTo>
                    <a:lnTo>
                      <a:pt x="4031" y="1234"/>
                    </a:lnTo>
                    <a:lnTo>
                      <a:pt x="4011" y="1236"/>
                    </a:lnTo>
                    <a:lnTo>
                      <a:pt x="3992" y="1237"/>
                    </a:lnTo>
                    <a:lnTo>
                      <a:pt x="3973" y="1241"/>
                    </a:lnTo>
                    <a:lnTo>
                      <a:pt x="3956" y="1244"/>
                    </a:lnTo>
                    <a:lnTo>
                      <a:pt x="3943" y="1248"/>
                    </a:lnTo>
                    <a:lnTo>
                      <a:pt x="3936" y="1271"/>
                    </a:lnTo>
                    <a:lnTo>
                      <a:pt x="3919" y="1271"/>
                    </a:lnTo>
                    <a:lnTo>
                      <a:pt x="3903" y="1269"/>
                    </a:lnTo>
                    <a:lnTo>
                      <a:pt x="3886" y="1271"/>
                    </a:lnTo>
                    <a:lnTo>
                      <a:pt x="3874" y="1274"/>
                    </a:lnTo>
                    <a:lnTo>
                      <a:pt x="3861" y="1279"/>
                    </a:lnTo>
                    <a:lnTo>
                      <a:pt x="3851" y="1285"/>
                    </a:lnTo>
                    <a:lnTo>
                      <a:pt x="3839" y="1286"/>
                    </a:lnTo>
                    <a:lnTo>
                      <a:pt x="3825" y="1286"/>
                    </a:lnTo>
                    <a:lnTo>
                      <a:pt x="3821" y="1279"/>
                    </a:lnTo>
                    <a:lnTo>
                      <a:pt x="3818" y="1274"/>
                    </a:lnTo>
                    <a:lnTo>
                      <a:pt x="3812" y="1269"/>
                    </a:lnTo>
                    <a:lnTo>
                      <a:pt x="3809" y="1264"/>
                    </a:lnTo>
                    <a:lnTo>
                      <a:pt x="3818" y="1251"/>
                    </a:lnTo>
                    <a:lnTo>
                      <a:pt x="3819" y="1236"/>
                    </a:lnTo>
                    <a:lnTo>
                      <a:pt x="3818" y="1218"/>
                    </a:lnTo>
                    <a:lnTo>
                      <a:pt x="3811" y="1201"/>
                    </a:lnTo>
                    <a:lnTo>
                      <a:pt x="3804" y="1182"/>
                    </a:lnTo>
                    <a:lnTo>
                      <a:pt x="3795" y="1164"/>
                    </a:lnTo>
                    <a:lnTo>
                      <a:pt x="3790" y="1148"/>
                    </a:lnTo>
                    <a:lnTo>
                      <a:pt x="3786" y="1136"/>
                    </a:lnTo>
                    <a:lnTo>
                      <a:pt x="3790" y="1136"/>
                    </a:lnTo>
                    <a:lnTo>
                      <a:pt x="3793" y="1138"/>
                    </a:lnTo>
                    <a:lnTo>
                      <a:pt x="3795" y="1138"/>
                    </a:lnTo>
                    <a:lnTo>
                      <a:pt x="3797" y="1140"/>
                    </a:lnTo>
                    <a:lnTo>
                      <a:pt x="3797" y="1140"/>
                    </a:lnTo>
                    <a:lnTo>
                      <a:pt x="3799" y="1138"/>
                    </a:lnTo>
                    <a:lnTo>
                      <a:pt x="3800" y="1136"/>
                    </a:lnTo>
                    <a:lnTo>
                      <a:pt x="3802" y="1133"/>
                    </a:lnTo>
                    <a:lnTo>
                      <a:pt x="3793" y="1124"/>
                    </a:lnTo>
                    <a:lnTo>
                      <a:pt x="3790" y="1113"/>
                    </a:lnTo>
                    <a:lnTo>
                      <a:pt x="3786" y="1101"/>
                    </a:lnTo>
                    <a:lnTo>
                      <a:pt x="3795" y="1091"/>
                    </a:lnTo>
                    <a:lnTo>
                      <a:pt x="3802" y="1080"/>
                    </a:lnTo>
                    <a:lnTo>
                      <a:pt x="3809" y="1070"/>
                    </a:lnTo>
                    <a:lnTo>
                      <a:pt x="3819" y="1061"/>
                    </a:lnTo>
                    <a:lnTo>
                      <a:pt x="3832" y="1056"/>
                    </a:lnTo>
                    <a:lnTo>
                      <a:pt x="3840" y="1056"/>
                    </a:lnTo>
                    <a:lnTo>
                      <a:pt x="3854" y="1054"/>
                    </a:lnTo>
                    <a:lnTo>
                      <a:pt x="3872" y="1051"/>
                    </a:lnTo>
                    <a:lnTo>
                      <a:pt x="3888" y="1047"/>
                    </a:lnTo>
                    <a:lnTo>
                      <a:pt x="3902" y="1044"/>
                    </a:lnTo>
                    <a:lnTo>
                      <a:pt x="3907" y="1031"/>
                    </a:lnTo>
                    <a:lnTo>
                      <a:pt x="3915" y="1017"/>
                    </a:lnTo>
                    <a:lnTo>
                      <a:pt x="3926" y="1007"/>
                    </a:lnTo>
                    <a:lnTo>
                      <a:pt x="3940" y="1002"/>
                    </a:lnTo>
                    <a:lnTo>
                      <a:pt x="3940" y="990"/>
                    </a:lnTo>
                    <a:lnTo>
                      <a:pt x="3947" y="986"/>
                    </a:lnTo>
                    <a:lnTo>
                      <a:pt x="3956" y="977"/>
                    </a:lnTo>
                    <a:lnTo>
                      <a:pt x="3966" y="969"/>
                    </a:lnTo>
                    <a:lnTo>
                      <a:pt x="3977" y="962"/>
                    </a:lnTo>
                    <a:lnTo>
                      <a:pt x="3987" y="956"/>
                    </a:lnTo>
                    <a:lnTo>
                      <a:pt x="3994" y="960"/>
                    </a:lnTo>
                    <a:lnTo>
                      <a:pt x="3996" y="962"/>
                    </a:lnTo>
                    <a:lnTo>
                      <a:pt x="3996" y="965"/>
                    </a:lnTo>
                    <a:lnTo>
                      <a:pt x="3996" y="969"/>
                    </a:lnTo>
                    <a:lnTo>
                      <a:pt x="3998" y="974"/>
                    </a:lnTo>
                    <a:lnTo>
                      <a:pt x="4003" y="976"/>
                    </a:lnTo>
                    <a:lnTo>
                      <a:pt x="4008" y="976"/>
                    </a:lnTo>
                    <a:lnTo>
                      <a:pt x="4011" y="977"/>
                    </a:lnTo>
                    <a:lnTo>
                      <a:pt x="4017" y="979"/>
                    </a:lnTo>
                    <a:lnTo>
                      <a:pt x="4020" y="963"/>
                    </a:lnTo>
                    <a:lnTo>
                      <a:pt x="4025" y="955"/>
                    </a:lnTo>
                    <a:lnTo>
                      <a:pt x="4032" y="949"/>
                    </a:lnTo>
                    <a:lnTo>
                      <a:pt x="4041" y="944"/>
                    </a:lnTo>
                    <a:lnTo>
                      <a:pt x="4050" y="941"/>
                    </a:lnTo>
                    <a:lnTo>
                      <a:pt x="4059" y="932"/>
                    </a:lnTo>
                    <a:lnTo>
                      <a:pt x="4055" y="930"/>
                    </a:lnTo>
                    <a:lnTo>
                      <a:pt x="4055" y="928"/>
                    </a:lnTo>
                    <a:lnTo>
                      <a:pt x="4053" y="927"/>
                    </a:lnTo>
                    <a:lnTo>
                      <a:pt x="4052" y="925"/>
                    </a:lnTo>
                    <a:lnTo>
                      <a:pt x="4066" y="925"/>
                    </a:lnTo>
                    <a:lnTo>
                      <a:pt x="4080" y="932"/>
                    </a:lnTo>
                    <a:lnTo>
                      <a:pt x="4095" y="934"/>
                    </a:lnTo>
                    <a:lnTo>
                      <a:pt x="4111" y="934"/>
                    </a:lnTo>
                    <a:lnTo>
                      <a:pt x="4128" y="932"/>
                    </a:lnTo>
                    <a:lnTo>
                      <a:pt x="4128" y="941"/>
                    </a:lnTo>
                    <a:lnTo>
                      <a:pt x="4116" y="956"/>
                    </a:lnTo>
                    <a:lnTo>
                      <a:pt x="4109" y="979"/>
                    </a:lnTo>
                    <a:lnTo>
                      <a:pt x="4121" y="986"/>
                    </a:lnTo>
                    <a:lnTo>
                      <a:pt x="4137" y="995"/>
                    </a:lnTo>
                    <a:lnTo>
                      <a:pt x="4153" y="1004"/>
                    </a:lnTo>
                    <a:lnTo>
                      <a:pt x="4169" y="1009"/>
                    </a:lnTo>
                    <a:lnTo>
                      <a:pt x="4181" y="1009"/>
                    </a:lnTo>
                    <a:lnTo>
                      <a:pt x="4190" y="995"/>
                    </a:lnTo>
                    <a:lnTo>
                      <a:pt x="4195" y="972"/>
                    </a:lnTo>
                    <a:lnTo>
                      <a:pt x="4196" y="949"/>
                    </a:lnTo>
                    <a:lnTo>
                      <a:pt x="4200" y="927"/>
                    </a:lnTo>
                    <a:lnTo>
                      <a:pt x="4205" y="909"/>
                    </a:lnTo>
                    <a:close/>
                    <a:moveTo>
                      <a:pt x="4439" y="897"/>
                    </a:moveTo>
                    <a:lnTo>
                      <a:pt x="4443" y="901"/>
                    </a:lnTo>
                    <a:lnTo>
                      <a:pt x="4446" y="904"/>
                    </a:lnTo>
                    <a:lnTo>
                      <a:pt x="4450" y="906"/>
                    </a:lnTo>
                    <a:lnTo>
                      <a:pt x="4450" y="913"/>
                    </a:lnTo>
                    <a:lnTo>
                      <a:pt x="4443" y="913"/>
                    </a:lnTo>
                    <a:lnTo>
                      <a:pt x="4441" y="913"/>
                    </a:lnTo>
                    <a:lnTo>
                      <a:pt x="4439" y="911"/>
                    </a:lnTo>
                    <a:lnTo>
                      <a:pt x="4437" y="911"/>
                    </a:lnTo>
                    <a:lnTo>
                      <a:pt x="4436" y="911"/>
                    </a:lnTo>
                    <a:lnTo>
                      <a:pt x="4430" y="909"/>
                    </a:lnTo>
                    <a:lnTo>
                      <a:pt x="4432" y="906"/>
                    </a:lnTo>
                    <a:lnTo>
                      <a:pt x="4432" y="902"/>
                    </a:lnTo>
                    <a:lnTo>
                      <a:pt x="4432" y="902"/>
                    </a:lnTo>
                    <a:lnTo>
                      <a:pt x="4432" y="901"/>
                    </a:lnTo>
                    <a:lnTo>
                      <a:pt x="4434" y="901"/>
                    </a:lnTo>
                    <a:lnTo>
                      <a:pt x="4436" y="901"/>
                    </a:lnTo>
                    <a:lnTo>
                      <a:pt x="4439" y="897"/>
                    </a:lnTo>
                    <a:close/>
                    <a:moveTo>
                      <a:pt x="3867" y="897"/>
                    </a:moveTo>
                    <a:lnTo>
                      <a:pt x="3874" y="899"/>
                    </a:lnTo>
                    <a:lnTo>
                      <a:pt x="3879" y="899"/>
                    </a:lnTo>
                    <a:lnTo>
                      <a:pt x="3884" y="899"/>
                    </a:lnTo>
                    <a:lnTo>
                      <a:pt x="3888" y="901"/>
                    </a:lnTo>
                    <a:lnTo>
                      <a:pt x="3893" y="902"/>
                    </a:lnTo>
                    <a:lnTo>
                      <a:pt x="3893" y="909"/>
                    </a:lnTo>
                    <a:lnTo>
                      <a:pt x="3889" y="909"/>
                    </a:lnTo>
                    <a:lnTo>
                      <a:pt x="3889" y="913"/>
                    </a:lnTo>
                    <a:lnTo>
                      <a:pt x="3884" y="911"/>
                    </a:lnTo>
                    <a:lnTo>
                      <a:pt x="3879" y="909"/>
                    </a:lnTo>
                    <a:lnTo>
                      <a:pt x="3874" y="906"/>
                    </a:lnTo>
                    <a:lnTo>
                      <a:pt x="3870" y="902"/>
                    </a:lnTo>
                    <a:lnTo>
                      <a:pt x="3867" y="897"/>
                    </a:lnTo>
                    <a:close/>
                    <a:moveTo>
                      <a:pt x="4443" y="887"/>
                    </a:moveTo>
                    <a:lnTo>
                      <a:pt x="4455" y="887"/>
                    </a:lnTo>
                    <a:lnTo>
                      <a:pt x="4462" y="909"/>
                    </a:lnTo>
                    <a:lnTo>
                      <a:pt x="4455" y="909"/>
                    </a:lnTo>
                    <a:lnTo>
                      <a:pt x="4455" y="906"/>
                    </a:lnTo>
                    <a:lnTo>
                      <a:pt x="4450" y="902"/>
                    </a:lnTo>
                    <a:lnTo>
                      <a:pt x="4448" y="899"/>
                    </a:lnTo>
                    <a:lnTo>
                      <a:pt x="4446" y="895"/>
                    </a:lnTo>
                    <a:lnTo>
                      <a:pt x="4444" y="892"/>
                    </a:lnTo>
                    <a:lnTo>
                      <a:pt x="4443" y="887"/>
                    </a:lnTo>
                    <a:close/>
                    <a:moveTo>
                      <a:pt x="3963" y="883"/>
                    </a:moveTo>
                    <a:lnTo>
                      <a:pt x="3982" y="883"/>
                    </a:lnTo>
                    <a:lnTo>
                      <a:pt x="3982" y="887"/>
                    </a:lnTo>
                    <a:lnTo>
                      <a:pt x="3978" y="887"/>
                    </a:lnTo>
                    <a:lnTo>
                      <a:pt x="3966" y="895"/>
                    </a:lnTo>
                    <a:lnTo>
                      <a:pt x="3952" y="904"/>
                    </a:lnTo>
                    <a:lnTo>
                      <a:pt x="3940" y="913"/>
                    </a:lnTo>
                    <a:lnTo>
                      <a:pt x="3936" y="913"/>
                    </a:lnTo>
                    <a:lnTo>
                      <a:pt x="3935" y="911"/>
                    </a:lnTo>
                    <a:lnTo>
                      <a:pt x="3935" y="911"/>
                    </a:lnTo>
                    <a:lnTo>
                      <a:pt x="3933" y="911"/>
                    </a:lnTo>
                    <a:lnTo>
                      <a:pt x="3931" y="909"/>
                    </a:lnTo>
                    <a:lnTo>
                      <a:pt x="3928" y="909"/>
                    </a:lnTo>
                    <a:lnTo>
                      <a:pt x="3928" y="906"/>
                    </a:lnTo>
                    <a:lnTo>
                      <a:pt x="3945" y="895"/>
                    </a:lnTo>
                    <a:lnTo>
                      <a:pt x="3963" y="883"/>
                    </a:lnTo>
                    <a:close/>
                    <a:moveTo>
                      <a:pt x="3917" y="878"/>
                    </a:moveTo>
                    <a:lnTo>
                      <a:pt x="3921" y="881"/>
                    </a:lnTo>
                    <a:lnTo>
                      <a:pt x="3922" y="881"/>
                    </a:lnTo>
                    <a:lnTo>
                      <a:pt x="3922" y="881"/>
                    </a:lnTo>
                    <a:lnTo>
                      <a:pt x="3922" y="883"/>
                    </a:lnTo>
                    <a:lnTo>
                      <a:pt x="3922" y="883"/>
                    </a:lnTo>
                    <a:lnTo>
                      <a:pt x="3922" y="887"/>
                    </a:lnTo>
                    <a:lnTo>
                      <a:pt x="3924" y="890"/>
                    </a:lnTo>
                    <a:lnTo>
                      <a:pt x="3917" y="890"/>
                    </a:lnTo>
                    <a:lnTo>
                      <a:pt x="3905" y="894"/>
                    </a:lnTo>
                    <a:lnTo>
                      <a:pt x="3891" y="894"/>
                    </a:lnTo>
                    <a:lnTo>
                      <a:pt x="3879" y="890"/>
                    </a:lnTo>
                    <a:lnTo>
                      <a:pt x="3879" y="888"/>
                    </a:lnTo>
                    <a:lnTo>
                      <a:pt x="3881" y="888"/>
                    </a:lnTo>
                    <a:lnTo>
                      <a:pt x="3881" y="888"/>
                    </a:lnTo>
                    <a:lnTo>
                      <a:pt x="3881" y="888"/>
                    </a:lnTo>
                    <a:lnTo>
                      <a:pt x="3881" y="888"/>
                    </a:lnTo>
                    <a:lnTo>
                      <a:pt x="3882" y="887"/>
                    </a:lnTo>
                    <a:lnTo>
                      <a:pt x="3891" y="883"/>
                    </a:lnTo>
                    <a:lnTo>
                      <a:pt x="3900" y="883"/>
                    </a:lnTo>
                    <a:lnTo>
                      <a:pt x="3908" y="883"/>
                    </a:lnTo>
                    <a:lnTo>
                      <a:pt x="3917" y="878"/>
                    </a:lnTo>
                    <a:close/>
                    <a:moveTo>
                      <a:pt x="3851" y="878"/>
                    </a:moveTo>
                    <a:lnTo>
                      <a:pt x="3858" y="880"/>
                    </a:lnTo>
                    <a:lnTo>
                      <a:pt x="3861" y="881"/>
                    </a:lnTo>
                    <a:lnTo>
                      <a:pt x="3865" y="883"/>
                    </a:lnTo>
                    <a:lnTo>
                      <a:pt x="3868" y="887"/>
                    </a:lnTo>
                    <a:lnTo>
                      <a:pt x="3870" y="890"/>
                    </a:lnTo>
                    <a:lnTo>
                      <a:pt x="3867" y="890"/>
                    </a:lnTo>
                    <a:lnTo>
                      <a:pt x="3858" y="894"/>
                    </a:lnTo>
                    <a:lnTo>
                      <a:pt x="3847" y="894"/>
                    </a:lnTo>
                    <a:lnTo>
                      <a:pt x="3835" y="894"/>
                    </a:lnTo>
                    <a:lnTo>
                      <a:pt x="3835" y="887"/>
                    </a:lnTo>
                    <a:lnTo>
                      <a:pt x="3840" y="885"/>
                    </a:lnTo>
                    <a:lnTo>
                      <a:pt x="3846" y="883"/>
                    </a:lnTo>
                    <a:lnTo>
                      <a:pt x="3847" y="881"/>
                    </a:lnTo>
                    <a:lnTo>
                      <a:pt x="3851" y="878"/>
                    </a:lnTo>
                    <a:close/>
                    <a:moveTo>
                      <a:pt x="4411" y="871"/>
                    </a:moveTo>
                    <a:lnTo>
                      <a:pt x="4418" y="874"/>
                    </a:lnTo>
                    <a:lnTo>
                      <a:pt x="4422" y="876"/>
                    </a:lnTo>
                    <a:lnTo>
                      <a:pt x="4427" y="880"/>
                    </a:lnTo>
                    <a:lnTo>
                      <a:pt x="4430" y="883"/>
                    </a:lnTo>
                    <a:lnTo>
                      <a:pt x="4432" y="888"/>
                    </a:lnTo>
                    <a:lnTo>
                      <a:pt x="4436" y="894"/>
                    </a:lnTo>
                    <a:lnTo>
                      <a:pt x="4430" y="894"/>
                    </a:lnTo>
                    <a:lnTo>
                      <a:pt x="4427" y="890"/>
                    </a:lnTo>
                    <a:lnTo>
                      <a:pt x="4422" y="887"/>
                    </a:lnTo>
                    <a:lnTo>
                      <a:pt x="4418" y="883"/>
                    </a:lnTo>
                    <a:lnTo>
                      <a:pt x="4415" y="878"/>
                    </a:lnTo>
                    <a:lnTo>
                      <a:pt x="4411" y="871"/>
                    </a:lnTo>
                    <a:close/>
                    <a:moveTo>
                      <a:pt x="4385" y="864"/>
                    </a:moveTo>
                    <a:lnTo>
                      <a:pt x="4388" y="864"/>
                    </a:lnTo>
                    <a:lnTo>
                      <a:pt x="4390" y="866"/>
                    </a:lnTo>
                    <a:lnTo>
                      <a:pt x="4392" y="866"/>
                    </a:lnTo>
                    <a:lnTo>
                      <a:pt x="4394" y="867"/>
                    </a:lnTo>
                    <a:lnTo>
                      <a:pt x="4394" y="869"/>
                    </a:lnTo>
                    <a:lnTo>
                      <a:pt x="4397" y="871"/>
                    </a:lnTo>
                    <a:lnTo>
                      <a:pt x="4401" y="871"/>
                    </a:lnTo>
                    <a:lnTo>
                      <a:pt x="4401" y="874"/>
                    </a:lnTo>
                    <a:lnTo>
                      <a:pt x="4395" y="873"/>
                    </a:lnTo>
                    <a:lnTo>
                      <a:pt x="4392" y="871"/>
                    </a:lnTo>
                    <a:lnTo>
                      <a:pt x="4390" y="869"/>
                    </a:lnTo>
                    <a:lnTo>
                      <a:pt x="4388" y="867"/>
                    </a:lnTo>
                    <a:lnTo>
                      <a:pt x="4385" y="864"/>
                    </a:lnTo>
                    <a:close/>
                    <a:moveTo>
                      <a:pt x="4081" y="845"/>
                    </a:moveTo>
                    <a:lnTo>
                      <a:pt x="4094" y="848"/>
                    </a:lnTo>
                    <a:lnTo>
                      <a:pt x="4094" y="855"/>
                    </a:lnTo>
                    <a:lnTo>
                      <a:pt x="4085" y="860"/>
                    </a:lnTo>
                    <a:lnTo>
                      <a:pt x="4085" y="860"/>
                    </a:lnTo>
                    <a:lnTo>
                      <a:pt x="4083" y="862"/>
                    </a:lnTo>
                    <a:lnTo>
                      <a:pt x="4083" y="862"/>
                    </a:lnTo>
                    <a:lnTo>
                      <a:pt x="4083" y="862"/>
                    </a:lnTo>
                    <a:lnTo>
                      <a:pt x="4083" y="862"/>
                    </a:lnTo>
                    <a:lnTo>
                      <a:pt x="4081" y="864"/>
                    </a:lnTo>
                    <a:lnTo>
                      <a:pt x="4081" y="845"/>
                    </a:lnTo>
                    <a:close/>
                    <a:moveTo>
                      <a:pt x="4362" y="825"/>
                    </a:moveTo>
                    <a:lnTo>
                      <a:pt x="4373" y="832"/>
                    </a:lnTo>
                    <a:lnTo>
                      <a:pt x="4380" y="843"/>
                    </a:lnTo>
                    <a:lnTo>
                      <a:pt x="4385" y="855"/>
                    </a:lnTo>
                    <a:lnTo>
                      <a:pt x="4382" y="855"/>
                    </a:lnTo>
                    <a:lnTo>
                      <a:pt x="4382" y="860"/>
                    </a:lnTo>
                    <a:lnTo>
                      <a:pt x="4369" y="855"/>
                    </a:lnTo>
                    <a:lnTo>
                      <a:pt x="4366" y="846"/>
                    </a:lnTo>
                    <a:lnTo>
                      <a:pt x="4364" y="838"/>
                    </a:lnTo>
                    <a:lnTo>
                      <a:pt x="4362" y="825"/>
                    </a:lnTo>
                    <a:close/>
                    <a:moveTo>
                      <a:pt x="4331" y="825"/>
                    </a:moveTo>
                    <a:lnTo>
                      <a:pt x="4340" y="825"/>
                    </a:lnTo>
                    <a:lnTo>
                      <a:pt x="4340" y="845"/>
                    </a:lnTo>
                    <a:lnTo>
                      <a:pt x="4305" y="855"/>
                    </a:lnTo>
                    <a:lnTo>
                      <a:pt x="4299" y="853"/>
                    </a:lnTo>
                    <a:lnTo>
                      <a:pt x="4294" y="852"/>
                    </a:lnTo>
                    <a:lnTo>
                      <a:pt x="4287" y="850"/>
                    </a:lnTo>
                    <a:lnTo>
                      <a:pt x="4282" y="848"/>
                    </a:lnTo>
                    <a:lnTo>
                      <a:pt x="4282" y="841"/>
                    </a:lnTo>
                    <a:lnTo>
                      <a:pt x="4303" y="839"/>
                    </a:lnTo>
                    <a:lnTo>
                      <a:pt x="4319" y="834"/>
                    </a:lnTo>
                    <a:lnTo>
                      <a:pt x="4331" y="825"/>
                    </a:lnTo>
                    <a:close/>
                    <a:moveTo>
                      <a:pt x="3966" y="810"/>
                    </a:moveTo>
                    <a:lnTo>
                      <a:pt x="3982" y="810"/>
                    </a:lnTo>
                    <a:lnTo>
                      <a:pt x="3984" y="812"/>
                    </a:lnTo>
                    <a:lnTo>
                      <a:pt x="3984" y="812"/>
                    </a:lnTo>
                    <a:lnTo>
                      <a:pt x="3984" y="812"/>
                    </a:lnTo>
                    <a:lnTo>
                      <a:pt x="3984" y="812"/>
                    </a:lnTo>
                    <a:lnTo>
                      <a:pt x="3984" y="812"/>
                    </a:lnTo>
                    <a:lnTo>
                      <a:pt x="3985" y="813"/>
                    </a:lnTo>
                    <a:lnTo>
                      <a:pt x="3985" y="820"/>
                    </a:lnTo>
                    <a:lnTo>
                      <a:pt x="3966" y="820"/>
                    </a:lnTo>
                    <a:lnTo>
                      <a:pt x="3966" y="810"/>
                    </a:lnTo>
                    <a:close/>
                    <a:moveTo>
                      <a:pt x="3994" y="806"/>
                    </a:moveTo>
                    <a:lnTo>
                      <a:pt x="4032" y="810"/>
                    </a:lnTo>
                    <a:lnTo>
                      <a:pt x="4032" y="813"/>
                    </a:lnTo>
                    <a:lnTo>
                      <a:pt x="4034" y="817"/>
                    </a:lnTo>
                    <a:lnTo>
                      <a:pt x="4034" y="820"/>
                    </a:lnTo>
                    <a:lnTo>
                      <a:pt x="4036" y="825"/>
                    </a:lnTo>
                    <a:lnTo>
                      <a:pt x="4032" y="825"/>
                    </a:lnTo>
                    <a:lnTo>
                      <a:pt x="4022" y="819"/>
                    </a:lnTo>
                    <a:lnTo>
                      <a:pt x="4010" y="817"/>
                    </a:lnTo>
                    <a:lnTo>
                      <a:pt x="3994" y="817"/>
                    </a:lnTo>
                    <a:lnTo>
                      <a:pt x="3994" y="806"/>
                    </a:lnTo>
                    <a:close/>
                    <a:moveTo>
                      <a:pt x="4312" y="798"/>
                    </a:moveTo>
                    <a:lnTo>
                      <a:pt x="4331" y="798"/>
                    </a:lnTo>
                    <a:lnTo>
                      <a:pt x="4340" y="808"/>
                    </a:lnTo>
                    <a:lnTo>
                      <a:pt x="4347" y="819"/>
                    </a:lnTo>
                    <a:lnTo>
                      <a:pt x="4350" y="832"/>
                    </a:lnTo>
                    <a:lnTo>
                      <a:pt x="4347" y="832"/>
                    </a:lnTo>
                    <a:lnTo>
                      <a:pt x="4338" y="824"/>
                    </a:lnTo>
                    <a:lnTo>
                      <a:pt x="4329" y="815"/>
                    </a:lnTo>
                    <a:lnTo>
                      <a:pt x="4319" y="808"/>
                    </a:lnTo>
                    <a:lnTo>
                      <a:pt x="4312" y="798"/>
                    </a:lnTo>
                    <a:close/>
                    <a:moveTo>
                      <a:pt x="4057" y="777"/>
                    </a:moveTo>
                    <a:lnTo>
                      <a:pt x="4067" y="777"/>
                    </a:lnTo>
                    <a:lnTo>
                      <a:pt x="4081" y="778"/>
                    </a:lnTo>
                    <a:lnTo>
                      <a:pt x="4085" y="791"/>
                    </a:lnTo>
                    <a:lnTo>
                      <a:pt x="4090" y="801"/>
                    </a:lnTo>
                    <a:lnTo>
                      <a:pt x="4097" y="810"/>
                    </a:lnTo>
                    <a:lnTo>
                      <a:pt x="4097" y="813"/>
                    </a:lnTo>
                    <a:lnTo>
                      <a:pt x="4100" y="813"/>
                    </a:lnTo>
                    <a:lnTo>
                      <a:pt x="4100" y="810"/>
                    </a:lnTo>
                    <a:lnTo>
                      <a:pt x="4109" y="801"/>
                    </a:lnTo>
                    <a:lnTo>
                      <a:pt x="4118" y="796"/>
                    </a:lnTo>
                    <a:lnTo>
                      <a:pt x="4130" y="792"/>
                    </a:lnTo>
                    <a:lnTo>
                      <a:pt x="4148" y="791"/>
                    </a:lnTo>
                    <a:lnTo>
                      <a:pt x="4162" y="799"/>
                    </a:lnTo>
                    <a:lnTo>
                      <a:pt x="4179" y="806"/>
                    </a:lnTo>
                    <a:lnTo>
                      <a:pt x="4200" y="813"/>
                    </a:lnTo>
                    <a:lnTo>
                      <a:pt x="4217" y="824"/>
                    </a:lnTo>
                    <a:lnTo>
                      <a:pt x="4231" y="834"/>
                    </a:lnTo>
                    <a:lnTo>
                      <a:pt x="4238" y="848"/>
                    </a:lnTo>
                    <a:lnTo>
                      <a:pt x="4251" y="850"/>
                    </a:lnTo>
                    <a:lnTo>
                      <a:pt x="4259" y="853"/>
                    </a:lnTo>
                    <a:lnTo>
                      <a:pt x="4270" y="855"/>
                    </a:lnTo>
                    <a:lnTo>
                      <a:pt x="4270" y="864"/>
                    </a:lnTo>
                    <a:lnTo>
                      <a:pt x="4268" y="864"/>
                    </a:lnTo>
                    <a:lnTo>
                      <a:pt x="4265" y="866"/>
                    </a:lnTo>
                    <a:lnTo>
                      <a:pt x="4261" y="866"/>
                    </a:lnTo>
                    <a:lnTo>
                      <a:pt x="4259" y="867"/>
                    </a:lnTo>
                    <a:lnTo>
                      <a:pt x="4258" y="869"/>
                    </a:lnTo>
                    <a:lnTo>
                      <a:pt x="4259" y="869"/>
                    </a:lnTo>
                    <a:lnTo>
                      <a:pt x="4263" y="871"/>
                    </a:lnTo>
                    <a:lnTo>
                      <a:pt x="4275" y="888"/>
                    </a:lnTo>
                    <a:lnTo>
                      <a:pt x="4292" y="902"/>
                    </a:lnTo>
                    <a:lnTo>
                      <a:pt x="4312" y="913"/>
                    </a:lnTo>
                    <a:lnTo>
                      <a:pt x="4312" y="921"/>
                    </a:lnTo>
                    <a:lnTo>
                      <a:pt x="4289" y="921"/>
                    </a:lnTo>
                    <a:lnTo>
                      <a:pt x="4286" y="918"/>
                    </a:lnTo>
                    <a:lnTo>
                      <a:pt x="4282" y="916"/>
                    </a:lnTo>
                    <a:lnTo>
                      <a:pt x="4279" y="916"/>
                    </a:lnTo>
                    <a:lnTo>
                      <a:pt x="4275" y="916"/>
                    </a:lnTo>
                    <a:lnTo>
                      <a:pt x="4272" y="915"/>
                    </a:lnTo>
                    <a:lnTo>
                      <a:pt x="4266" y="913"/>
                    </a:lnTo>
                    <a:lnTo>
                      <a:pt x="4261" y="909"/>
                    </a:lnTo>
                    <a:lnTo>
                      <a:pt x="4258" y="906"/>
                    </a:lnTo>
                    <a:lnTo>
                      <a:pt x="4254" y="899"/>
                    </a:lnTo>
                    <a:lnTo>
                      <a:pt x="4251" y="894"/>
                    </a:lnTo>
                    <a:lnTo>
                      <a:pt x="4247" y="890"/>
                    </a:lnTo>
                    <a:lnTo>
                      <a:pt x="4233" y="883"/>
                    </a:lnTo>
                    <a:lnTo>
                      <a:pt x="4223" y="883"/>
                    </a:lnTo>
                    <a:lnTo>
                      <a:pt x="4210" y="887"/>
                    </a:lnTo>
                    <a:lnTo>
                      <a:pt x="4198" y="894"/>
                    </a:lnTo>
                    <a:lnTo>
                      <a:pt x="4186" y="897"/>
                    </a:lnTo>
                    <a:lnTo>
                      <a:pt x="4174" y="890"/>
                    </a:lnTo>
                    <a:lnTo>
                      <a:pt x="4162" y="887"/>
                    </a:lnTo>
                    <a:lnTo>
                      <a:pt x="4149" y="885"/>
                    </a:lnTo>
                    <a:lnTo>
                      <a:pt x="4132" y="887"/>
                    </a:lnTo>
                    <a:lnTo>
                      <a:pt x="4134" y="880"/>
                    </a:lnTo>
                    <a:lnTo>
                      <a:pt x="4135" y="874"/>
                    </a:lnTo>
                    <a:lnTo>
                      <a:pt x="4137" y="871"/>
                    </a:lnTo>
                    <a:lnTo>
                      <a:pt x="4139" y="867"/>
                    </a:lnTo>
                    <a:lnTo>
                      <a:pt x="4141" y="864"/>
                    </a:lnTo>
                    <a:lnTo>
                      <a:pt x="4139" y="860"/>
                    </a:lnTo>
                    <a:lnTo>
                      <a:pt x="4130" y="845"/>
                    </a:lnTo>
                    <a:lnTo>
                      <a:pt x="4118" y="836"/>
                    </a:lnTo>
                    <a:lnTo>
                      <a:pt x="4104" y="832"/>
                    </a:lnTo>
                    <a:lnTo>
                      <a:pt x="4088" y="827"/>
                    </a:lnTo>
                    <a:lnTo>
                      <a:pt x="4073" y="824"/>
                    </a:lnTo>
                    <a:lnTo>
                      <a:pt x="4060" y="817"/>
                    </a:lnTo>
                    <a:lnTo>
                      <a:pt x="4052" y="806"/>
                    </a:lnTo>
                    <a:lnTo>
                      <a:pt x="4055" y="805"/>
                    </a:lnTo>
                    <a:lnTo>
                      <a:pt x="4057" y="805"/>
                    </a:lnTo>
                    <a:lnTo>
                      <a:pt x="4059" y="803"/>
                    </a:lnTo>
                    <a:lnTo>
                      <a:pt x="4059" y="803"/>
                    </a:lnTo>
                    <a:lnTo>
                      <a:pt x="4060" y="801"/>
                    </a:lnTo>
                    <a:lnTo>
                      <a:pt x="4062" y="798"/>
                    </a:lnTo>
                    <a:lnTo>
                      <a:pt x="4052" y="796"/>
                    </a:lnTo>
                    <a:lnTo>
                      <a:pt x="4041" y="791"/>
                    </a:lnTo>
                    <a:lnTo>
                      <a:pt x="4032" y="787"/>
                    </a:lnTo>
                    <a:lnTo>
                      <a:pt x="4032" y="778"/>
                    </a:lnTo>
                    <a:lnTo>
                      <a:pt x="4046" y="777"/>
                    </a:lnTo>
                    <a:lnTo>
                      <a:pt x="4057" y="777"/>
                    </a:lnTo>
                    <a:close/>
                    <a:moveTo>
                      <a:pt x="1543" y="756"/>
                    </a:moveTo>
                    <a:lnTo>
                      <a:pt x="1536" y="768"/>
                    </a:lnTo>
                    <a:lnTo>
                      <a:pt x="1531" y="768"/>
                    </a:lnTo>
                    <a:lnTo>
                      <a:pt x="1531" y="771"/>
                    </a:lnTo>
                    <a:lnTo>
                      <a:pt x="1542" y="775"/>
                    </a:lnTo>
                    <a:lnTo>
                      <a:pt x="1552" y="780"/>
                    </a:lnTo>
                    <a:lnTo>
                      <a:pt x="1559" y="785"/>
                    </a:lnTo>
                    <a:lnTo>
                      <a:pt x="1563" y="787"/>
                    </a:lnTo>
                    <a:lnTo>
                      <a:pt x="1564" y="785"/>
                    </a:lnTo>
                    <a:lnTo>
                      <a:pt x="1564" y="784"/>
                    </a:lnTo>
                    <a:lnTo>
                      <a:pt x="1564" y="784"/>
                    </a:lnTo>
                    <a:lnTo>
                      <a:pt x="1566" y="782"/>
                    </a:lnTo>
                    <a:lnTo>
                      <a:pt x="1566" y="778"/>
                    </a:lnTo>
                    <a:lnTo>
                      <a:pt x="1559" y="778"/>
                    </a:lnTo>
                    <a:lnTo>
                      <a:pt x="1557" y="778"/>
                    </a:lnTo>
                    <a:lnTo>
                      <a:pt x="1556" y="777"/>
                    </a:lnTo>
                    <a:lnTo>
                      <a:pt x="1554" y="777"/>
                    </a:lnTo>
                    <a:lnTo>
                      <a:pt x="1550" y="777"/>
                    </a:lnTo>
                    <a:lnTo>
                      <a:pt x="1547" y="775"/>
                    </a:lnTo>
                    <a:lnTo>
                      <a:pt x="1547" y="756"/>
                    </a:lnTo>
                    <a:lnTo>
                      <a:pt x="1543" y="756"/>
                    </a:lnTo>
                    <a:close/>
                    <a:moveTo>
                      <a:pt x="3952" y="743"/>
                    </a:moveTo>
                    <a:lnTo>
                      <a:pt x="3954" y="743"/>
                    </a:lnTo>
                    <a:lnTo>
                      <a:pt x="3954" y="745"/>
                    </a:lnTo>
                    <a:lnTo>
                      <a:pt x="3954" y="747"/>
                    </a:lnTo>
                    <a:lnTo>
                      <a:pt x="3956" y="747"/>
                    </a:lnTo>
                    <a:lnTo>
                      <a:pt x="3956" y="749"/>
                    </a:lnTo>
                    <a:lnTo>
                      <a:pt x="3959" y="749"/>
                    </a:lnTo>
                    <a:lnTo>
                      <a:pt x="3957" y="750"/>
                    </a:lnTo>
                    <a:lnTo>
                      <a:pt x="3957" y="750"/>
                    </a:lnTo>
                    <a:lnTo>
                      <a:pt x="3957" y="750"/>
                    </a:lnTo>
                    <a:lnTo>
                      <a:pt x="3957" y="750"/>
                    </a:lnTo>
                    <a:lnTo>
                      <a:pt x="3956" y="750"/>
                    </a:lnTo>
                    <a:lnTo>
                      <a:pt x="3956" y="752"/>
                    </a:lnTo>
                    <a:lnTo>
                      <a:pt x="3950" y="757"/>
                    </a:lnTo>
                    <a:lnTo>
                      <a:pt x="3945" y="763"/>
                    </a:lnTo>
                    <a:lnTo>
                      <a:pt x="3940" y="768"/>
                    </a:lnTo>
                    <a:lnTo>
                      <a:pt x="3921" y="766"/>
                    </a:lnTo>
                    <a:lnTo>
                      <a:pt x="3905" y="766"/>
                    </a:lnTo>
                    <a:lnTo>
                      <a:pt x="3886" y="768"/>
                    </a:lnTo>
                    <a:lnTo>
                      <a:pt x="3886" y="778"/>
                    </a:lnTo>
                    <a:lnTo>
                      <a:pt x="3889" y="780"/>
                    </a:lnTo>
                    <a:lnTo>
                      <a:pt x="3889" y="782"/>
                    </a:lnTo>
                    <a:lnTo>
                      <a:pt x="3891" y="784"/>
                    </a:lnTo>
                    <a:lnTo>
                      <a:pt x="3893" y="787"/>
                    </a:lnTo>
                    <a:lnTo>
                      <a:pt x="3912" y="780"/>
                    </a:lnTo>
                    <a:lnTo>
                      <a:pt x="3931" y="775"/>
                    </a:lnTo>
                    <a:lnTo>
                      <a:pt x="3931" y="784"/>
                    </a:lnTo>
                    <a:lnTo>
                      <a:pt x="3928" y="784"/>
                    </a:lnTo>
                    <a:lnTo>
                      <a:pt x="3922" y="787"/>
                    </a:lnTo>
                    <a:lnTo>
                      <a:pt x="3915" y="791"/>
                    </a:lnTo>
                    <a:lnTo>
                      <a:pt x="3908" y="794"/>
                    </a:lnTo>
                    <a:lnTo>
                      <a:pt x="3914" y="806"/>
                    </a:lnTo>
                    <a:lnTo>
                      <a:pt x="3921" y="817"/>
                    </a:lnTo>
                    <a:lnTo>
                      <a:pt x="3924" y="827"/>
                    </a:lnTo>
                    <a:lnTo>
                      <a:pt x="3928" y="845"/>
                    </a:lnTo>
                    <a:lnTo>
                      <a:pt x="3924" y="845"/>
                    </a:lnTo>
                    <a:lnTo>
                      <a:pt x="3924" y="848"/>
                    </a:lnTo>
                    <a:lnTo>
                      <a:pt x="3921" y="846"/>
                    </a:lnTo>
                    <a:lnTo>
                      <a:pt x="3919" y="846"/>
                    </a:lnTo>
                    <a:lnTo>
                      <a:pt x="3919" y="846"/>
                    </a:lnTo>
                    <a:lnTo>
                      <a:pt x="3919" y="845"/>
                    </a:lnTo>
                    <a:lnTo>
                      <a:pt x="3917" y="845"/>
                    </a:lnTo>
                    <a:lnTo>
                      <a:pt x="3907" y="834"/>
                    </a:lnTo>
                    <a:lnTo>
                      <a:pt x="3898" y="822"/>
                    </a:lnTo>
                    <a:lnTo>
                      <a:pt x="3889" y="810"/>
                    </a:lnTo>
                    <a:lnTo>
                      <a:pt x="3889" y="848"/>
                    </a:lnTo>
                    <a:lnTo>
                      <a:pt x="3874" y="848"/>
                    </a:lnTo>
                    <a:lnTo>
                      <a:pt x="3874" y="846"/>
                    </a:lnTo>
                    <a:lnTo>
                      <a:pt x="3872" y="846"/>
                    </a:lnTo>
                    <a:lnTo>
                      <a:pt x="3872" y="846"/>
                    </a:lnTo>
                    <a:lnTo>
                      <a:pt x="3872" y="846"/>
                    </a:lnTo>
                    <a:lnTo>
                      <a:pt x="3872" y="845"/>
                    </a:lnTo>
                    <a:lnTo>
                      <a:pt x="3870" y="845"/>
                    </a:lnTo>
                    <a:lnTo>
                      <a:pt x="3872" y="832"/>
                    </a:lnTo>
                    <a:lnTo>
                      <a:pt x="3870" y="825"/>
                    </a:lnTo>
                    <a:lnTo>
                      <a:pt x="3867" y="819"/>
                    </a:lnTo>
                    <a:lnTo>
                      <a:pt x="3863" y="810"/>
                    </a:lnTo>
                    <a:lnTo>
                      <a:pt x="3863" y="801"/>
                    </a:lnTo>
                    <a:lnTo>
                      <a:pt x="3868" y="791"/>
                    </a:lnTo>
                    <a:lnTo>
                      <a:pt x="3875" y="777"/>
                    </a:lnTo>
                    <a:lnTo>
                      <a:pt x="3882" y="764"/>
                    </a:lnTo>
                    <a:lnTo>
                      <a:pt x="3889" y="754"/>
                    </a:lnTo>
                    <a:lnTo>
                      <a:pt x="3893" y="749"/>
                    </a:lnTo>
                    <a:lnTo>
                      <a:pt x="3910" y="754"/>
                    </a:lnTo>
                    <a:lnTo>
                      <a:pt x="3921" y="754"/>
                    </a:lnTo>
                    <a:lnTo>
                      <a:pt x="3929" y="752"/>
                    </a:lnTo>
                    <a:lnTo>
                      <a:pt x="3940" y="749"/>
                    </a:lnTo>
                    <a:lnTo>
                      <a:pt x="3950" y="743"/>
                    </a:lnTo>
                    <a:lnTo>
                      <a:pt x="3952" y="743"/>
                    </a:lnTo>
                    <a:close/>
                    <a:moveTo>
                      <a:pt x="3989" y="740"/>
                    </a:moveTo>
                    <a:lnTo>
                      <a:pt x="3996" y="743"/>
                    </a:lnTo>
                    <a:lnTo>
                      <a:pt x="3999" y="745"/>
                    </a:lnTo>
                    <a:lnTo>
                      <a:pt x="4003" y="749"/>
                    </a:lnTo>
                    <a:lnTo>
                      <a:pt x="4004" y="752"/>
                    </a:lnTo>
                    <a:lnTo>
                      <a:pt x="4004" y="759"/>
                    </a:lnTo>
                    <a:lnTo>
                      <a:pt x="4004" y="768"/>
                    </a:lnTo>
                    <a:lnTo>
                      <a:pt x="4001" y="770"/>
                    </a:lnTo>
                    <a:lnTo>
                      <a:pt x="3999" y="771"/>
                    </a:lnTo>
                    <a:lnTo>
                      <a:pt x="3999" y="773"/>
                    </a:lnTo>
                    <a:lnTo>
                      <a:pt x="3999" y="775"/>
                    </a:lnTo>
                    <a:lnTo>
                      <a:pt x="3999" y="777"/>
                    </a:lnTo>
                    <a:lnTo>
                      <a:pt x="3999" y="778"/>
                    </a:lnTo>
                    <a:lnTo>
                      <a:pt x="3998" y="780"/>
                    </a:lnTo>
                    <a:lnTo>
                      <a:pt x="3994" y="784"/>
                    </a:lnTo>
                    <a:lnTo>
                      <a:pt x="3994" y="775"/>
                    </a:lnTo>
                    <a:lnTo>
                      <a:pt x="3987" y="764"/>
                    </a:lnTo>
                    <a:lnTo>
                      <a:pt x="3987" y="752"/>
                    </a:lnTo>
                    <a:lnTo>
                      <a:pt x="3989" y="740"/>
                    </a:lnTo>
                    <a:close/>
                    <a:moveTo>
                      <a:pt x="3533" y="691"/>
                    </a:moveTo>
                    <a:lnTo>
                      <a:pt x="3566" y="695"/>
                    </a:lnTo>
                    <a:lnTo>
                      <a:pt x="3579" y="710"/>
                    </a:lnTo>
                    <a:lnTo>
                      <a:pt x="3593" y="719"/>
                    </a:lnTo>
                    <a:lnTo>
                      <a:pt x="3607" y="728"/>
                    </a:lnTo>
                    <a:lnTo>
                      <a:pt x="3624" y="736"/>
                    </a:lnTo>
                    <a:lnTo>
                      <a:pt x="3629" y="740"/>
                    </a:lnTo>
                    <a:lnTo>
                      <a:pt x="3629" y="742"/>
                    </a:lnTo>
                    <a:lnTo>
                      <a:pt x="3631" y="742"/>
                    </a:lnTo>
                    <a:lnTo>
                      <a:pt x="3638" y="749"/>
                    </a:lnTo>
                    <a:lnTo>
                      <a:pt x="3650" y="763"/>
                    </a:lnTo>
                    <a:lnTo>
                      <a:pt x="3661" y="778"/>
                    </a:lnTo>
                    <a:lnTo>
                      <a:pt x="3673" y="796"/>
                    </a:lnTo>
                    <a:lnTo>
                      <a:pt x="3690" y="810"/>
                    </a:lnTo>
                    <a:lnTo>
                      <a:pt x="3687" y="827"/>
                    </a:lnTo>
                    <a:lnTo>
                      <a:pt x="3687" y="848"/>
                    </a:lnTo>
                    <a:lnTo>
                      <a:pt x="3701" y="850"/>
                    </a:lnTo>
                    <a:lnTo>
                      <a:pt x="3710" y="853"/>
                    </a:lnTo>
                    <a:lnTo>
                      <a:pt x="3716" y="859"/>
                    </a:lnTo>
                    <a:lnTo>
                      <a:pt x="3725" y="864"/>
                    </a:lnTo>
                    <a:lnTo>
                      <a:pt x="3736" y="864"/>
                    </a:lnTo>
                    <a:lnTo>
                      <a:pt x="3744" y="860"/>
                    </a:lnTo>
                    <a:lnTo>
                      <a:pt x="3751" y="857"/>
                    </a:lnTo>
                    <a:lnTo>
                      <a:pt x="3758" y="855"/>
                    </a:lnTo>
                    <a:lnTo>
                      <a:pt x="3774" y="860"/>
                    </a:lnTo>
                    <a:lnTo>
                      <a:pt x="3792" y="867"/>
                    </a:lnTo>
                    <a:lnTo>
                      <a:pt x="3809" y="876"/>
                    </a:lnTo>
                    <a:lnTo>
                      <a:pt x="3825" y="883"/>
                    </a:lnTo>
                    <a:lnTo>
                      <a:pt x="3823" y="883"/>
                    </a:lnTo>
                    <a:lnTo>
                      <a:pt x="3821" y="885"/>
                    </a:lnTo>
                    <a:lnTo>
                      <a:pt x="3821" y="885"/>
                    </a:lnTo>
                    <a:lnTo>
                      <a:pt x="3819" y="885"/>
                    </a:lnTo>
                    <a:lnTo>
                      <a:pt x="3816" y="887"/>
                    </a:lnTo>
                    <a:lnTo>
                      <a:pt x="3806" y="890"/>
                    </a:lnTo>
                    <a:lnTo>
                      <a:pt x="3786" y="890"/>
                    </a:lnTo>
                    <a:lnTo>
                      <a:pt x="3764" y="887"/>
                    </a:lnTo>
                    <a:lnTo>
                      <a:pt x="3741" y="881"/>
                    </a:lnTo>
                    <a:lnTo>
                      <a:pt x="3716" y="876"/>
                    </a:lnTo>
                    <a:lnTo>
                      <a:pt x="3697" y="871"/>
                    </a:lnTo>
                    <a:lnTo>
                      <a:pt x="3682" y="864"/>
                    </a:lnTo>
                    <a:lnTo>
                      <a:pt x="3675" y="860"/>
                    </a:lnTo>
                    <a:lnTo>
                      <a:pt x="3678" y="857"/>
                    </a:lnTo>
                    <a:lnTo>
                      <a:pt x="3678" y="857"/>
                    </a:lnTo>
                    <a:lnTo>
                      <a:pt x="3680" y="855"/>
                    </a:lnTo>
                    <a:lnTo>
                      <a:pt x="3682" y="852"/>
                    </a:lnTo>
                    <a:lnTo>
                      <a:pt x="3661" y="846"/>
                    </a:lnTo>
                    <a:lnTo>
                      <a:pt x="3643" y="836"/>
                    </a:lnTo>
                    <a:lnTo>
                      <a:pt x="3627" y="820"/>
                    </a:lnTo>
                    <a:lnTo>
                      <a:pt x="3615" y="803"/>
                    </a:lnTo>
                    <a:lnTo>
                      <a:pt x="3603" y="784"/>
                    </a:lnTo>
                    <a:lnTo>
                      <a:pt x="3593" y="764"/>
                    </a:lnTo>
                    <a:lnTo>
                      <a:pt x="3582" y="749"/>
                    </a:lnTo>
                    <a:lnTo>
                      <a:pt x="3572" y="736"/>
                    </a:lnTo>
                    <a:lnTo>
                      <a:pt x="3561" y="728"/>
                    </a:lnTo>
                    <a:lnTo>
                      <a:pt x="3549" y="717"/>
                    </a:lnTo>
                    <a:lnTo>
                      <a:pt x="3538" y="707"/>
                    </a:lnTo>
                    <a:lnTo>
                      <a:pt x="3533" y="691"/>
                    </a:lnTo>
                    <a:close/>
                    <a:moveTo>
                      <a:pt x="3832" y="672"/>
                    </a:moveTo>
                    <a:lnTo>
                      <a:pt x="3842" y="675"/>
                    </a:lnTo>
                    <a:lnTo>
                      <a:pt x="3854" y="682"/>
                    </a:lnTo>
                    <a:lnTo>
                      <a:pt x="3865" y="693"/>
                    </a:lnTo>
                    <a:lnTo>
                      <a:pt x="3870" y="702"/>
                    </a:lnTo>
                    <a:lnTo>
                      <a:pt x="3865" y="705"/>
                    </a:lnTo>
                    <a:lnTo>
                      <a:pt x="3860" y="710"/>
                    </a:lnTo>
                    <a:lnTo>
                      <a:pt x="3854" y="714"/>
                    </a:lnTo>
                    <a:lnTo>
                      <a:pt x="3847" y="717"/>
                    </a:lnTo>
                    <a:lnTo>
                      <a:pt x="3853" y="733"/>
                    </a:lnTo>
                    <a:lnTo>
                      <a:pt x="3860" y="745"/>
                    </a:lnTo>
                    <a:lnTo>
                      <a:pt x="3867" y="759"/>
                    </a:lnTo>
                    <a:lnTo>
                      <a:pt x="3861" y="761"/>
                    </a:lnTo>
                    <a:lnTo>
                      <a:pt x="3858" y="761"/>
                    </a:lnTo>
                    <a:lnTo>
                      <a:pt x="3856" y="761"/>
                    </a:lnTo>
                    <a:lnTo>
                      <a:pt x="3856" y="761"/>
                    </a:lnTo>
                    <a:lnTo>
                      <a:pt x="3854" y="763"/>
                    </a:lnTo>
                    <a:lnTo>
                      <a:pt x="3853" y="764"/>
                    </a:lnTo>
                    <a:lnTo>
                      <a:pt x="3851" y="768"/>
                    </a:lnTo>
                    <a:lnTo>
                      <a:pt x="3842" y="784"/>
                    </a:lnTo>
                    <a:lnTo>
                      <a:pt x="3837" y="803"/>
                    </a:lnTo>
                    <a:lnTo>
                      <a:pt x="3828" y="820"/>
                    </a:lnTo>
                    <a:lnTo>
                      <a:pt x="3823" y="824"/>
                    </a:lnTo>
                    <a:lnTo>
                      <a:pt x="3818" y="824"/>
                    </a:lnTo>
                    <a:lnTo>
                      <a:pt x="3812" y="825"/>
                    </a:lnTo>
                    <a:lnTo>
                      <a:pt x="3806" y="825"/>
                    </a:lnTo>
                    <a:lnTo>
                      <a:pt x="3795" y="819"/>
                    </a:lnTo>
                    <a:lnTo>
                      <a:pt x="3785" y="817"/>
                    </a:lnTo>
                    <a:lnTo>
                      <a:pt x="3772" y="817"/>
                    </a:lnTo>
                    <a:lnTo>
                      <a:pt x="3760" y="815"/>
                    </a:lnTo>
                    <a:lnTo>
                      <a:pt x="3748" y="810"/>
                    </a:lnTo>
                    <a:lnTo>
                      <a:pt x="3736" y="794"/>
                    </a:lnTo>
                    <a:lnTo>
                      <a:pt x="3727" y="773"/>
                    </a:lnTo>
                    <a:lnTo>
                      <a:pt x="3725" y="749"/>
                    </a:lnTo>
                    <a:lnTo>
                      <a:pt x="3734" y="745"/>
                    </a:lnTo>
                    <a:lnTo>
                      <a:pt x="3741" y="745"/>
                    </a:lnTo>
                    <a:lnTo>
                      <a:pt x="3748" y="747"/>
                    </a:lnTo>
                    <a:lnTo>
                      <a:pt x="3755" y="743"/>
                    </a:lnTo>
                    <a:lnTo>
                      <a:pt x="3764" y="729"/>
                    </a:lnTo>
                    <a:lnTo>
                      <a:pt x="3786" y="726"/>
                    </a:lnTo>
                    <a:lnTo>
                      <a:pt x="3790" y="723"/>
                    </a:lnTo>
                    <a:lnTo>
                      <a:pt x="3793" y="719"/>
                    </a:lnTo>
                    <a:lnTo>
                      <a:pt x="3793" y="717"/>
                    </a:lnTo>
                    <a:lnTo>
                      <a:pt x="3795" y="716"/>
                    </a:lnTo>
                    <a:lnTo>
                      <a:pt x="3795" y="714"/>
                    </a:lnTo>
                    <a:lnTo>
                      <a:pt x="3795" y="712"/>
                    </a:lnTo>
                    <a:lnTo>
                      <a:pt x="3797" y="710"/>
                    </a:lnTo>
                    <a:lnTo>
                      <a:pt x="3797" y="710"/>
                    </a:lnTo>
                    <a:lnTo>
                      <a:pt x="3800" y="710"/>
                    </a:lnTo>
                    <a:lnTo>
                      <a:pt x="3806" y="710"/>
                    </a:lnTo>
                    <a:lnTo>
                      <a:pt x="3812" y="710"/>
                    </a:lnTo>
                    <a:lnTo>
                      <a:pt x="3816" y="698"/>
                    </a:lnTo>
                    <a:lnTo>
                      <a:pt x="3821" y="689"/>
                    </a:lnTo>
                    <a:lnTo>
                      <a:pt x="3826" y="681"/>
                    </a:lnTo>
                    <a:lnTo>
                      <a:pt x="3832" y="672"/>
                    </a:lnTo>
                    <a:close/>
                    <a:moveTo>
                      <a:pt x="3329" y="649"/>
                    </a:moveTo>
                    <a:lnTo>
                      <a:pt x="3339" y="656"/>
                    </a:lnTo>
                    <a:lnTo>
                      <a:pt x="3345" y="668"/>
                    </a:lnTo>
                    <a:lnTo>
                      <a:pt x="3345" y="686"/>
                    </a:lnTo>
                    <a:lnTo>
                      <a:pt x="3345" y="688"/>
                    </a:lnTo>
                    <a:lnTo>
                      <a:pt x="3346" y="688"/>
                    </a:lnTo>
                    <a:lnTo>
                      <a:pt x="3348" y="689"/>
                    </a:lnTo>
                    <a:lnTo>
                      <a:pt x="3348" y="689"/>
                    </a:lnTo>
                    <a:lnTo>
                      <a:pt x="3348" y="691"/>
                    </a:lnTo>
                    <a:lnTo>
                      <a:pt x="3348" y="695"/>
                    </a:lnTo>
                    <a:lnTo>
                      <a:pt x="3345" y="695"/>
                    </a:lnTo>
                    <a:lnTo>
                      <a:pt x="3341" y="696"/>
                    </a:lnTo>
                    <a:lnTo>
                      <a:pt x="3339" y="700"/>
                    </a:lnTo>
                    <a:lnTo>
                      <a:pt x="3336" y="702"/>
                    </a:lnTo>
                    <a:lnTo>
                      <a:pt x="3334" y="702"/>
                    </a:lnTo>
                    <a:lnTo>
                      <a:pt x="3332" y="700"/>
                    </a:lnTo>
                    <a:lnTo>
                      <a:pt x="3331" y="700"/>
                    </a:lnTo>
                    <a:lnTo>
                      <a:pt x="3331" y="700"/>
                    </a:lnTo>
                    <a:lnTo>
                      <a:pt x="3329" y="698"/>
                    </a:lnTo>
                    <a:lnTo>
                      <a:pt x="3322" y="684"/>
                    </a:lnTo>
                    <a:lnTo>
                      <a:pt x="3322" y="663"/>
                    </a:lnTo>
                    <a:lnTo>
                      <a:pt x="3324" y="660"/>
                    </a:lnTo>
                    <a:lnTo>
                      <a:pt x="3326" y="658"/>
                    </a:lnTo>
                    <a:lnTo>
                      <a:pt x="3327" y="654"/>
                    </a:lnTo>
                    <a:lnTo>
                      <a:pt x="3329" y="649"/>
                    </a:lnTo>
                    <a:close/>
                    <a:moveTo>
                      <a:pt x="3956" y="628"/>
                    </a:moveTo>
                    <a:lnTo>
                      <a:pt x="3964" y="637"/>
                    </a:lnTo>
                    <a:lnTo>
                      <a:pt x="3970" y="647"/>
                    </a:lnTo>
                    <a:lnTo>
                      <a:pt x="3970" y="663"/>
                    </a:lnTo>
                    <a:lnTo>
                      <a:pt x="3971" y="667"/>
                    </a:lnTo>
                    <a:lnTo>
                      <a:pt x="3973" y="667"/>
                    </a:lnTo>
                    <a:lnTo>
                      <a:pt x="3973" y="668"/>
                    </a:lnTo>
                    <a:lnTo>
                      <a:pt x="3973" y="668"/>
                    </a:lnTo>
                    <a:lnTo>
                      <a:pt x="3971" y="668"/>
                    </a:lnTo>
                    <a:lnTo>
                      <a:pt x="3970" y="672"/>
                    </a:lnTo>
                    <a:lnTo>
                      <a:pt x="3970" y="675"/>
                    </a:lnTo>
                    <a:lnTo>
                      <a:pt x="3968" y="675"/>
                    </a:lnTo>
                    <a:lnTo>
                      <a:pt x="3968" y="677"/>
                    </a:lnTo>
                    <a:lnTo>
                      <a:pt x="3968" y="677"/>
                    </a:lnTo>
                    <a:lnTo>
                      <a:pt x="3968" y="677"/>
                    </a:lnTo>
                    <a:lnTo>
                      <a:pt x="3966" y="677"/>
                    </a:lnTo>
                    <a:lnTo>
                      <a:pt x="3963" y="679"/>
                    </a:lnTo>
                    <a:lnTo>
                      <a:pt x="3961" y="675"/>
                    </a:lnTo>
                    <a:lnTo>
                      <a:pt x="3961" y="674"/>
                    </a:lnTo>
                    <a:lnTo>
                      <a:pt x="3961" y="674"/>
                    </a:lnTo>
                    <a:lnTo>
                      <a:pt x="3961" y="674"/>
                    </a:lnTo>
                    <a:lnTo>
                      <a:pt x="3959" y="674"/>
                    </a:lnTo>
                    <a:lnTo>
                      <a:pt x="3957" y="674"/>
                    </a:lnTo>
                    <a:lnTo>
                      <a:pt x="3956" y="672"/>
                    </a:lnTo>
                    <a:lnTo>
                      <a:pt x="3956" y="675"/>
                    </a:lnTo>
                    <a:lnTo>
                      <a:pt x="3957" y="677"/>
                    </a:lnTo>
                    <a:lnTo>
                      <a:pt x="3959" y="679"/>
                    </a:lnTo>
                    <a:lnTo>
                      <a:pt x="3961" y="681"/>
                    </a:lnTo>
                    <a:lnTo>
                      <a:pt x="3961" y="681"/>
                    </a:lnTo>
                    <a:lnTo>
                      <a:pt x="3959" y="682"/>
                    </a:lnTo>
                    <a:lnTo>
                      <a:pt x="3959" y="684"/>
                    </a:lnTo>
                    <a:lnTo>
                      <a:pt x="3959" y="686"/>
                    </a:lnTo>
                    <a:lnTo>
                      <a:pt x="3959" y="691"/>
                    </a:lnTo>
                    <a:lnTo>
                      <a:pt x="3950" y="691"/>
                    </a:lnTo>
                    <a:lnTo>
                      <a:pt x="3950" y="686"/>
                    </a:lnTo>
                    <a:lnTo>
                      <a:pt x="3945" y="684"/>
                    </a:lnTo>
                    <a:lnTo>
                      <a:pt x="3940" y="681"/>
                    </a:lnTo>
                    <a:lnTo>
                      <a:pt x="3938" y="677"/>
                    </a:lnTo>
                    <a:lnTo>
                      <a:pt x="3936" y="672"/>
                    </a:lnTo>
                    <a:lnTo>
                      <a:pt x="3935" y="667"/>
                    </a:lnTo>
                    <a:lnTo>
                      <a:pt x="3931" y="660"/>
                    </a:lnTo>
                    <a:lnTo>
                      <a:pt x="3926" y="663"/>
                    </a:lnTo>
                    <a:lnTo>
                      <a:pt x="3919" y="667"/>
                    </a:lnTo>
                    <a:lnTo>
                      <a:pt x="3912" y="668"/>
                    </a:lnTo>
                    <a:lnTo>
                      <a:pt x="3905" y="672"/>
                    </a:lnTo>
                    <a:lnTo>
                      <a:pt x="3905" y="663"/>
                    </a:lnTo>
                    <a:lnTo>
                      <a:pt x="3907" y="661"/>
                    </a:lnTo>
                    <a:lnTo>
                      <a:pt x="3907" y="661"/>
                    </a:lnTo>
                    <a:lnTo>
                      <a:pt x="3907" y="660"/>
                    </a:lnTo>
                    <a:lnTo>
                      <a:pt x="3908" y="660"/>
                    </a:lnTo>
                    <a:lnTo>
                      <a:pt x="3908" y="656"/>
                    </a:lnTo>
                    <a:lnTo>
                      <a:pt x="3922" y="651"/>
                    </a:lnTo>
                    <a:lnTo>
                      <a:pt x="3935" y="647"/>
                    </a:lnTo>
                    <a:lnTo>
                      <a:pt x="3947" y="640"/>
                    </a:lnTo>
                    <a:lnTo>
                      <a:pt x="3956" y="628"/>
                    </a:lnTo>
                    <a:close/>
                    <a:moveTo>
                      <a:pt x="1243" y="628"/>
                    </a:moveTo>
                    <a:lnTo>
                      <a:pt x="1245" y="633"/>
                    </a:lnTo>
                    <a:lnTo>
                      <a:pt x="1245" y="635"/>
                    </a:lnTo>
                    <a:lnTo>
                      <a:pt x="1245" y="637"/>
                    </a:lnTo>
                    <a:lnTo>
                      <a:pt x="1245" y="637"/>
                    </a:lnTo>
                    <a:lnTo>
                      <a:pt x="1247" y="639"/>
                    </a:lnTo>
                    <a:lnTo>
                      <a:pt x="1248" y="639"/>
                    </a:lnTo>
                    <a:lnTo>
                      <a:pt x="1252" y="640"/>
                    </a:lnTo>
                    <a:lnTo>
                      <a:pt x="1252" y="633"/>
                    </a:lnTo>
                    <a:lnTo>
                      <a:pt x="1243" y="628"/>
                    </a:lnTo>
                    <a:close/>
                    <a:moveTo>
                      <a:pt x="3870" y="609"/>
                    </a:moveTo>
                    <a:lnTo>
                      <a:pt x="3874" y="613"/>
                    </a:lnTo>
                    <a:lnTo>
                      <a:pt x="3875" y="613"/>
                    </a:lnTo>
                    <a:lnTo>
                      <a:pt x="3877" y="613"/>
                    </a:lnTo>
                    <a:lnTo>
                      <a:pt x="3877" y="614"/>
                    </a:lnTo>
                    <a:lnTo>
                      <a:pt x="3877" y="614"/>
                    </a:lnTo>
                    <a:lnTo>
                      <a:pt x="3877" y="618"/>
                    </a:lnTo>
                    <a:lnTo>
                      <a:pt x="3879" y="621"/>
                    </a:lnTo>
                    <a:lnTo>
                      <a:pt x="3868" y="630"/>
                    </a:lnTo>
                    <a:lnTo>
                      <a:pt x="3861" y="639"/>
                    </a:lnTo>
                    <a:lnTo>
                      <a:pt x="3853" y="646"/>
                    </a:lnTo>
                    <a:lnTo>
                      <a:pt x="3840" y="653"/>
                    </a:lnTo>
                    <a:lnTo>
                      <a:pt x="3840" y="649"/>
                    </a:lnTo>
                    <a:lnTo>
                      <a:pt x="3851" y="637"/>
                    </a:lnTo>
                    <a:lnTo>
                      <a:pt x="3863" y="625"/>
                    </a:lnTo>
                    <a:lnTo>
                      <a:pt x="3870" y="609"/>
                    </a:lnTo>
                    <a:close/>
                    <a:moveTo>
                      <a:pt x="1371" y="517"/>
                    </a:moveTo>
                    <a:lnTo>
                      <a:pt x="1378" y="518"/>
                    </a:lnTo>
                    <a:lnTo>
                      <a:pt x="1386" y="522"/>
                    </a:lnTo>
                    <a:lnTo>
                      <a:pt x="1383" y="524"/>
                    </a:lnTo>
                    <a:lnTo>
                      <a:pt x="1381" y="527"/>
                    </a:lnTo>
                    <a:lnTo>
                      <a:pt x="1378" y="529"/>
                    </a:lnTo>
                    <a:lnTo>
                      <a:pt x="1372" y="529"/>
                    </a:lnTo>
                    <a:lnTo>
                      <a:pt x="1367" y="527"/>
                    </a:lnTo>
                    <a:lnTo>
                      <a:pt x="1362" y="527"/>
                    </a:lnTo>
                    <a:lnTo>
                      <a:pt x="1357" y="527"/>
                    </a:lnTo>
                    <a:lnTo>
                      <a:pt x="1351" y="529"/>
                    </a:lnTo>
                    <a:lnTo>
                      <a:pt x="1351" y="518"/>
                    </a:lnTo>
                    <a:lnTo>
                      <a:pt x="1364" y="517"/>
                    </a:lnTo>
                    <a:lnTo>
                      <a:pt x="1371" y="517"/>
                    </a:lnTo>
                    <a:close/>
                    <a:moveTo>
                      <a:pt x="3912" y="506"/>
                    </a:moveTo>
                    <a:lnTo>
                      <a:pt x="3912" y="524"/>
                    </a:lnTo>
                    <a:lnTo>
                      <a:pt x="3910" y="536"/>
                    </a:lnTo>
                    <a:lnTo>
                      <a:pt x="3907" y="546"/>
                    </a:lnTo>
                    <a:lnTo>
                      <a:pt x="3905" y="564"/>
                    </a:lnTo>
                    <a:lnTo>
                      <a:pt x="3908" y="564"/>
                    </a:lnTo>
                    <a:lnTo>
                      <a:pt x="3908" y="567"/>
                    </a:lnTo>
                    <a:lnTo>
                      <a:pt x="3915" y="567"/>
                    </a:lnTo>
                    <a:lnTo>
                      <a:pt x="3919" y="567"/>
                    </a:lnTo>
                    <a:lnTo>
                      <a:pt x="3922" y="567"/>
                    </a:lnTo>
                    <a:lnTo>
                      <a:pt x="3926" y="569"/>
                    </a:lnTo>
                    <a:lnTo>
                      <a:pt x="3929" y="571"/>
                    </a:lnTo>
                    <a:lnTo>
                      <a:pt x="3936" y="572"/>
                    </a:lnTo>
                    <a:lnTo>
                      <a:pt x="3940" y="585"/>
                    </a:lnTo>
                    <a:lnTo>
                      <a:pt x="3947" y="593"/>
                    </a:lnTo>
                    <a:lnTo>
                      <a:pt x="3956" y="602"/>
                    </a:lnTo>
                    <a:lnTo>
                      <a:pt x="3963" y="614"/>
                    </a:lnTo>
                    <a:lnTo>
                      <a:pt x="3957" y="616"/>
                    </a:lnTo>
                    <a:lnTo>
                      <a:pt x="3954" y="618"/>
                    </a:lnTo>
                    <a:lnTo>
                      <a:pt x="3952" y="618"/>
                    </a:lnTo>
                    <a:lnTo>
                      <a:pt x="3952" y="620"/>
                    </a:lnTo>
                    <a:lnTo>
                      <a:pt x="3952" y="621"/>
                    </a:lnTo>
                    <a:lnTo>
                      <a:pt x="3952" y="621"/>
                    </a:lnTo>
                    <a:lnTo>
                      <a:pt x="3952" y="623"/>
                    </a:lnTo>
                    <a:lnTo>
                      <a:pt x="3949" y="623"/>
                    </a:lnTo>
                    <a:lnTo>
                      <a:pt x="3943" y="625"/>
                    </a:lnTo>
                    <a:lnTo>
                      <a:pt x="3942" y="621"/>
                    </a:lnTo>
                    <a:lnTo>
                      <a:pt x="3942" y="621"/>
                    </a:lnTo>
                    <a:lnTo>
                      <a:pt x="3942" y="620"/>
                    </a:lnTo>
                    <a:lnTo>
                      <a:pt x="3942" y="620"/>
                    </a:lnTo>
                    <a:lnTo>
                      <a:pt x="3940" y="620"/>
                    </a:lnTo>
                    <a:lnTo>
                      <a:pt x="3938" y="620"/>
                    </a:lnTo>
                    <a:lnTo>
                      <a:pt x="3936" y="618"/>
                    </a:lnTo>
                    <a:lnTo>
                      <a:pt x="3933" y="625"/>
                    </a:lnTo>
                    <a:lnTo>
                      <a:pt x="3931" y="630"/>
                    </a:lnTo>
                    <a:lnTo>
                      <a:pt x="3928" y="635"/>
                    </a:lnTo>
                    <a:lnTo>
                      <a:pt x="3922" y="637"/>
                    </a:lnTo>
                    <a:lnTo>
                      <a:pt x="3917" y="640"/>
                    </a:lnTo>
                    <a:lnTo>
                      <a:pt x="3917" y="637"/>
                    </a:lnTo>
                    <a:lnTo>
                      <a:pt x="3914" y="633"/>
                    </a:lnTo>
                    <a:lnTo>
                      <a:pt x="3914" y="630"/>
                    </a:lnTo>
                    <a:lnTo>
                      <a:pt x="3914" y="628"/>
                    </a:lnTo>
                    <a:lnTo>
                      <a:pt x="3914" y="627"/>
                    </a:lnTo>
                    <a:lnTo>
                      <a:pt x="3914" y="627"/>
                    </a:lnTo>
                    <a:lnTo>
                      <a:pt x="3914" y="625"/>
                    </a:lnTo>
                    <a:lnTo>
                      <a:pt x="3912" y="623"/>
                    </a:lnTo>
                    <a:lnTo>
                      <a:pt x="3910" y="623"/>
                    </a:lnTo>
                    <a:lnTo>
                      <a:pt x="3905" y="621"/>
                    </a:lnTo>
                    <a:lnTo>
                      <a:pt x="3905" y="616"/>
                    </a:lnTo>
                    <a:lnTo>
                      <a:pt x="3905" y="611"/>
                    </a:lnTo>
                    <a:lnTo>
                      <a:pt x="3907" y="607"/>
                    </a:lnTo>
                    <a:lnTo>
                      <a:pt x="3907" y="606"/>
                    </a:lnTo>
                    <a:lnTo>
                      <a:pt x="3908" y="604"/>
                    </a:lnTo>
                    <a:lnTo>
                      <a:pt x="3912" y="604"/>
                    </a:lnTo>
                    <a:lnTo>
                      <a:pt x="3917" y="602"/>
                    </a:lnTo>
                    <a:lnTo>
                      <a:pt x="3924" y="602"/>
                    </a:lnTo>
                    <a:lnTo>
                      <a:pt x="3924" y="614"/>
                    </a:lnTo>
                    <a:lnTo>
                      <a:pt x="3936" y="614"/>
                    </a:lnTo>
                    <a:lnTo>
                      <a:pt x="3936" y="611"/>
                    </a:lnTo>
                    <a:lnTo>
                      <a:pt x="3938" y="607"/>
                    </a:lnTo>
                    <a:lnTo>
                      <a:pt x="3940" y="606"/>
                    </a:lnTo>
                    <a:lnTo>
                      <a:pt x="3940" y="604"/>
                    </a:lnTo>
                    <a:lnTo>
                      <a:pt x="3942" y="602"/>
                    </a:lnTo>
                    <a:lnTo>
                      <a:pt x="3943" y="599"/>
                    </a:lnTo>
                    <a:lnTo>
                      <a:pt x="3940" y="599"/>
                    </a:lnTo>
                    <a:lnTo>
                      <a:pt x="3922" y="585"/>
                    </a:lnTo>
                    <a:lnTo>
                      <a:pt x="3902" y="576"/>
                    </a:lnTo>
                    <a:lnTo>
                      <a:pt x="3902" y="583"/>
                    </a:lnTo>
                    <a:lnTo>
                      <a:pt x="3900" y="588"/>
                    </a:lnTo>
                    <a:lnTo>
                      <a:pt x="3898" y="593"/>
                    </a:lnTo>
                    <a:lnTo>
                      <a:pt x="3898" y="599"/>
                    </a:lnTo>
                    <a:lnTo>
                      <a:pt x="3896" y="597"/>
                    </a:lnTo>
                    <a:lnTo>
                      <a:pt x="3895" y="595"/>
                    </a:lnTo>
                    <a:lnTo>
                      <a:pt x="3895" y="595"/>
                    </a:lnTo>
                    <a:lnTo>
                      <a:pt x="3895" y="593"/>
                    </a:lnTo>
                    <a:lnTo>
                      <a:pt x="3893" y="592"/>
                    </a:lnTo>
                    <a:lnTo>
                      <a:pt x="3888" y="579"/>
                    </a:lnTo>
                    <a:lnTo>
                      <a:pt x="3882" y="564"/>
                    </a:lnTo>
                    <a:lnTo>
                      <a:pt x="3881" y="544"/>
                    </a:lnTo>
                    <a:lnTo>
                      <a:pt x="3882" y="527"/>
                    </a:lnTo>
                    <a:lnTo>
                      <a:pt x="3889" y="510"/>
                    </a:lnTo>
                    <a:lnTo>
                      <a:pt x="3895" y="508"/>
                    </a:lnTo>
                    <a:lnTo>
                      <a:pt x="3900" y="506"/>
                    </a:lnTo>
                    <a:lnTo>
                      <a:pt x="3905" y="506"/>
                    </a:lnTo>
                    <a:lnTo>
                      <a:pt x="3912" y="506"/>
                    </a:lnTo>
                    <a:close/>
                    <a:moveTo>
                      <a:pt x="1306" y="506"/>
                    </a:moveTo>
                    <a:lnTo>
                      <a:pt x="1313" y="506"/>
                    </a:lnTo>
                    <a:lnTo>
                      <a:pt x="1320" y="508"/>
                    </a:lnTo>
                    <a:lnTo>
                      <a:pt x="1327" y="508"/>
                    </a:lnTo>
                    <a:lnTo>
                      <a:pt x="1332" y="510"/>
                    </a:lnTo>
                    <a:lnTo>
                      <a:pt x="1332" y="518"/>
                    </a:lnTo>
                    <a:lnTo>
                      <a:pt x="1306" y="518"/>
                    </a:lnTo>
                    <a:lnTo>
                      <a:pt x="1306" y="506"/>
                    </a:lnTo>
                    <a:close/>
                    <a:moveTo>
                      <a:pt x="1159" y="506"/>
                    </a:moveTo>
                    <a:lnTo>
                      <a:pt x="1168" y="508"/>
                    </a:lnTo>
                    <a:lnTo>
                      <a:pt x="1173" y="511"/>
                    </a:lnTo>
                    <a:lnTo>
                      <a:pt x="1180" y="515"/>
                    </a:lnTo>
                    <a:lnTo>
                      <a:pt x="1186" y="518"/>
                    </a:lnTo>
                    <a:lnTo>
                      <a:pt x="1186" y="522"/>
                    </a:lnTo>
                    <a:lnTo>
                      <a:pt x="1179" y="522"/>
                    </a:lnTo>
                    <a:lnTo>
                      <a:pt x="1173" y="524"/>
                    </a:lnTo>
                    <a:lnTo>
                      <a:pt x="1168" y="525"/>
                    </a:lnTo>
                    <a:lnTo>
                      <a:pt x="1165" y="524"/>
                    </a:lnTo>
                    <a:lnTo>
                      <a:pt x="1158" y="524"/>
                    </a:lnTo>
                    <a:lnTo>
                      <a:pt x="1152" y="522"/>
                    </a:lnTo>
                    <a:lnTo>
                      <a:pt x="1152" y="510"/>
                    </a:lnTo>
                    <a:lnTo>
                      <a:pt x="1154" y="510"/>
                    </a:lnTo>
                    <a:lnTo>
                      <a:pt x="1156" y="508"/>
                    </a:lnTo>
                    <a:lnTo>
                      <a:pt x="1158" y="508"/>
                    </a:lnTo>
                    <a:lnTo>
                      <a:pt x="1158" y="508"/>
                    </a:lnTo>
                    <a:lnTo>
                      <a:pt x="1159" y="506"/>
                    </a:lnTo>
                    <a:close/>
                    <a:moveTo>
                      <a:pt x="1220" y="490"/>
                    </a:moveTo>
                    <a:lnTo>
                      <a:pt x="1241" y="492"/>
                    </a:lnTo>
                    <a:lnTo>
                      <a:pt x="1259" y="496"/>
                    </a:lnTo>
                    <a:lnTo>
                      <a:pt x="1273" y="501"/>
                    </a:lnTo>
                    <a:lnTo>
                      <a:pt x="1290" y="506"/>
                    </a:lnTo>
                    <a:lnTo>
                      <a:pt x="1290" y="515"/>
                    </a:lnTo>
                    <a:lnTo>
                      <a:pt x="1283" y="515"/>
                    </a:lnTo>
                    <a:lnTo>
                      <a:pt x="1280" y="517"/>
                    </a:lnTo>
                    <a:lnTo>
                      <a:pt x="1275" y="518"/>
                    </a:lnTo>
                    <a:lnTo>
                      <a:pt x="1271" y="520"/>
                    </a:lnTo>
                    <a:lnTo>
                      <a:pt x="1268" y="522"/>
                    </a:lnTo>
                    <a:lnTo>
                      <a:pt x="1262" y="522"/>
                    </a:lnTo>
                    <a:lnTo>
                      <a:pt x="1262" y="520"/>
                    </a:lnTo>
                    <a:lnTo>
                      <a:pt x="1262" y="518"/>
                    </a:lnTo>
                    <a:lnTo>
                      <a:pt x="1261" y="517"/>
                    </a:lnTo>
                    <a:lnTo>
                      <a:pt x="1259" y="515"/>
                    </a:lnTo>
                    <a:lnTo>
                      <a:pt x="1257" y="513"/>
                    </a:lnTo>
                    <a:lnTo>
                      <a:pt x="1255" y="515"/>
                    </a:lnTo>
                    <a:lnTo>
                      <a:pt x="1252" y="525"/>
                    </a:lnTo>
                    <a:lnTo>
                      <a:pt x="1247" y="525"/>
                    </a:lnTo>
                    <a:lnTo>
                      <a:pt x="1234" y="524"/>
                    </a:lnTo>
                    <a:lnTo>
                      <a:pt x="1220" y="522"/>
                    </a:lnTo>
                    <a:lnTo>
                      <a:pt x="1210" y="522"/>
                    </a:lnTo>
                    <a:lnTo>
                      <a:pt x="1205" y="510"/>
                    </a:lnTo>
                    <a:lnTo>
                      <a:pt x="1214" y="510"/>
                    </a:lnTo>
                    <a:lnTo>
                      <a:pt x="1220" y="510"/>
                    </a:lnTo>
                    <a:lnTo>
                      <a:pt x="1227" y="508"/>
                    </a:lnTo>
                    <a:lnTo>
                      <a:pt x="1233" y="506"/>
                    </a:lnTo>
                    <a:lnTo>
                      <a:pt x="1229" y="504"/>
                    </a:lnTo>
                    <a:lnTo>
                      <a:pt x="1226" y="501"/>
                    </a:lnTo>
                    <a:lnTo>
                      <a:pt x="1224" y="499"/>
                    </a:lnTo>
                    <a:lnTo>
                      <a:pt x="1222" y="496"/>
                    </a:lnTo>
                    <a:lnTo>
                      <a:pt x="1220" y="490"/>
                    </a:lnTo>
                    <a:close/>
                    <a:moveTo>
                      <a:pt x="100" y="452"/>
                    </a:moveTo>
                    <a:lnTo>
                      <a:pt x="116" y="457"/>
                    </a:lnTo>
                    <a:lnTo>
                      <a:pt x="128" y="464"/>
                    </a:lnTo>
                    <a:lnTo>
                      <a:pt x="142" y="471"/>
                    </a:lnTo>
                    <a:lnTo>
                      <a:pt x="142" y="475"/>
                    </a:lnTo>
                    <a:lnTo>
                      <a:pt x="138" y="475"/>
                    </a:lnTo>
                    <a:lnTo>
                      <a:pt x="126" y="483"/>
                    </a:lnTo>
                    <a:lnTo>
                      <a:pt x="114" y="485"/>
                    </a:lnTo>
                    <a:lnTo>
                      <a:pt x="103" y="487"/>
                    </a:lnTo>
                    <a:lnTo>
                      <a:pt x="91" y="490"/>
                    </a:lnTo>
                    <a:lnTo>
                      <a:pt x="91" y="487"/>
                    </a:lnTo>
                    <a:lnTo>
                      <a:pt x="88" y="487"/>
                    </a:lnTo>
                    <a:lnTo>
                      <a:pt x="91" y="478"/>
                    </a:lnTo>
                    <a:lnTo>
                      <a:pt x="91" y="469"/>
                    </a:lnTo>
                    <a:lnTo>
                      <a:pt x="91" y="457"/>
                    </a:lnTo>
                    <a:lnTo>
                      <a:pt x="95" y="455"/>
                    </a:lnTo>
                    <a:lnTo>
                      <a:pt x="96" y="455"/>
                    </a:lnTo>
                    <a:lnTo>
                      <a:pt x="96" y="454"/>
                    </a:lnTo>
                    <a:lnTo>
                      <a:pt x="98" y="454"/>
                    </a:lnTo>
                    <a:lnTo>
                      <a:pt x="100" y="452"/>
                    </a:lnTo>
                    <a:close/>
                    <a:moveTo>
                      <a:pt x="1098" y="441"/>
                    </a:moveTo>
                    <a:lnTo>
                      <a:pt x="1126" y="447"/>
                    </a:lnTo>
                    <a:lnTo>
                      <a:pt x="1151" y="455"/>
                    </a:lnTo>
                    <a:lnTo>
                      <a:pt x="1170" y="464"/>
                    </a:lnTo>
                    <a:lnTo>
                      <a:pt x="1189" y="473"/>
                    </a:lnTo>
                    <a:lnTo>
                      <a:pt x="1210" y="483"/>
                    </a:lnTo>
                    <a:lnTo>
                      <a:pt x="1210" y="490"/>
                    </a:lnTo>
                    <a:lnTo>
                      <a:pt x="1201" y="490"/>
                    </a:lnTo>
                    <a:lnTo>
                      <a:pt x="1191" y="494"/>
                    </a:lnTo>
                    <a:lnTo>
                      <a:pt x="1179" y="497"/>
                    </a:lnTo>
                    <a:lnTo>
                      <a:pt x="1166" y="499"/>
                    </a:lnTo>
                    <a:lnTo>
                      <a:pt x="1168" y="496"/>
                    </a:lnTo>
                    <a:lnTo>
                      <a:pt x="1168" y="492"/>
                    </a:lnTo>
                    <a:lnTo>
                      <a:pt x="1168" y="490"/>
                    </a:lnTo>
                    <a:lnTo>
                      <a:pt x="1168" y="489"/>
                    </a:lnTo>
                    <a:lnTo>
                      <a:pt x="1168" y="487"/>
                    </a:lnTo>
                    <a:lnTo>
                      <a:pt x="1166" y="483"/>
                    </a:lnTo>
                    <a:lnTo>
                      <a:pt x="1140" y="476"/>
                    </a:lnTo>
                    <a:lnTo>
                      <a:pt x="1116" y="464"/>
                    </a:lnTo>
                    <a:lnTo>
                      <a:pt x="1090" y="452"/>
                    </a:lnTo>
                    <a:lnTo>
                      <a:pt x="1084" y="457"/>
                    </a:lnTo>
                    <a:lnTo>
                      <a:pt x="1081" y="462"/>
                    </a:lnTo>
                    <a:lnTo>
                      <a:pt x="1076" y="468"/>
                    </a:lnTo>
                    <a:lnTo>
                      <a:pt x="1070" y="466"/>
                    </a:lnTo>
                    <a:lnTo>
                      <a:pt x="1063" y="462"/>
                    </a:lnTo>
                    <a:lnTo>
                      <a:pt x="1060" y="461"/>
                    </a:lnTo>
                    <a:lnTo>
                      <a:pt x="1067" y="461"/>
                    </a:lnTo>
                    <a:lnTo>
                      <a:pt x="1072" y="454"/>
                    </a:lnTo>
                    <a:lnTo>
                      <a:pt x="1077" y="450"/>
                    </a:lnTo>
                    <a:lnTo>
                      <a:pt x="1083" y="445"/>
                    </a:lnTo>
                    <a:lnTo>
                      <a:pt x="1088" y="445"/>
                    </a:lnTo>
                    <a:lnTo>
                      <a:pt x="1091" y="443"/>
                    </a:lnTo>
                    <a:lnTo>
                      <a:pt x="1095" y="443"/>
                    </a:lnTo>
                    <a:lnTo>
                      <a:pt x="1098" y="441"/>
                    </a:lnTo>
                    <a:close/>
                    <a:moveTo>
                      <a:pt x="77" y="433"/>
                    </a:moveTo>
                    <a:lnTo>
                      <a:pt x="91" y="438"/>
                    </a:lnTo>
                    <a:lnTo>
                      <a:pt x="91" y="441"/>
                    </a:lnTo>
                    <a:lnTo>
                      <a:pt x="88" y="441"/>
                    </a:lnTo>
                    <a:lnTo>
                      <a:pt x="77" y="445"/>
                    </a:lnTo>
                    <a:lnTo>
                      <a:pt x="67" y="445"/>
                    </a:lnTo>
                    <a:lnTo>
                      <a:pt x="58" y="445"/>
                    </a:lnTo>
                    <a:lnTo>
                      <a:pt x="58" y="438"/>
                    </a:lnTo>
                    <a:lnTo>
                      <a:pt x="63" y="436"/>
                    </a:lnTo>
                    <a:lnTo>
                      <a:pt x="68" y="436"/>
                    </a:lnTo>
                    <a:lnTo>
                      <a:pt x="72" y="435"/>
                    </a:lnTo>
                    <a:lnTo>
                      <a:pt x="77" y="433"/>
                    </a:lnTo>
                    <a:close/>
                    <a:moveTo>
                      <a:pt x="0" y="417"/>
                    </a:moveTo>
                    <a:lnTo>
                      <a:pt x="6" y="419"/>
                    </a:lnTo>
                    <a:lnTo>
                      <a:pt x="13" y="419"/>
                    </a:lnTo>
                    <a:lnTo>
                      <a:pt x="16" y="419"/>
                    </a:lnTo>
                    <a:lnTo>
                      <a:pt x="21" y="421"/>
                    </a:lnTo>
                    <a:lnTo>
                      <a:pt x="27" y="422"/>
                    </a:lnTo>
                    <a:lnTo>
                      <a:pt x="27" y="429"/>
                    </a:lnTo>
                    <a:lnTo>
                      <a:pt x="23" y="429"/>
                    </a:lnTo>
                    <a:lnTo>
                      <a:pt x="18" y="431"/>
                    </a:lnTo>
                    <a:lnTo>
                      <a:pt x="13" y="433"/>
                    </a:lnTo>
                    <a:lnTo>
                      <a:pt x="7" y="433"/>
                    </a:lnTo>
                    <a:lnTo>
                      <a:pt x="0" y="433"/>
                    </a:lnTo>
                    <a:lnTo>
                      <a:pt x="0" y="417"/>
                    </a:lnTo>
                    <a:close/>
                    <a:moveTo>
                      <a:pt x="1152" y="414"/>
                    </a:moveTo>
                    <a:lnTo>
                      <a:pt x="1158" y="417"/>
                    </a:lnTo>
                    <a:lnTo>
                      <a:pt x="1161" y="421"/>
                    </a:lnTo>
                    <a:lnTo>
                      <a:pt x="1165" y="424"/>
                    </a:lnTo>
                    <a:lnTo>
                      <a:pt x="1166" y="429"/>
                    </a:lnTo>
                    <a:lnTo>
                      <a:pt x="1166" y="438"/>
                    </a:lnTo>
                    <a:lnTo>
                      <a:pt x="1159" y="438"/>
                    </a:lnTo>
                    <a:lnTo>
                      <a:pt x="1158" y="433"/>
                    </a:lnTo>
                    <a:lnTo>
                      <a:pt x="1156" y="431"/>
                    </a:lnTo>
                    <a:lnTo>
                      <a:pt x="1154" y="428"/>
                    </a:lnTo>
                    <a:lnTo>
                      <a:pt x="1152" y="424"/>
                    </a:lnTo>
                    <a:lnTo>
                      <a:pt x="1152" y="421"/>
                    </a:lnTo>
                    <a:lnTo>
                      <a:pt x="1152" y="414"/>
                    </a:lnTo>
                    <a:close/>
                    <a:moveTo>
                      <a:pt x="3905" y="407"/>
                    </a:moveTo>
                    <a:lnTo>
                      <a:pt x="3908" y="410"/>
                    </a:lnTo>
                    <a:lnTo>
                      <a:pt x="3910" y="414"/>
                    </a:lnTo>
                    <a:lnTo>
                      <a:pt x="3912" y="417"/>
                    </a:lnTo>
                    <a:lnTo>
                      <a:pt x="3912" y="422"/>
                    </a:lnTo>
                    <a:lnTo>
                      <a:pt x="3912" y="429"/>
                    </a:lnTo>
                    <a:lnTo>
                      <a:pt x="3898" y="464"/>
                    </a:lnTo>
                    <a:lnTo>
                      <a:pt x="3891" y="455"/>
                    </a:lnTo>
                    <a:lnTo>
                      <a:pt x="3888" y="447"/>
                    </a:lnTo>
                    <a:lnTo>
                      <a:pt x="3886" y="433"/>
                    </a:lnTo>
                    <a:lnTo>
                      <a:pt x="3905" y="407"/>
                    </a:lnTo>
                    <a:close/>
                    <a:moveTo>
                      <a:pt x="1144" y="391"/>
                    </a:moveTo>
                    <a:lnTo>
                      <a:pt x="1166" y="391"/>
                    </a:lnTo>
                    <a:lnTo>
                      <a:pt x="1168" y="394"/>
                    </a:lnTo>
                    <a:lnTo>
                      <a:pt x="1172" y="396"/>
                    </a:lnTo>
                    <a:lnTo>
                      <a:pt x="1172" y="398"/>
                    </a:lnTo>
                    <a:lnTo>
                      <a:pt x="1173" y="400"/>
                    </a:lnTo>
                    <a:lnTo>
                      <a:pt x="1173" y="401"/>
                    </a:lnTo>
                    <a:lnTo>
                      <a:pt x="1172" y="403"/>
                    </a:lnTo>
                    <a:lnTo>
                      <a:pt x="1172" y="407"/>
                    </a:lnTo>
                    <a:lnTo>
                      <a:pt x="1166" y="403"/>
                    </a:lnTo>
                    <a:lnTo>
                      <a:pt x="1161" y="401"/>
                    </a:lnTo>
                    <a:lnTo>
                      <a:pt x="1156" y="401"/>
                    </a:lnTo>
                    <a:lnTo>
                      <a:pt x="1152" y="400"/>
                    </a:lnTo>
                    <a:lnTo>
                      <a:pt x="1149" y="400"/>
                    </a:lnTo>
                    <a:lnTo>
                      <a:pt x="1145" y="398"/>
                    </a:lnTo>
                    <a:lnTo>
                      <a:pt x="1144" y="394"/>
                    </a:lnTo>
                    <a:lnTo>
                      <a:pt x="1144" y="391"/>
                    </a:lnTo>
                    <a:close/>
                    <a:moveTo>
                      <a:pt x="4017" y="326"/>
                    </a:moveTo>
                    <a:lnTo>
                      <a:pt x="4020" y="328"/>
                    </a:lnTo>
                    <a:lnTo>
                      <a:pt x="4022" y="328"/>
                    </a:lnTo>
                    <a:lnTo>
                      <a:pt x="4022" y="328"/>
                    </a:lnTo>
                    <a:lnTo>
                      <a:pt x="4022" y="330"/>
                    </a:lnTo>
                    <a:lnTo>
                      <a:pt x="4022" y="330"/>
                    </a:lnTo>
                    <a:lnTo>
                      <a:pt x="4024" y="333"/>
                    </a:lnTo>
                    <a:lnTo>
                      <a:pt x="4024" y="337"/>
                    </a:lnTo>
                    <a:lnTo>
                      <a:pt x="4022" y="342"/>
                    </a:lnTo>
                    <a:lnTo>
                      <a:pt x="4018" y="347"/>
                    </a:lnTo>
                    <a:lnTo>
                      <a:pt x="4017" y="352"/>
                    </a:lnTo>
                    <a:lnTo>
                      <a:pt x="4008" y="352"/>
                    </a:lnTo>
                    <a:lnTo>
                      <a:pt x="4008" y="340"/>
                    </a:lnTo>
                    <a:lnTo>
                      <a:pt x="4011" y="339"/>
                    </a:lnTo>
                    <a:lnTo>
                      <a:pt x="4013" y="335"/>
                    </a:lnTo>
                    <a:lnTo>
                      <a:pt x="4015" y="332"/>
                    </a:lnTo>
                    <a:lnTo>
                      <a:pt x="4017" y="326"/>
                    </a:lnTo>
                    <a:close/>
                    <a:moveTo>
                      <a:pt x="3970" y="279"/>
                    </a:moveTo>
                    <a:lnTo>
                      <a:pt x="3982" y="279"/>
                    </a:lnTo>
                    <a:lnTo>
                      <a:pt x="3982" y="291"/>
                    </a:lnTo>
                    <a:lnTo>
                      <a:pt x="3966" y="291"/>
                    </a:lnTo>
                    <a:lnTo>
                      <a:pt x="3966" y="283"/>
                    </a:lnTo>
                    <a:lnTo>
                      <a:pt x="3970" y="283"/>
                    </a:lnTo>
                    <a:lnTo>
                      <a:pt x="3970" y="279"/>
                    </a:lnTo>
                    <a:close/>
                    <a:moveTo>
                      <a:pt x="2699" y="246"/>
                    </a:moveTo>
                    <a:lnTo>
                      <a:pt x="2708" y="246"/>
                    </a:lnTo>
                    <a:lnTo>
                      <a:pt x="2704" y="251"/>
                    </a:lnTo>
                    <a:lnTo>
                      <a:pt x="2701" y="255"/>
                    </a:lnTo>
                    <a:lnTo>
                      <a:pt x="2697" y="258"/>
                    </a:lnTo>
                    <a:lnTo>
                      <a:pt x="2694" y="262"/>
                    </a:lnTo>
                    <a:lnTo>
                      <a:pt x="2688" y="265"/>
                    </a:lnTo>
                    <a:lnTo>
                      <a:pt x="2685" y="265"/>
                    </a:lnTo>
                    <a:lnTo>
                      <a:pt x="2685" y="267"/>
                    </a:lnTo>
                    <a:lnTo>
                      <a:pt x="2683" y="267"/>
                    </a:lnTo>
                    <a:lnTo>
                      <a:pt x="2680" y="267"/>
                    </a:lnTo>
                    <a:lnTo>
                      <a:pt x="2676" y="269"/>
                    </a:lnTo>
                    <a:lnTo>
                      <a:pt x="2673" y="256"/>
                    </a:lnTo>
                    <a:lnTo>
                      <a:pt x="2680" y="255"/>
                    </a:lnTo>
                    <a:lnTo>
                      <a:pt x="2687" y="251"/>
                    </a:lnTo>
                    <a:lnTo>
                      <a:pt x="2694" y="249"/>
                    </a:lnTo>
                    <a:lnTo>
                      <a:pt x="2699" y="246"/>
                    </a:lnTo>
                    <a:close/>
                    <a:moveTo>
                      <a:pt x="2554" y="241"/>
                    </a:moveTo>
                    <a:lnTo>
                      <a:pt x="2563" y="244"/>
                    </a:lnTo>
                    <a:lnTo>
                      <a:pt x="2573" y="248"/>
                    </a:lnTo>
                    <a:lnTo>
                      <a:pt x="2585" y="251"/>
                    </a:lnTo>
                    <a:lnTo>
                      <a:pt x="2592" y="256"/>
                    </a:lnTo>
                    <a:lnTo>
                      <a:pt x="2564" y="256"/>
                    </a:lnTo>
                    <a:lnTo>
                      <a:pt x="2561" y="255"/>
                    </a:lnTo>
                    <a:lnTo>
                      <a:pt x="2559" y="255"/>
                    </a:lnTo>
                    <a:lnTo>
                      <a:pt x="2556" y="253"/>
                    </a:lnTo>
                    <a:lnTo>
                      <a:pt x="2549" y="253"/>
                    </a:lnTo>
                    <a:lnTo>
                      <a:pt x="2549" y="249"/>
                    </a:lnTo>
                    <a:lnTo>
                      <a:pt x="2551" y="248"/>
                    </a:lnTo>
                    <a:lnTo>
                      <a:pt x="2552" y="246"/>
                    </a:lnTo>
                    <a:lnTo>
                      <a:pt x="2552" y="246"/>
                    </a:lnTo>
                    <a:lnTo>
                      <a:pt x="2552" y="244"/>
                    </a:lnTo>
                    <a:lnTo>
                      <a:pt x="2554" y="241"/>
                    </a:lnTo>
                    <a:close/>
                    <a:moveTo>
                      <a:pt x="2242" y="173"/>
                    </a:moveTo>
                    <a:lnTo>
                      <a:pt x="2266" y="173"/>
                    </a:lnTo>
                    <a:lnTo>
                      <a:pt x="2266" y="176"/>
                    </a:lnTo>
                    <a:lnTo>
                      <a:pt x="2261" y="178"/>
                    </a:lnTo>
                    <a:lnTo>
                      <a:pt x="2259" y="180"/>
                    </a:lnTo>
                    <a:lnTo>
                      <a:pt x="2256" y="181"/>
                    </a:lnTo>
                    <a:lnTo>
                      <a:pt x="2252" y="183"/>
                    </a:lnTo>
                    <a:lnTo>
                      <a:pt x="2247" y="183"/>
                    </a:lnTo>
                    <a:lnTo>
                      <a:pt x="2242" y="173"/>
                    </a:lnTo>
                    <a:close/>
                    <a:moveTo>
                      <a:pt x="2612" y="153"/>
                    </a:moveTo>
                    <a:lnTo>
                      <a:pt x="2610" y="155"/>
                    </a:lnTo>
                    <a:lnTo>
                      <a:pt x="2608" y="157"/>
                    </a:lnTo>
                    <a:lnTo>
                      <a:pt x="2606" y="157"/>
                    </a:lnTo>
                    <a:lnTo>
                      <a:pt x="2606" y="159"/>
                    </a:lnTo>
                    <a:lnTo>
                      <a:pt x="2605" y="160"/>
                    </a:lnTo>
                    <a:lnTo>
                      <a:pt x="2603" y="164"/>
                    </a:lnTo>
                    <a:lnTo>
                      <a:pt x="2606" y="164"/>
                    </a:lnTo>
                    <a:lnTo>
                      <a:pt x="2612" y="162"/>
                    </a:lnTo>
                    <a:lnTo>
                      <a:pt x="2615" y="160"/>
                    </a:lnTo>
                    <a:lnTo>
                      <a:pt x="2619" y="159"/>
                    </a:lnTo>
                    <a:lnTo>
                      <a:pt x="2622" y="157"/>
                    </a:lnTo>
                    <a:lnTo>
                      <a:pt x="2626" y="153"/>
                    </a:lnTo>
                    <a:lnTo>
                      <a:pt x="2612" y="153"/>
                    </a:lnTo>
                    <a:close/>
                    <a:moveTo>
                      <a:pt x="2362" y="153"/>
                    </a:moveTo>
                    <a:lnTo>
                      <a:pt x="2364" y="169"/>
                    </a:lnTo>
                    <a:lnTo>
                      <a:pt x="2366" y="188"/>
                    </a:lnTo>
                    <a:lnTo>
                      <a:pt x="2357" y="188"/>
                    </a:lnTo>
                    <a:lnTo>
                      <a:pt x="2355" y="190"/>
                    </a:lnTo>
                    <a:lnTo>
                      <a:pt x="2352" y="190"/>
                    </a:lnTo>
                    <a:lnTo>
                      <a:pt x="2348" y="190"/>
                    </a:lnTo>
                    <a:lnTo>
                      <a:pt x="2343" y="192"/>
                    </a:lnTo>
                    <a:lnTo>
                      <a:pt x="2341" y="178"/>
                    </a:lnTo>
                    <a:lnTo>
                      <a:pt x="2341" y="164"/>
                    </a:lnTo>
                    <a:lnTo>
                      <a:pt x="2343" y="157"/>
                    </a:lnTo>
                    <a:lnTo>
                      <a:pt x="2346" y="155"/>
                    </a:lnTo>
                    <a:lnTo>
                      <a:pt x="2350" y="153"/>
                    </a:lnTo>
                    <a:lnTo>
                      <a:pt x="2355" y="153"/>
                    </a:lnTo>
                    <a:lnTo>
                      <a:pt x="2362" y="153"/>
                    </a:lnTo>
                    <a:close/>
                    <a:moveTo>
                      <a:pt x="2353" y="119"/>
                    </a:moveTo>
                    <a:lnTo>
                      <a:pt x="2362" y="119"/>
                    </a:lnTo>
                    <a:lnTo>
                      <a:pt x="2360" y="126"/>
                    </a:lnTo>
                    <a:lnTo>
                      <a:pt x="2360" y="131"/>
                    </a:lnTo>
                    <a:lnTo>
                      <a:pt x="2360" y="136"/>
                    </a:lnTo>
                    <a:lnTo>
                      <a:pt x="2359" y="140"/>
                    </a:lnTo>
                    <a:lnTo>
                      <a:pt x="2357" y="145"/>
                    </a:lnTo>
                    <a:lnTo>
                      <a:pt x="2350" y="145"/>
                    </a:lnTo>
                    <a:lnTo>
                      <a:pt x="2350" y="138"/>
                    </a:lnTo>
                    <a:lnTo>
                      <a:pt x="2352" y="131"/>
                    </a:lnTo>
                    <a:lnTo>
                      <a:pt x="2352" y="124"/>
                    </a:lnTo>
                    <a:lnTo>
                      <a:pt x="2353" y="119"/>
                    </a:lnTo>
                    <a:close/>
                    <a:moveTo>
                      <a:pt x="4193" y="71"/>
                    </a:moveTo>
                    <a:lnTo>
                      <a:pt x="4202" y="84"/>
                    </a:lnTo>
                    <a:lnTo>
                      <a:pt x="4210" y="91"/>
                    </a:lnTo>
                    <a:lnTo>
                      <a:pt x="4221" y="94"/>
                    </a:lnTo>
                    <a:lnTo>
                      <a:pt x="4228" y="98"/>
                    </a:lnTo>
                    <a:lnTo>
                      <a:pt x="4235" y="103"/>
                    </a:lnTo>
                    <a:lnTo>
                      <a:pt x="4237" y="106"/>
                    </a:lnTo>
                    <a:lnTo>
                      <a:pt x="4238" y="110"/>
                    </a:lnTo>
                    <a:lnTo>
                      <a:pt x="4238" y="113"/>
                    </a:lnTo>
                    <a:lnTo>
                      <a:pt x="4238" y="119"/>
                    </a:lnTo>
                    <a:lnTo>
                      <a:pt x="4226" y="122"/>
                    </a:lnTo>
                    <a:lnTo>
                      <a:pt x="4217" y="129"/>
                    </a:lnTo>
                    <a:lnTo>
                      <a:pt x="4210" y="136"/>
                    </a:lnTo>
                    <a:lnTo>
                      <a:pt x="4200" y="141"/>
                    </a:lnTo>
                    <a:lnTo>
                      <a:pt x="4196" y="136"/>
                    </a:lnTo>
                    <a:lnTo>
                      <a:pt x="4193" y="134"/>
                    </a:lnTo>
                    <a:lnTo>
                      <a:pt x="4190" y="133"/>
                    </a:lnTo>
                    <a:lnTo>
                      <a:pt x="4186" y="134"/>
                    </a:lnTo>
                    <a:lnTo>
                      <a:pt x="4183" y="136"/>
                    </a:lnTo>
                    <a:lnTo>
                      <a:pt x="4181" y="140"/>
                    </a:lnTo>
                    <a:lnTo>
                      <a:pt x="4177" y="141"/>
                    </a:lnTo>
                    <a:lnTo>
                      <a:pt x="4183" y="162"/>
                    </a:lnTo>
                    <a:lnTo>
                      <a:pt x="4184" y="178"/>
                    </a:lnTo>
                    <a:lnTo>
                      <a:pt x="4184" y="190"/>
                    </a:lnTo>
                    <a:lnTo>
                      <a:pt x="4183" y="202"/>
                    </a:lnTo>
                    <a:lnTo>
                      <a:pt x="4179" y="215"/>
                    </a:lnTo>
                    <a:lnTo>
                      <a:pt x="4176" y="232"/>
                    </a:lnTo>
                    <a:lnTo>
                      <a:pt x="4174" y="253"/>
                    </a:lnTo>
                    <a:lnTo>
                      <a:pt x="4151" y="265"/>
                    </a:lnTo>
                    <a:lnTo>
                      <a:pt x="4125" y="277"/>
                    </a:lnTo>
                    <a:lnTo>
                      <a:pt x="4100" y="288"/>
                    </a:lnTo>
                    <a:lnTo>
                      <a:pt x="4095" y="279"/>
                    </a:lnTo>
                    <a:lnTo>
                      <a:pt x="4090" y="272"/>
                    </a:lnTo>
                    <a:lnTo>
                      <a:pt x="4088" y="279"/>
                    </a:lnTo>
                    <a:lnTo>
                      <a:pt x="4088" y="283"/>
                    </a:lnTo>
                    <a:lnTo>
                      <a:pt x="4087" y="288"/>
                    </a:lnTo>
                    <a:lnTo>
                      <a:pt x="4085" y="291"/>
                    </a:lnTo>
                    <a:lnTo>
                      <a:pt x="4080" y="291"/>
                    </a:lnTo>
                    <a:lnTo>
                      <a:pt x="4076" y="291"/>
                    </a:lnTo>
                    <a:lnTo>
                      <a:pt x="4074" y="293"/>
                    </a:lnTo>
                    <a:lnTo>
                      <a:pt x="4073" y="293"/>
                    </a:lnTo>
                    <a:lnTo>
                      <a:pt x="4071" y="295"/>
                    </a:lnTo>
                    <a:lnTo>
                      <a:pt x="4069" y="297"/>
                    </a:lnTo>
                    <a:lnTo>
                      <a:pt x="4064" y="297"/>
                    </a:lnTo>
                    <a:lnTo>
                      <a:pt x="4059" y="298"/>
                    </a:lnTo>
                    <a:lnTo>
                      <a:pt x="4057" y="295"/>
                    </a:lnTo>
                    <a:lnTo>
                      <a:pt x="4057" y="290"/>
                    </a:lnTo>
                    <a:lnTo>
                      <a:pt x="4057" y="288"/>
                    </a:lnTo>
                    <a:lnTo>
                      <a:pt x="4057" y="284"/>
                    </a:lnTo>
                    <a:lnTo>
                      <a:pt x="4057" y="283"/>
                    </a:lnTo>
                    <a:lnTo>
                      <a:pt x="4053" y="283"/>
                    </a:lnTo>
                    <a:lnTo>
                      <a:pt x="4050" y="281"/>
                    </a:lnTo>
                    <a:lnTo>
                      <a:pt x="4043" y="279"/>
                    </a:lnTo>
                    <a:lnTo>
                      <a:pt x="4043" y="283"/>
                    </a:lnTo>
                    <a:lnTo>
                      <a:pt x="4046" y="288"/>
                    </a:lnTo>
                    <a:lnTo>
                      <a:pt x="4050" y="290"/>
                    </a:lnTo>
                    <a:lnTo>
                      <a:pt x="4050" y="293"/>
                    </a:lnTo>
                    <a:lnTo>
                      <a:pt x="4050" y="298"/>
                    </a:lnTo>
                    <a:lnTo>
                      <a:pt x="4052" y="307"/>
                    </a:lnTo>
                    <a:lnTo>
                      <a:pt x="4046" y="312"/>
                    </a:lnTo>
                    <a:lnTo>
                      <a:pt x="4043" y="319"/>
                    </a:lnTo>
                    <a:lnTo>
                      <a:pt x="4039" y="326"/>
                    </a:lnTo>
                    <a:lnTo>
                      <a:pt x="4027" y="326"/>
                    </a:lnTo>
                    <a:lnTo>
                      <a:pt x="4025" y="312"/>
                    </a:lnTo>
                    <a:lnTo>
                      <a:pt x="4024" y="305"/>
                    </a:lnTo>
                    <a:lnTo>
                      <a:pt x="4020" y="298"/>
                    </a:lnTo>
                    <a:lnTo>
                      <a:pt x="4017" y="288"/>
                    </a:lnTo>
                    <a:lnTo>
                      <a:pt x="4027" y="288"/>
                    </a:lnTo>
                    <a:lnTo>
                      <a:pt x="4039" y="272"/>
                    </a:lnTo>
                    <a:lnTo>
                      <a:pt x="4055" y="258"/>
                    </a:lnTo>
                    <a:lnTo>
                      <a:pt x="4074" y="249"/>
                    </a:lnTo>
                    <a:lnTo>
                      <a:pt x="4081" y="248"/>
                    </a:lnTo>
                    <a:lnTo>
                      <a:pt x="4088" y="248"/>
                    </a:lnTo>
                    <a:lnTo>
                      <a:pt x="4094" y="249"/>
                    </a:lnTo>
                    <a:lnTo>
                      <a:pt x="4097" y="249"/>
                    </a:lnTo>
                    <a:lnTo>
                      <a:pt x="4100" y="249"/>
                    </a:lnTo>
                    <a:lnTo>
                      <a:pt x="4104" y="244"/>
                    </a:lnTo>
                    <a:lnTo>
                      <a:pt x="4107" y="239"/>
                    </a:lnTo>
                    <a:lnTo>
                      <a:pt x="4109" y="234"/>
                    </a:lnTo>
                    <a:lnTo>
                      <a:pt x="4111" y="230"/>
                    </a:lnTo>
                    <a:lnTo>
                      <a:pt x="4114" y="225"/>
                    </a:lnTo>
                    <a:lnTo>
                      <a:pt x="4120" y="222"/>
                    </a:lnTo>
                    <a:lnTo>
                      <a:pt x="4121" y="225"/>
                    </a:lnTo>
                    <a:lnTo>
                      <a:pt x="4123" y="227"/>
                    </a:lnTo>
                    <a:lnTo>
                      <a:pt x="4125" y="227"/>
                    </a:lnTo>
                    <a:lnTo>
                      <a:pt x="4125" y="227"/>
                    </a:lnTo>
                    <a:lnTo>
                      <a:pt x="4127" y="227"/>
                    </a:lnTo>
                    <a:lnTo>
                      <a:pt x="4128" y="225"/>
                    </a:lnTo>
                    <a:lnTo>
                      <a:pt x="4142" y="213"/>
                    </a:lnTo>
                    <a:lnTo>
                      <a:pt x="4151" y="202"/>
                    </a:lnTo>
                    <a:lnTo>
                      <a:pt x="4155" y="190"/>
                    </a:lnTo>
                    <a:lnTo>
                      <a:pt x="4158" y="176"/>
                    </a:lnTo>
                    <a:lnTo>
                      <a:pt x="4163" y="164"/>
                    </a:lnTo>
                    <a:lnTo>
                      <a:pt x="4174" y="148"/>
                    </a:lnTo>
                    <a:lnTo>
                      <a:pt x="4167" y="148"/>
                    </a:lnTo>
                    <a:lnTo>
                      <a:pt x="4162" y="145"/>
                    </a:lnTo>
                    <a:lnTo>
                      <a:pt x="4160" y="141"/>
                    </a:lnTo>
                    <a:lnTo>
                      <a:pt x="4158" y="138"/>
                    </a:lnTo>
                    <a:lnTo>
                      <a:pt x="4158" y="131"/>
                    </a:lnTo>
                    <a:lnTo>
                      <a:pt x="4158" y="122"/>
                    </a:lnTo>
                    <a:lnTo>
                      <a:pt x="4160" y="120"/>
                    </a:lnTo>
                    <a:lnTo>
                      <a:pt x="4160" y="120"/>
                    </a:lnTo>
                    <a:lnTo>
                      <a:pt x="4162" y="119"/>
                    </a:lnTo>
                    <a:lnTo>
                      <a:pt x="4162" y="117"/>
                    </a:lnTo>
                    <a:lnTo>
                      <a:pt x="4162" y="115"/>
                    </a:lnTo>
                    <a:lnTo>
                      <a:pt x="4169" y="113"/>
                    </a:lnTo>
                    <a:lnTo>
                      <a:pt x="4174" y="113"/>
                    </a:lnTo>
                    <a:lnTo>
                      <a:pt x="4177" y="112"/>
                    </a:lnTo>
                    <a:lnTo>
                      <a:pt x="4181" y="112"/>
                    </a:lnTo>
                    <a:lnTo>
                      <a:pt x="4181" y="94"/>
                    </a:lnTo>
                    <a:lnTo>
                      <a:pt x="4184" y="80"/>
                    </a:lnTo>
                    <a:lnTo>
                      <a:pt x="4193" y="71"/>
                    </a:lnTo>
                    <a:close/>
                    <a:moveTo>
                      <a:pt x="2414" y="68"/>
                    </a:moveTo>
                    <a:lnTo>
                      <a:pt x="2413" y="70"/>
                    </a:lnTo>
                    <a:lnTo>
                      <a:pt x="2411" y="70"/>
                    </a:lnTo>
                    <a:lnTo>
                      <a:pt x="2409" y="70"/>
                    </a:lnTo>
                    <a:lnTo>
                      <a:pt x="2409" y="71"/>
                    </a:lnTo>
                    <a:lnTo>
                      <a:pt x="2407" y="71"/>
                    </a:lnTo>
                    <a:lnTo>
                      <a:pt x="2404" y="75"/>
                    </a:lnTo>
                    <a:lnTo>
                      <a:pt x="2400" y="77"/>
                    </a:lnTo>
                    <a:lnTo>
                      <a:pt x="2400" y="78"/>
                    </a:lnTo>
                    <a:lnTo>
                      <a:pt x="2400" y="82"/>
                    </a:lnTo>
                    <a:lnTo>
                      <a:pt x="2400" y="85"/>
                    </a:lnTo>
                    <a:lnTo>
                      <a:pt x="2400" y="91"/>
                    </a:lnTo>
                    <a:lnTo>
                      <a:pt x="2414" y="105"/>
                    </a:lnTo>
                    <a:lnTo>
                      <a:pt x="2427" y="120"/>
                    </a:lnTo>
                    <a:lnTo>
                      <a:pt x="2439" y="138"/>
                    </a:lnTo>
                    <a:lnTo>
                      <a:pt x="2453" y="138"/>
                    </a:lnTo>
                    <a:lnTo>
                      <a:pt x="2453" y="148"/>
                    </a:lnTo>
                    <a:lnTo>
                      <a:pt x="2467" y="153"/>
                    </a:lnTo>
                    <a:lnTo>
                      <a:pt x="2477" y="160"/>
                    </a:lnTo>
                    <a:lnTo>
                      <a:pt x="2488" y="169"/>
                    </a:lnTo>
                    <a:lnTo>
                      <a:pt x="2488" y="173"/>
                    </a:lnTo>
                    <a:lnTo>
                      <a:pt x="2484" y="173"/>
                    </a:lnTo>
                    <a:lnTo>
                      <a:pt x="2481" y="173"/>
                    </a:lnTo>
                    <a:lnTo>
                      <a:pt x="2477" y="173"/>
                    </a:lnTo>
                    <a:lnTo>
                      <a:pt x="2475" y="173"/>
                    </a:lnTo>
                    <a:lnTo>
                      <a:pt x="2472" y="171"/>
                    </a:lnTo>
                    <a:lnTo>
                      <a:pt x="2467" y="169"/>
                    </a:lnTo>
                    <a:lnTo>
                      <a:pt x="2462" y="169"/>
                    </a:lnTo>
                    <a:lnTo>
                      <a:pt x="2462" y="174"/>
                    </a:lnTo>
                    <a:lnTo>
                      <a:pt x="2463" y="178"/>
                    </a:lnTo>
                    <a:lnTo>
                      <a:pt x="2465" y="181"/>
                    </a:lnTo>
                    <a:lnTo>
                      <a:pt x="2465" y="183"/>
                    </a:lnTo>
                    <a:lnTo>
                      <a:pt x="2467" y="187"/>
                    </a:lnTo>
                    <a:lnTo>
                      <a:pt x="2468" y="192"/>
                    </a:lnTo>
                    <a:lnTo>
                      <a:pt x="2463" y="195"/>
                    </a:lnTo>
                    <a:lnTo>
                      <a:pt x="2460" y="199"/>
                    </a:lnTo>
                    <a:lnTo>
                      <a:pt x="2456" y="204"/>
                    </a:lnTo>
                    <a:lnTo>
                      <a:pt x="2453" y="211"/>
                    </a:lnTo>
                    <a:lnTo>
                      <a:pt x="2442" y="211"/>
                    </a:lnTo>
                    <a:lnTo>
                      <a:pt x="2442" y="234"/>
                    </a:lnTo>
                    <a:lnTo>
                      <a:pt x="2434" y="234"/>
                    </a:lnTo>
                    <a:lnTo>
                      <a:pt x="2425" y="227"/>
                    </a:lnTo>
                    <a:lnTo>
                      <a:pt x="2414" y="223"/>
                    </a:lnTo>
                    <a:lnTo>
                      <a:pt x="2406" y="218"/>
                    </a:lnTo>
                    <a:lnTo>
                      <a:pt x="2400" y="206"/>
                    </a:lnTo>
                    <a:lnTo>
                      <a:pt x="2414" y="208"/>
                    </a:lnTo>
                    <a:lnTo>
                      <a:pt x="2428" y="206"/>
                    </a:lnTo>
                    <a:lnTo>
                      <a:pt x="2439" y="202"/>
                    </a:lnTo>
                    <a:lnTo>
                      <a:pt x="2446" y="195"/>
                    </a:lnTo>
                    <a:lnTo>
                      <a:pt x="2448" y="194"/>
                    </a:lnTo>
                    <a:lnTo>
                      <a:pt x="2448" y="192"/>
                    </a:lnTo>
                    <a:lnTo>
                      <a:pt x="2449" y="190"/>
                    </a:lnTo>
                    <a:lnTo>
                      <a:pt x="2449" y="187"/>
                    </a:lnTo>
                    <a:lnTo>
                      <a:pt x="2449" y="183"/>
                    </a:lnTo>
                    <a:lnTo>
                      <a:pt x="2423" y="164"/>
                    </a:lnTo>
                    <a:lnTo>
                      <a:pt x="2395" y="145"/>
                    </a:lnTo>
                    <a:lnTo>
                      <a:pt x="2386" y="134"/>
                    </a:lnTo>
                    <a:lnTo>
                      <a:pt x="2378" y="124"/>
                    </a:lnTo>
                    <a:lnTo>
                      <a:pt x="2371" y="112"/>
                    </a:lnTo>
                    <a:lnTo>
                      <a:pt x="2360" y="101"/>
                    </a:lnTo>
                    <a:lnTo>
                      <a:pt x="2346" y="96"/>
                    </a:lnTo>
                    <a:lnTo>
                      <a:pt x="2334" y="106"/>
                    </a:lnTo>
                    <a:lnTo>
                      <a:pt x="2318" y="115"/>
                    </a:lnTo>
                    <a:lnTo>
                      <a:pt x="2299" y="119"/>
                    </a:lnTo>
                    <a:lnTo>
                      <a:pt x="2297" y="115"/>
                    </a:lnTo>
                    <a:lnTo>
                      <a:pt x="2296" y="112"/>
                    </a:lnTo>
                    <a:lnTo>
                      <a:pt x="2294" y="110"/>
                    </a:lnTo>
                    <a:lnTo>
                      <a:pt x="2290" y="110"/>
                    </a:lnTo>
                    <a:lnTo>
                      <a:pt x="2289" y="110"/>
                    </a:lnTo>
                    <a:lnTo>
                      <a:pt x="2285" y="112"/>
                    </a:lnTo>
                    <a:lnTo>
                      <a:pt x="2276" y="119"/>
                    </a:lnTo>
                    <a:lnTo>
                      <a:pt x="2273" y="129"/>
                    </a:lnTo>
                    <a:lnTo>
                      <a:pt x="2271" y="140"/>
                    </a:lnTo>
                    <a:lnTo>
                      <a:pt x="2266" y="148"/>
                    </a:lnTo>
                    <a:lnTo>
                      <a:pt x="2247" y="148"/>
                    </a:lnTo>
                    <a:lnTo>
                      <a:pt x="2240" y="157"/>
                    </a:lnTo>
                    <a:lnTo>
                      <a:pt x="2235" y="167"/>
                    </a:lnTo>
                    <a:lnTo>
                      <a:pt x="2231" y="180"/>
                    </a:lnTo>
                    <a:lnTo>
                      <a:pt x="2229" y="181"/>
                    </a:lnTo>
                    <a:lnTo>
                      <a:pt x="2229" y="185"/>
                    </a:lnTo>
                    <a:lnTo>
                      <a:pt x="2231" y="187"/>
                    </a:lnTo>
                    <a:lnTo>
                      <a:pt x="2233" y="188"/>
                    </a:lnTo>
                    <a:lnTo>
                      <a:pt x="2236" y="192"/>
                    </a:lnTo>
                    <a:lnTo>
                      <a:pt x="2238" y="195"/>
                    </a:lnTo>
                    <a:lnTo>
                      <a:pt x="2233" y="195"/>
                    </a:lnTo>
                    <a:lnTo>
                      <a:pt x="2231" y="197"/>
                    </a:lnTo>
                    <a:lnTo>
                      <a:pt x="2229" y="197"/>
                    </a:lnTo>
                    <a:lnTo>
                      <a:pt x="2228" y="199"/>
                    </a:lnTo>
                    <a:lnTo>
                      <a:pt x="2226" y="201"/>
                    </a:lnTo>
                    <a:lnTo>
                      <a:pt x="2222" y="202"/>
                    </a:lnTo>
                    <a:lnTo>
                      <a:pt x="2222" y="206"/>
                    </a:lnTo>
                    <a:lnTo>
                      <a:pt x="2222" y="206"/>
                    </a:lnTo>
                    <a:lnTo>
                      <a:pt x="2222" y="208"/>
                    </a:lnTo>
                    <a:lnTo>
                      <a:pt x="2222" y="208"/>
                    </a:lnTo>
                    <a:lnTo>
                      <a:pt x="2222" y="209"/>
                    </a:lnTo>
                    <a:lnTo>
                      <a:pt x="2222" y="215"/>
                    </a:lnTo>
                    <a:lnTo>
                      <a:pt x="2210" y="216"/>
                    </a:lnTo>
                    <a:lnTo>
                      <a:pt x="2205" y="220"/>
                    </a:lnTo>
                    <a:lnTo>
                      <a:pt x="2201" y="223"/>
                    </a:lnTo>
                    <a:lnTo>
                      <a:pt x="2198" y="229"/>
                    </a:lnTo>
                    <a:lnTo>
                      <a:pt x="2193" y="234"/>
                    </a:lnTo>
                    <a:lnTo>
                      <a:pt x="2187" y="236"/>
                    </a:lnTo>
                    <a:lnTo>
                      <a:pt x="2184" y="236"/>
                    </a:lnTo>
                    <a:lnTo>
                      <a:pt x="2179" y="234"/>
                    </a:lnTo>
                    <a:lnTo>
                      <a:pt x="2175" y="232"/>
                    </a:lnTo>
                    <a:lnTo>
                      <a:pt x="2172" y="230"/>
                    </a:lnTo>
                    <a:lnTo>
                      <a:pt x="2170" y="230"/>
                    </a:lnTo>
                    <a:lnTo>
                      <a:pt x="2167" y="232"/>
                    </a:lnTo>
                    <a:lnTo>
                      <a:pt x="2163" y="234"/>
                    </a:lnTo>
                    <a:lnTo>
                      <a:pt x="2160" y="236"/>
                    </a:lnTo>
                    <a:lnTo>
                      <a:pt x="2154" y="237"/>
                    </a:lnTo>
                    <a:lnTo>
                      <a:pt x="2154" y="246"/>
                    </a:lnTo>
                    <a:lnTo>
                      <a:pt x="2203" y="253"/>
                    </a:lnTo>
                    <a:lnTo>
                      <a:pt x="2217" y="246"/>
                    </a:lnTo>
                    <a:lnTo>
                      <a:pt x="2231" y="237"/>
                    </a:lnTo>
                    <a:lnTo>
                      <a:pt x="2242" y="230"/>
                    </a:lnTo>
                    <a:lnTo>
                      <a:pt x="2257" y="227"/>
                    </a:lnTo>
                    <a:lnTo>
                      <a:pt x="2280" y="223"/>
                    </a:lnTo>
                    <a:lnTo>
                      <a:pt x="2304" y="222"/>
                    </a:lnTo>
                    <a:lnTo>
                      <a:pt x="2331" y="222"/>
                    </a:lnTo>
                    <a:lnTo>
                      <a:pt x="2353" y="222"/>
                    </a:lnTo>
                    <a:lnTo>
                      <a:pt x="2372" y="223"/>
                    </a:lnTo>
                    <a:lnTo>
                      <a:pt x="2381" y="225"/>
                    </a:lnTo>
                    <a:lnTo>
                      <a:pt x="2385" y="225"/>
                    </a:lnTo>
                    <a:lnTo>
                      <a:pt x="2379" y="241"/>
                    </a:lnTo>
                    <a:lnTo>
                      <a:pt x="2376" y="258"/>
                    </a:lnTo>
                    <a:lnTo>
                      <a:pt x="2372" y="276"/>
                    </a:lnTo>
                    <a:lnTo>
                      <a:pt x="2378" y="279"/>
                    </a:lnTo>
                    <a:lnTo>
                      <a:pt x="2379" y="283"/>
                    </a:lnTo>
                    <a:lnTo>
                      <a:pt x="2383" y="286"/>
                    </a:lnTo>
                    <a:lnTo>
                      <a:pt x="2385" y="288"/>
                    </a:lnTo>
                    <a:lnTo>
                      <a:pt x="2388" y="291"/>
                    </a:lnTo>
                    <a:lnTo>
                      <a:pt x="2400" y="295"/>
                    </a:lnTo>
                    <a:lnTo>
                      <a:pt x="2414" y="295"/>
                    </a:lnTo>
                    <a:lnTo>
                      <a:pt x="2428" y="297"/>
                    </a:lnTo>
                    <a:lnTo>
                      <a:pt x="2442" y="304"/>
                    </a:lnTo>
                    <a:lnTo>
                      <a:pt x="2446" y="318"/>
                    </a:lnTo>
                    <a:lnTo>
                      <a:pt x="2453" y="321"/>
                    </a:lnTo>
                    <a:lnTo>
                      <a:pt x="2463" y="325"/>
                    </a:lnTo>
                    <a:lnTo>
                      <a:pt x="2477" y="328"/>
                    </a:lnTo>
                    <a:lnTo>
                      <a:pt x="2489" y="332"/>
                    </a:lnTo>
                    <a:lnTo>
                      <a:pt x="2496" y="333"/>
                    </a:lnTo>
                    <a:lnTo>
                      <a:pt x="2498" y="323"/>
                    </a:lnTo>
                    <a:lnTo>
                      <a:pt x="2502" y="314"/>
                    </a:lnTo>
                    <a:lnTo>
                      <a:pt x="2505" y="305"/>
                    </a:lnTo>
                    <a:lnTo>
                      <a:pt x="2516" y="298"/>
                    </a:lnTo>
                    <a:lnTo>
                      <a:pt x="2531" y="295"/>
                    </a:lnTo>
                    <a:lnTo>
                      <a:pt x="2545" y="298"/>
                    </a:lnTo>
                    <a:lnTo>
                      <a:pt x="2559" y="305"/>
                    </a:lnTo>
                    <a:lnTo>
                      <a:pt x="2573" y="311"/>
                    </a:lnTo>
                    <a:lnTo>
                      <a:pt x="2580" y="312"/>
                    </a:lnTo>
                    <a:lnTo>
                      <a:pt x="2594" y="314"/>
                    </a:lnTo>
                    <a:lnTo>
                      <a:pt x="2608" y="318"/>
                    </a:lnTo>
                    <a:lnTo>
                      <a:pt x="2622" y="319"/>
                    </a:lnTo>
                    <a:lnTo>
                      <a:pt x="2633" y="321"/>
                    </a:lnTo>
                    <a:lnTo>
                      <a:pt x="2638" y="323"/>
                    </a:lnTo>
                    <a:lnTo>
                      <a:pt x="2641" y="321"/>
                    </a:lnTo>
                    <a:lnTo>
                      <a:pt x="2643" y="318"/>
                    </a:lnTo>
                    <a:lnTo>
                      <a:pt x="2645" y="316"/>
                    </a:lnTo>
                    <a:lnTo>
                      <a:pt x="2648" y="312"/>
                    </a:lnTo>
                    <a:lnTo>
                      <a:pt x="2652" y="311"/>
                    </a:lnTo>
                    <a:lnTo>
                      <a:pt x="2655" y="311"/>
                    </a:lnTo>
                    <a:lnTo>
                      <a:pt x="2660" y="311"/>
                    </a:lnTo>
                    <a:lnTo>
                      <a:pt x="2673" y="314"/>
                    </a:lnTo>
                    <a:lnTo>
                      <a:pt x="2683" y="319"/>
                    </a:lnTo>
                    <a:lnTo>
                      <a:pt x="2695" y="318"/>
                    </a:lnTo>
                    <a:lnTo>
                      <a:pt x="2708" y="314"/>
                    </a:lnTo>
                    <a:lnTo>
                      <a:pt x="2709" y="300"/>
                    </a:lnTo>
                    <a:lnTo>
                      <a:pt x="2716" y="283"/>
                    </a:lnTo>
                    <a:lnTo>
                      <a:pt x="2722" y="267"/>
                    </a:lnTo>
                    <a:lnTo>
                      <a:pt x="2725" y="253"/>
                    </a:lnTo>
                    <a:lnTo>
                      <a:pt x="2722" y="241"/>
                    </a:lnTo>
                    <a:lnTo>
                      <a:pt x="2720" y="237"/>
                    </a:lnTo>
                    <a:lnTo>
                      <a:pt x="2720" y="234"/>
                    </a:lnTo>
                    <a:lnTo>
                      <a:pt x="2718" y="232"/>
                    </a:lnTo>
                    <a:lnTo>
                      <a:pt x="2716" y="230"/>
                    </a:lnTo>
                    <a:lnTo>
                      <a:pt x="2713" y="230"/>
                    </a:lnTo>
                    <a:lnTo>
                      <a:pt x="2709" y="230"/>
                    </a:lnTo>
                    <a:lnTo>
                      <a:pt x="2702" y="230"/>
                    </a:lnTo>
                    <a:lnTo>
                      <a:pt x="2694" y="237"/>
                    </a:lnTo>
                    <a:lnTo>
                      <a:pt x="2687" y="239"/>
                    </a:lnTo>
                    <a:lnTo>
                      <a:pt x="2680" y="237"/>
                    </a:lnTo>
                    <a:lnTo>
                      <a:pt x="2673" y="234"/>
                    </a:lnTo>
                    <a:lnTo>
                      <a:pt x="2664" y="230"/>
                    </a:lnTo>
                    <a:lnTo>
                      <a:pt x="2659" y="229"/>
                    </a:lnTo>
                    <a:lnTo>
                      <a:pt x="2655" y="230"/>
                    </a:lnTo>
                    <a:lnTo>
                      <a:pt x="2650" y="232"/>
                    </a:lnTo>
                    <a:lnTo>
                      <a:pt x="2648" y="236"/>
                    </a:lnTo>
                    <a:lnTo>
                      <a:pt x="2645" y="239"/>
                    </a:lnTo>
                    <a:lnTo>
                      <a:pt x="2641" y="241"/>
                    </a:lnTo>
                    <a:lnTo>
                      <a:pt x="2626" y="237"/>
                    </a:lnTo>
                    <a:lnTo>
                      <a:pt x="2610" y="227"/>
                    </a:lnTo>
                    <a:lnTo>
                      <a:pt x="2598" y="211"/>
                    </a:lnTo>
                    <a:lnTo>
                      <a:pt x="2592" y="195"/>
                    </a:lnTo>
                    <a:lnTo>
                      <a:pt x="2592" y="192"/>
                    </a:lnTo>
                    <a:lnTo>
                      <a:pt x="2592" y="188"/>
                    </a:lnTo>
                    <a:lnTo>
                      <a:pt x="2592" y="185"/>
                    </a:lnTo>
                    <a:lnTo>
                      <a:pt x="2592" y="181"/>
                    </a:lnTo>
                    <a:lnTo>
                      <a:pt x="2592" y="178"/>
                    </a:lnTo>
                    <a:lnTo>
                      <a:pt x="2594" y="174"/>
                    </a:lnTo>
                    <a:lnTo>
                      <a:pt x="2596" y="169"/>
                    </a:lnTo>
                    <a:lnTo>
                      <a:pt x="2592" y="166"/>
                    </a:lnTo>
                    <a:lnTo>
                      <a:pt x="2589" y="164"/>
                    </a:lnTo>
                    <a:lnTo>
                      <a:pt x="2587" y="162"/>
                    </a:lnTo>
                    <a:lnTo>
                      <a:pt x="2585" y="160"/>
                    </a:lnTo>
                    <a:lnTo>
                      <a:pt x="2582" y="159"/>
                    </a:lnTo>
                    <a:lnTo>
                      <a:pt x="2577" y="157"/>
                    </a:lnTo>
                    <a:lnTo>
                      <a:pt x="2575" y="155"/>
                    </a:lnTo>
                    <a:lnTo>
                      <a:pt x="2573" y="155"/>
                    </a:lnTo>
                    <a:lnTo>
                      <a:pt x="2571" y="153"/>
                    </a:lnTo>
                    <a:lnTo>
                      <a:pt x="2568" y="153"/>
                    </a:lnTo>
                    <a:lnTo>
                      <a:pt x="2564" y="153"/>
                    </a:lnTo>
                    <a:lnTo>
                      <a:pt x="2564" y="157"/>
                    </a:lnTo>
                    <a:lnTo>
                      <a:pt x="2561" y="157"/>
                    </a:lnTo>
                    <a:lnTo>
                      <a:pt x="2561" y="162"/>
                    </a:lnTo>
                    <a:lnTo>
                      <a:pt x="2563" y="166"/>
                    </a:lnTo>
                    <a:lnTo>
                      <a:pt x="2563" y="167"/>
                    </a:lnTo>
                    <a:lnTo>
                      <a:pt x="2563" y="169"/>
                    </a:lnTo>
                    <a:lnTo>
                      <a:pt x="2561" y="171"/>
                    </a:lnTo>
                    <a:lnTo>
                      <a:pt x="2559" y="171"/>
                    </a:lnTo>
                    <a:lnTo>
                      <a:pt x="2556" y="171"/>
                    </a:lnTo>
                    <a:lnTo>
                      <a:pt x="2549" y="173"/>
                    </a:lnTo>
                    <a:lnTo>
                      <a:pt x="2547" y="169"/>
                    </a:lnTo>
                    <a:lnTo>
                      <a:pt x="2545" y="167"/>
                    </a:lnTo>
                    <a:lnTo>
                      <a:pt x="2545" y="166"/>
                    </a:lnTo>
                    <a:lnTo>
                      <a:pt x="2542" y="164"/>
                    </a:lnTo>
                    <a:lnTo>
                      <a:pt x="2542" y="169"/>
                    </a:lnTo>
                    <a:lnTo>
                      <a:pt x="2551" y="180"/>
                    </a:lnTo>
                    <a:lnTo>
                      <a:pt x="2558" y="195"/>
                    </a:lnTo>
                    <a:lnTo>
                      <a:pt x="2561" y="211"/>
                    </a:lnTo>
                    <a:lnTo>
                      <a:pt x="2556" y="215"/>
                    </a:lnTo>
                    <a:lnTo>
                      <a:pt x="2552" y="216"/>
                    </a:lnTo>
                    <a:lnTo>
                      <a:pt x="2551" y="220"/>
                    </a:lnTo>
                    <a:lnTo>
                      <a:pt x="2549" y="223"/>
                    </a:lnTo>
                    <a:lnTo>
                      <a:pt x="2549" y="225"/>
                    </a:lnTo>
                    <a:lnTo>
                      <a:pt x="2547" y="229"/>
                    </a:lnTo>
                    <a:lnTo>
                      <a:pt x="2545" y="230"/>
                    </a:lnTo>
                    <a:lnTo>
                      <a:pt x="2540" y="232"/>
                    </a:lnTo>
                    <a:lnTo>
                      <a:pt x="2535" y="234"/>
                    </a:lnTo>
                    <a:lnTo>
                      <a:pt x="2533" y="232"/>
                    </a:lnTo>
                    <a:lnTo>
                      <a:pt x="2531" y="232"/>
                    </a:lnTo>
                    <a:lnTo>
                      <a:pt x="2531" y="232"/>
                    </a:lnTo>
                    <a:lnTo>
                      <a:pt x="2530" y="230"/>
                    </a:lnTo>
                    <a:lnTo>
                      <a:pt x="2526" y="230"/>
                    </a:lnTo>
                    <a:lnTo>
                      <a:pt x="2510" y="183"/>
                    </a:lnTo>
                    <a:lnTo>
                      <a:pt x="2507" y="181"/>
                    </a:lnTo>
                    <a:lnTo>
                      <a:pt x="2503" y="178"/>
                    </a:lnTo>
                    <a:lnTo>
                      <a:pt x="2498" y="174"/>
                    </a:lnTo>
                    <a:lnTo>
                      <a:pt x="2495" y="173"/>
                    </a:lnTo>
                    <a:lnTo>
                      <a:pt x="2491" y="169"/>
                    </a:lnTo>
                    <a:lnTo>
                      <a:pt x="2489" y="159"/>
                    </a:lnTo>
                    <a:lnTo>
                      <a:pt x="2491" y="150"/>
                    </a:lnTo>
                    <a:lnTo>
                      <a:pt x="2493" y="143"/>
                    </a:lnTo>
                    <a:lnTo>
                      <a:pt x="2493" y="136"/>
                    </a:lnTo>
                    <a:lnTo>
                      <a:pt x="2488" y="131"/>
                    </a:lnTo>
                    <a:lnTo>
                      <a:pt x="2475" y="122"/>
                    </a:lnTo>
                    <a:lnTo>
                      <a:pt x="2465" y="117"/>
                    </a:lnTo>
                    <a:lnTo>
                      <a:pt x="2456" y="115"/>
                    </a:lnTo>
                    <a:lnTo>
                      <a:pt x="2448" y="110"/>
                    </a:lnTo>
                    <a:lnTo>
                      <a:pt x="2441" y="99"/>
                    </a:lnTo>
                    <a:lnTo>
                      <a:pt x="2434" y="80"/>
                    </a:lnTo>
                    <a:lnTo>
                      <a:pt x="2420" y="84"/>
                    </a:lnTo>
                    <a:lnTo>
                      <a:pt x="2418" y="78"/>
                    </a:lnTo>
                    <a:lnTo>
                      <a:pt x="2418" y="75"/>
                    </a:lnTo>
                    <a:lnTo>
                      <a:pt x="2416" y="71"/>
                    </a:lnTo>
                    <a:lnTo>
                      <a:pt x="2414" y="68"/>
                    </a:lnTo>
                    <a:close/>
                    <a:moveTo>
                      <a:pt x="1217" y="64"/>
                    </a:moveTo>
                    <a:lnTo>
                      <a:pt x="1215" y="68"/>
                    </a:lnTo>
                    <a:lnTo>
                      <a:pt x="1212" y="71"/>
                    </a:lnTo>
                    <a:lnTo>
                      <a:pt x="1210" y="73"/>
                    </a:lnTo>
                    <a:lnTo>
                      <a:pt x="1208" y="75"/>
                    </a:lnTo>
                    <a:lnTo>
                      <a:pt x="1208" y="77"/>
                    </a:lnTo>
                    <a:lnTo>
                      <a:pt x="1210" y="78"/>
                    </a:lnTo>
                    <a:lnTo>
                      <a:pt x="1214" y="80"/>
                    </a:lnTo>
                    <a:lnTo>
                      <a:pt x="1215" y="75"/>
                    </a:lnTo>
                    <a:lnTo>
                      <a:pt x="1215" y="73"/>
                    </a:lnTo>
                    <a:lnTo>
                      <a:pt x="1217" y="70"/>
                    </a:lnTo>
                    <a:lnTo>
                      <a:pt x="1219" y="68"/>
                    </a:lnTo>
                    <a:lnTo>
                      <a:pt x="1220" y="64"/>
                    </a:lnTo>
                    <a:lnTo>
                      <a:pt x="1217" y="64"/>
                    </a:lnTo>
                    <a:close/>
                    <a:moveTo>
                      <a:pt x="2654" y="49"/>
                    </a:moveTo>
                    <a:lnTo>
                      <a:pt x="2650" y="57"/>
                    </a:lnTo>
                    <a:lnTo>
                      <a:pt x="2643" y="70"/>
                    </a:lnTo>
                    <a:lnTo>
                      <a:pt x="2634" y="84"/>
                    </a:lnTo>
                    <a:lnTo>
                      <a:pt x="2626" y="98"/>
                    </a:lnTo>
                    <a:lnTo>
                      <a:pt x="2619" y="110"/>
                    </a:lnTo>
                    <a:lnTo>
                      <a:pt x="2615" y="120"/>
                    </a:lnTo>
                    <a:lnTo>
                      <a:pt x="2615" y="126"/>
                    </a:lnTo>
                    <a:lnTo>
                      <a:pt x="2617" y="133"/>
                    </a:lnTo>
                    <a:lnTo>
                      <a:pt x="2617" y="136"/>
                    </a:lnTo>
                    <a:lnTo>
                      <a:pt x="2619" y="140"/>
                    </a:lnTo>
                    <a:lnTo>
                      <a:pt x="2622" y="141"/>
                    </a:lnTo>
                    <a:lnTo>
                      <a:pt x="2626" y="143"/>
                    </a:lnTo>
                    <a:lnTo>
                      <a:pt x="2631" y="145"/>
                    </a:lnTo>
                    <a:lnTo>
                      <a:pt x="2645" y="150"/>
                    </a:lnTo>
                    <a:lnTo>
                      <a:pt x="2659" y="148"/>
                    </a:lnTo>
                    <a:lnTo>
                      <a:pt x="2671" y="143"/>
                    </a:lnTo>
                    <a:lnTo>
                      <a:pt x="2685" y="136"/>
                    </a:lnTo>
                    <a:lnTo>
                      <a:pt x="2699" y="134"/>
                    </a:lnTo>
                    <a:lnTo>
                      <a:pt x="2713" y="134"/>
                    </a:lnTo>
                    <a:lnTo>
                      <a:pt x="2722" y="140"/>
                    </a:lnTo>
                    <a:lnTo>
                      <a:pt x="2729" y="145"/>
                    </a:lnTo>
                    <a:lnTo>
                      <a:pt x="2737" y="148"/>
                    </a:lnTo>
                    <a:lnTo>
                      <a:pt x="2758" y="152"/>
                    </a:lnTo>
                    <a:lnTo>
                      <a:pt x="2779" y="150"/>
                    </a:lnTo>
                    <a:lnTo>
                      <a:pt x="2798" y="145"/>
                    </a:lnTo>
                    <a:lnTo>
                      <a:pt x="2804" y="134"/>
                    </a:lnTo>
                    <a:lnTo>
                      <a:pt x="2798" y="134"/>
                    </a:lnTo>
                    <a:lnTo>
                      <a:pt x="2790" y="120"/>
                    </a:lnTo>
                    <a:lnTo>
                      <a:pt x="2776" y="108"/>
                    </a:lnTo>
                    <a:lnTo>
                      <a:pt x="2756" y="96"/>
                    </a:lnTo>
                    <a:lnTo>
                      <a:pt x="2737" y="85"/>
                    </a:lnTo>
                    <a:lnTo>
                      <a:pt x="2722" y="80"/>
                    </a:lnTo>
                    <a:lnTo>
                      <a:pt x="2713" y="87"/>
                    </a:lnTo>
                    <a:lnTo>
                      <a:pt x="2701" y="92"/>
                    </a:lnTo>
                    <a:lnTo>
                      <a:pt x="2692" y="91"/>
                    </a:lnTo>
                    <a:lnTo>
                      <a:pt x="2687" y="84"/>
                    </a:lnTo>
                    <a:lnTo>
                      <a:pt x="2680" y="77"/>
                    </a:lnTo>
                    <a:lnTo>
                      <a:pt x="2676" y="68"/>
                    </a:lnTo>
                    <a:lnTo>
                      <a:pt x="2688" y="64"/>
                    </a:lnTo>
                    <a:lnTo>
                      <a:pt x="2687" y="63"/>
                    </a:lnTo>
                    <a:lnTo>
                      <a:pt x="2685" y="63"/>
                    </a:lnTo>
                    <a:lnTo>
                      <a:pt x="2685" y="63"/>
                    </a:lnTo>
                    <a:lnTo>
                      <a:pt x="2683" y="63"/>
                    </a:lnTo>
                    <a:lnTo>
                      <a:pt x="2680" y="61"/>
                    </a:lnTo>
                    <a:lnTo>
                      <a:pt x="2674" y="56"/>
                    </a:lnTo>
                    <a:lnTo>
                      <a:pt x="2669" y="54"/>
                    </a:lnTo>
                    <a:lnTo>
                      <a:pt x="2662" y="51"/>
                    </a:lnTo>
                    <a:lnTo>
                      <a:pt x="2654" y="49"/>
                    </a:lnTo>
                    <a:close/>
                    <a:moveTo>
                      <a:pt x="2933" y="45"/>
                    </a:moveTo>
                    <a:lnTo>
                      <a:pt x="2922" y="54"/>
                    </a:lnTo>
                    <a:lnTo>
                      <a:pt x="2910" y="59"/>
                    </a:lnTo>
                    <a:lnTo>
                      <a:pt x="2898" y="64"/>
                    </a:lnTo>
                    <a:lnTo>
                      <a:pt x="2887" y="73"/>
                    </a:lnTo>
                    <a:lnTo>
                      <a:pt x="2880" y="84"/>
                    </a:lnTo>
                    <a:lnTo>
                      <a:pt x="2877" y="99"/>
                    </a:lnTo>
                    <a:lnTo>
                      <a:pt x="2882" y="115"/>
                    </a:lnTo>
                    <a:lnTo>
                      <a:pt x="2893" y="131"/>
                    </a:lnTo>
                    <a:lnTo>
                      <a:pt x="2903" y="147"/>
                    </a:lnTo>
                    <a:lnTo>
                      <a:pt x="2915" y="160"/>
                    </a:lnTo>
                    <a:lnTo>
                      <a:pt x="2922" y="173"/>
                    </a:lnTo>
                    <a:lnTo>
                      <a:pt x="2910" y="173"/>
                    </a:lnTo>
                    <a:lnTo>
                      <a:pt x="2910" y="195"/>
                    </a:lnTo>
                    <a:lnTo>
                      <a:pt x="2914" y="211"/>
                    </a:lnTo>
                    <a:lnTo>
                      <a:pt x="2924" y="220"/>
                    </a:lnTo>
                    <a:lnTo>
                      <a:pt x="2942" y="223"/>
                    </a:lnTo>
                    <a:lnTo>
                      <a:pt x="2968" y="222"/>
                    </a:lnTo>
                    <a:lnTo>
                      <a:pt x="2966" y="202"/>
                    </a:lnTo>
                    <a:lnTo>
                      <a:pt x="2962" y="190"/>
                    </a:lnTo>
                    <a:lnTo>
                      <a:pt x="2957" y="180"/>
                    </a:lnTo>
                    <a:lnTo>
                      <a:pt x="2955" y="169"/>
                    </a:lnTo>
                    <a:lnTo>
                      <a:pt x="2957" y="153"/>
                    </a:lnTo>
                    <a:lnTo>
                      <a:pt x="2961" y="155"/>
                    </a:lnTo>
                    <a:lnTo>
                      <a:pt x="2964" y="155"/>
                    </a:lnTo>
                    <a:lnTo>
                      <a:pt x="2968" y="155"/>
                    </a:lnTo>
                    <a:lnTo>
                      <a:pt x="2971" y="155"/>
                    </a:lnTo>
                    <a:lnTo>
                      <a:pt x="2976" y="153"/>
                    </a:lnTo>
                    <a:lnTo>
                      <a:pt x="2973" y="150"/>
                    </a:lnTo>
                    <a:lnTo>
                      <a:pt x="2969" y="148"/>
                    </a:lnTo>
                    <a:lnTo>
                      <a:pt x="2968" y="147"/>
                    </a:lnTo>
                    <a:lnTo>
                      <a:pt x="2964" y="143"/>
                    </a:lnTo>
                    <a:lnTo>
                      <a:pt x="2961" y="141"/>
                    </a:lnTo>
                    <a:lnTo>
                      <a:pt x="2959" y="143"/>
                    </a:lnTo>
                    <a:lnTo>
                      <a:pt x="2959" y="147"/>
                    </a:lnTo>
                    <a:lnTo>
                      <a:pt x="2957" y="150"/>
                    </a:lnTo>
                    <a:lnTo>
                      <a:pt x="2957" y="152"/>
                    </a:lnTo>
                    <a:lnTo>
                      <a:pt x="2955" y="153"/>
                    </a:lnTo>
                    <a:lnTo>
                      <a:pt x="2954" y="152"/>
                    </a:lnTo>
                    <a:lnTo>
                      <a:pt x="2952" y="148"/>
                    </a:lnTo>
                    <a:lnTo>
                      <a:pt x="2947" y="140"/>
                    </a:lnTo>
                    <a:lnTo>
                      <a:pt x="2942" y="131"/>
                    </a:lnTo>
                    <a:lnTo>
                      <a:pt x="2943" y="127"/>
                    </a:lnTo>
                    <a:lnTo>
                      <a:pt x="2945" y="127"/>
                    </a:lnTo>
                    <a:lnTo>
                      <a:pt x="2947" y="126"/>
                    </a:lnTo>
                    <a:lnTo>
                      <a:pt x="2948" y="122"/>
                    </a:lnTo>
                    <a:lnTo>
                      <a:pt x="2933" y="113"/>
                    </a:lnTo>
                    <a:lnTo>
                      <a:pt x="2921" y="99"/>
                    </a:lnTo>
                    <a:lnTo>
                      <a:pt x="2914" y="84"/>
                    </a:lnTo>
                    <a:lnTo>
                      <a:pt x="2933" y="82"/>
                    </a:lnTo>
                    <a:lnTo>
                      <a:pt x="2947" y="77"/>
                    </a:lnTo>
                    <a:lnTo>
                      <a:pt x="2954" y="64"/>
                    </a:lnTo>
                    <a:lnTo>
                      <a:pt x="2957" y="49"/>
                    </a:lnTo>
                    <a:lnTo>
                      <a:pt x="2952" y="47"/>
                    </a:lnTo>
                    <a:lnTo>
                      <a:pt x="2947" y="47"/>
                    </a:lnTo>
                    <a:lnTo>
                      <a:pt x="2942" y="45"/>
                    </a:lnTo>
                    <a:lnTo>
                      <a:pt x="2933" y="45"/>
                    </a:lnTo>
                    <a:close/>
                    <a:moveTo>
                      <a:pt x="2746" y="42"/>
                    </a:moveTo>
                    <a:lnTo>
                      <a:pt x="2732" y="49"/>
                    </a:lnTo>
                    <a:lnTo>
                      <a:pt x="2715" y="54"/>
                    </a:lnTo>
                    <a:lnTo>
                      <a:pt x="2715" y="68"/>
                    </a:lnTo>
                    <a:lnTo>
                      <a:pt x="2722" y="70"/>
                    </a:lnTo>
                    <a:lnTo>
                      <a:pt x="2730" y="71"/>
                    </a:lnTo>
                    <a:lnTo>
                      <a:pt x="2741" y="71"/>
                    </a:lnTo>
                    <a:lnTo>
                      <a:pt x="2741" y="64"/>
                    </a:lnTo>
                    <a:lnTo>
                      <a:pt x="2744" y="59"/>
                    </a:lnTo>
                    <a:lnTo>
                      <a:pt x="2746" y="54"/>
                    </a:lnTo>
                    <a:lnTo>
                      <a:pt x="2746" y="49"/>
                    </a:lnTo>
                    <a:lnTo>
                      <a:pt x="2746" y="45"/>
                    </a:lnTo>
                    <a:lnTo>
                      <a:pt x="2746" y="42"/>
                    </a:lnTo>
                    <a:close/>
                    <a:moveTo>
                      <a:pt x="1390" y="33"/>
                    </a:moveTo>
                    <a:lnTo>
                      <a:pt x="1393" y="42"/>
                    </a:lnTo>
                    <a:lnTo>
                      <a:pt x="1395" y="54"/>
                    </a:lnTo>
                    <a:lnTo>
                      <a:pt x="1397" y="64"/>
                    </a:lnTo>
                    <a:lnTo>
                      <a:pt x="1395" y="66"/>
                    </a:lnTo>
                    <a:lnTo>
                      <a:pt x="1393" y="66"/>
                    </a:lnTo>
                    <a:lnTo>
                      <a:pt x="1392" y="66"/>
                    </a:lnTo>
                    <a:lnTo>
                      <a:pt x="1392" y="68"/>
                    </a:lnTo>
                    <a:lnTo>
                      <a:pt x="1390" y="68"/>
                    </a:lnTo>
                    <a:lnTo>
                      <a:pt x="1383" y="68"/>
                    </a:lnTo>
                    <a:lnTo>
                      <a:pt x="1381" y="66"/>
                    </a:lnTo>
                    <a:lnTo>
                      <a:pt x="1381" y="64"/>
                    </a:lnTo>
                    <a:lnTo>
                      <a:pt x="1381" y="63"/>
                    </a:lnTo>
                    <a:lnTo>
                      <a:pt x="1379" y="63"/>
                    </a:lnTo>
                    <a:lnTo>
                      <a:pt x="1378" y="61"/>
                    </a:lnTo>
                    <a:lnTo>
                      <a:pt x="1390" y="33"/>
                    </a:lnTo>
                    <a:close/>
                    <a:moveTo>
                      <a:pt x="1002" y="0"/>
                    </a:moveTo>
                    <a:lnTo>
                      <a:pt x="994" y="12"/>
                    </a:lnTo>
                    <a:lnTo>
                      <a:pt x="985" y="23"/>
                    </a:lnTo>
                    <a:lnTo>
                      <a:pt x="980" y="38"/>
                    </a:lnTo>
                    <a:lnTo>
                      <a:pt x="990" y="37"/>
                    </a:lnTo>
                    <a:lnTo>
                      <a:pt x="997" y="40"/>
                    </a:lnTo>
                    <a:lnTo>
                      <a:pt x="1002" y="45"/>
                    </a:lnTo>
                    <a:lnTo>
                      <a:pt x="1009" y="54"/>
                    </a:lnTo>
                    <a:lnTo>
                      <a:pt x="1011" y="47"/>
                    </a:lnTo>
                    <a:lnTo>
                      <a:pt x="1011" y="42"/>
                    </a:lnTo>
                    <a:lnTo>
                      <a:pt x="1013" y="38"/>
                    </a:lnTo>
                    <a:lnTo>
                      <a:pt x="1013" y="33"/>
                    </a:lnTo>
                    <a:lnTo>
                      <a:pt x="1022" y="33"/>
                    </a:lnTo>
                    <a:lnTo>
                      <a:pt x="1027" y="45"/>
                    </a:lnTo>
                    <a:lnTo>
                      <a:pt x="1035" y="49"/>
                    </a:lnTo>
                    <a:lnTo>
                      <a:pt x="1042" y="52"/>
                    </a:lnTo>
                    <a:lnTo>
                      <a:pt x="1049" y="56"/>
                    </a:lnTo>
                    <a:lnTo>
                      <a:pt x="1056" y="64"/>
                    </a:lnTo>
                    <a:lnTo>
                      <a:pt x="1049" y="75"/>
                    </a:lnTo>
                    <a:lnTo>
                      <a:pt x="1041" y="87"/>
                    </a:lnTo>
                    <a:lnTo>
                      <a:pt x="1034" y="103"/>
                    </a:lnTo>
                    <a:lnTo>
                      <a:pt x="1028" y="117"/>
                    </a:lnTo>
                    <a:lnTo>
                      <a:pt x="1028" y="126"/>
                    </a:lnTo>
                    <a:lnTo>
                      <a:pt x="1030" y="131"/>
                    </a:lnTo>
                    <a:lnTo>
                      <a:pt x="1030" y="134"/>
                    </a:lnTo>
                    <a:lnTo>
                      <a:pt x="1032" y="136"/>
                    </a:lnTo>
                    <a:lnTo>
                      <a:pt x="1034" y="138"/>
                    </a:lnTo>
                    <a:lnTo>
                      <a:pt x="1035" y="140"/>
                    </a:lnTo>
                    <a:lnTo>
                      <a:pt x="1041" y="141"/>
                    </a:lnTo>
                    <a:lnTo>
                      <a:pt x="1041" y="138"/>
                    </a:lnTo>
                    <a:lnTo>
                      <a:pt x="1044" y="131"/>
                    </a:lnTo>
                    <a:lnTo>
                      <a:pt x="1049" y="120"/>
                    </a:lnTo>
                    <a:lnTo>
                      <a:pt x="1055" y="106"/>
                    </a:lnTo>
                    <a:lnTo>
                      <a:pt x="1060" y="94"/>
                    </a:lnTo>
                    <a:lnTo>
                      <a:pt x="1065" y="84"/>
                    </a:lnTo>
                    <a:lnTo>
                      <a:pt x="1067" y="77"/>
                    </a:lnTo>
                    <a:lnTo>
                      <a:pt x="1079" y="77"/>
                    </a:lnTo>
                    <a:lnTo>
                      <a:pt x="1081" y="96"/>
                    </a:lnTo>
                    <a:lnTo>
                      <a:pt x="1081" y="113"/>
                    </a:lnTo>
                    <a:lnTo>
                      <a:pt x="1081" y="134"/>
                    </a:lnTo>
                    <a:lnTo>
                      <a:pt x="1083" y="157"/>
                    </a:lnTo>
                    <a:lnTo>
                      <a:pt x="1105" y="160"/>
                    </a:lnTo>
                    <a:lnTo>
                      <a:pt x="1114" y="147"/>
                    </a:lnTo>
                    <a:lnTo>
                      <a:pt x="1130" y="138"/>
                    </a:lnTo>
                    <a:lnTo>
                      <a:pt x="1147" y="129"/>
                    </a:lnTo>
                    <a:lnTo>
                      <a:pt x="1165" y="122"/>
                    </a:lnTo>
                    <a:lnTo>
                      <a:pt x="1182" y="115"/>
                    </a:lnTo>
                    <a:lnTo>
                      <a:pt x="1198" y="106"/>
                    </a:lnTo>
                    <a:lnTo>
                      <a:pt x="1205" y="96"/>
                    </a:lnTo>
                    <a:lnTo>
                      <a:pt x="1201" y="96"/>
                    </a:lnTo>
                    <a:lnTo>
                      <a:pt x="1200" y="92"/>
                    </a:lnTo>
                    <a:lnTo>
                      <a:pt x="1200" y="91"/>
                    </a:lnTo>
                    <a:lnTo>
                      <a:pt x="1198" y="89"/>
                    </a:lnTo>
                    <a:lnTo>
                      <a:pt x="1198" y="89"/>
                    </a:lnTo>
                    <a:lnTo>
                      <a:pt x="1196" y="89"/>
                    </a:lnTo>
                    <a:lnTo>
                      <a:pt x="1194" y="89"/>
                    </a:lnTo>
                    <a:lnTo>
                      <a:pt x="1191" y="87"/>
                    </a:lnTo>
                    <a:lnTo>
                      <a:pt x="1184" y="92"/>
                    </a:lnTo>
                    <a:lnTo>
                      <a:pt x="1172" y="99"/>
                    </a:lnTo>
                    <a:lnTo>
                      <a:pt x="1158" y="110"/>
                    </a:lnTo>
                    <a:lnTo>
                      <a:pt x="1140" y="119"/>
                    </a:lnTo>
                    <a:lnTo>
                      <a:pt x="1124" y="129"/>
                    </a:lnTo>
                    <a:lnTo>
                      <a:pt x="1109" y="136"/>
                    </a:lnTo>
                    <a:lnTo>
                      <a:pt x="1098" y="140"/>
                    </a:lnTo>
                    <a:lnTo>
                      <a:pt x="1095" y="141"/>
                    </a:lnTo>
                    <a:lnTo>
                      <a:pt x="1093" y="140"/>
                    </a:lnTo>
                    <a:lnTo>
                      <a:pt x="1091" y="138"/>
                    </a:lnTo>
                    <a:lnTo>
                      <a:pt x="1091" y="136"/>
                    </a:lnTo>
                    <a:lnTo>
                      <a:pt x="1091" y="134"/>
                    </a:lnTo>
                    <a:lnTo>
                      <a:pt x="1090" y="131"/>
                    </a:lnTo>
                    <a:lnTo>
                      <a:pt x="1095" y="122"/>
                    </a:lnTo>
                    <a:lnTo>
                      <a:pt x="1095" y="115"/>
                    </a:lnTo>
                    <a:lnTo>
                      <a:pt x="1093" y="110"/>
                    </a:lnTo>
                    <a:lnTo>
                      <a:pt x="1091" y="101"/>
                    </a:lnTo>
                    <a:lnTo>
                      <a:pt x="1095" y="91"/>
                    </a:lnTo>
                    <a:lnTo>
                      <a:pt x="1097" y="89"/>
                    </a:lnTo>
                    <a:lnTo>
                      <a:pt x="1098" y="87"/>
                    </a:lnTo>
                    <a:lnTo>
                      <a:pt x="1100" y="85"/>
                    </a:lnTo>
                    <a:lnTo>
                      <a:pt x="1102" y="85"/>
                    </a:lnTo>
                    <a:lnTo>
                      <a:pt x="1104" y="85"/>
                    </a:lnTo>
                    <a:lnTo>
                      <a:pt x="1105" y="84"/>
                    </a:lnTo>
                    <a:lnTo>
                      <a:pt x="1107" y="82"/>
                    </a:lnTo>
                    <a:lnTo>
                      <a:pt x="1107" y="78"/>
                    </a:lnTo>
                    <a:lnTo>
                      <a:pt x="1109" y="73"/>
                    </a:lnTo>
                    <a:lnTo>
                      <a:pt x="1109" y="64"/>
                    </a:lnTo>
                    <a:lnTo>
                      <a:pt x="1100" y="59"/>
                    </a:lnTo>
                    <a:lnTo>
                      <a:pt x="1091" y="57"/>
                    </a:lnTo>
                    <a:lnTo>
                      <a:pt x="1084" y="57"/>
                    </a:lnTo>
                    <a:lnTo>
                      <a:pt x="1076" y="54"/>
                    </a:lnTo>
                    <a:lnTo>
                      <a:pt x="1063" y="45"/>
                    </a:lnTo>
                    <a:lnTo>
                      <a:pt x="1055" y="37"/>
                    </a:lnTo>
                    <a:lnTo>
                      <a:pt x="1049" y="26"/>
                    </a:lnTo>
                    <a:lnTo>
                      <a:pt x="1042" y="16"/>
                    </a:lnTo>
                    <a:lnTo>
                      <a:pt x="1034" y="9"/>
                    </a:lnTo>
                    <a:lnTo>
                      <a:pt x="1020" y="2"/>
                    </a:lnTo>
                    <a:lnTo>
                      <a:pt x="1002"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1" name="Freeform 9">
                <a:extLst>
                  <a:ext uri="{FF2B5EF4-FFF2-40B4-BE49-F238E27FC236}">
                    <a16:creationId xmlns:a16="http://schemas.microsoft.com/office/drawing/2014/main" id="{5E818849-4175-C049-B160-26D5DE75C4A4}"/>
                  </a:ext>
                </a:extLst>
              </p:cNvPr>
              <p:cNvSpPr>
                <a:spLocks noEditPoints="1"/>
              </p:cNvSpPr>
              <p:nvPr/>
            </p:nvSpPr>
            <p:spPr bwMode="auto">
              <a:xfrm>
                <a:off x="635000" y="2108200"/>
                <a:ext cx="7697788" cy="3846513"/>
              </a:xfrm>
              <a:custGeom>
                <a:avLst/>
                <a:gdLst>
                  <a:gd name="T0" fmla="*/ 1599 w 4849"/>
                  <a:gd name="T1" fmla="*/ 786 h 2423"/>
                  <a:gd name="T2" fmla="*/ 1536 w 4849"/>
                  <a:gd name="T3" fmla="*/ 779 h 2423"/>
                  <a:gd name="T4" fmla="*/ 529 w 4849"/>
                  <a:gd name="T5" fmla="*/ 651 h 2423"/>
                  <a:gd name="T6" fmla="*/ 4301 w 4849"/>
                  <a:gd name="T7" fmla="*/ 791 h 2423"/>
                  <a:gd name="T8" fmla="*/ 2510 w 4849"/>
                  <a:gd name="T9" fmla="*/ 575 h 2423"/>
                  <a:gd name="T10" fmla="*/ 2579 w 4849"/>
                  <a:gd name="T11" fmla="*/ 552 h 2423"/>
                  <a:gd name="T12" fmla="*/ 2649 w 4849"/>
                  <a:gd name="T13" fmla="*/ 522 h 2423"/>
                  <a:gd name="T14" fmla="*/ 2347 w 4849"/>
                  <a:gd name="T15" fmla="*/ 611 h 2423"/>
                  <a:gd name="T16" fmla="*/ 2304 w 4849"/>
                  <a:gd name="T17" fmla="*/ 615 h 2423"/>
                  <a:gd name="T18" fmla="*/ 2269 w 4849"/>
                  <a:gd name="T19" fmla="*/ 580 h 2423"/>
                  <a:gd name="T20" fmla="*/ 1234 w 4849"/>
                  <a:gd name="T21" fmla="*/ 424 h 2423"/>
                  <a:gd name="T22" fmla="*/ 1297 w 4849"/>
                  <a:gd name="T23" fmla="*/ 367 h 2423"/>
                  <a:gd name="T24" fmla="*/ 1178 w 4849"/>
                  <a:gd name="T25" fmla="*/ 307 h 2423"/>
                  <a:gd name="T26" fmla="*/ 1171 w 4849"/>
                  <a:gd name="T27" fmla="*/ 369 h 2423"/>
                  <a:gd name="T28" fmla="*/ 2044 w 4849"/>
                  <a:gd name="T29" fmla="*/ 365 h 2423"/>
                  <a:gd name="T30" fmla="*/ 2082 w 4849"/>
                  <a:gd name="T31" fmla="*/ 288 h 2423"/>
                  <a:gd name="T32" fmla="*/ 1297 w 4849"/>
                  <a:gd name="T33" fmla="*/ 215 h 2423"/>
                  <a:gd name="T34" fmla="*/ 2979 w 4849"/>
                  <a:gd name="T35" fmla="*/ 177 h 2423"/>
                  <a:gd name="T36" fmla="*/ 4833 w 4849"/>
                  <a:gd name="T37" fmla="*/ 109 h 2423"/>
                  <a:gd name="T38" fmla="*/ 1082 w 4849"/>
                  <a:gd name="T39" fmla="*/ 131 h 2423"/>
                  <a:gd name="T40" fmla="*/ 1167 w 4849"/>
                  <a:gd name="T41" fmla="*/ 154 h 2423"/>
                  <a:gd name="T42" fmla="*/ 1197 w 4849"/>
                  <a:gd name="T43" fmla="*/ 273 h 2423"/>
                  <a:gd name="T44" fmla="*/ 1078 w 4849"/>
                  <a:gd name="T45" fmla="*/ 379 h 2423"/>
                  <a:gd name="T46" fmla="*/ 1164 w 4849"/>
                  <a:gd name="T47" fmla="*/ 582 h 2423"/>
                  <a:gd name="T48" fmla="*/ 1281 w 4849"/>
                  <a:gd name="T49" fmla="*/ 575 h 2423"/>
                  <a:gd name="T50" fmla="*/ 1386 w 4849"/>
                  <a:gd name="T51" fmla="*/ 484 h 2423"/>
                  <a:gd name="T52" fmla="*/ 1501 w 4849"/>
                  <a:gd name="T53" fmla="*/ 564 h 2423"/>
                  <a:gd name="T54" fmla="*/ 1396 w 4849"/>
                  <a:gd name="T55" fmla="*/ 721 h 2423"/>
                  <a:gd name="T56" fmla="*/ 1459 w 4849"/>
                  <a:gd name="T57" fmla="*/ 798 h 2423"/>
                  <a:gd name="T58" fmla="*/ 1298 w 4849"/>
                  <a:gd name="T59" fmla="*/ 955 h 2423"/>
                  <a:gd name="T60" fmla="*/ 1124 w 4849"/>
                  <a:gd name="T61" fmla="*/ 1077 h 2423"/>
                  <a:gd name="T62" fmla="*/ 1085 w 4849"/>
                  <a:gd name="T63" fmla="*/ 1234 h 2423"/>
                  <a:gd name="T64" fmla="*/ 1194 w 4849"/>
                  <a:gd name="T65" fmla="*/ 1320 h 2423"/>
                  <a:gd name="T66" fmla="*/ 1361 w 4849"/>
                  <a:gd name="T67" fmla="*/ 1344 h 2423"/>
                  <a:gd name="T68" fmla="*/ 1616 w 4849"/>
                  <a:gd name="T69" fmla="*/ 1421 h 2423"/>
                  <a:gd name="T70" fmla="*/ 1866 w 4849"/>
                  <a:gd name="T71" fmla="*/ 1604 h 2423"/>
                  <a:gd name="T72" fmla="*/ 1647 w 4849"/>
                  <a:gd name="T73" fmla="*/ 1966 h 2423"/>
                  <a:gd name="T74" fmla="*/ 1496 w 4849"/>
                  <a:gd name="T75" fmla="*/ 2105 h 2423"/>
                  <a:gd name="T76" fmla="*/ 1431 w 4849"/>
                  <a:gd name="T77" fmla="*/ 2215 h 2423"/>
                  <a:gd name="T78" fmla="*/ 1396 w 4849"/>
                  <a:gd name="T79" fmla="*/ 2371 h 2423"/>
                  <a:gd name="T80" fmla="*/ 1302 w 4849"/>
                  <a:gd name="T81" fmla="*/ 2315 h 2423"/>
                  <a:gd name="T82" fmla="*/ 1270 w 4849"/>
                  <a:gd name="T83" fmla="*/ 1667 h 2423"/>
                  <a:gd name="T84" fmla="*/ 1269 w 4849"/>
                  <a:gd name="T85" fmla="*/ 1400 h 2423"/>
                  <a:gd name="T86" fmla="*/ 1056 w 4849"/>
                  <a:gd name="T87" fmla="*/ 1288 h 2423"/>
                  <a:gd name="T88" fmla="*/ 813 w 4849"/>
                  <a:gd name="T89" fmla="*/ 1102 h 2423"/>
                  <a:gd name="T90" fmla="*/ 818 w 4849"/>
                  <a:gd name="T91" fmla="*/ 1171 h 2423"/>
                  <a:gd name="T92" fmla="*/ 642 w 4849"/>
                  <a:gd name="T93" fmla="*/ 939 h 2423"/>
                  <a:gd name="T94" fmla="*/ 639 w 4849"/>
                  <a:gd name="T95" fmla="*/ 739 h 2423"/>
                  <a:gd name="T96" fmla="*/ 490 w 4849"/>
                  <a:gd name="T97" fmla="*/ 522 h 2423"/>
                  <a:gd name="T98" fmla="*/ 141 w 4849"/>
                  <a:gd name="T99" fmla="*/ 576 h 2423"/>
                  <a:gd name="T100" fmla="*/ 115 w 4849"/>
                  <a:gd name="T101" fmla="*/ 482 h 2423"/>
                  <a:gd name="T102" fmla="*/ 85 w 4849"/>
                  <a:gd name="T103" fmla="*/ 334 h 2423"/>
                  <a:gd name="T104" fmla="*/ 110 w 4849"/>
                  <a:gd name="T105" fmla="*/ 255 h 2423"/>
                  <a:gd name="T106" fmla="*/ 234 w 4849"/>
                  <a:gd name="T107" fmla="*/ 107 h 2423"/>
                  <a:gd name="T108" fmla="*/ 499 w 4849"/>
                  <a:gd name="T109" fmla="*/ 136 h 2423"/>
                  <a:gd name="T110" fmla="*/ 632 w 4849"/>
                  <a:gd name="T111" fmla="*/ 149 h 2423"/>
                  <a:gd name="T112" fmla="*/ 771 w 4849"/>
                  <a:gd name="T113" fmla="*/ 218 h 2423"/>
                  <a:gd name="T114" fmla="*/ 979 w 4849"/>
                  <a:gd name="T115" fmla="*/ 222 h 2423"/>
                  <a:gd name="T116" fmla="*/ 918 w 4849"/>
                  <a:gd name="T117" fmla="*/ 131 h 2423"/>
                  <a:gd name="T118" fmla="*/ 733 w 4849"/>
                  <a:gd name="T119" fmla="*/ 157 h 2423"/>
                  <a:gd name="T120" fmla="*/ 776 w 4849"/>
                  <a:gd name="T121" fmla="*/ 42 h 2423"/>
                  <a:gd name="T122" fmla="*/ 902 w 4849"/>
                  <a:gd name="T123" fmla="*/ 28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9" h="2423">
                    <a:moveTo>
                      <a:pt x="1469" y="711"/>
                    </a:moveTo>
                    <a:lnTo>
                      <a:pt x="1482" y="712"/>
                    </a:lnTo>
                    <a:lnTo>
                      <a:pt x="1490" y="714"/>
                    </a:lnTo>
                    <a:lnTo>
                      <a:pt x="1501" y="718"/>
                    </a:lnTo>
                    <a:lnTo>
                      <a:pt x="1501" y="726"/>
                    </a:lnTo>
                    <a:lnTo>
                      <a:pt x="1497" y="726"/>
                    </a:lnTo>
                    <a:lnTo>
                      <a:pt x="1494" y="728"/>
                    </a:lnTo>
                    <a:lnTo>
                      <a:pt x="1490" y="728"/>
                    </a:lnTo>
                    <a:lnTo>
                      <a:pt x="1487" y="728"/>
                    </a:lnTo>
                    <a:lnTo>
                      <a:pt x="1482" y="730"/>
                    </a:lnTo>
                    <a:lnTo>
                      <a:pt x="1478" y="725"/>
                    </a:lnTo>
                    <a:lnTo>
                      <a:pt x="1476" y="723"/>
                    </a:lnTo>
                    <a:lnTo>
                      <a:pt x="1475" y="719"/>
                    </a:lnTo>
                    <a:lnTo>
                      <a:pt x="1473" y="716"/>
                    </a:lnTo>
                    <a:lnTo>
                      <a:pt x="1469" y="711"/>
                    </a:lnTo>
                    <a:close/>
                    <a:moveTo>
                      <a:pt x="1551" y="691"/>
                    </a:moveTo>
                    <a:lnTo>
                      <a:pt x="1562" y="691"/>
                    </a:lnTo>
                    <a:lnTo>
                      <a:pt x="1562" y="705"/>
                    </a:lnTo>
                    <a:lnTo>
                      <a:pt x="1562" y="718"/>
                    </a:lnTo>
                    <a:lnTo>
                      <a:pt x="1564" y="728"/>
                    </a:lnTo>
                    <a:lnTo>
                      <a:pt x="1565" y="740"/>
                    </a:lnTo>
                    <a:lnTo>
                      <a:pt x="1585" y="740"/>
                    </a:lnTo>
                    <a:lnTo>
                      <a:pt x="1585" y="760"/>
                    </a:lnTo>
                    <a:lnTo>
                      <a:pt x="1593" y="760"/>
                    </a:lnTo>
                    <a:lnTo>
                      <a:pt x="1595" y="761"/>
                    </a:lnTo>
                    <a:lnTo>
                      <a:pt x="1597" y="761"/>
                    </a:lnTo>
                    <a:lnTo>
                      <a:pt x="1599" y="761"/>
                    </a:lnTo>
                    <a:lnTo>
                      <a:pt x="1600" y="761"/>
                    </a:lnTo>
                    <a:lnTo>
                      <a:pt x="1602" y="761"/>
                    </a:lnTo>
                    <a:lnTo>
                      <a:pt x="1604" y="763"/>
                    </a:lnTo>
                    <a:lnTo>
                      <a:pt x="1602" y="774"/>
                    </a:lnTo>
                    <a:lnTo>
                      <a:pt x="1599" y="786"/>
                    </a:lnTo>
                    <a:lnTo>
                      <a:pt x="1597" y="798"/>
                    </a:lnTo>
                    <a:lnTo>
                      <a:pt x="1593" y="798"/>
                    </a:lnTo>
                    <a:lnTo>
                      <a:pt x="1592" y="794"/>
                    </a:lnTo>
                    <a:lnTo>
                      <a:pt x="1592" y="793"/>
                    </a:lnTo>
                    <a:lnTo>
                      <a:pt x="1592" y="791"/>
                    </a:lnTo>
                    <a:lnTo>
                      <a:pt x="1590" y="789"/>
                    </a:lnTo>
                    <a:lnTo>
                      <a:pt x="1590" y="787"/>
                    </a:lnTo>
                    <a:lnTo>
                      <a:pt x="1588" y="791"/>
                    </a:lnTo>
                    <a:lnTo>
                      <a:pt x="1586" y="791"/>
                    </a:lnTo>
                    <a:lnTo>
                      <a:pt x="1586" y="793"/>
                    </a:lnTo>
                    <a:lnTo>
                      <a:pt x="1586" y="793"/>
                    </a:lnTo>
                    <a:lnTo>
                      <a:pt x="1586" y="793"/>
                    </a:lnTo>
                    <a:lnTo>
                      <a:pt x="1585" y="793"/>
                    </a:lnTo>
                    <a:lnTo>
                      <a:pt x="1581" y="794"/>
                    </a:lnTo>
                    <a:lnTo>
                      <a:pt x="1581" y="787"/>
                    </a:lnTo>
                    <a:lnTo>
                      <a:pt x="1583" y="786"/>
                    </a:lnTo>
                    <a:lnTo>
                      <a:pt x="1583" y="784"/>
                    </a:lnTo>
                    <a:lnTo>
                      <a:pt x="1585" y="782"/>
                    </a:lnTo>
                    <a:lnTo>
                      <a:pt x="1585" y="779"/>
                    </a:lnTo>
                    <a:lnTo>
                      <a:pt x="1585" y="775"/>
                    </a:lnTo>
                    <a:lnTo>
                      <a:pt x="1581" y="775"/>
                    </a:lnTo>
                    <a:lnTo>
                      <a:pt x="1574" y="782"/>
                    </a:lnTo>
                    <a:lnTo>
                      <a:pt x="1567" y="789"/>
                    </a:lnTo>
                    <a:lnTo>
                      <a:pt x="1558" y="794"/>
                    </a:lnTo>
                    <a:lnTo>
                      <a:pt x="1558" y="789"/>
                    </a:lnTo>
                    <a:lnTo>
                      <a:pt x="1558" y="784"/>
                    </a:lnTo>
                    <a:lnTo>
                      <a:pt x="1558" y="782"/>
                    </a:lnTo>
                    <a:lnTo>
                      <a:pt x="1557" y="781"/>
                    </a:lnTo>
                    <a:lnTo>
                      <a:pt x="1553" y="779"/>
                    </a:lnTo>
                    <a:lnTo>
                      <a:pt x="1548" y="779"/>
                    </a:lnTo>
                    <a:lnTo>
                      <a:pt x="1539" y="779"/>
                    </a:lnTo>
                    <a:lnTo>
                      <a:pt x="1536" y="779"/>
                    </a:lnTo>
                    <a:lnTo>
                      <a:pt x="1532" y="779"/>
                    </a:lnTo>
                    <a:lnTo>
                      <a:pt x="1527" y="777"/>
                    </a:lnTo>
                    <a:lnTo>
                      <a:pt x="1522" y="777"/>
                    </a:lnTo>
                    <a:lnTo>
                      <a:pt x="1517" y="775"/>
                    </a:lnTo>
                    <a:lnTo>
                      <a:pt x="1513" y="772"/>
                    </a:lnTo>
                    <a:lnTo>
                      <a:pt x="1523" y="758"/>
                    </a:lnTo>
                    <a:lnTo>
                      <a:pt x="1534" y="737"/>
                    </a:lnTo>
                    <a:lnTo>
                      <a:pt x="1541" y="714"/>
                    </a:lnTo>
                    <a:lnTo>
                      <a:pt x="1551" y="691"/>
                    </a:lnTo>
                    <a:close/>
                    <a:moveTo>
                      <a:pt x="1220" y="630"/>
                    </a:moveTo>
                    <a:lnTo>
                      <a:pt x="1235" y="630"/>
                    </a:lnTo>
                    <a:lnTo>
                      <a:pt x="1235" y="637"/>
                    </a:lnTo>
                    <a:lnTo>
                      <a:pt x="1232" y="637"/>
                    </a:lnTo>
                    <a:lnTo>
                      <a:pt x="1230" y="639"/>
                    </a:lnTo>
                    <a:lnTo>
                      <a:pt x="1229" y="639"/>
                    </a:lnTo>
                    <a:lnTo>
                      <a:pt x="1227" y="639"/>
                    </a:lnTo>
                    <a:lnTo>
                      <a:pt x="1225" y="641"/>
                    </a:lnTo>
                    <a:lnTo>
                      <a:pt x="1220" y="641"/>
                    </a:lnTo>
                    <a:lnTo>
                      <a:pt x="1220" y="630"/>
                    </a:lnTo>
                    <a:close/>
                    <a:moveTo>
                      <a:pt x="515" y="622"/>
                    </a:moveTo>
                    <a:lnTo>
                      <a:pt x="522" y="622"/>
                    </a:lnTo>
                    <a:lnTo>
                      <a:pt x="525" y="623"/>
                    </a:lnTo>
                    <a:lnTo>
                      <a:pt x="529" y="625"/>
                    </a:lnTo>
                    <a:lnTo>
                      <a:pt x="534" y="625"/>
                    </a:lnTo>
                    <a:lnTo>
                      <a:pt x="541" y="625"/>
                    </a:lnTo>
                    <a:lnTo>
                      <a:pt x="543" y="639"/>
                    </a:lnTo>
                    <a:lnTo>
                      <a:pt x="546" y="650"/>
                    </a:lnTo>
                    <a:lnTo>
                      <a:pt x="548" y="664"/>
                    </a:lnTo>
                    <a:lnTo>
                      <a:pt x="541" y="664"/>
                    </a:lnTo>
                    <a:lnTo>
                      <a:pt x="537" y="658"/>
                    </a:lnTo>
                    <a:lnTo>
                      <a:pt x="534" y="655"/>
                    </a:lnTo>
                    <a:lnTo>
                      <a:pt x="529" y="651"/>
                    </a:lnTo>
                    <a:lnTo>
                      <a:pt x="525" y="648"/>
                    </a:lnTo>
                    <a:lnTo>
                      <a:pt x="522" y="643"/>
                    </a:lnTo>
                    <a:lnTo>
                      <a:pt x="518" y="637"/>
                    </a:lnTo>
                    <a:lnTo>
                      <a:pt x="516" y="634"/>
                    </a:lnTo>
                    <a:lnTo>
                      <a:pt x="515" y="630"/>
                    </a:lnTo>
                    <a:lnTo>
                      <a:pt x="515" y="627"/>
                    </a:lnTo>
                    <a:lnTo>
                      <a:pt x="515" y="622"/>
                    </a:lnTo>
                    <a:close/>
                    <a:moveTo>
                      <a:pt x="4304" y="609"/>
                    </a:moveTo>
                    <a:lnTo>
                      <a:pt x="4306" y="611"/>
                    </a:lnTo>
                    <a:lnTo>
                      <a:pt x="4306" y="611"/>
                    </a:lnTo>
                    <a:lnTo>
                      <a:pt x="4306" y="611"/>
                    </a:lnTo>
                    <a:lnTo>
                      <a:pt x="4306" y="613"/>
                    </a:lnTo>
                    <a:lnTo>
                      <a:pt x="4307" y="613"/>
                    </a:lnTo>
                    <a:lnTo>
                      <a:pt x="4307" y="615"/>
                    </a:lnTo>
                    <a:lnTo>
                      <a:pt x="4313" y="627"/>
                    </a:lnTo>
                    <a:lnTo>
                      <a:pt x="4313" y="643"/>
                    </a:lnTo>
                    <a:lnTo>
                      <a:pt x="4313" y="658"/>
                    </a:lnTo>
                    <a:lnTo>
                      <a:pt x="4316" y="676"/>
                    </a:lnTo>
                    <a:lnTo>
                      <a:pt x="4321" y="693"/>
                    </a:lnTo>
                    <a:lnTo>
                      <a:pt x="4330" y="712"/>
                    </a:lnTo>
                    <a:lnTo>
                      <a:pt x="4335" y="733"/>
                    </a:lnTo>
                    <a:lnTo>
                      <a:pt x="4311" y="730"/>
                    </a:lnTo>
                    <a:lnTo>
                      <a:pt x="4311" y="746"/>
                    </a:lnTo>
                    <a:lnTo>
                      <a:pt x="4314" y="758"/>
                    </a:lnTo>
                    <a:lnTo>
                      <a:pt x="4316" y="770"/>
                    </a:lnTo>
                    <a:lnTo>
                      <a:pt x="4320" y="787"/>
                    </a:lnTo>
                    <a:lnTo>
                      <a:pt x="4314" y="787"/>
                    </a:lnTo>
                    <a:lnTo>
                      <a:pt x="4311" y="787"/>
                    </a:lnTo>
                    <a:lnTo>
                      <a:pt x="4306" y="789"/>
                    </a:lnTo>
                    <a:lnTo>
                      <a:pt x="4304" y="789"/>
                    </a:lnTo>
                    <a:lnTo>
                      <a:pt x="4301" y="791"/>
                    </a:lnTo>
                    <a:lnTo>
                      <a:pt x="4301" y="791"/>
                    </a:lnTo>
                    <a:lnTo>
                      <a:pt x="4297" y="781"/>
                    </a:lnTo>
                    <a:lnTo>
                      <a:pt x="4295" y="761"/>
                    </a:lnTo>
                    <a:lnTo>
                      <a:pt x="4295" y="739"/>
                    </a:lnTo>
                    <a:lnTo>
                      <a:pt x="4295" y="714"/>
                    </a:lnTo>
                    <a:lnTo>
                      <a:pt x="4295" y="691"/>
                    </a:lnTo>
                    <a:lnTo>
                      <a:pt x="4292" y="676"/>
                    </a:lnTo>
                    <a:lnTo>
                      <a:pt x="4292" y="637"/>
                    </a:lnTo>
                    <a:lnTo>
                      <a:pt x="4295" y="632"/>
                    </a:lnTo>
                    <a:lnTo>
                      <a:pt x="4297" y="629"/>
                    </a:lnTo>
                    <a:lnTo>
                      <a:pt x="4299" y="625"/>
                    </a:lnTo>
                    <a:lnTo>
                      <a:pt x="4301" y="622"/>
                    </a:lnTo>
                    <a:lnTo>
                      <a:pt x="4302" y="616"/>
                    </a:lnTo>
                    <a:lnTo>
                      <a:pt x="4304" y="609"/>
                    </a:lnTo>
                    <a:close/>
                    <a:moveTo>
                      <a:pt x="2253" y="595"/>
                    </a:moveTo>
                    <a:lnTo>
                      <a:pt x="2257" y="616"/>
                    </a:lnTo>
                    <a:lnTo>
                      <a:pt x="2255" y="637"/>
                    </a:lnTo>
                    <a:lnTo>
                      <a:pt x="2250" y="660"/>
                    </a:lnTo>
                    <a:lnTo>
                      <a:pt x="2236" y="667"/>
                    </a:lnTo>
                    <a:lnTo>
                      <a:pt x="2223" y="671"/>
                    </a:lnTo>
                    <a:lnTo>
                      <a:pt x="2204" y="672"/>
                    </a:lnTo>
                    <a:lnTo>
                      <a:pt x="2204" y="664"/>
                    </a:lnTo>
                    <a:lnTo>
                      <a:pt x="2209" y="651"/>
                    </a:lnTo>
                    <a:lnTo>
                      <a:pt x="2209" y="636"/>
                    </a:lnTo>
                    <a:lnTo>
                      <a:pt x="2208" y="618"/>
                    </a:lnTo>
                    <a:lnTo>
                      <a:pt x="2218" y="609"/>
                    </a:lnTo>
                    <a:lnTo>
                      <a:pt x="2227" y="602"/>
                    </a:lnTo>
                    <a:lnTo>
                      <a:pt x="2237" y="597"/>
                    </a:lnTo>
                    <a:lnTo>
                      <a:pt x="2253" y="595"/>
                    </a:lnTo>
                    <a:close/>
                    <a:moveTo>
                      <a:pt x="2503" y="568"/>
                    </a:moveTo>
                    <a:lnTo>
                      <a:pt x="2506" y="571"/>
                    </a:lnTo>
                    <a:lnTo>
                      <a:pt x="2508" y="573"/>
                    </a:lnTo>
                    <a:lnTo>
                      <a:pt x="2510" y="575"/>
                    </a:lnTo>
                    <a:lnTo>
                      <a:pt x="2510" y="578"/>
                    </a:lnTo>
                    <a:lnTo>
                      <a:pt x="2510" y="582"/>
                    </a:lnTo>
                    <a:lnTo>
                      <a:pt x="2511" y="587"/>
                    </a:lnTo>
                    <a:lnTo>
                      <a:pt x="2510" y="590"/>
                    </a:lnTo>
                    <a:lnTo>
                      <a:pt x="2508" y="592"/>
                    </a:lnTo>
                    <a:lnTo>
                      <a:pt x="2508" y="594"/>
                    </a:lnTo>
                    <a:lnTo>
                      <a:pt x="2508" y="595"/>
                    </a:lnTo>
                    <a:lnTo>
                      <a:pt x="2508" y="597"/>
                    </a:lnTo>
                    <a:lnTo>
                      <a:pt x="2506" y="599"/>
                    </a:lnTo>
                    <a:lnTo>
                      <a:pt x="2504" y="601"/>
                    </a:lnTo>
                    <a:lnTo>
                      <a:pt x="2503" y="601"/>
                    </a:lnTo>
                    <a:lnTo>
                      <a:pt x="2501" y="601"/>
                    </a:lnTo>
                    <a:lnTo>
                      <a:pt x="2499" y="602"/>
                    </a:lnTo>
                    <a:lnTo>
                      <a:pt x="2496" y="602"/>
                    </a:lnTo>
                    <a:lnTo>
                      <a:pt x="2490" y="590"/>
                    </a:lnTo>
                    <a:lnTo>
                      <a:pt x="2487" y="585"/>
                    </a:lnTo>
                    <a:lnTo>
                      <a:pt x="2487" y="583"/>
                    </a:lnTo>
                    <a:lnTo>
                      <a:pt x="2489" y="582"/>
                    </a:lnTo>
                    <a:lnTo>
                      <a:pt x="2496" y="578"/>
                    </a:lnTo>
                    <a:lnTo>
                      <a:pt x="2503" y="568"/>
                    </a:lnTo>
                    <a:close/>
                    <a:moveTo>
                      <a:pt x="2583" y="529"/>
                    </a:moveTo>
                    <a:lnTo>
                      <a:pt x="2588" y="531"/>
                    </a:lnTo>
                    <a:lnTo>
                      <a:pt x="2590" y="531"/>
                    </a:lnTo>
                    <a:lnTo>
                      <a:pt x="2592" y="531"/>
                    </a:lnTo>
                    <a:lnTo>
                      <a:pt x="2593" y="533"/>
                    </a:lnTo>
                    <a:lnTo>
                      <a:pt x="2595" y="533"/>
                    </a:lnTo>
                    <a:lnTo>
                      <a:pt x="2592" y="538"/>
                    </a:lnTo>
                    <a:lnTo>
                      <a:pt x="2590" y="543"/>
                    </a:lnTo>
                    <a:lnTo>
                      <a:pt x="2588" y="548"/>
                    </a:lnTo>
                    <a:lnTo>
                      <a:pt x="2585" y="554"/>
                    </a:lnTo>
                    <a:lnTo>
                      <a:pt x="2579" y="557"/>
                    </a:lnTo>
                    <a:lnTo>
                      <a:pt x="2579" y="552"/>
                    </a:lnTo>
                    <a:lnTo>
                      <a:pt x="2578" y="552"/>
                    </a:lnTo>
                    <a:lnTo>
                      <a:pt x="2578" y="550"/>
                    </a:lnTo>
                    <a:lnTo>
                      <a:pt x="2578" y="550"/>
                    </a:lnTo>
                    <a:lnTo>
                      <a:pt x="2578" y="548"/>
                    </a:lnTo>
                    <a:lnTo>
                      <a:pt x="2576" y="545"/>
                    </a:lnTo>
                    <a:lnTo>
                      <a:pt x="2579" y="541"/>
                    </a:lnTo>
                    <a:lnTo>
                      <a:pt x="2581" y="538"/>
                    </a:lnTo>
                    <a:lnTo>
                      <a:pt x="2583" y="534"/>
                    </a:lnTo>
                    <a:lnTo>
                      <a:pt x="2583" y="529"/>
                    </a:lnTo>
                    <a:close/>
                    <a:moveTo>
                      <a:pt x="246" y="526"/>
                    </a:moveTo>
                    <a:lnTo>
                      <a:pt x="251" y="534"/>
                    </a:lnTo>
                    <a:lnTo>
                      <a:pt x="251" y="541"/>
                    </a:lnTo>
                    <a:lnTo>
                      <a:pt x="246" y="550"/>
                    </a:lnTo>
                    <a:lnTo>
                      <a:pt x="239" y="555"/>
                    </a:lnTo>
                    <a:lnTo>
                      <a:pt x="232" y="559"/>
                    </a:lnTo>
                    <a:lnTo>
                      <a:pt x="230" y="561"/>
                    </a:lnTo>
                    <a:lnTo>
                      <a:pt x="227" y="557"/>
                    </a:lnTo>
                    <a:lnTo>
                      <a:pt x="225" y="554"/>
                    </a:lnTo>
                    <a:lnTo>
                      <a:pt x="223" y="548"/>
                    </a:lnTo>
                    <a:lnTo>
                      <a:pt x="223" y="543"/>
                    </a:lnTo>
                    <a:lnTo>
                      <a:pt x="221" y="538"/>
                    </a:lnTo>
                    <a:lnTo>
                      <a:pt x="234" y="533"/>
                    </a:lnTo>
                    <a:lnTo>
                      <a:pt x="237" y="531"/>
                    </a:lnTo>
                    <a:lnTo>
                      <a:pt x="242" y="529"/>
                    </a:lnTo>
                    <a:lnTo>
                      <a:pt x="246" y="526"/>
                    </a:lnTo>
                    <a:close/>
                    <a:moveTo>
                      <a:pt x="2646" y="503"/>
                    </a:moveTo>
                    <a:lnTo>
                      <a:pt x="2660" y="510"/>
                    </a:lnTo>
                    <a:lnTo>
                      <a:pt x="2660" y="515"/>
                    </a:lnTo>
                    <a:lnTo>
                      <a:pt x="2656" y="515"/>
                    </a:lnTo>
                    <a:lnTo>
                      <a:pt x="2655" y="517"/>
                    </a:lnTo>
                    <a:lnTo>
                      <a:pt x="2651" y="519"/>
                    </a:lnTo>
                    <a:lnTo>
                      <a:pt x="2649" y="522"/>
                    </a:lnTo>
                    <a:lnTo>
                      <a:pt x="2646" y="520"/>
                    </a:lnTo>
                    <a:lnTo>
                      <a:pt x="2644" y="520"/>
                    </a:lnTo>
                    <a:lnTo>
                      <a:pt x="2644" y="520"/>
                    </a:lnTo>
                    <a:lnTo>
                      <a:pt x="2642" y="519"/>
                    </a:lnTo>
                    <a:lnTo>
                      <a:pt x="2641" y="519"/>
                    </a:lnTo>
                    <a:lnTo>
                      <a:pt x="2641" y="515"/>
                    </a:lnTo>
                    <a:lnTo>
                      <a:pt x="2641" y="512"/>
                    </a:lnTo>
                    <a:lnTo>
                      <a:pt x="2641" y="510"/>
                    </a:lnTo>
                    <a:lnTo>
                      <a:pt x="2641" y="510"/>
                    </a:lnTo>
                    <a:lnTo>
                      <a:pt x="2642" y="506"/>
                    </a:lnTo>
                    <a:lnTo>
                      <a:pt x="2646" y="503"/>
                    </a:lnTo>
                    <a:close/>
                    <a:moveTo>
                      <a:pt x="2272" y="494"/>
                    </a:moveTo>
                    <a:lnTo>
                      <a:pt x="2290" y="496"/>
                    </a:lnTo>
                    <a:lnTo>
                      <a:pt x="2304" y="499"/>
                    </a:lnTo>
                    <a:lnTo>
                      <a:pt x="2300" y="506"/>
                    </a:lnTo>
                    <a:lnTo>
                      <a:pt x="2298" y="512"/>
                    </a:lnTo>
                    <a:lnTo>
                      <a:pt x="2295" y="517"/>
                    </a:lnTo>
                    <a:lnTo>
                      <a:pt x="2291" y="522"/>
                    </a:lnTo>
                    <a:lnTo>
                      <a:pt x="2300" y="522"/>
                    </a:lnTo>
                    <a:lnTo>
                      <a:pt x="2304" y="519"/>
                    </a:lnTo>
                    <a:lnTo>
                      <a:pt x="2305" y="517"/>
                    </a:lnTo>
                    <a:lnTo>
                      <a:pt x="2309" y="515"/>
                    </a:lnTo>
                    <a:lnTo>
                      <a:pt x="2314" y="515"/>
                    </a:lnTo>
                    <a:lnTo>
                      <a:pt x="2314" y="522"/>
                    </a:lnTo>
                    <a:lnTo>
                      <a:pt x="2319" y="534"/>
                    </a:lnTo>
                    <a:lnTo>
                      <a:pt x="2316" y="545"/>
                    </a:lnTo>
                    <a:lnTo>
                      <a:pt x="2311" y="554"/>
                    </a:lnTo>
                    <a:lnTo>
                      <a:pt x="2307" y="561"/>
                    </a:lnTo>
                    <a:lnTo>
                      <a:pt x="2316" y="569"/>
                    </a:lnTo>
                    <a:lnTo>
                      <a:pt x="2325" y="582"/>
                    </a:lnTo>
                    <a:lnTo>
                      <a:pt x="2337" y="595"/>
                    </a:lnTo>
                    <a:lnTo>
                      <a:pt x="2347" y="611"/>
                    </a:lnTo>
                    <a:lnTo>
                      <a:pt x="2356" y="629"/>
                    </a:lnTo>
                    <a:lnTo>
                      <a:pt x="2363" y="644"/>
                    </a:lnTo>
                    <a:lnTo>
                      <a:pt x="2365" y="657"/>
                    </a:lnTo>
                    <a:lnTo>
                      <a:pt x="2361" y="669"/>
                    </a:lnTo>
                    <a:lnTo>
                      <a:pt x="2353" y="676"/>
                    </a:lnTo>
                    <a:lnTo>
                      <a:pt x="2342" y="683"/>
                    </a:lnTo>
                    <a:lnTo>
                      <a:pt x="2325" y="690"/>
                    </a:lnTo>
                    <a:lnTo>
                      <a:pt x="2304" y="695"/>
                    </a:lnTo>
                    <a:lnTo>
                      <a:pt x="2285" y="700"/>
                    </a:lnTo>
                    <a:lnTo>
                      <a:pt x="2269" y="702"/>
                    </a:lnTo>
                    <a:lnTo>
                      <a:pt x="2269" y="698"/>
                    </a:lnTo>
                    <a:lnTo>
                      <a:pt x="2279" y="683"/>
                    </a:lnTo>
                    <a:lnTo>
                      <a:pt x="2288" y="667"/>
                    </a:lnTo>
                    <a:lnTo>
                      <a:pt x="2283" y="667"/>
                    </a:lnTo>
                    <a:lnTo>
                      <a:pt x="2279" y="667"/>
                    </a:lnTo>
                    <a:lnTo>
                      <a:pt x="2276" y="665"/>
                    </a:lnTo>
                    <a:lnTo>
                      <a:pt x="2276" y="664"/>
                    </a:lnTo>
                    <a:lnTo>
                      <a:pt x="2274" y="662"/>
                    </a:lnTo>
                    <a:lnTo>
                      <a:pt x="2274" y="658"/>
                    </a:lnTo>
                    <a:lnTo>
                      <a:pt x="2272" y="653"/>
                    </a:lnTo>
                    <a:lnTo>
                      <a:pt x="2285" y="650"/>
                    </a:lnTo>
                    <a:lnTo>
                      <a:pt x="2281" y="646"/>
                    </a:lnTo>
                    <a:lnTo>
                      <a:pt x="2281" y="644"/>
                    </a:lnTo>
                    <a:lnTo>
                      <a:pt x="2279" y="643"/>
                    </a:lnTo>
                    <a:lnTo>
                      <a:pt x="2279" y="643"/>
                    </a:lnTo>
                    <a:lnTo>
                      <a:pt x="2279" y="641"/>
                    </a:lnTo>
                    <a:lnTo>
                      <a:pt x="2281" y="637"/>
                    </a:lnTo>
                    <a:lnTo>
                      <a:pt x="2283" y="630"/>
                    </a:lnTo>
                    <a:lnTo>
                      <a:pt x="2288" y="625"/>
                    </a:lnTo>
                    <a:lnTo>
                      <a:pt x="2291" y="622"/>
                    </a:lnTo>
                    <a:lnTo>
                      <a:pt x="2298" y="618"/>
                    </a:lnTo>
                    <a:lnTo>
                      <a:pt x="2304" y="615"/>
                    </a:lnTo>
                    <a:lnTo>
                      <a:pt x="2302" y="611"/>
                    </a:lnTo>
                    <a:lnTo>
                      <a:pt x="2302" y="609"/>
                    </a:lnTo>
                    <a:lnTo>
                      <a:pt x="2302" y="609"/>
                    </a:lnTo>
                    <a:lnTo>
                      <a:pt x="2300" y="608"/>
                    </a:lnTo>
                    <a:lnTo>
                      <a:pt x="2300" y="606"/>
                    </a:lnTo>
                    <a:lnTo>
                      <a:pt x="2298" y="602"/>
                    </a:lnTo>
                    <a:lnTo>
                      <a:pt x="2297" y="602"/>
                    </a:lnTo>
                    <a:lnTo>
                      <a:pt x="2297" y="601"/>
                    </a:lnTo>
                    <a:lnTo>
                      <a:pt x="2297" y="601"/>
                    </a:lnTo>
                    <a:lnTo>
                      <a:pt x="2297" y="601"/>
                    </a:lnTo>
                    <a:lnTo>
                      <a:pt x="2295" y="601"/>
                    </a:lnTo>
                    <a:lnTo>
                      <a:pt x="2291" y="599"/>
                    </a:lnTo>
                    <a:lnTo>
                      <a:pt x="2288" y="597"/>
                    </a:lnTo>
                    <a:lnTo>
                      <a:pt x="2286" y="597"/>
                    </a:lnTo>
                    <a:lnTo>
                      <a:pt x="2283" y="597"/>
                    </a:lnTo>
                    <a:lnTo>
                      <a:pt x="2279" y="595"/>
                    </a:lnTo>
                    <a:lnTo>
                      <a:pt x="2276" y="595"/>
                    </a:lnTo>
                    <a:lnTo>
                      <a:pt x="2276" y="594"/>
                    </a:lnTo>
                    <a:lnTo>
                      <a:pt x="2274" y="592"/>
                    </a:lnTo>
                    <a:lnTo>
                      <a:pt x="2274" y="590"/>
                    </a:lnTo>
                    <a:lnTo>
                      <a:pt x="2274" y="587"/>
                    </a:lnTo>
                    <a:lnTo>
                      <a:pt x="2272" y="583"/>
                    </a:lnTo>
                    <a:lnTo>
                      <a:pt x="2274" y="582"/>
                    </a:lnTo>
                    <a:lnTo>
                      <a:pt x="2274" y="580"/>
                    </a:lnTo>
                    <a:lnTo>
                      <a:pt x="2276" y="578"/>
                    </a:lnTo>
                    <a:lnTo>
                      <a:pt x="2276" y="576"/>
                    </a:lnTo>
                    <a:lnTo>
                      <a:pt x="2276" y="573"/>
                    </a:lnTo>
                    <a:lnTo>
                      <a:pt x="2272" y="573"/>
                    </a:lnTo>
                    <a:lnTo>
                      <a:pt x="2271" y="576"/>
                    </a:lnTo>
                    <a:lnTo>
                      <a:pt x="2271" y="578"/>
                    </a:lnTo>
                    <a:lnTo>
                      <a:pt x="2271" y="580"/>
                    </a:lnTo>
                    <a:lnTo>
                      <a:pt x="2269" y="580"/>
                    </a:lnTo>
                    <a:lnTo>
                      <a:pt x="2267" y="582"/>
                    </a:lnTo>
                    <a:lnTo>
                      <a:pt x="2265" y="583"/>
                    </a:lnTo>
                    <a:lnTo>
                      <a:pt x="2262" y="566"/>
                    </a:lnTo>
                    <a:lnTo>
                      <a:pt x="2258" y="550"/>
                    </a:lnTo>
                    <a:lnTo>
                      <a:pt x="2257" y="538"/>
                    </a:lnTo>
                    <a:lnTo>
                      <a:pt x="2260" y="529"/>
                    </a:lnTo>
                    <a:lnTo>
                      <a:pt x="2265" y="520"/>
                    </a:lnTo>
                    <a:lnTo>
                      <a:pt x="2271" y="510"/>
                    </a:lnTo>
                    <a:lnTo>
                      <a:pt x="2272" y="494"/>
                    </a:lnTo>
                    <a:close/>
                    <a:moveTo>
                      <a:pt x="29" y="458"/>
                    </a:moveTo>
                    <a:lnTo>
                      <a:pt x="49" y="458"/>
                    </a:lnTo>
                    <a:lnTo>
                      <a:pt x="49" y="465"/>
                    </a:lnTo>
                    <a:lnTo>
                      <a:pt x="45" y="465"/>
                    </a:lnTo>
                    <a:lnTo>
                      <a:pt x="45" y="468"/>
                    </a:lnTo>
                    <a:lnTo>
                      <a:pt x="40" y="466"/>
                    </a:lnTo>
                    <a:lnTo>
                      <a:pt x="36" y="463"/>
                    </a:lnTo>
                    <a:lnTo>
                      <a:pt x="33" y="461"/>
                    </a:lnTo>
                    <a:lnTo>
                      <a:pt x="29" y="458"/>
                    </a:lnTo>
                    <a:close/>
                    <a:moveTo>
                      <a:pt x="1239" y="403"/>
                    </a:moveTo>
                    <a:lnTo>
                      <a:pt x="1244" y="407"/>
                    </a:lnTo>
                    <a:lnTo>
                      <a:pt x="1249" y="412"/>
                    </a:lnTo>
                    <a:lnTo>
                      <a:pt x="1253" y="419"/>
                    </a:lnTo>
                    <a:lnTo>
                      <a:pt x="1255" y="426"/>
                    </a:lnTo>
                    <a:lnTo>
                      <a:pt x="1251" y="426"/>
                    </a:lnTo>
                    <a:lnTo>
                      <a:pt x="1248" y="428"/>
                    </a:lnTo>
                    <a:lnTo>
                      <a:pt x="1246" y="428"/>
                    </a:lnTo>
                    <a:lnTo>
                      <a:pt x="1241" y="430"/>
                    </a:lnTo>
                    <a:lnTo>
                      <a:pt x="1235" y="430"/>
                    </a:lnTo>
                    <a:lnTo>
                      <a:pt x="1235" y="426"/>
                    </a:lnTo>
                    <a:lnTo>
                      <a:pt x="1234" y="426"/>
                    </a:lnTo>
                    <a:lnTo>
                      <a:pt x="1234" y="424"/>
                    </a:lnTo>
                    <a:lnTo>
                      <a:pt x="1234" y="424"/>
                    </a:lnTo>
                    <a:lnTo>
                      <a:pt x="1232" y="423"/>
                    </a:lnTo>
                    <a:lnTo>
                      <a:pt x="1234" y="419"/>
                    </a:lnTo>
                    <a:lnTo>
                      <a:pt x="1234" y="417"/>
                    </a:lnTo>
                    <a:lnTo>
                      <a:pt x="1234" y="417"/>
                    </a:lnTo>
                    <a:lnTo>
                      <a:pt x="1234" y="416"/>
                    </a:lnTo>
                    <a:lnTo>
                      <a:pt x="1235" y="414"/>
                    </a:lnTo>
                    <a:lnTo>
                      <a:pt x="1239" y="403"/>
                    </a:lnTo>
                    <a:close/>
                    <a:moveTo>
                      <a:pt x="1209" y="391"/>
                    </a:moveTo>
                    <a:lnTo>
                      <a:pt x="1213" y="395"/>
                    </a:lnTo>
                    <a:lnTo>
                      <a:pt x="1215" y="397"/>
                    </a:lnTo>
                    <a:lnTo>
                      <a:pt x="1215" y="398"/>
                    </a:lnTo>
                    <a:lnTo>
                      <a:pt x="1216" y="402"/>
                    </a:lnTo>
                    <a:lnTo>
                      <a:pt x="1216" y="405"/>
                    </a:lnTo>
                    <a:lnTo>
                      <a:pt x="1216" y="410"/>
                    </a:lnTo>
                    <a:lnTo>
                      <a:pt x="1213" y="410"/>
                    </a:lnTo>
                    <a:lnTo>
                      <a:pt x="1213" y="414"/>
                    </a:lnTo>
                    <a:lnTo>
                      <a:pt x="1206" y="412"/>
                    </a:lnTo>
                    <a:lnTo>
                      <a:pt x="1199" y="410"/>
                    </a:lnTo>
                    <a:lnTo>
                      <a:pt x="1194" y="407"/>
                    </a:lnTo>
                    <a:lnTo>
                      <a:pt x="1190" y="407"/>
                    </a:lnTo>
                    <a:lnTo>
                      <a:pt x="1190" y="403"/>
                    </a:lnTo>
                    <a:lnTo>
                      <a:pt x="1197" y="400"/>
                    </a:lnTo>
                    <a:lnTo>
                      <a:pt x="1204" y="397"/>
                    </a:lnTo>
                    <a:lnTo>
                      <a:pt x="1209" y="391"/>
                    </a:lnTo>
                    <a:close/>
                    <a:moveTo>
                      <a:pt x="1286" y="360"/>
                    </a:moveTo>
                    <a:lnTo>
                      <a:pt x="1290" y="362"/>
                    </a:lnTo>
                    <a:lnTo>
                      <a:pt x="1290" y="362"/>
                    </a:lnTo>
                    <a:lnTo>
                      <a:pt x="1291" y="363"/>
                    </a:lnTo>
                    <a:lnTo>
                      <a:pt x="1291" y="363"/>
                    </a:lnTo>
                    <a:lnTo>
                      <a:pt x="1293" y="365"/>
                    </a:lnTo>
                    <a:lnTo>
                      <a:pt x="1297" y="365"/>
                    </a:lnTo>
                    <a:lnTo>
                      <a:pt x="1297" y="367"/>
                    </a:lnTo>
                    <a:lnTo>
                      <a:pt x="1297" y="369"/>
                    </a:lnTo>
                    <a:lnTo>
                      <a:pt x="1295" y="370"/>
                    </a:lnTo>
                    <a:lnTo>
                      <a:pt x="1295" y="370"/>
                    </a:lnTo>
                    <a:lnTo>
                      <a:pt x="1293" y="372"/>
                    </a:lnTo>
                    <a:lnTo>
                      <a:pt x="1291" y="374"/>
                    </a:lnTo>
                    <a:lnTo>
                      <a:pt x="1290" y="374"/>
                    </a:lnTo>
                    <a:lnTo>
                      <a:pt x="1288" y="376"/>
                    </a:lnTo>
                    <a:lnTo>
                      <a:pt x="1286" y="376"/>
                    </a:lnTo>
                    <a:lnTo>
                      <a:pt x="1283" y="376"/>
                    </a:lnTo>
                    <a:lnTo>
                      <a:pt x="1283" y="370"/>
                    </a:lnTo>
                    <a:lnTo>
                      <a:pt x="1283" y="367"/>
                    </a:lnTo>
                    <a:lnTo>
                      <a:pt x="1284" y="365"/>
                    </a:lnTo>
                    <a:lnTo>
                      <a:pt x="1286" y="360"/>
                    </a:lnTo>
                    <a:close/>
                    <a:moveTo>
                      <a:pt x="0" y="341"/>
                    </a:moveTo>
                    <a:lnTo>
                      <a:pt x="17" y="344"/>
                    </a:lnTo>
                    <a:lnTo>
                      <a:pt x="29" y="349"/>
                    </a:lnTo>
                    <a:lnTo>
                      <a:pt x="38" y="360"/>
                    </a:lnTo>
                    <a:lnTo>
                      <a:pt x="35" y="363"/>
                    </a:lnTo>
                    <a:lnTo>
                      <a:pt x="31" y="363"/>
                    </a:lnTo>
                    <a:lnTo>
                      <a:pt x="29" y="365"/>
                    </a:lnTo>
                    <a:lnTo>
                      <a:pt x="28" y="367"/>
                    </a:lnTo>
                    <a:lnTo>
                      <a:pt x="22" y="369"/>
                    </a:lnTo>
                    <a:lnTo>
                      <a:pt x="19" y="365"/>
                    </a:lnTo>
                    <a:lnTo>
                      <a:pt x="14" y="362"/>
                    </a:lnTo>
                    <a:lnTo>
                      <a:pt x="10" y="358"/>
                    </a:lnTo>
                    <a:lnTo>
                      <a:pt x="5" y="356"/>
                    </a:lnTo>
                    <a:lnTo>
                      <a:pt x="3" y="355"/>
                    </a:lnTo>
                    <a:lnTo>
                      <a:pt x="0" y="351"/>
                    </a:lnTo>
                    <a:lnTo>
                      <a:pt x="0" y="348"/>
                    </a:lnTo>
                    <a:lnTo>
                      <a:pt x="0" y="341"/>
                    </a:lnTo>
                    <a:close/>
                    <a:moveTo>
                      <a:pt x="1178" y="299"/>
                    </a:moveTo>
                    <a:lnTo>
                      <a:pt x="1178" y="307"/>
                    </a:lnTo>
                    <a:lnTo>
                      <a:pt x="1180" y="311"/>
                    </a:lnTo>
                    <a:lnTo>
                      <a:pt x="1181" y="314"/>
                    </a:lnTo>
                    <a:lnTo>
                      <a:pt x="1181" y="320"/>
                    </a:lnTo>
                    <a:lnTo>
                      <a:pt x="1181" y="327"/>
                    </a:lnTo>
                    <a:lnTo>
                      <a:pt x="1201" y="327"/>
                    </a:lnTo>
                    <a:lnTo>
                      <a:pt x="1218" y="346"/>
                    </a:lnTo>
                    <a:lnTo>
                      <a:pt x="1235" y="365"/>
                    </a:lnTo>
                    <a:lnTo>
                      <a:pt x="1235" y="367"/>
                    </a:lnTo>
                    <a:lnTo>
                      <a:pt x="1234" y="369"/>
                    </a:lnTo>
                    <a:lnTo>
                      <a:pt x="1234" y="370"/>
                    </a:lnTo>
                    <a:lnTo>
                      <a:pt x="1234" y="370"/>
                    </a:lnTo>
                    <a:lnTo>
                      <a:pt x="1232" y="372"/>
                    </a:lnTo>
                    <a:lnTo>
                      <a:pt x="1229" y="376"/>
                    </a:lnTo>
                    <a:lnTo>
                      <a:pt x="1227" y="377"/>
                    </a:lnTo>
                    <a:lnTo>
                      <a:pt x="1225" y="379"/>
                    </a:lnTo>
                    <a:lnTo>
                      <a:pt x="1223" y="379"/>
                    </a:lnTo>
                    <a:lnTo>
                      <a:pt x="1218" y="379"/>
                    </a:lnTo>
                    <a:lnTo>
                      <a:pt x="1213" y="381"/>
                    </a:lnTo>
                    <a:lnTo>
                      <a:pt x="1213" y="376"/>
                    </a:lnTo>
                    <a:lnTo>
                      <a:pt x="1213" y="370"/>
                    </a:lnTo>
                    <a:lnTo>
                      <a:pt x="1213" y="367"/>
                    </a:lnTo>
                    <a:lnTo>
                      <a:pt x="1213" y="365"/>
                    </a:lnTo>
                    <a:lnTo>
                      <a:pt x="1209" y="362"/>
                    </a:lnTo>
                    <a:lnTo>
                      <a:pt x="1206" y="360"/>
                    </a:lnTo>
                    <a:lnTo>
                      <a:pt x="1201" y="356"/>
                    </a:lnTo>
                    <a:lnTo>
                      <a:pt x="1195" y="370"/>
                    </a:lnTo>
                    <a:lnTo>
                      <a:pt x="1185" y="379"/>
                    </a:lnTo>
                    <a:lnTo>
                      <a:pt x="1171" y="384"/>
                    </a:lnTo>
                    <a:lnTo>
                      <a:pt x="1171" y="379"/>
                    </a:lnTo>
                    <a:lnTo>
                      <a:pt x="1171" y="376"/>
                    </a:lnTo>
                    <a:lnTo>
                      <a:pt x="1173" y="372"/>
                    </a:lnTo>
                    <a:lnTo>
                      <a:pt x="1171" y="369"/>
                    </a:lnTo>
                    <a:lnTo>
                      <a:pt x="1169" y="365"/>
                    </a:lnTo>
                    <a:lnTo>
                      <a:pt x="1167" y="360"/>
                    </a:lnTo>
                    <a:lnTo>
                      <a:pt x="1162" y="358"/>
                    </a:lnTo>
                    <a:lnTo>
                      <a:pt x="1159" y="356"/>
                    </a:lnTo>
                    <a:lnTo>
                      <a:pt x="1155" y="356"/>
                    </a:lnTo>
                    <a:lnTo>
                      <a:pt x="1152" y="355"/>
                    </a:lnTo>
                    <a:lnTo>
                      <a:pt x="1150" y="355"/>
                    </a:lnTo>
                    <a:lnTo>
                      <a:pt x="1146" y="353"/>
                    </a:lnTo>
                    <a:lnTo>
                      <a:pt x="1143" y="349"/>
                    </a:lnTo>
                    <a:lnTo>
                      <a:pt x="1153" y="337"/>
                    </a:lnTo>
                    <a:lnTo>
                      <a:pt x="1160" y="323"/>
                    </a:lnTo>
                    <a:lnTo>
                      <a:pt x="1167" y="309"/>
                    </a:lnTo>
                    <a:lnTo>
                      <a:pt x="1178" y="299"/>
                    </a:lnTo>
                    <a:close/>
                    <a:moveTo>
                      <a:pt x="2150" y="269"/>
                    </a:moveTo>
                    <a:lnTo>
                      <a:pt x="2152" y="273"/>
                    </a:lnTo>
                    <a:lnTo>
                      <a:pt x="2154" y="276"/>
                    </a:lnTo>
                    <a:lnTo>
                      <a:pt x="2155" y="278"/>
                    </a:lnTo>
                    <a:lnTo>
                      <a:pt x="2155" y="281"/>
                    </a:lnTo>
                    <a:lnTo>
                      <a:pt x="2157" y="285"/>
                    </a:lnTo>
                    <a:lnTo>
                      <a:pt x="2157" y="292"/>
                    </a:lnTo>
                    <a:lnTo>
                      <a:pt x="2157" y="297"/>
                    </a:lnTo>
                    <a:lnTo>
                      <a:pt x="2159" y="311"/>
                    </a:lnTo>
                    <a:lnTo>
                      <a:pt x="2161" y="327"/>
                    </a:lnTo>
                    <a:lnTo>
                      <a:pt x="2161" y="341"/>
                    </a:lnTo>
                    <a:lnTo>
                      <a:pt x="2141" y="351"/>
                    </a:lnTo>
                    <a:lnTo>
                      <a:pt x="2119" y="360"/>
                    </a:lnTo>
                    <a:lnTo>
                      <a:pt x="2098" y="370"/>
                    </a:lnTo>
                    <a:lnTo>
                      <a:pt x="2080" y="384"/>
                    </a:lnTo>
                    <a:lnTo>
                      <a:pt x="2075" y="381"/>
                    </a:lnTo>
                    <a:lnTo>
                      <a:pt x="2066" y="377"/>
                    </a:lnTo>
                    <a:lnTo>
                      <a:pt x="2054" y="370"/>
                    </a:lnTo>
                    <a:lnTo>
                      <a:pt x="2044" y="365"/>
                    </a:lnTo>
                    <a:lnTo>
                      <a:pt x="2035" y="360"/>
                    </a:lnTo>
                    <a:lnTo>
                      <a:pt x="2031" y="356"/>
                    </a:lnTo>
                    <a:lnTo>
                      <a:pt x="2033" y="355"/>
                    </a:lnTo>
                    <a:lnTo>
                      <a:pt x="2035" y="353"/>
                    </a:lnTo>
                    <a:lnTo>
                      <a:pt x="2035" y="353"/>
                    </a:lnTo>
                    <a:lnTo>
                      <a:pt x="2037" y="351"/>
                    </a:lnTo>
                    <a:lnTo>
                      <a:pt x="2037" y="349"/>
                    </a:lnTo>
                    <a:lnTo>
                      <a:pt x="2038" y="346"/>
                    </a:lnTo>
                    <a:lnTo>
                      <a:pt x="2033" y="342"/>
                    </a:lnTo>
                    <a:lnTo>
                      <a:pt x="2026" y="341"/>
                    </a:lnTo>
                    <a:lnTo>
                      <a:pt x="2021" y="337"/>
                    </a:lnTo>
                    <a:lnTo>
                      <a:pt x="2016" y="334"/>
                    </a:lnTo>
                    <a:lnTo>
                      <a:pt x="2019" y="334"/>
                    </a:lnTo>
                    <a:lnTo>
                      <a:pt x="2023" y="330"/>
                    </a:lnTo>
                    <a:lnTo>
                      <a:pt x="2024" y="328"/>
                    </a:lnTo>
                    <a:lnTo>
                      <a:pt x="2026" y="328"/>
                    </a:lnTo>
                    <a:lnTo>
                      <a:pt x="2028" y="327"/>
                    </a:lnTo>
                    <a:lnTo>
                      <a:pt x="2033" y="327"/>
                    </a:lnTo>
                    <a:lnTo>
                      <a:pt x="2038" y="327"/>
                    </a:lnTo>
                    <a:lnTo>
                      <a:pt x="2038" y="314"/>
                    </a:lnTo>
                    <a:lnTo>
                      <a:pt x="2012" y="314"/>
                    </a:lnTo>
                    <a:lnTo>
                      <a:pt x="2007" y="304"/>
                    </a:lnTo>
                    <a:lnTo>
                      <a:pt x="2016" y="297"/>
                    </a:lnTo>
                    <a:lnTo>
                      <a:pt x="2023" y="290"/>
                    </a:lnTo>
                    <a:lnTo>
                      <a:pt x="2031" y="287"/>
                    </a:lnTo>
                    <a:lnTo>
                      <a:pt x="2045" y="283"/>
                    </a:lnTo>
                    <a:lnTo>
                      <a:pt x="2051" y="288"/>
                    </a:lnTo>
                    <a:lnTo>
                      <a:pt x="2054" y="294"/>
                    </a:lnTo>
                    <a:lnTo>
                      <a:pt x="2058" y="297"/>
                    </a:lnTo>
                    <a:lnTo>
                      <a:pt x="2061" y="304"/>
                    </a:lnTo>
                    <a:lnTo>
                      <a:pt x="2072" y="295"/>
                    </a:lnTo>
                    <a:lnTo>
                      <a:pt x="2082" y="288"/>
                    </a:lnTo>
                    <a:lnTo>
                      <a:pt x="2096" y="283"/>
                    </a:lnTo>
                    <a:lnTo>
                      <a:pt x="2098" y="288"/>
                    </a:lnTo>
                    <a:lnTo>
                      <a:pt x="2101" y="290"/>
                    </a:lnTo>
                    <a:lnTo>
                      <a:pt x="2101" y="292"/>
                    </a:lnTo>
                    <a:lnTo>
                      <a:pt x="2103" y="292"/>
                    </a:lnTo>
                    <a:lnTo>
                      <a:pt x="2105" y="292"/>
                    </a:lnTo>
                    <a:lnTo>
                      <a:pt x="2108" y="292"/>
                    </a:lnTo>
                    <a:lnTo>
                      <a:pt x="2117" y="287"/>
                    </a:lnTo>
                    <a:lnTo>
                      <a:pt x="2122" y="281"/>
                    </a:lnTo>
                    <a:lnTo>
                      <a:pt x="2129" y="276"/>
                    </a:lnTo>
                    <a:lnTo>
                      <a:pt x="2136" y="271"/>
                    </a:lnTo>
                    <a:lnTo>
                      <a:pt x="2150" y="269"/>
                    </a:lnTo>
                    <a:close/>
                    <a:moveTo>
                      <a:pt x="1302" y="206"/>
                    </a:moveTo>
                    <a:lnTo>
                      <a:pt x="1305" y="208"/>
                    </a:lnTo>
                    <a:lnTo>
                      <a:pt x="1307" y="210"/>
                    </a:lnTo>
                    <a:lnTo>
                      <a:pt x="1309" y="210"/>
                    </a:lnTo>
                    <a:lnTo>
                      <a:pt x="1311" y="211"/>
                    </a:lnTo>
                    <a:lnTo>
                      <a:pt x="1311" y="213"/>
                    </a:lnTo>
                    <a:lnTo>
                      <a:pt x="1311" y="215"/>
                    </a:lnTo>
                    <a:lnTo>
                      <a:pt x="1312" y="218"/>
                    </a:lnTo>
                    <a:lnTo>
                      <a:pt x="1316" y="224"/>
                    </a:lnTo>
                    <a:lnTo>
                      <a:pt x="1318" y="229"/>
                    </a:lnTo>
                    <a:lnTo>
                      <a:pt x="1319" y="234"/>
                    </a:lnTo>
                    <a:lnTo>
                      <a:pt x="1321" y="241"/>
                    </a:lnTo>
                    <a:lnTo>
                      <a:pt x="1316" y="243"/>
                    </a:lnTo>
                    <a:lnTo>
                      <a:pt x="1311" y="245"/>
                    </a:lnTo>
                    <a:lnTo>
                      <a:pt x="1305" y="245"/>
                    </a:lnTo>
                    <a:lnTo>
                      <a:pt x="1297" y="246"/>
                    </a:lnTo>
                    <a:lnTo>
                      <a:pt x="1295" y="238"/>
                    </a:lnTo>
                    <a:lnTo>
                      <a:pt x="1293" y="229"/>
                    </a:lnTo>
                    <a:lnTo>
                      <a:pt x="1293" y="218"/>
                    </a:lnTo>
                    <a:lnTo>
                      <a:pt x="1297" y="215"/>
                    </a:lnTo>
                    <a:lnTo>
                      <a:pt x="1298" y="211"/>
                    </a:lnTo>
                    <a:lnTo>
                      <a:pt x="1302" y="206"/>
                    </a:lnTo>
                    <a:close/>
                    <a:moveTo>
                      <a:pt x="1604" y="177"/>
                    </a:moveTo>
                    <a:lnTo>
                      <a:pt x="1611" y="180"/>
                    </a:lnTo>
                    <a:lnTo>
                      <a:pt x="1618" y="184"/>
                    </a:lnTo>
                    <a:lnTo>
                      <a:pt x="1621" y="187"/>
                    </a:lnTo>
                    <a:lnTo>
                      <a:pt x="1626" y="191"/>
                    </a:lnTo>
                    <a:lnTo>
                      <a:pt x="1632" y="196"/>
                    </a:lnTo>
                    <a:lnTo>
                      <a:pt x="1630" y="199"/>
                    </a:lnTo>
                    <a:lnTo>
                      <a:pt x="1630" y="199"/>
                    </a:lnTo>
                    <a:lnTo>
                      <a:pt x="1630" y="201"/>
                    </a:lnTo>
                    <a:lnTo>
                      <a:pt x="1628" y="201"/>
                    </a:lnTo>
                    <a:lnTo>
                      <a:pt x="1628" y="203"/>
                    </a:lnTo>
                    <a:lnTo>
                      <a:pt x="1625" y="206"/>
                    </a:lnTo>
                    <a:lnTo>
                      <a:pt x="1625" y="208"/>
                    </a:lnTo>
                    <a:lnTo>
                      <a:pt x="1623" y="208"/>
                    </a:lnTo>
                    <a:lnTo>
                      <a:pt x="1621" y="208"/>
                    </a:lnTo>
                    <a:lnTo>
                      <a:pt x="1619" y="210"/>
                    </a:lnTo>
                    <a:lnTo>
                      <a:pt x="1616" y="211"/>
                    </a:lnTo>
                    <a:lnTo>
                      <a:pt x="1611" y="206"/>
                    </a:lnTo>
                    <a:lnTo>
                      <a:pt x="1606" y="201"/>
                    </a:lnTo>
                    <a:lnTo>
                      <a:pt x="1599" y="196"/>
                    </a:lnTo>
                    <a:lnTo>
                      <a:pt x="1593" y="192"/>
                    </a:lnTo>
                    <a:lnTo>
                      <a:pt x="1597" y="180"/>
                    </a:lnTo>
                    <a:lnTo>
                      <a:pt x="1600" y="180"/>
                    </a:lnTo>
                    <a:lnTo>
                      <a:pt x="1602" y="178"/>
                    </a:lnTo>
                    <a:lnTo>
                      <a:pt x="1602" y="178"/>
                    </a:lnTo>
                    <a:lnTo>
                      <a:pt x="1602" y="178"/>
                    </a:lnTo>
                    <a:lnTo>
                      <a:pt x="1604" y="177"/>
                    </a:lnTo>
                    <a:close/>
                    <a:moveTo>
                      <a:pt x="2963" y="170"/>
                    </a:moveTo>
                    <a:lnTo>
                      <a:pt x="2979" y="170"/>
                    </a:lnTo>
                    <a:lnTo>
                      <a:pt x="2979" y="177"/>
                    </a:lnTo>
                    <a:lnTo>
                      <a:pt x="2976" y="177"/>
                    </a:lnTo>
                    <a:lnTo>
                      <a:pt x="2972" y="180"/>
                    </a:lnTo>
                    <a:lnTo>
                      <a:pt x="2970" y="180"/>
                    </a:lnTo>
                    <a:lnTo>
                      <a:pt x="2967" y="180"/>
                    </a:lnTo>
                    <a:lnTo>
                      <a:pt x="2967" y="178"/>
                    </a:lnTo>
                    <a:lnTo>
                      <a:pt x="2965" y="175"/>
                    </a:lnTo>
                    <a:lnTo>
                      <a:pt x="2965" y="173"/>
                    </a:lnTo>
                    <a:lnTo>
                      <a:pt x="2963" y="171"/>
                    </a:lnTo>
                    <a:lnTo>
                      <a:pt x="2963" y="170"/>
                    </a:lnTo>
                    <a:close/>
                    <a:moveTo>
                      <a:pt x="989" y="149"/>
                    </a:moveTo>
                    <a:lnTo>
                      <a:pt x="1005" y="159"/>
                    </a:lnTo>
                    <a:lnTo>
                      <a:pt x="1019" y="171"/>
                    </a:lnTo>
                    <a:lnTo>
                      <a:pt x="1033" y="184"/>
                    </a:lnTo>
                    <a:lnTo>
                      <a:pt x="1028" y="184"/>
                    </a:lnTo>
                    <a:lnTo>
                      <a:pt x="1024" y="189"/>
                    </a:lnTo>
                    <a:lnTo>
                      <a:pt x="1021" y="191"/>
                    </a:lnTo>
                    <a:lnTo>
                      <a:pt x="1016" y="191"/>
                    </a:lnTo>
                    <a:lnTo>
                      <a:pt x="1010" y="192"/>
                    </a:lnTo>
                    <a:lnTo>
                      <a:pt x="1002" y="192"/>
                    </a:lnTo>
                    <a:lnTo>
                      <a:pt x="995" y="185"/>
                    </a:lnTo>
                    <a:lnTo>
                      <a:pt x="988" y="180"/>
                    </a:lnTo>
                    <a:lnTo>
                      <a:pt x="979" y="177"/>
                    </a:lnTo>
                    <a:lnTo>
                      <a:pt x="979" y="173"/>
                    </a:lnTo>
                    <a:lnTo>
                      <a:pt x="995" y="164"/>
                    </a:lnTo>
                    <a:lnTo>
                      <a:pt x="993" y="161"/>
                    </a:lnTo>
                    <a:lnTo>
                      <a:pt x="991" y="159"/>
                    </a:lnTo>
                    <a:lnTo>
                      <a:pt x="991" y="156"/>
                    </a:lnTo>
                    <a:lnTo>
                      <a:pt x="989" y="149"/>
                    </a:lnTo>
                    <a:close/>
                    <a:moveTo>
                      <a:pt x="4822" y="100"/>
                    </a:moveTo>
                    <a:lnTo>
                      <a:pt x="4826" y="105"/>
                    </a:lnTo>
                    <a:lnTo>
                      <a:pt x="4829" y="109"/>
                    </a:lnTo>
                    <a:lnTo>
                      <a:pt x="4833" y="109"/>
                    </a:lnTo>
                    <a:lnTo>
                      <a:pt x="4835" y="110"/>
                    </a:lnTo>
                    <a:lnTo>
                      <a:pt x="4836" y="110"/>
                    </a:lnTo>
                    <a:lnTo>
                      <a:pt x="4840" y="110"/>
                    </a:lnTo>
                    <a:lnTo>
                      <a:pt x="4842" y="110"/>
                    </a:lnTo>
                    <a:lnTo>
                      <a:pt x="4843" y="110"/>
                    </a:lnTo>
                    <a:lnTo>
                      <a:pt x="4847" y="112"/>
                    </a:lnTo>
                    <a:lnTo>
                      <a:pt x="4849" y="115"/>
                    </a:lnTo>
                    <a:lnTo>
                      <a:pt x="4842" y="121"/>
                    </a:lnTo>
                    <a:lnTo>
                      <a:pt x="4835" y="126"/>
                    </a:lnTo>
                    <a:lnTo>
                      <a:pt x="4800" y="129"/>
                    </a:lnTo>
                    <a:lnTo>
                      <a:pt x="4800" y="115"/>
                    </a:lnTo>
                    <a:lnTo>
                      <a:pt x="4805" y="110"/>
                    </a:lnTo>
                    <a:lnTo>
                      <a:pt x="4810" y="107"/>
                    </a:lnTo>
                    <a:lnTo>
                      <a:pt x="4815" y="103"/>
                    </a:lnTo>
                    <a:lnTo>
                      <a:pt x="4822" y="100"/>
                    </a:lnTo>
                    <a:close/>
                    <a:moveTo>
                      <a:pt x="1063" y="72"/>
                    </a:moveTo>
                    <a:lnTo>
                      <a:pt x="1064" y="79"/>
                    </a:lnTo>
                    <a:lnTo>
                      <a:pt x="1064" y="84"/>
                    </a:lnTo>
                    <a:lnTo>
                      <a:pt x="1066" y="86"/>
                    </a:lnTo>
                    <a:lnTo>
                      <a:pt x="1068" y="88"/>
                    </a:lnTo>
                    <a:lnTo>
                      <a:pt x="1070" y="89"/>
                    </a:lnTo>
                    <a:lnTo>
                      <a:pt x="1073" y="93"/>
                    </a:lnTo>
                    <a:lnTo>
                      <a:pt x="1075" y="96"/>
                    </a:lnTo>
                    <a:lnTo>
                      <a:pt x="1073" y="100"/>
                    </a:lnTo>
                    <a:lnTo>
                      <a:pt x="1071" y="105"/>
                    </a:lnTo>
                    <a:lnTo>
                      <a:pt x="1070" y="109"/>
                    </a:lnTo>
                    <a:lnTo>
                      <a:pt x="1068" y="112"/>
                    </a:lnTo>
                    <a:lnTo>
                      <a:pt x="1066" y="119"/>
                    </a:lnTo>
                    <a:lnTo>
                      <a:pt x="1073" y="121"/>
                    </a:lnTo>
                    <a:lnTo>
                      <a:pt x="1077" y="124"/>
                    </a:lnTo>
                    <a:lnTo>
                      <a:pt x="1080" y="128"/>
                    </a:lnTo>
                    <a:lnTo>
                      <a:pt x="1082" y="131"/>
                    </a:lnTo>
                    <a:lnTo>
                      <a:pt x="1082" y="138"/>
                    </a:lnTo>
                    <a:lnTo>
                      <a:pt x="1082" y="145"/>
                    </a:lnTo>
                    <a:lnTo>
                      <a:pt x="1077" y="149"/>
                    </a:lnTo>
                    <a:lnTo>
                      <a:pt x="1073" y="152"/>
                    </a:lnTo>
                    <a:lnTo>
                      <a:pt x="1071" y="157"/>
                    </a:lnTo>
                    <a:lnTo>
                      <a:pt x="1070" y="163"/>
                    </a:lnTo>
                    <a:lnTo>
                      <a:pt x="1066" y="170"/>
                    </a:lnTo>
                    <a:lnTo>
                      <a:pt x="1091" y="170"/>
                    </a:lnTo>
                    <a:lnTo>
                      <a:pt x="1091" y="185"/>
                    </a:lnTo>
                    <a:lnTo>
                      <a:pt x="1094" y="199"/>
                    </a:lnTo>
                    <a:lnTo>
                      <a:pt x="1105" y="199"/>
                    </a:lnTo>
                    <a:lnTo>
                      <a:pt x="1110" y="194"/>
                    </a:lnTo>
                    <a:lnTo>
                      <a:pt x="1115" y="189"/>
                    </a:lnTo>
                    <a:lnTo>
                      <a:pt x="1120" y="184"/>
                    </a:lnTo>
                    <a:lnTo>
                      <a:pt x="1129" y="180"/>
                    </a:lnTo>
                    <a:lnTo>
                      <a:pt x="1129" y="191"/>
                    </a:lnTo>
                    <a:lnTo>
                      <a:pt x="1127" y="205"/>
                    </a:lnTo>
                    <a:lnTo>
                      <a:pt x="1126" y="217"/>
                    </a:lnTo>
                    <a:lnTo>
                      <a:pt x="1126" y="225"/>
                    </a:lnTo>
                    <a:lnTo>
                      <a:pt x="1124" y="231"/>
                    </a:lnTo>
                    <a:lnTo>
                      <a:pt x="1127" y="234"/>
                    </a:lnTo>
                    <a:lnTo>
                      <a:pt x="1129" y="236"/>
                    </a:lnTo>
                    <a:lnTo>
                      <a:pt x="1131" y="238"/>
                    </a:lnTo>
                    <a:lnTo>
                      <a:pt x="1134" y="239"/>
                    </a:lnTo>
                    <a:lnTo>
                      <a:pt x="1139" y="241"/>
                    </a:lnTo>
                    <a:lnTo>
                      <a:pt x="1148" y="227"/>
                    </a:lnTo>
                    <a:lnTo>
                      <a:pt x="1155" y="211"/>
                    </a:lnTo>
                    <a:lnTo>
                      <a:pt x="1155" y="199"/>
                    </a:lnTo>
                    <a:lnTo>
                      <a:pt x="1153" y="187"/>
                    </a:lnTo>
                    <a:lnTo>
                      <a:pt x="1153" y="175"/>
                    </a:lnTo>
                    <a:lnTo>
                      <a:pt x="1157" y="163"/>
                    </a:lnTo>
                    <a:lnTo>
                      <a:pt x="1167" y="154"/>
                    </a:lnTo>
                    <a:lnTo>
                      <a:pt x="1171" y="150"/>
                    </a:lnTo>
                    <a:lnTo>
                      <a:pt x="1174" y="150"/>
                    </a:lnTo>
                    <a:lnTo>
                      <a:pt x="1178" y="152"/>
                    </a:lnTo>
                    <a:lnTo>
                      <a:pt x="1181" y="154"/>
                    </a:lnTo>
                    <a:lnTo>
                      <a:pt x="1183" y="157"/>
                    </a:lnTo>
                    <a:lnTo>
                      <a:pt x="1187" y="161"/>
                    </a:lnTo>
                    <a:lnTo>
                      <a:pt x="1188" y="164"/>
                    </a:lnTo>
                    <a:lnTo>
                      <a:pt x="1192" y="166"/>
                    </a:lnTo>
                    <a:lnTo>
                      <a:pt x="1194" y="170"/>
                    </a:lnTo>
                    <a:lnTo>
                      <a:pt x="1201" y="170"/>
                    </a:lnTo>
                    <a:lnTo>
                      <a:pt x="1209" y="166"/>
                    </a:lnTo>
                    <a:lnTo>
                      <a:pt x="1218" y="164"/>
                    </a:lnTo>
                    <a:lnTo>
                      <a:pt x="1225" y="170"/>
                    </a:lnTo>
                    <a:lnTo>
                      <a:pt x="1225" y="184"/>
                    </a:lnTo>
                    <a:lnTo>
                      <a:pt x="1225" y="191"/>
                    </a:lnTo>
                    <a:lnTo>
                      <a:pt x="1223" y="203"/>
                    </a:lnTo>
                    <a:lnTo>
                      <a:pt x="1222" y="218"/>
                    </a:lnTo>
                    <a:lnTo>
                      <a:pt x="1218" y="236"/>
                    </a:lnTo>
                    <a:lnTo>
                      <a:pt x="1215" y="250"/>
                    </a:lnTo>
                    <a:lnTo>
                      <a:pt x="1213" y="260"/>
                    </a:lnTo>
                    <a:lnTo>
                      <a:pt x="1206" y="260"/>
                    </a:lnTo>
                    <a:lnTo>
                      <a:pt x="1202" y="259"/>
                    </a:lnTo>
                    <a:lnTo>
                      <a:pt x="1199" y="257"/>
                    </a:lnTo>
                    <a:lnTo>
                      <a:pt x="1195" y="255"/>
                    </a:lnTo>
                    <a:lnTo>
                      <a:pt x="1190" y="253"/>
                    </a:lnTo>
                    <a:lnTo>
                      <a:pt x="1190" y="257"/>
                    </a:lnTo>
                    <a:lnTo>
                      <a:pt x="1192" y="259"/>
                    </a:lnTo>
                    <a:lnTo>
                      <a:pt x="1194" y="260"/>
                    </a:lnTo>
                    <a:lnTo>
                      <a:pt x="1195" y="262"/>
                    </a:lnTo>
                    <a:lnTo>
                      <a:pt x="1195" y="264"/>
                    </a:lnTo>
                    <a:lnTo>
                      <a:pt x="1197" y="267"/>
                    </a:lnTo>
                    <a:lnTo>
                      <a:pt x="1197" y="273"/>
                    </a:lnTo>
                    <a:lnTo>
                      <a:pt x="1148" y="276"/>
                    </a:lnTo>
                    <a:lnTo>
                      <a:pt x="1148" y="280"/>
                    </a:lnTo>
                    <a:lnTo>
                      <a:pt x="1152" y="290"/>
                    </a:lnTo>
                    <a:lnTo>
                      <a:pt x="1150" y="301"/>
                    </a:lnTo>
                    <a:lnTo>
                      <a:pt x="1148" y="318"/>
                    </a:lnTo>
                    <a:lnTo>
                      <a:pt x="1139" y="318"/>
                    </a:lnTo>
                    <a:lnTo>
                      <a:pt x="1127" y="311"/>
                    </a:lnTo>
                    <a:lnTo>
                      <a:pt x="1110" y="307"/>
                    </a:lnTo>
                    <a:lnTo>
                      <a:pt x="1110" y="311"/>
                    </a:lnTo>
                    <a:lnTo>
                      <a:pt x="1113" y="311"/>
                    </a:lnTo>
                    <a:lnTo>
                      <a:pt x="1117" y="314"/>
                    </a:lnTo>
                    <a:lnTo>
                      <a:pt x="1119" y="316"/>
                    </a:lnTo>
                    <a:lnTo>
                      <a:pt x="1120" y="318"/>
                    </a:lnTo>
                    <a:lnTo>
                      <a:pt x="1122" y="320"/>
                    </a:lnTo>
                    <a:lnTo>
                      <a:pt x="1124" y="325"/>
                    </a:lnTo>
                    <a:lnTo>
                      <a:pt x="1124" y="330"/>
                    </a:lnTo>
                    <a:lnTo>
                      <a:pt x="1122" y="334"/>
                    </a:lnTo>
                    <a:lnTo>
                      <a:pt x="1119" y="337"/>
                    </a:lnTo>
                    <a:lnTo>
                      <a:pt x="1117" y="341"/>
                    </a:lnTo>
                    <a:lnTo>
                      <a:pt x="1108" y="348"/>
                    </a:lnTo>
                    <a:lnTo>
                      <a:pt x="1101" y="355"/>
                    </a:lnTo>
                    <a:lnTo>
                      <a:pt x="1098" y="363"/>
                    </a:lnTo>
                    <a:lnTo>
                      <a:pt x="1094" y="376"/>
                    </a:lnTo>
                    <a:lnTo>
                      <a:pt x="1087" y="376"/>
                    </a:lnTo>
                    <a:lnTo>
                      <a:pt x="1082" y="374"/>
                    </a:lnTo>
                    <a:lnTo>
                      <a:pt x="1077" y="372"/>
                    </a:lnTo>
                    <a:lnTo>
                      <a:pt x="1073" y="370"/>
                    </a:lnTo>
                    <a:lnTo>
                      <a:pt x="1066" y="369"/>
                    </a:lnTo>
                    <a:lnTo>
                      <a:pt x="1066" y="372"/>
                    </a:lnTo>
                    <a:lnTo>
                      <a:pt x="1075" y="372"/>
                    </a:lnTo>
                    <a:lnTo>
                      <a:pt x="1077" y="376"/>
                    </a:lnTo>
                    <a:lnTo>
                      <a:pt x="1078" y="379"/>
                    </a:lnTo>
                    <a:lnTo>
                      <a:pt x="1080" y="381"/>
                    </a:lnTo>
                    <a:lnTo>
                      <a:pt x="1080" y="384"/>
                    </a:lnTo>
                    <a:lnTo>
                      <a:pt x="1082" y="390"/>
                    </a:lnTo>
                    <a:lnTo>
                      <a:pt x="1082" y="395"/>
                    </a:lnTo>
                    <a:lnTo>
                      <a:pt x="1066" y="400"/>
                    </a:lnTo>
                    <a:lnTo>
                      <a:pt x="1052" y="409"/>
                    </a:lnTo>
                    <a:lnTo>
                      <a:pt x="1043" y="419"/>
                    </a:lnTo>
                    <a:lnTo>
                      <a:pt x="1037" y="435"/>
                    </a:lnTo>
                    <a:lnTo>
                      <a:pt x="1037" y="458"/>
                    </a:lnTo>
                    <a:lnTo>
                      <a:pt x="1043" y="472"/>
                    </a:lnTo>
                    <a:lnTo>
                      <a:pt x="1047" y="491"/>
                    </a:lnTo>
                    <a:lnTo>
                      <a:pt x="1047" y="510"/>
                    </a:lnTo>
                    <a:lnTo>
                      <a:pt x="1066" y="510"/>
                    </a:lnTo>
                    <a:lnTo>
                      <a:pt x="1066" y="519"/>
                    </a:lnTo>
                    <a:lnTo>
                      <a:pt x="1070" y="522"/>
                    </a:lnTo>
                    <a:lnTo>
                      <a:pt x="1070" y="526"/>
                    </a:lnTo>
                    <a:lnTo>
                      <a:pt x="1070" y="529"/>
                    </a:lnTo>
                    <a:lnTo>
                      <a:pt x="1070" y="531"/>
                    </a:lnTo>
                    <a:lnTo>
                      <a:pt x="1070" y="533"/>
                    </a:lnTo>
                    <a:lnTo>
                      <a:pt x="1070" y="534"/>
                    </a:lnTo>
                    <a:lnTo>
                      <a:pt x="1071" y="536"/>
                    </a:lnTo>
                    <a:lnTo>
                      <a:pt x="1077" y="536"/>
                    </a:lnTo>
                    <a:lnTo>
                      <a:pt x="1082" y="538"/>
                    </a:lnTo>
                    <a:lnTo>
                      <a:pt x="1094" y="536"/>
                    </a:lnTo>
                    <a:lnTo>
                      <a:pt x="1106" y="541"/>
                    </a:lnTo>
                    <a:lnTo>
                      <a:pt x="1119" y="550"/>
                    </a:lnTo>
                    <a:lnTo>
                      <a:pt x="1131" y="562"/>
                    </a:lnTo>
                    <a:lnTo>
                      <a:pt x="1141" y="573"/>
                    </a:lnTo>
                    <a:lnTo>
                      <a:pt x="1152" y="580"/>
                    </a:lnTo>
                    <a:lnTo>
                      <a:pt x="1157" y="582"/>
                    </a:lnTo>
                    <a:lnTo>
                      <a:pt x="1160" y="583"/>
                    </a:lnTo>
                    <a:lnTo>
                      <a:pt x="1164" y="582"/>
                    </a:lnTo>
                    <a:lnTo>
                      <a:pt x="1167" y="582"/>
                    </a:lnTo>
                    <a:lnTo>
                      <a:pt x="1169" y="580"/>
                    </a:lnTo>
                    <a:lnTo>
                      <a:pt x="1173" y="578"/>
                    </a:lnTo>
                    <a:lnTo>
                      <a:pt x="1174" y="576"/>
                    </a:lnTo>
                    <a:lnTo>
                      <a:pt x="1178" y="576"/>
                    </a:lnTo>
                    <a:lnTo>
                      <a:pt x="1206" y="583"/>
                    </a:lnTo>
                    <a:lnTo>
                      <a:pt x="1209" y="602"/>
                    </a:lnTo>
                    <a:lnTo>
                      <a:pt x="1213" y="616"/>
                    </a:lnTo>
                    <a:lnTo>
                      <a:pt x="1215" y="627"/>
                    </a:lnTo>
                    <a:lnTo>
                      <a:pt x="1216" y="637"/>
                    </a:lnTo>
                    <a:lnTo>
                      <a:pt x="1220" y="648"/>
                    </a:lnTo>
                    <a:lnTo>
                      <a:pt x="1229" y="660"/>
                    </a:lnTo>
                    <a:lnTo>
                      <a:pt x="1239" y="676"/>
                    </a:lnTo>
                    <a:lnTo>
                      <a:pt x="1242" y="674"/>
                    </a:lnTo>
                    <a:lnTo>
                      <a:pt x="1244" y="674"/>
                    </a:lnTo>
                    <a:lnTo>
                      <a:pt x="1244" y="674"/>
                    </a:lnTo>
                    <a:lnTo>
                      <a:pt x="1246" y="672"/>
                    </a:lnTo>
                    <a:lnTo>
                      <a:pt x="1248" y="672"/>
                    </a:lnTo>
                    <a:lnTo>
                      <a:pt x="1251" y="671"/>
                    </a:lnTo>
                    <a:lnTo>
                      <a:pt x="1253" y="671"/>
                    </a:lnTo>
                    <a:lnTo>
                      <a:pt x="1253" y="669"/>
                    </a:lnTo>
                    <a:lnTo>
                      <a:pt x="1253" y="669"/>
                    </a:lnTo>
                    <a:lnTo>
                      <a:pt x="1253" y="669"/>
                    </a:lnTo>
                    <a:lnTo>
                      <a:pt x="1253" y="667"/>
                    </a:lnTo>
                    <a:lnTo>
                      <a:pt x="1255" y="664"/>
                    </a:lnTo>
                    <a:lnTo>
                      <a:pt x="1255" y="653"/>
                    </a:lnTo>
                    <a:lnTo>
                      <a:pt x="1253" y="639"/>
                    </a:lnTo>
                    <a:lnTo>
                      <a:pt x="1249" y="622"/>
                    </a:lnTo>
                    <a:lnTo>
                      <a:pt x="1244" y="606"/>
                    </a:lnTo>
                    <a:lnTo>
                      <a:pt x="1258" y="599"/>
                    </a:lnTo>
                    <a:lnTo>
                      <a:pt x="1272" y="589"/>
                    </a:lnTo>
                    <a:lnTo>
                      <a:pt x="1281" y="575"/>
                    </a:lnTo>
                    <a:lnTo>
                      <a:pt x="1286" y="557"/>
                    </a:lnTo>
                    <a:lnTo>
                      <a:pt x="1288" y="547"/>
                    </a:lnTo>
                    <a:lnTo>
                      <a:pt x="1286" y="531"/>
                    </a:lnTo>
                    <a:lnTo>
                      <a:pt x="1286" y="515"/>
                    </a:lnTo>
                    <a:lnTo>
                      <a:pt x="1279" y="512"/>
                    </a:lnTo>
                    <a:lnTo>
                      <a:pt x="1276" y="510"/>
                    </a:lnTo>
                    <a:lnTo>
                      <a:pt x="1272" y="508"/>
                    </a:lnTo>
                    <a:lnTo>
                      <a:pt x="1269" y="505"/>
                    </a:lnTo>
                    <a:lnTo>
                      <a:pt x="1267" y="499"/>
                    </a:lnTo>
                    <a:lnTo>
                      <a:pt x="1274" y="487"/>
                    </a:lnTo>
                    <a:lnTo>
                      <a:pt x="1277" y="473"/>
                    </a:lnTo>
                    <a:lnTo>
                      <a:pt x="1274" y="458"/>
                    </a:lnTo>
                    <a:lnTo>
                      <a:pt x="1270" y="442"/>
                    </a:lnTo>
                    <a:lnTo>
                      <a:pt x="1265" y="424"/>
                    </a:lnTo>
                    <a:lnTo>
                      <a:pt x="1263" y="407"/>
                    </a:lnTo>
                    <a:lnTo>
                      <a:pt x="1267" y="407"/>
                    </a:lnTo>
                    <a:lnTo>
                      <a:pt x="1267" y="403"/>
                    </a:lnTo>
                    <a:lnTo>
                      <a:pt x="1291" y="407"/>
                    </a:lnTo>
                    <a:lnTo>
                      <a:pt x="1312" y="407"/>
                    </a:lnTo>
                    <a:lnTo>
                      <a:pt x="1335" y="403"/>
                    </a:lnTo>
                    <a:lnTo>
                      <a:pt x="1340" y="412"/>
                    </a:lnTo>
                    <a:lnTo>
                      <a:pt x="1345" y="424"/>
                    </a:lnTo>
                    <a:lnTo>
                      <a:pt x="1351" y="433"/>
                    </a:lnTo>
                    <a:lnTo>
                      <a:pt x="1356" y="437"/>
                    </a:lnTo>
                    <a:lnTo>
                      <a:pt x="1359" y="438"/>
                    </a:lnTo>
                    <a:lnTo>
                      <a:pt x="1365" y="438"/>
                    </a:lnTo>
                    <a:lnTo>
                      <a:pt x="1370" y="440"/>
                    </a:lnTo>
                    <a:lnTo>
                      <a:pt x="1375" y="442"/>
                    </a:lnTo>
                    <a:lnTo>
                      <a:pt x="1379" y="445"/>
                    </a:lnTo>
                    <a:lnTo>
                      <a:pt x="1380" y="454"/>
                    </a:lnTo>
                    <a:lnTo>
                      <a:pt x="1384" y="470"/>
                    </a:lnTo>
                    <a:lnTo>
                      <a:pt x="1386" y="484"/>
                    </a:lnTo>
                    <a:lnTo>
                      <a:pt x="1389" y="494"/>
                    </a:lnTo>
                    <a:lnTo>
                      <a:pt x="1391" y="496"/>
                    </a:lnTo>
                    <a:lnTo>
                      <a:pt x="1394" y="499"/>
                    </a:lnTo>
                    <a:lnTo>
                      <a:pt x="1398" y="501"/>
                    </a:lnTo>
                    <a:lnTo>
                      <a:pt x="1401" y="505"/>
                    </a:lnTo>
                    <a:lnTo>
                      <a:pt x="1407" y="506"/>
                    </a:lnTo>
                    <a:lnTo>
                      <a:pt x="1408" y="510"/>
                    </a:lnTo>
                    <a:lnTo>
                      <a:pt x="1422" y="499"/>
                    </a:lnTo>
                    <a:lnTo>
                      <a:pt x="1433" y="486"/>
                    </a:lnTo>
                    <a:lnTo>
                      <a:pt x="1441" y="472"/>
                    </a:lnTo>
                    <a:lnTo>
                      <a:pt x="1455" y="461"/>
                    </a:lnTo>
                    <a:lnTo>
                      <a:pt x="1457" y="473"/>
                    </a:lnTo>
                    <a:lnTo>
                      <a:pt x="1462" y="480"/>
                    </a:lnTo>
                    <a:lnTo>
                      <a:pt x="1469" y="487"/>
                    </a:lnTo>
                    <a:lnTo>
                      <a:pt x="1476" y="494"/>
                    </a:lnTo>
                    <a:lnTo>
                      <a:pt x="1482" y="503"/>
                    </a:lnTo>
                    <a:lnTo>
                      <a:pt x="1482" y="506"/>
                    </a:lnTo>
                    <a:lnTo>
                      <a:pt x="1482" y="510"/>
                    </a:lnTo>
                    <a:lnTo>
                      <a:pt x="1480" y="512"/>
                    </a:lnTo>
                    <a:lnTo>
                      <a:pt x="1480" y="515"/>
                    </a:lnTo>
                    <a:lnTo>
                      <a:pt x="1478" y="519"/>
                    </a:lnTo>
                    <a:lnTo>
                      <a:pt x="1480" y="522"/>
                    </a:lnTo>
                    <a:lnTo>
                      <a:pt x="1482" y="526"/>
                    </a:lnTo>
                    <a:lnTo>
                      <a:pt x="1483" y="527"/>
                    </a:lnTo>
                    <a:lnTo>
                      <a:pt x="1487" y="527"/>
                    </a:lnTo>
                    <a:lnTo>
                      <a:pt x="1490" y="527"/>
                    </a:lnTo>
                    <a:lnTo>
                      <a:pt x="1492" y="527"/>
                    </a:lnTo>
                    <a:lnTo>
                      <a:pt x="1496" y="527"/>
                    </a:lnTo>
                    <a:lnTo>
                      <a:pt x="1497" y="529"/>
                    </a:lnTo>
                    <a:lnTo>
                      <a:pt x="1503" y="543"/>
                    </a:lnTo>
                    <a:lnTo>
                      <a:pt x="1503" y="554"/>
                    </a:lnTo>
                    <a:lnTo>
                      <a:pt x="1501" y="564"/>
                    </a:lnTo>
                    <a:lnTo>
                      <a:pt x="1504" y="573"/>
                    </a:lnTo>
                    <a:lnTo>
                      <a:pt x="1517" y="583"/>
                    </a:lnTo>
                    <a:lnTo>
                      <a:pt x="1506" y="604"/>
                    </a:lnTo>
                    <a:lnTo>
                      <a:pt x="1494" y="622"/>
                    </a:lnTo>
                    <a:lnTo>
                      <a:pt x="1497" y="622"/>
                    </a:lnTo>
                    <a:lnTo>
                      <a:pt x="1508" y="611"/>
                    </a:lnTo>
                    <a:lnTo>
                      <a:pt x="1518" y="602"/>
                    </a:lnTo>
                    <a:lnTo>
                      <a:pt x="1527" y="592"/>
                    </a:lnTo>
                    <a:lnTo>
                      <a:pt x="1539" y="595"/>
                    </a:lnTo>
                    <a:lnTo>
                      <a:pt x="1546" y="602"/>
                    </a:lnTo>
                    <a:lnTo>
                      <a:pt x="1553" y="611"/>
                    </a:lnTo>
                    <a:lnTo>
                      <a:pt x="1555" y="625"/>
                    </a:lnTo>
                    <a:lnTo>
                      <a:pt x="1571" y="625"/>
                    </a:lnTo>
                    <a:lnTo>
                      <a:pt x="1571" y="630"/>
                    </a:lnTo>
                    <a:lnTo>
                      <a:pt x="1572" y="634"/>
                    </a:lnTo>
                    <a:lnTo>
                      <a:pt x="1572" y="639"/>
                    </a:lnTo>
                    <a:lnTo>
                      <a:pt x="1574" y="644"/>
                    </a:lnTo>
                    <a:lnTo>
                      <a:pt x="1572" y="650"/>
                    </a:lnTo>
                    <a:lnTo>
                      <a:pt x="1572" y="653"/>
                    </a:lnTo>
                    <a:lnTo>
                      <a:pt x="1572" y="657"/>
                    </a:lnTo>
                    <a:lnTo>
                      <a:pt x="1574" y="658"/>
                    </a:lnTo>
                    <a:lnTo>
                      <a:pt x="1574" y="662"/>
                    </a:lnTo>
                    <a:lnTo>
                      <a:pt x="1574" y="664"/>
                    </a:lnTo>
                    <a:lnTo>
                      <a:pt x="1574" y="667"/>
                    </a:lnTo>
                    <a:lnTo>
                      <a:pt x="1555" y="681"/>
                    </a:lnTo>
                    <a:lnTo>
                      <a:pt x="1534" y="690"/>
                    </a:lnTo>
                    <a:lnTo>
                      <a:pt x="1510" y="695"/>
                    </a:lnTo>
                    <a:lnTo>
                      <a:pt x="1485" y="698"/>
                    </a:lnTo>
                    <a:lnTo>
                      <a:pt x="1461" y="702"/>
                    </a:lnTo>
                    <a:lnTo>
                      <a:pt x="1436" y="705"/>
                    </a:lnTo>
                    <a:lnTo>
                      <a:pt x="1415" y="712"/>
                    </a:lnTo>
                    <a:lnTo>
                      <a:pt x="1396" y="721"/>
                    </a:lnTo>
                    <a:lnTo>
                      <a:pt x="1382" y="737"/>
                    </a:lnTo>
                    <a:lnTo>
                      <a:pt x="1386" y="737"/>
                    </a:lnTo>
                    <a:lnTo>
                      <a:pt x="1403" y="725"/>
                    </a:lnTo>
                    <a:lnTo>
                      <a:pt x="1424" y="716"/>
                    </a:lnTo>
                    <a:lnTo>
                      <a:pt x="1447" y="711"/>
                    </a:lnTo>
                    <a:lnTo>
                      <a:pt x="1448" y="714"/>
                    </a:lnTo>
                    <a:lnTo>
                      <a:pt x="1450" y="718"/>
                    </a:lnTo>
                    <a:lnTo>
                      <a:pt x="1452" y="719"/>
                    </a:lnTo>
                    <a:lnTo>
                      <a:pt x="1455" y="721"/>
                    </a:lnTo>
                    <a:lnTo>
                      <a:pt x="1459" y="723"/>
                    </a:lnTo>
                    <a:lnTo>
                      <a:pt x="1462" y="726"/>
                    </a:lnTo>
                    <a:lnTo>
                      <a:pt x="1457" y="735"/>
                    </a:lnTo>
                    <a:lnTo>
                      <a:pt x="1454" y="742"/>
                    </a:lnTo>
                    <a:lnTo>
                      <a:pt x="1452" y="749"/>
                    </a:lnTo>
                    <a:lnTo>
                      <a:pt x="1450" y="760"/>
                    </a:lnTo>
                    <a:lnTo>
                      <a:pt x="1464" y="767"/>
                    </a:lnTo>
                    <a:lnTo>
                      <a:pt x="1473" y="777"/>
                    </a:lnTo>
                    <a:lnTo>
                      <a:pt x="1480" y="787"/>
                    </a:lnTo>
                    <a:lnTo>
                      <a:pt x="1489" y="798"/>
                    </a:lnTo>
                    <a:lnTo>
                      <a:pt x="1489" y="801"/>
                    </a:lnTo>
                    <a:lnTo>
                      <a:pt x="1489" y="803"/>
                    </a:lnTo>
                    <a:lnTo>
                      <a:pt x="1487" y="803"/>
                    </a:lnTo>
                    <a:lnTo>
                      <a:pt x="1487" y="805"/>
                    </a:lnTo>
                    <a:lnTo>
                      <a:pt x="1485" y="807"/>
                    </a:lnTo>
                    <a:lnTo>
                      <a:pt x="1475" y="819"/>
                    </a:lnTo>
                    <a:lnTo>
                      <a:pt x="1461" y="829"/>
                    </a:lnTo>
                    <a:lnTo>
                      <a:pt x="1443" y="836"/>
                    </a:lnTo>
                    <a:lnTo>
                      <a:pt x="1443" y="821"/>
                    </a:lnTo>
                    <a:lnTo>
                      <a:pt x="1452" y="815"/>
                    </a:lnTo>
                    <a:lnTo>
                      <a:pt x="1459" y="810"/>
                    </a:lnTo>
                    <a:lnTo>
                      <a:pt x="1466" y="801"/>
                    </a:lnTo>
                    <a:lnTo>
                      <a:pt x="1459" y="798"/>
                    </a:lnTo>
                    <a:lnTo>
                      <a:pt x="1459" y="794"/>
                    </a:lnTo>
                    <a:lnTo>
                      <a:pt x="1457" y="794"/>
                    </a:lnTo>
                    <a:lnTo>
                      <a:pt x="1455" y="794"/>
                    </a:lnTo>
                    <a:lnTo>
                      <a:pt x="1455" y="794"/>
                    </a:lnTo>
                    <a:lnTo>
                      <a:pt x="1455" y="796"/>
                    </a:lnTo>
                    <a:lnTo>
                      <a:pt x="1455" y="798"/>
                    </a:lnTo>
                    <a:lnTo>
                      <a:pt x="1455" y="798"/>
                    </a:lnTo>
                    <a:lnTo>
                      <a:pt x="1443" y="807"/>
                    </a:lnTo>
                    <a:lnTo>
                      <a:pt x="1427" y="814"/>
                    </a:lnTo>
                    <a:lnTo>
                      <a:pt x="1414" y="819"/>
                    </a:lnTo>
                    <a:lnTo>
                      <a:pt x="1400" y="826"/>
                    </a:lnTo>
                    <a:lnTo>
                      <a:pt x="1387" y="835"/>
                    </a:lnTo>
                    <a:lnTo>
                      <a:pt x="1379" y="847"/>
                    </a:lnTo>
                    <a:lnTo>
                      <a:pt x="1373" y="864"/>
                    </a:lnTo>
                    <a:lnTo>
                      <a:pt x="1379" y="866"/>
                    </a:lnTo>
                    <a:lnTo>
                      <a:pt x="1386" y="868"/>
                    </a:lnTo>
                    <a:lnTo>
                      <a:pt x="1389" y="871"/>
                    </a:lnTo>
                    <a:lnTo>
                      <a:pt x="1382" y="871"/>
                    </a:lnTo>
                    <a:lnTo>
                      <a:pt x="1372" y="880"/>
                    </a:lnTo>
                    <a:lnTo>
                      <a:pt x="1358" y="883"/>
                    </a:lnTo>
                    <a:lnTo>
                      <a:pt x="1345" y="885"/>
                    </a:lnTo>
                    <a:lnTo>
                      <a:pt x="1331" y="887"/>
                    </a:lnTo>
                    <a:lnTo>
                      <a:pt x="1321" y="915"/>
                    </a:lnTo>
                    <a:lnTo>
                      <a:pt x="1309" y="945"/>
                    </a:lnTo>
                    <a:lnTo>
                      <a:pt x="1305" y="941"/>
                    </a:lnTo>
                    <a:lnTo>
                      <a:pt x="1304" y="939"/>
                    </a:lnTo>
                    <a:lnTo>
                      <a:pt x="1300" y="938"/>
                    </a:lnTo>
                    <a:lnTo>
                      <a:pt x="1298" y="936"/>
                    </a:lnTo>
                    <a:lnTo>
                      <a:pt x="1293" y="932"/>
                    </a:lnTo>
                    <a:lnTo>
                      <a:pt x="1293" y="941"/>
                    </a:lnTo>
                    <a:lnTo>
                      <a:pt x="1295" y="945"/>
                    </a:lnTo>
                    <a:lnTo>
                      <a:pt x="1298" y="955"/>
                    </a:lnTo>
                    <a:lnTo>
                      <a:pt x="1302" y="967"/>
                    </a:lnTo>
                    <a:lnTo>
                      <a:pt x="1305" y="978"/>
                    </a:lnTo>
                    <a:lnTo>
                      <a:pt x="1305" y="983"/>
                    </a:lnTo>
                    <a:lnTo>
                      <a:pt x="1291" y="992"/>
                    </a:lnTo>
                    <a:lnTo>
                      <a:pt x="1276" y="1000"/>
                    </a:lnTo>
                    <a:lnTo>
                      <a:pt x="1260" y="1011"/>
                    </a:lnTo>
                    <a:lnTo>
                      <a:pt x="1244" y="1021"/>
                    </a:lnTo>
                    <a:lnTo>
                      <a:pt x="1234" y="1035"/>
                    </a:lnTo>
                    <a:lnTo>
                      <a:pt x="1229" y="1053"/>
                    </a:lnTo>
                    <a:lnTo>
                      <a:pt x="1223" y="1067"/>
                    </a:lnTo>
                    <a:lnTo>
                      <a:pt x="1225" y="1084"/>
                    </a:lnTo>
                    <a:lnTo>
                      <a:pt x="1230" y="1103"/>
                    </a:lnTo>
                    <a:lnTo>
                      <a:pt x="1237" y="1123"/>
                    </a:lnTo>
                    <a:lnTo>
                      <a:pt x="1244" y="1142"/>
                    </a:lnTo>
                    <a:lnTo>
                      <a:pt x="1248" y="1159"/>
                    </a:lnTo>
                    <a:lnTo>
                      <a:pt x="1244" y="1159"/>
                    </a:lnTo>
                    <a:lnTo>
                      <a:pt x="1244" y="1163"/>
                    </a:lnTo>
                    <a:lnTo>
                      <a:pt x="1232" y="1159"/>
                    </a:lnTo>
                    <a:lnTo>
                      <a:pt x="1227" y="1144"/>
                    </a:lnTo>
                    <a:lnTo>
                      <a:pt x="1218" y="1124"/>
                    </a:lnTo>
                    <a:lnTo>
                      <a:pt x="1208" y="1103"/>
                    </a:lnTo>
                    <a:lnTo>
                      <a:pt x="1197" y="1088"/>
                    </a:lnTo>
                    <a:lnTo>
                      <a:pt x="1187" y="1079"/>
                    </a:lnTo>
                    <a:lnTo>
                      <a:pt x="1174" y="1077"/>
                    </a:lnTo>
                    <a:lnTo>
                      <a:pt x="1159" y="1070"/>
                    </a:lnTo>
                    <a:lnTo>
                      <a:pt x="1141" y="1063"/>
                    </a:lnTo>
                    <a:lnTo>
                      <a:pt x="1120" y="1060"/>
                    </a:lnTo>
                    <a:lnTo>
                      <a:pt x="1120" y="1063"/>
                    </a:lnTo>
                    <a:lnTo>
                      <a:pt x="1117" y="1063"/>
                    </a:lnTo>
                    <a:lnTo>
                      <a:pt x="1119" y="1069"/>
                    </a:lnTo>
                    <a:lnTo>
                      <a:pt x="1122" y="1074"/>
                    </a:lnTo>
                    <a:lnTo>
                      <a:pt x="1124" y="1077"/>
                    </a:lnTo>
                    <a:lnTo>
                      <a:pt x="1126" y="1081"/>
                    </a:lnTo>
                    <a:lnTo>
                      <a:pt x="1129" y="1086"/>
                    </a:lnTo>
                    <a:lnTo>
                      <a:pt x="1113" y="1086"/>
                    </a:lnTo>
                    <a:lnTo>
                      <a:pt x="1101" y="1081"/>
                    </a:lnTo>
                    <a:lnTo>
                      <a:pt x="1085" y="1077"/>
                    </a:lnTo>
                    <a:lnTo>
                      <a:pt x="1070" y="1077"/>
                    </a:lnTo>
                    <a:lnTo>
                      <a:pt x="1054" y="1079"/>
                    </a:lnTo>
                    <a:lnTo>
                      <a:pt x="1043" y="1082"/>
                    </a:lnTo>
                    <a:lnTo>
                      <a:pt x="1031" y="1088"/>
                    </a:lnTo>
                    <a:lnTo>
                      <a:pt x="1021" y="1095"/>
                    </a:lnTo>
                    <a:lnTo>
                      <a:pt x="1014" y="1105"/>
                    </a:lnTo>
                    <a:lnTo>
                      <a:pt x="1010" y="1114"/>
                    </a:lnTo>
                    <a:lnTo>
                      <a:pt x="1012" y="1121"/>
                    </a:lnTo>
                    <a:lnTo>
                      <a:pt x="1012" y="1130"/>
                    </a:lnTo>
                    <a:lnTo>
                      <a:pt x="1009" y="1140"/>
                    </a:lnTo>
                    <a:lnTo>
                      <a:pt x="1002" y="1163"/>
                    </a:lnTo>
                    <a:lnTo>
                      <a:pt x="1002" y="1180"/>
                    </a:lnTo>
                    <a:lnTo>
                      <a:pt x="1003" y="1198"/>
                    </a:lnTo>
                    <a:lnTo>
                      <a:pt x="1010" y="1215"/>
                    </a:lnTo>
                    <a:lnTo>
                      <a:pt x="1021" y="1236"/>
                    </a:lnTo>
                    <a:lnTo>
                      <a:pt x="1033" y="1238"/>
                    </a:lnTo>
                    <a:lnTo>
                      <a:pt x="1040" y="1240"/>
                    </a:lnTo>
                    <a:lnTo>
                      <a:pt x="1043" y="1243"/>
                    </a:lnTo>
                    <a:lnTo>
                      <a:pt x="1047" y="1245"/>
                    </a:lnTo>
                    <a:lnTo>
                      <a:pt x="1052" y="1247"/>
                    </a:lnTo>
                    <a:lnTo>
                      <a:pt x="1061" y="1243"/>
                    </a:lnTo>
                    <a:lnTo>
                      <a:pt x="1075" y="1236"/>
                    </a:lnTo>
                    <a:lnTo>
                      <a:pt x="1078" y="1234"/>
                    </a:lnTo>
                    <a:lnTo>
                      <a:pt x="1080" y="1234"/>
                    </a:lnTo>
                    <a:lnTo>
                      <a:pt x="1084" y="1234"/>
                    </a:lnTo>
                    <a:lnTo>
                      <a:pt x="1084" y="1234"/>
                    </a:lnTo>
                    <a:lnTo>
                      <a:pt x="1085" y="1234"/>
                    </a:lnTo>
                    <a:lnTo>
                      <a:pt x="1087" y="1234"/>
                    </a:lnTo>
                    <a:lnTo>
                      <a:pt x="1087" y="1233"/>
                    </a:lnTo>
                    <a:lnTo>
                      <a:pt x="1091" y="1229"/>
                    </a:lnTo>
                    <a:lnTo>
                      <a:pt x="1092" y="1224"/>
                    </a:lnTo>
                    <a:lnTo>
                      <a:pt x="1094" y="1219"/>
                    </a:lnTo>
                    <a:lnTo>
                      <a:pt x="1096" y="1213"/>
                    </a:lnTo>
                    <a:lnTo>
                      <a:pt x="1098" y="1210"/>
                    </a:lnTo>
                    <a:lnTo>
                      <a:pt x="1106" y="1201"/>
                    </a:lnTo>
                    <a:lnTo>
                      <a:pt x="1117" y="1196"/>
                    </a:lnTo>
                    <a:lnTo>
                      <a:pt x="1133" y="1194"/>
                    </a:lnTo>
                    <a:lnTo>
                      <a:pt x="1134" y="1198"/>
                    </a:lnTo>
                    <a:lnTo>
                      <a:pt x="1136" y="1199"/>
                    </a:lnTo>
                    <a:lnTo>
                      <a:pt x="1136" y="1201"/>
                    </a:lnTo>
                    <a:lnTo>
                      <a:pt x="1138" y="1201"/>
                    </a:lnTo>
                    <a:lnTo>
                      <a:pt x="1138" y="1199"/>
                    </a:lnTo>
                    <a:lnTo>
                      <a:pt x="1139" y="1199"/>
                    </a:lnTo>
                    <a:lnTo>
                      <a:pt x="1143" y="1199"/>
                    </a:lnTo>
                    <a:lnTo>
                      <a:pt x="1148" y="1198"/>
                    </a:lnTo>
                    <a:lnTo>
                      <a:pt x="1148" y="1213"/>
                    </a:lnTo>
                    <a:lnTo>
                      <a:pt x="1141" y="1220"/>
                    </a:lnTo>
                    <a:lnTo>
                      <a:pt x="1136" y="1233"/>
                    </a:lnTo>
                    <a:lnTo>
                      <a:pt x="1131" y="1250"/>
                    </a:lnTo>
                    <a:lnTo>
                      <a:pt x="1126" y="1266"/>
                    </a:lnTo>
                    <a:lnTo>
                      <a:pt x="1120" y="1278"/>
                    </a:lnTo>
                    <a:lnTo>
                      <a:pt x="1138" y="1278"/>
                    </a:lnTo>
                    <a:lnTo>
                      <a:pt x="1153" y="1276"/>
                    </a:lnTo>
                    <a:lnTo>
                      <a:pt x="1167" y="1276"/>
                    </a:lnTo>
                    <a:lnTo>
                      <a:pt x="1180" y="1278"/>
                    </a:lnTo>
                    <a:lnTo>
                      <a:pt x="1188" y="1283"/>
                    </a:lnTo>
                    <a:lnTo>
                      <a:pt x="1195" y="1294"/>
                    </a:lnTo>
                    <a:lnTo>
                      <a:pt x="1197" y="1309"/>
                    </a:lnTo>
                    <a:lnTo>
                      <a:pt x="1194" y="1320"/>
                    </a:lnTo>
                    <a:lnTo>
                      <a:pt x="1190" y="1334"/>
                    </a:lnTo>
                    <a:lnTo>
                      <a:pt x="1190" y="1348"/>
                    </a:lnTo>
                    <a:lnTo>
                      <a:pt x="1199" y="1357"/>
                    </a:lnTo>
                    <a:lnTo>
                      <a:pt x="1204" y="1363"/>
                    </a:lnTo>
                    <a:lnTo>
                      <a:pt x="1211" y="1370"/>
                    </a:lnTo>
                    <a:lnTo>
                      <a:pt x="1222" y="1376"/>
                    </a:lnTo>
                    <a:lnTo>
                      <a:pt x="1235" y="1379"/>
                    </a:lnTo>
                    <a:lnTo>
                      <a:pt x="1242" y="1370"/>
                    </a:lnTo>
                    <a:lnTo>
                      <a:pt x="1251" y="1367"/>
                    </a:lnTo>
                    <a:lnTo>
                      <a:pt x="1267" y="1367"/>
                    </a:lnTo>
                    <a:lnTo>
                      <a:pt x="1269" y="1370"/>
                    </a:lnTo>
                    <a:lnTo>
                      <a:pt x="1272" y="1374"/>
                    </a:lnTo>
                    <a:lnTo>
                      <a:pt x="1274" y="1376"/>
                    </a:lnTo>
                    <a:lnTo>
                      <a:pt x="1276" y="1376"/>
                    </a:lnTo>
                    <a:lnTo>
                      <a:pt x="1281" y="1377"/>
                    </a:lnTo>
                    <a:lnTo>
                      <a:pt x="1286" y="1379"/>
                    </a:lnTo>
                    <a:lnTo>
                      <a:pt x="1293" y="1365"/>
                    </a:lnTo>
                    <a:lnTo>
                      <a:pt x="1302" y="1355"/>
                    </a:lnTo>
                    <a:lnTo>
                      <a:pt x="1312" y="1346"/>
                    </a:lnTo>
                    <a:lnTo>
                      <a:pt x="1325" y="1339"/>
                    </a:lnTo>
                    <a:lnTo>
                      <a:pt x="1344" y="1336"/>
                    </a:lnTo>
                    <a:lnTo>
                      <a:pt x="1347" y="1334"/>
                    </a:lnTo>
                    <a:lnTo>
                      <a:pt x="1349" y="1334"/>
                    </a:lnTo>
                    <a:lnTo>
                      <a:pt x="1352" y="1334"/>
                    </a:lnTo>
                    <a:lnTo>
                      <a:pt x="1354" y="1334"/>
                    </a:lnTo>
                    <a:lnTo>
                      <a:pt x="1358" y="1336"/>
                    </a:lnTo>
                    <a:lnTo>
                      <a:pt x="1363" y="1336"/>
                    </a:lnTo>
                    <a:lnTo>
                      <a:pt x="1361" y="1339"/>
                    </a:lnTo>
                    <a:lnTo>
                      <a:pt x="1361" y="1343"/>
                    </a:lnTo>
                    <a:lnTo>
                      <a:pt x="1359" y="1343"/>
                    </a:lnTo>
                    <a:lnTo>
                      <a:pt x="1359" y="1344"/>
                    </a:lnTo>
                    <a:lnTo>
                      <a:pt x="1361" y="1344"/>
                    </a:lnTo>
                    <a:lnTo>
                      <a:pt x="1363" y="1346"/>
                    </a:lnTo>
                    <a:lnTo>
                      <a:pt x="1366" y="1348"/>
                    </a:lnTo>
                    <a:lnTo>
                      <a:pt x="1366" y="1344"/>
                    </a:lnTo>
                    <a:lnTo>
                      <a:pt x="1370" y="1341"/>
                    </a:lnTo>
                    <a:lnTo>
                      <a:pt x="1372" y="1339"/>
                    </a:lnTo>
                    <a:lnTo>
                      <a:pt x="1373" y="1337"/>
                    </a:lnTo>
                    <a:lnTo>
                      <a:pt x="1375" y="1336"/>
                    </a:lnTo>
                    <a:lnTo>
                      <a:pt x="1379" y="1334"/>
                    </a:lnTo>
                    <a:lnTo>
                      <a:pt x="1382" y="1332"/>
                    </a:lnTo>
                    <a:lnTo>
                      <a:pt x="1398" y="1346"/>
                    </a:lnTo>
                    <a:lnTo>
                      <a:pt x="1419" y="1353"/>
                    </a:lnTo>
                    <a:lnTo>
                      <a:pt x="1440" y="1355"/>
                    </a:lnTo>
                    <a:lnTo>
                      <a:pt x="1464" y="1353"/>
                    </a:lnTo>
                    <a:lnTo>
                      <a:pt x="1489" y="1351"/>
                    </a:lnTo>
                    <a:lnTo>
                      <a:pt x="1489" y="1355"/>
                    </a:lnTo>
                    <a:lnTo>
                      <a:pt x="1489" y="1357"/>
                    </a:lnTo>
                    <a:lnTo>
                      <a:pt x="1487" y="1358"/>
                    </a:lnTo>
                    <a:lnTo>
                      <a:pt x="1487" y="1358"/>
                    </a:lnTo>
                    <a:lnTo>
                      <a:pt x="1487" y="1360"/>
                    </a:lnTo>
                    <a:lnTo>
                      <a:pt x="1485" y="1363"/>
                    </a:lnTo>
                    <a:lnTo>
                      <a:pt x="1497" y="1367"/>
                    </a:lnTo>
                    <a:lnTo>
                      <a:pt x="1504" y="1372"/>
                    </a:lnTo>
                    <a:lnTo>
                      <a:pt x="1511" y="1377"/>
                    </a:lnTo>
                    <a:lnTo>
                      <a:pt x="1523" y="1383"/>
                    </a:lnTo>
                    <a:lnTo>
                      <a:pt x="1523" y="1393"/>
                    </a:lnTo>
                    <a:lnTo>
                      <a:pt x="1536" y="1397"/>
                    </a:lnTo>
                    <a:lnTo>
                      <a:pt x="1544" y="1398"/>
                    </a:lnTo>
                    <a:lnTo>
                      <a:pt x="1551" y="1405"/>
                    </a:lnTo>
                    <a:lnTo>
                      <a:pt x="1555" y="1416"/>
                    </a:lnTo>
                    <a:lnTo>
                      <a:pt x="1576" y="1418"/>
                    </a:lnTo>
                    <a:lnTo>
                      <a:pt x="1593" y="1419"/>
                    </a:lnTo>
                    <a:lnTo>
                      <a:pt x="1616" y="1421"/>
                    </a:lnTo>
                    <a:lnTo>
                      <a:pt x="1632" y="1442"/>
                    </a:lnTo>
                    <a:lnTo>
                      <a:pt x="1651" y="1461"/>
                    </a:lnTo>
                    <a:lnTo>
                      <a:pt x="1672" y="1477"/>
                    </a:lnTo>
                    <a:lnTo>
                      <a:pt x="1696" y="1489"/>
                    </a:lnTo>
                    <a:lnTo>
                      <a:pt x="1695" y="1496"/>
                    </a:lnTo>
                    <a:lnTo>
                      <a:pt x="1691" y="1500"/>
                    </a:lnTo>
                    <a:lnTo>
                      <a:pt x="1688" y="1505"/>
                    </a:lnTo>
                    <a:lnTo>
                      <a:pt x="1684" y="1508"/>
                    </a:lnTo>
                    <a:lnTo>
                      <a:pt x="1681" y="1514"/>
                    </a:lnTo>
                    <a:lnTo>
                      <a:pt x="1703" y="1514"/>
                    </a:lnTo>
                    <a:lnTo>
                      <a:pt x="1724" y="1521"/>
                    </a:lnTo>
                    <a:lnTo>
                      <a:pt x="1728" y="1533"/>
                    </a:lnTo>
                    <a:lnTo>
                      <a:pt x="1733" y="1531"/>
                    </a:lnTo>
                    <a:lnTo>
                      <a:pt x="1736" y="1529"/>
                    </a:lnTo>
                    <a:lnTo>
                      <a:pt x="1742" y="1531"/>
                    </a:lnTo>
                    <a:lnTo>
                      <a:pt x="1743" y="1531"/>
                    </a:lnTo>
                    <a:lnTo>
                      <a:pt x="1747" y="1533"/>
                    </a:lnTo>
                    <a:lnTo>
                      <a:pt x="1750" y="1535"/>
                    </a:lnTo>
                    <a:lnTo>
                      <a:pt x="1754" y="1536"/>
                    </a:lnTo>
                    <a:lnTo>
                      <a:pt x="1808" y="1540"/>
                    </a:lnTo>
                    <a:lnTo>
                      <a:pt x="1813" y="1545"/>
                    </a:lnTo>
                    <a:lnTo>
                      <a:pt x="1817" y="1555"/>
                    </a:lnTo>
                    <a:lnTo>
                      <a:pt x="1818" y="1564"/>
                    </a:lnTo>
                    <a:lnTo>
                      <a:pt x="1824" y="1571"/>
                    </a:lnTo>
                    <a:lnTo>
                      <a:pt x="1832" y="1573"/>
                    </a:lnTo>
                    <a:lnTo>
                      <a:pt x="1841" y="1573"/>
                    </a:lnTo>
                    <a:lnTo>
                      <a:pt x="1848" y="1571"/>
                    </a:lnTo>
                    <a:lnTo>
                      <a:pt x="1853" y="1578"/>
                    </a:lnTo>
                    <a:lnTo>
                      <a:pt x="1859" y="1583"/>
                    </a:lnTo>
                    <a:lnTo>
                      <a:pt x="1862" y="1589"/>
                    </a:lnTo>
                    <a:lnTo>
                      <a:pt x="1864" y="1596"/>
                    </a:lnTo>
                    <a:lnTo>
                      <a:pt x="1866" y="1604"/>
                    </a:lnTo>
                    <a:lnTo>
                      <a:pt x="1853" y="1620"/>
                    </a:lnTo>
                    <a:lnTo>
                      <a:pt x="1839" y="1639"/>
                    </a:lnTo>
                    <a:lnTo>
                      <a:pt x="1825" y="1660"/>
                    </a:lnTo>
                    <a:lnTo>
                      <a:pt x="1813" y="1681"/>
                    </a:lnTo>
                    <a:lnTo>
                      <a:pt x="1805" y="1697"/>
                    </a:lnTo>
                    <a:lnTo>
                      <a:pt x="1805" y="1707"/>
                    </a:lnTo>
                    <a:lnTo>
                      <a:pt x="1806" y="1721"/>
                    </a:lnTo>
                    <a:lnTo>
                      <a:pt x="1810" y="1737"/>
                    </a:lnTo>
                    <a:lnTo>
                      <a:pt x="1808" y="1751"/>
                    </a:lnTo>
                    <a:lnTo>
                      <a:pt x="1805" y="1760"/>
                    </a:lnTo>
                    <a:lnTo>
                      <a:pt x="1798" y="1774"/>
                    </a:lnTo>
                    <a:lnTo>
                      <a:pt x="1789" y="1789"/>
                    </a:lnTo>
                    <a:lnTo>
                      <a:pt x="1780" y="1805"/>
                    </a:lnTo>
                    <a:lnTo>
                      <a:pt x="1771" y="1817"/>
                    </a:lnTo>
                    <a:lnTo>
                      <a:pt x="1766" y="1824"/>
                    </a:lnTo>
                    <a:lnTo>
                      <a:pt x="1756" y="1828"/>
                    </a:lnTo>
                    <a:lnTo>
                      <a:pt x="1740" y="1830"/>
                    </a:lnTo>
                    <a:lnTo>
                      <a:pt x="1724" y="1831"/>
                    </a:lnTo>
                    <a:lnTo>
                      <a:pt x="1709" y="1835"/>
                    </a:lnTo>
                    <a:lnTo>
                      <a:pt x="1695" y="1840"/>
                    </a:lnTo>
                    <a:lnTo>
                      <a:pt x="1686" y="1850"/>
                    </a:lnTo>
                    <a:lnTo>
                      <a:pt x="1682" y="1856"/>
                    </a:lnTo>
                    <a:lnTo>
                      <a:pt x="1682" y="1859"/>
                    </a:lnTo>
                    <a:lnTo>
                      <a:pt x="1682" y="1863"/>
                    </a:lnTo>
                    <a:lnTo>
                      <a:pt x="1684" y="1868"/>
                    </a:lnTo>
                    <a:lnTo>
                      <a:pt x="1686" y="1873"/>
                    </a:lnTo>
                    <a:lnTo>
                      <a:pt x="1674" y="1873"/>
                    </a:lnTo>
                    <a:lnTo>
                      <a:pt x="1672" y="1896"/>
                    </a:lnTo>
                    <a:lnTo>
                      <a:pt x="1668" y="1915"/>
                    </a:lnTo>
                    <a:lnTo>
                      <a:pt x="1661" y="1931"/>
                    </a:lnTo>
                    <a:lnTo>
                      <a:pt x="1654" y="1946"/>
                    </a:lnTo>
                    <a:lnTo>
                      <a:pt x="1647" y="1966"/>
                    </a:lnTo>
                    <a:lnTo>
                      <a:pt x="1642" y="1966"/>
                    </a:lnTo>
                    <a:lnTo>
                      <a:pt x="1642" y="1959"/>
                    </a:lnTo>
                    <a:lnTo>
                      <a:pt x="1642" y="1955"/>
                    </a:lnTo>
                    <a:lnTo>
                      <a:pt x="1640" y="1950"/>
                    </a:lnTo>
                    <a:lnTo>
                      <a:pt x="1639" y="1946"/>
                    </a:lnTo>
                    <a:lnTo>
                      <a:pt x="1637" y="1948"/>
                    </a:lnTo>
                    <a:lnTo>
                      <a:pt x="1637" y="1948"/>
                    </a:lnTo>
                    <a:lnTo>
                      <a:pt x="1635" y="1948"/>
                    </a:lnTo>
                    <a:lnTo>
                      <a:pt x="1633" y="1950"/>
                    </a:lnTo>
                    <a:lnTo>
                      <a:pt x="1632" y="1950"/>
                    </a:lnTo>
                    <a:lnTo>
                      <a:pt x="1623" y="1971"/>
                    </a:lnTo>
                    <a:lnTo>
                      <a:pt x="1613" y="1985"/>
                    </a:lnTo>
                    <a:lnTo>
                      <a:pt x="1602" y="1997"/>
                    </a:lnTo>
                    <a:lnTo>
                      <a:pt x="1590" y="2011"/>
                    </a:lnTo>
                    <a:lnTo>
                      <a:pt x="1565" y="2006"/>
                    </a:lnTo>
                    <a:lnTo>
                      <a:pt x="1543" y="2001"/>
                    </a:lnTo>
                    <a:lnTo>
                      <a:pt x="1543" y="2008"/>
                    </a:lnTo>
                    <a:lnTo>
                      <a:pt x="1555" y="2015"/>
                    </a:lnTo>
                    <a:lnTo>
                      <a:pt x="1560" y="2025"/>
                    </a:lnTo>
                    <a:lnTo>
                      <a:pt x="1562" y="2035"/>
                    </a:lnTo>
                    <a:lnTo>
                      <a:pt x="1560" y="2048"/>
                    </a:lnTo>
                    <a:lnTo>
                      <a:pt x="1558" y="2062"/>
                    </a:lnTo>
                    <a:lnTo>
                      <a:pt x="1527" y="2063"/>
                    </a:lnTo>
                    <a:lnTo>
                      <a:pt x="1501" y="2070"/>
                    </a:lnTo>
                    <a:lnTo>
                      <a:pt x="1499" y="2074"/>
                    </a:lnTo>
                    <a:lnTo>
                      <a:pt x="1497" y="2079"/>
                    </a:lnTo>
                    <a:lnTo>
                      <a:pt x="1497" y="2086"/>
                    </a:lnTo>
                    <a:lnTo>
                      <a:pt x="1497" y="2093"/>
                    </a:lnTo>
                    <a:lnTo>
                      <a:pt x="1496" y="2097"/>
                    </a:lnTo>
                    <a:lnTo>
                      <a:pt x="1496" y="2098"/>
                    </a:lnTo>
                    <a:lnTo>
                      <a:pt x="1496" y="2102"/>
                    </a:lnTo>
                    <a:lnTo>
                      <a:pt x="1496" y="2105"/>
                    </a:lnTo>
                    <a:lnTo>
                      <a:pt x="1497" y="2112"/>
                    </a:lnTo>
                    <a:lnTo>
                      <a:pt x="1489" y="2112"/>
                    </a:lnTo>
                    <a:lnTo>
                      <a:pt x="1478" y="2114"/>
                    </a:lnTo>
                    <a:lnTo>
                      <a:pt x="1464" y="2114"/>
                    </a:lnTo>
                    <a:lnTo>
                      <a:pt x="1450" y="2116"/>
                    </a:lnTo>
                    <a:lnTo>
                      <a:pt x="1450" y="2123"/>
                    </a:lnTo>
                    <a:lnTo>
                      <a:pt x="1457" y="2126"/>
                    </a:lnTo>
                    <a:lnTo>
                      <a:pt x="1462" y="2130"/>
                    </a:lnTo>
                    <a:lnTo>
                      <a:pt x="1466" y="2131"/>
                    </a:lnTo>
                    <a:lnTo>
                      <a:pt x="1469" y="2133"/>
                    </a:lnTo>
                    <a:lnTo>
                      <a:pt x="1473" y="2137"/>
                    </a:lnTo>
                    <a:lnTo>
                      <a:pt x="1475" y="2140"/>
                    </a:lnTo>
                    <a:lnTo>
                      <a:pt x="1478" y="2145"/>
                    </a:lnTo>
                    <a:lnTo>
                      <a:pt x="1471" y="2147"/>
                    </a:lnTo>
                    <a:lnTo>
                      <a:pt x="1466" y="2149"/>
                    </a:lnTo>
                    <a:lnTo>
                      <a:pt x="1461" y="2151"/>
                    </a:lnTo>
                    <a:lnTo>
                      <a:pt x="1457" y="2152"/>
                    </a:lnTo>
                    <a:lnTo>
                      <a:pt x="1455" y="2158"/>
                    </a:lnTo>
                    <a:lnTo>
                      <a:pt x="1450" y="2168"/>
                    </a:lnTo>
                    <a:lnTo>
                      <a:pt x="1447" y="2179"/>
                    </a:lnTo>
                    <a:lnTo>
                      <a:pt x="1443" y="2189"/>
                    </a:lnTo>
                    <a:lnTo>
                      <a:pt x="1440" y="2191"/>
                    </a:lnTo>
                    <a:lnTo>
                      <a:pt x="1438" y="2191"/>
                    </a:lnTo>
                    <a:lnTo>
                      <a:pt x="1433" y="2193"/>
                    </a:lnTo>
                    <a:lnTo>
                      <a:pt x="1427" y="2193"/>
                    </a:lnTo>
                    <a:lnTo>
                      <a:pt x="1427" y="2198"/>
                    </a:lnTo>
                    <a:lnTo>
                      <a:pt x="1427" y="2201"/>
                    </a:lnTo>
                    <a:lnTo>
                      <a:pt x="1427" y="2203"/>
                    </a:lnTo>
                    <a:lnTo>
                      <a:pt x="1426" y="2205"/>
                    </a:lnTo>
                    <a:lnTo>
                      <a:pt x="1427" y="2207"/>
                    </a:lnTo>
                    <a:lnTo>
                      <a:pt x="1427" y="2208"/>
                    </a:lnTo>
                    <a:lnTo>
                      <a:pt x="1431" y="2215"/>
                    </a:lnTo>
                    <a:lnTo>
                      <a:pt x="1434" y="2221"/>
                    </a:lnTo>
                    <a:lnTo>
                      <a:pt x="1440" y="2224"/>
                    </a:lnTo>
                    <a:lnTo>
                      <a:pt x="1445" y="2227"/>
                    </a:lnTo>
                    <a:lnTo>
                      <a:pt x="1450" y="2231"/>
                    </a:lnTo>
                    <a:lnTo>
                      <a:pt x="1447" y="2243"/>
                    </a:lnTo>
                    <a:lnTo>
                      <a:pt x="1433" y="2250"/>
                    </a:lnTo>
                    <a:lnTo>
                      <a:pt x="1419" y="2264"/>
                    </a:lnTo>
                    <a:lnTo>
                      <a:pt x="1407" y="2282"/>
                    </a:lnTo>
                    <a:lnTo>
                      <a:pt x="1398" y="2299"/>
                    </a:lnTo>
                    <a:lnTo>
                      <a:pt x="1393" y="2315"/>
                    </a:lnTo>
                    <a:lnTo>
                      <a:pt x="1398" y="2320"/>
                    </a:lnTo>
                    <a:lnTo>
                      <a:pt x="1403" y="2325"/>
                    </a:lnTo>
                    <a:lnTo>
                      <a:pt x="1407" y="2330"/>
                    </a:lnTo>
                    <a:lnTo>
                      <a:pt x="1408" y="2339"/>
                    </a:lnTo>
                    <a:lnTo>
                      <a:pt x="1400" y="2341"/>
                    </a:lnTo>
                    <a:lnTo>
                      <a:pt x="1387" y="2348"/>
                    </a:lnTo>
                    <a:lnTo>
                      <a:pt x="1375" y="2358"/>
                    </a:lnTo>
                    <a:lnTo>
                      <a:pt x="1366" y="2369"/>
                    </a:lnTo>
                    <a:lnTo>
                      <a:pt x="1365" y="2372"/>
                    </a:lnTo>
                    <a:lnTo>
                      <a:pt x="1363" y="2376"/>
                    </a:lnTo>
                    <a:lnTo>
                      <a:pt x="1363" y="2379"/>
                    </a:lnTo>
                    <a:lnTo>
                      <a:pt x="1363" y="2385"/>
                    </a:lnTo>
                    <a:lnTo>
                      <a:pt x="1366" y="2385"/>
                    </a:lnTo>
                    <a:lnTo>
                      <a:pt x="1366" y="2381"/>
                    </a:lnTo>
                    <a:lnTo>
                      <a:pt x="1377" y="2369"/>
                    </a:lnTo>
                    <a:lnTo>
                      <a:pt x="1386" y="2357"/>
                    </a:lnTo>
                    <a:lnTo>
                      <a:pt x="1389" y="2358"/>
                    </a:lnTo>
                    <a:lnTo>
                      <a:pt x="1391" y="2358"/>
                    </a:lnTo>
                    <a:lnTo>
                      <a:pt x="1391" y="2360"/>
                    </a:lnTo>
                    <a:lnTo>
                      <a:pt x="1391" y="2360"/>
                    </a:lnTo>
                    <a:lnTo>
                      <a:pt x="1393" y="2362"/>
                    </a:lnTo>
                    <a:lnTo>
                      <a:pt x="1396" y="2371"/>
                    </a:lnTo>
                    <a:lnTo>
                      <a:pt x="1398" y="2381"/>
                    </a:lnTo>
                    <a:lnTo>
                      <a:pt x="1400" y="2393"/>
                    </a:lnTo>
                    <a:lnTo>
                      <a:pt x="1401" y="2404"/>
                    </a:lnTo>
                    <a:lnTo>
                      <a:pt x="1407" y="2404"/>
                    </a:lnTo>
                    <a:lnTo>
                      <a:pt x="1408" y="2404"/>
                    </a:lnTo>
                    <a:lnTo>
                      <a:pt x="1412" y="2404"/>
                    </a:lnTo>
                    <a:lnTo>
                      <a:pt x="1412" y="2406"/>
                    </a:lnTo>
                    <a:lnTo>
                      <a:pt x="1414" y="2406"/>
                    </a:lnTo>
                    <a:lnTo>
                      <a:pt x="1414" y="2407"/>
                    </a:lnTo>
                    <a:lnTo>
                      <a:pt x="1417" y="2411"/>
                    </a:lnTo>
                    <a:lnTo>
                      <a:pt x="1414" y="2413"/>
                    </a:lnTo>
                    <a:lnTo>
                      <a:pt x="1412" y="2414"/>
                    </a:lnTo>
                    <a:lnTo>
                      <a:pt x="1412" y="2416"/>
                    </a:lnTo>
                    <a:lnTo>
                      <a:pt x="1410" y="2416"/>
                    </a:lnTo>
                    <a:lnTo>
                      <a:pt x="1408" y="2418"/>
                    </a:lnTo>
                    <a:lnTo>
                      <a:pt x="1405" y="2419"/>
                    </a:lnTo>
                    <a:lnTo>
                      <a:pt x="1389" y="2423"/>
                    </a:lnTo>
                    <a:lnTo>
                      <a:pt x="1373" y="2419"/>
                    </a:lnTo>
                    <a:lnTo>
                      <a:pt x="1358" y="2411"/>
                    </a:lnTo>
                    <a:lnTo>
                      <a:pt x="1342" y="2399"/>
                    </a:lnTo>
                    <a:lnTo>
                      <a:pt x="1328" y="2385"/>
                    </a:lnTo>
                    <a:lnTo>
                      <a:pt x="1318" y="2371"/>
                    </a:lnTo>
                    <a:lnTo>
                      <a:pt x="1312" y="2357"/>
                    </a:lnTo>
                    <a:lnTo>
                      <a:pt x="1316" y="2357"/>
                    </a:lnTo>
                    <a:lnTo>
                      <a:pt x="1328" y="2369"/>
                    </a:lnTo>
                    <a:lnTo>
                      <a:pt x="1340" y="2379"/>
                    </a:lnTo>
                    <a:lnTo>
                      <a:pt x="1354" y="2388"/>
                    </a:lnTo>
                    <a:lnTo>
                      <a:pt x="1354" y="2381"/>
                    </a:lnTo>
                    <a:lnTo>
                      <a:pt x="1335" y="2371"/>
                    </a:lnTo>
                    <a:lnTo>
                      <a:pt x="1319" y="2357"/>
                    </a:lnTo>
                    <a:lnTo>
                      <a:pt x="1309" y="2337"/>
                    </a:lnTo>
                    <a:lnTo>
                      <a:pt x="1302" y="2315"/>
                    </a:lnTo>
                    <a:lnTo>
                      <a:pt x="1298" y="2292"/>
                    </a:lnTo>
                    <a:lnTo>
                      <a:pt x="1300" y="2266"/>
                    </a:lnTo>
                    <a:lnTo>
                      <a:pt x="1302" y="2241"/>
                    </a:lnTo>
                    <a:lnTo>
                      <a:pt x="1307" y="2219"/>
                    </a:lnTo>
                    <a:lnTo>
                      <a:pt x="1314" y="2198"/>
                    </a:lnTo>
                    <a:lnTo>
                      <a:pt x="1321" y="2180"/>
                    </a:lnTo>
                    <a:lnTo>
                      <a:pt x="1331" y="2180"/>
                    </a:lnTo>
                    <a:lnTo>
                      <a:pt x="1340" y="2145"/>
                    </a:lnTo>
                    <a:lnTo>
                      <a:pt x="1335" y="2145"/>
                    </a:lnTo>
                    <a:lnTo>
                      <a:pt x="1335" y="2142"/>
                    </a:lnTo>
                    <a:lnTo>
                      <a:pt x="1331" y="2145"/>
                    </a:lnTo>
                    <a:lnTo>
                      <a:pt x="1328" y="2149"/>
                    </a:lnTo>
                    <a:lnTo>
                      <a:pt x="1326" y="2152"/>
                    </a:lnTo>
                    <a:lnTo>
                      <a:pt x="1323" y="2156"/>
                    </a:lnTo>
                    <a:lnTo>
                      <a:pt x="1316" y="2158"/>
                    </a:lnTo>
                    <a:lnTo>
                      <a:pt x="1316" y="2154"/>
                    </a:lnTo>
                    <a:lnTo>
                      <a:pt x="1328" y="2081"/>
                    </a:lnTo>
                    <a:lnTo>
                      <a:pt x="1326" y="2074"/>
                    </a:lnTo>
                    <a:lnTo>
                      <a:pt x="1323" y="2062"/>
                    </a:lnTo>
                    <a:lnTo>
                      <a:pt x="1325" y="2051"/>
                    </a:lnTo>
                    <a:lnTo>
                      <a:pt x="1337" y="2009"/>
                    </a:lnTo>
                    <a:lnTo>
                      <a:pt x="1347" y="1966"/>
                    </a:lnTo>
                    <a:lnTo>
                      <a:pt x="1356" y="1919"/>
                    </a:lnTo>
                    <a:lnTo>
                      <a:pt x="1366" y="1873"/>
                    </a:lnTo>
                    <a:lnTo>
                      <a:pt x="1372" y="1843"/>
                    </a:lnTo>
                    <a:lnTo>
                      <a:pt x="1373" y="1812"/>
                    </a:lnTo>
                    <a:lnTo>
                      <a:pt x="1375" y="1782"/>
                    </a:lnTo>
                    <a:lnTo>
                      <a:pt x="1379" y="1754"/>
                    </a:lnTo>
                    <a:lnTo>
                      <a:pt x="1344" y="1741"/>
                    </a:lnTo>
                    <a:lnTo>
                      <a:pt x="1314" y="1721"/>
                    </a:lnTo>
                    <a:lnTo>
                      <a:pt x="1290" y="1695"/>
                    </a:lnTo>
                    <a:lnTo>
                      <a:pt x="1270" y="1667"/>
                    </a:lnTo>
                    <a:lnTo>
                      <a:pt x="1263" y="1651"/>
                    </a:lnTo>
                    <a:lnTo>
                      <a:pt x="1258" y="1636"/>
                    </a:lnTo>
                    <a:lnTo>
                      <a:pt x="1253" y="1618"/>
                    </a:lnTo>
                    <a:lnTo>
                      <a:pt x="1246" y="1604"/>
                    </a:lnTo>
                    <a:lnTo>
                      <a:pt x="1235" y="1594"/>
                    </a:lnTo>
                    <a:lnTo>
                      <a:pt x="1232" y="1590"/>
                    </a:lnTo>
                    <a:lnTo>
                      <a:pt x="1227" y="1590"/>
                    </a:lnTo>
                    <a:lnTo>
                      <a:pt x="1223" y="1589"/>
                    </a:lnTo>
                    <a:lnTo>
                      <a:pt x="1220" y="1585"/>
                    </a:lnTo>
                    <a:lnTo>
                      <a:pt x="1216" y="1582"/>
                    </a:lnTo>
                    <a:lnTo>
                      <a:pt x="1220" y="1575"/>
                    </a:lnTo>
                    <a:lnTo>
                      <a:pt x="1220" y="1569"/>
                    </a:lnTo>
                    <a:lnTo>
                      <a:pt x="1220" y="1562"/>
                    </a:lnTo>
                    <a:lnTo>
                      <a:pt x="1220" y="1555"/>
                    </a:lnTo>
                    <a:lnTo>
                      <a:pt x="1229" y="1550"/>
                    </a:lnTo>
                    <a:lnTo>
                      <a:pt x="1235" y="1545"/>
                    </a:lnTo>
                    <a:lnTo>
                      <a:pt x="1244" y="1540"/>
                    </a:lnTo>
                    <a:lnTo>
                      <a:pt x="1244" y="1536"/>
                    </a:lnTo>
                    <a:lnTo>
                      <a:pt x="1235" y="1536"/>
                    </a:lnTo>
                    <a:lnTo>
                      <a:pt x="1230" y="1535"/>
                    </a:lnTo>
                    <a:lnTo>
                      <a:pt x="1225" y="1535"/>
                    </a:lnTo>
                    <a:lnTo>
                      <a:pt x="1220" y="1533"/>
                    </a:lnTo>
                    <a:lnTo>
                      <a:pt x="1227" y="1517"/>
                    </a:lnTo>
                    <a:lnTo>
                      <a:pt x="1232" y="1501"/>
                    </a:lnTo>
                    <a:lnTo>
                      <a:pt x="1239" y="1486"/>
                    </a:lnTo>
                    <a:lnTo>
                      <a:pt x="1251" y="1473"/>
                    </a:lnTo>
                    <a:lnTo>
                      <a:pt x="1265" y="1461"/>
                    </a:lnTo>
                    <a:lnTo>
                      <a:pt x="1277" y="1447"/>
                    </a:lnTo>
                    <a:lnTo>
                      <a:pt x="1276" y="1437"/>
                    </a:lnTo>
                    <a:lnTo>
                      <a:pt x="1276" y="1423"/>
                    </a:lnTo>
                    <a:lnTo>
                      <a:pt x="1274" y="1409"/>
                    </a:lnTo>
                    <a:lnTo>
                      <a:pt x="1269" y="1400"/>
                    </a:lnTo>
                    <a:lnTo>
                      <a:pt x="1262" y="1390"/>
                    </a:lnTo>
                    <a:lnTo>
                      <a:pt x="1255" y="1379"/>
                    </a:lnTo>
                    <a:lnTo>
                      <a:pt x="1248" y="1379"/>
                    </a:lnTo>
                    <a:lnTo>
                      <a:pt x="1246" y="1381"/>
                    </a:lnTo>
                    <a:lnTo>
                      <a:pt x="1244" y="1383"/>
                    </a:lnTo>
                    <a:lnTo>
                      <a:pt x="1242" y="1384"/>
                    </a:lnTo>
                    <a:lnTo>
                      <a:pt x="1239" y="1386"/>
                    </a:lnTo>
                    <a:lnTo>
                      <a:pt x="1241" y="1390"/>
                    </a:lnTo>
                    <a:lnTo>
                      <a:pt x="1241" y="1393"/>
                    </a:lnTo>
                    <a:lnTo>
                      <a:pt x="1241" y="1393"/>
                    </a:lnTo>
                    <a:lnTo>
                      <a:pt x="1241" y="1395"/>
                    </a:lnTo>
                    <a:lnTo>
                      <a:pt x="1241" y="1395"/>
                    </a:lnTo>
                    <a:lnTo>
                      <a:pt x="1239" y="1398"/>
                    </a:lnTo>
                    <a:lnTo>
                      <a:pt x="1237" y="1398"/>
                    </a:lnTo>
                    <a:lnTo>
                      <a:pt x="1235" y="1400"/>
                    </a:lnTo>
                    <a:lnTo>
                      <a:pt x="1234" y="1400"/>
                    </a:lnTo>
                    <a:lnTo>
                      <a:pt x="1232" y="1400"/>
                    </a:lnTo>
                    <a:lnTo>
                      <a:pt x="1229" y="1402"/>
                    </a:lnTo>
                    <a:lnTo>
                      <a:pt x="1220" y="1395"/>
                    </a:lnTo>
                    <a:lnTo>
                      <a:pt x="1204" y="1386"/>
                    </a:lnTo>
                    <a:lnTo>
                      <a:pt x="1188" y="1377"/>
                    </a:lnTo>
                    <a:lnTo>
                      <a:pt x="1173" y="1370"/>
                    </a:lnTo>
                    <a:lnTo>
                      <a:pt x="1162" y="1367"/>
                    </a:lnTo>
                    <a:lnTo>
                      <a:pt x="1153" y="1346"/>
                    </a:lnTo>
                    <a:lnTo>
                      <a:pt x="1145" y="1334"/>
                    </a:lnTo>
                    <a:lnTo>
                      <a:pt x="1136" y="1325"/>
                    </a:lnTo>
                    <a:lnTo>
                      <a:pt x="1127" y="1322"/>
                    </a:lnTo>
                    <a:lnTo>
                      <a:pt x="1113" y="1318"/>
                    </a:lnTo>
                    <a:lnTo>
                      <a:pt x="1098" y="1313"/>
                    </a:lnTo>
                    <a:lnTo>
                      <a:pt x="1078" y="1306"/>
                    </a:lnTo>
                    <a:lnTo>
                      <a:pt x="1066" y="1297"/>
                    </a:lnTo>
                    <a:lnTo>
                      <a:pt x="1056" y="1288"/>
                    </a:lnTo>
                    <a:lnTo>
                      <a:pt x="1040" y="1281"/>
                    </a:lnTo>
                    <a:lnTo>
                      <a:pt x="1030" y="1281"/>
                    </a:lnTo>
                    <a:lnTo>
                      <a:pt x="1023" y="1285"/>
                    </a:lnTo>
                    <a:lnTo>
                      <a:pt x="1017" y="1288"/>
                    </a:lnTo>
                    <a:lnTo>
                      <a:pt x="1010" y="1292"/>
                    </a:lnTo>
                    <a:lnTo>
                      <a:pt x="1002" y="1290"/>
                    </a:lnTo>
                    <a:lnTo>
                      <a:pt x="998" y="1288"/>
                    </a:lnTo>
                    <a:lnTo>
                      <a:pt x="995" y="1285"/>
                    </a:lnTo>
                    <a:lnTo>
                      <a:pt x="991" y="1281"/>
                    </a:lnTo>
                    <a:lnTo>
                      <a:pt x="986" y="1276"/>
                    </a:lnTo>
                    <a:lnTo>
                      <a:pt x="982" y="1273"/>
                    </a:lnTo>
                    <a:lnTo>
                      <a:pt x="979" y="1271"/>
                    </a:lnTo>
                    <a:lnTo>
                      <a:pt x="956" y="1267"/>
                    </a:lnTo>
                    <a:lnTo>
                      <a:pt x="953" y="1264"/>
                    </a:lnTo>
                    <a:lnTo>
                      <a:pt x="949" y="1261"/>
                    </a:lnTo>
                    <a:lnTo>
                      <a:pt x="946" y="1257"/>
                    </a:lnTo>
                    <a:lnTo>
                      <a:pt x="942" y="1254"/>
                    </a:lnTo>
                    <a:lnTo>
                      <a:pt x="941" y="1252"/>
                    </a:lnTo>
                    <a:lnTo>
                      <a:pt x="921" y="1255"/>
                    </a:lnTo>
                    <a:lnTo>
                      <a:pt x="918" y="1254"/>
                    </a:lnTo>
                    <a:lnTo>
                      <a:pt x="913" y="1247"/>
                    </a:lnTo>
                    <a:lnTo>
                      <a:pt x="904" y="1240"/>
                    </a:lnTo>
                    <a:lnTo>
                      <a:pt x="897" y="1231"/>
                    </a:lnTo>
                    <a:lnTo>
                      <a:pt x="890" y="1224"/>
                    </a:lnTo>
                    <a:lnTo>
                      <a:pt x="886" y="1220"/>
                    </a:lnTo>
                    <a:lnTo>
                      <a:pt x="893" y="1198"/>
                    </a:lnTo>
                    <a:lnTo>
                      <a:pt x="874" y="1177"/>
                    </a:lnTo>
                    <a:lnTo>
                      <a:pt x="857" y="1154"/>
                    </a:lnTo>
                    <a:lnTo>
                      <a:pt x="839" y="1130"/>
                    </a:lnTo>
                    <a:lnTo>
                      <a:pt x="822" y="1105"/>
                    </a:lnTo>
                    <a:lnTo>
                      <a:pt x="818" y="1103"/>
                    </a:lnTo>
                    <a:lnTo>
                      <a:pt x="813" y="1102"/>
                    </a:lnTo>
                    <a:lnTo>
                      <a:pt x="810" y="1102"/>
                    </a:lnTo>
                    <a:lnTo>
                      <a:pt x="804" y="1100"/>
                    </a:lnTo>
                    <a:lnTo>
                      <a:pt x="803" y="1098"/>
                    </a:lnTo>
                    <a:lnTo>
                      <a:pt x="796" y="1089"/>
                    </a:lnTo>
                    <a:lnTo>
                      <a:pt x="792" y="1079"/>
                    </a:lnTo>
                    <a:lnTo>
                      <a:pt x="789" y="1069"/>
                    </a:lnTo>
                    <a:lnTo>
                      <a:pt x="783" y="1058"/>
                    </a:lnTo>
                    <a:lnTo>
                      <a:pt x="775" y="1053"/>
                    </a:lnTo>
                    <a:lnTo>
                      <a:pt x="771" y="1049"/>
                    </a:lnTo>
                    <a:lnTo>
                      <a:pt x="768" y="1046"/>
                    </a:lnTo>
                    <a:lnTo>
                      <a:pt x="764" y="1044"/>
                    </a:lnTo>
                    <a:lnTo>
                      <a:pt x="764" y="1063"/>
                    </a:lnTo>
                    <a:lnTo>
                      <a:pt x="769" y="1070"/>
                    </a:lnTo>
                    <a:lnTo>
                      <a:pt x="780" y="1082"/>
                    </a:lnTo>
                    <a:lnTo>
                      <a:pt x="790" y="1096"/>
                    </a:lnTo>
                    <a:lnTo>
                      <a:pt x="803" y="1114"/>
                    </a:lnTo>
                    <a:lnTo>
                      <a:pt x="813" y="1131"/>
                    </a:lnTo>
                    <a:lnTo>
                      <a:pt x="824" y="1149"/>
                    </a:lnTo>
                    <a:lnTo>
                      <a:pt x="832" y="1165"/>
                    </a:lnTo>
                    <a:lnTo>
                      <a:pt x="836" y="1175"/>
                    </a:lnTo>
                    <a:lnTo>
                      <a:pt x="836" y="1182"/>
                    </a:lnTo>
                    <a:lnTo>
                      <a:pt x="834" y="1185"/>
                    </a:lnTo>
                    <a:lnTo>
                      <a:pt x="832" y="1187"/>
                    </a:lnTo>
                    <a:lnTo>
                      <a:pt x="832" y="1189"/>
                    </a:lnTo>
                    <a:lnTo>
                      <a:pt x="829" y="1191"/>
                    </a:lnTo>
                    <a:lnTo>
                      <a:pt x="829" y="1184"/>
                    </a:lnTo>
                    <a:lnTo>
                      <a:pt x="827" y="1178"/>
                    </a:lnTo>
                    <a:lnTo>
                      <a:pt x="827" y="1175"/>
                    </a:lnTo>
                    <a:lnTo>
                      <a:pt x="825" y="1171"/>
                    </a:lnTo>
                    <a:lnTo>
                      <a:pt x="822" y="1171"/>
                    </a:lnTo>
                    <a:lnTo>
                      <a:pt x="820" y="1171"/>
                    </a:lnTo>
                    <a:lnTo>
                      <a:pt x="818" y="1171"/>
                    </a:lnTo>
                    <a:lnTo>
                      <a:pt x="817" y="1171"/>
                    </a:lnTo>
                    <a:lnTo>
                      <a:pt x="815" y="1171"/>
                    </a:lnTo>
                    <a:lnTo>
                      <a:pt x="810" y="1171"/>
                    </a:lnTo>
                    <a:lnTo>
                      <a:pt x="806" y="1159"/>
                    </a:lnTo>
                    <a:lnTo>
                      <a:pt x="803" y="1147"/>
                    </a:lnTo>
                    <a:lnTo>
                      <a:pt x="797" y="1137"/>
                    </a:lnTo>
                    <a:lnTo>
                      <a:pt x="789" y="1128"/>
                    </a:lnTo>
                    <a:lnTo>
                      <a:pt x="778" y="1121"/>
                    </a:lnTo>
                    <a:lnTo>
                      <a:pt x="768" y="1114"/>
                    </a:lnTo>
                    <a:lnTo>
                      <a:pt x="759" y="1102"/>
                    </a:lnTo>
                    <a:lnTo>
                      <a:pt x="762" y="1100"/>
                    </a:lnTo>
                    <a:lnTo>
                      <a:pt x="764" y="1100"/>
                    </a:lnTo>
                    <a:lnTo>
                      <a:pt x="764" y="1100"/>
                    </a:lnTo>
                    <a:lnTo>
                      <a:pt x="766" y="1100"/>
                    </a:lnTo>
                    <a:lnTo>
                      <a:pt x="766" y="1098"/>
                    </a:lnTo>
                    <a:lnTo>
                      <a:pt x="766" y="1096"/>
                    </a:lnTo>
                    <a:lnTo>
                      <a:pt x="768" y="1095"/>
                    </a:lnTo>
                    <a:lnTo>
                      <a:pt x="755" y="1086"/>
                    </a:lnTo>
                    <a:lnTo>
                      <a:pt x="749" y="1075"/>
                    </a:lnTo>
                    <a:lnTo>
                      <a:pt x="743" y="1063"/>
                    </a:lnTo>
                    <a:lnTo>
                      <a:pt x="740" y="1049"/>
                    </a:lnTo>
                    <a:lnTo>
                      <a:pt x="733" y="1037"/>
                    </a:lnTo>
                    <a:lnTo>
                      <a:pt x="724" y="1027"/>
                    </a:lnTo>
                    <a:lnTo>
                      <a:pt x="714" y="1021"/>
                    </a:lnTo>
                    <a:lnTo>
                      <a:pt x="701" y="1016"/>
                    </a:lnTo>
                    <a:lnTo>
                      <a:pt x="691" y="1009"/>
                    </a:lnTo>
                    <a:lnTo>
                      <a:pt x="684" y="1000"/>
                    </a:lnTo>
                    <a:lnTo>
                      <a:pt x="680" y="990"/>
                    </a:lnTo>
                    <a:lnTo>
                      <a:pt x="675" y="979"/>
                    </a:lnTo>
                    <a:lnTo>
                      <a:pt x="663" y="962"/>
                    </a:lnTo>
                    <a:lnTo>
                      <a:pt x="653" y="950"/>
                    </a:lnTo>
                    <a:lnTo>
                      <a:pt x="642" y="939"/>
                    </a:lnTo>
                    <a:lnTo>
                      <a:pt x="635" y="927"/>
                    </a:lnTo>
                    <a:lnTo>
                      <a:pt x="630" y="911"/>
                    </a:lnTo>
                    <a:lnTo>
                      <a:pt x="626" y="890"/>
                    </a:lnTo>
                    <a:lnTo>
                      <a:pt x="625" y="861"/>
                    </a:lnTo>
                    <a:lnTo>
                      <a:pt x="625" y="854"/>
                    </a:lnTo>
                    <a:lnTo>
                      <a:pt x="626" y="840"/>
                    </a:lnTo>
                    <a:lnTo>
                      <a:pt x="626" y="821"/>
                    </a:lnTo>
                    <a:lnTo>
                      <a:pt x="626" y="798"/>
                    </a:lnTo>
                    <a:lnTo>
                      <a:pt x="626" y="777"/>
                    </a:lnTo>
                    <a:lnTo>
                      <a:pt x="628" y="760"/>
                    </a:lnTo>
                    <a:lnTo>
                      <a:pt x="630" y="749"/>
                    </a:lnTo>
                    <a:lnTo>
                      <a:pt x="635" y="747"/>
                    </a:lnTo>
                    <a:lnTo>
                      <a:pt x="639" y="747"/>
                    </a:lnTo>
                    <a:lnTo>
                      <a:pt x="642" y="747"/>
                    </a:lnTo>
                    <a:lnTo>
                      <a:pt x="646" y="747"/>
                    </a:lnTo>
                    <a:lnTo>
                      <a:pt x="649" y="749"/>
                    </a:lnTo>
                    <a:lnTo>
                      <a:pt x="651" y="753"/>
                    </a:lnTo>
                    <a:lnTo>
                      <a:pt x="654" y="756"/>
                    </a:lnTo>
                    <a:lnTo>
                      <a:pt x="656" y="760"/>
                    </a:lnTo>
                    <a:lnTo>
                      <a:pt x="656" y="740"/>
                    </a:lnTo>
                    <a:lnTo>
                      <a:pt x="644" y="726"/>
                    </a:lnTo>
                    <a:lnTo>
                      <a:pt x="630" y="712"/>
                    </a:lnTo>
                    <a:lnTo>
                      <a:pt x="614" y="702"/>
                    </a:lnTo>
                    <a:lnTo>
                      <a:pt x="614" y="711"/>
                    </a:lnTo>
                    <a:lnTo>
                      <a:pt x="621" y="716"/>
                    </a:lnTo>
                    <a:lnTo>
                      <a:pt x="628" y="721"/>
                    </a:lnTo>
                    <a:lnTo>
                      <a:pt x="635" y="726"/>
                    </a:lnTo>
                    <a:lnTo>
                      <a:pt x="640" y="733"/>
                    </a:lnTo>
                    <a:lnTo>
                      <a:pt x="640" y="737"/>
                    </a:lnTo>
                    <a:lnTo>
                      <a:pt x="639" y="737"/>
                    </a:lnTo>
                    <a:lnTo>
                      <a:pt x="639" y="739"/>
                    </a:lnTo>
                    <a:lnTo>
                      <a:pt x="639" y="739"/>
                    </a:lnTo>
                    <a:lnTo>
                      <a:pt x="637" y="740"/>
                    </a:lnTo>
                    <a:lnTo>
                      <a:pt x="633" y="742"/>
                    </a:lnTo>
                    <a:lnTo>
                      <a:pt x="632" y="744"/>
                    </a:lnTo>
                    <a:lnTo>
                      <a:pt x="626" y="744"/>
                    </a:lnTo>
                    <a:lnTo>
                      <a:pt x="621" y="744"/>
                    </a:lnTo>
                    <a:lnTo>
                      <a:pt x="619" y="744"/>
                    </a:lnTo>
                    <a:lnTo>
                      <a:pt x="619" y="742"/>
                    </a:lnTo>
                    <a:lnTo>
                      <a:pt x="618" y="742"/>
                    </a:lnTo>
                    <a:lnTo>
                      <a:pt x="618" y="742"/>
                    </a:lnTo>
                    <a:lnTo>
                      <a:pt x="614" y="740"/>
                    </a:lnTo>
                    <a:lnTo>
                      <a:pt x="602" y="725"/>
                    </a:lnTo>
                    <a:lnTo>
                      <a:pt x="591" y="709"/>
                    </a:lnTo>
                    <a:lnTo>
                      <a:pt x="583" y="691"/>
                    </a:lnTo>
                    <a:lnTo>
                      <a:pt x="591" y="691"/>
                    </a:lnTo>
                    <a:lnTo>
                      <a:pt x="595" y="693"/>
                    </a:lnTo>
                    <a:lnTo>
                      <a:pt x="598" y="693"/>
                    </a:lnTo>
                    <a:lnTo>
                      <a:pt x="602" y="693"/>
                    </a:lnTo>
                    <a:lnTo>
                      <a:pt x="605" y="691"/>
                    </a:lnTo>
                    <a:lnTo>
                      <a:pt x="591" y="686"/>
                    </a:lnTo>
                    <a:lnTo>
                      <a:pt x="583" y="678"/>
                    </a:lnTo>
                    <a:lnTo>
                      <a:pt x="576" y="667"/>
                    </a:lnTo>
                    <a:lnTo>
                      <a:pt x="570" y="655"/>
                    </a:lnTo>
                    <a:lnTo>
                      <a:pt x="567" y="643"/>
                    </a:lnTo>
                    <a:lnTo>
                      <a:pt x="562" y="632"/>
                    </a:lnTo>
                    <a:lnTo>
                      <a:pt x="555" y="623"/>
                    </a:lnTo>
                    <a:lnTo>
                      <a:pt x="544" y="618"/>
                    </a:lnTo>
                    <a:lnTo>
                      <a:pt x="548" y="595"/>
                    </a:lnTo>
                    <a:lnTo>
                      <a:pt x="536" y="582"/>
                    </a:lnTo>
                    <a:lnTo>
                      <a:pt x="525" y="566"/>
                    </a:lnTo>
                    <a:lnTo>
                      <a:pt x="516" y="550"/>
                    </a:lnTo>
                    <a:lnTo>
                      <a:pt x="504" y="534"/>
                    </a:lnTo>
                    <a:lnTo>
                      <a:pt x="490" y="522"/>
                    </a:lnTo>
                    <a:lnTo>
                      <a:pt x="471" y="513"/>
                    </a:lnTo>
                    <a:lnTo>
                      <a:pt x="448" y="508"/>
                    </a:lnTo>
                    <a:lnTo>
                      <a:pt x="429" y="499"/>
                    </a:lnTo>
                    <a:lnTo>
                      <a:pt x="415" y="487"/>
                    </a:lnTo>
                    <a:lnTo>
                      <a:pt x="399" y="473"/>
                    </a:lnTo>
                    <a:lnTo>
                      <a:pt x="384" y="465"/>
                    </a:lnTo>
                    <a:lnTo>
                      <a:pt x="352" y="465"/>
                    </a:lnTo>
                    <a:lnTo>
                      <a:pt x="342" y="459"/>
                    </a:lnTo>
                    <a:lnTo>
                      <a:pt x="333" y="452"/>
                    </a:lnTo>
                    <a:lnTo>
                      <a:pt x="323" y="447"/>
                    </a:lnTo>
                    <a:lnTo>
                      <a:pt x="307" y="445"/>
                    </a:lnTo>
                    <a:lnTo>
                      <a:pt x="307" y="468"/>
                    </a:lnTo>
                    <a:lnTo>
                      <a:pt x="289" y="477"/>
                    </a:lnTo>
                    <a:lnTo>
                      <a:pt x="274" y="486"/>
                    </a:lnTo>
                    <a:lnTo>
                      <a:pt x="253" y="491"/>
                    </a:lnTo>
                    <a:lnTo>
                      <a:pt x="258" y="475"/>
                    </a:lnTo>
                    <a:lnTo>
                      <a:pt x="265" y="459"/>
                    </a:lnTo>
                    <a:lnTo>
                      <a:pt x="275" y="445"/>
                    </a:lnTo>
                    <a:lnTo>
                      <a:pt x="284" y="430"/>
                    </a:lnTo>
                    <a:lnTo>
                      <a:pt x="275" y="430"/>
                    </a:lnTo>
                    <a:lnTo>
                      <a:pt x="275" y="433"/>
                    </a:lnTo>
                    <a:lnTo>
                      <a:pt x="262" y="444"/>
                    </a:lnTo>
                    <a:lnTo>
                      <a:pt x="251" y="458"/>
                    </a:lnTo>
                    <a:lnTo>
                      <a:pt x="244" y="473"/>
                    </a:lnTo>
                    <a:lnTo>
                      <a:pt x="239" y="489"/>
                    </a:lnTo>
                    <a:lnTo>
                      <a:pt x="232" y="506"/>
                    </a:lnTo>
                    <a:lnTo>
                      <a:pt x="221" y="522"/>
                    </a:lnTo>
                    <a:lnTo>
                      <a:pt x="214" y="529"/>
                    </a:lnTo>
                    <a:lnTo>
                      <a:pt x="200" y="540"/>
                    </a:lnTo>
                    <a:lnTo>
                      <a:pt x="183" y="550"/>
                    </a:lnTo>
                    <a:lnTo>
                      <a:pt x="162" y="562"/>
                    </a:lnTo>
                    <a:lnTo>
                      <a:pt x="141" y="576"/>
                    </a:lnTo>
                    <a:lnTo>
                      <a:pt x="120" y="589"/>
                    </a:lnTo>
                    <a:lnTo>
                      <a:pt x="99" y="599"/>
                    </a:lnTo>
                    <a:lnTo>
                      <a:pt x="83" y="606"/>
                    </a:lnTo>
                    <a:lnTo>
                      <a:pt x="73" y="609"/>
                    </a:lnTo>
                    <a:lnTo>
                      <a:pt x="73" y="606"/>
                    </a:lnTo>
                    <a:lnTo>
                      <a:pt x="77" y="606"/>
                    </a:lnTo>
                    <a:lnTo>
                      <a:pt x="89" y="594"/>
                    </a:lnTo>
                    <a:lnTo>
                      <a:pt x="104" y="583"/>
                    </a:lnTo>
                    <a:lnTo>
                      <a:pt x="122" y="573"/>
                    </a:lnTo>
                    <a:lnTo>
                      <a:pt x="139" y="562"/>
                    </a:lnTo>
                    <a:lnTo>
                      <a:pt x="155" y="550"/>
                    </a:lnTo>
                    <a:lnTo>
                      <a:pt x="167" y="536"/>
                    </a:lnTo>
                    <a:lnTo>
                      <a:pt x="176" y="520"/>
                    </a:lnTo>
                    <a:lnTo>
                      <a:pt x="179" y="499"/>
                    </a:lnTo>
                    <a:lnTo>
                      <a:pt x="166" y="503"/>
                    </a:lnTo>
                    <a:lnTo>
                      <a:pt x="157" y="506"/>
                    </a:lnTo>
                    <a:lnTo>
                      <a:pt x="145" y="510"/>
                    </a:lnTo>
                    <a:lnTo>
                      <a:pt x="145" y="506"/>
                    </a:lnTo>
                    <a:lnTo>
                      <a:pt x="145" y="503"/>
                    </a:lnTo>
                    <a:lnTo>
                      <a:pt x="145" y="503"/>
                    </a:lnTo>
                    <a:lnTo>
                      <a:pt x="143" y="501"/>
                    </a:lnTo>
                    <a:lnTo>
                      <a:pt x="143" y="501"/>
                    </a:lnTo>
                    <a:lnTo>
                      <a:pt x="141" y="501"/>
                    </a:lnTo>
                    <a:lnTo>
                      <a:pt x="138" y="499"/>
                    </a:lnTo>
                    <a:lnTo>
                      <a:pt x="136" y="501"/>
                    </a:lnTo>
                    <a:lnTo>
                      <a:pt x="134" y="503"/>
                    </a:lnTo>
                    <a:lnTo>
                      <a:pt x="132" y="505"/>
                    </a:lnTo>
                    <a:lnTo>
                      <a:pt x="131" y="505"/>
                    </a:lnTo>
                    <a:lnTo>
                      <a:pt x="127" y="506"/>
                    </a:lnTo>
                    <a:lnTo>
                      <a:pt x="122" y="506"/>
                    </a:lnTo>
                    <a:lnTo>
                      <a:pt x="120" y="496"/>
                    </a:lnTo>
                    <a:lnTo>
                      <a:pt x="115" y="482"/>
                    </a:lnTo>
                    <a:lnTo>
                      <a:pt x="111" y="472"/>
                    </a:lnTo>
                    <a:lnTo>
                      <a:pt x="108" y="475"/>
                    </a:lnTo>
                    <a:lnTo>
                      <a:pt x="106" y="477"/>
                    </a:lnTo>
                    <a:lnTo>
                      <a:pt x="104" y="477"/>
                    </a:lnTo>
                    <a:lnTo>
                      <a:pt x="101" y="477"/>
                    </a:lnTo>
                    <a:lnTo>
                      <a:pt x="99" y="475"/>
                    </a:lnTo>
                    <a:lnTo>
                      <a:pt x="82" y="463"/>
                    </a:lnTo>
                    <a:lnTo>
                      <a:pt x="68" y="445"/>
                    </a:lnTo>
                    <a:lnTo>
                      <a:pt x="57" y="426"/>
                    </a:lnTo>
                    <a:lnTo>
                      <a:pt x="63" y="416"/>
                    </a:lnTo>
                    <a:lnTo>
                      <a:pt x="68" y="403"/>
                    </a:lnTo>
                    <a:lnTo>
                      <a:pt x="73" y="393"/>
                    </a:lnTo>
                    <a:lnTo>
                      <a:pt x="80" y="384"/>
                    </a:lnTo>
                    <a:lnTo>
                      <a:pt x="92" y="377"/>
                    </a:lnTo>
                    <a:lnTo>
                      <a:pt x="103" y="374"/>
                    </a:lnTo>
                    <a:lnTo>
                      <a:pt x="113" y="369"/>
                    </a:lnTo>
                    <a:lnTo>
                      <a:pt x="120" y="362"/>
                    </a:lnTo>
                    <a:lnTo>
                      <a:pt x="125" y="351"/>
                    </a:lnTo>
                    <a:lnTo>
                      <a:pt x="125" y="334"/>
                    </a:lnTo>
                    <a:lnTo>
                      <a:pt x="127" y="332"/>
                    </a:lnTo>
                    <a:lnTo>
                      <a:pt x="129" y="332"/>
                    </a:lnTo>
                    <a:lnTo>
                      <a:pt x="129" y="330"/>
                    </a:lnTo>
                    <a:lnTo>
                      <a:pt x="129" y="328"/>
                    </a:lnTo>
                    <a:lnTo>
                      <a:pt x="131" y="327"/>
                    </a:lnTo>
                    <a:lnTo>
                      <a:pt x="115" y="327"/>
                    </a:lnTo>
                    <a:lnTo>
                      <a:pt x="111" y="330"/>
                    </a:lnTo>
                    <a:lnTo>
                      <a:pt x="110" y="332"/>
                    </a:lnTo>
                    <a:lnTo>
                      <a:pt x="108" y="334"/>
                    </a:lnTo>
                    <a:lnTo>
                      <a:pt x="104" y="335"/>
                    </a:lnTo>
                    <a:lnTo>
                      <a:pt x="101" y="337"/>
                    </a:lnTo>
                    <a:lnTo>
                      <a:pt x="96" y="337"/>
                    </a:lnTo>
                    <a:lnTo>
                      <a:pt x="85" y="334"/>
                    </a:lnTo>
                    <a:lnTo>
                      <a:pt x="70" y="328"/>
                    </a:lnTo>
                    <a:lnTo>
                      <a:pt x="52" y="325"/>
                    </a:lnTo>
                    <a:lnTo>
                      <a:pt x="38" y="318"/>
                    </a:lnTo>
                    <a:lnTo>
                      <a:pt x="35" y="292"/>
                    </a:lnTo>
                    <a:lnTo>
                      <a:pt x="42" y="292"/>
                    </a:lnTo>
                    <a:lnTo>
                      <a:pt x="45" y="290"/>
                    </a:lnTo>
                    <a:lnTo>
                      <a:pt x="50" y="288"/>
                    </a:lnTo>
                    <a:lnTo>
                      <a:pt x="54" y="287"/>
                    </a:lnTo>
                    <a:lnTo>
                      <a:pt x="57" y="287"/>
                    </a:lnTo>
                    <a:lnTo>
                      <a:pt x="61" y="283"/>
                    </a:lnTo>
                    <a:lnTo>
                      <a:pt x="64" y="280"/>
                    </a:lnTo>
                    <a:lnTo>
                      <a:pt x="63" y="278"/>
                    </a:lnTo>
                    <a:lnTo>
                      <a:pt x="63" y="278"/>
                    </a:lnTo>
                    <a:lnTo>
                      <a:pt x="63" y="276"/>
                    </a:lnTo>
                    <a:lnTo>
                      <a:pt x="63" y="276"/>
                    </a:lnTo>
                    <a:lnTo>
                      <a:pt x="61" y="273"/>
                    </a:lnTo>
                    <a:lnTo>
                      <a:pt x="77" y="273"/>
                    </a:lnTo>
                    <a:lnTo>
                      <a:pt x="78" y="271"/>
                    </a:lnTo>
                    <a:lnTo>
                      <a:pt x="80" y="271"/>
                    </a:lnTo>
                    <a:lnTo>
                      <a:pt x="82" y="269"/>
                    </a:lnTo>
                    <a:lnTo>
                      <a:pt x="83" y="269"/>
                    </a:lnTo>
                    <a:lnTo>
                      <a:pt x="87" y="269"/>
                    </a:lnTo>
                    <a:lnTo>
                      <a:pt x="92" y="274"/>
                    </a:lnTo>
                    <a:lnTo>
                      <a:pt x="97" y="278"/>
                    </a:lnTo>
                    <a:lnTo>
                      <a:pt x="103" y="283"/>
                    </a:lnTo>
                    <a:lnTo>
                      <a:pt x="106" y="288"/>
                    </a:lnTo>
                    <a:lnTo>
                      <a:pt x="118" y="283"/>
                    </a:lnTo>
                    <a:lnTo>
                      <a:pt x="118" y="276"/>
                    </a:lnTo>
                    <a:lnTo>
                      <a:pt x="115" y="271"/>
                    </a:lnTo>
                    <a:lnTo>
                      <a:pt x="113" y="266"/>
                    </a:lnTo>
                    <a:lnTo>
                      <a:pt x="111" y="260"/>
                    </a:lnTo>
                    <a:lnTo>
                      <a:pt x="110" y="255"/>
                    </a:lnTo>
                    <a:lnTo>
                      <a:pt x="106" y="250"/>
                    </a:lnTo>
                    <a:lnTo>
                      <a:pt x="94" y="236"/>
                    </a:lnTo>
                    <a:lnTo>
                      <a:pt x="80" y="225"/>
                    </a:lnTo>
                    <a:lnTo>
                      <a:pt x="64" y="215"/>
                    </a:lnTo>
                    <a:lnTo>
                      <a:pt x="50" y="205"/>
                    </a:lnTo>
                    <a:lnTo>
                      <a:pt x="42" y="189"/>
                    </a:lnTo>
                    <a:lnTo>
                      <a:pt x="45" y="184"/>
                    </a:lnTo>
                    <a:lnTo>
                      <a:pt x="47" y="178"/>
                    </a:lnTo>
                    <a:lnTo>
                      <a:pt x="49" y="173"/>
                    </a:lnTo>
                    <a:lnTo>
                      <a:pt x="70" y="175"/>
                    </a:lnTo>
                    <a:lnTo>
                      <a:pt x="90" y="173"/>
                    </a:lnTo>
                    <a:lnTo>
                      <a:pt x="106" y="164"/>
                    </a:lnTo>
                    <a:lnTo>
                      <a:pt x="111" y="152"/>
                    </a:lnTo>
                    <a:lnTo>
                      <a:pt x="115" y="140"/>
                    </a:lnTo>
                    <a:lnTo>
                      <a:pt x="118" y="129"/>
                    </a:lnTo>
                    <a:lnTo>
                      <a:pt x="131" y="119"/>
                    </a:lnTo>
                    <a:lnTo>
                      <a:pt x="148" y="110"/>
                    </a:lnTo>
                    <a:lnTo>
                      <a:pt x="167" y="105"/>
                    </a:lnTo>
                    <a:lnTo>
                      <a:pt x="183" y="98"/>
                    </a:lnTo>
                    <a:lnTo>
                      <a:pt x="199" y="88"/>
                    </a:lnTo>
                    <a:lnTo>
                      <a:pt x="204" y="91"/>
                    </a:lnTo>
                    <a:lnTo>
                      <a:pt x="207" y="93"/>
                    </a:lnTo>
                    <a:lnTo>
                      <a:pt x="207" y="96"/>
                    </a:lnTo>
                    <a:lnTo>
                      <a:pt x="209" y="98"/>
                    </a:lnTo>
                    <a:lnTo>
                      <a:pt x="209" y="102"/>
                    </a:lnTo>
                    <a:lnTo>
                      <a:pt x="211" y="103"/>
                    </a:lnTo>
                    <a:lnTo>
                      <a:pt x="214" y="107"/>
                    </a:lnTo>
                    <a:lnTo>
                      <a:pt x="218" y="110"/>
                    </a:lnTo>
                    <a:lnTo>
                      <a:pt x="223" y="110"/>
                    </a:lnTo>
                    <a:lnTo>
                      <a:pt x="227" y="110"/>
                    </a:lnTo>
                    <a:lnTo>
                      <a:pt x="230" y="109"/>
                    </a:lnTo>
                    <a:lnTo>
                      <a:pt x="234" y="107"/>
                    </a:lnTo>
                    <a:lnTo>
                      <a:pt x="237" y="107"/>
                    </a:lnTo>
                    <a:lnTo>
                      <a:pt x="241" y="107"/>
                    </a:lnTo>
                    <a:lnTo>
                      <a:pt x="244" y="109"/>
                    </a:lnTo>
                    <a:lnTo>
                      <a:pt x="248" y="112"/>
                    </a:lnTo>
                    <a:lnTo>
                      <a:pt x="253" y="117"/>
                    </a:lnTo>
                    <a:lnTo>
                      <a:pt x="256" y="121"/>
                    </a:lnTo>
                    <a:lnTo>
                      <a:pt x="260" y="124"/>
                    </a:lnTo>
                    <a:lnTo>
                      <a:pt x="265" y="126"/>
                    </a:lnTo>
                    <a:lnTo>
                      <a:pt x="270" y="128"/>
                    </a:lnTo>
                    <a:lnTo>
                      <a:pt x="275" y="126"/>
                    </a:lnTo>
                    <a:lnTo>
                      <a:pt x="279" y="126"/>
                    </a:lnTo>
                    <a:lnTo>
                      <a:pt x="282" y="124"/>
                    </a:lnTo>
                    <a:lnTo>
                      <a:pt x="288" y="122"/>
                    </a:lnTo>
                    <a:lnTo>
                      <a:pt x="291" y="122"/>
                    </a:lnTo>
                    <a:lnTo>
                      <a:pt x="302" y="126"/>
                    </a:lnTo>
                    <a:lnTo>
                      <a:pt x="317" y="131"/>
                    </a:lnTo>
                    <a:lnTo>
                      <a:pt x="331" y="138"/>
                    </a:lnTo>
                    <a:lnTo>
                      <a:pt x="345" y="142"/>
                    </a:lnTo>
                    <a:lnTo>
                      <a:pt x="375" y="138"/>
                    </a:lnTo>
                    <a:lnTo>
                      <a:pt x="394" y="147"/>
                    </a:lnTo>
                    <a:lnTo>
                      <a:pt x="412" y="159"/>
                    </a:lnTo>
                    <a:lnTo>
                      <a:pt x="429" y="170"/>
                    </a:lnTo>
                    <a:lnTo>
                      <a:pt x="448" y="180"/>
                    </a:lnTo>
                    <a:lnTo>
                      <a:pt x="471" y="184"/>
                    </a:lnTo>
                    <a:lnTo>
                      <a:pt x="471" y="177"/>
                    </a:lnTo>
                    <a:lnTo>
                      <a:pt x="466" y="171"/>
                    </a:lnTo>
                    <a:lnTo>
                      <a:pt x="461" y="164"/>
                    </a:lnTo>
                    <a:lnTo>
                      <a:pt x="455" y="157"/>
                    </a:lnTo>
                    <a:lnTo>
                      <a:pt x="452" y="149"/>
                    </a:lnTo>
                    <a:lnTo>
                      <a:pt x="473" y="147"/>
                    </a:lnTo>
                    <a:lnTo>
                      <a:pt x="487" y="143"/>
                    </a:lnTo>
                    <a:lnTo>
                      <a:pt x="499" y="136"/>
                    </a:lnTo>
                    <a:lnTo>
                      <a:pt x="509" y="129"/>
                    </a:lnTo>
                    <a:lnTo>
                      <a:pt x="520" y="121"/>
                    </a:lnTo>
                    <a:lnTo>
                      <a:pt x="532" y="115"/>
                    </a:lnTo>
                    <a:lnTo>
                      <a:pt x="548" y="112"/>
                    </a:lnTo>
                    <a:lnTo>
                      <a:pt x="551" y="114"/>
                    </a:lnTo>
                    <a:lnTo>
                      <a:pt x="557" y="115"/>
                    </a:lnTo>
                    <a:lnTo>
                      <a:pt x="560" y="117"/>
                    </a:lnTo>
                    <a:lnTo>
                      <a:pt x="563" y="119"/>
                    </a:lnTo>
                    <a:lnTo>
                      <a:pt x="557" y="119"/>
                    </a:lnTo>
                    <a:lnTo>
                      <a:pt x="539" y="133"/>
                    </a:lnTo>
                    <a:lnTo>
                      <a:pt x="520" y="145"/>
                    </a:lnTo>
                    <a:lnTo>
                      <a:pt x="499" y="154"/>
                    </a:lnTo>
                    <a:lnTo>
                      <a:pt x="499" y="161"/>
                    </a:lnTo>
                    <a:lnTo>
                      <a:pt x="518" y="164"/>
                    </a:lnTo>
                    <a:lnTo>
                      <a:pt x="527" y="154"/>
                    </a:lnTo>
                    <a:lnTo>
                      <a:pt x="536" y="149"/>
                    </a:lnTo>
                    <a:lnTo>
                      <a:pt x="548" y="147"/>
                    </a:lnTo>
                    <a:lnTo>
                      <a:pt x="560" y="147"/>
                    </a:lnTo>
                    <a:lnTo>
                      <a:pt x="576" y="145"/>
                    </a:lnTo>
                    <a:lnTo>
                      <a:pt x="577" y="140"/>
                    </a:lnTo>
                    <a:lnTo>
                      <a:pt x="579" y="135"/>
                    </a:lnTo>
                    <a:lnTo>
                      <a:pt x="583" y="129"/>
                    </a:lnTo>
                    <a:lnTo>
                      <a:pt x="586" y="126"/>
                    </a:lnTo>
                    <a:lnTo>
                      <a:pt x="591" y="138"/>
                    </a:lnTo>
                    <a:lnTo>
                      <a:pt x="597" y="147"/>
                    </a:lnTo>
                    <a:lnTo>
                      <a:pt x="605" y="154"/>
                    </a:lnTo>
                    <a:lnTo>
                      <a:pt x="618" y="157"/>
                    </a:lnTo>
                    <a:lnTo>
                      <a:pt x="621" y="154"/>
                    </a:lnTo>
                    <a:lnTo>
                      <a:pt x="623" y="152"/>
                    </a:lnTo>
                    <a:lnTo>
                      <a:pt x="626" y="150"/>
                    </a:lnTo>
                    <a:lnTo>
                      <a:pt x="628" y="149"/>
                    </a:lnTo>
                    <a:lnTo>
                      <a:pt x="632" y="149"/>
                    </a:lnTo>
                    <a:lnTo>
                      <a:pt x="633" y="149"/>
                    </a:lnTo>
                    <a:lnTo>
                      <a:pt x="637" y="154"/>
                    </a:lnTo>
                    <a:lnTo>
                      <a:pt x="639" y="157"/>
                    </a:lnTo>
                    <a:lnTo>
                      <a:pt x="640" y="161"/>
                    </a:lnTo>
                    <a:lnTo>
                      <a:pt x="646" y="159"/>
                    </a:lnTo>
                    <a:lnTo>
                      <a:pt x="651" y="156"/>
                    </a:lnTo>
                    <a:lnTo>
                      <a:pt x="654" y="152"/>
                    </a:lnTo>
                    <a:lnTo>
                      <a:pt x="659" y="150"/>
                    </a:lnTo>
                    <a:lnTo>
                      <a:pt x="663" y="149"/>
                    </a:lnTo>
                    <a:lnTo>
                      <a:pt x="682" y="154"/>
                    </a:lnTo>
                    <a:lnTo>
                      <a:pt x="698" y="166"/>
                    </a:lnTo>
                    <a:lnTo>
                      <a:pt x="714" y="178"/>
                    </a:lnTo>
                    <a:lnTo>
                      <a:pt x="729" y="189"/>
                    </a:lnTo>
                    <a:lnTo>
                      <a:pt x="735" y="189"/>
                    </a:lnTo>
                    <a:lnTo>
                      <a:pt x="740" y="189"/>
                    </a:lnTo>
                    <a:lnTo>
                      <a:pt x="743" y="187"/>
                    </a:lnTo>
                    <a:lnTo>
                      <a:pt x="749" y="185"/>
                    </a:lnTo>
                    <a:lnTo>
                      <a:pt x="752" y="184"/>
                    </a:lnTo>
                    <a:lnTo>
                      <a:pt x="755" y="184"/>
                    </a:lnTo>
                    <a:lnTo>
                      <a:pt x="759" y="187"/>
                    </a:lnTo>
                    <a:lnTo>
                      <a:pt x="762" y="191"/>
                    </a:lnTo>
                    <a:lnTo>
                      <a:pt x="766" y="196"/>
                    </a:lnTo>
                    <a:lnTo>
                      <a:pt x="769" y="203"/>
                    </a:lnTo>
                    <a:lnTo>
                      <a:pt x="771" y="206"/>
                    </a:lnTo>
                    <a:lnTo>
                      <a:pt x="768" y="208"/>
                    </a:lnTo>
                    <a:lnTo>
                      <a:pt x="764" y="210"/>
                    </a:lnTo>
                    <a:lnTo>
                      <a:pt x="764" y="210"/>
                    </a:lnTo>
                    <a:lnTo>
                      <a:pt x="762" y="211"/>
                    </a:lnTo>
                    <a:lnTo>
                      <a:pt x="762" y="213"/>
                    </a:lnTo>
                    <a:lnTo>
                      <a:pt x="761" y="215"/>
                    </a:lnTo>
                    <a:lnTo>
                      <a:pt x="759" y="218"/>
                    </a:lnTo>
                    <a:lnTo>
                      <a:pt x="771" y="218"/>
                    </a:lnTo>
                    <a:lnTo>
                      <a:pt x="787" y="220"/>
                    </a:lnTo>
                    <a:lnTo>
                      <a:pt x="803" y="220"/>
                    </a:lnTo>
                    <a:lnTo>
                      <a:pt x="817" y="220"/>
                    </a:lnTo>
                    <a:lnTo>
                      <a:pt x="825" y="222"/>
                    </a:lnTo>
                    <a:lnTo>
                      <a:pt x="834" y="232"/>
                    </a:lnTo>
                    <a:lnTo>
                      <a:pt x="843" y="243"/>
                    </a:lnTo>
                    <a:lnTo>
                      <a:pt x="851" y="253"/>
                    </a:lnTo>
                    <a:lnTo>
                      <a:pt x="851" y="218"/>
                    </a:lnTo>
                    <a:lnTo>
                      <a:pt x="860" y="218"/>
                    </a:lnTo>
                    <a:lnTo>
                      <a:pt x="867" y="218"/>
                    </a:lnTo>
                    <a:lnTo>
                      <a:pt x="872" y="217"/>
                    </a:lnTo>
                    <a:lnTo>
                      <a:pt x="879" y="215"/>
                    </a:lnTo>
                    <a:lnTo>
                      <a:pt x="879" y="211"/>
                    </a:lnTo>
                    <a:lnTo>
                      <a:pt x="848" y="211"/>
                    </a:lnTo>
                    <a:lnTo>
                      <a:pt x="846" y="206"/>
                    </a:lnTo>
                    <a:lnTo>
                      <a:pt x="845" y="205"/>
                    </a:lnTo>
                    <a:lnTo>
                      <a:pt x="843" y="201"/>
                    </a:lnTo>
                    <a:lnTo>
                      <a:pt x="841" y="198"/>
                    </a:lnTo>
                    <a:lnTo>
                      <a:pt x="841" y="192"/>
                    </a:lnTo>
                    <a:lnTo>
                      <a:pt x="845" y="192"/>
                    </a:lnTo>
                    <a:lnTo>
                      <a:pt x="845" y="189"/>
                    </a:lnTo>
                    <a:lnTo>
                      <a:pt x="890" y="184"/>
                    </a:lnTo>
                    <a:lnTo>
                      <a:pt x="890" y="196"/>
                    </a:lnTo>
                    <a:lnTo>
                      <a:pt x="895" y="199"/>
                    </a:lnTo>
                    <a:lnTo>
                      <a:pt x="899" y="205"/>
                    </a:lnTo>
                    <a:lnTo>
                      <a:pt x="902" y="208"/>
                    </a:lnTo>
                    <a:lnTo>
                      <a:pt x="906" y="215"/>
                    </a:lnTo>
                    <a:lnTo>
                      <a:pt x="925" y="215"/>
                    </a:lnTo>
                    <a:lnTo>
                      <a:pt x="937" y="218"/>
                    </a:lnTo>
                    <a:lnTo>
                      <a:pt x="949" y="220"/>
                    </a:lnTo>
                    <a:lnTo>
                      <a:pt x="961" y="222"/>
                    </a:lnTo>
                    <a:lnTo>
                      <a:pt x="979" y="222"/>
                    </a:lnTo>
                    <a:lnTo>
                      <a:pt x="981" y="220"/>
                    </a:lnTo>
                    <a:lnTo>
                      <a:pt x="982" y="218"/>
                    </a:lnTo>
                    <a:lnTo>
                      <a:pt x="984" y="217"/>
                    </a:lnTo>
                    <a:lnTo>
                      <a:pt x="986" y="215"/>
                    </a:lnTo>
                    <a:lnTo>
                      <a:pt x="986" y="203"/>
                    </a:lnTo>
                    <a:lnTo>
                      <a:pt x="1009" y="203"/>
                    </a:lnTo>
                    <a:lnTo>
                      <a:pt x="1016" y="218"/>
                    </a:lnTo>
                    <a:lnTo>
                      <a:pt x="1024" y="234"/>
                    </a:lnTo>
                    <a:lnTo>
                      <a:pt x="1026" y="227"/>
                    </a:lnTo>
                    <a:lnTo>
                      <a:pt x="1026" y="224"/>
                    </a:lnTo>
                    <a:lnTo>
                      <a:pt x="1028" y="218"/>
                    </a:lnTo>
                    <a:lnTo>
                      <a:pt x="1028" y="215"/>
                    </a:lnTo>
                    <a:lnTo>
                      <a:pt x="1040" y="215"/>
                    </a:lnTo>
                    <a:lnTo>
                      <a:pt x="1040" y="201"/>
                    </a:lnTo>
                    <a:lnTo>
                      <a:pt x="1040" y="185"/>
                    </a:lnTo>
                    <a:lnTo>
                      <a:pt x="1042" y="171"/>
                    </a:lnTo>
                    <a:lnTo>
                      <a:pt x="1040" y="164"/>
                    </a:lnTo>
                    <a:lnTo>
                      <a:pt x="1028" y="150"/>
                    </a:lnTo>
                    <a:lnTo>
                      <a:pt x="1019" y="135"/>
                    </a:lnTo>
                    <a:lnTo>
                      <a:pt x="1017" y="117"/>
                    </a:lnTo>
                    <a:lnTo>
                      <a:pt x="1021" y="100"/>
                    </a:lnTo>
                    <a:lnTo>
                      <a:pt x="1033" y="81"/>
                    </a:lnTo>
                    <a:lnTo>
                      <a:pt x="1042" y="77"/>
                    </a:lnTo>
                    <a:lnTo>
                      <a:pt x="1052" y="74"/>
                    </a:lnTo>
                    <a:lnTo>
                      <a:pt x="1063" y="72"/>
                    </a:lnTo>
                    <a:close/>
                    <a:moveTo>
                      <a:pt x="851" y="23"/>
                    </a:moveTo>
                    <a:lnTo>
                      <a:pt x="872" y="37"/>
                    </a:lnTo>
                    <a:lnTo>
                      <a:pt x="885" y="54"/>
                    </a:lnTo>
                    <a:lnTo>
                      <a:pt x="892" y="75"/>
                    </a:lnTo>
                    <a:lnTo>
                      <a:pt x="897" y="102"/>
                    </a:lnTo>
                    <a:lnTo>
                      <a:pt x="902" y="129"/>
                    </a:lnTo>
                    <a:lnTo>
                      <a:pt x="918" y="131"/>
                    </a:lnTo>
                    <a:lnTo>
                      <a:pt x="928" y="133"/>
                    </a:lnTo>
                    <a:lnTo>
                      <a:pt x="937" y="140"/>
                    </a:lnTo>
                    <a:lnTo>
                      <a:pt x="942" y="149"/>
                    </a:lnTo>
                    <a:lnTo>
                      <a:pt x="944" y="164"/>
                    </a:lnTo>
                    <a:lnTo>
                      <a:pt x="941" y="164"/>
                    </a:lnTo>
                    <a:lnTo>
                      <a:pt x="939" y="163"/>
                    </a:lnTo>
                    <a:lnTo>
                      <a:pt x="937" y="161"/>
                    </a:lnTo>
                    <a:lnTo>
                      <a:pt x="935" y="159"/>
                    </a:lnTo>
                    <a:lnTo>
                      <a:pt x="932" y="157"/>
                    </a:lnTo>
                    <a:lnTo>
                      <a:pt x="932" y="164"/>
                    </a:lnTo>
                    <a:lnTo>
                      <a:pt x="935" y="168"/>
                    </a:lnTo>
                    <a:lnTo>
                      <a:pt x="937" y="170"/>
                    </a:lnTo>
                    <a:lnTo>
                      <a:pt x="939" y="170"/>
                    </a:lnTo>
                    <a:lnTo>
                      <a:pt x="939" y="173"/>
                    </a:lnTo>
                    <a:lnTo>
                      <a:pt x="939" y="175"/>
                    </a:lnTo>
                    <a:lnTo>
                      <a:pt x="941" y="180"/>
                    </a:lnTo>
                    <a:lnTo>
                      <a:pt x="932" y="182"/>
                    </a:lnTo>
                    <a:lnTo>
                      <a:pt x="923" y="184"/>
                    </a:lnTo>
                    <a:lnTo>
                      <a:pt x="913" y="184"/>
                    </a:lnTo>
                    <a:lnTo>
                      <a:pt x="895" y="177"/>
                    </a:lnTo>
                    <a:lnTo>
                      <a:pt x="878" y="175"/>
                    </a:lnTo>
                    <a:lnTo>
                      <a:pt x="858" y="178"/>
                    </a:lnTo>
                    <a:lnTo>
                      <a:pt x="839" y="184"/>
                    </a:lnTo>
                    <a:lnTo>
                      <a:pt x="820" y="187"/>
                    </a:lnTo>
                    <a:lnTo>
                      <a:pt x="799" y="187"/>
                    </a:lnTo>
                    <a:lnTo>
                      <a:pt x="775" y="180"/>
                    </a:lnTo>
                    <a:lnTo>
                      <a:pt x="762" y="177"/>
                    </a:lnTo>
                    <a:lnTo>
                      <a:pt x="752" y="175"/>
                    </a:lnTo>
                    <a:lnTo>
                      <a:pt x="743" y="173"/>
                    </a:lnTo>
                    <a:lnTo>
                      <a:pt x="735" y="168"/>
                    </a:lnTo>
                    <a:lnTo>
                      <a:pt x="729" y="157"/>
                    </a:lnTo>
                    <a:lnTo>
                      <a:pt x="733" y="157"/>
                    </a:lnTo>
                    <a:lnTo>
                      <a:pt x="742" y="149"/>
                    </a:lnTo>
                    <a:lnTo>
                      <a:pt x="755" y="145"/>
                    </a:lnTo>
                    <a:lnTo>
                      <a:pt x="771" y="143"/>
                    </a:lnTo>
                    <a:lnTo>
                      <a:pt x="787" y="142"/>
                    </a:lnTo>
                    <a:lnTo>
                      <a:pt x="787" y="138"/>
                    </a:lnTo>
                    <a:lnTo>
                      <a:pt x="780" y="133"/>
                    </a:lnTo>
                    <a:lnTo>
                      <a:pt x="775" y="129"/>
                    </a:lnTo>
                    <a:lnTo>
                      <a:pt x="768" y="128"/>
                    </a:lnTo>
                    <a:lnTo>
                      <a:pt x="755" y="126"/>
                    </a:lnTo>
                    <a:lnTo>
                      <a:pt x="749" y="126"/>
                    </a:lnTo>
                    <a:lnTo>
                      <a:pt x="736" y="126"/>
                    </a:lnTo>
                    <a:lnTo>
                      <a:pt x="721" y="126"/>
                    </a:lnTo>
                    <a:lnTo>
                      <a:pt x="719" y="115"/>
                    </a:lnTo>
                    <a:lnTo>
                      <a:pt x="714" y="105"/>
                    </a:lnTo>
                    <a:lnTo>
                      <a:pt x="710" y="96"/>
                    </a:lnTo>
                    <a:lnTo>
                      <a:pt x="707" y="86"/>
                    </a:lnTo>
                    <a:lnTo>
                      <a:pt x="707" y="68"/>
                    </a:lnTo>
                    <a:lnTo>
                      <a:pt x="714" y="58"/>
                    </a:lnTo>
                    <a:lnTo>
                      <a:pt x="721" y="46"/>
                    </a:lnTo>
                    <a:lnTo>
                      <a:pt x="729" y="35"/>
                    </a:lnTo>
                    <a:lnTo>
                      <a:pt x="740" y="28"/>
                    </a:lnTo>
                    <a:lnTo>
                      <a:pt x="752" y="30"/>
                    </a:lnTo>
                    <a:lnTo>
                      <a:pt x="755" y="30"/>
                    </a:lnTo>
                    <a:lnTo>
                      <a:pt x="755" y="33"/>
                    </a:lnTo>
                    <a:lnTo>
                      <a:pt x="755" y="35"/>
                    </a:lnTo>
                    <a:lnTo>
                      <a:pt x="754" y="35"/>
                    </a:lnTo>
                    <a:lnTo>
                      <a:pt x="754" y="37"/>
                    </a:lnTo>
                    <a:lnTo>
                      <a:pt x="754" y="37"/>
                    </a:lnTo>
                    <a:lnTo>
                      <a:pt x="755" y="39"/>
                    </a:lnTo>
                    <a:lnTo>
                      <a:pt x="755" y="42"/>
                    </a:lnTo>
                    <a:lnTo>
                      <a:pt x="764" y="42"/>
                    </a:lnTo>
                    <a:lnTo>
                      <a:pt x="776" y="42"/>
                    </a:lnTo>
                    <a:lnTo>
                      <a:pt x="787" y="42"/>
                    </a:lnTo>
                    <a:lnTo>
                      <a:pt x="794" y="42"/>
                    </a:lnTo>
                    <a:lnTo>
                      <a:pt x="797" y="44"/>
                    </a:lnTo>
                    <a:lnTo>
                      <a:pt x="799" y="46"/>
                    </a:lnTo>
                    <a:lnTo>
                      <a:pt x="801" y="49"/>
                    </a:lnTo>
                    <a:lnTo>
                      <a:pt x="803" y="53"/>
                    </a:lnTo>
                    <a:lnTo>
                      <a:pt x="806" y="54"/>
                    </a:lnTo>
                    <a:lnTo>
                      <a:pt x="810" y="58"/>
                    </a:lnTo>
                    <a:lnTo>
                      <a:pt x="811" y="53"/>
                    </a:lnTo>
                    <a:lnTo>
                      <a:pt x="813" y="51"/>
                    </a:lnTo>
                    <a:lnTo>
                      <a:pt x="817" y="49"/>
                    </a:lnTo>
                    <a:lnTo>
                      <a:pt x="818" y="47"/>
                    </a:lnTo>
                    <a:lnTo>
                      <a:pt x="824" y="47"/>
                    </a:lnTo>
                    <a:lnTo>
                      <a:pt x="829" y="46"/>
                    </a:lnTo>
                    <a:lnTo>
                      <a:pt x="836" y="60"/>
                    </a:lnTo>
                    <a:lnTo>
                      <a:pt x="843" y="70"/>
                    </a:lnTo>
                    <a:lnTo>
                      <a:pt x="848" y="77"/>
                    </a:lnTo>
                    <a:lnTo>
                      <a:pt x="850" y="72"/>
                    </a:lnTo>
                    <a:lnTo>
                      <a:pt x="851" y="67"/>
                    </a:lnTo>
                    <a:lnTo>
                      <a:pt x="851" y="61"/>
                    </a:lnTo>
                    <a:lnTo>
                      <a:pt x="851" y="54"/>
                    </a:lnTo>
                    <a:lnTo>
                      <a:pt x="845" y="44"/>
                    </a:lnTo>
                    <a:lnTo>
                      <a:pt x="846" y="33"/>
                    </a:lnTo>
                    <a:lnTo>
                      <a:pt x="851" y="23"/>
                    </a:lnTo>
                    <a:close/>
                    <a:moveTo>
                      <a:pt x="871" y="7"/>
                    </a:moveTo>
                    <a:lnTo>
                      <a:pt x="879" y="7"/>
                    </a:lnTo>
                    <a:lnTo>
                      <a:pt x="886" y="9"/>
                    </a:lnTo>
                    <a:lnTo>
                      <a:pt x="893" y="11"/>
                    </a:lnTo>
                    <a:lnTo>
                      <a:pt x="899" y="14"/>
                    </a:lnTo>
                    <a:lnTo>
                      <a:pt x="900" y="19"/>
                    </a:lnTo>
                    <a:lnTo>
                      <a:pt x="900" y="23"/>
                    </a:lnTo>
                    <a:lnTo>
                      <a:pt x="902" y="28"/>
                    </a:lnTo>
                    <a:lnTo>
                      <a:pt x="902" y="35"/>
                    </a:lnTo>
                    <a:lnTo>
                      <a:pt x="897" y="35"/>
                    </a:lnTo>
                    <a:lnTo>
                      <a:pt x="893" y="37"/>
                    </a:lnTo>
                    <a:lnTo>
                      <a:pt x="888" y="37"/>
                    </a:lnTo>
                    <a:lnTo>
                      <a:pt x="883" y="39"/>
                    </a:lnTo>
                    <a:lnTo>
                      <a:pt x="874" y="30"/>
                    </a:lnTo>
                    <a:lnTo>
                      <a:pt x="864" y="23"/>
                    </a:lnTo>
                    <a:lnTo>
                      <a:pt x="871" y="7"/>
                    </a:lnTo>
                    <a:close/>
                    <a:moveTo>
                      <a:pt x="4266" y="0"/>
                    </a:moveTo>
                    <a:lnTo>
                      <a:pt x="4285" y="0"/>
                    </a:lnTo>
                    <a:lnTo>
                      <a:pt x="4301" y="4"/>
                    </a:lnTo>
                    <a:lnTo>
                      <a:pt x="4316" y="7"/>
                    </a:lnTo>
                    <a:lnTo>
                      <a:pt x="4320" y="23"/>
                    </a:lnTo>
                    <a:lnTo>
                      <a:pt x="4269" y="23"/>
                    </a:lnTo>
                    <a:lnTo>
                      <a:pt x="4267" y="18"/>
                    </a:lnTo>
                    <a:lnTo>
                      <a:pt x="4267" y="13"/>
                    </a:lnTo>
                    <a:lnTo>
                      <a:pt x="4266" y="7"/>
                    </a:lnTo>
                    <a:lnTo>
                      <a:pt x="4266"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2" name="Freeform 10">
                <a:extLst>
                  <a:ext uri="{FF2B5EF4-FFF2-40B4-BE49-F238E27FC236}">
                    <a16:creationId xmlns:a16="http://schemas.microsoft.com/office/drawing/2014/main" id="{8A227030-8EC3-8049-B677-98E68719C648}"/>
                  </a:ext>
                </a:extLst>
              </p:cNvPr>
              <p:cNvSpPr>
                <a:spLocks noEditPoints="1"/>
              </p:cNvSpPr>
              <p:nvPr/>
            </p:nvSpPr>
            <p:spPr bwMode="auto">
              <a:xfrm>
                <a:off x="1595438" y="1790700"/>
                <a:ext cx="6908800" cy="3509963"/>
              </a:xfrm>
              <a:custGeom>
                <a:avLst/>
                <a:gdLst>
                  <a:gd name="T0" fmla="*/ 660 w 4352"/>
                  <a:gd name="T1" fmla="*/ 268 h 2211"/>
                  <a:gd name="T2" fmla="*/ 761 w 4352"/>
                  <a:gd name="T3" fmla="*/ 293 h 2211"/>
                  <a:gd name="T4" fmla="*/ 891 w 4352"/>
                  <a:gd name="T5" fmla="*/ 513 h 2211"/>
                  <a:gd name="T6" fmla="*/ 763 w 4352"/>
                  <a:gd name="T7" fmla="*/ 572 h 2211"/>
                  <a:gd name="T8" fmla="*/ 541 w 4352"/>
                  <a:gd name="T9" fmla="*/ 326 h 2211"/>
                  <a:gd name="T10" fmla="*/ 381 w 4352"/>
                  <a:gd name="T11" fmla="*/ 211 h 2211"/>
                  <a:gd name="T12" fmla="*/ 442 w 4352"/>
                  <a:gd name="T13" fmla="*/ 265 h 2211"/>
                  <a:gd name="T14" fmla="*/ 20 w 4352"/>
                  <a:gd name="T15" fmla="*/ 288 h 2211"/>
                  <a:gd name="T16" fmla="*/ 452 w 4352"/>
                  <a:gd name="T17" fmla="*/ 157 h 2211"/>
                  <a:gd name="T18" fmla="*/ 3751 w 4352"/>
                  <a:gd name="T19" fmla="*/ 141 h 2211"/>
                  <a:gd name="T20" fmla="*/ 320 w 4352"/>
                  <a:gd name="T21" fmla="*/ 123 h 2211"/>
                  <a:gd name="T22" fmla="*/ 299 w 4352"/>
                  <a:gd name="T23" fmla="*/ 143 h 2211"/>
                  <a:gd name="T24" fmla="*/ 163 w 4352"/>
                  <a:gd name="T25" fmla="*/ 127 h 2211"/>
                  <a:gd name="T26" fmla="*/ 140 w 4352"/>
                  <a:gd name="T27" fmla="*/ 101 h 2211"/>
                  <a:gd name="T28" fmla="*/ 3675 w 4352"/>
                  <a:gd name="T29" fmla="*/ 153 h 2211"/>
                  <a:gd name="T30" fmla="*/ 639 w 4352"/>
                  <a:gd name="T31" fmla="*/ 162 h 2211"/>
                  <a:gd name="T32" fmla="*/ 508 w 4352"/>
                  <a:gd name="T33" fmla="*/ 150 h 2211"/>
                  <a:gd name="T34" fmla="*/ 404 w 4352"/>
                  <a:gd name="T35" fmla="*/ 89 h 2211"/>
                  <a:gd name="T36" fmla="*/ 180 w 4352"/>
                  <a:gd name="T37" fmla="*/ 82 h 2211"/>
                  <a:gd name="T38" fmla="*/ 2683 w 4352"/>
                  <a:gd name="T39" fmla="*/ 75 h 2211"/>
                  <a:gd name="T40" fmla="*/ 2475 w 4352"/>
                  <a:gd name="T41" fmla="*/ 199 h 2211"/>
                  <a:gd name="T42" fmla="*/ 407 w 4352"/>
                  <a:gd name="T43" fmla="*/ 52 h 2211"/>
                  <a:gd name="T44" fmla="*/ 3303 w 4352"/>
                  <a:gd name="T45" fmla="*/ 117 h 2211"/>
                  <a:gd name="T46" fmla="*/ 3357 w 4352"/>
                  <a:gd name="T47" fmla="*/ 195 h 2211"/>
                  <a:gd name="T48" fmla="*/ 3540 w 4352"/>
                  <a:gd name="T49" fmla="*/ 305 h 2211"/>
                  <a:gd name="T50" fmla="*/ 3767 w 4352"/>
                  <a:gd name="T51" fmla="*/ 261 h 2211"/>
                  <a:gd name="T52" fmla="*/ 4073 w 4352"/>
                  <a:gd name="T53" fmla="*/ 364 h 2211"/>
                  <a:gd name="T54" fmla="*/ 4312 w 4352"/>
                  <a:gd name="T55" fmla="*/ 511 h 2211"/>
                  <a:gd name="T56" fmla="*/ 4193 w 4352"/>
                  <a:gd name="T57" fmla="*/ 539 h 2211"/>
                  <a:gd name="T58" fmla="*/ 4015 w 4352"/>
                  <a:gd name="T59" fmla="*/ 677 h 2211"/>
                  <a:gd name="T60" fmla="*/ 3874 w 4352"/>
                  <a:gd name="T61" fmla="*/ 780 h 2211"/>
                  <a:gd name="T62" fmla="*/ 3928 w 4352"/>
                  <a:gd name="T63" fmla="*/ 640 h 2211"/>
                  <a:gd name="T64" fmla="*/ 3622 w 4352"/>
                  <a:gd name="T65" fmla="*/ 768 h 2211"/>
                  <a:gd name="T66" fmla="*/ 3591 w 4352"/>
                  <a:gd name="T67" fmla="*/ 1045 h 2211"/>
                  <a:gd name="T68" fmla="*/ 3456 w 4352"/>
                  <a:gd name="T69" fmla="*/ 1122 h 2211"/>
                  <a:gd name="T70" fmla="*/ 3402 w 4352"/>
                  <a:gd name="T71" fmla="*/ 1218 h 2211"/>
                  <a:gd name="T72" fmla="*/ 3245 w 4352"/>
                  <a:gd name="T73" fmla="*/ 1413 h 2211"/>
                  <a:gd name="T74" fmla="*/ 3168 w 4352"/>
                  <a:gd name="T75" fmla="*/ 1686 h 2211"/>
                  <a:gd name="T76" fmla="*/ 2987 w 4352"/>
                  <a:gd name="T77" fmla="*/ 1387 h 2211"/>
                  <a:gd name="T78" fmla="*/ 2720 w 4352"/>
                  <a:gd name="T79" fmla="*/ 1406 h 2211"/>
                  <a:gd name="T80" fmla="*/ 2434 w 4352"/>
                  <a:gd name="T81" fmla="*/ 1335 h 2211"/>
                  <a:gd name="T82" fmla="*/ 2339 w 4352"/>
                  <a:gd name="T83" fmla="*/ 1523 h 2211"/>
                  <a:gd name="T84" fmla="*/ 2231 w 4352"/>
                  <a:gd name="T85" fmla="*/ 1378 h 2211"/>
                  <a:gd name="T86" fmla="*/ 2310 w 4352"/>
                  <a:gd name="T87" fmla="*/ 1714 h 2211"/>
                  <a:gd name="T88" fmla="*/ 2001 w 4352"/>
                  <a:gd name="T89" fmla="*/ 2208 h 2211"/>
                  <a:gd name="T90" fmla="*/ 1920 w 4352"/>
                  <a:gd name="T91" fmla="*/ 1862 h 2211"/>
                  <a:gd name="T92" fmla="*/ 1625 w 4352"/>
                  <a:gd name="T93" fmla="*/ 1644 h 2211"/>
                  <a:gd name="T94" fmla="*/ 1636 w 4352"/>
                  <a:gd name="T95" fmla="*/ 1195 h 2211"/>
                  <a:gd name="T96" fmla="*/ 1709 w 4352"/>
                  <a:gd name="T97" fmla="*/ 1028 h 2211"/>
                  <a:gd name="T98" fmla="*/ 1793 w 4352"/>
                  <a:gd name="T99" fmla="*/ 865 h 2211"/>
                  <a:gd name="T100" fmla="*/ 1973 w 4352"/>
                  <a:gd name="T101" fmla="*/ 801 h 2211"/>
                  <a:gd name="T102" fmla="*/ 2118 w 4352"/>
                  <a:gd name="T103" fmla="*/ 659 h 2211"/>
                  <a:gd name="T104" fmla="*/ 1997 w 4352"/>
                  <a:gd name="T105" fmla="*/ 686 h 2211"/>
                  <a:gd name="T106" fmla="*/ 1831 w 4352"/>
                  <a:gd name="T107" fmla="*/ 577 h 2211"/>
                  <a:gd name="T108" fmla="*/ 2041 w 4352"/>
                  <a:gd name="T109" fmla="*/ 342 h 2211"/>
                  <a:gd name="T110" fmla="*/ 2259 w 4352"/>
                  <a:gd name="T111" fmla="*/ 391 h 2211"/>
                  <a:gd name="T112" fmla="*/ 2278 w 4352"/>
                  <a:gd name="T113" fmla="*/ 499 h 2211"/>
                  <a:gd name="T114" fmla="*/ 2439 w 4352"/>
                  <a:gd name="T115" fmla="*/ 387 h 2211"/>
                  <a:gd name="T116" fmla="*/ 2566 w 4352"/>
                  <a:gd name="T117" fmla="*/ 382 h 2211"/>
                  <a:gd name="T118" fmla="*/ 2667 w 4352"/>
                  <a:gd name="T119" fmla="*/ 261 h 2211"/>
                  <a:gd name="T120" fmla="*/ 2737 w 4352"/>
                  <a:gd name="T121" fmla="*/ 467 h 2211"/>
                  <a:gd name="T122" fmla="*/ 2861 w 4352"/>
                  <a:gd name="T123" fmla="*/ 275 h 2211"/>
                  <a:gd name="T124" fmla="*/ 3161 w 4352"/>
                  <a:gd name="T125" fmla="*/ 17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2" h="2211">
                    <a:moveTo>
                      <a:pt x="2697" y="200"/>
                    </a:moveTo>
                    <a:lnTo>
                      <a:pt x="2708" y="204"/>
                    </a:lnTo>
                    <a:lnTo>
                      <a:pt x="2708" y="211"/>
                    </a:lnTo>
                    <a:lnTo>
                      <a:pt x="2704" y="211"/>
                    </a:lnTo>
                    <a:lnTo>
                      <a:pt x="2702" y="213"/>
                    </a:lnTo>
                    <a:lnTo>
                      <a:pt x="2701" y="214"/>
                    </a:lnTo>
                    <a:lnTo>
                      <a:pt x="2699" y="214"/>
                    </a:lnTo>
                    <a:lnTo>
                      <a:pt x="2697" y="214"/>
                    </a:lnTo>
                    <a:lnTo>
                      <a:pt x="2694" y="214"/>
                    </a:lnTo>
                    <a:lnTo>
                      <a:pt x="2694" y="209"/>
                    </a:lnTo>
                    <a:lnTo>
                      <a:pt x="2694" y="206"/>
                    </a:lnTo>
                    <a:lnTo>
                      <a:pt x="2695" y="204"/>
                    </a:lnTo>
                    <a:lnTo>
                      <a:pt x="2697" y="200"/>
                    </a:lnTo>
                    <a:close/>
                    <a:moveTo>
                      <a:pt x="562" y="192"/>
                    </a:moveTo>
                    <a:lnTo>
                      <a:pt x="562" y="195"/>
                    </a:lnTo>
                    <a:lnTo>
                      <a:pt x="566" y="195"/>
                    </a:lnTo>
                    <a:lnTo>
                      <a:pt x="564" y="213"/>
                    </a:lnTo>
                    <a:lnTo>
                      <a:pt x="566" y="228"/>
                    </a:lnTo>
                    <a:lnTo>
                      <a:pt x="573" y="242"/>
                    </a:lnTo>
                    <a:lnTo>
                      <a:pt x="576" y="244"/>
                    </a:lnTo>
                    <a:lnTo>
                      <a:pt x="580" y="244"/>
                    </a:lnTo>
                    <a:lnTo>
                      <a:pt x="583" y="246"/>
                    </a:lnTo>
                    <a:lnTo>
                      <a:pt x="589" y="246"/>
                    </a:lnTo>
                    <a:lnTo>
                      <a:pt x="589" y="204"/>
                    </a:lnTo>
                    <a:lnTo>
                      <a:pt x="615" y="204"/>
                    </a:lnTo>
                    <a:lnTo>
                      <a:pt x="620" y="216"/>
                    </a:lnTo>
                    <a:lnTo>
                      <a:pt x="627" y="228"/>
                    </a:lnTo>
                    <a:lnTo>
                      <a:pt x="634" y="239"/>
                    </a:lnTo>
                    <a:lnTo>
                      <a:pt x="646" y="242"/>
                    </a:lnTo>
                    <a:lnTo>
                      <a:pt x="646" y="247"/>
                    </a:lnTo>
                    <a:lnTo>
                      <a:pt x="648" y="258"/>
                    </a:lnTo>
                    <a:lnTo>
                      <a:pt x="650" y="270"/>
                    </a:lnTo>
                    <a:lnTo>
                      <a:pt x="650" y="277"/>
                    </a:lnTo>
                    <a:lnTo>
                      <a:pt x="653" y="275"/>
                    </a:lnTo>
                    <a:lnTo>
                      <a:pt x="655" y="275"/>
                    </a:lnTo>
                    <a:lnTo>
                      <a:pt x="655" y="275"/>
                    </a:lnTo>
                    <a:lnTo>
                      <a:pt x="657" y="274"/>
                    </a:lnTo>
                    <a:lnTo>
                      <a:pt x="658" y="272"/>
                    </a:lnTo>
                    <a:lnTo>
                      <a:pt x="660" y="268"/>
                    </a:lnTo>
                    <a:lnTo>
                      <a:pt x="662" y="263"/>
                    </a:lnTo>
                    <a:lnTo>
                      <a:pt x="664" y="258"/>
                    </a:lnTo>
                    <a:lnTo>
                      <a:pt x="665" y="254"/>
                    </a:lnTo>
                    <a:lnTo>
                      <a:pt x="669" y="251"/>
                    </a:lnTo>
                    <a:lnTo>
                      <a:pt x="672" y="249"/>
                    </a:lnTo>
                    <a:lnTo>
                      <a:pt x="678" y="247"/>
                    </a:lnTo>
                    <a:lnTo>
                      <a:pt x="681" y="244"/>
                    </a:lnTo>
                    <a:lnTo>
                      <a:pt x="685" y="242"/>
                    </a:lnTo>
                    <a:lnTo>
                      <a:pt x="681" y="242"/>
                    </a:lnTo>
                    <a:lnTo>
                      <a:pt x="681" y="239"/>
                    </a:lnTo>
                    <a:lnTo>
                      <a:pt x="672" y="242"/>
                    </a:lnTo>
                    <a:lnTo>
                      <a:pt x="667" y="246"/>
                    </a:lnTo>
                    <a:lnTo>
                      <a:pt x="660" y="251"/>
                    </a:lnTo>
                    <a:lnTo>
                      <a:pt x="650" y="254"/>
                    </a:lnTo>
                    <a:lnTo>
                      <a:pt x="648" y="239"/>
                    </a:lnTo>
                    <a:lnTo>
                      <a:pt x="646" y="228"/>
                    </a:lnTo>
                    <a:lnTo>
                      <a:pt x="643" y="219"/>
                    </a:lnTo>
                    <a:lnTo>
                      <a:pt x="639" y="207"/>
                    </a:lnTo>
                    <a:lnTo>
                      <a:pt x="643" y="206"/>
                    </a:lnTo>
                    <a:lnTo>
                      <a:pt x="644" y="206"/>
                    </a:lnTo>
                    <a:lnTo>
                      <a:pt x="648" y="204"/>
                    </a:lnTo>
                    <a:lnTo>
                      <a:pt x="653" y="204"/>
                    </a:lnTo>
                    <a:lnTo>
                      <a:pt x="658" y="207"/>
                    </a:lnTo>
                    <a:lnTo>
                      <a:pt x="662" y="209"/>
                    </a:lnTo>
                    <a:lnTo>
                      <a:pt x="667" y="211"/>
                    </a:lnTo>
                    <a:lnTo>
                      <a:pt x="672" y="213"/>
                    </a:lnTo>
                    <a:lnTo>
                      <a:pt x="678" y="214"/>
                    </a:lnTo>
                    <a:lnTo>
                      <a:pt x="685" y="226"/>
                    </a:lnTo>
                    <a:lnTo>
                      <a:pt x="692" y="240"/>
                    </a:lnTo>
                    <a:lnTo>
                      <a:pt x="697" y="253"/>
                    </a:lnTo>
                    <a:lnTo>
                      <a:pt x="704" y="261"/>
                    </a:lnTo>
                    <a:lnTo>
                      <a:pt x="707" y="263"/>
                    </a:lnTo>
                    <a:lnTo>
                      <a:pt x="713" y="263"/>
                    </a:lnTo>
                    <a:lnTo>
                      <a:pt x="718" y="263"/>
                    </a:lnTo>
                    <a:lnTo>
                      <a:pt x="723" y="263"/>
                    </a:lnTo>
                    <a:lnTo>
                      <a:pt x="726" y="263"/>
                    </a:lnTo>
                    <a:lnTo>
                      <a:pt x="730" y="265"/>
                    </a:lnTo>
                    <a:lnTo>
                      <a:pt x="747" y="277"/>
                    </a:lnTo>
                    <a:lnTo>
                      <a:pt x="761" y="293"/>
                    </a:lnTo>
                    <a:lnTo>
                      <a:pt x="777" y="307"/>
                    </a:lnTo>
                    <a:lnTo>
                      <a:pt x="777" y="319"/>
                    </a:lnTo>
                    <a:lnTo>
                      <a:pt x="791" y="324"/>
                    </a:lnTo>
                    <a:lnTo>
                      <a:pt x="803" y="331"/>
                    </a:lnTo>
                    <a:lnTo>
                      <a:pt x="810" y="342"/>
                    </a:lnTo>
                    <a:lnTo>
                      <a:pt x="819" y="354"/>
                    </a:lnTo>
                    <a:lnTo>
                      <a:pt x="826" y="366"/>
                    </a:lnTo>
                    <a:lnTo>
                      <a:pt x="835" y="377"/>
                    </a:lnTo>
                    <a:lnTo>
                      <a:pt x="829" y="384"/>
                    </a:lnTo>
                    <a:lnTo>
                      <a:pt x="826" y="387"/>
                    </a:lnTo>
                    <a:lnTo>
                      <a:pt x="824" y="392"/>
                    </a:lnTo>
                    <a:lnTo>
                      <a:pt x="822" y="396"/>
                    </a:lnTo>
                    <a:lnTo>
                      <a:pt x="829" y="408"/>
                    </a:lnTo>
                    <a:lnTo>
                      <a:pt x="840" y="417"/>
                    </a:lnTo>
                    <a:lnTo>
                      <a:pt x="854" y="422"/>
                    </a:lnTo>
                    <a:lnTo>
                      <a:pt x="854" y="427"/>
                    </a:lnTo>
                    <a:lnTo>
                      <a:pt x="854" y="429"/>
                    </a:lnTo>
                    <a:lnTo>
                      <a:pt x="856" y="431"/>
                    </a:lnTo>
                    <a:lnTo>
                      <a:pt x="856" y="432"/>
                    </a:lnTo>
                    <a:lnTo>
                      <a:pt x="857" y="434"/>
                    </a:lnTo>
                    <a:lnTo>
                      <a:pt x="861" y="436"/>
                    </a:lnTo>
                    <a:lnTo>
                      <a:pt x="864" y="439"/>
                    </a:lnTo>
                    <a:lnTo>
                      <a:pt x="870" y="441"/>
                    </a:lnTo>
                    <a:lnTo>
                      <a:pt x="873" y="443"/>
                    </a:lnTo>
                    <a:lnTo>
                      <a:pt x="877" y="446"/>
                    </a:lnTo>
                    <a:lnTo>
                      <a:pt x="878" y="448"/>
                    </a:lnTo>
                    <a:lnTo>
                      <a:pt x="880" y="452"/>
                    </a:lnTo>
                    <a:lnTo>
                      <a:pt x="878" y="453"/>
                    </a:lnTo>
                    <a:lnTo>
                      <a:pt x="878" y="455"/>
                    </a:lnTo>
                    <a:lnTo>
                      <a:pt x="878" y="455"/>
                    </a:lnTo>
                    <a:lnTo>
                      <a:pt x="878" y="457"/>
                    </a:lnTo>
                    <a:lnTo>
                      <a:pt x="880" y="459"/>
                    </a:lnTo>
                    <a:lnTo>
                      <a:pt x="884" y="460"/>
                    </a:lnTo>
                    <a:lnTo>
                      <a:pt x="889" y="462"/>
                    </a:lnTo>
                    <a:lnTo>
                      <a:pt x="892" y="464"/>
                    </a:lnTo>
                    <a:lnTo>
                      <a:pt x="898" y="464"/>
                    </a:lnTo>
                    <a:lnTo>
                      <a:pt x="903" y="464"/>
                    </a:lnTo>
                    <a:lnTo>
                      <a:pt x="896" y="511"/>
                    </a:lnTo>
                    <a:lnTo>
                      <a:pt x="891" y="513"/>
                    </a:lnTo>
                    <a:lnTo>
                      <a:pt x="885" y="513"/>
                    </a:lnTo>
                    <a:lnTo>
                      <a:pt x="880" y="514"/>
                    </a:lnTo>
                    <a:lnTo>
                      <a:pt x="873" y="514"/>
                    </a:lnTo>
                    <a:lnTo>
                      <a:pt x="866" y="506"/>
                    </a:lnTo>
                    <a:lnTo>
                      <a:pt x="857" y="497"/>
                    </a:lnTo>
                    <a:lnTo>
                      <a:pt x="850" y="488"/>
                    </a:lnTo>
                    <a:lnTo>
                      <a:pt x="845" y="476"/>
                    </a:lnTo>
                    <a:lnTo>
                      <a:pt x="838" y="476"/>
                    </a:lnTo>
                    <a:lnTo>
                      <a:pt x="833" y="478"/>
                    </a:lnTo>
                    <a:lnTo>
                      <a:pt x="828" y="478"/>
                    </a:lnTo>
                    <a:lnTo>
                      <a:pt x="822" y="480"/>
                    </a:lnTo>
                    <a:lnTo>
                      <a:pt x="831" y="507"/>
                    </a:lnTo>
                    <a:lnTo>
                      <a:pt x="838" y="537"/>
                    </a:lnTo>
                    <a:lnTo>
                      <a:pt x="850" y="537"/>
                    </a:lnTo>
                    <a:lnTo>
                      <a:pt x="857" y="551"/>
                    </a:lnTo>
                    <a:lnTo>
                      <a:pt x="863" y="565"/>
                    </a:lnTo>
                    <a:lnTo>
                      <a:pt x="864" y="584"/>
                    </a:lnTo>
                    <a:lnTo>
                      <a:pt x="863" y="586"/>
                    </a:lnTo>
                    <a:lnTo>
                      <a:pt x="861" y="588"/>
                    </a:lnTo>
                    <a:lnTo>
                      <a:pt x="861" y="590"/>
                    </a:lnTo>
                    <a:lnTo>
                      <a:pt x="859" y="591"/>
                    </a:lnTo>
                    <a:lnTo>
                      <a:pt x="857" y="593"/>
                    </a:lnTo>
                    <a:lnTo>
                      <a:pt x="854" y="595"/>
                    </a:lnTo>
                    <a:lnTo>
                      <a:pt x="847" y="591"/>
                    </a:lnTo>
                    <a:lnTo>
                      <a:pt x="838" y="586"/>
                    </a:lnTo>
                    <a:lnTo>
                      <a:pt x="829" y="581"/>
                    </a:lnTo>
                    <a:lnTo>
                      <a:pt x="822" y="577"/>
                    </a:lnTo>
                    <a:lnTo>
                      <a:pt x="819" y="576"/>
                    </a:lnTo>
                    <a:lnTo>
                      <a:pt x="816" y="576"/>
                    </a:lnTo>
                    <a:lnTo>
                      <a:pt x="826" y="590"/>
                    </a:lnTo>
                    <a:lnTo>
                      <a:pt x="835" y="602"/>
                    </a:lnTo>
                    <a:lnTo>
                      <a:pt x="842" y="617"/>
                    </a:lnTo>
                    <a:lnTo>
                      <a:pt x="838" y="617"/>
                    </a:lnTo>
                    <a:lnTo>
                      <a:pt x="826" y="612"/>
                    </a:lnTo>
                    <a:lnTo>
                      <a:pt x="810" y="609"/>
                    </a:lnTo>
                    <a:lnTo>
                      <a:pt x="793" y="605"/>
                    </a:lnTo>
                    <a:lnTo>
                      <a:pt x="781" y="598"/>
                    </a:lnTo>
                    <a:lnTo>
                      <a:pt x="770" y="588"/>
                    </a:lnTo>
                    <a:lnTo>
                      <a:pt x="763" y="572"/>
                    </a:lnTo>
                    <a:lnTo>
                      <a:pt x="756" y="558"/>
                    </a:lnTo>
                    <a:lnTo>
                      <a:pt x="746" y="544"/>
                    </a:lnTo>
                    <a:lnTo>
                      <a:pt x="735" y="534"/>
                    </a:lnTo>
                    <a:lnTo>
                      <a:pt x="720" y="542"/>
                    </a:lnTo>
                    <a:lnTo>
                      <a:pt x="702" y="548"/>
                    </a:lnTo>
                    <a:lnTo>
                      <a:pt x="681" y="549"/>
                    </a:lnTo>
                    <a:lnTo>
                      <a:pt x="679" y="544"/>
                    </a:lnTo>
                    <a:lnTo>
                      <a:pt x="678" y="539"/>
                    </a:lnTo>
                    <a:lnTo>
                      <a:pt x="678" y="534"/>
                    </a:lnTo>
                    <a:lnTo>
                      <a:pt x="678" y="527"/>
                    </a:lnTo>
                    <a:lnTo>
                      <a:pt x="693" y="521"/>
                    </a:lnTo>
                    <a:lnTo>
                      <a:pt x="713" y="516"/>
                    </a:lnTo>
                    <a:lnTo>
                      <a:pt x="730" y="511"/>
                    </a:lnTo>
                    <a:lnTo>
                      <a:pt x="735" y="501"/>
                    </a:lnTo>
                    <a:lnTo>
                      <a:pt x="740" y="487"/>
                    </a:lnTo>
                    <a:lnTo>
                      <a:pt x="746" y="471"/>
                    </a:lnTo>
                    <a:lnTo>
                      <a:pt x="749" y="455"/>
                    </a:lnTo>
                    <a:lnTo>
                      <a:pt x="751" y="443"/>
                    </a:lnTo>
                    <a:lnTo>
                      <a:pt x="749" y="434"/>
                    </a:lnTo>
                    <a:lnTo>
                      <a:pt x="742" y="422"/>
                    </a:lnTo>
                    <a:lnTo>
                      <a:pt x="733" y="415"/>
                    </a:lnTo>
                    <a:lnTo>
                      <a:pt x="723" y="408"/>
                    </a:lnTo>
                    <a:lnTo>
                      <a:pt x="716" y="399"/>
                    </a:lnTo>
                    <a:lnTo>
                      <a:pt x="707" y="357"/>
                    </a:lnTo>
                    <a:lnTo>
                      <a:pt x="693" y="354"/>
                    </a:lnTo>
                    <a:lnTo>
                      <a:pt x="683" y="347"/>
                    </a:lnTo>
                    <a:lnTo>
                      <a:pt x="674" y="340"/>
                    </a:lnTo>
                    <a:lnTo>
                      <a:pt x="665" y="338"/>
                    </a:lnTo>
                    <a:lnTo>
                      <a:pt x="657" y="342"/>
                    </a:lnTo>
                    <a:lnTo>
                      <a:pt x="651" y="347"/>
                    </a:lnTo>
                    <a:lnTo>
                      <a:pt x="646" y="352"/>
                    </a:lnTo>
                    <a:lnTo>
                      <a:pt x="639" y="357"/>
                    </a:lnTo>
                    <a:lnTo>
                      <a:pt x="627" y="361"/>
                    </a:lnTo>
                    <a:lnTo>
                      <a:pt x="615" y="354"/>
                    </a:lnTo>
                    <a:lnTo>
                      <a:pt x="599" y="349"/>
                    </a:lnTo>
                    <a:lnTo>
                      <a:pt x="582" y="345"/>
                    </a:lnTo>
                    <a:lnTo>
                      <a:pt x="566" y="340"/>
                    </a:lnTo>
                    <a:lnTo>
                      <a:pt x="552" y="335"/>
                    </a:lnTo>
                    <a:lnTo>
                      <a:pt x="541" y="326"/>
                    </a:lnTo>
                    <a:lnTo>
                      <a:pt x="534" y="312"/>
                    </a:lnTo>
                    <a:lnTo>
                      <a:pt x="536" y="310"/>
                    </a:lnTo>
                    <a:lnTo>
                      <a:pt x="536" y="309"/>
                    </a:lnTo>
                    <a:lnTo>
                      <a:pt x="538" y="309"/>
                    </a:lnTo>
                    <a:lnTo>
                      <a:pt x="538" y="307"/>
                    </a:lnTo>
                    <a:lnTo>
                      <a:pt x="538" y="303"/>
                    </a:lnTo>
                    <a:lnTo>
                      <a:pt x="531" y="302"/>
                    </a:lnTo>
                    <a:lnTo>
                      <a:pt x="524" y="300"/>
                    </a:lnTo>
                    <a:lnTo>
                      <a:pt x="519" y="296"/>
                    </a:lnTo>
                    <a:lnTo>
                      <a:pt x="515" y="291"/>
                    </a:lnTo>
                    <a:lnTo>
                      <a:pt x="512" y="284"/>
                    </a:lnTo>
                    <a:lnTo>
                      <a:pt x="521" y="267"/>
                    </a:lnTo>
                    <a:lnTo>
                      <a:pt x="528" y="244"/>
                    </a:lnTo>
                    <a:lnTo>
                      <a:pt x="531" y="219"/>
                    </a:lnTo>
                    <a:lnTo>
                      <a:pt x="534" y="195"/>
                    </a:lnTo>
                    <a:lnTo>
                      <a:pt x="562" y="192"/>
                    </a:lnTo>
                    <a:close/>
                    <a:moveTo>
                      <a:pt x="400" y="188"/>
                    </a:moveTo>
                    <a:lnTo>
                      <a:pt x="416" y="188"/>
                    </a:lnTo>
                    <a:lnTo>
                      <a:pt x="425" y="223"/>
                    </a:lnTo>
                    <a:lnTo>
                      <a:pt x="432" y="261"/>
                    </a:lnTo>
                    <a:lnTo>
                      <a:pt x="428" y="261"/>
                    </a:lnTo>
                    <a:lnTo>
                      <a:pt x="423" y="268"/>
                    </a:lnTo>
                    <a:lnTo>
                      <a:pt x="412" y="265"/>
                    </a:lnTo>
                    <a:lnTo>
                      <a:pt x="409" y="268"/>
                    </a:lnTo>
                    <a:lnTo>
                      <a:pt x="409" y="272"/>
                    </a:lnTo>
                    <a:lnTo>
                      <a:pt x="409" y="275"/>
                    </a:lnTo>
                    <a:lnTo>
                      <a:pt x="409" y="277"/>
                    </a:lnTo>
                    <a:lnTo>
                      <a:pt x="407" y="279"/>
                    </a:lnTo>
                    <a:lnTo>
                      <a:pt x="405" y="282"/>
                    </a:lnTo>
                    <a:lnTo>
                      <a:pt x="400" y="284"/>
                    </a:lnTo>
                    <a:lnTo>
                      <a:pt x="395" y="281"/>
                    </a:lnTo>
                    <a:lnTo>
                      <a:pt x="388" y="275"/>
                    </a:lnTo>
                    <a:lnTo>
                      <a:pt x="381" y="272"/>
                    </a:lnTo>
                    <a:lnTo>
                      <a:pt x="381" y="261"/>
                    </a:lnTo>
                    <a:lnTo>
                      <a:pt x="358" y="258"/>
                    </a:lnTo>
                    <a:lnTo>
                      <a:pt x="362" y="226"/>
                    </a:lnTo>
                    <a:lnTo>
                      <a:pt x="369" y="223"/>
                    </a:lnTo>
                    <a:lnTo>
                      <a:pt x="376" y="218"/>
                    </a:lnTo>
                    <a:lnTo>
                      <a:pt x="381" y="211"/>
                    </a:lnTo>
                    <a:lnTo>
                      <a:pt x="376" y="209"/>
                    </a:lnTo>
                    <a:lnTo>
                      <a:pt x="372" y="207"/>
                    </a:lnTo>
                    <a:lnTo>
                      <a:pt x="369" y="206"/>
                    </a:lnTo>
                    <a:lnTo>
                      <a:pt x="365" y="202"/>
                    </a:lnTo>
                    <a:lnTo>
                      <a:pt x="363" y="199"/>
                    </a:lnTo>
                    <a:lnTo>
                      <a:pt x="362" y="192"/>
                    </a:lnTo>
                    <a:lnTo>
                      <a:pt x="381" y="190"/>
                    </a:lnTo>
                    <a:lnTo>
                      <a:pt x="400" y="188"/>
                    </a:lnTo>
                    <a:close/>
                    <a:moveTo>
                      <a:pt x="3661" y="172"/>
                    </a:moveTo>
                    <a:lnTo>
                      <a:pt x="3673" y="178"/>
                    </a:lnTo>
                    <a:lnTo>
                      <a:pt x="3673" y="185"/>
                    </a:lnTo>
                    <a:lnTo>
                      <a:pt x="3657" y="185"/>
                    </a:lnTo>
                    <a:lnTo>
                      <a:pt x="3661" y="172"/>
                    </a:lnTo>
                    <a:close/>
                    <a:moveTo>
                      <a:pt x="438" y="172"/>
                    </a:moveTo>
                    <a:lnTo>
                      <a:pt x="451" y="174"/>
                    </a:lnTo>
                    <a:lnTo>
                      <a:pt x="465" y="176"/>
                    </a:lnTo>
                    <a:lnTo>
                      <a:pt x="477" y="178"/>
                    </a:lnTo>
                    <a:lnTo>
                      <a:pt x="486" y="181"/>
                    </a:lnTo>
                    <a:lnTo>
                      <a:pt x="487" y="185"/>
                    </a:lnTo>
                    <a:lnTo>
                      <a:pt x="487" y="190"/>
                    </a:lnTo>
                    <a:lnTo>
                      <a:pt x="489" y="197"/>
                    </a:lnTo>
                    <a:lnTo>
                      <a:pt x="489" y="204"/>
                    </a:lnTo>
                    <a:lnTo>
                      <a:pt x="487" y="207"/>
                    </a:lnTo>
                    <a:lnTo>
                      <a:pt x="486" y="211"/>
                    </a:lnTo>
                    <a:lnTo>
                      <a:pt x="484" y="216"/>
                    </a:lnTo>
                    <a:lnTo>
                      <a:pt x="480" y="219"/>
                    </a:lnTo>
                    <a:lnTo>
                      <a:pt x="477" y="221"/>
                    </a:lnTo>
                    <a:lnTo>
                      <a:pt x="473" y="223"/>
                    </a:lnTo>
                    <a:lnTo>
                      <a:pt x="472" y="225"/>
                    </a:lnTo>
                    <a:lnTo>
                      <a:pt x="468" y="226"/>
                    </a:lnTo>
                    <a:lnTo>
                      <a:pt x="466" y="230"/>
                    </a:lnTo>
                    <a:lnTo>
                      <a:pt x="468" y="239"/>
                    </a:lnTo>
                    <a:lnTo>
                      <a:pt x="466" y="249"/>
                    </a:lnTo>
                    <a:lnTo>
                      <a:pt x="465" y="256"/>
                    </a:lnTo>
                    <a:lnTo>
                      <a:pt x="461" y="261"/>
                    </a:lnTo>
                    <a:lnTo>
                      <a:pt x="458" y="263"/>
                    </a:lnTo>
                    <a:lnTo>
                      <a:pt x="454" y="265"/>
                    </a:lnTo>
                    <a:lnTo>
                      <a:pt x="449" y="265"/>
                    </a:lnTo>
                    <a:lnTo>
                      <a:pt x="442" y="265"/>
                    </a:lnTo>
                    <a:lnTo>
                      <a:pt x="438" y="254"/>
                    </a:lnTo>
                    <a:lnTo>
                      <a:pt x="442" y="244"/>
                    </a:lnTo>
                    <a:lnTo>
                      <a:pt x="442" y="232"/>
                    </a:lnTo>
                    <a:lnTo>
                      <a:pt x="438" y="218"/>
                    </a:lnTo>
                    <a:lnTo>
                      <a:pt x="437" y="202"/>
                    </a:lnTo>
                    <a:lnTo>
                      <a:pt x="435" y="188"/>
                    </a:lnTo>
                    <a:lnTo>
                      <a:pt x="438" y="172"/>
                    </a:lnTo>
                    <a:close/>
                    <a:moveTo>
                      <a:pt x="60" y="171"/>
                    </a:moveTo>
                    <a:lnTo>
                      <a:pt x="74" y="172"/>
                    </a:lnTo>
                    <a:lnTo>
                      <a:pt x="74" y="185"/>
                    </a:lnTo>
                    <a:lnTo>
                      <a:pt x="91" y="185"/>
                    </a:lnTo>
                    <a:lnTo>
                      <a:pt x="105" y="185"/>
                    </a:lnTo>
                    <a:lnTo>
                      <a:pt x="121" y="185"/>
                    </a:lnTo>
                    <a:lnTo>
                      <a:pt x="124" y="192"/>
                    </a:lnTo>
                    <a:lnTo>
                      <a:pt x="128" y="200"/>
                    </a:lnTo>
                    <a:lnTo>
                      <a:pt x="131" y="209"/>
                    </a:lnTo>
                    <a:lnTo>
                      <a:pt x="135" y="216"/>
                    </a:lnTo>
                    <a:lnTo>
                      <a:pt x="135" y="219"/>
                    </a:lnTo>
                    <a:lnTo>
                      <a:pt x="124" y="232"/>
                    </a:lnTo>
                    <a:lnTo>
                      <a:pt x="110" y="237"/>
                    </a:lnTo>
                    <a:lnTo>
                      <a:pt x="96" y="242"/>
                    </a:lnTo>
                    <a:lnTo>
                      <a:pt x="88" y="258"/>
                    </a:lnTo>
                    <a:lnTo>
                      <a:pt x="81" y="272"/>
                    </a:lnTo>
                    <a:lnTo>
                      <a:pt x="79" y="288"/>
                    </a:lnTo>
                    <a:lnTo>
                      <a:pt x="82" y="303"/>
                    </a:lnTo>
                    <a:lnTo>
                      <a:pt x="67" y="305"/>
                    </a:lnTo>
                    <a:lnTo>
                      <a:pt x="53" y="310"/>
                    </a:lnTo>
                    <a:lnTo>
                      <a:pt x="35" y="315"/>
                    </a:lnTo>
                    <a:lnTo>
                      <a:pt x="34" y="312"/>
                    </a:lnTo>
                    <a:lnTo>
                      <a:pt x="32" y="309"/>
                    </a:lnTo>
                    <a:lnTo>
                      <a:pt x="30" y="307"/>
                    </a:lnTo>
                    <a:lnTo>
                      <a:pt x="30" y="303"/>
                    </a:lnTo>
                    <a:lnTo>
                      <a:pt x="28" y="300"/>
                    </a:lnTo>
                    <a:lnTo>
                      <a:pt x="30" y="298"/>
                    </a:lnTo>
                    <a:lnTo>
                      <a:pt x="30" y="296"/>
                    </a:lnTo>
                    <a:lnTo>
                      <a:pt x="30" y="295"/>
                    </a:lnTo>
                    <a:lnTo>
                      <a:pt x="32" y="291"/>
                    </a:lnTo>
                    <a:lnTo>
                      <a:pt x="32" y="288"/>
                    </a:lnTo>
                    <a:lnTo>
                      <a:pt x="20" y="288"/>
                    </a:lnTo>
                    <a:lnTo>
                      <a:pt x="20" y="282"/>
                    </a:lnTo>
                    <a:lnTo>
                      <a:pt x="20" y="281"/>
                    </a:lnTo>
                    <a:lnTo>
                      <a:pt x="18" y="279"/>
                    </a:lnTo>
                    <a:lnTo>
                      <a:pt x="18" y="277"/>
                    </a:lnTo>
                    <a:lnTo>
                      <a:pt x="16" y="275"/>
                    </a:lnTo>
                    <a:lnTo>
                      <a:pt x="13" y="272"/>
                    </a:lnTo>
                    <a:lnTo>
                      <a:pt x="11" y="272"/>
                    </a:lnTo>
                    <a:lnTo>
                      <a:pt x="9" y="272"/>
                    </a:lnTo>
                    <a:lnTo>
                      <a:pt x="9" y="272"/>
                    </a:lnTo>
                    <a:lnTo>
                      <a:pt x="7" y="272"/>
                    </a:lnTo>
                    <a:lnTo>
                      <a:pt x="6" y="272"/>
                    </a:lnTo>
                    <a:lnTo>
                      <a:pt x="0" y="272"/>
                    </a:lnTo>
                    <a:lnTo>
                      <a:pt x="0" y="261"/>
                    </a:lnTo>
                    <a:lnTo>
                      <a:pt x="13" y="247"/>
                    </a:lnTo>
                    <a:lnTo>
                      <a:pt x="21" y="228"/>
                    </a:lnTo>
                    <a:lnTo>
                      <a:pt x="28" y="207"/>
                    </a:lnTo>
                    <a:lnTo>
                      <a:pt x="23" y="204"/>
                    </a:lnTo>
                    <a:lnTo>
                      <a:pt x="21" y="199"/>
                    </a:lnTo>
                    <a:lnTo>
                      <a:pt x="20" y="195"/>
                    </a:lnTo>
                    <a:lnTo>
                      <a:pt x="18" y="188"/>
                    </a:lnTo>
                    <a:lnTo>
                      <a:pt x="16" y="181"/>
                    </a:lnTo>
                    <a:lnTo>
                      <a:pt x="30" y="178"/>
                    </a:lnTo>
                    <a:lnTo>
                      <a:pt x="41" y="176"/>
                    </a:lnTo>
                    <a:lnTo>
                      <a:pt x="49" y="172"/>
                    </a:lnTo>
                    <a:lnTo>
                      <a:pt x="60" y="171"/>
                    </a:lnTo>
                    <a:close/>
                    <a:moveTo>
                      <a:pt x="1556" y="130"/>
                    </a:moveTo>
                    <a:lnTo>
                      <a:pt x="1571" y="130"/>
                    </a:lnTo>
                    <a:lnTo>
                      <a:pt x="1571" y="134"/>
                    </a:lnTo>
                    <a:lnTo>
                      <a:pt x="1568" y="134"/>
                    </a:lnTo>
                    <a:lnTo>
                      <a:pt x="1564" y="136"/>
                    </a:lnTo>
                    <a:lnTo>
                      <a:pt x="1563" y="136"/>
                    </a:lnTo>
                    <a:lnTo>
                      <a:pt x="1563" y="136"/>
                    </a:lnTo>
                    <a:lnTo>
                      <a:pt x="1561" y="136"/>
                    </a:lnTo>
                    <a:lnTo>
                      <a:pt x="1561" y="136"/>
                    </a:lnTo>
                    <a:lnTo>
                      <a:pt x="1559" y="134"/>
                    </a:lnTo>
                    <a:lnTo>
                      <a:pt x="1556" y="130"/>
                    </a:lnTo>
                    <a:close/>
                    <a:moveTo>
                      <a:pt x="454" y="130"/>
                    </a:moveTo>
                    <a:lnTo>
                      <a:pt x="458" y="153"/>
                    </a:lnTo>
                    <a:lnTo>
                      <a:pt x="452" y="157"/>
                    </a:lnTo>
                    <a:lnTo>
                      <a:pt x="449" y="158"/>
                    </a:lnTo>
                    <a:lnTo>
                      <a:pt x="445" y="160"/>
                    </a:lnTo>
                    <a:lnTo>
                      <a:pt x="440" y="164"/>
                    </a:lnTo>
                    <a:lnTo>
                      <a:pt x="435" y="165"/>
                    </a:lnTo>
                    <a:lnTo>
                      <a:pt x="433" y="164"/>
                    </a:lnTo>
                    <a:lnTo>
                      <a:pt x="432" y="164"/>
                    </a:lnTo>
                    <a:lnTo>
                      <a:pt x="430" y="162"/>
                    </a:lnTo>
                    <a:lnTo>
                      <a:pt x="428" y="162"/>
                    </a:lnTo>
                    <a:lnTo>
                      <a:pt x="423" y="162"/>
                    </a:lnTo>
                    <a:lnTo>
                      <a:pt x="423" y="158"/>
                    </a:lnTo>
                    <a:lnTo>
                      <a:pt x="423" y="157"/>
                    </a:lnTo>
                    <a:lnTo>
                      <a:pt x="421" y="157"/>
                    </a:lnTo>
                    <a:lnTo>
                      <a:pt x="421" y="155"/>
                    </a:lnTo>
                    <a:lnTo>
                      <a:pt x="419" y="153"/>
                    </a:lnTo>
                    <a:lnTo>
                      <a:pt x="419" y="146"/>
                    </a:lnTo>
                    <a:lnTo>
                      <a:pt x="428" y="141"/>
                    </a:lnTo>
                    <a:lnTo>
                      <a:pt x="435" y="136"/>
                    </a:lnTo>
                    <a:lnTo>
                      <a:pt x="442" y="132"/>
                    </a:lnTo>
                    <a:lnTo>
                      <a:pt x="454" y="130"/>
                    </a:lnTo>
                    <a:close/>
                    <a:moveTo>
                      <a:pt x="109" y="127"/>
                    </a:moveTo>
                    <a:lnTo>
                      <a:pt x="112" y="127"/>
                    </a:lnTo>
                    <a:lnTo>
                      <a:pt x="116" y="129"/>
                    </a:lnTo>
                    <a:lnTo>
                      <a:pt x="117" y="129"/>
                    </a:lnTo>
                    <a:lnTo>
                      <a:pt x="117" y="129"/>
                    </a:lnTo>
                    <a:lnTo>
                      <a:pt x="117" y="129"/>
                    </a:lnTo>
                    <a:lnTo>
                      <a:pt x="119" y="130"/>
                    </a:lnTo>
                    <a:lnTo>
                      <a:pt x="121" y="134"/>
                    </a:lnTo>
                    <a:lnTo>
                      <a:pt x="109" y="134"/>
                    </a:lnTo>
                    <a:lnTo>
                      <a:pt x="109" y="127"/>
                    </a:lnTo>
                    <a:close/>
                    <a:moveTo>
                      <a:pt x="3744" y="115"/>
                    </a:moveTo>
                    <a:lnTo>
                      <a:pt x="3760" y="117"/>
                    </a:lnTo>
                    <a:lnTo>
                      <a:pt x="3776" y="120"/>
                    </a:lnTo>
                    <a:lnTo>
                      <a:pt x="3790" y="125"/>
                    </a:lnTo>
                    <a:lnTo>
                      <a:pt x="3800" y="134"/>
                    </a:lnTo>
                    <a:lnTo>
                      <a:pt x="3807" y="146"/>
                    </a:lnTo>
                    <a:lnTo>
                      <a:pt x="3811" y="162"/>
                    </a:lnTo>
                    <a:lnTo>
                      <a:pt x="3788" y="158"/>
                    </a:lnTo>
                    <a:lnTo>
                      <a:pt x="3767" y="151"/>
                    </a:lnTo>
                    <a:lnTo>
                      <a:pt x="3751" y="141"/>
                    </a:lnTo>
                    <a:lnTo>
                      <a:pt x="3741" y="127"/>
                    </a:lnTo>
                    <a:lnTo>
                      <a:pt x="3743" y="125"/>
                    </a:lnTo>
                    <a:lnTo>
                      <a:pt x="3743" y="123"/>
                    </a:lnTo>
                    <a:lnTo>
                      <a:pt x="3744" y="122"/>
                    </a:lnTo>
                    <a:lnTo>
                      <a:pt x="3744" y="118"/>
                    </a:lnTo>
                    <a:lnTo>
                      <a:pt x="3744" y="115"/>
                    </a:lnTo>
                    <a:close/>
                    <a:moveTo>
                      <a:pt x="384" y="104"/>
                    </a:moveTo>
                    <a:lnTo>
                      <a:pt x="390" y="104"/>
                    </a:lnTo>
                    <a:lnTo>
                      <a:pt x="391" y="104"/>
                    </a:lnTo>
                    <a:lnTo>
                      <a:pt x="393" y="106"/>
                    </a:lnTo>
                    <a:lnTo>
                      <a:pt x="395" y="106"/>
                    </a:lnTo>
                    <a:lnTo>
                      <a:pt x="397" y="108"/>
                    </a:lnTo>
                    <a:lnTo>
                      <a:pt x="398" y="111"/>
                    </a:lnTo>
                    <a:lnTo>
                      <a:pt x="400" y="113"/>
                    </a:lnTo>
                    <a:lnTo>
                      <a:pt x="400" y="118"/>
                    </a:lnTo>
                    <a:lnTo>
                      <a:pt x="400" y="123"/>
                    </a:lnTo>
                    <a:lnTo>
                      <a:pt x="397" y="134"/>
                    </a:lnTo>
                    <a:lnTo>
                      <a:pt x="395" y="150"/>
                    </a:lnTo>
                    <a:lnTo>
                      <a:pt x="393" y="162"/>
                    </a:lnTo>
                    <a:lnTo>
                      <a:pt x="388" y="164"/>
                    </a:lnTo>
                    <a:lnTo>
                      <a:pt x="384" y="165"/>
                    </a:lnTo>
                    <a:lnTo>
                      <a:pt x="381" y="169"/>
                    </a:lnTo>
                    <a:lnTo>
                      <a:pt x="377" y="169"/>
                    </a:lnTo>
                    <a:lnTo>
                      <a:pt x="377" y="167"/>
                    </a:lnTo>
                    <a:lnTo>
                      <a:pt x="376" y="167"/>
                    </a:lnTo>
                    <a:lnTo>
                      <a:pt x="376" y="167"/>
                    </a:lnTo>
                    <a:lnTo>
                      <a:pt x="374" y="165"/>
                    </a:lnTo>
                    <a:lnTo>
                      <a:pt x="370" y="162"/>
                    </a:lnTo>
                    <a:lnTo>
                      <a:pt x="369" y="158"/>
                    </a:lnTo>
                    <a:lnTo>
                      <a:pt x="369" y="153"/>
                    </a:lnTo>
                    <a:lnTo>
                      <a:pt x="369" y="150"/>
                    </a:lnTo>
                    <a:lnTo>
                      <a:pt x="365" y="146"/>
                    </a:lnTo>
                    <a:lnTo>
                      <a:pt x="358" y="141"/>
                    </a:lnTo>
                    <a:lnTo>
                      <a:pt x="349" y="139"/>
                    </a:lnTo>
                    <a:lnTo>
                      <a:pt x="341" y="141"/>
                    </a:lnTo>
                    <a:lnTo>
                      <a:pt x="332" y="139"/>
                    </a:lnTo>
                    <a:lnTo>
                      <a:pt x="323" y="134"/>
                    </a:lnTo>
                    <a:lnTo>
                      <a:pt x="316" y="123"/>
                    </a:lnTo>
                    <a:lnTo>
                      <a:pt x="320" y="123"/>
                    </a:lnTo>
                    <a:lnTo>
                      <a:pt x="322" y="120"/>
                    </a:lnTo>
                    <a:lnTo>
                      <a:pt x="323" y="118"/>
                    </a:lnTo>
                    <a:lnTo>
                      <a:pt x="323" y="117"/>
                    </a:lnTo>
                    <a:lnTo>
                      <a:pt x="325" y="117"/>
                    </a:lnTo>
                    <a:lnTo>
                      <a:pt x="327" y="117"/>
                    </a:lnTo>
                    <a:lnTo>
                      <a:pt x="330" y="117"/>
                    </a:lnTo>
                    <a:lnTo>
                      <a:pt x="336" y="115"/>
                    </a:lnTo>
                    <a:lnTo>
                      <a:pt x="346" y="118"/>
                    </a:lnTo>
                    <a:lnTo>
                      <a:pt x="358" y="117"/>
                    </a:lnTo>
                    <a:lnTo>
                      <a:pt x="372" y="115"/>
                    </a:lnTo>
                    <a:lnTo>
                      <a:pt x="384" y="115"/>
                    </a:lnTo>
                    <a:lnTo>
                      <a:pt x="384" y="104"/>
                    </a:lnTo>
                    <a:close/>
                    <a:moveTo>
                      <a:pt x="255" y="101"/>
                    </a:moveTo>
                    <a:lnTo>
                      <a:pt x="257" y="104"/>
                    </a:lnTo>
                    <a:lnTo>
                      <a:pt x="259" y="106"/>
                    </a:lnTo>
                    <a:lnTo>
                      <a:pt x="260" y="110"/>
                    </a:lnTo>
                    <a:lnTo>
                      <a:pt x="260" y="113"/>
                    </a:lnTo>
                    <a:lnTo>
                      <a:pt x="262" y="117"/>
                    </a:lnTo>
                    <a:lnTo>
                      <a:pt x="262" y="123"/>
                    </a:lnTo>
                    <a:lnTo>
                      <a:pt x="259" y="123"/>
                    </a:lnTo>
                    <a:lnTo>
                      <a:pt x="259" y="127"/>
                    </a:lnTo>
                    <a:lnTo>
                      <a:pt x="262" y="127"/>
                    </a:lnTo>
                    <a:lnTo>
                      <a:pt x="267" y="129"/>
                    </a:lnTo>
                    <a:lnTo>
                      <a:pt x="273" y="130"/>
                    </a:lnTo>
                    <a:lnTo>
                      <a:pt x="278" y="130"/>
                    </a:lnTo>
                    <a:lnTo>
                      <a:pt x="285" y="130"/>
                    </a:lnTo>
                    <a:lnTo>
                      <a:pt x="288" y="127"/>
                    </a:lnTo>
                    <a:lnTo>
                      <a:pt x="290" y="125"/>
                    </a:lnTo>
                    <a:lnTo>
                      <a:pt x="290" y="125"/>
                    </a:lnTo>
                    <a:lnTo>
                      <a:pt x="292" y="125"/>
                    </a:lnTo>
                    <a:lnTo>
                      <a:pt x="294" y="125"/>
                    </a:lnTo>
                    <a:lnTo>
                      <a:pt x="297" y="127"/>
                    </a:lnTo>
                    <a:lnTo>
                      <a:pt x="299" y="129"/>
                    </a:lnTo>
                    <a:lnTo>
                      <a:pt x="299" y="130"/>
                    </a:lnTo>
                    <a:lnTo>
                      <a:pt x="299" y="132"/>
                    </a:lnTo>
                    <a:lnTo>
                      <a:pt x="301" y="134"/>
                    </a:lnTo>
                    <a:lnTo>
                      <a:pt x="301" y="137"/>
                    </a:lnTo>
                    <a:lnTo>
                      <a:pt x="299" y="141"/>
                    </a:lnTo>
                    <a:lnTo>
                      <a:pt x="299" y="143"/>
                    </a:lnTo>
                    <a:lnTo>
                      <a:pt x="299" y="143"/>
                    </a:lnTo>
                    <a:lnTo>
                      <a:pt x="299" y="144"/>
                    </a:lnTo>
                    <a:lnTo>
                      <a:pt x="299" y="146"/>
                    </a:lnTo>
                    <a:lnTo>
                      <a:pt x="297" y="150"/>
                    </a:lnTo>
                    <a:lnTo>
                      <a:pt x="287" y="155"/>
                    </a:lnTo>
                    <a:lnTo>
                      <a:pt x="274" y="155"/>
                    </a:lnTo>
                    <a:lnTo>
                      <a:pt x="260" y="155"/>
                    </a:lnTo>
                    <a:lnTo>
                      <a:pt x="246" y="158"/>
                    </a:lnTo>
                    <a:lnTo>
                      <a:pt x="236" y="165"/>
                    </a:lnTo>
                    <a:lnTo>
                      <a:pt x="224" y="174"/>
                    </a:lnTo>
                    <a:lnTo>
                      <a:pt x="213" y="183"/>
                    </a:lnTo>
                    <a:lnTo>
                      <a:pt x="198" y="188"/>
                    </a:lnTo>
                    <a:lnTo>
                      <a:pt x="196" y="185"/>
                    </a:lnTo>
                    <a:lnTo>
                      <a:pt x="194" y="181"/>
                    </a:lnTo>
                    <a:lnTo>
                      <a:pt x="194" y="178"/>
                    </a:lnTo>
                    <a:lnTo>
                      <a:pt x="192" y="172"/>
                    </a:lnTo>
                    <a:lnTo>
                      <a:pt x="198" y="169"/>
                    </a:lnTo>
                    <a:lnTo>
                      <a:pt x="203" y="165"/>
                    </a:lnTo>
                    <a:lnTo>
                      <a:pt x="206" y="160"/>
                    </a:lnTo>
                    <a:lnTo>
                      <a:pt x="210" y="155"/>
                    </a:lnTo>
                    <a:lnTo>
                      <a:pt x="212" y="150"/>
                    </a:lnTo>
                    <a:lnTo>
                      <a:pt x="192" y="150"/>
                    </a:lnTo>
                    <a:lnTo>
                      <a:pt x="180" y="155"/>
                    </a:lnTo>
                    <a:lnTo>
                      <a:pt x="166" y="157"/>
                    </a:lnTo>
                    <a:lnTo>
                      <a:pt x="150" y="155"/>
                    </a:lnTo>
                    <a:lnTo>
                      <a:pt x="140" y="150"/>
                    </a:lnTo>
                    <a:lnTo>
                      <a:pt x="135" y="150"/>
                    </a:lnTo>
                    <a:lnTo>
                      <a:pt x="135" y="146"/>
                    </a:lnTo>
                    <a:lnTo>
                      <a:pt x="140" y="144"/>
                    </a:lnTo>
                    <a:lnTo>
                      <a:pt x="144" y="143"/>
                    </a:lnTo>
                    <a:lnTo>
                      <a:pt x="145" y="141"/>
                    </a:lnTo>
                    <a:lnTo>
                      <a:pt x="149" y="139"/>
                    </a:lnTo>
                    <a:lnTo>
                      <a:pt x="150" y="134"/>
                    </a:lnTo>
                    <a:lnTo>
                      <a:pt x="147" y="134"/>
                    </a:lnTo>
                    <a:lnTo>
                      <a:pt x="147" y="130"/>
                    </a:lnTo>
                    <a:lnTo>
                      <a:pt x="152" y="130"/>
                    </a:lnTo>
                    <a:lnTo>
                      <a:pt x="156" y="129"/>
                    </a:lnTo>
                    <a:lnTo>
                      <a:pt x="159" y="129"/>
                    </a:lnTo>
                    <a:lnTo>
                      <a:pt x="163" y="127"/>
                    </a:lnTo>
                    <a:lnTo>
                      <a:pt x="161" y="125"/>
                    </a:lnTo>
                    <a:lnTo>
                      <a:pt x="159" y="123"/>
                    </a:lnTo>
                    <a:lnTo>
                      <a:pt x="157" y="122"/>
                    </a:lnTo>
                    <a:lnTo>
                      <a:pt x="157" y="120"/>
                    </a:lnTo>
                    <a:lnTo>
                      <a:pt x="156" y="118"/>
                    </a:lnTo>
                    <a:lnTo>
                      <a:pt x="154" y="115"/>
                    </a:lnTo>
                    <a:lnTo>
                      <a:pt x="157" y="115"/>
                    </a:lnTo>
                    <a:lnTo>
                      <a:pt x="159" y="113"/>
                    </a:lnTo>
                    <a:lnTo>
                      <a:pt x="159" y="113"/>
                    </a:lnTo>
                    <a:lnTo>
                      <a:pt x="161" y="113"/>
                    </a:lnTo>
                    <a:lnTo>
                      <a:pt x="163" y="111"/>
                    </a:lnTo>
                    <a:lnTo>
                      <a:pt x="182" y="117"/>
                    </a:lnTo>
                    <a:lnTo>
                      <a:pt x="198" y="123"/>
                    </a:lnTo>
                    <a:lnTo>
                      <a:pt x="212" y="130"/>
                    </a:lnTo>
                    <a:lnTo>
                      <a:pt x="227" y="136"/>
                    </a:lnTo>
                    <a:lnTo>
                      <a:pt x="246" y="137"/>
                    </a:lnTo>
                    <a:lnTo>
                      <a:pt x="243" y="129"/>
                    </a:lnTo>
                    <a:lnTo>
                      <a:pt x="240" y="122"/>
                    </a:lnTo>
                    <a:lnTo>
                      <a:pt x="238" y="117"/>
                    </a:lnTo>
                    <a:lnTo>
                      <a:pt x="236" y="104"/>
                    </a:lnTo>
                    <a:lnTo>
                      <a:pt x="240" y="103"/>
                    </a:lnTo>
                    <a:lnTo>
                      <a:pt x="243" y="101"/>
                    </a:lnTo>
                    <a:lnTo>
                      <a:pt x="248" y="101"/>
                    </a:lnTo>
                    <a:lnTo>
                      <a:pt x="255" y="101"/>
                    </a:lnTo>
                    <a:close/>
                    <a:moveTo>
                      <a:pt x="742" y="80"/>
                    </a:moveTo>
                    <a:lnTo>
                      <a:pt x="754" y="85"/>
                    </a:lnTo>
                    <a:lnTo>
                      <a:pt x="754" y="89"/>
                    </a:lnTo>
                    <a:lnTo>
                      <a:pt x="749" y="89"/>
                    </a:lnTo>
                    <a:lnTo>
                      <a:pt x="746" y="89"/>
                    </a:lnTo>
                    <a:lnTo>
                      <a:pt x="744" y="89"/>
                    </a:lnTo>
                    <a:lnTo>
                      <a:pt x="742" y="87"/>
                    </a:lnTo>
                    <a:lnTo>
                      <a:pt x="742" y="87"/>
                    </a:lnTo>
                    <a:lnTo>
                      <a:pt x="742" y="85"/>
                    </a:lnTo>
                    <a:lnTo>
                      <a:pt x="742" y="80"/>
                    </a:lnTo>
                    <a:close/>
                    <a:moveTo>
                      <a:pt x="140" y="80"/>
                    </a:moveTo>
                    <a:lnTo>
                      <a:pt x="140" y="87"/>
                    </a:lnTo>
                    <a:lnTo>
                      <a:pt x="140" y="92"/>
                    </a:lnTo>
                    <a:lnTo>
                      <a:pt x="142" y="97"/>
                    </a:lnTo>
                    <a:lnTo>
                      <a:pt x="140" y="101"/>
                    </a:lnTo>
                    <a:lnTo>
                      <a:pt x="140" y="104"/>
                    </a:lnTo>
                    <a:lnTo>
                      <a:pt x="135" y="108"/>
                    </a:lnTo>
                    <a:lnTo>
                      <a:pt x="130" y="111"/>
                    </a:lnTo>
                    <a:lnTo>
                      <a:pt x="124" y="115"/>
                    </a:lnTo>
                    <a:lnTo>
                      <a:pt x="121" y="120"/>
                    </a:lnTo>
                    <a:lnTo>
                      <a:pt x="114" y="117"/>
                    </a:lnTo>
                    <a:lnTo>
                      <a:pt x="110" y="115"/>
                    </a:lnTo>
                    <a:lnTo>
                      <a:pt x="107" y="113"/>
                    </a:lnTo>
                    <a:lnTo>
                      <a:pt x="105" y="111"/>
                    </a:lnTo>
                    <a:lnTo>
                      <a:pt x="102" y="108"/>
                    </a:lnTo>
                    <a:lnTo>
                      <a:pt x="100" y="125"/>
                    </a:lnTo>
                    <a:lnTo>
                      <a:pt x="95" y="134"/>
                    </a:lnTo>
                    <a:lnTo>
                      <a:pt x="82" y="137"/>
                    </a:lnTo>
                    <a:lnTo>
                      <a:pt x="72" y="137"/>
                    </a:lnTo>
                    <a:lnTo>
                      <a:pt x="61" y="137"/>
                    </a:lnTo>
                    <a:lnTo>
                      <a:pt x="48" y="137"/>
                    </a:lnTo>
                    <a:lnTo>
                      <a:pt x="48" y="123"/>
                    </a:lnTo>
                    <a:lnTo>
                      <a:pt x="67" y="110"/>
                    </a:lnTo>
                    <a:lnTo>
                      <a:pt x="88" y="97"/>
                    </a:lnTo>
                    <a:lnTo>
                      <a:pt x="112" y="87"/>
                    </a:lnTo>
                    <a:lnTo>
                      <a:pt x="140" y="80"/>
                    </a:lnTo>
                    <a:close/>
                    <a:moveTo>
                      <a:pt x="3671" y="80"/>
                    </a:moveTo>
                    <a:lnTo>
                      <a:pt x="3680" y="80"/>
                    </a:lnTo>
                    <a:lnTo>
                      <a:pt x="3683" y="89"/>
                    </a:lnTo>
                    <a:lnTo>
                      <a:pt x="3683" y="99"/>
                    </a:lnTo>
                    <a:lnTo>
                      <a:pt x="3683" y="111"/>
                    </a:lnTo>
                    <a:lnTo>
                      <a:pt x="3699" y="106"/>
                    </a:lnTo>
                    <a:lnTo>
                      <a:pt x="3711" y="99"/>
                    </a:lnTo>
                    <a:lnTo>
                      <a:pt x="3725" y="92"/>
                    </a:lnTo>
                    <a:lnTo>
                      <a:pt x="3725" y="146"/>
                    </a:lnTo>
                    <a:lnTo>
                      <a:pt x="3725" y="148"/>
                    </a:lnTo>
                    <a:lnTo>
                      <a:pt x="3723" y="148"/>
                    </a:lnTo>
                    <a:lnTo>
                      <a:pt x="3723" y="148"/>
                    </a:lnTo>
                    <a:lnTo>
                      <a:pt x="3723" y="148"/>
                    </a:lnTo>
                    <a:lnTo>
                      <a:pt x="3723" y="148"/>
                    </a:lnTo>
                    <a:lnTo>
                      <a:pt x="3722" y="150"/>
                    </a:lnTo>
                    <a:lnTo>
                      <a:pt x="3709" y="150"/>
                    </a:lnTo>
                    <a:lnTo>
                      <a:pt x="3692" y="151"/>
                    </a:lnTo>
                    <a:lnTo>
                      <a:pt x="3675" y="153"/>
                    </a:lnTo>
                    <a:lnTo>
                      <a:pt x="3661" y="155"/>
                    </a:lnTo>
                    <a:lnTo>
                      <a:pt x="3650" y="157"/>
                    </a:lnTo>
                    <a:lnTo>
                      <a:pt x="3645" y="158"/>
                    </a:lnTo>
                    <a:lnTo>
                      <a:pt x="3633" y="148"/>
                    </a:lnTo>
                    <a:lnTo>
                      <a:pt x="3624" y="134"/>
                    </a:lnTo>
                    <a:lnTo>
                      <a:pt x="3619" y="115"/>
                    </a:lnTo>
                    <a:lnTo>
                      <a:pt x="3620" y="110"/>
                    </a:lnTo>
                    <a:lnTo>
                      <a:pt x="3622" y="106"/>
                    </a:lnTo>
                    <a:lnTo>
                      <a:pt x="3624" y="103"/>
                    </a:lnTo>
                    <a:lnTo>
                      <a:pt x="3626" y="99"/>
                    </a:lnTo>
                    <a:lnTo>
                      <a:pt x="3627" y="96"/>
                    </a:lnTo>
                    <a:lnTo>
                      <a:pt x="3634" y="92"/>
                    </a:lnTo>
                    <a:lnTo>
                      <a:pt x="3643" y="87"/>
                    </a:lnTo>
                    <a:lnTo>
                      <a:pt x="3657" y="82"/>
                    </a:lnTo>
                    <a:lnTo>
                      <a:pt x="3671" y="80"/>
                    </a:lnTo>
                    <a:close/>
                    <a:moveTo>
                      <a:pt x="458" y="73"/>
                    </a:moveTo>
                    <a:lnTo>
                      <a:pt x="461" y="83"/>
                    </a:lnTo>
                    <a:lnTo>
                      <a:pt x="468" y="87"/>
                    </a:lnTo>
                    <a:lnTo>
                      <a:pt x="479" y="87"/>
                    </a:lnTo>
                    <a:lnTo>
                      <a:pt x="496" y="85"/>
                    </a:lnTo>
                    <a:lnTo>
                      <a:pt x="496" y="89"/>
                    </a:lnTo>
                    <a:lnTo>
                      <a:pt x="498" y="94"/>
                    </a:lnTo>
                    <a:lnTo>
                      <a:pt x="500" y="99"/>
                    </a:lnTo>
                    <a:lnTo>
                      <a:pt x="500" y="103"/>
                    </a:lnTo>
                    <a:lnTo>
                      <a:pt x="500" y="108"/>
                    </a:lnTo>
                    <a:lnTo>
                      <a:pt x="500" y="111"/>
                    </a:lnTo>
                    <a:lnTo>
                      <a:pt x="519" y="122"/>
                    </a:lnTo>
                    <a:lnTo>
                      <a:pt x="541" y="127"/>
                    </a:lnTo>
                    <a:lnTo>
                      <a:pt x="566" y="127"/>
                    </a:lnTo>
                    <a:lnTo>
                      <a:pt x="590" y="127"/>
                    </a:lnTo>
                    <a:lnTo>
                      <a:pt x="617" y="125"/>
                    </a:lnTo>
                    <a:lnTo>
                      <a:pt x="639" y="127"/>
                    </a:lnTo>
                    <a:lnTo>
                      <a:pt x="639" y="132"/>
                    </a:lnTo>
                    <a:lnTo>
                      <a:pt x="641" y="137"/>
                    </a:lnTo>
                    <a:lnTo>
                      <a:pt x="643" y="141"/>
                    </a:lnTo>
                    <a:lnTo>
                      <a:pt x="643" y="143"/>
                    </a:lnTo>
                    <a:lnTo>
                      <a:pt x="643" y="146"/>
                    </a:lnTo>
                    <a:lnTo>
                      <a:pt x="643" y="150"/>
                    </a:lnTo>
                    <a:lnTo>
                      <a:pt x="639" y="162"/>
                    </a:lnTo>
                    <a:lnTo>
                      <a:pt x="629" y="162"/>
                    </a:lnTo>
                    <a:lnTo>
                      <a:pt x="617" y="160"/>
                    </a:lnTo>
                    <a:lnTo>
                      <a:pt x="608" y="158"/>
                    </a:lnTo>
                    <a:lnTo>
                      <a:pt x="604" y="158"/>
                    </a:lnTo>
                    <a:lnTo>
                      <a:pt x="601" y="160"/>
                    </a:lnTo>
                    <a:lnTo>
                      <a:pt x="599" y="164"/>
                    </a:lnTo>
                    <a:lnTo>
                      <a:pt x="597" y="165"/>
                    </a:lnTo>
                    <a:lnTo>
                      <a:pt x="594" y="165"/>
                    </a:lnTo>
                    <a:lnTo>
                      <a:pt x="592" y="167"/>
                    </a:lnTo>
                    <a:lnTo>
                      <a:pt x="587" y="169"/>
                    </a:lnTo>
                    <a:lnTo>
                      <a:pt x="582" y="169"/>
                    </a:lnTo>
                    <a:lnTo>
                      <a:pt x="576" y="171"/>
                    </a:lnTo>
                    <a:lnTo>
                      <a:pt x="573" y="172"/>
                    </a:lnTo>
                    <a:lnTo>
                      <a:pt x="568" y="172"/>
                    </a:lnTo>
                    <a:lnTo>
                      <a:pt x="562" y="172"/>
                    </a:lnTo>
                    <a:lnTo>
                      <a:pt x="559" y="167"/>
                    </a:lnTo>
                    <a:lnTo>
                      <a:pt x="557" y="162"/>
                    </a:lnTo>
                    <a:lnTo>
                      <a:pt x="554" y="158"/>
                    </a:lnTo>
                    <a:lnTo>
                      <a:pt x="554" y="162"/>
                    </a:lnTo>
                    <a:lnTo>
                      <a:pt x="550" y="165"/>
                    </a:lnTo>
                    <a:lnTo>
                      <a:pt x="548" y="169"/>
                    </a:lnTo>
                    <a:lnTo>
                      <a:pt x="547" y="172"/>
                    </a:lnTo>
                    <a:lnTo>
                      <a:pt x="538" y="172"/>
                    </a:lnTo>
                    <a:lnTo>
                      <a:pt x="534" y="167"/>
                    </a:lnTo>
                    <a:lnTo>
                      <a:pt x="531" y="160"/>
                    </a:lnTo>
                    <a:lnTo>
                      <a:pt x="528" y="153"/>
                    </a:lnTo>
                    <a:lnTo>
                      <a:pt x="526" y="158"/>
                    </a:lnTo>
                    <a:lnTo>
                      <a:pt x="524" y="162"/>
                    </a:lnTo>
                    <a:lnTo>
                      <a:pt x="522" y="164"/>
                    </a:lnTo>
                    <a:lnTo>
                      <a:pt x="522" y="164"/>
                    </a:lnTo>
                    <a:lnTo>
                      <a:pt x="519" y="164"/>
                    </a:lnTo>
                    <a:lnTo>
                      <a:pt x="515" y="162"/>
                    </a:lnTo>
                    <a:lnTo>
                      <a:pt x="512" y="160"/>
                    </a:lnTo>
                    <a:lnTo>
                      <a:pt x="510" y="158"/>
                    </a:lnTo>
                    <a:lnTo>
                      <a:pt x="510" y="157"/>
                    </a:lnTo>
                    <a:lnTo>
                      <a:pt x="510" y="155"/>
                    </a:lnTo>
                    <a:lnTo>
                      <a:pt x="510" y="153"/>
                    </a:lnTo>
                    <a:lnTo>
                      <a:pt x="510" y="151"/>
                    </a:lnTo>
                    <a:lnTo>
                      <a:pt x="508" y="150"/>
                    </a:lnTo>
                    <a:lnTo>
                      <a:pt x="507" y="150"/>
                    </a:lnTo>
                    <a:lnTo>
                      <a:pt x="505" y="151"/>
                    </a:lnTo>
                    <a:lnTo>
                      <a:pt x="501" y="151"/>
                    </a:lnTo>
                    <a:lnTo>
                      <a:pt x="496" y="153"/>
                    </a:lnTo>
                    <a:lnTo>
                      <a:pt x="493" y="153"/>
                    </a:lnTo>
                    <a:lnTo>
                      <a:pt x="487" y="155"/>
                    </a:lnTo>
                    <a:lnTo>
                      <a:pt x="486" y="153"/>
                    </a:lnTo>
                    <a:lnTo>
                      <a:pt x="484" y="153"/>
                    </a:lnTo>
                    <a:lnTo>
                      <a:pt x="480" y="151"/>
                    </a:lnTo>
                    <a:lnTo>
                      <a:pt x="479" y="150"/>
                    </a:lnTo>
                    <a:lnTo>
                      <a:pt x="475" y="148"/>
                    </a:lnTo>
                    <a:lnTo>
                      <a:pt x="473" y="146"/>
                    </a:lnTo>
                    <a:lnTo>
                      <a:pt x="475" y="136"/>
                    </a:lnTo>
                    <a:lnTo>
                      <a:pt x="473" y="129"/>
                    </a:lnTo>
                    <a:lnTo>
                      <a:pt x="470" y="123"/>
                    </a:lnTo>
                    <a:lnTo>
                      <a:pt x="466" y="115"/>
                    </a:lnTo>
                    <a:lnTo>
                      <a:pt x="466" y="104"/>
                    </a:lnTo>
                    <a:lnTo>
                      <a:pt x="449" y="103"/>
                    </a:lnTo>
                    <a:lnTo>
                      <a:pt x="433" y="97"/>
                    </a:lnTo>
                    <a:lnTo>
                      <a:pt x="419" y="92"/>
                    </a:lnTo>
                    <a:lnTo>
                      <a:pt x="418" y="90"/>
                    </a:lnTo>
                    <a:lnTo>
                      <a:pt x="418" y="89"/>
                    </a:lnTo>
                    <a:lnTo>
                      <a:pt x="418" y="87"/>
                    </a:lnTo>
                    <a:lnTo>
                      <a:pt x="416" y="85"/>
                    </a:lnTo>
                    <a:lnTo>
                      <a:pt x="416" y="80"/>
                    </a:lnTo>
                    <a:lnTo>
                      <a:pt x="423" y="78"/>
                    </a:lnTo>
                    <a:lnTo>
                      <a:pt x="432" y="78"/>
                    </a:lnTo>
                    <a:lnTo>
                      <a:pt x="442" y="76"/>
                    </a:lnTo>
                    <a:lnTo>
                      <a:pt x="445" y="75"/>
                    </a:lnTo>
                    <a:lnTo>
                      <a:pt x="449" y="75"/>
                    </a:lnTo>
                    <a:lnTo>
                      <a:pt x="452" y="73"/>
                    </a:lnTo>
                    <a:lnTo>
                      <a:pt x="458" y="73"/>
                    </a:lnTo>
                    <a:close/>
                    <a:moveTo>
                      <a:pt x="377" y="73"/>
                    </a:moveTo>
                    <a:lnTo>
                      <a:pt x="409" y="73"/>
                    </a:lnTo>
                    <a:lnTo>
                      <a:pt x="409" y="76"/>
                    </a:lnTo>
                    <a:lnTo>
                      <a:pt x="411" y="80"/>
                    </a:lnTo>
                    <a:lnTo>
                      <a:pt x="411" y="83"/>
                    </a:lnTo>
                    <a:lnTo>
                      <a:pt x="412" y="89"/>
                    </a:lnTo>
                    <a:lnTo>
                      <a:pt x="404" y="89"/>
                    </a:lnTo>
                    <a:lnTo>
                      <a:pt x="400" y="89"/>
                    </a:lnTo>
                    <a:lnTo>
                      <a:pt x="397" y="89"/>
                    </a:lnTo>
                    <a:lnTo>
                      <a:pt x="390" y="87"/>
                    </a:lnTo>
                    <a:lnTo>
                      <a:pt x="384" y="87"/>
                    </a:lnTo>
                    <a:lnTo>
                      <a:pt x="377" y="85"/>
                    </a:lnTo>
                    <a:lnTo>
                      <a:pt x="377" y="73"/>
                    </a:lnTo>
                    <a:close/>
                    <a:moveTo>
                      <a:pt x="301" y="69"/>
                    </a:moveTo>
                    <a:lnTo>
                      <a:pt x="308" y="73"/>
                    </a:lnTo>
                    <a:lnTo>
                      <a:pt x="315" y="76"/>
                    </a:lnTo>
                    <a:lnTo>
                      <a:pt x="318" y="82"/>
                    </a:lnTo>
                    <a:lnTo>
                      <a:pt x="322" y="89"/>
                    </a:lnTo>
                    <a:lnTo>
                      <a:pt x="323" y="96"/>
                    </a:lnTo>
                    <a:lnTo>
                      <a:pt x="313" y="96"/>
                    </a:lnTo>
                    <a:lnTo>
                      <a:pt x="313" y="92"/>
                    </a:lnTo>
                    <a:lnTo>
                      <a:pt x="308" y="89"/>
                    </a:lnTo>
                    <a:lnTo>
                      <a:pt x="306" y="85"/>
                    </a:lnTo>
                    <a:lnTo>
                      <a:pt x="304" y="82"/>
                    </a:lnTo>
                    <a:lnTo>
                      <a:pt x="302" y="76"/>
                    </a:lnTo>
                    <a:lnTo>
                      <a:pt x="301" y="69"/>
                    </a:lnTo>
                    <a:close/>
                    <a:moveTo>
                      <a:pt x="489" y="61"/>
                    </a:moveTo>
                    <a:lnTo>
                      <a:pt x="505" y="61"/>
                    </a:lnTo>
                    <a:lnTo>
                      <a:pt x="505" y="69"/>
                    </a:lnTo>
                    <a:lnTo>
                      <a:pt x="489" y="69"/>
                    </a:lnTo>
                    <a:lnTo>
                      <a:pt x="489" y="61"/>
                    </a:lnTo>
                    <a:close/>
                    <a:moveTo>
                      <a:pt x="192" y="61"/>
                    </a:moveTo>
                    <a:lnTo>
                      <a:pt x="201" y="62"/>
                    </a:lnTo>
                    <a:lnTo>
                      <a:pt x="208" y="62"/>
                    </a:lnTo>
                    <a:lnTo>
                      <a:pt x="215" y="64"/>
                    </a:lnTo>
                    <a:lnTo>
                      <a:pt x="220" y="66"/>
                    </a:lnTo>
                    <a:lnTo>
                      <a:pt x="217" y="71"/>
                    </a:lnTo>
                    <a:lnTo>
                      <a:pt x="213" y="76"/>
                    </a:lnTo>
                    <a:lnTo>
                      <a:pt x="210" y="80"/>
                    </a:lnTo>
                    <a:lnTo>
                      <a:pt x="205" y="85"/>
                    </a:lnTo>
                    <a:lnTo>
                      <a:pt x="199" y="89"/>
                    </a:lnTo>
                    <a:lnTo>
                      <a:pt x="194" y="90"/>
                    </a:lnTo>
                    <a:lnTo>
                      <a:pt x="191" y="90"/>
                    </a:lnTo>
                    <a:lnTo>
                      <a:pt x="185" y="89"/>
                    </a:lnTo>
                    <a:lnTo>
                      <a:pt x="182" y="85"/>
                    </a:lnTo>
                    <a:lnTo>
                      <a:pt x="180" y="82"/>
                    </a:lnTo>
                    <a:lnTo>
                      <a:pt x="178" y="78"/>
                    </a:lnTo>
                    <a:lnTo>
                      <a:pt x="178" y="73"/>
                    </a:lnTo>
                    <a:lnTo>
                      <a:pt x="185" y="68"/>
                    </a:lnTo>
                    <a:lnTo>
                      <a:pt x="192" y="61"/>
                    </a:lnTo>
                    <a:close/>
                    <a:moveTo>
                      <a:pt x="435" y="54"/>
                    </a:moveTo>
                    <a:lnTo>
                      <a:pt x="440" y="54"/>
                    </a:lnTo>
                    <a:lnTo>
                      <a:pt x="444" y="54"/>
                    </a:lnTo>
                    <a:lnTo>
                      <a:pt x="447" y="54"/>
                    </a:lnTo>
                    <a:lnTo>
                      <a:pt x="449" y="54"/>
                    </a:lnTo>
                    <a:lnTo>
                      <a:pt x="452" y="54"/>
                    </a:lnTo>
                    <a:lnTo>
                      <a:pt x="456" y="54"/>
                    </a:lnTo>
                    <a:lnTo>
                      <a:pt x="461" y="54"/>
                    </a:lnTo>
                    <a:lnTo>
                      <a:pt x="461" y="61"/>
                    </a:lnTo>
                    <a:lnTo>
                      <a:pt x="438" y="66"/>
                    </a:lnTo>
                    <a:lnTo>
                      <a:pt x="435" y="54"/>
                    </a:lnTo>
                    <a:close/>
                    <a:moveTo>
                      <a:pt x="220" y="43"/>
                    </a:moveTo>
                    <a:lnTo>
                      <a:pt x="227" y="45"/>
                    </a:lnTo>
                    <a:lnTo>
                      <a:pt x="234" y="47"/>
                    </a:lnTo>
                    <a:lnTo>
                      <a:pt x="240" y="50"/>
                    </a:lnTo>
                    <a:lnTo>
                      <a:pt x="236" y="50"/>
                    </a:lnTo>
                    <a:lnTo>
                      <a:pt x="227" y="54"/>
                    </a:lnTo>
                    <a:lnTo>
                      <a:pt x="217" y="54"/>
                    </a:lnTo>
                    <a:lnTo>
                      <a:pt x="205" y="54"/>
                    </a:lnTo>
                    <a:lnTo>
                      <a:pt x="205" y="50"/>
                    </a:lnTo>
                    <a:lnTo>
                      <a:pt x="208" y="50"/>
                    </a:lnTo>
                    <a:lnTo>
                      <a:pt x="212" y="47"/>
                    </a:lnTo>
                    <a:lnTo>
                      <a:pt x="217" y="45"/>
                    </a:lnTo>
                    <a:lnTo>
                      <a:pt x="220" y="43"/>
                    </a:lnTo>
                    <a:close/>
                    <a:moveTo>
                      <a:pt x="2671" y="41"/>
                    </a:moveTo>
                    <a:lnTo>
                      <a:pt x="2688" y="43"/>
                    </a:lnTo>
                    <a:lnTo>
                      <a:pt x="2692" y="47"/>
                    </a:lnTo>
                    <a:lnTo>
                      <a:pt x="2694" y="50"/>
                    </a:lnTo>
                    <a:lnTo>
                      <a:pt x="2697" y="54"/>
                    </a:lnTo>
                    <a:lnTo>
                      <a:pt x="2695" y="57"/>
                    </a:lnTo>
                    <a:lnTo>
                      <a:pt x="2695" y="59"/>
                    </a:lnTo>
                    <a:lnTo>
                      <a:pt x="2695" y="59"/>
                    </a:lnTo>
                    <a:lnTo>
                      <a:pt x="2694" y="61"/>
                    </a:lnTo>
                    <a:lnTo>
                      <a:pt x="2694" y="61"/>
                    </a:lnTo>
                    <a:lnTo>
                      <a:pt x="2683" y="75"/>
                    </a:lnTo>
                    <a:lnTo>
                      <a:pt x="2669" y="85"/>
                    </a:lnTo>
                    <a:lnTo>
                      <a:pt x="2653" y="94"/>
                    </a:lnTo>
                    <a:lnTo>
                      <a:pt x="2634" y="101"/>
                    </a:lnTo>
                    <a:lnTo>
                      <a:pt x="2617" y="108"/>
                    </a:lnTo>
                    <a:lnTo>
                      <a:pt x="2601" y="115"/>
                    </a:lnTo>
                    <a:lnTo>
                      <a:pt x="2584" y="129"/>
                    </a:lnTo>
                    <a:lnTo>
                      <a:pt x="2564" y="150"/>
                    </a:lnTo>
                    <a:lnTo>
                      <a:pt x="2544" y="174"/>
                    </a:lnTo>
                    <a:lnTo>
                      <a:pt x="2524" y="202"/>
                    </a:lnTo>
                    <a:lnTo>
                      <a:pt x="2509" y="230"/>
                    </a:lnTo>
                    <a:lnTo>
                      <a:pt x="2498" y="258"/>
                    </a:lnTo>
                    <a:lnTo>
                      <a:pt x="2493" y="284"/>
                    </a:lnTo>
                    <a:lnTo>
                      <a:pt x="2495" y="293"/>
                    </a:lnTo>
                    <a:lnTo>
                      <a:pt x="2502" y="303"/>
                    </a:lnTo>
                    <a:lnTo>
                      <a:pt x="2510" y="314"/>
                    </a:lnTo>
                    <a:lnTo>
                      <a:pt x="2521" y="322"/>
                    </a:lnTo>
                    <a:lnTo>
                      <a:pt x="2521" y="326"/>
                    </a:lnTo>
                    <a:lnTo>
                      <a:pt x="2516" y="326"/>
                    </a:lnTo>
                    <a:lnTo>
                      <a:pt x="2512" y="335"/>
                    </a:lnTo>
                    <a:lnTo>
                      <a:pt x="2498" y="329"/>
                    </a:lnTo>
                    <a:lnTo>
                      <a:pt x="2482" y="326"/>
                    </a:lnTo>
                    <a:lnTo>
                      <a:pt x="2477" y="312"/>
                    </a:lnTo>
                    <a:lnTo>
                      <a:pt x="2468" y="300"/>
                    </a:lnTo>
                    <a:lnTo>
                      <a:pt x="2460" y="291"/>
                    </a:lnTo>
                    <a:lnTo>
                      <a:pt x="2451" y="282"/>
                    </a:lnTo>
                    <a:lnTo>
                      <a:pt x="2444" y="268"/>
                    </a:lnTo>
                    <a:lnTo>
                      <a:pt x="2454" y="261"/>
                    </a:lnTo>
                    <a:lnTo>
                      <a:pt x="2460" y="258"/>
                    </a:lnTo>
                    <a:lnTo>
                      <a:pt x="2460" y="253"/>
                    </a:lnTo>
                    <a:lnTo>
                      <a:pt x="2458" y="249"/>
                    </a:lnTo>
                    <a:lnTo>
                      <a:pt x="2456" y="242"/>
                    </a:lnTo>
                    <a:lnTo>
                      <a:pt x="2458" y="235"/>
                    </a:lnTo>
                    <a:lnTo>
                      <a:pt x="2463" y="226"/>
                    </a:lnTo>
                    <a:lnTo>
                      <a:pt x="2470" y="221"/>
                    </a:lnTo>
                    <a:lnTo>
                      <a:pt x="2477" y="214"/>
                    </a:lnTo>
                    <a:lnTo>
                      <a:pt x="2482" y="204"/>
                    </a:lnTo>
                    <a:lnTo>
                      <a:pt x="2479" y="202"/>
                    </a:lnTo>
                    <a:lnTo>
                      <a:pt x="2475" y="200"/>
                    </a:lnTo>
                    <a:lnTo>
                      <a:pt x="2475" y="199"/>
                    </a:lnTo>
                    <a:lnTo>
                      <a:pt x="2474" y="199"/>
                    </a:lnTo>
                    <a:lnTo>
                      <a:pt x="2474" y="197"/>
                    </a:lnTo>
                    <a:lnTo>
                      <a:pt x="2474" y="195"/>
                    </a:lnTo>
                    <a:lnTo>
                      <a:pt x="2482" y="186"/>
                    </a:lnTo>
                    <a:lnTo>
                      <a:pt x="2491" y="178"/>
                    </a:lnTo>
                    <a:lnTo>
                      <a:pt x="2496" y="165"/>
                    </a:lnTo>
                    <a:lnTo>
                      <a:pt x="2498" y="162"/>
                    </a:lnTo>
                    <a:lnTo>
                      <a:pt x="2496" y="157"/>
                    </a:lnTo>
                    <a:lnTo>
                      <a:pt x="2496" y="153"/>
                    </a:lnTo>
                    <a:lnTo>
                      <a:pt x="2495" y="151"/>
                    </a:lnTo>
                    <a:lnTo>
                      <a:pt x="2495" y="146"/>
                    </a:lnTo>
                    <a:lnTo>
                      <a:pt x="2495" y="143"/>
                    </a:lnTo>
                    <a:lnTo>
                      <a:pt x="2496" y="137"/>
                    </a:lnTo>
                    <a:lnTo>
                      <a:pt x="2510" y="122"/>
                    </a:lnTo>
                    <a:lnTo>
                      <a:pt x="2528" y="106"/>
                    </a:lnTo>
                    <a:lnTo>
                      <a:pt x="2550" y="90"/>
                    </a:lnTo>
                    <a:lnTo>
                      <a:pt x="2573" y="78"/>
                    </a:lnTo>
                    <a:lnTo>
                      <a:pt x="2592" y="69"/>
                    </a:lnTo>
                    <a:lnTo>
                      <a:pt x="2624" y="69"/>
                    </a:lnTo>
                    <a:lnTo>
                      <a:pt x="2634" y="64"/>
                    </a:lnTo>
                    <a:lnTo>
                      <a:pt x="2641" y="59"/>
                    </a:lnTo>
                    <a:lnTo>
                      <a:pt x="2646" y="52"/>
                    </a:lnTo>
                    <a:lnTo>
                      <a:pt x="2652" y="48"/>
                    </a:lnTo>
                    <a:lnTo>
                      <a:pt x="2659" y="45"/>
                    </a:lnTo>
                    <a:lnTo>
                      <a:pt x="2671" y="41"/>
                    </a:lnTo>
                    <a:close/>
                    <a:moveTo>
                      <a:pt x="400" y="15"/>
                    </a:moveTo>
                    <a:lnTo>
                      <a:pt x="416" y="15"/>
                    </a:lnTo>
                    <a:lnTo>
                      <a:pt x="421" y="22"/>
                    </a:lnTo>
                    <a:lnTo>
                      <a:pt x="428" y="29"/>
                    </a:lnTo>
                    <a:lnTo>
                      <a:pt x="435" y="34"/>
                    </a:lnTo>
                    <a:lnTo>
                      <a:pt x="432" y="38"/>
                    </a:lnTo>
                    <a:lnTo>
                      <a:pt x="430" y="40"/>
                    </a:lnTo>
                    <a:lnTo>
                      <a:pt x="428" y="41"/>
                    </a:lnTo>
                    <a:lnTo>
                      <a:pt x="426" y="45"/>
                    </a:lnTo>
                    <a:lnTo>
                      <a:pt x="425" y="48"/>
                    </a:lnTo>
                    <a:lnTo>
                      <a:pt x="423" y="54"/>
                    </a:lnTo>
                    <a:lnTo>
                      <a:pt x="418" y="54"/>
                    </a:lnTo>
                    <a:lnTo>
                      <a:pt x="411" y="54"/>
                    </a:lnTo>
                    <a:lnTo>
                      <a:pt x="407" y="52"/>
                    </a:lnTo>
                    <a:lnTo>
                      <a:pt x="402" y="52"/>
                    </a:lnTo>
                    <a:lnTo>
                      <a:pt x="397" y="50"/>
                    </a:lnTo>
                    <a:lnTo>
                      <a:pt x="397" y="43"/>
                    </a:lnTo>
                    <a:lnTo>
                      <a:pt x="398" y="38"/>
                    </a:lnTo>
                    <a:lnTo>
                      <a:pt x="400" y="31"/>
                    </a:lnTo>
                    <a:lnTo>
                      <a:pt x="400" y="24"/>
                    </a:lnTo>
                    <a:lnTo>
                      <a:pt x="400" y="15"/>
                    </a:lnTo>
                    <a:close/>
                    <a:moveTo>
                      <a:pt x="3165" y="0"/>
                    </a:moveTo>
                    <a:lnTo>
                      <a:pt x="3184" y="0"/>
                    </a:lnTo>
                    <a:lnTo>
                      <a:pt x="3188" y="5"/>
                    </a:lnTo>
                    <a:lnTo>
                      <a:pt x="3189" y="7"/>
                    </a:lnTo>
                    <a:lnTo>
                      <a:pt x="3191" y="10"/>
                    </a:lnTo>
                    <a:lnTo>
                      <a:pt x="3195" y="14"/>
                    </a:lnTo>
                    <a:lnTo>
                      <a:pt x="3196" y="19"/>
                    </a:lnTo>
                    <a:lnTo>
                      <a:pt x="3191" y="21"/>
                    </a:lnTo>
                    <a:lnTo>
                      <a:pt x="3189" y="22"/>
                    </a:lnTo>
                    <a:lnTo>
                      <a:pt x="3186" y="24"/>
                    </a:lnTo>
                    <a:lnTo>
                      <a:pt x="3184" y="27"/>
                    </a:lnTo>
                    <a:lnTo>
                      <a:pt x="3182" y="29"/>
                    </a:lnTo>
                    <a:lnTo>
                      <a:pt x="3181" y="34"/>
                    </a:lnTo>
                    <a:lnTo>
                      <a:pt x="3195" y="38"/>
                    </a:lnTo>
                    <a:lnTo>
                      <a:pt x="3202" y="41"/>
                    </a:lnTo>
                    <a:lnTo>
                      <a:pt x="3209" y="48"/>
                    </a:lnTo>
                    <a:lnTo>
                      <a:pt x="3216" y="57"/>
                    </a:lnTo>
                    <a:lnTo>
                      <a:pt x="3228" y="52"/>
                    </a:lnTo>
                    <a:lnTo>
                      <a:pt x="3240" y="50"/>
                    </a:lnTo>
                    <a:lnTo>
                      <a:pt x="3254" y="48"/>
                    </a:lnTo>
                    <a:lnTo>
                      <a:pt x="3270" y="43"/>
                    </a:lnTo>
                    <a:lnTo>
                      <a:pt x="3271" y="41"/>
                    </a:lnTo>
                    <a:lnTo>
                      <a:pt x="3271" y="41"/>
                    </a:lnTo>
                    <a:lnTo>
                      <a:pt x="3273" y="43"/>
                    </a:lnTo>
                    <a:lnTo>
                      <a:pt x="3273" y="45"/>
                    </a:lnTo>
                    <a:lnTo>
                      <a:pt x="3273" y="47"/>
                    </a:lnTo>
                    <a:lnTo>
                      <a:pt x="3287" y="54"/>
                    </a:lnTo>
                    <a:lnTo>
                      <a:pt x="3298" y="62"/>
                    </a:lnTo>
                    <a:lnTo>
                      <a:pt x="3306" y="73"/>
                    </a:lnTo>
                    <a:lnTo>
                      <a:pt x="3315" y="85"/>
                    </a:lnTo>
                    <a:lnTo>
                      <a:pt x="3315" y="108"/>
                    </a:lnTo>
                    <a:lnTo>
                      <a:pt x="3303" y="117"/>
                    </a:lnTo>
                    <a:lnTo>
                      <a:pt x="3298" y="125"/>
                    </a:lnTo>
                    <a:lnTo>
                      <a:pt x="3294" y="134"/>
                    </a:lnTo>
                    <a:lnTo>
                      <a:pt x="3289" y="143"/>
                    </a:lnTo>
                    <a:lnTo>
                      <a:pt x="3275" y="151"/>
                    </a:lnTo>
                    <a:lnTo>
                      <a:pt x="3259" y="160"/>
                    </a:lnTo>
                    <a:lnTo>
                      <a:pt x="3243" y="171"/>
                    </a:lnTo>
                    <a:lnTo>
                      <a:pt x="3231" y="185"/>
                    </a:lnTo>
                    <a:lnTo>
                      <a:pt x="3235" y="185"/>
                    </a:lnTo>
                    <a:lnTo>
                      <a:pt x="3247" y="178"/>
                    </a:lnTo>
                    <a:lnTo>
                      <a:pt x="3261" y="176"/>
                    </a:lnTo>
                    <a:lnTo>
                      <a:pt x="3277" y="178"/>
                    </a:lnTo>
                    <a:lnTo>
                      <a:pt x="3277" y="181"/>
                    </a:lnTo>
                    <a:lnTo>
                      <a:pt x="3275" y="185"/>
                    </a:lnTo>
                    <a:lnTo>
                      <a:pt x="3275" y="186"/>
                    </a:lnTo>
                    <a:lnTo>
                      <a:pt x="3275" y="188"/>
                    </a:lnTo>
                    <a:lnTo>
                      <a:pt x="3275" y="188"/>
                    </a:lnTo>
                    <a:lnTo>
                      <a:pt x="3275" y="190"/>
                    </a:lnTo>
                    <a:lnTo>
                      <a:pt x="3277" y="190"/>
                    </a:lnTo>
                    <a:lnTo>
                      <a:pt x="3280" y="192"/>
                    </a:lnTo>
                    <a:lnTo>
                      <a:pt x="3285" y="186"/>
                    </a:lnTo>
                    <a:lnTo>
                      <a:pt x="3292" y="181"/>
                    </a:lnTo>
                    <a:lnTo>
                      <a:pt x="3299" y="176"/>
                    </a:lnTo>
                    <a:lnTo>
                      <a:pt x="3308" y="172"/>
                    </a:lnTo>
                    <a:lnTo>
                      <a:pt x="3308" y="178"/>
                    </a:lnTo>
                    <a:lnTo>
                      <a:pt x="3305" y="183"/>
                    </a:lnTo>
                    <a:lnTo>
                      <a:pt x="3303" y="188"/>
                    </a:lnTo>
                    <a:lnTo>
                      <a:pt x="3301" y="195"/>
                    </a:lnTo>
                    <a:lnTo>
                      <a:pt x="3299" y="204"/>
                    </a:lnTo>
                    <a:lnTo>
                      <a:pt x="3301" y="206"/>
                    </a:lnTo>
                    <a:lnTo>
                      <a:pt x="3301" y="206"/>
                    </a:lnTo>
                    <a:lnTo>
                      <a:pt x="3301" y="206"/>
                    </a:lnTo>
                    <a:lnTo>
                      <a:pt x="3301" y="206"/>
                    </a:lnTo>
                    <a:lnTo>
                      <a:pt x="3303" y="206"/>
                    </a:lnTo>
                    <a:lnTo>
                      <a:pt x="3303" y="207"/>
                    </a:lnTo>
                    <a:lnTo>
                      <a:pt x="3312" y="207"/>
                    </a:lnTo>
                    <a:lnTo>
                      <a:pt x="3312" y="195"/>
                    </a:lnTo>
                    <a:lnTo>
                      <a:pt x="3329" y="193"/>
                    </a:lnTo>
                    <a:lnTo>
                      <a:pt x="3345" y="193"/>
                    </a:lnTo>
                    <a:lnTo>
                      <a:pt x="3357" y="195"/>
                    </a:lnTo>
                    <a:lnTo>
                      <a:pt x="3369" y="204"/>
                    </a:lnTo>
                    <a:lnTo>
                      <a:pt x="3369" y="206"/>
                    </a:lnTo>
                    <a:lnTo>
                      <a:pt x="3369" y="211"/>
                    </a:lnTo>
                    <a:lnTo>
                      <a:pt x="3371" y="216"/>
                    </a:lnTo>
                    <a:lnTo>
                      <a:pt x="3371" y="221"/>
                    </a:lnTo>
                    <a:lnTo>
                      <a:pt x="3373" y="226"/>
                    </a:lnTo>
                    <a:lnTo>
                      <a:pt x="3423" y="230"/>
                    </a:lnTo>
                    <a:lnTo>
                      <a:pt x="3427" y="219"/>
                    </a:lnTo>
                    <a:lnTo>
                      <a:pt x="3427" y="216"/>
                    </a:lnTo>
                    <a:lnTo>
                      <a:pt x="3427" y="214"/>
                    </a:lnTo>
                    <a:lnTo>
                      <a:pt x="3427" y="211"/>
                    </a:lnTo>
                    <a:lnTo>
                      <a:pt x="3427" y="206"/>
                    </a:lnTo>
                    <a:lnTo>
                      <a:pt x="3427" y="200"/>
                    </a:lnTo>
                    <a:lnTo>
                      <a:pt x="3430" y="199"/>
                    </a:lnTo>
                    <a:lnTo>
                      <a:pt x="3430" y="199"/>
                    </a:lnTo>
                    <a:lnTo>
                      <a:pt x="3432" y="199"/>
                    </a:lnTo>
                    <a:lnTo>
                      <a:pt x="3432" y="197"/>
                    </a:lnTo>
                    <a:lnTo>
                      <a:pt x="3434" y="195"/>
                    </a:lnTo>
                    <a:lnTo>
                      <a:pt x="3444" y="200"/>
                    </a:lnTo>
                    <a:lnTo>
                      <a:pt x="3455" y="206"/>
                    </a:lnTo>
                    <a:lnTo>
                      <a:pt x="3465" y="211"/>
                    </a:lnTo>
                    <a:lnTo>
                      <a:pt x="3476" y="202"/>
                    </a:lnTo>
                    <a:lnTo>
                      <a:pt x="3488" y="197"/>
                    </a:lnTo>
                    <a:lnTo>
                      <a:pt x="3507" y="195"/>
                    </a:lnTo>
                    <a:lnTo>
                      <a:pt x="3507" y="200"/>
                    </a:lnTo>
                    <a:lnTo>
                      <a:pt x="3510" y="200"/>
                    </a:lnTo>
                    <a:lnTo>
                      <a:pt x="3519" y="235"/>
                    </a:lnTo>
                    <a:lnTo>
                      <a:pt x="3507" y="247"/>
                    </a:lnTo>
                    <a:lnTo>
                      <a:pt x="3500" y="265"/>
                    </a:lnTo>
                    <a:lnTo>
                      <a:pt x="3502" y="268"/>
                    </a:lnTo>
                    <a:lnTo>
                      <a:pt x="3504" y="272"/>
                    </a:lnTo>
                    <a:lnTo>
                      <a:pt x="3504" y="275"/>
                    </a:lnTo>
                    <a:lnTo>
                      <a:pt x="3505" y="279"/>
                    </a:lnTo>
                    <a:lnTo>
                      <a:pt x="3507" y="284"/>
                    </a:lnTo>
                    <a:lnTo>
                      <a:pt x="3516" y="293"/>
                    </a:lnTo>
                    <a:lnTo>
                      <a:pt x="3528" y="300"/>
                    </a:lnTo>
                    <a:lnTo>
                      <a:pt x="3538" y="307"/>
                    </a:lnTo>
                    <a:lnTo>
                      <a:pt x="3538" y="307"/>
                    </a:lnTo>
                    <a:lnTo>
                      <a:pt x="3540" y="305"/>
                    </a:lnTo>
                    <a:lnTo>
                      <a:pt x="3540" y="305"/>
                    </a:lnTo>
                    <a:lnTo>
                      <a:pt x="3540" y="305"/>
                    </a:lnTo>
                    <a:lnTo>
                      <a:pt x="3540" y="305"/>
                    </a:lnTo>
                    <a:lnTo>
                      <a:pt x="3542" y="303"/>
                    </a:lnTo>
                    <a:lnTo>
                      <a:pt x="3547" y="295"/>
                    </a:lnTo>
                    <a:lnTo>
                      <a:pt x="3551" y="284"/>
                    </a:lnTo>
                    <a:lnTo>
                      <a:pt x="3554" y="274"/>
                    </a:lnTo>
                    <a:lnTo>
                      <a:pt x="3561" y="265"/>
                    </a:lnTo>
                    <a:lnTo>
                      <a:pt x="3561" y="274"/>
                    </a:lnTo>
                    <a:lnTo>
                      <a:pt x="3563" y="281"/>
                    </a:lnTo>
                    <a:lnTo>
                      <a:pt x="3566" y="286"/>
                    </a:lnTo>
                    <a:lnTo>
                      <a:pt x="3572" y="289"/>
                    </a:lnTo>
                    <a:lnTo>
                      <a:pt x="3579" y="291"/>
                    </a:lnTo>
                    <a:lnTo>
                      <a:pt x="3587" y="293"/>
                    </a:lnTo>
                    <a:lnTo>
                      <a:pt x="3600" y="272"/>
                    </a:lnTo>
                    <a:lnTo>
                      <a:pt x="3605" y="277"/>
                    </a:lnTo>
                    <a:lnTo>
                      <a:pt x="3610" y="281"/>
                    </a:lnTo>
                    <a:lnTo>
                      <a:pt x="3613" y="286"/>
                    </a:lnTo>
                    <a:lnTo>
                      <a:pt x="3619" y="289"/>
                    </a:lnTo>
                    <a:lnTo>
                      <a:pt x="3626" y="293"/>
                    </a:lnTo>
                    <a:lnTo>
                      <a:pt x="3629" y="289"/>
                    </a:lnTo>
                    <a:lnTo>
                      <a:pt x="3633" y="286"/>
                    </a:lnTo>
                    <a:lnTo>
                      <a:pt x="3636" y="286"/>
                    </a:lnTo>
                    <a:lnTo>
                      <a:pt x="3638" y="286"/>
                    </a:lnTo>
                    <a:lnTo>
                      <a:pt x="3643" y="286"/>
                    </a:lnTo>
                    <a:lnTo>
                      <a:pt x="3647" y="288"/>
                    </a:lnTo>
                    <a:lnTo>
                      <a:pt x="3654" y="288"/>
                    </a:lnTo>
                    <a:lnTo>
                      <a:pt x="3652" y="270"/>
                    </a:lnTo>
                    <a:lnTo>
                      <a:pt x="3648" y="258"/>
                    </a:lnTo>
                    <a:lnTo>
                      <a:pt x="3645" y="242"/>
                    </a:lnTo>
                    <a:lnTo>
                      <a:pt x="3657" y="239"/>
                    </a:lnTo>
                    <a:lnTo>
                      <a:pt x="3668" y="235"/>
                    </a:lnTo>
                    <a:lnTo>
                      <a:pt x="3685" y="235"/>
                    </a:lnTo>
                    <a:lnTo>
                      <a:pt x="3704" y="237"/>
                    </a:lnTo>
                    <a:lnTo>
                      <a:pt x="3723" y="242"/>
                    </a:lnTo>
                    <a:lnTo>
                      <a:pt x="3741" y="247"/>
                    </a:lnTo>
                    <a:lnTo>
                      <a:pt x="3757" y="253"/>
                    </a:lnTo>
                    <a:lnTo>
                      <a:pt x="3764" y="258"/>
                    </a:lnTo>
                    <a:lnTo>
                      <a:pt x="3767" y="261"/>
                    </a:lnTo>
                    <a:lnTo>
                      <a:pt x="3769" y="267"/>
                    </a:lnTo>
                    <a:lnTo>
                      <a:pt x="3769" y="270"/>
                    </a:lnTo>
                    <a:lnTo>
                      <a:pt x="3771" y="272"/>
                    </a:lnTo>
                    <a:lnTo>
                      <a:pt x="3771" y="275"/>
                    </a:lnTo>
                    <a:lnTo>
                      <a:pt x="3774" y="277"/>
                    </a:lnTo>
                    <a:lnTo>
                      <a:pt x="3778" y="279"/>
                    </a:lnTo>
                    <a:lnTo>
                      <a:pt x="3783" y="281"/>
                    </a:lnTo>
                    <a:lnTo>
                      <a:pt x="3793" y="277"/>
                    </a:lnTo>
                    <a:lnTo>
                      <a:pt x="3805" y="277"/>
                    </a:lnTo>
                    <a:lnTo>
                      <a:pt x="3818" y="277"/>
                    </a:lnTo>
                    <a:lnTo>
                      <a:pt x="3823" y="288"/>
                    </a:lnTo>
                    <a:lnTo>
                      <a:pt x="3830" y="298"/>
                    </a:lnTo>
                    <a:lnTo>
                      <a:pt x="3840" y="307"/>
                    </a:lnTo>
                    <a:lnTo>
                      <a:pt x="3853" y="312"/>
                    </a:lnTo>
                    <a:lnTo>
                      <a:pt x="3865" y="307"/>
                    </a:lnTo>
                    <a:lnTo>
                      <a:pt x="3882" y="307"/>
                    </a:lnTo>
                    <a:lnTo>
                      <a:pt x="3898" y="309"/>
                    </a:lnTo>
                    <a:lnTo>
                      <a:pt x="3914" y="312"/>
                    </a:lnTo>
                    <a:lnTo>
                      <a:pt x="3926" y="315"/>
                    </a:lnTo>
                    <a:lnTo>
                      <a:pt x="3931" y="331"/>
                    </a:lnTo>
                    <a:lnTo>
                      <a:pt x="3933" y="345"/>
                    </a:lnTo>
                    <a:lnTo>
                      <a:pt x="3936" y="357"/>
                    </a:lnTo>
                    <a:lnTo>
                      <a:pt x="3940" y="359"/>
                    </a:lnTo>
                    <a:lnTo>
                      <a:pt x="3942" y="363"/>
                    </a:lnTo>
                    <a:lnTo>
                      <a:pt x="3945" y="364"/>
                    </a:lnTo>
                    <a:lnTo>
                      <a:pt x="3978" y="361"/>
                    </a:lnTo>
                    <a:lnTo>
                      <a:pt x="4011" y="361"/>
                    </a:lnTo>
                    <a:lnTo>
                      <a:pt x="4045" y="361"/>
                    </a:lnTo>
                    <a:lnTo>
                      <a:pt x="4048" y="368"/>
                    </a:lnTo>
                    <a:lnTo>
                      <a:pt x="4053" y="373"/>
                    </a:lnTo>
                    <a:lnTo>
                      <a:pt x="4059" y="380"/>
                    </a:lnTo>
                    <a:lnTo>
                      <a:pt x="4064" y="384"/>
                    </a:lnTo>
                    <a:lnTo>
                      <a:pt x="4071" y="389"/>
                    </a:lnTo>
                    <a:lnTo>
                      <a:pt x="4071" y="384"/>
                    </a:lnTo>
                    <a:lnTo>
                      <a:pt x="4073" y="382"/>
                    </a:lnTo>
                    <a:lnTo>
                      <a:pt x="4074" y="378"/>
                    </a:lnTo>
                    <a:lnTo>
                      <a:pt x="4074" y="375"/>
                    </a:lnTo>
                    <a:lnTo>
                      <a:pt x="4076" y="370"/>
                    </a:lnTo>
                    <a:lnTo>
                      <a:pt x="4073" y="364"/>
                    </a:lnTo>
                    <a:lnTo>
                      <a:pt x="4071" y="361"/>
                    </a:lnTo>
                    <a:lnTo>
                      <a:pt x="4069" y="359"/>
                    </a:lnTo>
                    <a:lnTo>
                      <a:pt x="4069" y="356"/>
                    </a:lnTo>
                    <a:lnTo>
                      <a:pt x="4071" y="352"/>
                    </a:lnTo>
                    <a:lnTo>
                      <a:pt x="4071" y="347"/>
                    </a:lnTo>
                    <a:lnTo>
                      <a:pt x="4071" y="342"/>
                    </a:lnTo>
                    <a:lnTo>
                      <a:pt x="4088" y="345"/>
                    </a:lnTo>
                    <a:lnTo>
                      <a:pt x="4100" y="352"/>
                    </a:lnTo>
                    <a:lnTo>
                      <a:pt x="4114" y="357"/>
                    </a:lnTo>
                    <a:lnTo>
                      <a:pt x="4120" y="357"/>
                    </a:lnTo>
                    <a:lnTo>
                      <a:pt x="4125" y="357"/>
                    </a:lnTo>
                    <a:lnTo>
                      <a:pt x="4130" y="356"/>
                    </a:lnTo>
                    <a:lnTo>
                      <a:pt x="4134" y="352"/>
                    </a:lnTo>
                    <a:lnTo>
                      <a:pt x="4137" y="350"/>
                    </a:lnTo>
                    <a:lnTo>
                      <a:pt x="4141" y="349"/>
                    </a:lnTo>
                    <a:lnTo>
                      <a:pt x="4198" y="373"/>
                    </a:lnTo>
                    <a:lnTo>
                      <a:pt x="4230" y="406"/>
                    </a:lnTo>
                    <a:lnTo>
                      <a:pt x="4235" y="410"/>
                    </a:lnTo>
                    <a:lnTo>
                      <a:pt x="4240" y="410"/>
                    </a:lnTo>
                    <a:lnTo>
                      <a:pt x="4245" y="411"/>
                    </a:lnTo>
                    <a:lnTo>
                      <a:pt x="4251" y="411"/>
                    </a:lnTo>
                    <a:lnTo>
                      <a:pt x="4256" y="415"/>
                    </a:lnTo>
                    <a:lnTo>
                      <a:pt x="4266" y="424"/>
                    </a:lnTo>
                    <a:lnTo>
                      <a:pt x="4273" y="434"/>
                    </a:lnTo>
                    <a:lnTo>
                      <a:pt x="4280" y="443"/>
                    </a:lnTo>
                    <a:lnTo>
                      <a:pt x="4289" y="450"/>
                    </a:lnTo>
                    <a:lnTo>
                      <a:pt x="4306" y="453"/>
                    </a:lnTo>
                    <a:lnTo>
                      <a:pt x="4308" y="452"/>
                    </a:lnTo>
                    <a:lnTo>
                      <a:pt x="4310" y="452"/>
                    </a:lnTo>
                    <a:lnTo>
                      <a:pt x="4312" y="450"/>
                    </a:lnTo>
                    <a:lnTo>
                      <a:pt x="4313" y="450"/>
                    </a:lnTo>
                    <a:lnTo>
                      <a:pt x="4317" y="450"/>
                    </a:lnTo>
                    <a:lnTo>
                      <a:pt x="4327" y="462"/>
                    </a:lnTo>
                    <a:lnTo>
                      <a:pt x="4338" y="474"/>
                    </a:lnTo>
                    <a:lnTo>
                      <a:pt x="4347" y="487"/>
                    </a:lnTo>
                    <a:lnTo>
                      <a:pt x="4352" y="504"/>
                    </a:lnTo>
                    <a:lnTo>
                      <a:pt x="4317" y="504"/>
                    </a:lnTo>
                    <a:lnTo>
                      <a:pt x="4315" y="507"/>
                    </a:lnTo>
                    <a:lnTo>
                      <a:pt x="4312" y="511"/>
                    </a:lnTo>
                    <a:lnTo>
                      <a:pt x="4310" y="513"/>
                    </a:lnTo>
                    <a:lnTo>
                      <a:pt x="4308" y="518"/>
                    </a:lnTo>
                    <a:lnTo>
                      <a:pt x="4306" y="523"/>
                    </a:lnTo>
                    <a:lnTo>
                      <a:pt x="4310" y="525"/>
                    </a:lnTo>
                    <a:lnTo>
                      <a:pt x="4312" y="527"/>
                    </a:lnTo>
                    <a:lnTo>
                      <a:pt x="4313" y="528"/>
                    </a:lnTo>
                    <a:lnTo>
                      <a:pt x="4315" y="532"/>
                    </a:lnTo>
                    <a:lnTo>
                      <a:pt x="4315" y="534"/>
                    </a:lnTo>
                    <a:lnTo>
                      <a:pt x="4313" y="537"/>
                    </a:lnTo>
                    <a:lnTo>
                      <a:pt x="4310" y="542"/>
                    </a:lnTo>
                    <a:lnTo>
                      <a:pt x="4308" y="544"/>
                    </a:lnTo>
                    <a:lnTo>
                      <a:pt x="4305" y="546"/>
                    </a:lnTo>
                    <a:lnTo>
                      <a:pt x="4301" y="546"/>
                    </a:lnTo>
                    <a:lnTo>
                      <a:pt x="4298" y="546"/>
                    </a:lnTo>
                    <a:lnTo>
                      <a:pt x="4291" y="546"/>
                    </a:lnTo>
                    <a:lnTo>
                      <a:pt x="4284" y="535"/>
                    </a:lnTo>
                    <a:lnTo>
                      <a:pt x="4273" y="530"/>
                    </a:lnTo>
                    <a:lnTo>
                      <a:pt x="4259" y="527"/>
                    </a:lnTo>
                    <a:lnTo>
                      <a:pt x="4259" y="514"/>
                    </a:lnTo>
                    <a:lnTo>
                      <a:pt x="4256" y="513"/>
                    </a:lnTo>
                    <a:lnTo>
                      <a:pt x="4252" y="511"/>
                    </a:lnTo>
                    <a:lnTo>
                      <a:pt x="4251" y="509"/>
                    </a:lnTo>
                    <a:lnTo>
                      <a:pt x="4247" y="507"/>
                    </a:lnTo>
                    <a:lnTo>
                      <a:pt x="4240" y="507"/>
                    </a:lnTo>
                    <a:lnTo>
                      <a:pt x="4238" y="507"/>
                    </a:lnTo>
                    <a:lnTo>
                      <a:pt x="4237" y="509"/>
                    </a:lnTo>
                    <a:lnTo>
                      <a:pt x="4235" y="509"/>
                    </a:lnTo>
                    <a:lnTo>
                      <a:pt x="4233" y="509"/>
                    </a:lnTo>
                    <a:lnTo>
                      <a:pt x="4230" y="511"/>
                    </a:lnTo>
                    <a:lnTo>
                      <a:pt x="4226" y="504"/>
                    </a:lnTo>
                    <a:lnTo>
                      <a:pt x="4221" y="497"/>
                    </a:lnTo>
                    <a:lnTo>
                      <a:pt x="4217" y="492"/>
                    </a:lnTo>
                    <a:lnTo>
                      <a:pt x="4217" y="504"/>
                    </a:lnTo>
                    <a:lnTo>
                      <a:pt x="4214" y="518"/>
                    </a:lnTo>
                    <a:lnTo>
                      <a:pt x="4210" y="530"/>
                    </a:lnTo>
                    <a:lnTo>
                      <a:pt x="4202" y="537"/>
                    </a:lnTo>
                    <a:lnTo>
                      <a:pt x="4198" y="539"/>
                    </a:lnTo>
                    <a:lnTo>
                      <a:pt x="4195" y="539"/>
                    </a:lnTo>
                    <a:lnTo>
                      <a:pt x="4193" y="539"/>
                    </a:lnTo>
                    <a:lnTo>
                      <a:pt x="4191" y="539"/>
                    </a:lnTo>
                    <a:lnTo>
                      <a:pt x="4189" y="537"/>
                    </a:lnTo>
                    <a:lnTo>
                      <a:pt x="4188" y="537"/>
                    </a:lnTo>
                    <a:lnTo>
                      <a:pt x="4186" y="537"/>
                    </a:lnTo>
                    <a:lnTo>
                      <a:pt x="4184" y="539"/>
                    </a:lnTo>
                    <a:lnTo>
                      <a:pt x="4182" y="541"/>
                    </a:lnTo>
                    <a:lnTo>
                      <a:pt x="4179" y="546"/>
                    </a:lnTo>
                    <a:lnTo>
                      <a:pt x="4189" y="558"/>
                    </a:lnTo>
                    <a:lnTo>
                      <a:pt x="4200" y="579"/>
                    </a:lnTo>
                    <a:lnTo>
                      <a:pt x="4205" y="603"/>
                    </a:lnTo>
                    <a:lnTo>
                      <a:pt x="4202" y="603"/>
                    </a:lnTo>
                    <a:lnTo>
                      <a:pt x="4200" y="605"/>
                    </a:lnTo>
                    <a:lnTo>
                      <a:pt x="4196" y="605"/>
                    </a:lnTo>
                    <a:lnTo>
                      <a:pt x="4191" y="607"/>
                    </a:lnTo>
                    <a:lnTo>
                      <a:pt x="4184" y="602"/>
                    </a:lnTo>
                    <a:lnTo>
                      <a:pt x="4179" y="598"/>
                    </a:lnTo>
                    <a:lnTo>
                      <a:pt x="4172" y="597"/>
                    </a:lnTo>
                    <a:lnTo>
                      <a:pt x="4163" y="595"/>
                    </a:lnTo>
                    <a:lnTo>
                      <a:pt x="4158" y="609"/>
                    </a:lnTo>
                    <a:lnTo>
                      <a:pt x="4148" y="616"/>
                    </a:lnTo>
                    <a:lnTo>
                      <a:pt x="4135" y="621"/>
                    </a:lnTo>
                    <a:lnTo>
                      <a:pt x="4121" y="626"/>
                    </a:lnTo>
                    <a:lnTo>
                      <a:pt x="4120" y="640"/>
                    </a:lnTo>
                    <a:lnTo>
                      <a:pt x="4116" y="651"/>
                    </a:lnTo>
                    <a:lnTo>
                      <a:pt x="4109" y="661"/>
                    </a:lnTo>
                    <a:lnTo>
                      <a:pt x="4095" y="663"/>
                    </a:lnTo>
                    <a:lnTo>
                      <a:pt x="4085" y="666"/>
                    </a:lnTo>
                    <a:lnTo>
                      <a:pt x="4078" y="670"/>
                    </a:lnTo>
                    <a:lnTo>
                      <a:pt x="4071" y="672"/>
                    </a:lnTo>
                    <a:lnTo>
                      <a:pt x="4066" y="668"/>
                    </a:lnTo>
                    <a:lnTo>
                      <a:pt x="4060" y="663"/>
                    </a:lnTo>
                    <a:lnTo>
                      <a:pt x="4057" y="658"/>
                    </a:lnTo>
                    <a:lnTo>
                      <a:pt x="4050" y="659"/>
                    </a:lnTo>
                    <a:lnTo>
                      <a:pt x="4041" y="661"/>
                    </a:lnTo>
                    <a:lnTo>
                      <a:pt x="4034" y="665"/>
                    </a:lnTo>
                    <a:lnTo>
                      <a:pt x="4029" y="668"/>
                    </a:lnTo>
                    <a:lnTo>
                      <a:pt x="4029" y="675"/>
                    </a:lnTo>
                    <a:lnTo>
                      <a:pt x="4024" y="677"/>
                    </a:lnTo>
                    <a:lnTo>
                      <a:pt x="4015" y="677"/>
                    </a:lnTo>
                    <a:lnTo>
                      <a:pt x="4003" y="677"/>
                    </a:lnTo>
                    <a:lnTo>
                      <a:pt x="3992" y="679"/>
                    </a:lnTo>
                    <a:lnTo>
                      <a:pt x="3987" y="680"/>
                    </a:lnTo>
                    <a:lnTo>
                      <a:pt x="3978" y="701"/>
                    </a:lnTo>
                    <a:lnTo>
                      <a:pt x="3977" y="724"/>
                    </a:lnTo>
                    <a:lnTo>
                      <a:pt x="3977" y="750"/>
                    </a:lnTo>
                    <a:lnTo>
                      <a:pt x="3980" y="773"/>
                    </a:lnTo>
                    <a:lnTo>
                      <a:pt x="3975" y="773"/>
                    </a:lnTo>
                    <a:lnTo>
                      <a:pt x="3973" y="773"/>
                    </a:lnTo>
                    <a:lnTo>
                      <a:pt x="3971" y="773"/>
                    </a:lnTo>
                    <a:lnTo>
                      <a:pt x="3970" y="775"/>
                    </a:lnTo>
                    <a:lnTo>
                      <a:pt x="3968" y="776"/>
                    </a:lnTo>
                    <a:lnTo>
                      <a:pt x="3966" y="782"/>
                    </a:lnTo>
                    <a:lnTo>
                      <a:pt x="3964" y="787"/>
                    </a:lnTo>
                    <a:lnTo>
                      <a:pt x="3964" y="794"/>
                    </a:lnTo>
                    <a:lnTo>
                      <a:pt x="3964" y="802"/>
                    </a:lnTo>
                    <a:lnTo>
                      <a:pt x="3952" y="802"/>
                    </a:lnTo>
                    <a:lnTo>
                      <a:pt x="3945" y="813"/>
                    </a:lnTo>
                    <a:lnTo>
                      <a:pt x="3940" y="820"/>
                    </a:lnTo>
                    <a:lnTo>
                      <a:pt x="3938" y="827"/>
                    </a:lnTo>
                    <a:lnTo>
                      <a:pt x="3936" y="841"/>
                    </a:lnTo>
                    <a:lnTo>
                      <a:pt x="3933" y="841"/>
                    </a:lnTo>
                    <a:lnTo>
                      <a:pt x="3929" y="841"/>
                    </a:lnTo>
                    <a:lnTo>
                      <a:pt x="3928" y="841"/>
                    </a:lnTo>
                    <a:lnTo>
                      <a:pt x="3928" y="841"/>
                    </a:lnTo>
                    <a:lnTo>
                      <a:pt x="3926" y="841"/>
                    </a:lnTo>
                    <a:lnTo>
                      <a:pt x="3922" y="841"/>
                    </a:lnTo>
                    <a:lnTo>
                      <a:pt x="3915" y="855"/>
                    </a:lnTo>
                    <a:lnTo>
                      <a:pt x="3910" y="872"/>
                    </a:lnTo>
                    <a:lnTo>
                      <a:pt x="3898" y="872"/>
                    </a:lnTo>
                    <a:lnTo>
                      <a:pt x="3894" y="891"/>
                    </a:lnTo>
                    <a:lnTo>
                      <a:pt x="3888" y="891"/>
                    </a:lnTo>
                    <a:lnTo>
                      <a:pt x="3888" y="886"/>
                    </a:lnTo>
                    <a:lnTo>
                      <a:pt x="3874" y="867"/>
                    </a:lnTo>
                    <a:lnTo>
                      <a:pt x="3865" y="844"/>
                    </a:lnTo>
                    <a:lnTo>
                      <a:pt x="3863" y="818"/>
                    </a:lnTo>
                    <a:lnTo>
                      <a:pt x="3865" y="787"/>
                    </a:lnTo>
                    <a:lnTo>
                      <a:pt x="3870" y="783"/>
                    </a:lnTo>
                    <a:lnTo>
                      <a:pt x="3874" y="780"/>
                    </a:lnTo>
                    <a:lnTo>
                      <a:pt x="3879" y="776"/>
                    </a:lnTo>
                    <a:lnTo>
                      <a:pt x="3881" y="771"/>
                    </a:lnTo>
                    <a:lnTo>
                      <a:pt x="3884" y="764"/>
                    </a:lnTo>
                    <a:lnTo>
                      <a:pt x="3879" y="755"/>
                    </a:lnTo>
                    <a:lnTo>
                      <a:pt x="3877" y="743"/>
                    </a:lnTo>
                    <a:lnTo>
                      <a:pt x="3884" y="729"/>
                    </a:lnTo>
                    <a:lnTo>
                      <a:pt x="3891" y="724"/>
                    </a:lnTo>
                    <a:lnTo>
                      <a:pt x="3900" y="720"/>
                    </a:lnTo>
                    <a:lnTo>
                      <a:pt x="3910" y="717"/>
                    </a:lnTo>
                    <a:lnTo>
                      <a:pt x="3917" y="710"/>
                    </a:lnTo>
                    <a:lnTo>
                      <a:pt x="3931" y="689"/>
                    </a:lnTo>
                    <a:lnTo>
                      <a:pt x="3945" y="668"/>
                    </a:lnTo>
                    <a:lnTo>
                      <a:pt x="3956" y="659"/>
                    </a:lnTo>
                    <a:lnTo>
                      <a:pt x="3968" y="651"/>
                    </a:lnTo>
                    <a:lnTo>
                      <a:pt x="3980" y="642"/>
                    </a:lnTo>
                    <a:lnTo>
                      <a:pt x="3985" y="630"/>
                    </a:lnTo>
                    <a:lnTo>
                      <a:pt x="3989" y="616"/>
                    </a:lnTo>
                    <a:lnTo>
                      <a:pt x="3994" y="603"/>
                    </a:lnTo>
                    <a:lnTo>
                      <a:pt x="3994" y="602"/>
                    </a:lnTo>
                    <a:lnTo>
                      <a:pt x="3992" y="602"/>
                    </a:lnTo>
                    <a:lnTo>
                      <a:pt x="3992" y="602"/>
                    </a:lnTo>
                    <a:lnTo>
                      <a:pt x="3992" y="602"/>
                    </a:lnTo>
                    <a:lnTo>
                      <a:pt x="3992" y="600"/>
                    </a:lnTo>
                    <a:lnTo>
                      <a:pt x="3990" y="598"/>
                    </a:lnTo>
                    <a:lnTo>
                      <a:pt x="3987" y="600"/>
                    </a:lnTo>
                    <a:lnTo>
                      <a:pt x="3987" y="600"/>
                    </a:lnTo>
                    <a:lnTo>
                      <a:pt x="3985" y="602"/>
                    </a:lnTo>
                    <a:lnTo>
                      <a:pt x="3985" y="602"/>
                    </a:lnTo>
                    <a:lnTo>
                      <a:pt x="3984" y="603"/>
                    </a:lnTo>
                    <a:lnTo>
                      <a:pt x="3975" y="616"/>
                    </a:lnTo>
                    <a:lnTo>
                      <a:pt x="3966" y="630"/>
                    </a:lnTo>
                    <a:lnTo>
                      <a:pt x="3957" y="642"/>
                    </a:lnTo>
                    <a:lnTo>
                      <a:pt x="3945" y="651"/>
                    </a:lnTo>
                    <a:lnTo>
                      <a:pt x="3929" y="658"/>
                    </a:lnTo>
                    <a:lnTo>
                      <a:pt x="3928" y="652"/>
                    </a:lnTo>
                    <a:lnTo>
                      <a:pt x="3928" y="651"/>
                    </a:lnTo>
                    <a:lnTo>
                      <a:pt x="3926" y="647"/>
                    </a:lnTo>
                    <a:lnTo>
                      <a:pt x="3926" y="642"/>
                    </a:lnTo>
                    <a:lnTo>
                      <a:pt x="3928" y="640"/>
                    </a:lnTo>
                    <a:lnTo>
                      <a:pt x="3928" y="638"/>
                    </a:lnTo>
                    <a:lnTo>
                      <a:pt x="3928" y="637"/>
                    </a:lnTo>
                    <a:lnTo>
                      <a:pt x="3929" y="633"/>
                    </a:lnTo>
                    <a:lnTo>
                      <a:pt x="3929" y="630"/>
                    </a:lnTo>
                    <a:lnTo>
                      <a:pt x="3924" y="626"/>
                    </a:lnTo>
                    <a:lnTo>
                      <a:pt x="3919" y="624"/>
                    </a:lnTo>
                    <a:lnTo>
                      <a:pt x="3915" y="623"/>
                    </a:lnTo>
                    <a:lnTo>
                      <a:pt x="3910" y="621"/>
                    </a:lnTo>
                    <a:lnTo>
                      <a:pt x="3907" y="623"/>
                    </a:lnTo>
                    <a:lnTo>
                      <a:pt x="3898" y="628"/>
                    </a:lnTo>
                    <a:lnTo>
                      <a:pt x="3886" y="638"/>
                    </a:lnTo>
                    <a:lnTo>
                      <a:pt x="3875" y="651"/>
                    </a:lnTo>
                    <a:lnTo>
                      <a:pt x="3865" y="663"/>
                    </a:lnTo>
                    <a:lnTo>
                      <a:pt x="3860" y="672"/>
                    </a:lnTo>
                    <a:lnTo>
                      <a:pt x="3860" y="675"/>
                    </a:lnTo>
                    <a:lnTo>
                      <a:pt x="3860" y="679"/>
                    </a:lnTo>
                    <a:lnTo>
                      <a:pt x="3861" y="682"/>
                    </a:lnTo>
                    <a:lnTo>
                      <a:pt x="3863" y="687"/>
                    </a:lnTo>
                    <a:lnTo>
                      <a:pt x="3865" y="691"/>
                    </a:lnTo>
                    <a:lnTo>
                      <a:pt x="3865" y="694"/>
                    </a:lnTo>
                    <a:lnTo>
                      <a:pt x="3854" y="699"/>
                    </a:lnTo>
                    <a:lnTo>
                      <a:pt x="3842" y="701"/>
                    </a:lnTo>
                    <a:lnTo>
                      <a:pt x="3826" y="703"/>
                    </a:lnTo>
                    <a:lnTo>
                      <a:pt x="3811" y="703"/>
                    </a:lnTo>
                    <a:lnTo>
                      <a:pt x="3811" y="684"/>
                    </a:lnTo>
                    <a:lnTo>
                      <a:pt x="3795" y="687"/>
                    </a:lnTo>
                    <a:lnTo>
                      <a:pt x="3781" y="693"/>
                    </a:lnTo>
                    <a:lnTo>
                      <a:pt x="3769" y="691"/>
                    </a:lnTo>
                    <a:lnTo>
                      <a:pt x="3760" y="680"/>
                    </a:lnTo>
                    <a:lnTo>
                      <a:pt x="3725" y="675"/>
                    </a:lnTo>
                    <a:lnTo>
                      <a:pt x="3713" y="687"/>
                    </a:lnTo>
                    <a:lnTo>
                      <a:pt x="3699" y="696"/>
                    </a:lnTo>
                    <a:lnTo>
                      <a:pt x="3687" y="706"/>
                    </a:lnTo>
                    <a:lnTo>
                      <a:pt x="3680" y="719"/>
                    </a:lnTo>
                    <a:lnTo>
                      <a:pt x="3673" y="731"/>
                    </a:lnTo>
                    <a:lnTo>
                      <a:pt x="3666" y="743"/>
                    </a:lnTo>
                    <a:lnTo>
                      <a:pt x="3657" y="752"/>
                    </a:lnTo>
                    <a:lnTo>
                      <a:pt x="3629" y="761"/>
                    </a:lnTo>
                    <a:lnTo>
                      <a:pt x="3622" y="768"/>
                    </a:lnTo>
                    <a:lnTo>
                      <a:pt x="3617" y="776"/>
                    </a:lnTo>
                    <a:lnTo>
                      <a:pt x="3612" y="783"/>
                    </a:lnTo>
                    <a:lnTo>
                      <a:pt x="3600" y="792"/>
                    </a:lnTo>
                    <a:lnTo>
                      <a:pt x="3600" y="802"/>
                    </a:lnTo>
                    <a:lnTo>
                      <a:pt x="3615" y="802"/>
                    </a:lnTo>
                    <a:lnTo>
                      <a:pt x="3617" y="808"/>
                    </a:lnTo>
                    <a:lnTo>
                      <a:pt x="3619" y="811"/>
                    </a:lnTo>
                    <a:lnTo>
                      <a:pt x="3620" y="815"/>
                    </a:lnTo>
                    <a:lnTo>
                      <a:pt x="3624" y="818"/>
                    </a:lnTo>
                    <a:lnTo>
                      <a:pt x="3627" y="820"/>
                    </a:lnTo>
                    <a:lnTo>
                      <a:pt x="3634" y="822"/>
                    </a:lnTo>
                    <a:lnTo>
                      <a:pt x="3638" y="818"/>
                    </a:lnTo>
                    <a:lnTo>
                      <a:pt x="3641" y="816"/>
                    </a:lnTo>
                    <a:lnTo>
                      <a:pt x="3647" y="815"/>
                    </a:lnTo>
                    <a:lnTo>
                      <a:pt x="3652" y="815"/>
                    </a:lnTo>
                    <a:lnTo>
                      <a:pt x="3661" y="815"/>
                    </a:lnTo>
                    <a:lnTo>
                      <a:pt x="3668" y="823"/>
                    </a:lnTo>
                    <a:lnTo>
                      <a:pt x="3673" y="830"/>
                    </a:lnTo>
                    <a:lnTo>
                      <a:pt x="3676" y="839"/>
                    </a:lnTo>
                    <a:lnTo>
                      <a:pt x="3680" y="853"/>
                    </a:lnTo>
                    <a:lnTo>
                      <a:pt x="3682" y="862"/>
                    </a:lnTo>
                    <a:lnTo>
                      <a:pt x="3680" y="867"/>
                    </a:lnTo>
                    <a:lnTo>
                      <a:pt x="3675" y="872"/>
                    </a:lnTo>
                    <a:lnTo>
                      <a:pt x="3673" y="881"/>
                    </a:lnTo>
                    <a:lnTo>
                      <a:pt x="3673" y="891"/>
                    </a:lnTo>
                    <a:lnTo>
                      <a:pt x="3676" y="900"/>
                    </a:lnTo>
                    <a:lnTo>
                      <a:pt x="3680" y="909"/>
                    </a:lnTo>
                    <a:lnTo>
                      <a:pt x="3683" y="921"/>
                    </a:lnTo>
                    <a:lnTo>
                      <a:pt x="3673" y="932"/>
                    </a:lnTo>
                    <a:lnTo>
                      <a:pt x="3666" y="944"/>
                    </a:lnTo>
                    <a:lnTo>
                      <a:pt x="3661" y="956"/>
                    </a:lnTo>
                    <a:lnTo>
                      <a:pt x="3654" y="972"/>
                    </a:lnTo>
                    <a:lnTo>
                      <a:pt x="3650" y="975"/>
                    </a:lnTo>
                    <a:lnTo>
                      <a:pt x="3641" y="986"/>
                    </a:lnTo>
                    <a:lnTo>
                      <a:pt x="3631" y="998"/>
                    </a:lnTo>
                    <a:lnTo>
                      <a:pt x="3620" y="1012"/>
                    </a:lnTo>
                    <a:lnTo>
                      <a:pt x="3608" y="1024"/>
                    </a:lnTo>
                    <a:lnTo>
                      <a:pt x="3598" y="1036"/>
                    </a:lnTo>
                    <a:lnTo>
                      <a:pt x="3591" y="1045"/>
                    </a:lnTo>
                    <a:lnTo>
                      <a:pt x="3587" y="1049"/>
                    </a:lnTo>
                    <a:lnTo>
                      <a:pt x="3575" y="1052"/>
                    </a:lnTo>
                    <a:lnTo>
                      <a:pt x="3563" y="1050"/>
                    </a:lnTo>
                    <a:lnTo>
                      <a:pt x="3552" y="1050"/>
                    </a:lnTo>
                    <a:lnTo>
                      <a:pt x="3542" y="1052"/>
                    </a:lnTo>
                    <a:lnTo>
                      <a:pt x="3533" y="1061"/>
                    </a:lnTo>
                    <a:lnTo>
                      <a:pt x="3526" y="1071"/>
                    </a:lnTo>
                    <a:lnTo>
                      <a:pt x="3521" y="1082"/>
                    </a:lnTo>
                    <a:lnTo>
                      <a:pt x="3514" y="1092"/>
                    </a:lnTo>
                    <a:lnTo>
                      <a:pt x="3504" y="1099"/>
                    </a:lnTo>
                    <a:lnTo>
                      <a:pt x="3502" y="1099"/>
                    </a:lnTo>
                    <a:lnTo>
                      <a:pt x="3500" y="1101"/>
                    </a:lnTo>
                    <a:lnTo>
                      <a:pt x="3498" y="1101"/>
                    </a:lnTo>
                    <a:lnTo>
                      <a:pt x="3495" y="1101"/>
                    </a:lnTo>
                    <a:lnTo>
                      <a:pt x="3491" y="1103"/>
                    </a:lnTo>
                    <a:lnTo>
                      <a:pt x="3495" y="1113"/>
                    </a:lnTo>
                    <a:lnTo>
                      <a:pt x="3502" y="1124"/>
                    </a:lnTo>
                    <a:lnTo>
                      <a:pt x="3507" y="1136"/>
                    </a:lnTo>
                    <a:lnTo>
                      <a:pt x="3514" y="1148"/>
                    </a:lnTo>
                    <a:lnTo>
                      <a:pt x="3517" y="1159"/>
                    </a:lnTo>
                    <a:lnTo>
                      <a:pt x="3519" y="1171"/>
                    </a:lnTo>
                    <a:lnTo>
                      <a:pt x="3516" y="1179"/>
                    </a:lnTo>
                    <a:lnTo>
                      <a:pt x="3509" y="1186"/>
                    </a:lnTo>
                    <a:lnTo>
                      <a:pt x="3495" y="1192"/>
                    </a:lnTo>
                    <a:lnTo>
                      <a:pt x="3472" y="1195"/>
                    </a:lnTo>
                    <a:lnTo>
                      <a:pt x="3472" y="1186"/>
                    </a:lnTo>
                    <a:lnTo>
                      <a:pt x="3470" y="1178"/>
                    </a:lnTo>
                    <a:lnTo>
                      <a:pt x="3470" y="1166"/>
                    </a:lnTo>
                    <a:lnTo>
                      <a:pt x="3472" y="1152"/>
                    </a:lnTo>
                    <a:lnTo>
                      <a:pt x="3472" y="1141"/>
                    </a:lnTo>
                    <a:lnTo>
                      <a:pt x="3467" y="1141"/>
                    </a:lnTo>
                    <a:lnTo>
                      <a:pt x="3463" y="1141"/>
                    </a:lnTo>
                    <a:lnTo>
                      <a:pt x="3460" y="1141"/>
                    </a:lnTo>
                    <a:lnTo>
                      <a:pt x="3458" y="1141"/>
                    </a:lnTo>
                    <a:lnTo>
                      <a:pt x="3456" y="1139"/>
                    </a:lnTo>
                    <a:lnTo>
                      <a:pt x="3453" y="1138"/>
                    </a:lnTo>
                    <a:lnTo>
                      <a:pt x="3449" y="1132"/>
                    </a:lnTo>
                    <a:lnTo>
                      <a:pt x="3453" y="1127"/>
                    </a:lnTo>
                    <a:lnTo>
                      <a:pt x="3456" y="1122"/>
                    </a:lnTo>
                    <a:lnTo>
                      <a:pt x="3458" y="1117"/>
                    </a:lnTo>
                    <a:lnTo>
                      <a:pt x="3462" y="1110"/>
                    </a:lnTo>
                    <a:lnTo>
                      <a:pt x="3453" y="1110"/>
                    </a:lnTo>
                    <a:lnTo>
                      <a:pt x="3442" y="1108"/>
                    </a:lnTo>
                    <a:lnTo>
                      <a:pt x="3430" y="1111"/>
                    </a:lnTo>
                    <a:lnTo>
                      <a:pt x="3416" y="1117"/>
                    </a:lnTo>
                    <a:lnTo>
                      <a:pt x="3404" y="1122"/>
                    </a:lnTo>
                    <a:lnTo>
                      <a:pt x="3404" y="1118"/>
                    </a:lnTo>
                    <a:lnTo>
                      <a:pt x="3406" y="1113"/>
                    </a:lnTo>
                    <a:lnTo>
                      <a:pt x="3408" y="1110"/>
                    </a:lnTo>
                    <a:lnTo>
                      <a:pt x="3409" y="1104"/>
                    </a:lnTo>
                    <a:lnTo>
                      <a:pt x="3411" y="1101"/>
                    </a:lnTo>
                    <a:lnTo>
                      <a:pt x="3414" y="1094"/>
                    </a:lnTo>
                    <a:lnTo>
                      <a:pt x="3411" y="1094"/>
                    </a:lnTo>
                    <a:lnTo>
                      <a:pt x="3408" y="1092"/>
                    </a:lnTo>
                    <a:lnTo>
                      <a:pt x="3404" y="1092"/>
                    </a:lnTo>
                    <a:lnTo>
                      <a:pt x="3399" y="1090"/>
                    </a:lnTo>
                    <a:lnTo>
                      <a:pt x="3388" y="1101"/>
                    </a:lnTo>
                    <a:lnTo>
                      <a:pt x="3376" y="1110"/>
                    </a:lnTo>
                    <a:lnTo>
                      <a:pt x="3364" y="1120"/>
                    </a:lnTo>
                    <a:lnTo>
                      <a:pt x="3357" y="1132"/>
                    </a:lnTo>
                    <a:lnTo>
                      <a:pt x="3364" y="1136"/>
                    </a:lnTo>
                    <a:lnTo>
                      <a:pt x="3369" y="1139"/>
                    </a:lnTo>
                    <a:lnTo>
                      <a:pt x="3373" y="1143"/>
                    </a:lnTo>
                    <a:lnTo>
                      <a:pt x="3376" y="1146"/>
                    </a:lnTo>
                    <a:lnTo>
                      <a:pt x="3380" y="1152"/>
                    </a:lnTo>
                    <a:lnTo>
                      <a:pt x="3390" y="1146"/>
                    </a:lnTo>
                    <a:lnTo>
                      <a:pt x="3399" y="1143"/>
                    </a:lnTo>
                    <a:lnTo>
                      <a:pt x="3408" y="1143"/>
                    </a:lnTo>
                    <a:lnTo>
                      <a:pt x="3418" y="1148"/>
                    </a:lnTo>
                    <a:lnTo>
                      <a:pt x="3423" y="1148"/>
                    </a:lnTo>
                    <a:lnTo>
                      <a:pt x="3423" y="1160"/>
                    </a:lnTo>
                    <a:lnTo>
                      <a:pt x="3404" y="1160"/>
                    </a:lnTo>
                    <a:lnTo>
                      <a:pt x="3397" y="1169"/>
                    </a:lnTo>
                    <a:lnTo>
                      <a:pt x="3390" y="1176"/>
                    </a:lnTo>
                    <a:lnTo>
                      <a:pt x="3385" y="1183"/>
                    </a:lnTo>
                    <a:lnTo>
                      <a:pt x="3380" y="1195"/>
                    </a:lnTo>
                    <a:lnTo>
                      <a:pt x="3394" y="1204"/>
                    </a:lnTo>
                    <a:lnTo>
                      <a:pt x="3402" y="1218"/>
                    </a:lnTo>
                    <a:lnTo>
                      <a:pt x="3409" y="1237"/>
                    </a:lnTo>
                    <a:lnTo>
                      <a:pt x="3413" y="1256"/>
                    </a:lnTo>
                    <a:lnTo>
                      <a:pt x="3414" y="1277"/>
                    </a:lnTo>
                    <a:lnTo>
                      <a:pt x="3414" y="1295"/>
                    </a:lnTo>
                    <a:lnTo>
                      <a:pt x="3402" y="1303"/>
                    </a:lnTo>
                    <a:lnTo>
                      <a:pt x="3395" y="1317"/>
                    </a:lnTo>
                    <a:lnTo>
                      <a:pt x="3388" y="1330"/>
                    </a:lnTo>
                    <a:lnTo>
                      <a:pt x="3380" y="1344"/>
                    </a:lnTo>
                    <a:lnTo>
                      <a:pt x="3362" y="1363"/>
                    </a:lnTo>
                    <a:lnTo>
                      <a:pt x="3339" y="1377"/>
                    </a:lnTo>
                    <a:lnTo>
                      <a:pt x="3315" y="1387"/>
                    </a:lnTo>
                    <a:lnTo>
                      <a:pt x="3287" y="1396"/>
                    </a:lnTo>
                    <a:lnTo>
                      <a:pt x="3261" y="1401"/>
                    </a:lnTo>
                    <a:lnTo>
                      <a:pt x="3261" y="1408"/>
                    </a:lnTo>
                    <a:lnTo>
                      <a:pt x="3261" y="1412"/>
                    </a:lnTo>
                    <a:lnTo>
                      <a:pt x="3261" y="1415"/>
                    </a:lnTo>
                    <a:lnTo>
                      <a:pt x="3261" y="1417"/>
                    </a:lnTo>
                    <a:lnTo>
                      <a:pt x="3263" y="1419"/>
                    </a:lnTo>
                    <a:lnTo>
                      <a:pt x="3263" y="1424"/>
                    </a:lnTo>
                    <a:lnTo>
                      <a:pt x="3264" y="1429"/>
                    </a:lnTo>
                    <a:lnTo>
                      <a:pt x="3261" y="1433"/>
                    </a:lnTo>
                    <a:lnTo>
                      <a:pt x="3257" y="1436"/>
                    </a:lnTo>
                    <a:lnTo>
                      <a:pt x="3256" y="1438"/>
                    </a:lnTo>
                    <a:lnTo>
                      <a:pt x="3252" y="1441"/>
                    </a:lnTo>
                    <a:lnTo>
                      <a:pt x="3245" y="1445"/>
                    </a:lnTo>
                    <a:lnTo>
                      <a:pt x="3243" y="1445"/>
                    </a:lnTo>
                    <a:lnTo>
                      <a:pt x="3242" y="1447"/>
                    </a:lnTo>
                    <a:lnTo>
                      <a:pt x="3240" y="1447"/>
                    </a:lnTo>
                    <a:lnTo>
                      <a:pt x="3238" y="1447"/>
                    </a:lnTo>
                    <a:lnTo>
                      <a:pt x="3235" y="1448"/>
                    </a:lnTo>
                    <a:lnTo>
                      <a:pt x="3233" y="1443"/>
                    </a:lnTo>
                    <a:lnTo>
                      <a:pt x="3231" y="1438"/>
                    </a:lnTo>
                    <a:lnTo>
                      <a:pt x="3231" y="1433"/>
                    </a:lnTo>
                    <a:lnTo>
                      <a:pt x="3231" y="1424"/>
                    </a:lnTo>
                    <a:lnTo>
                      <a:pt x="3235" y="1422"/>
                    </a:lnTo>
                    <a:lnTo>
                      <a:pt x="3238" y="1422"/>
                    </a:lnTo>
                    <a:lnTo>
                      <a:pt x="3242" y="1420"/>
                    </a:lnTo>
                    <a:lnTo>
                      <a:pt x="3243" y="1417"/>
                    </a:lnTo>
                    <a:lnTo>
                      <a:pt x="3245" y="1413"/>
                    </a:lnTo>
                    <a:lnTo>
                      <a:pt x="3243" y="1410"/>
                    </a:lnTo>
                    <a:lnTo>
                      <a:pt x="3240" y="1405"/>
                    </a:lnTo>
                    <a:lnTo>
                      <a:pt x="3238" y="1401"/>
                    </a:lnTo>
                    <a:lnTo>
                      <a:pt x="3235" y="1399"/>
                    </a:lnTo>
                    <a:lnTo>
                      <a:pt x="3233" y="1399"/>
                    </a:lnTo>
                    <a:lnTo>
                      <a:pt x="3228" y="1398"/>
                    </a:lnTo>
                    <a:lnTo>
                      <a:pt x="3222" y="1398"/>
                    </a:lnTo>
                    <a:lnTo>
                      <a:pt x="3216" y="1406"/>
                    </a:lnTo>
                    <a:lnTo>
                      <a:pt x="3209" y="1412"/>
                    </a:lnTo>
                    <a:lnTo>
                      <a:pt x="3203" y="1417"/>
                    </a:lnTo>
                    <a:lnTo>
                      <a:pt x="3198" y="1426"/>
                    </a:lnTo>
                    <a:lnTo>
                      <a:pt x="3196" y="1440"/>
                    </a:lnTo>
                    <a:lnTo>
                      <a:pt x="3212" y="1455"/>
                    </a:lnTo>
                    <a:lnTo>
                      <a:pt x="3224" y="1471"/>
                    </a:lnTo>
                    <a:lnTo>
                      <a:pt x="3235" y="1488"/>
                    </a:lnTo>
                    <a:lnTo>
                      <a:pt x="3240" y="1511"/>
                    </a:lnTo>
                    <a:lnTo>
                      <a:pt x="3242" y="1539"/>
                    </a:lnTo>
                    <a:lnTo>
                      <a:pt x="3184" y="1586"/>
                    </a:lnTo>
                    <a:lnTo>
                      <a:pt x="3177" y="1586"/>
                    </a:lnTo>
                    <a:lnTo>
                      <a:pt x="3172" y="1567"/>
                    </a:lnTo>
                    <a:lnTo>
                      <a:pt x="3161" y="1553"/>
                    </a:lnTo>
                    <a:lnTo>
                      <a:pt x="3147" y="1541"/>
                    </a:lnTo>
                    <a:lnTo>
                      <a:pt x="3132" y="1529"/>
                    </a:lnTo>
                    <a:lnTo>
                      <a:pt x="3116" y="1516"/>
                    </a:lnTo>
                    <a:lnTo>
                      <a:pt x="3109" y="1544"/>
                    </a:lnTo>
                    <a:lnTo>
                      <a:pt x="3100" y="1567"/>
                    </a:lnTo>
                    <a:lnTo>
                      <a:pt x="3109" y="1572"/>
                    </a:lnTo>
                    <a:lnTo>
                      <a:pt x="3113" y="1579"/>
                    </a:lnTo>
                    <a:lnTo>
                      <a:pt x="3114" y="1588"/>
                    </a:lnTo>
                    <a:lnTo>
                      <a:pt x="3120" y="1598"/>
                    </a:lnTo>
                    <a:lnTo>
                      <a:pt x="3121" y="1600"/>
                    </a:lnTo>
                    <a:lnTo>
                      <a:pt x="3125" y="1600"/>
                    </a:lnTo>
                    <a:lnTo>
                      <a:pt x="3128" y="1600"/>
                    </a:lnTo>
                    <a:lnTo>
                      <a:pt x="3132" y="1600"/>
                    </a:lnTo>
                    <a:lnTo>
                      <a:pt x="3135" y="1602"/>
                    </a:lnTo>
                    <a:lnTo>
                      <a:pt x="3149" y="1616"/>
                    </a:lnTo>
                    <a:lnTo>
                      <a:pt x="3160" y="1637"/>
                    </a:lnTo>
                    <a:lnTo>
                      <a:pt x="3167" y="1661"/>
                    </a:lnTo>
                    <a:lnTo>
                      <a:pt x="3168" y="1686"/>
                    </a:lnTo>
                    <a:lnTo>
                      <a:pt x="3158" y="1686"/>
                    </a:lnTo>
                    <a:lnTo>
                      <a:pt x="3147" y="1677"/>
                    </a:lnTo>
                    <a:lnTo>
                      <a:pt x="3137" y="1672"/>
                    </a:lnTo>
                    <a:lnTo>
                      <a:pt x="3135" y="1670"/>
                    </a:lnTo>
                    <a:lnTo>
                      <a:pt x="3126" y="1663"/>
                    </a:lnTo>
                    <a:lnTo>
                      <a:pt x="3120" y="1649"/>
                    </a:lnTo>
                    <a:lnTo>
                      <a:pt x="3116" y="1633"/>
                    </a:lnTo>
                    <a:lnTo>
                      <a:pt x="3111" y="1619"/>
                    </a:lnTo>
                    <a:lnTo>
                      <a:pt x="3106" y="1605"/>
                    </a:lnTo>
                    <a:lnTo>
                      <a:pt x="3097" y="1593"/>
                    </a:lnTo>
                    <a:lnTo>
                      <a:pt x="3097" y="1590"/>
                    </a:lnTo>
                    <a:lnTo>
                      <a:pt x="3088" y="1593"/>
                    </a:lnTo>
                    <a:lnTo>
                      <a:pt x="3088" y="1590"/>
                    </a:lnTo>
                    <a:lnTo>
                      <a:pt x="3085" y="1576"/>
                    </a:lnTo>
                    <a:lnTo>
                      <a:pt x="3085" y="1558"/>
                    </a:lnTo>
                    <a:lnTo>
                      <a:pt x="3085" y="1539"/>
                    </a:lnTo>
                    <a:lnTo>
                      <a:pt x="3085" y="1518"/>
                    </a:lnTo>
                    <a:lnTo>
                      <a:pt x="3083" y="1499"/>
                    </a:lnTo>
                    <a:lnTo>
                      <a:pt x="3076" y="1483"/>
                    </a:lnTo>
                    <a:lnTo>
                      <a:pt x="3065" y="1471"/>
                    </a:lnTo>
                    <a:lnTo>
                      <a:pt x="3062" y="1474"/>
                    </a:lnTo>
                    <a:lnTo>
                      <a:pt x="3057" y="1478"/>
                    </a:lnTo>
                    <a:lnTo>
                      <a:pt x="3053" y="1480"/>
                    </a:lnTo>
                    <a:lnTo>
                      <a:pt x="3046" y="1481"/>
                    </a:lnTo>
                    <a:lnTo>
                      <a:pt x="3039" y="1481"/>
                    </a:lnTo>
                    <a:lnTo>
                      <a:pt x="3037" y="1481"/>
                    </a:lnTo>
                    <a:lnTo>
                      <a:pt x="3037" y="1480"/>
                    </a:lnTo>
                    <a:lnTo>
                      <a:pt x="3037" y="1480"/>
                    </a:lnTo>
                    <a:lnTo>
                      <a:pt x="3037" y="1480"/>
                    </a:lnTo>
                    <a:lnTo>
                      <a:pt x="3036" y="1480"/>
                    </a:lnTo>
                    <a:lnTo>
                      <a:pt x="3034" y="1478"/>
                    </a:lnTo>
                    <a:lnTo>
                      <a:pt x="3034" y="1457"/>
                    </a:lnTo>
                    <a:lnTo>
                      <a:pt x="3029" y="1440"/>
                    </a:lnTo>
                    <a:lnTo>
                      <a:pt x="3022" y="1426"/>
                    </a:lnTo>
                    <a:lnTo>
                      <a:pt x="3011" y="1413"/>
                    </a:lnTo>
                    <a:lnTo>
                      <a:pt x="3003" y="1399"/>
                    </a:lnTo>
                    <a:lnTo>
                      <a:pt x="2992" y="1382"/>
                    </a:lnTo>
                    <a:lnTo>
                      <a:pt x="2989" y="1385"/>
                    </a:lnTo>
                    <a:lnTo>
                      <a:pt x="2987" y="1387"/>
                    </a:lnTo>
                    <a:lnTo>
                      <a:pt x="2985" y="1391"/>
                    </a:lnTo>
                    <a:lnTo>
                      <a:pt x="2983" y="1392"/>
                    </a:lnTo>
                    <a:lnTo>
                      <a:pt x="2982" y="1394"/>
                    </a:lnTo>
                    <a:lnTo>
                      <a:pt x="2966" y="1396"/>
                    </a:lnTo>
                    <a:lnTo>
                      <a:pt x="2952" y="1394"/>
                    </a:lnTo>
                    <a:lnTo>
                      <a:pt x="2938" y="1394"/>
                    </a:lnTo>
                    <a:lnTo>
                      <a:pt x="2934" y="1408"/>
                    </a:lnTo>
                    <a:lnTo>
                      <a:pt x="2929" y="1415"/>
                    </a:lnTo>
                    <a:lnTo>
                      <a:pt x="2926" y="1417"/>
                    </a:lnTo>
                    <a:lnTo>
                      <a:pt x="2919" y="1417"/>
                    </a:lnTo>
                    <a:lnTo>
                      <a:pt x="2912" y="1419"/>
                    </a:lnTo>
                    <a:lnTo>
                      <a:pt x="2905" y="1424"/>
                    </a:lnTo>
                    <a:lnTo>
                      <a:pt x="2893" y="1455"/>
                    </a:lnTo>
                    <a:lnTo>
                      <a:pt x="2877" y="1455"/>
                    </a:lnTo>
                    <a:lnTo>
                      <a:pt x="2868" y="1462"/>
                    </a:lnTo>
                    <a:lnTo>
                      <a:pt x="2859" y="1471"/>
                    </a:lnTo>
                    <a:lnTo>
                      <a:pt x="2847" y="1478"/>
                    </a:lnTo>
                    <a:lnTo>
                      <a:pt x="2844" y="1513"/>
                    </a:lnTo>
                    <a:lnTo>
                      <a:pt x="2835" y="1543"/>
                    </a:lnTo>
                    <a:lnTo>
                      <a:pt x="2823" y="1567"/>
                    </a:lnTo>
                    <a:lnTo>
                      <a:pt x="2804" y="1590"/>
                    </a:lnTo>
                    <a:lnTo>
                      <a:pt x="2802" y="1590"/>
                    </a:lnTo>
                    <a:lnTo>
                      <a:pt x="2800" y="1588"/>
                    </a:lnTo>
                    <a:lnTo>
                      <a:pt x="2798" y="1588"/>
                    </a:lnTo>
                    <a:lnTo>
                      <a:pt x="2798" y="1588"/>
                    </a:lnTo>
                    <a:lnTo>
                      <a:pt x="2797" y="1586"/>
                    </a:lnTo>
                    <a:lnTo>
                      <a:pt x="2786" y="1574"/>
                    </a:lnTo>
                    <a:lnTo>
                      <a:pt x="2776" y="1555"/>
                    </a:lnTo>
                    <a:lnTo>
                      <a:pt x="2770" y="1539"/>
                    </a:lnTo>
                    <a:lnTo>
                      <a:pt x="2769" y="1536"/>
                    </a:lnTo>
                    <a:lnTo>
                      <a:pt x="2770" y="1532"/>
                    </a:lnTo>
                    <a:lnTo>
                      <a:pt x="2772" y="1529"/>
                    </a:lnTo>
                    <a:lnTo>
                      <a:pt x="2774" y="1527"/>
                    </a:lnTo>
                    <a:lnTo>
                      <a:pt x="2774" y="1525"/>
                    </a:lnTo>
                    <a:lnTo>
                      <a:pt x="2756" y="1499"/>
                    </a:lnTo>
                    <a:lnTo>
                      <a:pt x="2744" y="1471"/>
                    </a:lnTo>
                    <a:lnTo>
                      <a:pt x="2736" y="1441"/>
                    </a:lnTo>
                    <a:lnTo>
                      <a:pt x="2732" y="1405"/>
                    </a:lnTo>
                    <a:lnTo>
                      <a:pt x="2720" y="1406"/>
                    </a:lnTo>
                    <a:lnTo>
                      <a:pt x="2711" y="1406"/>
                    </a:lnTo>
                    <a:lnTo>
                      <a:pt x="2701" y="1405"/>
                    </a:lnTo>
                    <a:lnTo>
                      <a:pt x="2697" y="1401"/>
                    </a:lnTo>
                    <a:lnTo>
                      <a:pt x="2692" y="1398"/>
                    </a:lnTo>
                    <a:lnTo>
                      <a:pt x="2688" y="1394"/>
                    </a:lnTo>
                    <a:lnTo>
                      <a:pt x="2685" y="1391"/>
                    </a:lnTo>
                    <a:lnTo>
                      <a:pt x="2688" y="1378"/>
                    </a:lnTo>
                    <a:lnTo>
                      <a:pt x="2681" y="1368"/>
                    </a:lnTo>
                    <a:lnTo>
                      <a:pt x="2669" y="1359"/>
                    </a:lnTo>
                    <a:lnTo>
                      <a:pt x="2657" y="1351"/>
                    </a:lnTo>
                    <a:lnTo>
                      <a:pt x="2646" y="1340"/>
                    </a:lnTo>
                    <a:lnTo>
                      <a:pt x="2617" y="1344"/>
                    </a:lnTo>
                    <a:lnTo>
                      <a:pt x="2587" y="1344"/>
                    </a:lnTo>
                    <a:lnTo>
                      <a:pt x="2557" y="1342"/>
                    </a:lnTo>
                    <a:lnTo>
                      <a:pt x="2528" y="1340"/>
                    </a:lnTo>
                    <a:lnTo>
                      <a:pt x="2523" y="1330"/>
                    </a:lnTo>
                    <a:lnTo>
                      <a:pt x="2516" y="1317"/>
                    </a:lnTo>
                    <a:lnTo>
                      <a:pt x="2505" y="1321"/>
                    </a:lnTo>
                    <a:lnTo>
                      <a:pt x="2498" y="1323"/>
                    </a:lnTo>
                    <a:lnTo>
                      <a:pt x="2489" y="1324"/>
                    </a:lnTo>
                    <a:lnTo>
                      <a:pt x="2477" y="1324"/>
                    </a:lnTo>
                    <a:lnTo>
                      <a:pt x="2467" y="1317"/>
                    </a:lnTo>
                    <a:lnTo>
                      <a:pt x="2456" y="1312"/>
                    </a:lnTo>
                    <a:lnTo>
                      <a:pt x="2444" y="1305"/>
                    </a:lnTo>
                    <a:lnTo>
                      <a:pt x="2435" y="1298"/>
                    </a:lnTo>
                    <a:lnTo>
                      <a:pt x="2432" y="1288"/>
                    </a:lnTo>
                    <a:lnTo>
                      <a:pt x="2427" y="1279"/>
                    </a:lnTo>
                    <a:lnTo>
                      <a:pt x="2416" y="1270"/>
                    </a:lnTo>
                    <a:lnTo>
                      <a:pt x="2414" y="1270"/>
                    </a:lnTo>
                    <a:lnTo>
                      <a:pt x="2413" y="1270"/>
                    </a:lnTo>
                    <a:lnTo>
                      <a:pt x="2411" y="1270"/>
                    </a:lnTo>
                    <a:lnTo>
                      <a:pt x="2407" y="1270"/>
                    </a:lnTo>
                    <a:lnTo>
                      <a:pt x="2400" y="1270"/>
                    </a:lnTo>
                    <a:lnTo>
                      <a:pt x="2404" y="1284"/>
                    </a:lnTo>
                    <a:lnTo>
                      <a:pt x="2409" y="1300"/>
                    </a:lnTo>
                    <a:lnTo>
                      <a:pt x="2418" y="1316"/>
                    </a:lnTo>
                    <a:lnTo>
                      <a:pt x="2425" y="1330"/>
                    </a:lnTo>
                    <a:lnTo>
                      <a:pt x="2432" y="1340"/>
                    </a:lnTo>
                    <a:lnTo>
                      <a:pt x="2434" y="1335"/>
                    </a:lnTo>
                    <a:lnTo>
                      <a:pt x="2435" y="1333"/>
                    </a:lnTo>
                    <a:lnTo>
                      <a:pt x="2435" y="1331"/>
                    </a:lnTo>
                    <a:lnTo>
                      <a:pt x="2437" y="1331"/>
                    </a:lnTo>
                    <a:lnTo>
                      <a:pt x="2439" y="1331"/>
                    </a:lnTo>
                    <a:lnTo>
                      <a:pt x="2444" y="1333"/>
                    </a:lnTo>
                    <a:lnTo>
                      <a:pt x="2446" y="1338"/>
                    </a:lnTo>
                    <a:lnTo>
                      <a:pt x="2448" y="1344"/>
                    </a:lnTo>
                    <a:lnTo>
                      <a:pt x="2448" y="1349"/>
                    </a:lnTo>
                    <a:lnTo>
                      <a:pt x="2449" y="1354"/>
                    </a:lnTo>
                    <a:lnTo>
                      <a:pt x="2451" y="1359"/>
                    </a:lnTo>
                    <a:lnTo>
                      <a:pt x="2458" y="1358"/>
                    </a:lnTo>
                    <a:lnTo>
                      <a:pt x="2467" y="1356"/>
                    </a:lnTo>
                    <a:lnTo>
                      <a:pt x="2477" y="1356"/>
                    </a:lnTo>
                    <a:lnTo>
                      <a:pt x="2493" y="1338"/>
                    </a:lnTo>
                    <a:lnTo>
                      <a:pt x="2512" y="1324"/>
                    </a:lnTo>
                    <a:lnTo>
                      <a:pt x="2514" y="1342"/>
                    </a:lnTo>
                    <a:lnTo>
                      <a:pt x="2516" y="1356"/>
                    </a:lnTo>
                    <a:lnTo>
                      <a:pt x="2542" y="1370"/>
                    </a:lnTo>
                    <a:lnTo>
                      <a:pt x="2563" y="1387"/>
                    </a:lnTo>
                    <a:lnTo>
                      <a:pt x="2556" y="1396"/>
                    </a:lnTo>
                    <a:lnTo>
                      <a:pt x="2550" y="1405"/>
                    </a:lnTo>
                    <a:lnTo>
                      <a:pt x="2544" y="1412"/>
                    </a:lnTo>
                    <a:lnTo>
                      <a:pt x="2531" y="1417"/>
                    </a:lnTo>
                    <a:lnTo>
                      <a:pt x="2531" y="1436"/>
                    </a:lnTo>
                    <a:lnTo>
                      <a:pt x="2514" y="1447"/>
                    </a:lnTo>
                    <a:lnTo>
                      <a:pt x="2496" y="1459"/>
                    </a:lnTo>
                    <a:lnTo>
                      <a:pt x="2496" y="1467"/>
                    </a:lnTo>
                    <a:lnTo>
                      <a:pt x="2474" y="1467"/>
                    </a:lnTo>
                    <a:lnTo>
                      <a:pt x="2461" y="1474"/>
                    </a:lnTo>
                    <a:lnTo>
                      <a:pt x="2451" y="1485"/>
                    </a:lnTo>
                    <a:lnTo>
                      <a:pt x="2439" y="1494"/>
                    </a:lnTo>
                    <a:lnTo>
                      <a:pt x="2423" y="1501"/>
                    </a:lnTo>
                    <a:lnTo>
                      <a:pt x="2407" y="1504"/>
                    </a:lnTo>
                    <a:lnTo>
                      <a:pt x="2390" y="1509"/>
                    </a:lnTo>
                    <a:lnTo>
                      <a:pt x="2376" y="1515"/>
                    </a:lnTo>
                    <a:lnTo>
                      <a:pt x="2364" y="1522"/>
                    </a:lnTo>
                    <a:lnTo>
                      <a:pt x="2352" y="1525"/>
                    </a:lnTo>
                    <a:lnTo>
                      <a:pt x="2343" y="1525"/>
                    </a:lnTo>
                    <a:lnTo>
                      <a:pt x="2339" y="1523"/>
                    </a:lnTo>
                    <a:lnTo>
                      <a:pt x="2338" y="1523"/>
                    </a:lnTo>
                    <a:lnTo>
                      <a:pt x="2336" y="1522"/>
                    </a:lnTo>
                    <a:lnTo>
                      <a:pt x="2336" y="1522"/>
                    </a:lnTo>
                    <a:lnTo>
                      <a:pt x="2334" y="1520"/>
                    </a:lnTo>
                    <a:lnTo>
                      <a:pt x="2332" y="1516"/>
                    </a:lnTo>
                    <a:lnTo>
                      <a:pt x="2327" y="1506"/>
                    </a:lnTo>
                    <a:lnTo>
                      <a:pt x="2325" y="1495"/>
                    </a:lnTo>
                    <a:lnTo>
                      <a:pt x="2325" y="1485"/>
                    </a:lnTo>
                    <a:lnTo>
                      <a:pt x="2324" y="1474"/>
                    </a:lnTo>
                    <a:lnTo>
                      <a:pt x="2315" y="1457"/>
                    </a:lnTo>
                    <a:lnTo>
                      <a:pt x="2303" y="1441"/>
                    </a:lnTo>
                    <a:lnTo>
                      <a:pt x="2290" y="1427"/>
                    </a:lnTo>
                    <a:lnTo>
                      <a:pt x="2278" y="1413"/>
                    </a:lnTo>
                    <a:lnTo>
                      <a:pt x="2275" y="1403"/>
                    </a:lnTo>
                    <a:lnTo>
                      <a:pt x="2273" y="1391"/>
                    </a:lnTo>
                    <a:lnTo>
                      <a:pt x="2271" y="1378"/>
                    </a:lnTo>
                    <a:lnTo>
                      <a:pt x="2266" y="1368"/>
                    </a:lnTo>
                    <a:lnTo>
                      <a:pt x="2247" y="1356"/>
                    </a:lnTo>
                    <a:lnTo>
                      <a:pt x="2242" y="1344"/>
                    </a:lnTo>
                    <a:lnTo>
                      <a:pt x="2236" y="1331"/>
                    </a:lnTo>
                    <a:lnTo>
                      <a:pt x="2231" y="1319"/>
                    </a:lnTo>
                    <a:lnTo>
                      <a:pt x="2224" y="1309"/>
                    </a:lnTo>
                    <a:lnTo>
                      <a:pt x="2214" y="1302"/>
                    </a:lnTo>
                    <a:lnTo>
                      <a:pt x="2208" y="1300"/>
                    </a:lnTo>
                    <a:lnTo>
                      <a:pt x="2207" y="1296"/>
                    </a:lnTo>
                    <a:lnTo>
                      <a:pt x="2203" y="1295"/>
                    </a:lnTo>
                    <a:lnTo>
                      <a:pt x="2200" y="1293"/>
                    </a:lnTo>
                    <a:lnTo>
                      <a:pt x="2196" y="1291"/>
                    </a:lnTo>
                    <a:lnTo>
                      <a:pt x="2193" y="1288"/>
                    </a:lnTo>
                    <a:lnTo>
                      <a:pt x="2189" y="1282"/>
                    </a:lnTo>
                    <a:lnTo>
                      <a:pt x="2186" y="1275"/>
                    </a:lnTo>
                    <a:lnTo>
                      <a:pt x="2182" y="1275"/>
                    </a:lnTo>
                    <a:lnTo>
                      <a:pt x="2182" y="1282"/>
                    </a:lnTo>
                    <a:lnTo>
                      <a:pt x="2194" y="1298"/>
                    </a:lnTo>
                    <a:lnTo>
                      <a:pt x="2205" y="1316"/>
                    </a:lnTo>
                    <a:lnTo>
                      <a:pt x="2212" y="1337"/>
                    </a:lnTo>
                    <a:lnTo>
                      <a:pt x="2219" y="1356"/>
                    </a:lnTo>
                    <a:lnTo>
                      <a:pt x="2228" y="1375"/>
                    </a:lnTo>
                    <a:lnTo>
                      <a:pt x="2231" y="1378"/>
                    </a:lnTo>
                    <a:lnTo>
                      <a:pt x="2236" y="1382"/>
                    </a:lnTo>
                    <a:lnTo>
                      <a:pt x="2240" y="1385"/>
                    </a:lnTo>
                    <a:lnTo>
                      <a:pt x="2245" y="1389"/>
                    </a:lnTo>
                    <a:lnTo>
                      <a:pt x="2247" y="1394"/>
                    </a:lnTo>
                    <a:lnTo>
                      <a:pt x="2247" y="1429"/>
                    </a:lnTo>
                    <a:lnTo>
                      <a:pt x="2250" y="1433"/>
                    </a:lnTo>
                    <a:lnTo>
                      <a:pt x="2254" y="1438"/>
                    </a:lnTo>
                    <a:lnTo>
                      <a:pt x="2259" y="1441"/>
                    </a:lnTo>
                    <a:lnTo>
                      <a:pt x="2264" y="1445"/>
                    </a:lnTo>
                    <a:lnTo>
                      <a:pt x="2266" y="1448"/>
                    </a:lnTo>
                    <a:lnTo>
                      <a:pt x="2269" y="1459"/>
                    </a:lnTo>
                    <a:lnTo>
                      <a:pt x="2271" y="1467"/>
                    </a:lnTo>
                    <a:lnTo>
                      <a:pt x="2275" y="1478"/>
                    </a:lnTo>
                    <a:lnTo>
                      <a:pt x="2285" y="1490"/>
                    </a:lnTo>
                    <a:lnTo>
                      <a:pt x="2301" y="1501"/>
                    </a:lnTo>
                    <a:lnTo>
                      <a:pt x="2318" y="1511"/>
                    </a:lnTo>
                    <a:lnTo>
                      <a:pt x="2332" y="1522"/>
                    </a:lnTo>
                    <a:lnTo>
                      <a:pt x="2336" y="1527"/>
                    </a:lnTo>
                    <a:lnTo>
                      <a:pt x="2336" y="1534"/>
                    </a:lnTo>
                    <a:lnTo>
                      <a:pt x="2336" y="1539"/>
                    </a:lnTo>
                    <a:lnTo>
                      <a:pt x="2338" y="1544"/>
                    </a:lnTo>
                    <a:lnTo>
                      <a:pt x="2343" y="1550"/>
                    </a:lnTo>
                    <a:lnTo>
                      <a:pt x="2358" y="1551"/>
                    </a:lnTo>
                    <a:lnTo>
                      <a:pt x="2376" y="1543"/>
                    </a:lnTo>
                    <a:lnTo>
                      <a:pt x="2400" y="1537"/>
                    </a:lnTo>
                    <a:lnTo>
                      <a:pt x="2423" y="1532"/>
                    </a:lnTo>
                    <a:lnTo>
                      <a:pt x="2444" y="1529"/>
                    </a:lnTo>
                    <a:lnTo>
                      <a:pt x="2444" y="1532"/>
                    </a:lnTo>
                    <a:lnTo>
                      <a:pt x="2439" y="1541"/>
                    </a:lnTo>
                    <a:lnTo>
                      <a:pt x="2439" y="1551"/>
                    </a:lnTo>
                    <a:lnTo>
                      <a:pt x="2435" y="1563"/>
                    </a:lnTo>
                    <a:lnTo>
                      <a:pt x="2428" y="1581"/>
                    </a:lnTo>
                    <a:lnTo>
                      <a:pt x="2418" y="1602"/>
                    </a:lnTo>
                    <a:lnTo>
                      <a:pt x="2406" y="1623"/>
                    </a:lnTo>
                    <a:lnTo>
                      <a:pt x="2393" y="1640"/>
                    </a:lnTo>
                    <a:lnTo>
                      <a:pt x="2374" y="1659"/>
                    </a:lnTo>
                    <a:lnTo>
                      <a:pt x="2353" y="1677"/>
                    </a:lnTo>
                    <a:lnTo>
                      <a:pt x="2331" y="1694"/>
                    </a:lnTo>
                    <a:lnTo>
                      <a:pt x="2310" y="1714"/>
                    </a:lnTo>
                    <a:lnTo>
                      <a:pt x="2292" y="1735"/>
                    </a:lnTo>
                    <a:lnTo>
                      <a:pt x="2278" y="1759"/>
                    </a:lnTo>
                    <a:lnTo>
                      <a:pt x="2273" y="1782"/>
                    </a:lnTo>
                    <a:lnTo>
                      <a:pt x="2276" y="1803"/>
                    </a:lnTo>
                    <a:lnTo>
                      <a:pt x="2283" y="1824"/>
                    </a:lnTo>
                    <a:lnTo>
                      <a:pt x="2290" y="1843"/>
                    </a:lnTo>
                    <a:lnTo>
                      <a:pt x="2297" y="1864"/>
                    </a:lnTo>
                    <a:lnTo>
                      <a:pt x="2303" y="1885"/>
                    </a:lnTo>
                    <a:lnTo>
                      <a:pt x="2301" y="1906"/>
                    </a:lnTo>
                    <a:lnTo>
                      <a:pt x="2290" y="1928"/>
                    </a:lnTo>
                    <a:lnTo>
                      <a:pt x="2275" y="1939"/>
                    </a:lnTo>
                    <a:lnTo>
                      <a:pt x="2257" y="1947"/>
                    </a:lnTo>
                    <a:lnTo>
                      <a:pt x="2240" y="1956"/>
                    </a:lnTo>
                    <a:lnTo>
                      <a:pt x="2226" y="1968"/>
                    </a:lnTo>
                    <a:lnTo>
                      <a:pt x="2217" y="1986"/>
                    </a:lnTo>
                    <a:lnTo>
                      <a:pt x="2226" y="1996"/>
                    </a:lnTo>
                    <a:lnTo>
                      <a:pt x="2233" y="2012"/>
                    </a:lnTo>
                    <a:lnTo>
                      <a:pt x="2236" y="2031"/>
                    </a:lnTo>
                    <a:lnTo>
                      <a:pt x="2231" y="2035"/>
                    </a:lnTo>
                    <a:lnTo>
                      <a:pt x="2228" y="2038"/>
                    </a:lnTo>
                    <a:lnTo>
                      <a:pt x="2226" y="2040"/>
                    </a:lnTo>
                    <a:lnTo>
                      <a:pt x="2222" y="2043"/>
                    </a:lnTo>
                    <a:lnTo>
                      <a:pt x="2221" y="2047"/>
                    </a:lnTo>
                    <a:lnTo>
                      <a:pt x="2217" y="2050"/>
                    </a:lnTo>
                    <a:lnTo>
                      <a:pt x="2198" y="2054"/>
                    </a:lnTo>
                    <a:lnTo>
                      <a:pt x="2193" y="2066"/>
                    </a:lnTo>
                    <a:lnTo>
                      <a:pt x="2191" y="2080"/>
                    </a:lnTo>
                    <a:lnTo>
                      <a:pt x="2189" y="2094"/>
                    </a:lnTo>
                    <a:lnTo>
                      <a:pt x="2186" y="2108"/>
                    </a:lnTo>
                    <a:lnTo>
                      <a:pt x="2163" y="2127"/>
                    </a:lnTo>
                    <a:lnTo>
                      <a:pt x="2156" y="2143"/>
                    </a:lnTo>
                    <a:lnTo>
                      <a:pt x="2147" y="2159"/>
                    </a:lnTo>
                    <a:lnTo>
                      <a:pt x="2130" y="2174"/>
                    </a:lnTo>
                    <a:lnTo>
                      <a:pt x="2109" y="2187"/>
                    </a:lnTo>
                    <a:lnTo>
                      <a:pt x="2083" y="2194"/>
                    </a:lnTo>
                    <a:lnTo>
                      <a:pt x="2057" y="2201"/>
                    </a:lnTo>
                    <a:lnTo>
                      <a:pt x="2030" y="2206"/>
                    </a:lnTo>
                    <a:lnTo>
                      <a:pt x="2006" y="2211"/>
                    </a:lnTo>
                    <a:lnTo>
                      <a:pt x="2001" y="2208"/>
                    </a:lnTo>
                    <a:lnTo>
                      <a:pt x="1997" y="2204"/>
                    </a:lnTo>
                    <a:lnTo>
                      <a:pt x="1994" y="2202"/>
                    </a:lnTo>
                    <a:lnTo>
                      <a:pt x="1990" y="2197"/>
                    </a:lnTo>
                    <a:lnTo>
                      <a:pt x="1987" y="2194"/>
                    </a:lnTo>
                    <a:lnTo>
                      <a:pt x="1985" y="2185"/>
                    </a:lnTo>
                    <a:lnTo>
                      <a:pt x="1985" y="2174"/>
                    </a:lnTo>
                    <a:lnTo>
                      <a:pt x="1985" y="2162"/>
                    </a:lnTo>
                    <a:lnTo>
                      <a:pt x="1983" y="2150"/>
                    </a:lnTo>
                    <a:lnTo>
                      <a:pt x="1973" y="2133"/>
                    </a:lnTo>
                    <a:lnTo>
                      <a:pt x="1959" y="2117"/>
                    </a:lnTo>
                    <a:lnTo>
                      <a:pt x="1945" y="2099"/>
                    </a:lnTo>
                    <a:lnTo>
                      <a:pt x="1936" y="2082"/>
                    </a:lnTo>
                    <a:lnTo>
                      <a:pt x="1940" y="2070"/>
                    </a:lnTo>
                    <a:lnTo>
                      <a:pt x="1940" y="2068"/>
                    </a:lnTo>
                    <a:lnTo>
                      <a:pt x="1936" y="2064"/>
                    </a:lnTo>
                    <a:lnTo>
                      <a:pt x="1933" y="2063"/>
                    </a:lnTo>
                    <a:lnTo>
                      <a:pt x="1931" y="2059"/>
                    </a:lnTo>
                    <a:lnTo>
                      <a:pt x="1929" y="2059"/>
                    </a:lnTo>
                    <a:lnTo>
                      <a:pt x="1927" y="2054"/>
                    </a:lnTo>
                    <a:lnTo>
                      <a:pt x="1929" y="2049"/>
                    </a:lnTo>
                    <a:lnTo>
                      <a:pt x="1929" y="2045"/>
                    </a:lnTo>
                    <a:lnTo>
                      <a:pt x="1931" y="2042"/>
                    </a:lnTo>
                    <a:lnTo>
                      <a:pt x="1933" y="2038"/>
                    </a:lnTo>
                    <a:lnTo>
                      <a:pt x="1926" y="2035"/>
                    </a:lnTo>
                    <a:lnTo>
                      <a:pt x="1926" y="2031"/>
                    </a:lnTo>
                    <a:lnTo>
                      <a:pt x="1926" y="2028"/>
                    </a:lnTo>
                    <a:lnTo>
                      <a:pt x="1927" y="2023"/>
                    </a:lnTo>
                    <a:lnTo>
                      <a:pt x="1929" y="2019"/>
                    </a:lnTo>
                    <a:lnTo>
                      <a:pt x="1929" y="2014"/>
                    </a:lnTo>
                    <a:lnTo>
                      <a:pt x="1929" y="2009"/>
                    </a:lnTo>
                    <a:lnTo>
                      <a:pt x="1922" y="1995"/>
                    </a:lnTo>
                    <a:lnTo>
                      <a:pt x="1912" y="1979"/>
                    </a:lnTo>
                    <a:lnTo>
                      <a:pt x="1901" y="1965"/>
                    </a:lnTo>
                    <a:lnTo>
                      <a:pt x="1894" y="1951"/>
                    </a:lnTo>
                    <a:lnTo>
                      <a:pt x="1892" y="1934"/>
                    </a:lnTo>
                    <a:lnTo>
                      <a:pt x="1896" y="1914"/>
                    </a:lnTo>
                    <a:lnTo>
                      <a:pt x="1903" y="1897"/>
                    </a:lnTo>
                    <a:lnTo>
                      <a:pt x="1913" y="1878"/>
                    </a:lnTo>
                    <a:lnTo>
                      <a:pt x="1920" y="1862"/>
                    </a:lnTo>
                    <a:lnTo>
                      <a:pt x="1926" y="1848"/>
                    </a:lnTo>
                    <a:lnTo>
                      <a:pt x="1919" y="1834"/>
                    </a:lnTo>
                    <a:lnTo>
                      <a:pt x="1917" y="1822"/>
                    </a:lnTo>
                    <a:lnTo>
                      <a:pt x="1917" y="1810"/>
                    </a:lnTo>
                    <a:lnTo>
                      <a:pt x="1913" y="1794"/>
                    </a:lnTo>
                    <a:lnTo>
                      <a:pt x="1903" y="1773"/>
                    </a:lnTo>
                    <a:lnTo>
                      <a:pt x="1887" y="1752"/>
                    </a:lnTo>
                    <a:lnTo>
                      <a:pt x="1872" y="1733"/>
                    </a:lnTo>
                    <a:lnTo>
                      <a:pt x="1856" y="1717"/>
                    </a:lnTo>
                    <a:lnTo>
                      <a:pt x="1861" y="1696"/>
                    </a:lnTo>
                    <a:lnTo>
                      <a:pt x="1866" y="1677"/>
                    </a:lnTo>
                    <a:lnTo>
                      <a:pt x="1872" y="1656"/>
                    </a:lnTo>
                    <a:lnTo>
                      <a:pt x="1866" y="1653"/>
                    </a:lnTo>
                    <a:lnTo>
                      <a:pt x="1863" y="1651"/>
                    </a:lnTo>
                    <a:lnTo>
                      <a:pt x="1859" y="1647"/>
                    </a:lnTo>
                    <a:lnTo>
                      <a:pt x="1856" y="1646"/>
                    </a:lnTo>
                    <a:lnTo>
                      <a:pt x="1851" y="1646"/>
                    </a:lnTo>
                    <a:lnTo>
                      <a:pt x="1844" y="1644"/>
                    </a:lnTo>
                    <a:lnTo>
                      <a:pt x="1840" y="1647"/>
                    </a:lnTo>
                    <a:lnTo>
                      <a:pt x="1838" y="1649"/>
                    </a:lnTo>
                    <a:lnTo>
                      <a:pt x="1833" y="1651"/>
                    </a:lnTo>
                    <a:lnTo>
                      <a:pt x="1828" y="1651"/>
                    </a:lnTo>
                    <a:lnTo>
                      <a:pt x="1821" y="1651"/>
                    </a:lnTo>
                    <a:lnTo>
                      <a:pt x="1802" y="1621"/>
                    </a:lnTo>
                    <a:lnTo>
                      <a:pt x="1789" y="1619"/>
                    </a:lnTo>
                    <a:lnTo>
                      <a:pt x="1777" y="1618"/>
                    </a:lnTo>
                    <a:lnTo>
                      <a:pt x="1763" y="1616"/>
                    </a:lnTo>
                    <a:lnTo>
                      <a:pt x="1746" y="1623"/>
                    </a:lnTo>
                    <a:lnTo>
                      <a:pt x="1728" y="1630"/>
                    </a:lnTo>
                    <a:lnTo>
                      <a:pt x="1714" y="1635"/>
                    </a:lnTo>
                    <a:lnTo>
                      <a:pt x="1680" y="1628"/>
                    </a:lnTo>
                    <a:lnTo>
                      <a:pt x="1676" y="1640"/>
                    </a:lnTo>
                    <a:lnTo>
                      <a:pt x="1664" y="1640"/>
                    </a:lnTo>
                    <a:lnTo>
                      <a:pt x="1653" y="1637"/>
                    </a:lnTo>
                    <a:lnTo>
                      <a:pt x="1645" y="1635"/>
                    </a:lnTo>
                    <a:lnTo>
                      <a:pt x="1641" y="1637"/>
                    </a:lnTo>
                    <a:lnTo>
                      <a:pt x="1638" y="1640"/>
                    </a:lnTo>
                    <a:lnTo>
                      <a:pt x="1632" y="1642"/>
                    </a:lnTo>
                    <a:lnTo>
                      <a:pt x="1625" y="1644"/>
                    </a:lnTo>
                    <a:lnTo>
                      <a:pt x="1615" y="1632"/>
                    </a:lnTo>
                    <a:lnTo>
                      <a:pt x="1601" y="1625"/>
                    </a:lnTo>
                    <a:lnTo>
                      <a:pt x="1587" y="1618"/>
                    </a:lnTo>
                    <a:lnTo>
                      <a:pt x="1573" y="1611"/>
                    </a:lnTo>
                    <a:lnTo>
                      <a:pt x="1561" y="1602"/>
                    </a:lnTo>
                    <a:lnTo>
                      <a:pt x="1552" y="1579"/>
                    </a:lnTo>
                    <a:lnTo>
                      <a:pt x="1542" y="1567"/>
                    </a:lnTo>
                    <a:lnTo>
                      <a:pt x="1526" y="1555"/>
                    </a:lnTo>
                    <a:lnTo>
                      <a:pt x="1512" y="1543"/>
                    </a:lnTo>
                    <a:lnTo>
                      <a:pt x="1503" y="1532"/>
                    </a:lnTo>
                    <a:lnTo>
                      <a:pt x="1503" y="1509"/>
                    </a:lnTo>
                    <a:lnTo>
                      <a:pt x="1500" y="1499"/>
                    </a:lnTo>
                    <a:lnTo>
                      <a:pt x="1501" y="1483"/>
                    </a:lnTo>
                    <a:lnTo>
                      <a:pt x="1505" y="1469"/>
                    </a:lnTo>
                    <a:lnTo>
                      <a:pt x="1508" y="1457"/>
                    </a:lnTo>
                    <a:lnTo>
                      <a:pt x="1510" y="1448"/>
                    </a:lnTo>
                    <a:lnTo>
                      <a:pt x="1510" y="1434"/>
                    </a:lnTo>
                    <a:lnTo>
                      <a:pt x="1507" y="1426"/>
                    </a:lnTo>
                    <a:lnTo>
                      <a:pt x="1501" y="1417"/>
                    </a:lnTo>
                    <a:lnTo>
                      <a:pt x="1498" y="1410"/>
                    </a:lnTo>
                    <a:lnTo>
                      <a:pt x="1498" y="1399"/>
                    </a:lnTo>
                    <a:lnTo>
                      <a:pt x="1501" y="1385"/>
                    </a:lnTo>
                    <a:lnTo>
                      <a:pt x="1508" y="1370"/>
                    </a:lnTo>
                    <a:lnTo>
                      <a:pt x="1515" y="1352"/>
                    </a:lnTo>
                    <a:lnTo>
                      <a:pt x="1522" y="1337"/>
                    </a:lnTo>
                    <a:lnTo>
                      <a:pt x="1529" y="1324"/>
                    </a:lnTo>
                    <a:lnTo>
                      <a:pt x="1533" y="1317"/>
                    </a:lnTo>
                    <a:lnTo>
                      <a:pt x="1545" y="1307"/>
                    </a:lnTo>
                    <a:lnTo>
                      <a:pt x="1559" y="1298"/>
                    </a:lnTo>
                    <a:lnTo>
                      <a:pt x="1573" y="1291"/>
                    </a:lnTo>
                    <a:lnTo>
                      <a:pt x="1587" y="1282"/>
                    </a:lnTo>
                    <a:lnTo>
                      <a:pt x="1590" y="1274"/>
                    </a:lnTo>
                    <a:lnTo>
                      <a:pt x="1590" y="1263"/>
                    </a:lnTo>
                    <a:lnTo>
                      <a:pt x="1589" y="1251"/>
                    </a:lnTo>
                    <a:lnTo>
                      <a:pt x="1590" y="1241"/>
                    </a:lnTo>
                    <a:lnTo>
                      <a:pt x="1599" y="1227"/>
                    </a:lnTo>
                    <a:lnTo>
                      <a:pt x="1611" y="1216"/>
                    </a:lnTo>
                    <a:lnTo>
                      <a:pt x="1624" y="1206"/>
                    </a:lnTo>
                    <a:lnTo>
                      <a:pt x="1636" y="1195"/>
                    </a:lnTo>
                    <a:lnTo>
                      <a:pt x="1646" y="1183"/>
                    </a:lnTo>
                    <a:lnTo>
                      <a:pt x="1652" y="1167"/>
                    </a:lnTo>
                    <a:lnTo>
                      <a:pt x="1652" y="1166"/>
                    </a:lnTo>
                    <a:lnTo>
                      <a:pt x="1650" y="1166"/>
                    </a:lnTo>
                    <a:lnTo>
                      <a:pt x="1650" y="1164"/>
                    </a:lnTo>
                    <a:lnTo>
                      <a:pt x="1650" y="1162"/>
                    </a:lnTo>
                    <a:lnTo>
                      <a:pt x="1648" y="1160"/>
                    </a:lnTo>
                    <a:lnTo>
                      <a:pt x="1645" y="1159"/>
                    </a:lnTo>
                    <a:lnTo>
                      <a:pt x="1641" y="1157"/>
                    </a:lnTo>
                    <a:lnTo>
                      <a:pt x="1638" y="1157"/>
                    </a:lnTo>
                    <a:lnTo>
                      <a:pt x="1632" y="1155"/>
                    </a:lnTo>
                    <a:lnTo>
                      <a:pt x="1629" y="1159"/>
                    </a:lnTo>
                    <a:lnTo>
                      <a:pt x="1625" y="1159"/>
                    </a:lnTo>
                    <a:lnTo>
                      <a:pt x="1620" y="1160"/>
                    </a:lnTo>
                    <a:lnTo>
                      <a:pt x="1613" y="1160"/>
                    </a:lnTo>
                    <a:lnTo>
                      <a:pt x="1613" y="1155"/>
                    </a:lnTo>
                    <a:lnTo>
                      <a:pt x="1610" y="1155"/>
                    </a:lnTo>
                    <a:lnTo>
                      <a:pt x="1610" y="1141"/>
                    </a:lnTo>
                    <a:lnTo>
                      <a:pt x="1608" y="1122"/>
                    </a:lnTo>
                    <a:lnTo>
                      <a:pt x="1606" y="1099"/>
                    </a:lnTo>
                    <a:lnTo>
                      <a:pt x="1606" y="1077"/>
                    </a:lnTo>
                    <a:lnTo>
                      <a:pt x="1606" y="1057"/>
                    </a:lnTo>
                    <a:lnTo>
                      <a:pt x="1610" y="1045"/>
                    </a:lnTo>
                    <a:lnTo>
                      <a:pt x="1611" y="1040"/>
                    </a:lnTo>
                    <a:lnTo>
                      <a:pt x="1613" y="1036"/>
                    </a:lnTo>
                    <a:lnTo>
                      <a:pt x="1615" y="1035"/>
                    </a:lnTo>
                    <a:lnTo>
                      <a:pt x="1617" y="1035"/>
                    </a:lnTo>
                    <a:lnTo>
                      <a:pt x="1620" y="1035"/>
                    </a:lnTo>
                    <a:lnTo>
                      <a:pt x="1624" y="1033"/>
                    </a:lnTo>
                    <a:lnTo>
                      <a:pt x="1629" y="1033"/>
                    </a:lnTo>
                    <a:lnTo>
                      <a:pt x="1643" y="1038"/>
                    </a:lnTo>
                    <a:lnTo>
                      <a:pt x="1659" y="1042"/>
                    </a:lnTo>
                    <a:lnTo>
                      <a:pt x="1676" y="1042"/>
                    </a:lnTo>
                    <a:lnTo>
                      <a:pt x="1693" y="1038"/>
                    </a:lnTo>
                    <a:lnTo>
                      <a:pt x="1706" y="1033"/>
                    </a:lnTo>
                    <a:lnTo>
                      <a:pt x="1707" y="1031"/>
                    </a:lnTo>
                    <a:lnTo>
                      <a:pt x="1707" y="1029"/>
                    </a:lnTo>
                    <a:lnTo>
                      <a:pt x="1709" y="1029"/>
                    </a:lnTo>
                    <a:lnTo>
                      <a:pt x="1709" y="1028"/>
                    </a:lnTo>
                    <a:lnTo>
                      <a:pt x="1709" y="1026"/>
                    </a:lnTo>
                    <a:lnTo>
                      <a:pt x="1713" y="1012"/>
                    </a:lnTo>
                    <a:lnTo>
                      <a:pt x="1713" y="996"/>
                    </a:lnTo>
                    <a:lnTo>
                      <a:pt x="1711" y="981"/>
                    </a:lnTo>
                    <a:lnTo>
                      <a:pt x="1709" y="963"/>
                    </a:lnTo>
                    <a:lnTo>
                      <a:pt x="1697" y="960"/>
                    </a:lnTo>
                    <a:lnTo>
                      <a:pt x="1685" y="956"/>
                    </a:lnTo>
                    <a:lnTo>
                      <a:pt x="1673" y="949"/>
                    </a:lnTo>
                    <a:lnTo>
                      <a:pt x="1664" y="940"/>
                    </a:lnTo>
                    <a:lnTo>
                      <a:pt x="1667" y="939"/>
                    </a:lnTo>
                    <a:lnTo>
                      <a:pt x="1671" y="937"/>
                    </a:lnTo>
                    <a:lnTo>
                      <a:pt x="1673" y="935"/>
                    </a:lnTo>
                    <a:lnTo>
                      <a:pt x="1676" y="935"/>
                    </a:lnTo>
                    <a:lnTo>
                      <a:pt x="1680" y="933"/>
                    </a:lnTo>
                    <a:lnTo>
                      <a:pt x="1686" y="933"/>
                    </a:lnTo>
                    <a:lnTo>
                      <a:pt x="1690" y="932"/>
                    </a:lnTo>
                    <a:lnTo>
                      <a:pt x="1695" y="930"/>
                    </a:lnTo>
                    <a:lnTo>
                      <a:pt x="1700" y="930"/>
                    </a:lnTo>
                    <a:lnTo>
                      <a:pt x="1706" y="930"/>
                    </a:lnTo>
                    <a:lnTo>
                      <a:pt x="1706" y="911"/>
                    </a:lnTo>
                    <a:lnTo>
                      <a:pt x="1711" y="911"/>
                    </a:lnTo>
                    <a:lnTo>
                      <a:pt x="1716" y="912"/>
                    </a:lnTo>
                    <a:lnTo>
                      <a:pt x="1718" y="914"/>
                    </a:lnTo>
                    <a:lnTo>
                      <a:pt x="1721" y="914"/>
                    </a:lnTo>
                    <a:lnTo>
                      <a:pt x="1725" y="916"/>
                    </a:lnTo>
                    <a:lnTo>
                      <a:pt x="1728" y="918"/>
                    </a:lnTo>
                    <a:lnTo>
                      <a:pt x="1732" y="914"/>
                    </a:lnTo>
                    <a:lnTo>
                      <a:pt x="1737" y="912"/>
                    </a:lnTo>
                    <a:lnTo>
                      <a:pt x="1741" y="911"/>
                    </a:lnTo>
                    <a:lnTo>
                      <a:pt x="1746" y="909"/>
                    </a:lnTo>
                    <a:lnTo>
                      <a:pt x="1748" y="907"/>
                    </a:lnTo>
                    <a:lnTo>
                      <a:pt x="1749" y="904"/>
                    </a:lnTo>
                    <a:lnTo>
                      <a:pt x="1749" y="900"/>
                    </a:lnTo>
                    <a:lnTo>
                      <a:pt x="1749" y="897"/>
                    </a:lnTo>
                    <a:lnTo>
                      <a:pt x="1749" y="893"/>
                    </a:lnTo>
                    <a:lnTo>
                      <a:pt x="1751" y="890"/>
                    </a:lnTo>
                    <a:lnTo>
                      <a:pt x="1753" y="886"/>
                    </a:lnTo>
                    <a:lnTo>
                      <a:pt x="1786" y="876"/>
                    </a:lnTo>
                    <a:lnTo>
                      <a:pt x="1793" y="865"/>
                    </a:lnTo>
                    <a:lnTo>
                      <a:pt x="1795" y="855"/>
                    </a:lnTo>
                    <a:lnTo>
                      <a:pt x="1800" y="844"/>
                    </a:lnTo>
                    <a:lnTo>
                      <a:pt x="1810" y="837"/>
                    </a:lnTo>
                    <a:lnTo>
                      <a:pt x="1823" y="832"/>
                    </a:lnTo>
                    <a:lnTo>
                      <a:pt x="1838" y="827"/>
                    </a:lnTo>
                    <a:lnTo>
                      <a:pt x="1852" y="822"/>
                    </a:lnTo>
                    <a:lnTo>
                      <a:pt x="1854" y="820"/>
                    </a:lnTo>
                    <a:lnTo>
                      <a:pt x="1854" y="820"/>
                    </a:lnTo>
                    <a:lnTo>
                      <a:pt x="1854" y="818"/>
                    </a:lnTo>
                    <a:lnTo>
                      <a:pt x="1854" y="816"/>
                    </a:lnTo>
                    <a:lnTo>
                      <a:pt x="1856" y="815"/>
                    </a:lnTo>
                    <a:lnTo>
                      <a:pt x="1849" y="797"/>
                    </a:lnTo>
                    <a:lnTo>
                      <a:pt x="1845" y="776"/>
                    </a:lnTo>
                    <a:lnTo>
                      <a:pt x="1845" y="757"/>
                    </a:lnTo>
                    <a:lnTo>
                      <a:pt x="1844" y="741"/>
                    </a:lnTo>
                    <a:lnTo>
                      <a:pt x="1859" y="740"/>
                    </a:lnTo>
                    <a:lnTo>
                      <a:pt x="1870" y="736"/>
                    </a:lnTo>
                    <a:lnTo>
                      <a:pt x="1882" y="733"/>
                    </a:lnTo>
                    <a:lnTo>
                      <a:pt x="1882" y="741"/>
                    </a:lnTo>
                    <a:lnTo>
                      <a:pt x="1880" y="748"/>
                    </a:lnTo>
                    <a:lnTo>
                      <a:pt x="1878" y="761"/>
                    </a:lnTo>
                    <a:lnTo>
                      <a:pt x="1877" y="778"/>
                    </a:lnTo>
                    <a:lnTo>
                      <a:pt x="1875" y="794"/>
                    </a:lnTo>
                    <a:lnTo>
                      <a:pt x="1875" y="806"/>
                    </a:lnTo>
                    <a:lnTo>
                      <a:pt x="1880" y="809"/>
                    </a:lnTo>
                    <a:lnTo>
                      <a:pt x="1884" y="811"/>
                    </a:lnTo>
                    <a:lnTo>
                      <a:pt x="1885" y="813"/>
                    </a:lnTo>
                    <a:lnTo>
                      <a:pt x="1889" y="815"/>
                    </a:lnTo>
                    <a:lnTo>
                      <a:pt x="1894" y="818"/>
                    </a:lnTo>
                    <a:lnTo>
                      <a:pt x="1905" y="813"/>
                    </a:lnTo>
                    <a:lnTo>
                      <a:pt x="1912" y="813"/>
                    </a:lnTo>
                    <a:lnTo>
                      <a:pt x="1917" y="816"/>
                    </a:lnTo>
                    <a:lnTo>
                      <a:pt x="1924" y="822"/>
                    </a:lnTo>
                    <a:lnTo>
                      <a:pt x="1933" y="822"/>
                    </a:lnTo>
                    <a:lnTo>
                      <a:pt x="1943" y="818"/>
                    </a:lnTo>
                    <a:lnTo>
                      <a:pt x="1952" y="813"/>
                    </a:lnTo>
                    <a:lnTo>
                      <a:pt x="1957" y="808"/>
                    </a:lnTo>
                    <a:lnTo>
                      <a:pt x="1964" y="804"/>
                    </a:lnTo>
                    <a:lnTo>
                      <a:pt x="1973" y="801"/>
                    </a:lnTo>
                    <a:lnTo>
                      <a:pt x="1987" y="802"/>
                    </a:lnTo>
                    <a:lnTo>
                      <a:pt x="2006" y="806"/>
                    </a:lnTo>
                    <a:lnTo>
                      <a:pt x="2008" y="801"/>
                    </a:lnTo>
                    <a:lnTo>
                      <a:pt x="2009" y="799"/>
                    </a:lnTo>
                    <a:lnTo>
                      <a:pt x="2013" y="795"/>
                    </a:lnTo>
                    <a:lnTo>
                      <a:pt x="2016" y="794"/>
                    </a:lnTo>
                    <a:lnTo>
                      <a:pt x="2020" y="794"/>
                    </a:lnTo>
                    <a:lnTo>
                      <a:pt x="2025" y="792"/>
                    </a:lnTo>
                    <a:lnTo>
                      <a:pt x="2025" y="762"/>
                    </a:lnTo>
                    <a:lnTo>
                      <a:pt x="2029" y="738"/>
                    </a:lnTo>
                    <a:lnTo>
                      <a:pt x="2032" y="734"/>
                    </a:lnTo>
                    <a:lnTo>
                      <a:pt x="2036" y="733"/>
                    </a:lnTo>
                    <a:lnTo>
                      <a:pt x="2039" y="729"/>
                    </a:lnTo>
                    <a:lnTo>
                      <a:pt x="2043" y="727"/>
                    </a:lnTo>
                    <a:lnTo>
                      <a:pt x="2048" y="726"/>
                    </a:lnTo>
                    <a:lnTo>
                      <a:pt x="2048" y="729"/>
                    </a:lnTo>
                    <a:lnTo>
                      <a:pt x="2051" y="733"/>
                    </a:lnTo>
                    <a:lnTo>
                      <a:pt x="2053" y="736"/>
                    </a:lnTo>
                    <a:lnTo>
                      <a:pt x="2055" y="740"/>
                    </a:lnTo>
                    <a:lnTo>
                      <a:pt x="2057" y="741"/>
                    </a:lnTo>
                    <a:lnTo>
                      <a:pt x="2062" y="743"/>
                    </a:lnTo>
                    <a:lnTo>
                      <a:pt x="2067" y="745"/>
                    </a:lnTo>
                    <a:lnTo>
                      <a:pt x="2065" y="729"/>
                    </a:lnTo>
                    <a:lnTo>
                      <a:pt x="2064" y="719"/>
                    </a:lnTo>
                    <a:lnTo>
                      <a:pt x="2060" y="712"/>
                    </a:lnTo>
                    <a:lnTo>
                      <a:pt x="2058" y="703"/>
                    </a:lnTo>
                    <a:lnTo>
                      <a:pt x="2055" y="687"/>
                    </a:lnTo>
                    <a:lnTo>
                      <a:pt x="2064" y="686"/>
                    </a:lnTo>
                    <a:lnTo>
                      <a:pt x="2070" y="682"/>
                    </a:lnTo>
                    <a:lnTo>
                      <a:pt x="2076" y="679"/>
                    </a:lnTo>
                    <a:lnTo>
                      <a:pt x="2083" y="675"/>
                    </a:lnTo>
                    <a:lnTo>
                      <a:pt x="2095" y="675"/>
                    </a:lnTo>
                    <a:lnTo>
                      <a:pt x="2107" y="677"/>
                    </a:lnTo>
                    <a:lnTo>
                      <a:pt x="2116" y="679"/>
                    </a:lnTo>
                    <a:lnTo>
                      <a:pt x="2125" y="675"/>
                    </a:lnTo>
                    <a:lnTo>
                      <a:pt x="2132" y="665"/>
                    </a:lnTo>
                    <a:lnTo>
                      <a:pt x="2126" y="663"/>
                    </a:lnTo>
                    <a:lnTo>
                      <a:pt x="2121" y="661"/>
                    </a:lnTo>
                    <a:lnTo>
                      <a:pt x="2118" y="659"/>
                    </a:lnTo>
                    <a:lnTo>
                      <a:pt x="2112" y="658"/>
                    </a:lnTo>
                    <a:lnTo>
                      <a:pt x="2105" y="658"/>
                    </a:lnTo>
                    <a:lnTo>
                      <a:pt x="2088" y="666"/>
                    </a:lnTo>
                    <a:lnTo>
                      <a:pt x="2069" y="672"/>
                    </a:lnTo>
                    <a:lnTo>
                      <a:pt x="2048" y="675"/>
                    </a:lnTo>
                    <a:lnTo>
                      <a:pt x="2044" y="666"/>
                    </a:lnTo>
                    <a:lnTo>
                      <a:pt x="2039" y="659"/>
                    </a:lnTo>
                    <a:lnTo>
                      <a:pt x="2034" y="652"/>
                    </a:lnTo>
                    <a:lnTo>
                      <a:pt x="2030" y="644"/>
                    </a:lnTo>
                    <a:lnTo>
                      <a:pt x="2029" y="630"/>
                    </a:lnTo>
                    <a:lnTo>
                      <a:pt x="2030" y="619"/>
                    </a:lnTo>
                    <a:lnTo>
                      <a:pt x="2029" y="607"/>
                    </a:lnTo>
                    <a:lnTo>
                      <a:pt x="2027" y="593"/>
                    </a:lnTo>
                    <a:lnTo>
                      <a:pt x="2029" y="581"/>
                    </a:lnTo>
                    <a:lnTo>
                      <a:pt x="2037" y="563"/>
                    </a:lnTo>
                    <a:lnTo>
                      <a:pt x="2051" y="551"/>
                    </a:lnTo>
                    <a:lnTo>
                      <a:pt x="2065" y="537"/>
                    </a:lnTo>
                    <a:lnTo>
                      <a:pt x="2077" y="523"/>
                    </a:lnTo>
                    <a:lnTo>
                      <a:pt x="2086" y="507"/>
                    </a:lnTo>
                    <a:lnTo>
                      <a:pt x="2081" y="502"/>
                    </a:lnTo>
                    <a:lnTo>
                      <a:pt x="2076" y="497"/>
                    </a:lnTo>
                    <a:lnTo>
                      <a:pt x="2070" y="492"/>
                    </a:lnTo>
                    <a:lnTo>
                      <a:pt x="2057" y="494"/>
                    </a:lnTo>
                    <a:lnTo>
                      <a:pt x="2041" y="495"/>
                    </a:lnTo>
                    <a:lnTo>
                      <a:pt x="2036" y="520"/>
                    </a:lnTo>
                    <a:lnTo>
                      <a:pt x="2027" y="539"/>
                    </a:lnTo>
                    <a:lnTo>
                      <a:pt x="2015" y="555"/>
                    </a:lnTo>
                    <a:lnTo>
                      <a:pt x="2001" y="570"/>
                    </a:lnTo>
                    <a:lnTo>
                      <a:pt x="1988" y="588"/>
                    </a:lnTo>
                    <a:lnTo>
                      <a:pt x="1980" y="609"/>
                    </a:lnTo>
                    <a:lnTo>
                      <a:pt x="1974" y="633"/>
                    </a:lnTo>
                    <a:lnTo>
                      <a:pt x="1985" y="642"/>
                    </a:lnTo>
                    <a:lnTo>
                      <a:pt x="1995" y="652"/>
                    </a:lnTo>
                    <a:lnTo>
                      <a:pt x="2002" y="665"/>
                    </a:lnTo>
                    <a:lnTo>
                      <a:pt x="2006" y="680"/>
                    </a:lnTo>
                    <a:lnTo>
                      <a:pt x="2001" y="682"/>
                    </a:lnTo>
                    <a:lnTo>
                      <a:pt x="1999" y="684"/>
                    </a:lnTo>
                    <a:lnTo>
                      <a:pt x="1997" y="686"/>
                    </a:lnTo>
                    <a:lnTo>
                      <a:pt x="1997" y="686"/>
                    </a:lnTo>
                    <a:lnTo>
                      <a:pt x="1997" y="687"/>
                    </a:lnTo>
                    <a:lnTo>
                      <a:pt x="1995" y="689"/>
                    </a:lnTo>
                    <a:lnTo>
                      <a:pt x="1995" y="693"/>
                    </a:lnTo>
                    <a:lnTo>
                      <a:pt x="1994" y="694"/>
                    </a:lnTo>
                    <a:lnTo>
                      <a:pt x="1971" y="703"/>
                    </a:lnTo>
                    <a:lnTo>
                      <a:pt x="1968" y="724"/>
                    </a:lnTo>
                    <a:lnTo>
                      <a:pt x="1961" y="740"/>
                    </a:lnTo>
                    <a:lnTo>
                      <a:pt x="1954" y="752"/>
                    </a:lnTo>
                    <a:lnTo>
                      <a:pt x="1943" y="762"/>
                    </a:lnTo>
                    <a:lnTo>
                      <a:pt x="1934" y="773"/>
                    </a:lnTo>
                    <a:lnTo>
                      <a:pt x="1926" y="787"/>
                    </a:lnTo>
                    <a:lnTo>
                      <a:pt x="1920" y="787"/>
                    </a:lnTo>
                    <a:lnTo>
                      <a:pt x="1920" y="783"/>
                    </a:lnTo>
                    <a:lnTo>
                      <a:pt x="1906" y="764"/>
                    </a:lnTo>
                    <a:lnTo>
                      <a:pt x="1898" y="743"/>
                    </a:lnTo>
                    <a:lnTo>
                      <a:pt x="1892" y="720"/>
                    </a:lnTo>
                    <a:lnTo>
                      <a:pt x="1882" y="694"/>
                    </a:lnTo>
                    <a:lnTo>
                      <a:pt x="1868" y="701"/>
                    </a:lnTo>
                    <a:lnTo>
                      <a:pt x="1859" y="710"/>
                    </a:lnTo>
                    <a:lnTo>
                      <a:pt x="1849" y="717"/>
                    </a:lnTo>
                    <a:lnTo>
                      <a:pt x="1838" y="722"/>
                    </a:lnTo>
                    <a:lnTo>
                      <a:pt x="1821" y="726"/>
                    </a:lnTo>
                    <a:lnTo>
                      <a:pt x="1819" y="724"/>
                    </a:lnTo>
                    <a:lnTo>
                      <a:pt x="1817" y="724"/>
                    </a:lnTo>
                    <a:lnTo>
                      <a:pt x="1816" y="724"/>
                    </a:lnTo>
                    <a:lnTo>
                      <a:pt x="1814" y="722"/>
                    </a:lnTo>
                    <a:lnTo>
                      <a:pt x="1810" y="722"/>
                    </a:lnTo>
                    <a:lnTo>
                      <a:pt x="1809" y="701"/>
                    </a:lnTo>
                    <a:lnTo>
                      <a:pt x="1807" y="684"/>
                    </a:lnTo>
                    <a:lnTo>
                      <a:pt x="1803" y="670"/>
                    </a:lnTo>
                    <a:lnTo>
                      <a:pt x="1800" y="654"/>
                    </a:lnTo>
                    <a:lnTo>
                      <a:pt x="1798" y="633"/>
                    </a:lnTo>
                    <a:lnTo>
                      <a:pt x="1807" y="624"/>
                    </a:lnTo>
                    <a:lnTo>
                      <a:pt x="1810" y="616"/>
                    </a:lnTo>
                    <a:lnTo>
                      <a:pt x="1812" y="605"/>
                    </a:lnTo>
                    <a:lnTo>
                      <a:pt x="1817" y="591"/>
                    </a:lnTo>
                    <a:lnTo>
                      <a:pt x="1821" y="588"/>
                    </a:lnTo>
                    <a:lnTo>
                      <a:pt x="1826" y="583"/>
                    </a:lnTo>
                    <a:lnTo>
                      <a:pt x="1831" y="577"/>
                    </a:lnTo>
                    <a:lnTo>
                      <a:pt x="1837" y="572"/>
                    </a:lnTo>
                    <a:lnTo>
                      <a:pt x="1840" y="574"/>
                    </a:lnTo>
                    <a:lnTo>
                      <a:pt x="1842" y="576"/>
                    </a:lnTo>
                    <a:lnTo>
                      <a:pt x="1844" y="577"/>
                    </a:lnTo>
                    <a:lnTo>
                      <a:pt x="1845" y="579"/>
                    </a:lnTo>
                    <a:lnTo>
                      <a:pt x="1845" y="579"/>
                    </a:lnTo>
                    <a:lnTo>
                      <a:pt x="1849" y="576"/>
                    </a:lnTo>
                    <a:lnTo>
                      <a:pt x="1851" y="572"/>
                    </a:lnTo>
                    <a:lnTo>
                      <a:pt x="1852" y="569"/>
                    </a:lnTo>
                    <a:lnTo>
                      <a:pt x="1854" y="563"/>
                    </a:lnTo>
                    <a:lnTo>
                      <a:pt x="1856" y="560"/>
                    </a:lnTo>
                    <a:lnTo>
                      <a:pt x="1868" y="553"/>
                    </a:lnTo>
                    <a:lnTo>
                      <a:pt x="1878" y="549"/>
                    </a:lnTo>
                    <a:lnTo>
                      <a:pt x="1887" y="541"/>
                    </a:lnTo>
                    <a:lnTo>
                      <a:pt x="1884" y="539"/>
                    </a:lnTo>
                    <a:lnTo>
                      <a:pt x="1882" y="539"/>
                    </a:lnTo>
                    <a:lnTo>
                      <a:pt x="1880" y="539"/>
                    </a:lnTo>
                    <a:lnTo>
                      <a:pt x="1880" y="537"/>
                    </a:lnTo>
                    <a:lnTo>
                      <a:pt x="1880" y="537"/>
                    </a:lnTo>
                    <a:lnTo>
                      <a:pt x="1880" y="534"/>
                    </a:lnTo>
                    <a:lnTo>
                      <a:pt x="1878" y="530"/>
                    </a:lnTo>
                    <a:lnTo>
                      <a:pt x="1891" y="514"/>
                    </a:lnTo>
                    <a:lnTo>
                      <a:pt x="1903" y="495"/>
                    </a:lnTo>
                    <a:lnTo>
                      <a:pt x="1913" y="473"/>
                    </a:lnTo>
                    <a:lnTo>
                      <a:pt x="1924" y="450"/>
                    </a:lnTo>
                    <a:lnTo>
                      <a:pt x="1934" y="427"/>
                    </a:lnTo>
                    <a:lnTo>
                      <a:pt x="1947" y="406"/>
                    </a:lnTo>
                    <a:lnTo>
                      <a:pt x="1959" y="392"/>
                    </a:lnTo>
                    <a:lnTo>
                      <a:pt x="1974" y="384"/>
                    </a:lnTo>
                    <a:lnTo>
                      <a:pt x="1974" y="370"/>
                    </a:lnTo>
                    <a:lnTo>
                      <a:pt x="1990" y="370"/>
                    </a:lnTo>
                    <a:lnTo>
                      <a:pt x="1999" y="354"/>
                    </a:lnTo>
                    <a:lnTo>
                      <a:pt x="2013" y="343"/>
                    </a:lnTo>
                    <a:lnTo>
                      <a:pt x="2032" y="338"/>
                    </a:lnTo>
                    <a:lnTo>
                      <a:pt x="2034" y="340"/>
                    </a:lnTo>
                    <a:lnTo>
                      <a:pt x="2036" y="340"/>
                    </a:lnTo>
                    <a:lnTo>
                      <a:pt x="2036" y="340"/>
                    </a:lnTo>
                    <a:lnTo>
                      <a:pt x="2037" y="340"/>
                    </a:lnTo>
                    <a:lnTo>
                      <a:pt x="2041" y="342"/>
                    </a:lnTo>
                    <a:lnTo>
                      <a:pt x="2041" y="329"/>
                    </a:lnTo>
                    <a:lnTo>
                      <a:pt x="2046" y="329"/>
                    </a:lnTo>
                    <a:lnTo>
                      <a:pt x="2050" y="329"/>
                    </a:lnTo>
                    <a:lnTo>
                      <a:pt x="2053" y="329"/>
                    </a:lnTo>
                    <a:lnTo>
                      <a:pt x="2055" y="329"/>
                    </a:lnTo>
                    <a:lnTo>
                      <a:pt x="2057" y="331"/>
                    </a:lnTo>
                    <a:lnTo>
                      <a:pt x="2058" y="331"/>
                    </a:lnTo>
                    <a:lnTo>
                      <a:pt x="2064" y="335"/>
                    </a:lnTo>
                    <a:lnTo>
                      <a:pt x="2070" y="321"/>
                    </a:lnTo>
                    <a:lnTo>
                      <a:pt x="2081" y="312"/>
                    </a:lnTo>
                    <a:lnTo>
                      <a:pt x="2093" y="309"/>
                    </a:lnTo>
                    <a:lnTo>
                      <a:pt x="2109" y="305"/>
                    </a:lnTo>
                    <a:lnTo>
                      <a:pt x="2125" y="303"/>
                    </a:lnTo>
                    <a:lnTo>
                      <a:pt x="2132" y="310"/>
                    </a:lnTo>
                    <a:lnTo>
                      <a:pt x="2140" y="314"/>
                    </a:lnTo>
                    <a:lnTo>
                      <a:pt x="2147" y="315"/>
                    </a:lnTo>
                    <a:lnTo>
                      <a:pt x="2154" y="317"/>
                    </a:lnTo>
                    <a:lnTo>
                      <a:pt x="2160" y="324"/>
                    </a:lnTo>
                    <a:lnTo>
                      <a:pt x="2163" y="338"/>
                    </a:lnTo>
                    <a:lnTo>
                      <a:pt x="2161" y="340"/>
                    </a:lnTo>
                    <a:lnTo>
                      <a:pt x="2160" y="342"/>
                    </a:lnTo>
                    <a:lnTo>
                      <a:pt x="2158" y="342"/>
                    </a:lnTo>
                    <a:lnTo>
                      <a:pt x="2158" y="343"/>
                    </a:lnTo>
                    <a:lnTo>
                      <a:pt x="2156" y="345"/>
                    </a:lnTo>
                    <a:lnTo>
                      <a:pt x="2156" y="349"/>
                    </a:lnTo>
                    <a:lnTo>
                      <a:pt x="2158" y="352"/>
                    </a:lnTo>
                    <a:lnTo>
                      <a:pt x="2160" y="352"/>
                    </a:lnTo>
                    <a:lnTo>
                      <a:pt x="2161" y="354"/>
                    </a:lnTo>
                    <a:lnTo>
                      <a:pt x="2163" y="357"/>
                    </a:lnTo>
                    <a:lnTo>
                      <a:pt x="2175" y="352"/>
                    </a:lnTo>
                    <a:lnTo>
                      <a:pt x="2182" y="350"/>
                    </a:lnTo>
                    <a:lnTo>
                      <a:pt x="2187" y="350"/>
                    </a:lnTo>
                    <a:lnTo>
                      <a:pt x="2189" y="354"/>
                    </a:lnTo>
                    <a:lnTo>
                      <a:pt x="2191" y="359"/>
                    </a:lnTo>
                    <a:lnTo>
                      <a:pt x="2196" y="364"/>
                    </a:lnTo>
                    <a:lnTo>
                      <a:pt x="2201" y="370"/>
                    </a:lnTo>
                    <a:lnTo>
                      <a:pt x="2233" y="373"/>
                    </a:lnTo>
                    <a:lnTo>
                      <a:pt x="2245" y="380"/>
                    </a:lnTo>
                    <a:lnTo>
                      <a:pt x="2259" y="391"/>
                    </a:lnTo>
                    <a:lnTo>
                      <a:pt x="2273" y="405"/>
                    </a:lnTo>
                    <a:lnTo>
                      <a:pt x="2285" y="420"/>
                    </a:lnTo>
                    <a:lnTo>
                      <a:pt x="2296" y="436"/>
                    </a:lnTo>
                    <a:lnTo>
                      <a:pt x="2299" y="452"/>
                    </a:lnTo>
                    <a:lnTo>
                      <a:pt x="2297" y="467"/>
                    </a:lnTo>
                    <a:lnTo>
                      <a:pt x="2285" y="480"/>
                    </a:lnTo>
                    <a:lnTo>
                      <a:pt x="2269" y="488"/>
                    </a:lnTo>
                    <a:lnTo>
                      <a:pt x="2252" y="488"/>
                    </a:lnTo>
                    <a:lnTo>
                      <a:pt x="2236" y="481"/>
                    </a:lnTo>
                    <a:lnTo>
                      <a:pt x="2222" y="474"/>
                    </a:lnTo>
                    <a:lnTo>
                      <a:pt x="2208" y="469"/>
                    </a:lnTo>
                    <a:lnTo>
                      <a:pt x="2210" y="481"/>
                    </a:lnTo>
                    <a:lnTo>
                      <a:pt x="2212" y="497"/>
                    </a:lnTo>
                    <a:lnTo>
                      <a:pt x="2214" y="514"/>
                    </a:lnTo>
                    <a:lnTo>
                      <a:pt x="2217" y="528"/>
                    </a:lnTo>
                    <a:lnTo>
                      <a:pt x="2221" y="537"/>
                    </a:lnTo>
                    <a:lnTo>
                      <a:pt x="2224" y="542"/>
                    </a:lnTo>
                    <a:lnTo>
                      <a:pt x="2229" y="544"/>
                    </a:lnTo>
                    <a:lnTo>
                      <a:pt x="2233" y="548"/>
                    </a:lnTo>
                    <a:lnTo>
                      <a:pt x="2240" y="549"/>
                    </a:lnTo>
                    <a:lnTo>
                      <a:pt x="2238" y="537"/>
                    </a:lnTo>
                    <a:lnTo>
                      <a:pt x="2236" y="528"/>
                    </a:lnTo>
                    <a:lnTo>
                      <a:pt x="2236" y="518"/>
                    </a:lnTo>
                    <a:lnTo>
                      <a:pt x="2240" y="518"/>
                    </a:lnTo>
                    <a:lnTo>
                      <a:pt x="2240" y="514"/>
                    </a:lnTo>
                    <a:lnTo>
                      <a:pt x="2252" y="521"/>
                    </a:lnTo>
                    <a:lnTo>
                      <a:pt x="2264" y="528"/>
                    </a:lnTo>
                    <a:lnTo>
                      <a:pt x="2278" y="534"/>
                    </a:lnTo>
                    <a:lnTo>
                      <a:pt x="2280" y="530"/>
                    </a:lnTo>
                    <a:lnTo>
                      <a:pt x="2282" y="527"/>
                    </a:lnTo>
                    <a:lnTo>
                      <a:pt x="2283" y="525"/>
                    </a:lnTo>
                    <a:lnTo>
                      <a:pt x="2285" y="520"/>
                    </a:lnTo>
                    <a:lnTo>
                      <a:pt x="2285" y="514"/>
                    </a:lnTo>
                    <a:lnTo>
                      <a:pt x="2283" y="513"/>
                    </a:lnTo>
                    <a:lnTo>
                      <a:pt x="2282" y="511"/>
                    </a:lnTo>
                    <a:lnTo>
                      <a:pt x="2280" y="509"/>
                    </a:lnTo>
                    <a:lnTo>
                      <a:pt x="2280" y="507"/>
                    </a:lnTo>
                    <a:lnTo>
                      <a:pt x="2280" y="504"/>
                    </a:lnTo>
                    <a:lnTo>
                      <a:pt x="2278" y="499"/>
                    </a:lnTo>
                    <a:lnTo>
                      <a:pt x="2294" y="492"/>
                    </a:lnTo>
                    <a:lnTo>
                      <a:pt x="2304" y="481"/>
                    </a:lnTo>
                    <a:lnTo>
                      <a:pt x="2313" y="469"/>
                    </a:lnTo>
                    <a:lnTo>
                      <a:pt x="2318" y="471"/>
                    </a:lnTo>
                    <a:lnTo>
                      <a:pt x="2325" y="473"/>
                    </a:lnTo>
                    <a:lnTo>
                      <a:pt x="2332" y="474"/>
                    </a:lnTo>
                    <a:lnTo>
                      <a:pt x="2339" y="476"/>
                    </a:lnTo>
                    <a:lnTo>
                      <a:pt x="2336" y="438"/>
                    </a:lnTo>
                    <a:lnTo>
                      <a:pt x="2329" y="396"/>
                    </a:lnTo>
                    <a:lnTo>
                      <a:pt x="2358" y="396"/>
                    </a:lnTo>
                    <a:lnTo>
                      <a:pt x="2365" y="403"/>
                    </a:lnTo>
                    <a:lnTo>
                      <a:pt x="2372" y="413"/>
                    </a:lnTo>
                    <a:lnTo>
                      <a:pt x="2378" y="422"/>
                    </a:lnTo>
                    <a:lnTo>
                      <a:pt x="2378" y="431"/>
                    </a:lnTo>
                    <a:lnTo>
                      <a:pt x="2374" y="432"/>
                    </a:lnTo>
                    <a:lnTo>
                      <a:pt x="2372" y="432"/>
                    </a:lnTo>
                    <a:lnTo>
                      <a:pt x="2369" y="434"/>
                    </a:lnTo>
                    <a:lnTo>
                      <a:pt x="2362" y="434"/>
                    </a:lnTo>
                    <a:lnTo>
                      <a:pt x="2362" y="453"/>
                    </a:lnTo>
                    <a:lnTo>
                      <a:pt x="2367" y="455"/>
                    </a:lnTo>
                    <a:lnTo>
                      <a:pt x="2369" y="457"/>
                    </a:lnTo>
                    <a:lnTo>
                      <a:pt x="2372" y="459"/>
                    </a:lnTo>
                    <a:lnTo>
                      <a:pt x="2376" y="460"/>
                    </a:lnTo>
                    <a:lnTo>
                      <a:pt x="2381" y="460"/>
                    </a:lnTo>
                    <a:lnTo>
                      <a:pt x="2383" y="460"/>
                    </a:lnTo>
                    <a:lnTo>
                      <a:pt x="2385" y="459"/>
                    </a:lnTo>
                    <a:lnTo>
                      <a:pt x="2385" y="459"/>
                    </a:lnTo>
                    <a:lnTo>
                      <a:pt x="2386" y="459"/>
                    </a:lnTo>
                    <a:lnTo>
                      <a:pt x="2390" y="457"/>
                    </a:lnTo>
                    <a:lnTo>
                      <a:pt x="2392" y="452"/>
                    </a:lnTo>
                    <a:lnTo>
                      <a:pt x="2392" y="448"/>
                    </a:lnTo>
                    <a:lnTo>
                      <a:pt x="2392" y="443"/>
                    </a:lnTo>
                    <a:lnTo>
                      <a:pt x="2392" y="439"/>
                    </a:lnTo>
                    <a:lnTo>
                      <a:pt x="2390" y="434"/>
                    </a:lnTo>
                    <a:lnTo>
                      <a:pt x="2402" y="418"/>
                    </a:lnTo>
                    <a:lnTo>
                      <a:pt x="2416" y="405"/>
                    </a:lnTo>
                    <a:lnTo>
                      <a:pt x="2428" y="389"/>
                    </a:lnTo>
                    <a:lnTo>
                      <a:pt x="2434" y="387"/>
                    </a:lnTo>
                    <a:lnTo>
                      <a:pt x="2439" y="387"/>
                    </a:lnTo>
                    <a:lnTo>
                      <a:pt x="2441" y="385"/>
                    </a:lnTo>
                    <a:lnTo>
                      <a:pt x="2444" y="387"/>
                    </a:lnTo>
                    <a:lnTo>
                      <a:pt x="2448" y="389"/>
                    </a:lnTo>
                    <a:lnTo>
                      <a:pt x="2449" y="392"/>
                    </a:lnTo>
                    <a:lnTo>
                      <a:pt x="2451" y="396"/>
                    </a:lnTo>
                    <a:lnTo>
                      <a:pt x="2453" y="398"/>
                    </a:lnTo>
                    <a:lnTo>
                      <a:pt x="2454" y="401"/>
                    </a:lnTo>
                    <a:lnTo>
                      <a:pt x="2458" y="403"/>
                    </a:lnTo>
                    <a:lnTo>
                      <a:pt x="2458" y="399"/>
                    </a:lnTo>
                    <a:lnTo>
                      <a:pt x="2461" y="396"/>
                    </a:lnTo>
                    <a:lnTo>
                      <a:pt x="2463" y="392"/>
                    </a:lnTo>
                    <a:lnTo>
                      <a:pt x="2465" y="389"/>
                    </a:lnTo>
                    <a:lnTo>
                      <a:pt x="2465" y="384"/>
                    </a:lnTo>
                    <a:lnTo>
                      <a:pt x="2467" y="377"/>
                    </a:lnTo>
                    <a:lnTo>
                      <a:pt x="2482" y="377"/>
                    </a:lnTo>
                    <a:lnTo>
                      <a:pt x="2496" y="380"/>
                    </a:lnTo>
                    <a:lnTo>
                      <a:pt x="2509" y="384"/>
                    </a:lnTo>
                    <a:lnTo>
                      <a:pt x="2500" y="391"/>
                    </a:lnTo>
                    <a:lnTo>
                      <a:pt x="2491" y="396"/>
                    </a:lnTo>
                    <a:lnTo>
                      <a:pt x="2484" y="401"/>
                    </a:lnTo>
                    <a:lnTo>
                      <a:pt x="2477" y="411"/>
                    </a:lnTo>
                    <a:lnTo>
                      <a:pt x="2486" y="411"/>
                    </a:lnTo>
                    <a:lnTo>
                      <a:pt x="2491" y="406"/>
                    </a:lnTo>
                    <a:lnTo>
                      <a:pt x="2503" y="401"/>
                    </a:lnTo>
                    <a:lnTo>
                      <a:pt x="2516" y="396"/>
                    </a:lnTo>
                    <a:lnTo>
                      <a:pt x="2526" y="392"/>
                    </a:lnTo>
                    <a:lnTo>
                      <a:pt x="2537" y="389"/>
                    </a:lnTo>
                    <a:lnTo>
                      <a:pt x="2540" y="389"/>
                    </a:lnTo>
                    <a:lnTo>
                      <a:pt x="2542" y="391"/>
                    </a:lnTo>
                    <a:lnTo>
                      <a:pt x="2545" y="394"/>
                    </a:lnTo>
                    <a:lnTo>
                      <a:pt x="2547" y="396"/>
                    </a:lnTo>
                    <a:lnTo>
                      <a:pt x="2549" y="398"/>
                    </a:lnTo>
                    <a:lnTo>
                      <a:pt x="2552" y="398"/>
                    </a:lnTo>
                    <a:lnTo>
                      <a:pt x="2559" y="399"/>
                    </a:lnTo>
                    <a:lnTo>
                      <a:pt x="2561" y="396"/>
                    </a:lnTo>
                    <a:lnTo>
                      <a:pt x="2563" y="392"/>
                    </a:lnTo>
                    <a:lnTo>
                      <a:pt x="2564" y="391"/>
                    </a:lnTo>
                    <a:lnTo>
                      <a:pt x="2564" y="387"/>
                    </a:lnTo>
                    <a:lnTo>
                      <a:pt x="2566" y="382"/>
                    </a:lnTo>
                    <a:lnTo>
                      <a:pt x="2566" y="377"/>
                    </a:lnTo>
                    <a:lnTo>
                      <a:pt x="2563" y="373"/>
                    </a:lnTo>
                    <a:lnTo>
                      <a:pt x="2561" y="370"/>
                    </a:lnTo>
                    <a:lnTo>
                      <a:pt x="2559" y="366"/>
                    </a:lnTo>
                    <a:lnTo>
                      <a:pt x="2559" y="361"/>
                    </a:lnTo>
                    <a:lnTo>
                      <a:pt x="2559" y="354"/>
                    </a:lnTo>
                    <a:lnTo>
                      <a:pt x="2564" y="350"/>
                    </a:lnTo>
                    <a:lnTo>
                      <a:pt x="2568" y="347"/>
                    </a:lnTo>
                    <a:lnTo>
                      <a:pt x="2571" y="345"/>
                    </a:lnTo>
                    <a:lnTo>
                      <a:pt x="2578" y="342"/>
                    </a:lnTo>
                    <a:lnTo>
                      <a:pt x="2582" y="343"/>
                    </a:lnTo>
                    <a:lnTo>
                      <a:pt x="2587" y="345"/>
                    </a:lnTo>
                    <a:lnTo>
                      <a:pt x="2594" y="345"/>
                    </a:lnTo>
                    <a:lnTo>
                      <a:pt x="2601" y="345"/>
                    </a:lnTo>
                    <a:lnTo>
                      <a:pt x="2610" y="356"/>
                    </a:lnTo>
                    <a:lnTo>
                      <a:pt x="2622" y="368"/>
                    </a:lnTo>
                    <a:lnTo>
                      <a:pt x="2640" y="380"/>
                    </a:lnTo>
                    <a:lnTo>
                      <a:pt x="2655" y="392"/>
                    </a:lnTo>
                    <a:lnTo>
                      <a:pt x="2669" y="399"/>
                    </a:lnTo>
                    <a:lnTo>
                      <a:pt x="2678" y="403"/>
                    </a:lnTo>
                    <a:lnTo>
                      <a:pt x="2680" y="401"/>
                    </a:lnTo>
                    <a:lnTo>
                      <a:pt x="2680" y="401"/>
                    </a:lnTo>
                    <a:lnTo>
                      <a:pt x="2680" y="399"/>
                    </a:lnTo>
                    <a:lnTo>
                      <a:pt x="2680" y="399"/>
                    </a:lnTo>
                    <a:lnTo>
                      <a:pt x="2681" y="396"/>
                    </a:lnTo>
                    <a:lnTo>
                      <a:pt x="2676" y="391"/>
                    </a:lnTo>
                    <a:lnTo>
                      <a:pt x="2673" y="387"/>
                    </a:lnTo>
                    <a:lnTo>
                      <a:pt x="2671" y="382"/>
                    </a:lnTo>
                    <a:lnTo>
                      <a:pt x="2667" y="377"/>
                    </a:lnTo>
                    <a:lnTo>
                      <a:pt x="2666" y="370"/>
                    </a:lnTo>
                    <a:lnTo>
                      <a:pt x="2650" y="370"/>
                    </a:lnTo>
                    <a:lnTo>
                      <a:pt x="2652" y="349"/>
                    </a:lnTo>
                    <a:lnTo>
                      <a:pt x="2648" y="333"/>
                    </a:lnTo>
                    <a:lnTo>
                      <a:pt x="2646" y="319"/>
                    </a:lnTo>
                    <a:lnTo>
                      <a:pt x="2643" y="300"/>
                    </a:lnTo>
                    <a:lnTo>
                      <a:pt x="2653" y="293"/>
                    </a:lnTo>
                    <a:lnTo>
                      <a:pt x="2660" y="284"/>
                    </a:lnTo>
                    <a:lnTo>
                      <a:pt x="2664" y="274"/>
                    </a:lnTo>
                    <a:lnTo>
                      <a:pt x="2667" y="261"/>
                    </a:lnTo>
                    <a:lnTo>
                      <a:pt x="2671" y="251"/>
                    </a:lnTo>
                    <a:lnTo>
                      <a:pt x="2676" y="240"/>
                    </a:lnTo>
                    <a:lnTo>
                      <a:pt x="2683" y="232"/>
                    </a:lnTo>
                    <a:lnTo>
                      <a:pt x="2692" y="226"/>
                    </a:lnTo>
                    <a:lnTo>
                      <a:pt x="2708" y="225"/>
                    </a:lnTo>
                    <a:lnTo>
                      <a:pt x="2727" y="226"/>
                    </a:lnTo>
                    <a:lnTo>
                      <a:pt x="2732" y="235"/>
                    </a:lnTo>
                    <a:lnTo>
                      <a:pt x="2739" y="242"/>
                    </a:lnTo>
                    <a:lnTo>
                      <a:pt x="2737" y="256"/>
                    </a:lnTo>
                    <a:lnTo>
                      <a:pt x="2734" y="270"/>
                    </a:lnTo>
                    <a:lnTo>
                      <a:pt x="2730" y="282"/>
                    </a:lnTo>
                    <a:lnTo>
                      <a:pt x="2729" y="293"/>
                    </a:lnTo>
                    <a:lnTo>
                      <a:pt x="2727" y="300"/>
                    </a:lnTo>
                    <a:lnTo>
                      <a:pt x="2730" y="309"/>
                    </a:lnTo>
                    <a:lnTo>
                      <a:pt x="2736" y="321"/>
                    </a:lnTo>
                    <a:lnTo>
                      <a:pt x="2739" y="335"/>
                    </a:lnTo>
                    <a:lnTo>
                      <a:pt x="2742" y="345"/>
                    </a:lnTo>
                    <a:lnTo>
                      <a:pt x="2742" y="357"/>
                    </a:lnTo>
                    <a:lnTo>
                      <a:pt x="2739" y="368"/>
                    </a:lnTo>
                    <a:lnTo>
                      <a:pt x="2736" y="377"/>
                    </a:lnTo>
                    <a:lnTo>
                      <a:pt x="2736" y="384"/>
                    </a:lnTo>
                    <a:lnTo>
                      <a:pt x="2737" y="389"/>
                    </a:lnTo>
                    <a:lnTo>
                      <a:pt x="2739" y="392"/>
                    </a:lnTo>
                    <a:lnTo>
                      <a:pt x="2742" y="396"/>
                    </a:lnTo>
                    <a:lnTo>
                      <a:pt x="2746" y="399"/>
                    </a:lnTo>
                    <a:lnTo>
                      <a:pt x="2748" y="405"/>
                    </a:lnTo>
                    <a:lnTo>
                      <a:pt x="2751" y="411"/>
                    </a:lnTo>
                    <a:lnTo>
                      <a:pt x="2746" y="422"/>
                    </a:lnTo>
                    <a:lnTo>
                      <a:pt x="2742" y="434"/>
                    </a:lnTo>
                    <a:lnTo>
                      <a:pt x="2742" y="450"/>
                    </a:lnTo>
                    <a:lnTo>
                      <a:pt x="2737" y="453"/>
                    </a:lnTo>
                    <a:lnTo>
                      <a:pt x="2734" y="457"/>
                    </a:lnTo>
                    <a:lnTo>
                      <a:pt x="2729" y="459"/>
                    </a:lnTo>
                    <a:lnTo>
                      <a:pt x="2723" y="462"/>
                    </a:lnTo>
                    <a:lnTo>
                      <a:pt x="2716" y="464"/>
                    </a:lnTo>
                    <a:lnTo>
                      <a:pt x="2716" y="469"/>
                    </a:lnTo>
                    <a:lnTo>
                      <a:pt x="2736" y="469"/>
                    </a:lnTo>
                    <a:lnTo>
                      <a:pt x="2737" y="467"/>
                    </a:lnTo>
                    <a:lnTo>
                      <a:pt x="2737" y="467"/>
                    </a:lnTo>
                    <a:lnTo>
                      <a:pt x="2739" y="466"/>
                    </a:lnTo>
                    <a:lnTo>
                      <a:pt x="2739" y="466"/>
                    </a:lnTo>
                    <a:lnTo>
                      <a:pt x="2742" y="464"/>
                    </a:lnTo>
                    <a:lnTo>
                      <a:pt x="2749" y="452"/>
                    </a:lnTo>
                    <a:lnTo>
                      <a:pt x="2756" y="438"/>
                    </a:lnTo>
                    <a:lnTo>
                      <a:pt x="2762" y="427"/>
                    </a:lnTo>
                    <a:lnTo>
                      <a:pt x="2765" y="410"/>
                    </a:lnTo>
                    <a:lnTo>
                      <a:pt x="2762" y="394"/>
                    </a:lnTo>
                    <a:lnTo>
                      <a:pt x="2760" y="378"/>
                    </a:lnTo>
                    <a:lnTo>
                      <a:pt x="2758" y="364"/>
                    </a:lnTo>
                    <a:lnTo>
                      <a:pt x="2777" y="364"/>
                    </a:lnTo>
                    <a:lnTo>
                      <a:pt x="2795" y="364"/>
                    </a:lnTo>
                    <a:lnTo>
                      <a:pt x="2812" y="370"/>
                    </a:lnTo>
                    <a:lnTo>
                      <a:pt x="2812" y="364"/>
                    </a:lnTo>
                    <a:lnTo>
                      <a:pt x="2795" y="357"/>
                    </a:lnTo>
                    <a:lnTo>
                      <a:pt x="2774" y="349"/>
                    </a:lnTo>
                    <a:lnTo>
                      <a:pt x="2755" y="342"/>
                    </a:lnTo>
                    <a:lnTo>
                      <a:pt x="2751" y="324"/>
                    </a:lnTo>
                    <a:lnTo>
                      <a:pt x="2746" y="312"/>
                    </a:lnTo>
                    <a:lnTo>
                      <a:pt x="2741" y="302"/>
                    </a:lnTo>
                    <a:lnTo>
                      <a:pt x="2736" y="288"/>
                    </a:lnTo>
                    <a:lnTo>
                      <a:pt x="2758" y="268"/>
                    </a:lnTo>
                    <a:lnTo>
                      <a:pt x="2758" y="235"/>
                    </a:lnTo>
                    <a:lnTo>
                      <a:pt x="2762" y="235"/>
                    </a:lnTo>
                    <a:lnTo>
                      <a:pt x="2765" y="235"/>
                    </a:lnTo>
                    <a:lnTo>
                      <a:pt x="2767" y="235"/>
                    </a:lnTo>
                    <a:lnTo>
                      <a:pt x="2767" y="237"/>
                    </a:lnTo>
                    <a:lnTo>
                      <a:pt x="2770" y="239"/>
                    </a:lnTo>
                    <a:lnTo>
                      <a:pt x="2774" y="249"/>
                    </a:lnTo>
                    <a:lnTo>
                      <a:pt x="2777" y="260"/>
                    </a:lnTo>
                    <a:lnTo>
                      <a:pt x="2784" y="268"/>
                    </a:lnTo>
                    <a:lnTo>
                      <a:pt x="2797" y="261"/>
                    </a:lnTo>
                    <a:lnTo>
                      <a:pt x="2812" y="258"/>
                    </a:lnTo>
                    <a:lnTo>
                      <a:pt x="2832" y="258"/>
                    </a:lnTo>
                    <a:lnTo>
                      <a:pt x="2842" y="272"/>
                    </a:lnTo>
                    <a:lnTo>
                      <a:pt x="2858" y="286"/>
                    </a:lnTo>
                    <a:lnTo>
                      <a:pt x="2873" y="296"/>
                    </a:lnTo>
                    <a:lnTo>
                      <a:pt x="2873" y="288"/>
                    </a:lnTo>
                    <a:lnTo>
                      <a:pt x="2861" y="275"/>
                    </a:lnTo>
                    <a:lnTo>
                      <a:pt x="2852" y="260"/>
                    </a:lnTo>
                    <a:lnTo>
                      <a:pt x="2847" y="240"/>
                    </a:lnTo>
                    <a:lnTo>
                      <a:pt x="2842" y="221"/>
                    </a:lnTo>
                    <a:lnTo>
                      <a:pt x="2838" y="200"/>
                    </a:lnTo>
                    <a:lnTo>
                      <a:pt x="2861" y="193"/>
                    </a:lnTo>
                    <a:lnTo>
                      <a:pt x="2886" y="188"/>
                    </a:lnTo>
                    <a:lnTo>
                      <a:pt x="2893" y="204"/>
                    </a:lnTo>
                    <a:lnTo>
                      <a:pt x="2896" y="204"/>
                    </a:lnTo>
                    <a:lnTo>
                      <a:pt x="2900" y="188"/>
                    </a:lnTo>
                    <a:lnTo>
                      <a:pt x="2903" y="171"/>
                    </a:lnTo>
                    <a:lnTo>
                      <a:pt x="2908" y="153"/>
                    </a:lnTo>
                    <a:lnTo>
                      <a:pt x="2924" y="144"/>
                    </a:lnTo>
                    <a:lnTo>
                      <a:pt x="2936" y="134"/>
                    </a:lnTo>
                    <a:lnTo>
                      <a:pt x="2950" y="123"/>
                    </a:lnTo>
                    <a:lnTo>
                      <a:pt x="2964" y="117"/>
                    </a:lnTo>
                    <a:lnTo>
                      <a:pt x="2980" y="111"/>
                    </a:lnTo>
                    <a:lnTo>
                      <a:pt x="3001" y="111"/>
                    </a:lnTo>
                    <a:lnTo>
                      <a:pt x="3003" y="104"/>
                    </a:lnTo>
                    <a:lnTo>
                      <a:pt x="3006" y="99"/>
                    </a:lnTo>
                    <a:lnTo>
                      <a:pt x="3008" y="94"/>
                    </a:lnTo>
                    <a:lnTo>
                      <a:pt x="3011" y="89"/>
                    </a:lnTo>
                    <a:lnTo>
                      <a:pt x="3022" y="89"/>
                    </a:lnTo>
                    <a:lnTo>
                      <a:pt x="3036" y="89"/>
                    </a:lnTo>
                    <a:lnTo>
                      <a:pt x="3050" y="89"/>
                    </a:lnTo>
                    <a:lnTo>
                      <a:pt x="3060" y="89"/>
                    </a:lnTo>
                    <a:lnTo>
                      <a:pt x="3065" y="89"/>
                    </a:lnTo>
                    <a:lnTo>
                      <a:pt x="3072" y="83"/>
                    </a:lnTo>
                    <a:lnTo>
                      <a:pt x="3079" y="78"/>
                    </a:lnTo>
                    <a:lnTo>
                      <a:pt x="3086" y="71"/>
                    </a:lnTo>
                    <a:lnTo>
                      <a:pt x="3092" y="66"/>
                    </a:lnTo>
                    <a:lnTo>
                      <a:pt x="3097" y="68"/>
                    </a:lnTo>
                    <a:lnTo>
                      <a:pt x="3100" y="68"/>
                    </a:lnTo>
                    <a:lnTo>
                      <a:pt x="3106" y="69"/>
                    </a:lnTo>
                    <a:lnTo>
                      <a:pt x="3111" y="69"/>
                    </a:lnTo>
                    <a:lnTo>
                      <a:pt x="3111" y="50"/>
                    </a:lnTo>
                    <a:lnTo>
                      <a:pt x="3126" y="43"/>
                    </a:lnTo>
                    <a:lnTo>
                      <a:pt x="3139" y="36"/>
                    </a:lnTo>
                    <a:lnTo>
                      <a:pt x="3151" y="27"/>
                    </a:lnTo>
                    <a:lnTo>
                      <a:pt x="3161" y="17"/>
                    </a:lnTo>
                    <a:lnTo>
                      <a:pt x="3165"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sp>
            <p:nvSpPr>
              <p:cNvPr id="13" name="Freeform 11">
                <a:extLst>
                  <a:ext uri="{FF2B5EF4-FFF2-40B4-BE49-F238E27FC236}">
                    <a16:creationId xmlns:a16="http://schemas.microsoft.com/office/drawing/2014/main" id="{2EED454E-98CD-7A45-8FB3-38B6BB057830}"/>
                  </a:ext>
                </a:extLst>
              </p:cNvPr>
              <p:cNvSpPr>
                <a:spLocks noEditPoints="1"/>
              </p:cNvSpPr>
              <p:nvPr/>
            </p:nvSpPr>
            <p:spPr bwMode="auto">
              <a:xfrm>
                <a:off x="2097088" y="1382713"/>
                <a:ext cx="4552950" cy="1549400"/>
              </a:xfrm>
              <a:custGeom>
                <a:avLst/>
                <a:gdLst>
                  <a:gd name="T0" fmla="*/ 0 w 2868"/>
                  <a:gd name="T1" fmla="*/ 276 h 976"/>
                  <a:gd name="T2" fmla="*/ 1210 w 2868"/>
                  <a:gd name="T3" fmla="*/ 237 h 976"/>
                  <a:gd name="T4" fmla="*/ 1742 w 2868"/>
                  <a:gd name="T5" fmla="*/ 276 h 976"/>
                  <a:gd name="T6" fmla="*/ 2863 w 2868"/>
                  <a:gd name="T7" fmla="*/ 190 h 976"/>
                  <a:gd name="T8" fmla="*/ 2804 w 2868"/>
                  <a:gd name="T9" fmla="*/ 223 h 976"/>
                  <a:gd name="T10" fmla="*/ 194 w 2868"/>
                  <a:gd name="T11" fmla="*/ 279 h 976"/>
                  <a:gd name="T12" fmla="*/ 98 w 2868"/>
                  <a:gd name="T13" fmla="*/ 202 h 976"/>
                  <a:gd name="T14" fmla="*/ 138 w 2868"/>
                  <a:gd name="T15" fmla="*/ 150 h 976"/>
                  <a:gd name="T16" fmla="*/ 1685 w 2868"/>
                  <a:gd name="T17" fmla="*/ 166 h 976"/>
                  <a:gd name="T18" fmla="*/ 1631 w 2868"/>
                  <a:gd name="T19" fmla="*/ 295 h 976"/>
                  <a:gd name="T20" fmla="*/ 1620 w 2868"/>
                  <a:gd name="T21" fmla="*/ 218 h 976"/>
                  <a:gd name="T22" fmla="*/ 1569 w 2868"/>
                  <a:gd name="T23" fmla="*/ 159 h 976"/>
                  <a:gd name="T24" fmla="*/ 1632 w 2868"/>
                  <a:gd name="T25" fmla="*/ 157 h 976"/>
                  <a:gd name="T26" fmla="*/ 2615 w 2868"/>
                  <a:gd name="T27" fmla="*/ 120 h 976"/>
                  <a:gd name="T28" fmla="*/ 2090 w 2868"/>
                  <a:gd name="T29" fmla="*/ 120 h 976"/>
                  <a:gd name="T30" fmla="*/ 2739 w 2868"/>
                  <a:gd name="T31" fmla="*/ 87 h 976"/>
                  <a:gd name="T32" fmla="*/ 2765 w 2868"/>
                  <a:gd name="T33" fmla="*/ 195 h 976"/>
                  <a:gd name="T34" fmla="*/ 2704 w 2868"/>
                  <a:gd name="T35" fmla="*/ 92 h 976"/>
                  <a:gd name="T36" fmla="*/ 2158 w 2868"/>
                  <a:gd name="T37" fmla="*/ 99 h 976"/>
                  <a:gd name="T38" fmla="*/ 1786 w 2868"/>
                  <a:gd name="T39" fmla="*/ 89 h 976"/>
                  <a:gd name="T40" fmla="*/ 1681 w 2868"/>
                  <a:gd name="T41" fmla="*/ 89 h 976"/>
                  <a:gd name="T42" fmla="*/ 2186 w 2868"/>
                  <a:gd name="T43" fmla="*/ 45 h 976"/>
                  <a:gd name="T44" fmla="*/ 596 w 2868"/>
                  <a:gd name="T45" fmla="*/ 92 h 976"/>
                  <a:gd name="T46" fmla="*/ 384 w 2868"/>
                  <a:gd name="T47" fmla="*/ 253 h 976"/>
                  <a:gd name="T48" fmla="*/ 330 w 2868"/>
                  <a:gd name="T49" fmla="*/ 316 h 976"/>
                  <a:gd name="T50" fmla="*/ 321 w 2868"/>
                  <a:gd name="T51" fmla="*/ 361 h 976"/>
                  <a:gd name="T52" fmla="*/ 205 w 2868"/>
                  <a:gd name="T53" fmla="*/ 335 h 976"/>
                  <a:gd name="T54" fmla="*/ 253 w 2868"/>
                  <a:gd name="T55" fmla="*/ 248 h 976"/>
                  <a:gd name="T56" fmla="*/ 304 w 2868"/>
                  <a:gd name="T57" fmla="*/ 197 h 976"/>
                  <a:gd name="T58" fmla="*/ 311 w 2868"/>
                  <a:gd name="T59" fmla="*/ 188 h 976"/>
                  <a:gd name="T60" fmla="*/ 192 w 2868"/>
                  <a:gd name="T61" fmla="*/ 168 h 976"/>
                  <a:gd name="T62" fmla="*/ 161 w 2868"/>
                  <a:gd name="T63" fmla="*/ 131 h 976"/>
                  <a:gd name="T64" fmla="*/ 253 w 2868"/>
                  <a:gd name="T65" fmla="*/ 92 h 976"/>
                  <a:gd name="T66" fmla="*/ 323 w 2868"/>
                  <a:gd name="T67" fmla="*/ 77 h 976"/>
                  <a:gd name="T68" fmla="*/ 2107 w 2868"/>
                  <a:gd name="T69" fmla="*/ 80 h 976"/>
                  <a:gd name="T70" fmla="*/ 2090 w 2868"/>
                  <a:gd name="T71" fmla="*/ 59 h 976"/>
                  <a:gd name="T72" fmla="*/ 2147 w 2868"/>
                  <a:gd name="T73" fmla="*/ 30 h 976"/>
                  <a:gd name="T74" fmla="*/ 1048 w 2868"/>
                  <a:gd name="T75" fmla="*/ 73 h 976"/>
                  <a:gd name="T76" fmla="*/ 1076 w 2868"/>
                  <a:gd name="T77" fmla="*/ 131 h 976"/>
                  <a:gd name="T78" fmla="*/ 1294 w 2868"/>
                  <a:gd name="T79" fmla="*/ 147 h 976"/>
                  <a:gd name="T80" fmla="*/ 1196 w 2868"/>
                  <a:gd name="T81" fmla="*/ 243 h 976"/>
                  <a:gd name="T82" fmla="*/ 1224 w 2868"/>
                  <a:gd name="T83" fmla="*/ 353 h 976"/>
                  <a:gd name="T84" fmla="*/ 1198 w 2868"/>
                  <a:gd name="T85" fmla="*/ 415 h 976"/>
                  <a:gd name="T86" fmla="*/ 1192 w 2868"/>
                  <a:gd name="T87" fmla="*/ 490 h 976"/>
                  <a:gd name="T88" fmla="*/ 1140 w 2868"/>
                  <a:gd name="T89" fmla="*/ 538 h 976"/>
                  <a:gd name="T90" fmla="*/ 1091 w 2868"/>
                  <a:gd name="T91" fmla="*/ 602 h 976"/>
                  <a:gd name="T92" fmla="*/ 1048 w 2868"/>
                  <a:gd name="T93" fmla="*/ 696 h 976"/>
                  <a:gd name="T94" fmla="*/ 911 w 2868"/>
                  <a:gd name="T95" fmla="*/ 784 h 976"/>
                  <a:gd name="T96" fmla="*/ 861 w 2868"/>
                  <a:gd name="T97" fmla="*/ 932 h 976"/>
                  <a:gd name="T98" fmla="*/ 740 w 2868"/>
                  <a:gd name="T99" fmla="*/ 862 h 976"/>
                  <a:gd name="T100" fmla="*/ 714 w 2868"/>
                  <a:gd name="T101" fmla="*/ 806 h 976"/>
                  <a:gd name="T102" fmla="*/ 718 w 2868"/>
                  <a:gd name="T103" fmla="*/ 641 h 976"/>
                  <a:gd name="T104" fmla="*/ 672 w 2868"/>
                  <a:gd name="T105" fmla="*/ 576 h 976"/>
                  <a:gd name="T106" fmla="*/ 466 w 2868"/>
                  <a:gd name="T107" fmla="*/ 374 h 976"/>
                  <a:gd name="T108" fmla="*/ 447 w 2868"/>
                  <a:gd name="T109" fmla="*/ 290 h 976"/>
                  <a:gd name="T110" fmla="*/ 592 w 2868"/>
                  <a:gd name="T111" fmla="*/ 140 h 976"/>
                  <a:gd name="T112" fmla="*/ 711 w 2868"/>
                  <a:gd name="T113" fmla="*/ 112 h 976"/>
                  <a:gd name="T114" fmla="*/ 833 w 2868"/>
                  <a:gd name="T115" fmla="*/ 80 h 976"/>
                  <a:gd name="T116" fmla="*/ 896 w 2868"/>
                  <a:gd name="T117" fmla="*/ 44 h 976"/>
                  <a:gd name="T118" fmla="*/ 2706 w 2868"/>
                  <a:gd name="T119" fmla="*/ 31 h 976"/>
                  <a:gd name="T120" fmla="*/ 2641 w 2868"/>
                  <a:gd name="T121" fmla="*/ 8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8" h="976">
                    <a:moveTo>
                      <a:pt x="7" y="243"/>
                    </a:moveTo>
                    <a:lnTo>
                      <a:pt x="25" y="248"/>
                    </a:lnTo>
                    <a:lnTo>
                      <a:pt x="37" y="257"/>
                    </a:lnTo>
                    <a:lnTo>
                      <a:pt x="47" y="265"/>
                    </a:lnTo>
                    <a:lnTo>
                      <a:pt x="58" y="276"/>
                    </a:lnTo>
                    <a:lnTo>
                      <a:pt x="68" y="284"/>
                    </a:lnTo>
                    <a:lnTo>
                      <a:pt x="68" y="281"/>
                    </a:lnTo>
                    <a:lnTo>
                      <a:pt x="74" y="281"/>
                    </a:lnTo>
                    <a:lnTo>
                      <a:pt x="74" y="284"/>
                    </a:lnTo>
                    <a:lnTo>
                      <a:pt x="75" y="288"/>
                    </a:lnTo>
                    <a:lnTo>
                      <a:pt x="79" y="293"/>
                    </a:lnTo>
                    <a:lnTo>
                      <a:pt x="81" y="300"/>
                    </a:lnTo>
                    <a:lnTo>
                      <a:pt x="74" y="300"/>
                    </a:lnTo>
                    <a:lnTo>
                      <a:pt x="70" y="300"/>
                    </a:lnTo>
                    <a:lnTo>
                      <a:pt x="70" y="302"/>
                    </a:lnTo>
                    <a:lnTo>
                      <a:pt x="68" y="302"/>
                    </a:lnTo>
                    <a:lnTo>
                      <a:pt x="65" y="302"/>
                    </a:lnTo>
                    <a:lnTo>
                      <a:pt x="61" y="304"/>
                    </a:lnTo>
                    <a:lnTo>
                      <a:pt x="47" y="293"/>
                    </a:lnTo>
                    <a:lnTo>
                      <a:pt x="33" y="288"/>
                    </a:lnTo>
                    <a:lnTo>
                      <a:pt x="16" y="284"/>
                    </a:lnTo>
                    <a:lnTo>
                      <a:pt x="0" y="276"/>
                    </a:lnTo>
                    <a:lnTo>
                      <a:pt x="6" y="271"/>
                    </a:lnTo>
                    <a:lnTo>
                      <a:pt x="7" y="265"/>
                    </a:lnTo>
                    <a:lnTo>
                      <a:pt x="6" y="260"/>
                    </a:lnTo>
                    <a:lnTo>
                      <a:pt x="6" y="253"/>
                    </a:lnTo>
                    <a:lnTo>
                      <a:pt x="7" y="243"/>
                    </a:lnTo>
                    <a:close/>
                    <a:moveTo>
                      <a:pt x="1222" y="236"/>
                    </a:moveTo>
                    <a:lnTo>
                      <a:pt x="1226" y="236"/>
                    </a:lnTo>
                    <a:lnTo>
                      <a:pt x="1229" y="237"/>
                    </a:lnTo>
                    <a:lnTo>
                      <a:pt x="1231" y="239"/>
                    </a:lnTo>
                    <a:lnTo>
                      <a:pt x="1233" y="241"/>
                    </a:lnTo>
                    <a:lnTo>
                      <a:pt x="1234" y="243"/>
                    </a:lnTo>
                    <a:lnTo>
                      <a:pt x="1234" y="244"/>
                    </a:lnTo>
                    <a:lnTo>
                      <a:pt x="1234" y="246"/>
                    </a:lnTo>
                    <a:lnTo>
                      <a:pt x="1236" y="250"/>
                    </a:lnTo>
                    <a:lnTo>
                      <a:pt x="1229" y="250"/>
                    </a:lnTo>
                    <a:lnTo>
                      <a:pt x="1226" y="251"/>
                    </a:lnTo>
                    <a:lnTo>
                      <a:pt x="1222" y="251"/>
                    </a:lnTo>
                    <a:lnTo>
                      <a:pt x="1219" y="253"/>
                    </a:lnTo>
                    <a:lnTo>
                      <a:pt x="1213" y="253"/>
                    </a:lnTo>
                    <a:lnTo>
                      <a:pt x="1213" y="250"/>
                    </a:lnTo>
                    <a:lnTo>
                      <a:pt x="1210" y="250"/>
                    </a:lnTo>
                    <a:lnTo>
                      <a:pt x="1210" y="237"/>
                    </a:lnTo>
                    <a:lnTo>
                      <a:pt x="1215" y="237"/>
                    </a:lnTo>
                    <a:lnTo>
                      <a:pt x="1220" y="236"/>
                    </a:lnTo>
                    <a:lnTo>
                      <a:pt x="1222" y="236"/>
                    </a:lnTo>
                    <a:close/>
                    <a:moveTo>
                      <a:pt x="61" y="227"/>
                    </a:moveTo>
                    <a:lnTo>
                      <a:pt x="77" y="227"/>
                    </a:lnTo>
                    <a:lnTo>
                      <a:pt x="77" y="230"/>
                    </a:lnTo>
                    <a:lnTo>
                      <a:pt x="74" y="230"/>
                    </a:lnTo>
                    <a:lnTo>
                      <a:pt x="70" y="230"/>
                    </a:lnTo>
                    <a:lnTo>
                      <a:pt x="68" y="232"/>
                    </a:lnTo>
                    <a:lnTo>
                      <a:pt x="67" y="232"/>
                    </a:lnTo>
                    <a:lnTo>
                      <a:pt x="67" y="232"/>
                    </a:lnTo>
                    <a:lnTo>
                      <a:pt x="65" y="232"/>
                    </a:lnTo>
                    <a:lnTo>
                      <a:pt x="63" y="230"/>
                    </a:lnTo>
                    <a:lnTo>
                      <a:pt x="61" y="227"/>
                    </a:lnTo>
                    <a:close/>
                    <a:moveTo>
                      <a:pt x="1716" y="202"/>
                    </a:moveTo>
                    <a:lnTo>
                      <a:pt x="1728" y="202"/>
                    </a:lnTo>
                    <a:lnTo>
                      <a:pt x="1732" y="216"/>
                    </a:lnTo>
                    <a:lnTo>
                      <a:pt x="1735" y="225"/>
                    </a:lnTo>
                    <a:lnTo>
                      <a:pt x="1742" y="229"/>
                    </a:lnTo>
                    <a:lnTo>
                      <a:pt x="1754" y="234"/>
                    </a:lnTo>
                    <a:lnTo>
                      <a:pt x="1749" y="255"/>
                    </a:lnTo>
                    <a:lnTo>
                      <a:pt x="1742" y="276"/>
                    </a:lnTo>
                    <a:lnTo>
                      <a:pt x="1732" y="291"/>
                    </a:lnTo>
                    <a:lnTo>
                      <a:pt x="1732" y="272"/>
                    </a:lnTo>
                    <a:lnTo>
                      <a:pt x="1709" y="272"/>
                    </a:lnTo>
                    <a:lnTo>
                      <a:pt x="1711" y="250"/>
                    </a:lnTo>
                    <a:lnTo>
                      <a:pt x="1713" y="229"/>
                    </a:lnTo>
                    <a:lnTo>
                      <a:pt x="1716" y="202"/>
                    </a:lnTo>
                    <a:close/>
                    <a:moveTo>
                      <a:pt x="2819" y="157"/>
                    </a:moveTo>
                    <a:lnTo>
                      <a:pt x="2823" y="157"/>
                    </a:lnTo>
                    <a:lnTo>
                      <a:pt x="2823" y="161"/>
                    </a:lnTo>
                    <a:lnTo>
                      <a:pt x="2824" y="166"/>
                    </a:lnTo>
                    <a:lnTo>
                      <a:pt x="2826" y="168"/>
                    </a:lnTo>
                    <a:lnTo>
                      <a:pt x="2828" y="171"/>
                    </a:lnTo>
                    <a:lnTo>
                      <a:pt x="2830" y="173"/>
                    </a:lnTo>
                    <a:lnTo>
                      <a:pt x="2833" y="176"/>
                    </a:lnTo>
                    <a:lnTo>
                      <a:pt x="2837" y="173"/>
                    </a:lnTo>
                    <a:lnTo>
                      <a:pt x="2838" y="169"/>
                    </a:lnTo>
                    <a:lnTo>
                      <a:pt x="2840" y="168"/>
                    </a:lnTo>
                    <a:lnTo>
                      <a:pt x="2844" y="168"/>
                    </a:lnTo>
                    <a:lnTo>
                      <a:pt x="2849" y="166"/>
                    </a:lnTo>
                    <a:lnTo>
                      <a:pt x="2852" y="176"/>
                    </a:lnTo>
                    <a:lnTo>
                      <a:pt x="2858" y="183"/>
                    </a:lnTo>
                    <a:lnTo>
                      <a:pt x="2863" y="190"/>
                    </a:lnTo>
                    <a:lnTo>
                      <a:pt x="2866" y="199"/>
                    </a:lnTo>
                    <a:lnTo>
                      <a:pt x="2868" y="211"/>
                    </a:lnTo>
                    <a:lnTo>
                      <a:pt x="2868" y="213"/>
                    </a:lnTo>
                    <a:lnTo>
                      <a:pt x="2866" y="215"/>
                    </a:lnTo>
                    <a:lnTo>
                      <a:pt x="2866" y="216"/>
                    </a:lnTo>
                    <a:lnTo>
                      <a:pt x="2866" y="218"/>
                    </a:lnTo>
                    <a:lnTo>
                      <a:pt x="2866" y="220"/>
                    </a:lnTo>
                    <a:lnTo>
                      <a:pt x="2865" y="223"/>
                    </a:lnTo>
                    <a:lnTo>
                      <a:pt x="2854" y="230"/>
                    </a:lnTo>
                    <a:lnTo>
                      <a:pt x="2838" y="237"/>
                    </a:lnTo>
                    <a:lnTo>
                      <a:pt x="2819" y="241"/>
                    </a:lnTo>
                    <a:lnTo>
                      <a:pt x="2800" y="244"/>
                    </a:lnTo>
                    <a:lnTo>
                      <a:pt x="2784" y="246"/>
                    </a:lnTo>
                    <a:lnTo>
                      <a:pt x="2786" y="237"/>
                    </a:lnTo>
                    <a:lnTo>
                      <a:pt x="2788" y="234"/>
                    </a:lnTo>
                    <a:lnTo>
                      <a:pt x="2790" y="230"/>
                    </a:lnTo>
                    <a:lnTo>
                      <a:pt x="2791" y="229"/>
                    </a:lnTo>
                    <a:lnTo>
                      <a:pt x="2793" y="229"/>
                    </a:lnTo>
                    <a:lnTo>
                      <a:pt x="2797" y="227"/>
                    </a:lnTo>
                    <a:lnTo>
                      <a:pt x="2798" y="227"/>
                    </a:lnTo>
                    <a:lnTo>
                      <a:pt x="2800" y="225"/>
                    </a:lnTo>
                    <a:lnTo>
                      <a:pt x="2804" y="223"/>
                    </a:lnTo>
                    <a:lnTo>
                      <a:pt x="2809" y="209"/>
                    </a:lnTo>
                    <a:lnTo>
                      <a:pt x="2809" y="195"/>
                    </a:lnTo>
                    <a:lnTo>
                      <a:pt x="2807" y="182"/>
                    </a:lnTo>
                    <a:lnTo>
                      <a:pt x="2810" y="171"/>
                    </a:lnTo>
                    <a:lnTo>
                      <a:pt x="2819" y="161"/>
                    </a:lnTo>
                    <a:lnTo>
                      <a:pt x="2819" y="157"/>
                    </a:lnTo>
                    <a:close/>
                    <a:moveTo>
                      <a:pt x="142" y="150"/>
                    </a:moveTo>
                    <a:lnTo>
                      <a:pt x="161" y="171"/>
                    </a:lnTo>
                    <a:lnTo>
                      <a:pt x="185" y="187"/>
                    </a:lnTo>
                    <a:lnTo>
                      <a:pt x="215" y="199"/>
                    </a:lnTo>
                    <a:lnTo>
                      <a:pt x="217" y="216"/>
                    </a:lnTo>
                    <a:lnTo>
                      <a:pt x="222" y="229"/>
                    </a:lnTo>
                    <a:lnTo>
                      <a:pt x="227" y="236"/>
                    </a:lnTo>
                    <a:lnTo>
                      <a:pt x="234" y="243"/>
                    </a:lnTo>
                    <a:lnTo>
                      <a:pt x="241" y="253"/>
                    </a:lnTo>
                    <a:lnTo>
                      <a:pt x="229" y="255"/>
                    </a:lnTo>
                    <a:lnTo>
                      <a:pt x="217" y="257"/>
                    </a:lnTo>
                    <a:lnTo>
                      <a:pt x="206" y="262"/>
                    </a:lnTo>
                    <a:lnTo>
                      <a:pt x="199" y="269"/>
                    </a:lnTo>
                    <a:lnTo>
                      <a:pt x="198" y="272"/>
                    </a:lnTo>
                    <a:lnTo>
                      <a:pt x="196" y="276"/>
                    </a:lnTo>
                    <a:lnTo>
                      <a:pt x="194" y="279"/>
                    </a:lnTo>
                    <a:lnTo>
                      <a:pt x="192" y="281"/>
                    </a:lnTo>
                    <a:lnTo>
                      <a:pt x="189" y="284"/>
                    </a:lnTo>
                    <a:lnTo>
                      <a:pt x="178" y="286"/>
                    </a:lnTo>
                    <a:lnTo>
                      <a:pt x="163" y="288"/>
                    </a:lnTo>
                    <a:lnTo>
                      <a:pt x="145" y="286"/>
                    </a:lnTo>
                    <a:lnTo>
                      <a:pt x="131" y="284"/>
                    </a:lnTo>
                    <a:lnTo>
                      <a:pt x="128" y="274"/>
                    </a:lnTo>
                    <a:lnTo>
                      <a:pt x="126" y="267"/>
                    </a:lnTo>
                    <a:lnTo>
                      <a:pt x="124" y="262"/>
                    </a:lnTo>
                    <a:lnTo>
                      <a:pt x="119" y="253"/>
                    </a:lnTo>
                    <a:lnTo>
                      <a:pt x="142" y="246"/>
                    </a:lnTo>
                    <a:lnTo>
                      <a:pt x="142" y="243"/>
                    </a:lnTo>
                    <a:lnTo>
                      <a:pt x="124" y="241"/>
                    </a:lnTo>
                    <a:lnTo>
                      <a:pt x="112" y="237"/>
                    </a:lnTo>
                    <a:lnTo>
                      <a:pt x="103" y="230"/>
                    </a:lnTo>
                    <a:lnTo>
                      <a:pt x="102" y="225"/>
                    </a:lnTo>
                    <a:lnTo>
                      <a:pt x="98" y="220"/>
                    </a:lnTo>
                    <a:lnTo>
                      <a:pt x="96" y="215"/>
                    </a:lnTo>
                    <a:lnTo>
                      <a:pt x="96" y="209"/>
                    </a:lnTo>
                    <a:lnTo>
                      <a:pt x="96" y="206"/>
                    </a:lnTo>
                    <a:lnTo>
                      <a:pt x="96" y="202"/>
                    </a:lnTo>
                    <a:lnTo>
                      <a:pt x="98" y="202"/>
                    </a:lnTo>
                    <a:lnTo>
                      <a:pt x="100" y="201"/>
                    </a:lnTo>
                    <a:lnTo>
                      <a:pt x="102" y="201"/>
                    </a:lnTo>
                    <a:lnTo>
                      <a:pt x="103" y="201"/>
                    </a:lnTo>
                    <a:lnTo>
                      <a:pt x="107" y="199"/>
                    </a:lnTo>
                    <a:lnTo>
                      <a:pt x="109" y="194"/>
                    </a:lnTo>
                    <a:lnTo>
                      <a:pt x="109" y="188"/>
                    </a:lnTo>
                    <a:lnTo>
                      <a:pt x="109" y="185"/>
                    </a:lnTo>
                    <a:lnTo>
                      <a:pt x="110" y="183"/>
                    </a:lnTo>
                    <a:lnTo>
                      <a:pt x="112" y="180"/>
                    </a:lnTo>
                    <a:lnTo>
                      <a:pt x="114" y="180"/>
                    </a:lnTo>
                    <a:lnTo>
                      <a:pt x="116" y="178"/>
                    </a:lnTo>
                    <a:lnTo>
                      <a:pt x="117" y="178"/>
                    </a:lnTo>
                    <a:lnTo>
                      <a:pt x="119" y="178"/>
                    </a:lnTo>
                    <a:lnTo>
                      <a:pt x="122" y="176"/>
                    </a:lnTo>
                    <a:lnTo>
                      <a:pt x="124" y="169"/>
                    </a:lnTo>
                    <a:lnTo>
                      <a:pt x="126" y="164"/>
                    </a:lnTo>
                    <a:lnTo>
                      <a:pt x="128" y="159"/>
                    </a:lnTo>
                    <a:lnTo>
                      <a:pt x="131" y="154"/>
                    </a:lnTo>
                    <a:lnTo>
                      <a:pt x="133" y="152"/>
                    </a:lnTo>
                    <a:lnTo>
                      <a:pt x="135" y="152"/>
                    </a:lnTo>
                    <a:lnTo>
                      <a:pt x="136" y="150"/>
                    </a:lnTo>
                    <a:lnTo>
                      <a:pt x="138" y="150"/>
                    </a:lnTo>
                    <a:lnTo>
                      <a:pt x="142" y="150"/>
                    </a:lnTo>
                    <a:close/>
                    <a:moveTo>
                      <a:pt x="1172" y="131"/>
                    </a:moveTo>
                    <a:lnTo>
                      <a:pt x="1177" y="133"/>
                    </a:lnTo>
                    <a:lnTo>
                      <a:pt x="1182" y="134"/>
                    </a:lnTo>
                    <a:lnTo>
                      <a:pt x="1185" y="136"/>
                    </a:lnTo>
                    <a:lnTo>
                      <a:pt x="1191" y="138"/>
                    </a:lnTo>
                    <a:lnTo>
                      <a:pt x="1191" y="143"/>
                    </a:lnTo>
                    <a:lnTo>
                      <a:pt x="1192" y="147"/>
                    </a:lnTo>
                    <a:lnTo>
                      <a:pt x="1192" y="150"/>
                    </a:lnTo>
                    <a:lnTo>
                      <a:pt x="1194" y="154"/>
                    </a:lnTo>
                    <a:lnTo>
                      <a:pt x="1182" y="154"/>
                    </a:lnTo>
                    <a:lnTo>
                      <a:pt x="1180" y="150"/>
                    </a:lnTo>
                    <a:lnTo>
                      <a:pt x="1178" y="147"/>
                    </a:lnTo>
                    <a:lnTo>
                      <a:pt x="1175" y="143"/>
                    </a:lnTo>
                    <a:lnTo>
                      <a:pt x="1173" y="141"/>
                    </a:lnTo>
                    <a:lnTo>
                      <a:pt x="1173" y="136"/>
                    </a:lnTo>
                    <a:lnTo>
                      <a:pt x="1172" y="131"/>
                    </a:lnTo>
                    <a:close/>
                    <a:moveTo>
                      <a:pt x="1658" y="108"/>
                    </a:moveTo>
                    <a:lnTo>
                      <a:pt x="1664" y="117"/>
                    </a:lnTo>
                    <a:lnTo>
                      <a:pt x="1669" y="134"/>
                    </a:lnTo>
                    <a:lnTo>
                      <a:pt x="1676" y="150"/>
                    </a:lnTo>
                    <a:lnTo>
                      <a:pt x="1685" y="166"/>
                    </a:lnTo>
                    <a:lnTo>
                      <a:pt x="1690" y="173"/>
                    </a:lnTo>
                    <a:lnTo>
                      <a:pt x="1693" y="169"/>
                    </a:lnTo>
                    <a:lnTo>
                      <a:pt x="1695" y="168"/>
                    </a:lnTo>
                    <a:lnTo>
                      <a:pt x="1699" y="168"/>
                    </a:lnTo>
                    <a:lnTo>
                      <a:pt x="1702" y="166"/>
                    </a:lnTo>
                    <a:lnTo>
                      <a:pt x="1709" y="166"/>
                    </a:lnTo>
                    <a:lnTo>
                      <a:pt x="1709" y="169"/>
                    </a:lnTo>
                    <a:lnTo>
                      <a:pt x="1713" y="169"/>
                    </a:lnTo>
                    <a:lnTo>
                      <a:pt x="1713" y="180"/>
                    </a:lnTo>
                    <a:lnTo>
                      <a:pt x="1686" y="183"/>
                    </a:lnTo>
                    <a:lnTo>
                      <a:pt x="1683" y="211"/>
                    </a:lnTo>
                    <a:lnTo>
                      <a:pt x="1674" y="234"/>
                    </a:lnTo>
                    <a:lnTo>
                      <a:pt x="1667" y="257"/>
                    </a:lnTo>
                    <a:lnTo>
                      <a:pt x="1664" y="276"/>
                    </a:lnTo>
                    <a:lnTo>
                      <a:pt x="1662" y="295"/>
                    </a:lnTo>
                    <a:lnTo>
                      <a:pt x="1662" y="311"/>
                    </a:lnTo>
                    <a:lnTo>
                      <a:pt x="1658" y="326"/>
                    </a:lnTo>
                    <a:lnTo>
                      <a:pt x="1655" y="326"/>
                    </a:lnTo>
                    <a:lnTo>
                      <a:pt x="1655" y="323"/>
                    </a:lnTo>
                    <a:lnTo>
                      <a:pt x="1650" y="316"/>
                    </a:lnTo>
                    <a:lnTo>
                      <a:pt x="1641" y="307"/>
                    </a:lnTo>
                    <a:lnTo>
                      <a:pt x="1631" y="295"/>
                    </a:lnTo>
                    <a:lnTo>
                      <a:pt x="1622" y="283"/>
                    </a:lnTo>
                    <a:lnTo>
                      <a:pt x="1615" y="271"/>
                    </a:lnTo>
                    <a:lnTo>
                      <a:pt x="1611" y="260"/>
                    </a:lnTo>
                    <a:lnTo>
                      <a:pt x="1613" y="253"/>
                    </a:lnTo>
                    <a:lnTo>
                      <a:pt x="1617" y="251"/>
                    </a:lnTo>
                    <a:lnTo>
                      <a:pt x="1620" y="251"/>
                    </a:lnTo>
                    <a:lnTo>
                      <a:pt x="1622" y="251"/>
                    </a:lnTo>
                    <a:lnTo>
                      <a:pt x="1624" y="251"/>
                    </a:lnTo>
                    <a:lnTo>
                      <a:pt x="1625" y="251"/>
                    </a:lnTo>
                    <a:lnTo>
                      <a:pt x="1627" y="251"/>
                    </a:lnTo>
                    <a:lnTo>
                      <a:pt x="1629" y="250"/>
                    </a:lnTo>
                    <a:lnTo>
                      <a:pt x="1632" y="246"/>
                    </a:lnTo>
                    <a:lnTo>
                      <a:pt x="1629" y="246"/>
                    </a:lnTo>
                    <a:lnTo>
                      <a:pt x="1629" y="243"/>
                    </a:lnTo>
                    <a:lnTo>
                      <a:pt x="1613" y="241"/>
                    </a:lnTo>
                    <a:lnTo>
                      <a:pt x="1604" y="236"/>
                    </a:lnTo>
                    <a:lnTo>
                      <a:pt x="1597" y="227"/>
                    </a:lnTo>
                    <a:lnTo>
                      <a:pt x="1604" y="225"/>
                    </a:lnTo>
                    <a:lnTo>
                      <a:pt x="1610" y="223"/>
                    </a:lnTo>
                    <a:lnTo>
                      <a:pt x="1613" y="222"/>
                    </a:lnTo>
                    <a:lnTo>
                      <a:pt x="1617" y="220"/>
                    </a:lnTo>
                    <a:lnTo>
                      <a:pt x="1620" y="218"/>
                    </a:lnTo>
                    <a:lnTo>
                      <a:pt x="1624" y="215"/>
                    </a:lnTo>
                    <a:lnTo>
                      <a:pt x="1624" y="211"/>
                    </a:lnTo>
                    <a:lnTo>
                      <a:pt x="1610" y="211"/>
                    </a:lnTo>
                    <a:lnTo>
                      <a:pt x="1606" y="213"/>
                    </a:lnTo>
                    <a:lnTo>
                      <a:pt x="1603" y="213"/>
                    </a:lnTo>
                    <a:lnTo>
                      <a:pt x="1599" y="215"/>
                    </a:lnTo>
                    <a:lnTo>
                      <a:pt x="1594" y="215"/>
                    </a:lnTo>
                    <a:lnTo>
                      <a:pt x="1585" y="199"/>
                    </a:lnTo>
                    <a:lnTo>
                      <a:pt x="1575" y="183"/>
                    </a:lnTo>
                    <a:lnTo>
                      <a:pt x="1576" y="178"/>
                    </a:lnTo>
                    <a:lnTo>
                      <a:pt x="1576" y="175"/>
                    </a:lnTo>
                    <a:lnTo>
                      <a:pt x="1578" y="173"/>
                    </a:lnTo>
                    <a:lnTo>
                      <a:pt x="1580" y="169"/>
                    </a:lnTo>
                    <a:lnTo>
                      <a:pt x="1580" y="166"/>
                    </a:lnTo>
                    <a:lnTo>
                      <a:pt x="1582" y="161"/>
                    </a:lnTo>
                    <a:lnTo>
                      <a:pt x="1578" y="161"/>
                    </a:lnTo>
                    <a:lnTo>
                      <a:pt x="1578" y="157"/>
                    </a:lnTo>
                    <a:lnTo>
                      <a:pt x="1575" y="159"/>
                    </a:lnTo>
                    <a:lnTo>
                      <a:pt x="1573" y="159"/>
                    </a:lnTo>
                    <a:lnTo>
                      <a:pt x="1571" y="159"/>
                    </a:lnTo>
                    <a:lnTo>
                      <a:pt x="1571" y="159"/>
                    </a:lnTo>
                    <a:lnTo>
                      <a:pt x="1569" y="159"/>
                    </a:lnTo>
                    <a:lnTo>
                      <a:pt x="1569" y="157"/>
                    </a:lnTo>
                    <a:lnTo>
                      <a:pt x="1566" y="154"/>
                    </a:lnTo>
                    <a:lnTo>
                      <a:pt x="1564" y="150"/>
                    </a:lnTo>
                    <a:lnTo>
                      <a:pt x="1562" y="147"/>
                    </a:lnTo>
                    <a:lnTo>
                      <a:pt x="1561" y="145"/>
                    </a:lnTo>
                    <a:lnTo>
                      <a:pt x="1561" y="140"/>
                    </a:lnTo>
                    <a:lnTo>
                      <a:pt x="1559" y="134"/>
                    </a:lnTo>
                    <a:lnTo>
                      <a:pt x="1578" y="122"/>
                    </a:lnTo>
                    <a:lnTo>
                      <a:pt x="1597" y="112"/>
                    </a:lnTo>
                    <a:lnTo>
                      <a:pt x="1599" y="117"/>
                    </a:lnTo>
                    <a:lnTo>
                      <a:pt x="1601" y="122"/>
                    </a:lnTo>
                    <a:lnTo>
                      <a:pt x="1603" y="124"/>
                    </a:lnTo>
                    <a:lnTo>
                      <a:pt x="1606" y="126"/>
                    </a:lnTo>
                    <a:lnTo>
                      <a:pt x="1608" y="126"/>
                    </a:lnTo>
                    <a:lnTo>
                      <a:pt x="1610" y="127"/>
                    </a:lnTo>
                    <a:lnTo>
                      <a:pt x="1613" y="129"/>
                    </a:lnTo>
                    <a:lnTo>
                      <a:pt x="1617" y="131"/>
                    </a:lnTo>
                    <a:lnTo>
                      <a:pt x="1620" y="141"/>
                    </a:lnTo>
                    <a:lnTo>
                      <a:pt x="1622" y="154"/>
                    </a:lnTo>
                    <a:lnTo>
                      <a:pt x="1624" y="166"/>
                    </a:lnTo>
                    <a:lnTo>
                      <a:pt x="1632" y="166"/>
                    </a:lnTo>
                    <a:lnTo>
                      <a:pt x="1632" y="157"/>
                    </a:lnTo>
                    <a:lnTo>
                      <a:pt x="1629" y="147"/>
                    </a:lnTo>
                    <a:lnTo>
                      <a:pt x="1629" y="134"/>
                    </a:lnTo>
                    <a:lnTo>
                      <a:pt x="1632" y="122"/>
                    </a:lnTo>
                    <a:lnTo>
                      <a:pt x="1636" y="112"/>
                    </a:lnTo>
                    <a:lnTo>
                      <a:pt x="1658" y="108"/>
                    </a:lnTo>
                    <a:close/>
                    <a:moveTo>
                      <a:pt x="2641" y="99"/>
                    </a:moveTo>
                    <a:lnTo>
                      <a:pt x="2646" y="103"/>
                    </a:lnTo>
                    <a:lnTo>
                      <a:pt x="2650" y="106"/>
                    </a:lnTo>
                    <a:lnTo>
                      <a:pt x="2655" y="106"/>
                    </a:lnTo>
                    <a:lnTo>
                      <a:pt x="2660" y="106"/>
                    </a:lnTo>
                    <a:lnTo>
                      <a:pt x="2669" y="108"/>
                    </a:lnTo>
                    <a:lnTo>
                      <a:pt x="2667" y="112"/>
                    </a:lnTo>
                    <a:lnTo>
                      <a:pt x="2667" y="113"/>
                    </a:lnTo>
                    <a:lnTo>
                      <a:pt x="2667" y="115"/>
                    </a:lnTo>
                    <a:lnTo>
                      <a:pt x="2666" y="117"/>
                    </a:lnTo>
                    <a:lnTo>
                      <a:pt x="2666" y="119"/>
                    </a:lnTo>
                    <a:lnTo>
                      <a:pt x="2653" y="126"/>
                    </a:lnTo>
                    <a:lnTo>
                      <a:pt x="2636" y="129"/>
                    </a:lnTo>
                    <a:lnTo>
                      <a:pt x="2618" y="131"/>
                    </a:lnTo>
                    <a:lnTo>
                      <a:pt x="2617" y="127"/>
                    </a:lnTo>
                    <a:lnTo>
                      <a:pt x="2617" y="124"/>
                    </a:lnTo>
                    <a:lnTo>
                      <a:pt x="2615" y="120"/>
                    </a:lnTo>
                    <a:lnTo>
                      <a:pt x="2615" y="115"/>
                    </a:lnTo>
                    <a:lnTo>
                      <a:pt x="2620" y="112"/>
                    </a:lnTo>
                    <a:lnTo>
                      <a:pt x="2624" y="108"/>
                    </a:lnTo>
                    <a:lnTo>
                      <a:pt x="2627" y="106"/>
                    </a:lnTo>
                    <a:lnTo>
                      <a:pt x="2631" y="103"/>
                    </a:lnTo>
                    <a:lnTo>
                      <a:pt x="2634" y="101"/>
                    </a:lnTo>
                    <a:lnTo>
                      <a:pt x="2641" y="99"/>
                    </a:lnTo>
                    <a:close/>
                    <a:moveTo>
                      <a:pt x="2104" y="99"/>
                    </a:moveTo>
                    <a:lnTo>
                      <a:pt x="2118" y="101"/>
                    </a:lnTo>
                    <a:lnTo>
                      <a:pt x="2128" y="106"/>
                    </a:lnTo>
                    <a:lnTo>
                      <a:pt x="2138" y="112"/>
                    </a:lnTo>
                    <a:lnTo>
                      <a:pt x="2135" y="115"/>
                    </a:lnTo>
                    <a:lnTo>
                      <a:pt x="2133" y="120"/>
                    </a:lnTo>
                    <a:lnTo>
                      <a:pt x="2130" y="122"/>
                    </a:lnTo>
                    <a:lnTo>
                      <a:pt x="2125" y="124"/>
                    </a:lnTo>
                    <a:lnTo>
                      <a:pt x="2119" y="126"/>
                    </a:lnTo>
                    <a:lnTo>
                      <a:pt x="2112" y="126"/>
                    </a:lnTo>
                    <a:lnTo>
                      <a:pt x="2107" y="129"/>
                    </a:lnTo>
                    <a:lnTo>
                      <a:pt x="2102" y="129"/>
                    </a:lnTo>
                    <a:lnTo>
                      <a:pt x="2097" y="131"/>
                    </a:lnTo>
                    <a:lnTo>
                      <a:pt x="2090" y="131"/>
                    </a:lnTo>
                    <a:lnTo>
                      <a:pt x="2090" y="120"/>
                    </a:lnTo>
                    <a:lnTo>
                      <a:pt x="2091" y="113"/>
                    </a:lnTo>
                    <a:lnTo>
                      <a:pt x="2098" y="108"/>
                    </a:lnTo>
                    <a:lnTo>
                      <a:pt x="2104" y="99"/>
                    </a:lnTo>
                    <a:close/>
                    <a:moveTo>
                      <a:pt x="765" y="99"/>
                    </a:moveTo>
                    <a:lnTo>
                      <a:pt x="779" y="99"/>
                    </a:lnTo>
                    <a:lnTo>
                      <a:pt x="782" y="108"/>
                    </a:lnTo>
                    <a:lnTo>
                      <a:pt x="786" y="113"/>
                    </a:lnTo>
                    <a:lnTo>
                      <a:pt x="789" y="120"/>
                    </a:lnTo>
                    <a:lnTo>
                      <a:pt x="791" y="131"/>
                    </a:lnTo>
                    <a:lnTo>
                      <a:pt x="788" y="131"/>
                    </a:lnTo>
                    <a:lnTo>
                      <a:pt x="777" y="124"/>
                    </a:lnTo>
                    <a:lnTo>
                      <a:pt x="770" y="117"/>
                    </a:lnTo>
                    <a:lnTo>
                      <a:pt x="765" y="110"/>
                    </a:lnTo>
                    <a:lnTo>
                      <a:pt x="765" y="99"/>
                    </a:lnTo>
                    <a:close/>
                    <a:moveTo>
                      <a:pt x="2734" y="77"/>
                    </a:moveTo>
                    <a:lnTo>
                      <a:pt x="2737" y="77"/>
                    </a:lnTo>
                    <a:lnTo>
                      <a:pt x="2741" y="79"/>
                    </a:lnTo>
                    <a:lnTo>
                      <a:pt x="2742" y="79"/>
                    </a:lnTo>
                    <a:lnTo>
                      <a:pt x="2744" y="79"/>
                    </a:lnTo>
                    <a:lnTo>
                      <a:pt x="2746" y="80"/>
                    </a:lnTo>
                    <a:lnTo>
                      <a:pt x="2742" y="84"/>
                    </a:lnTo>
                    <a:lnTo>
                      <a:pt x="2739" y="87"/>
                    </a:lnTo>
                    <a:lnTo>
                      <a:pt x="2737" y="92"/>
                    </a:lnTo>
                    <a:lnTo>
                      <a:pt x="2735" y="96"/>
                    </a:lnTo>
                    <a:lnTo>
                      <a:pt x="2734" y="103"/>
                    </a:lnTo>
                    <a:lnTo>
                      <a:pt x="2737" y="103"/>
                    </a:lnTo>
                    <a:lnTo>
                      <a:pt x="2741" y="98"/>
                    </a:lnTo>
                    <a:lnTo>
                      <a:pt x="2744" y="94"/>
                    </a:lnTo>
                    <a:lnTo>
                      <a:pt x="2748" y="91"/>
                    </a:lnTo>
                    <a:lnTo>
                      <a:pt x="2753" y="89"/>
                    </a:lnTo>
                    <a:lnTo>
                      <a:pt x="2763" y="99"/>
                    </a:lnTo>
                    <a:lnTo>
                      <a:pt x="2776" y="108"/>
                    </a:lnTo>
                    <a:lnTo>
                      <a:pt x="2784" y="115"/>
                    </a:lnTo>
                    <a:lnTo>
                      <a:pt x="2784" y="138"/>
                    </a:lnTo>
                    <a:lnTo>
                      <a:pt x="2790" y="143"/>
                    </a:lnTo>
                    <a:lnTo>
                      <a:pt x="2795" y="147"/>
                    </a:lnTo>
                    <a:lnTo>
                      <a:pt x="2800" y="148"/>
                    </a:lnTo>
                    <a:lnTo>
                      <a:pt x="2804" y="155"/>
                    </a:lnTo>
                    <a:lnTo>
                      <a:pt x="2807" y="169"/>
                    </a:lnTo>
                    <a:lnTo>
                      <a:pt x="2800" y="178"/>
                    </a:lnTo>
                    <a:lnTo>
                      <a:pt x="2797" y="187"/>
                    </a:lnTo>
                    <a:lnTo>
                      <a:pt x="2790" y="192"/>
                    </a:lnTo>
                    <a:lnTo>
                      <a:pt x="2781" y="194"/>
                    </a:lnTo>
                    <a:lnTo>
                      <a:pt x="2765" y="195"/>
                    </a:lnTo>
                    <a:lnTo>
                      <a:pt x="2753" y="185"/>
                    </a:lnTo>
                    <a:lnTo>
                      <a:pt x="2735" y="176"/>
                    </a:lnTo>
                    <a:lnTo>
                      <a:pt x="2716" y="171"/>
                    </a:lnTo>
                    <a:lnTo>
                      <a:pt x="2697" y="164"/>
                    </a:lnTo>
                    <a:lnTo>
                      <a:pt x="2680" y="157"/>
                    </a:lnTo>
                    <a:lnTo>
                      <a:pt x="2669" y="147"/>
                    </a:lnTo>
                    <a:lnTo>
                      <a:pt x="2676" y="143"/>
                    </a:lnTo>
                    <a:lnTo>
                      <a:pt x="2681" y="140"/>
                    </a:lnTo>
                    <a:lnTo>
                      <a:pt x="2685" y="136"/>
                    </a:lnTo>
                    <a:lnTo>
                      <a:pt x="2687" y="131"/>
                    </a:lnTo>
                    <a:lnTo>
                      <a:pt x="2688" y="122"/>
                    </a:lnTo>
                    <a:lnTo>
                      <a:pt x="2687" y="119"/>
                    </a:lnTo>
                    <a:lnTo>
                      <a:pt x="2685" y="113"/>
                    </a:lnTo>
                    <a:lnTo>
                      <a:pt x="2685" y="106"/>
                    </a:lnTo>
                    <a:lnTo>
                      <a:pt x="2685" y="99"/>
                    </a:lnTo>
                    <a:lnTo>
                      <a:pt x="2685" y="98"/>
                    </a:lnTo>
                    <a:lnTo>
                      <a:pt x="2687" y="98"/>
                    </a:lnTo>
                    <a:lnTo>
                      <a:pt x="2687" y="98"/>
                    </a:lnTo>
                    <a:lnTo>
                      <a:pt x="2687" y="98"/>
                    </a:lnTo>
                    <a:lnTo>
                      <a:pt x="2687" y="98"/>
                    </a:lnTo>
                    <a:lnTo>
                      <a:pt x="2688" y="96"/>
                    </a:lnTo>
                    <a:lnTo>
                      <a:pt x="2704" y="92"/>
                    </a:lnTo>
                    <a:lnTo>
                      <a:pt x="2721" y="84"/>
                    </a:lnTo>
                    <a:lnTo>
                      <a:pt x="2734" y="77"/>
                    </a:lnTo>
                    <a:close/>
                    <a:moveTo>
                      <a:pt x="2512" y="73"/>
                    </a:moveTo>
                    <a:lnTo>
                      <a:pt x="2522" y="73"/>
                    </a:lnTo>
                    <a:lnTo>
                      <a:pt x="2536" y="87"/>
                    </a:lnTo>
                    <a:lnTo>
                      <a:pt x="2554" y="99"/>
                    </a:lnTo>
                    <a:lnTo>
                      <a:pt x="2554" y="103"/>
                    </a:lnTo>
                    <a:lnTo>
                      <a:pt x="2550" y="103"/>
                    </a:lnTo>
                    <a:lnTo>
                      <a:pt x="2550" y="108"/>
                    </a:lnTo>
                    <a:lnTo>
                      <a:pt x="2533" y="99"/>
                    </a:lnTo>
                    <a:lnTo>
                      <a:pt x="2521" y="87"/>
                    </a:lnTo>
                    <a:lnTo>
                      <a:pt x="2512" y="73"/>
                    </a:lnTo>
                    <a:close/>
                    <a:moveTo>
                      <a:pt x="2161" y="68"/>
                    </a:moveTo>
                    <a:lnTo>
                      <a:pt x="2175" y="72"/>
                    </a:lnTo>
                    <a:lnTo>
                      <a:pt x="2186" y="75"/>
                    </a:lnTo>
                    <a:lnTo>
                      <a:pt x="2196" y="80"/>
                    </a:lnTo>
                    <a:lnTo>
                      <a:pt x="2196" y="89"/>
                    </a:lnTo>
                    <a:lnTo>
                      <a:pt x="2187" y="91"/>
                    </a:lnTo>
                    <a:lnTo>
                      <a:pt x="2179" y="94"/>
                    </a:lnTo>
                    <a:lnTo>
                      <a:pt x="2166" y="96"/>
                    </a:lnTo>
                    <a:lnTo>
                      <a:pt x="2161" y="98"/>
                    </a:lnTo>
                    <a:lnTo>
                      <a:pt x="2158" y="99"/>
                    </a:lnTo>
                    <a:lnTo>
                      <a:pt x="2152" y="99"/>
                    </a:lnTo>
                    <a:lnTo>
                      <a:pt x="2147" y="99"/>
                    </a:lnTo>
                    <a:lnTo>
                      <a:pt x="2147" y="89"/>
                    </a:lnTo>
                    <a:lnTo>
                      <a:pt x="2151" y="84"/>
                    </a:lnTo>
                    <a:lnTo>
                      <a:pt x="2156" y="77"/>
                    </a:lnTo>
                    <a:lnTo>
                      <a:pt x="2161" y="68"/>
                    </a:lnTo>
                    <a:close/>
                    <a:moveTo>
                      <a:pt x="1735" y="58"/>
                    </a:moveTo>
                    <a:lnTo>
                      <a:pt x="1735" y="77"/>
                    </a:lnTo>
                    <a:lnTo>
                      <a:pt x="1742" y="77"/>
                    </a:lnTo>
                    <a:lnTo>
                      <a:pt x="1746" y="75"/>
                    </a:lnTo>
                    <a:lnTo>
                      <a:pt x="1749" y="75"/>
                    </a:lnTo>
                    <a:lnTo>
                      <a:pt x="1753" y="75"/>
                    </a:lnTo>
                    <a:lnTo>
                      <a:pt x="1754" y="75"/>
                    </a:lnTo>
                    <a:lnTo>
                      <a:pt x="1758" y="77"/>
                    </a:lnTo>
                    <a:lnTo>
                      <a:pt x="1763" y="80"/>
                    </a:lnTo>
                    <a:lnTo>
                      <a:pt x="1763" y="89"/>
                    </a:lnTo>
                    <a:lnTo>
                      <a:pt x="1767" y="91"/>
                    </a:lnTo>
                    <a:lnTo>
                      <a:pt x="1772" y="91"/>
                    </a:lnTo>
                    <a:lnTo>
                      <a:pt x="1775" y="89"/>
                    </a:lnTo>
                    <a:lnTo>
                      <a:pt x="1781" y="89"/>
                    </a:lnTo>
                    <a:lnTo>
                      <a:pt x="1782" y="87"/>
                    </a:lnTo>
                    <a:lnTo>
                      <a:pt x="1786" y="89"/>
                    </a:lnTo>
                    <a:lnTo>
                      <a:pt x="1789" y="92"/>
                    </a:lnTo>
                    <a:lnTo>
                      <a:pt x="1793" y="98"/>
                    </a:lnTo>
                    <a:lnTo>
                      <a:pt x="1796" y="103"/>
                    </a:lnTo>
                    <a:lnTo>
                      <a:pt x="1791" y="115"/>
                    </a:lnTo>
                    <a:lnTo>
                      <a:pt x="1786" y="127"/>
                    </a:lnTo>
                    <a:lnTo>
                      <a:pt x="1782" y="141"/>
                    </a:lnTo>
                    <a:lnTo>
                      <a:pt x="1770" y="141"/>
                    </a:lnTo>
                    <a:lnTo>
                      <a:pt x="1761" y="145"/>
                    </a:lnTo>
                    <a:lnTo>
                      <a:pt x="1753" y="150"/>
                    </a:lnTo>
                    <a:lnTo>
                      <a:pt x="1739" y="154"/>
                    </a:lnTo>
                    <a:lnTo>
                      <a:pt x="1730" y="147"/>
                    </a:lnTo>
                    <a:lnTo>
                      <a:pt x="1718" y="143"/>
                    </a:lnTo>
                    <a:lnTo>
                      <a:pt x="1706" y="138"/>
                    </a:lnTo>
                    <a:lnTo>
                      <a:pt x="1704" y="134"/>
                    </a:lnTo>
                    <a:lnTo>
                      <a:pt x="1704" y="131"/>
                    </a:lnTo>
                    <a:lnTo>
                      <a:pt x="1702" y="127"/>
                    </a:lnTo>
                    <a:lnTo>
                      <a:pt x="1700" y="122"/>
                    </a:lnTo>
                    <a:lnTo>
                      <a:pt x="1695" y="117"/>
                    </a:lnTo>
                    <a:lnTo>
                      <a:pt x="1690" y="112"/>
                    </a:lnTo>
                    <a:lnTo>
                      <a:pt x="1686" y="108"/>
                    </a:lnTo>
                    <a:lnTo>
                      <a:pt x="1683" y="101"/>
                    </a:lnTo>
                    <a:lnTo>
                      <a:pt x="1681" y="89"/>
                    </a:lnTo>
                    <a:lnTo>
                      <a:pt x="1688" y="80"/>
                    </a:lnTo>
                    <a:lnTo>
                      <a:pt x="1693" y="73"/>
                    </a:lnTo>
                    <a:lnTo>
                      <a:pt x="1700" y="73"/>
                    </a:lnTo>
                    <a:lnTo>
                      <a:pt x="1706" y="75"/>
                    </a:lnTo>
                    <a:lnTo>
                      <a:pt x="1713" y="77"/>
                    </a:lnTo>
                    <a:lnTo>
                      <a:pt x="1720" y="77"/>
                    </a:lnTo>
                    <a:lnTo>
                      <a:pt x="1720" y="65"/>
                    </a:lnTo>
                    <a:lnTo>
                      <a:pt x="1723" y="63"/>
                    </a:lnTo>
                    <a:lnTo>
                      <a:pt x="1727" y="61"/>
                    </a:lnTo>
                    <a:lnTo>
                      <a:pt x="1728" y="61"/>
                    </a:lnTo>
                    <a:lnTo>
                      <a:pt x="1732" y="59"/>
                    </a:lnTo>
                    <a:lnTo>
                      <a:pt x="1735" y="58"/>
                    </a:lnTo>
                    <a:close/>
                    <a:moveTo>
                      <a:pt x="2186" y="45"/>
                    </a:moveTo>
                    <a:lnTo>
                      <a:pt x="2200" y="45"/>
                    </a:lnTo>
                    <a:lnTo>
                      <a:pt x="2208" y="54"/>
                    </a:lnTo>
                    <a:lnTo>
                      <a:pt x="2217" y="59"/>
                    </a:lnTo>
                    <a:lnTo>
                      <a:pt x="2224" y="66"/>
                    </a:lnTo>
                    <a:lnTo>
                      <a:pt x="2231" y="77"/>
                    </a:lnTo>
                    <a:lnTo>
                      <a:pt x="2215" y="77"/>
                    </a:lnTo>
                    <a:lnTo>
                      <a:pt x="2205" y="66"/>
                    </a:lnTo>
                    <a:lnTo>
                      <a:pt x="2194" y="58"/>
                    </a:lnTo>
                    <a:lnTo>
                      <a:pt x="2186" y="45"/>
                    </a:lnTo>
                    <a:close/>
                    <a:moveTo>
                      <a:pt x="421" y="45"/>
                    </a:moveTo>
                    <a:lnTo>
                      <a:pt x="433" y="45"/>
                    </a:lnTo>
                    <a:lnTo>
                      <a:pt x="438" y="49"/>
                    </a:lnTo>
                    <a:lnTo>
                      <a:pt x="442" y="52"/>
                    </a:lnTo>
                    <a:lnTo>
                      <a:pt x="444" y="56"/>
                    </a:lnTo>
                    <a:lnTo>
                      <a:pt x="447" y="61"/>
                    </a:lnTo>
                    <a:lnTo>
                      <a:pt x="449" y="65"/>
                    </a:lnTo>
                    <a:lnTo>
                      <a:pt x="458" y="56"/>
                    </a:lnTo>
                    <a:lnTo>
                      <a:pt x="468" y="52"/>
                    </a:lnTo>
                    <a:lnTo>
                      <a:pt x="484" y="54"/>
                    </a:lnTo>
                    <a:lnTo>
                      <a:pt x="484" y="68"/>
                    </a:lnTo>
                    <a:lnTo>
                      <a:pt x="506" y="70"/>
                    </a:lnTo>
                    <a:lnTo>
                      <a:pt x="526" y="73"/>
                    </a:lnTo>
                    <a:lnTo>
                      <a:pt x="543" y="77"/>
                    </a:lnTo>
                    <a:lnTo>
                      <a:pt x="562" y="79"/>
                    </a:lnTo>
                    <a:lnTo>
                      <a:pt x="583" y="77"/>
                    </a:lnTo>
                    <a:lnTo>
                      <a:pt x="583" y="89"/>
                    </a:lnTo>
                    <a:lnTo>
                      <a:pt x="587" y="89"/>
                    </a:lnTo>
                    <a:lnTo>
                      <a:pt x="590" y="89"/>
                    </a:lnTo>
                    <a:lnTo>
                      <a:pt x="592" y="89"/>
                    </a:lnTo>
                    <a:lnTo>
                      <a:pt x="594" y="91"/>
                    </a:lnTo>
                    <a:lnTo>
                      <a:pt x="596" y="92"/>
                    </a:lnTo>
                    <a:lnTo>
                      <a:pt x="592" y="92"/>
                    </a:lnTo>
                    <a:lnTo>
                      <a:pt x="576" y="103"/>
                    </a:lnTo>
                    <a:lnTo>
                      <a:pt x="557" y="115"/>
                    </a:lnTo>
                    <a:lnTo>
                      <a:pt x="534" y="126"/>
                    </a:lnTo>
                    <a:lnTo>
                      <a:pt x="513" y="138"/>
                    </a:lnTo>
                    <a:lnTo>
                      <a:pt x="498" y="148"/>
                    </a:lnTo>
                    <a:lnTo>
                      <a:pt x="487" y="157"/>
                    </a:lnTo>
                    <a:lnTo>
                      <a:pt x="503" y="157"/>
                    </a:lnTo>
                    <a:lnTo>
                      <a:pt x="508" y="154"/>
                    </a:lnTo>
                    <a:lnTo>
                      <a:pt x="513" y="152"/>
                    </a:lnTo>
                    <a:lnTo>
                      <a:pt x="519" y="150"/>
                    </a:lnTo>
                    <a:lnTo>
                      <a:pt x="526" y="150"/>
                    </a:lnTo>
                    <a:lnTo>
                      <a:pt x="526" y="154"/>
                    </a:lnTo>
                    <a:lnTo>
                      <a:pt x="505" y="169"/>
                    </a:lnTo>
                    <a:lnTo>
                      <a:pt x="487" y="185"/>
                    </a:lnTo>
                    <a:lnTo>
                      <a:pt x="472" y="201"/>
                    </a:lnTo>
                    <a:lnTo>
                      <a:pt x="454" y="215"/>
                    </a:lnTo>
                    <a:lnTo>
                      <a:pt x="435" y="227"/>
                    </a:lnTo>
                    <a:lnTo>
                      <a:pt x="410" y="234"/>
                    </a:lnTo>
                    <a:lnTo>
                      <a:pt x="410" y="246"/>
                    </a:lnTo>
                    <a:lnTo>
                      <a:pt x="398" y="248"/>
                    </a:lnTo>
                    <a:lnTo>
                      <a:pt x="384" y="253"/>
                    </a:lnTo>
                    <a:lnTo>
                      <a:pt x="376" y="260"/>
                    </a:lnTo>
                    <a:lnTo>
                      <a:pt x="381" y="264"/>
                    </a:lnTo>
                    <a:lnTo>
                      <a:pt x="384" y="267"/>
                    </a:lnTo>
                    <a:lnTo>
                      <a:pt x="386" y="269"/>
                    </a:lnTo>
                    <a:lnTo>
                      <a:pt x="386" y="272"/>
                    </a:lnTo>
                    <a:lnTo>
                      <a:pt x="386" y="276"/>
                    </a:lnTo>
                    <a:lnTo>
                      <a:pt x="384" y="281"/>
                    </a:lnTo>
                    <a:lnTo>
                      <a:pt x="384" y="288"/>
                    </a:lnTo>
                    <a:lnTo>
                      <a:pt x="346" y="291"/>
                    </a:lnTo>
                    <a:lnTo>
                      <a:pt x="346" y="295"/>
                    </a:lnTo>
                    <a:lnTo>
                      <a:pt x="351" y="297"/>
                    </a:lnTo>
                    <a:lnTo>
                      <a:pt x="353" y="297"/>
                    </a:lnTo>
                    <a:lnTo>
                      <a:pt x="356" y="297"/>
                    </a:lnTo>
                    <a:lnTo>
                      <a:pt x="356" y="297"/>
                    </a:lnTo>
                    <a:lnTo>
                      <a:pt x="358" y="298"/>
                    </a:lnTo>
                    <a:lnTo>
                      <a:pt x="358" y="300"/>
                    </a:lnTo>
                    <a:lnTo>
                      <a:pt x="362" y="304"/>
                    </a:lnTo>
                    <a:lnTo>
                      <a:pt x="356" y="304"/>
                    </a:lnTo>
                    <a:lnTo>
                      <a:pt x="348" y="307"/>
                    </a:lnTo>
                    <a:lnTo>
                      <a:pt x="337" y="311"/>
                    </a:lnTo>
                    <a:lnTo>
                      <a:pt x="327" y="314"/>
                    </a:lnTo>
                    <a:lnTo>
                      <a:pt x="330" y="316"/>
                    </a:lnTo>
                    <a:lnTo>
                      <a:pt x="332" y="316"/>
                    </a:lnTo>
                    <a:lnTo>
                      <a:pt x="334" y="316"/>
                    </a:lnTo>
                    <a:lnTo>
                      <a:pt x="335" y="318"/>
                    </a:lnTo>
                    <a:lnTo>
                      <a:pt x="337" y="318"/>
                    </a:lnTo>
                    <a:lnTo>
                      <a:pt x="335" y="321"/>
                    </a:lnTo>
                    <a:lnTo>
                      <a:pt x="334" y="325"/>
                    </a:lnTo>
                    <a:lnTo>
                      <a:pt x="332" y="326"/>
                    </a:lnTo>
                    <a:lnTo>
                      <a:pt x="334" y="328"/>
                    </a:lnTo>
                    <a:lnTo>
                      <a:pt x="334" y="330"/>
                    </a:lnTo>
                    <a:lnTo>
                      <a:pt x="335" y="333"/>
                    </a:lnTo>
                    <a:lnTo>
                      <a:pt x="337" y="337"/>
                    </a:lnTo>
                    <a:lnTo>
                      <a:pt x="330" y="339"/>
                    </a:lnTo>
                    <a:lnTo>
                      <a:pt x="325" y="339"/>
                    </a:lnTo>
                    <a:lnTo>
                      <a:pt x="320" y="339"/>
                    </a:lnTo>
                    <a:lnTo>
                      <a:pt x="314" y="342"/>
                    </a:lnTo>
                    <a:lnTo>
                      <a:pt x="332" y="342"/>
                    </a:lnTo>
                    <a:lnTo>
                      <a:pt x="346" y="346"/>
                    </a:lnTo>
                    <a:lnTo>
                      <a:pt x="346" y="353"/>
                    </a:lnTo>
                    <a:lnTo>
                      <a:pt x="323" y="353"/>
                    </a:lnTo>
                    <a:lnTo>
                      <a:pt x="321" y="358"/>
                    </a:lnTo>
                    <a:lnTo>
                      <a:pt x="321" y="360"/>
                    </a:lnTo>
                    <a:lnTo>
                      <a:pt x="321" y="361"/>
                    </a:lnTo>
                    <a:lnTo>
                      <a:pt x="320" y="363"/>
                    </a:lnTo>
                    <a:lnTo>
                      <a:pt x="318" y="365"/>
                    </a:lnTo>
                    <a:lnTo>
                      <a:pt x="309" y="368"/>
                    </a:lnTo>
                    <a:lnTo>
                      <a:pt x="297" y="368"/>
                    </a:lnTo>
                    <a:lnTo>
                      <a:pt x="285" y="368"/>
                    </a:lnTo>
                    <a:lnTo>
                      <a:pt x="273" y="361"/>
                    </a:lnTo>
                    <a:lnTo>
                      <a:pt x="257" y="361"/>
                    </a:lnTo>
                    <a:lnTo>
                      <a:pt x="241" y="363"/>
                    </a:lnTo>
                    <a:lnTo>
                      <a:pt x="224" y="365"/>
                    </a:lnTo>
                    <a:lnTo>
                      <a:pt x="208" y="363"/>
                    </a:lnTo>
                    <a:lnTo>
                      <a:pt x="192" y="358"/>
                    </a:lnTo>
                    <a:lnTo>
                      <a:pt x="191" y="356"/>
                    </a:lnTo>
                    <a:lnTo>
                      <a:pt x="191" y="354"/>
                    </a:lnTo>
                    <a:lnTo>
                      <a:pt x="189" y="354"/>
                    </a:lnTo>
                    <a:lnTo>
                      <a:pt x="189" y="353"/>
                    </a:lnTo>
                    <a:lnTo>
                      <a:pt x="189" y="349"/>
                    </a:lnTo>
                    <a:lnTo>
                      <a:pt x="192" y="349"/>
                    </a:lnTo>
                    <a:lnTo>
                      <a:pt x="194" y="346"/>
                    </a:lnTo>
                    <a:lnTo>
                      <a:pt x="198" y="342"/>
                    </a:lnTo>
                    <a:lnTo>
                      <a:pt x="199" y="340"/>
                    </a:lnTo>
                    <a:lnTo>
                      <a:pt x="203" y="339"/>
                    </a:lnTo>
                    <a:lnTo>
                      <a:pt x="205" y="335"/>
                    </a:lnTo>
                    <a:lnTo>
                      <a:pt x="208" y="330"/>
                    </a:lnTo>
                    <a:lnTo>
                      <a:pt x="201" y="328"/>
                    </a:lnTo>
                    <a:lnTo>
                      <a:pt x="196" y="325"/>
                    </a:lnTo>
                    <a:lnTo>
                      <a:pt x="192" y="319"/>
                    </a:lnTo>
                    <a:lnTo>
                      <a:pt x="191" y="314"/>
                    </a:lnTo>
                    <a:lnTo>
                      <a:pt x="189" y="307"/>
                    </a:lnTo>
                    <a:lnTo>
                      <a:pt x="196" y="307"/>
                    </a:lnTo>
                    <a:lnTo>
                      <a:pt x="208" y="304"/>
                    </a:lnTo>
                    <a:lnTo>
                      <a:pt x="222" y="307"/>
                    </a:lnTo>
                    <a:lnTo>
                      <a:pt x="234" y="312"/>
                    </a:lnTo>
                    <a:lnTo>
                      <a:pt x="246" y="318"/>
                    </a:lnTo>
                    <a:lnTo>
                      <a:pt x="246" y="311"/>
                    </a:lnTo>
                    <a:lnTo>
                      <a:pt x="234" y="305"/>
                    </a:lnTo>
                    <a:lnTo>
                      <a:pt x="224" y="300"/>
                    </a:lnTo>
                    <a:lnTo>
                      <a:pt x="215" y="291"/>
                    </a:lnTo>
                    <a:lnTo>
                      <a:pt x="218" y="291"/>
                    </a:lnTo>
                    <a:lnTo>
                      <a:pt x="227" y="278"/>
                    </a:lnTo>
                    <a:lnTo>
                      <a:pt x="238" y="269"/>
                    </a:lnTo>
                    <a:lnTo>
                      <a:pt x="252" y="262"/>
                    </a:lnTo>
                    <a:lnTo>
                      <a:pt x="269" y="257"/>
                    </a:lnTo>
                    <a:lnTo>
                      <a:pt x="269" y="253"/>
                    </a:lnTo>
                    <a:lnTo>
                      <a:pt x="253" y="248"/>
                    </a:lnTo>
                    <a:lnTo>
                      <a:pt x="241" y="239"/>
                    </a:lnTo>
                    <a:lnTo>
                      <a:pt x="231" y="227"/>
                    </a:lnTo>
                    <a:lnTo>
                      <a:pt x="222" y="215"/>
                    </a:lnTo>
                    <a:lnTo>
                      <a:pt x="227" y="213"/>
                    </a:lnTo>
                    <a:lnTo>
                      <a:pt x="231" y="213"/>
                    </a:lnTo>
                    <a:lnTo>
                      <a:pt x="236" y="211"/>
                    </a:lnTo>
                    <a:lnTo>
                      <a:pt x="241" y="211"/>
                    </a:lnTo>
                    <a:lnTo>
                      <a:pt x="248" y="216"/>
                    </a:lnTo>
                    <a:lnTo>
                      <a:pt x="253" y="222"/>
                    </a:lnTo>
                    <a:lnTo>
                      <a:pt x="260" y="227"/>
                    </a:lnTo>
                    <a:lnTo>
                      <a:pt x="260" y="223"/>
                    </a:lnTo>
                    <a:lnTo>
                      <a:pt x="259" y="220"/>
                    </a:lnTo>
                    <a:lnTo>
                      <a:pt x="257" y="220"/>
                    </a:lnTo>
                    <a:lnTo>
                      <a:pt x="257" y="218"/>
                    </a:lnTo>
                    <a:lnTo>
                      <a:pt x="255" y="216"/>
                    </a:lnTo>
                    <a:lnTo>
                      <a:pt x="255" y="215"/>
                    </a:lnTo>
                    <a:lnTo>
                      <a:pt x="253" y="211"/>
                    </a:lnTo>
                    <a:lnTo>
                      <a:pt x="257" y="211"/>
                    </a:lnTo>
                    <a:lnTo>
                      <a:pt x="257" y="208"/>
                    </a:lnTo>
                    <a:lnTo>
                      <a:pt x="273" y="202"/>
                    </a:lnTo>
                    <a:lnTo>
                      <a:pt x="288" y="199"/>
                    </a:lnTo>
                    <a:lnTo>
                      <a:pt x="304" y="197"/>
                    </a:lnTo>
                    <a:lnTo>
                      <a:pt x="323" y="199"/>
                    </a:lnTo>
                    <a:lnTo>
                      <a:pt x="314" y="188"/>
                    </a:lnTo>
                    <a:lnTo>
                      <a:pt x="325" y="185"/>
                    </a:lnTo>
                    <a:lnTo>
                      <a:pt x="337" y="180"/>
                    </a:lnTo>
                    <a:lnTo>
                      <a:pt x="349" y="175"/>
                    </a:lnTo>
                    <a:lnTo>
                      <a:pt x="356" y="169"/>
                    </a:lnTo>
                    <a:lnTo>
                      <a:pt x="362" y="169"/>
                    </a:lnTo>
                    <a:lnTo>
                      <a:pt x="362" y="166"/>
                    </a:lnTo>
                    <a:lnTo>
                      <a:pt x="353" y="166"/>
                    </a:lnTo>
                    <a:lnTo>
                      <a:pt x="349" y="168"/>
                    </a:lnTo>
                    <a:lnTo>
                      <a:pt x="346" y="169"/>
                    </a:lnTo>
                    <a:lnTo>
                      <a:pt x="344" y="169"/>
                    </a:lnTo>
                    <a:lnTo>
                      <a:pt x="342" y="169"/>
                    </a:lnTo>
                    <a:lnTo>
                      <a:pt x="341" y="169"/>
                    </a:lnTo>
                    <a:lnTo>
                      <a:pt x="339" y="168"/>
                    </a:lnTo>
                    <a:lnTo>
                      <a:pt x="337" y="166"/>
                    </a:lnTo>
                    <a:lnTo>
                      <a:pt x="334" y="166"/>
                    </a:lnTo>
                    <a:lnTo>
                      <a:pt x="330" y="169"/>
                    </a:lnTo>
                    <a:lnTo>
                      <a:pt x="325" y="175"/>
                    </a:lnTo>
                    <a:lnTo>
                      <a:pt x="320" y="180"/>
                    </a:lnTo>
                    <a:lnTo>
                      <a:pt x="316" y="185"/>
                    </a:lnTo>
                    <a:lnTo>
                      <a:pt x="311" y="188"/>
                    </a:lnTo>
                    <a:lnTo>
                      <a:pt x="292" y="194"/>
                    </a:lnTo>
                    <a:lnTo>
                      <a:pt x="274" y="194"/>
                    </a:lnTo>
                    <a:lnTo>
                      <a:pt x="257" y="190"/>
                    </a:lnTo>
                    <a:lnTo>
                      <a:pt x="241" y="183"/>
                    </a:lnTo>
                    <a:lnTo>
                      <a:pt x="239" y="183"/>
                    </a:lnTo>
                    <a:lnTo>
                      <a:pt x="236" y="185"/>
                    </a:lnTo>
                    <a:lnTo>
                      <a:pt x="231" y="187"/>
                    </a:lnTo>
                    <a:lnTo>
                      <a:pt x="227" y="188"/>
                    </a:lnTo>
                    <a:lnTo>
                      <a:pt x="224" y="190"/>
                    </a:lnTo>
                    <a:lnTo>
                      <a:pt x="218" y="192"/>
                    </a:lnTo>
                    <a:lnTo>
                      <a:pt x="215" y="183"/>
                    </a:lnTo>
                    <a:lnTo>
                      <a:pt x="218" y="182"/>
                    </a:lnTo>
                    <a:lnTo>
                      <a:pt x="218" y="182"/>
                    </a:lnTo>
                    <a:lnTo>
                      <a:pt x="220" y="180"/>
                    </a:lnTo>
                    <a:lnTo>
                      <a:pt x="222" y="176"/>
                    </a:lnTo>
                    <a:lnTo>
                      <a:pt x="212" y="176"/>
                    </a:lnTo>
                    <a:lnTo>
                      <a:pt x="208" y="178"/>
                    </a:lnTo>
                    <a:lnTo>
                      <a:pt x="203" y="180"/>
                    </a:lnTo>
                    <a:lnTo>
                      <a:pt x="198" y="180"/>
                    </a:lnTo>
                    <a:lnTo>
                      <a:pt x="192" y="180"/>
                    </a:lnTo>
                    <a:lnTo>
                      <a:pt x="189" y="169"/>
                    </a:lnTo>
                    <a:lnTo>
                      <a:pt x="192" y="168"/>
                    </a:lnTo>
                    <a:lnTo>
                      <a:pt x="194" y="168"/>
                    </a:lnTo>
                    <a:lnTo>
                      <a:pt x="196" y="168"/>
                    </a:lnTo>
                    <a:lnTo>
                      <a:pt x="198" y="166"/>
                    </a:lnTo>
                    <a:lnTo>
                      <a:pt x="199" y="166"/>
                    </a:lnTo>
                    <a:lnTo>
                      <a:pt x="177" y="169"/>
                    </a:lnTo>
                    <a:lnTo>
                      <a:pt x="175" y="164"/>
                    </a:lnTo>
                    <a:lnTo>
                      <a:pt x="171" y="161"/>
                    </a:lnTo>
                    <a:lnTo>
                      <a:pt x="170" y="159"/>
                    </a:lnTo>
                    <a:lnTo>
                      <a:pt x="168" y="155"/>
                    </a:lnTo>
                    <a:lnTo>
                      <a:pt x="164" y="150"/>
                    </a:lnTo>
                    <a:lnTo>
                      <a:pt x="170" y="148"/>
                    </a:lnTo>
                    <a:lnTo>
                      <a:pt x="173" y="148"/>
                    </a:lnTo>
                    <a:lnTo>
                      <a:pt x="175" y="148"/>
                    </a:lnTo>
                    <a:lnTo>
                      <a:pt x="177" y="148"/>
                    </a:lnTo>
                    <a:lnTo>
                      <a:pt x="177" y="147"/>
                    </a:lnTo>
                    <a:lnTo>
                      <a:pt x="178" y="145"/>
                    </a:lnTo>
                    <a:lnTo>
                      <a:pt x="180" y="141"/>
                    </a:lnTo>
                    <a:lnTo>
                      <a:pt x="173" y="140"/>
                    </a:lnTo>
                    <a:lnTo>
                      <a:pt x="166" y="138"/>
                    </a:lnTo>
                    <a:lnTo>
                      <a:pt x="163" y="134"/>
                    </a:lnTo>
                    <a:lnTo>
                      <a:pt x="157" y="131"/>
                    </a:lnTo>
                    <a:lnTo>
                      <a:pt x="161" y="131"/>
                    </a:lnTo>
                    <a:lnTo>
                      <a:pt x="161" y="126"/>
                    </a:lnTo>
                    <a:lnTo>
                      <a:pt x="178" y="129"/>
                    </a:lnTo>
                    <a:lnTo>
                      <a:pt x="187" y="127"/>
                    </a:lnTo>
                    <a:lnTo>
                      <a:pt x="194" y="124"/>
                    </a:lnTo>
                    <a:lnTo>
                      <a:pt x="198" y="119"/>
                    </a:lnTo>
                    <a:lnTo>
                      <a:pt x="203" y="112"/>
                    </a:lnTo>
                    <a:lnTo>
                      <a:pt x="212" y="108"/>
                    </a:lnTo>
                    <a:lnTo>
                      <a:pt x="222" y="105"/>
                    </a:lnTo>
                    <a:lnTo>
                      <a:pt x="229" y="108"/>
                    </a:lnTo>
                    <a:lnTo>
                      <a:pt x="238" y="112"/>
                    </a:lnTo>
                    <a:lnTo>
                      <a:pt x="245" y="113"/>
                    </a:lnTo>
                    <a:lnTo>
                      <a:pt x="253" y="112"/>
                    </a:lnTo>
                    <a:lnTo>
                      <a:pt x="250" y="110"/>
                    </a:lnTo>
                    <a:lnTo>
                      <a:pt x="246" y="108"/>
                    </a:lnTo>
                    <a:lnTo>
                      <a:pt x="245" y="108"/>
                    </a:lnTo>
                    <a:lnTo>
                      <a:pt x="245" y="106"/>
                    </a:lnTo>
                    <a:lnTo>
                      <a:pt x="243" y="105"/>
                    </a:lnTo>
                    <a:lnTo>
                      <a:pt x="243" y="101"/>
                    </a:lnTo>
                    <a:lnTo>
                      <a:pt x="241" y="96"/>
                    </a:lnTo>
                    <a:lnTo>
                      <a:pt x="246" y="94"/>
                    </a:lnTo>
                    <a:lnTo>
                      <a:pt x="250" y="92"/>
                    </a:lnTo>
                    <a:lnTo>
                      <a:pt x="253" y="92"/>
                    </a:lnTo>
                    <a:lnTo>
                      <a:pt x="255" y="91"/>
                    </a:lnTo>
                    <a:lnTo>
                      <a:pt x="259" y="89"/>
                    </a:lnTo>
                    <a:lnTo>
                      <a:pt x="266" y="89"/>
                    </a:lnTo>
                    <a:lnTo>
                      <a:pt x="269" y="91"/>
                    </a:lnTo>
                    <a:lnTo>
                      <a:pt x="273" y="94"/>
                    </a:lnTo>
                    <a:lnTo>
                      <a:pt x="276" y="96"/>
                    </a:lnTo>
                    <a:lnTo>
                      <a:pt x="276" y="92"/>
                    </a:lnTo>
                    <a:lnTo>
                      <a:pt x="274" y="91"/>
                    </a:lnTo>
                    <a:lnTo>
                      <a:pt x="274" y="89"/>
                    </a:lnTo>
                    <a:lnTo>
                      <a:pt x="274" y="89"/>
                    </a:lnTo>
                    <a:lnTo>
                      <a:pt x="274" y="87"/>
                    </a:lnTo>
                    <a:lnTo>
                      <a:pt x="273" y="84"/>
                    </a:lnTo>
                    <a:lnTo>
                      <a:pt x="278" y="82"/>
                    </a:lnTo>
                    <a:lnTo>
                      <a:pt x="281" y="80"/>
                    </a:lnTo>
                    <a:lnTo>
                      <a:pt x="287" y="77"/>
                    </a:lnTo>
                    <a:lnTo>
                      <a:pt x="290" y="73"/>
                    </a:lnTo>
                    <a:lnTo>
                      <a:pt x="292" y="73"/>
                    </a:lnTo>
                    <a:lnTo>
                      <a:pt x="299" y="73"/>
                    </a:lnTo>
                    <a:lnTo>
                      <a:pt x="304" y="75"/>
                    </a:lnTo>
                    <a:lnTo>
                      <a:pt x="308" y="79"/>
                    </a:lnTo>
                    <a:lnTo>
                      <a:pt x="314" y="79"/>
                    </a:lnTo>
                    <a:lnTo>
                      <a:pt x="323" y="77"/>
                    </a:lnTo>
                    <a:lnTo>
                      <a:pt x="327" y="65"/>
                    </a:lnTo>
                    <a:lnTo>
                      <a:pt x="332" y="63"/>
                    </a:lnTo>
                    <a:lnTo>
                      <a:pt x="337" y="63"/>
                    </a:lnTo>
                    <a:lnTo>
                      <a:pt x="342" y="63"/>
                    </a:lnTo>
                    <a:lnTo>
                      <a:pt x="346" y="65"/>
                    </a:lnTo>
                    <a:lnTo>
                      <a:pt x="349" y="65"/>
                    </a:lnTo>
                    <a:lnTo>
                      <a:pt x="356" y="54"/>
                    </a:lnTo>
                    <a:lnTo>
                      <a:pt x="367" y="52"/>
                    </a:lnTo>
                    <a:lnTo>
                      <a:pt x="374" y="56"/>
                    </a:lnTo>
                    <a:lnTo>
                      <a:pt x="381" y="59"/>
                    </a:lnTo>
                    <a:lnTo>
                      <a:pt x="388" y="61"/>
                    </a:lnTo>
                    <a:lnTo>
                      <a:pt x="397" y="58"/>
                    </a:lnTo>
                    <a:lnTo>
                      <a:pt x="409" y="51"/>
                    </a:lnTo>
                    <a:lnTo>
                      <a:pt x="421" y="45"/>
                    </a:lnTo>
                    <a:close/>
                    <a:moveTo>
                      <a:pt x="2104" y="42"/>
                    </a:moveTo>
                    <a:lnTo>
                      <a:pt x="2111" y="44"/>
                    </a:lnTo>
                    <a:lnTo>
                      <a:pt x="2118" y="47"/>
                    </a:lnTo>
                    <a:lnTo>
                      <a:pt x="2121" y="51"/>
                    </a:lnTo>
                    <a:lnTo>
                      <a:pt x="2126" y="54"/>
                    </a:lnTo>
                    <a:lnTo>
                      <a:pt x="2132" y="58"/>
                    </a:lnTo>
                    <a:lnTo>
                      <a:pt x="2128" y="68"/>
                    </a:lnTo>
                    <a:lnTo>
                      <a:pt x="2107" y="80"/>
                    </a:lnTo>
                    <a:lnTo>
                      <a:pt x="2091" y="94"/>
                    </a:lnTo>
                    <a:lnTo>
                      <a:pt x="2077" y="112"/>
                    </a:lnTo>
                    <a:lnTo>
                      <a:pt x="2074" y="112"/>
                    </a:lnTo>
                    <a:lnTo>
                      <a:pt x="2074" y="108"/>
                    </a:lnTo>
                    <a:lnTo>
                      <a:pt x="2069" y="105"/>
                    </a:lnTo>
                    <a:lnTo>
                      <a:pt x="2065" y="101"/>
                    </a:lnTo>
                    <a:lnTo>
                      <a:pt x="2063" y="98"/>
                    </a:lnTo>
                    <a:lnTo>
                      <a:pt x="2060" y="94"/>
                    </a:lnTo>
                    <a:lnTo>
                      <a:pt x="2058" y="89"/>
                    </a:lnTo>
                    <a:lnTo>
                      <a:pt x="2062" y="82"/>
                    </a:lnTo>
                    <a:lnTo>
                      <a:pt x="2063" y="77"/>
                    </a:lnTo>
                    <a:lnTo>
                      <a:pt x="2065" y="68"/>
                    </a:lnTo>
                    <a:lnTo>
                      <a:pt x="2039" y="68"/>
                    </a:lnTo>
                    <a:lnTo>
                      <a:pt x="2039" y="61"/>
                    </a:lnTo>
                    <a:lnTo>
                      <a:pt x="2053" y="56"/>
                    </a:lnTo>
                    <a:lnTo>
                      <a:pt x="2067" y="52"/>
                    </a:lnTo>
                    <a:lnTo>
                      <a:pt x="2084" y="49"/>
                    </a:lnTo>
                    <a:lnTo>
                      <a:pt x="2086" y="54"/>
                    </a:lnTo>
                    <a:lnTo>
                      <a:pt x="2088" y="56"/>
                    </a:lnTo>
                    <a:lnTo>
                      <a:pt x="2088" y="58"/>
                    </a:lnTo>
                    <a:lnTo>
                      <a:pt x="2090" y="58"/>
                    </a:lnTo>
                    <a:lnTo>
                      <a:pt x="2090" y="59"/>
                    </a:lnTo>
                    <a:lnTo>
                      <a:pt x="2093" y="61"/>
                    </a:lnTo>
                    <a:lnTo>
                      <a:pt x="2095" y="56"/>
                    </a:lnTo>
                    <a:lnTo>
                      <a:pt x="2097" y="52"/>
                    </a:lnTo>
                    <a:lnTo>
                      <a:pt x="2098" y="49"/>
                    </a:lnTo>
                    <a:lnTo>
                      <a:pt x="2102" y="45"/>
                    </a:lnTo>
                    <a:lnTo>
                      <a:pt x="2104" y="42"/>
                    </a:lnTo>
                    <a:close/>
                    <a:moveTo>
                      <a:pt x="2147" y="23"/>
                    </a:moveTo>
                    <a:lnTo>
                      <a:pt x="2151" y="24"/>
                    </a:lnTo>
                    <a:lnTo>
                      <a:pt x="2152" y="24"/>
                    </a:lnTo>
                    <a:lnTo>
                      <a:pt x="2154" y="26"/>
                    </a:lnTo>
                    <a:lnTo>
                      <a:pt x="2154" y="26"/>
                    </a:lnTo>
                    <a:lnTo>
                      <a:pt x="2156" y="28"/>
                    </a:lnTo>
                    <a:lnTo>
                      <a:pt x="2158" y="31"/>
                    </a:lnTo>
                    <a:lnTo>
                      <a:pt x="2161" y="37"/>
                    </a:lnTo>
                    <a:lnTo>
                      <a:pt x="2165" y="42"/>
                    </a:lnTo>
                    <a:lnTo>
                      <a:pt x="2166" y="49"/>
                    </a:lnTo>
                    <a:lnTo>
                      <a:pt x="2158" y="49"/>
                    </a:lnTo>
                    <a:lnTo>
                      <a:pt x="2158" y="45"/>
                    </a:lnTo>
                    <a:lnTo>
                      <a:pt x="2154" y="42"/>
                    </a:lnTo>
                    <a:lnTo>
                      <a:pt x="2151" y="38"/>
                    </a:lnTo>
                    <a:lnTo>
                      <a:pt x="2149" y="35"/>
                    </a:lnTo>
                    <a:lnTo>
                      <a:pt x="2147" y="30"/>
                    </a:lnTo>
                    <a:lnTo>
                      <a:pt x="2147" y="23"/>
                    </a:lnTo>
                    <a:close/>
                    <a:moveTo>
                      <a:pt x="943" y="19"/>
                    </a:moveTo>
                    <a:lnTo>
                      <a:pt x="967" y="19"/>
                    </a:lnTo>
                    <a:lnTo>
                      <a:pt x="992" y="23"/>
                    </a:lnTo>
                    <a:lnTo>
                      <a:pt x="1014" y="26"/>
                    </a:lnTo>
                    <a:lnTo>
                      <a:pt x="1034" y="31"/>
                    </a:lnTo>
                    <a:lnTo>
                      <a:pt x="1063" y="26"/>
                    </a:lnTo>
                    <a:lnTo>
                      <a:pt x="1067" y="30"/>
                    </a:lnTo>
                    <a:lnTo>
                      <a:pt x="1070" y="31"/>
                    </a:lnTo>
                    <a:lnTo>
                      <a:pt x="1074" y="37"/>
                    </a:lnTo>
                    <a:lnTo>
                      <a:pt x="1076" y="40"/>
                    </a:lnTo>
                    <a:lnTo>
                      <a:pt x="1079" y="42"/>
                    </a:lnTo>
                    <a:lnTo>
                      <a:pt x="1096" y="49"/>
                    </a:lnTo>
                    <a:lnTo>
                      <a:pt x="1116" y="54"/>
                    </a:lnTo>
                    <a:lnTo>
                      <a:pt x="1133" y="58"/>
                    </a:lnTo>
                    <a:lnTo>
                      <a:pt x="1133" y="65"/>
                    </a:lnTo>
                    <a:lnTo>
                      <a:pt x="1105" y="65"/>
                    </a:lnTo>
                    <a:lnTo>
                      <a:pt x="1093" y="59"/>
                    </a:lnTo>
                    <a:lnTo>
                      <a:pt x="1079" y="59"/>
                    </a:lnTo>
                    <a:lnTo>
                      <a:pt x="1063" y="61"/>
                    </a:lnTo>
                    <a:lnTo>
                      <a:pt x="1048" y="65"/>
                    </a:lnTo>
                    <a:lnTo>
                      <a:pt x="1048" y="73"/>
                    </a:lnTo>
                    <a:lnTo>
                      <a:pt x="1067" y="73"/>
                    </a:lnTo>
                    <a:lnTo>
                      <a:pt x="1081" y="70"/>
                    </a:lnTo>
                    <a:lnTo>
                      <a:pt x="1098" y="68"/>
                    </a:lnTo>
                    <a:lnTo>
                      <a:pt x="1119" y="68"/>
                    </a:lnTo>
                    <a:lnTo>
                      <a:pt x="1140" y="68"/>
                    </a:lnTo>
                    <a:lnTo>
                      <a:pt x="1156" y="68"/>
                    </a:lnTo>
                    <a:lnTo>
                      <a:pt x="1170" y="82"/>
                    </a:lnTo>
                    <a:lnTo>
                      <a:pt x="1187" y="92"/>
                    </a:lnTo>
                    <a:lnTo>
                      <a:pt x="1182" y="103"/>
                    </a:lnTo>
                    <a:lnTo>
                      <a:pt x="1172" y="110"/>
                    </a:lnTo>
                    <a:lnTo>
                      <a:pt x="1163" y="115"/>
                    </a:lnTo>
                    <a:lnTo>
                      <a:pt x="1151" y="119"/>
                    </a:lnTo>
                    <a:lnTo>
                      <a:pt x="1133" y="119"/>
                    </a:lnTo>
                    <a:lnTo>
                      <a:pt x="1117" y="124"/>
                    </a:lnTo>
                    <a:lnTo>
                      <a:pt x="1100" y="124"/>
                    </a:lnTo>
                    <a:lnTo>
                      <a:pt x="1081" y="122"/>
                    </a:lnTo>
                    <a:lnTo>
                      <a:pt x="1063" y="120"/>
                    </a:lnTo>
                    <a:lnTo>
                      <a:pt x="1046" y="120"/>
                    </a:lnTo>
                    <a:lnTo>
                      <a:pt x="1032" y="124"/>
                    </a:lnTo>
                    <a:lnTo>
                      <a:pt x="1021" y="134"/>
                    </a:lnTo>
                    <a:lnTo>
                      <a:pt x="1063" y="134"/>
                    </a:lnTo>
                    <a:lnTo>
                      <a:pt x="1076" y="131"/>
                    </a:lnTo>
                    <a:lnTo>
                      <a:pt x="1091" y="129"/>
                    </a:lnTo>
                    <a:lnTo>
                      <a:pt x="1109" y="131"/>
                    </a:lnTo>
                    <a:lnTo>
                      <a:pt x="1121" y="134"/>
                    </a:lnTo>
                    <a:lnTo>
                      <a:pt x="1124" y="147"/>
                    </a:lnTo>
                    <a:lnTo>
                      <a:pt x="1130" y="145"/>
                    </a:lnTo>
                    <a:lnTo>
                      <a:pt x="1138" y="140"/>
                    </a:lnTo>
                    <a:lnTo>
                      <a:pt x="1149" y="136"/>
                    </a:lnTo>
                    <a:lnTo>
                      <a:pt x="1159" y="134"/>
                    </a:lnTo>
                    <a:lnTo>
                      <a:pt x="1161" y="140"/>
                    </a:lnTo>
                    <a:lnTo>
                      <a:pt x="1163" y="143"/>
                    </a:lnTo>
                    <a:lnTo>
                      <a:pt x="1165" y="145"/>
                    </a:lnTo>
                    <a:lnTo>
                      <a:pt x="1168" y="147"/>
                    </a:lnTo>
                    <a:lnTo>
                      <a:pt x="1172" y="150"/>
                    </a:lnTo>
                    <a:lnTo>
                      <a:pt x="1156" y="180"/>
                    </a:lnTo>
                    <a:lnTo>
                      <a:pt x="1163" y="180"/>
                    </a:lnTo>
                    <a:lnTo>
                      <a:pt x="1175" y="173"/>
                    </a:lnTo>
                    <a:lnTo>
                      <a:pt x="1191" y="164"/>
                    </a:lnTo>
                    <a:lnTo>
                      <a:pt x="1210" y="157"/>
                    </a:lnTo>
                    <a:lnTo>
                      <a:pt x="1231" y="150"/>
                    </a:lnTo>
                    <a:lnTo>
                      <a:pt x="1254" y="145"/>
                    </a:lnTo>
                    <a:lnTo>
                      <a:pt x="1274" y="145"/>
                    </a:lnTo>
                    <a:lnTo>
                      <a:pt x="1294" y="147"/>
                    </a:lnTo>
                    <a:lnTo>
                      <a:pt x="1308" y="155"/>
                    </a:lnTo>
                    <a:lnTo>
                      <a:pt x="1316" y="169"/>
                    </a:lnTo>
                    <a:lnTo>
                      <a:pt x="1322" y="169"/>
                    </a:lnTo>
                    <a:lnTo>
                      <a:pt x="1322" y="171"/>
                    </a:lnTo>
                    <a:lnTo>
                      <a:pt x="1322" y="171"/>
                    </a:lnTo>
                    <a:lnTo>
                      <a:pt x="1320" y="173"/>
                    </a:lnTo>
                    <a:lnTo>
                      <a:pt x="1318" y="173"/>
                    </a:lnTo>
                    <a:lnTo>
                      <a:pt x="1318" y="173"/>
                    </a:lnTo>
                    <a:lnTo>
                      <a:pt x="1316" y="173"/>
                    </a:lnTo>
                    <a:lnTo>
                      <a:pt x="1313" y="176"/>
                    </a:lnTo>
                    <a:lnTo>
                      <a:pt x="1308" y="178"/>
                    </a:lnTo>
                    <a:lnTo>
                      <a:pt x="1302" y="180"/>
                    </a:lnTo>
                    <a:lnTo>
                      <a:pt x="1295" y="182"/>
                    </a:lnTo>
                    <a:lnTo>
                      <a:pt x="1290" y="183"/>
                    </a:lnTo>
                    <a:lnTo>
                      <a:pt x="1278" y="202"/>
                    </a:lnTo>
                    <a:lnTo>
                      <a:pt x="1255" y="216"/>
                    </a:lnTo>
                    <a:lnTo>
                      <a:pt x="1229" y="225"/>
                    </a:lnTo>
                    <a:lnTo>
                      <a:pt x="1198" y="230"/>
                    </a:lnTo>
                    <a:lnTo>
                      <a:pt x="1198" y="236"/>
                    </a:lnTo>
                    <a:lnTo>
                      <a:pt x="1198" y="239"/>
                    </a:lnTo>
                    <a:lnTo>
                      <a:pt x="1198" y="241"/>
                    </a:lnTo>
                    <a:lnTo>
                      <a:pt x="1196" y="243"/>
                    </a:lnTo>
                    <a:lnTo>
                      <a:pt x="1198" y="244"/>
                    </a:lnTo>
                    <a:lnTo>
                      <a:pt x="1198" y="246"/>
                    </a:lnTo>
                    <a:lnTo>
                      <a:pt x="1201" y="250"/>
                    </a:lnTo>
                    <a:lnTo>
                      <a:pt x="1206" y="253"/>
                    </a:lnTo>
                    <a:lnTo>
                      <a:pt x="1210" y="255"/>
                    </a:lnTo>
                    <a:lnTo>
                      <a:pt x="1213" y="258"/>
                    </a:lnTo>
                    <a:lnTo>
                      <a:pt x="1217" y="260"/>
                    </a:lnTo>
                    <a:lnTo>
                      <a:pt x="1220" y="265"/>
                    </a:lnTo>
                    <a:lnTo>
                      <a:pt x="1217" y="272"/>
                    </a:lnTo>
                    <a:lnTo>
                      <a:pt x="1213" y="288"/>
                    </a:lnTo>
                    <a:lnTo>
                      <a:pt x="1210" y="307"/>
                    </a:lnTo>
                    <a:lnTo>
                      <a:pt x="1206" y="326"/>
                    </a:lnTo>
                    <a:lnTo>
                      <a:pt x="1206" y="342"/>
                    </a:lnTo>
                    <a:lnTo>
                      <a:pt x="1210" y="340"/>
                    </a:lnTo>
                    <a:lnTo>
                      <a:pt x="1213" y="340"/>
                    </a:lnTo>
                    <a:lnTo>
                      <a:pt x="1215" y="340"/>
                    </a:lnTo>
                    <a:lnTo>
                      <a:pt x="1219" y="340"/>
                    </a:lnTo>
                    <a:lnTo>
                      <a:pt x="1220" y="340"/>
                    </a:lnTo>
                    <a:lnTo>
                      <a:pt x="1226" y="342"/>
                    </a:lnTo>
                    <a:lnTo>
                      <a:pt x="1224" y="347"/>
                    </a:lnTo>
                    <a:lnTo>
                      <a:pt x="1224" y="349"/>
                    </a:lnTo>
                    <a:lnTo>
                      <a:pt x="1224" y="353"/>
                    </a:lnTo>
                    <a:lnTo>
                      <a:pt x="1224" y="354"/>
                    </a:lnTo>
                    <a:lnTo>
                      <a:pt x="1224" y="358"/>
                    </a:lnTo>
                    <a:lnTo>
                      <a:pt x="1226" y="365"/>
                    </a:lnTo>
                    <a:lnTo>
                      <a:pt x="1220" y="365"/>
                    </a:lnTo>
                    <a:lnTo>
                      <a:pt x="1220" y="368"/>
                    </a:lnTo>
                    <a:lnTo>
                      <a:pt x="1217" y="367"/>
                    </a:lnTo>
                    <a:lnTo>
                      <a:pt x="1213" y="363"/>
                    </a:lnTo>
                    <a:lnTo>
                      <a:pt x="1212" y="361"/>
                    </a:lnTo>
                    <a:lnTo>
                      <a:pt x="1208" y="360"/>
                    </a:lnTo>
                    <a:lnTo>
                      <a:pt x="1205" y="358"/>
                    </a:lnTo>
                    <a:lnTo>
                      <a:pt x="1198" y="358"/>
                    </a:lnTo>
                    <a:lnTo>
                      <a:pt x="1194" y="360"/>
                    </a:lnTo>
                    <a:lnTo>
                      <a:pt x="1191" y="361"/>
                    </a:lnTo>
                    <a:lnTo>
                      <a:pt x="1187" y="363"/>
                    </a:lnTo>
                    <a:lnTo>
                      <a:pt x="1185" y="365"/>
                    </a:lnTo>
                    <a:lnTo>
                      <a:pt x="1182" y="367"/>
                    </a:lnTo>
                    <a:lnTo>
                      <a:pt x="1180" y="370"/>
                    </a:lnTo>
                    <a:lnTo>
                      <a:pt x="1178" y="377"/>
                    </a:lnTo>
                    <a:lnTo>
                      <a:pt x="1201" y="384"/>
                    </a:lnTo>
                    <a:lnTo>
                      <a:pt x="1206" y="415"/>
                    </a:lnTo>
                    <a:lnTo>
                      <a:pt x="1201" y="415"/>
                    </a:lnTo>
                    <a:lnTo>
                      <a:pt x="1198" y="415"/>
                    </a:lnTo>
                    <a:lnTo>
                      <a:pt x="1194" y="417"/>
                    </a:lnTo>
                    <a:lnTo>
                      <a:pt x="1191" y="419"/>
                    </a:lnTo>
                    <a:lnTo>
                      <a:pt x="1191" y="426"/>
                    </a:lnTo>
                    <a:lnTo>
                      <a:pt x="1199" y="431"/>
                    </a:lnTo>
                    <a:lnTo>
                      <a:pt x="1205" y="438"/>
                    </a:lnTo>
                    <a:lnTo>
                      <a:pt x="1208" y="447"/>
                    </a:lnTo>
                    <a:lnTo>
                      <a:pt x="1210" y="461"/>
                    </a:lnTo>
                    <a:lnTo>
                      <a:pt x="1201" y="461"/>
                    </a:lnTo>
                    <a:lnTo>
                      <a:pt x="1199" y="461"/>
                    </a:lnTo>
                    <a:lnTo>
                      <a:pt x="1194" y="459"/>
                    </a:lnTo>
                    <a:lnTo>
                      <a:pt x="1191" y="461"/>
                    </a:lnTo>
                    <a:lnTo>
                      <a:pt x="1185" y="461"/>
                    </a:lnTo>
                    <a:lnTo>
                      <a:pt x="1182" y="464"/>
                    </a:lnTo>
                    <a:lnTo>
                      <a:pt x="1178" y="468"/>
                    </a:lnTo>
                    <a:lnTo>
                      <a:pt x="1184" y="471"/>
                    </a:lnTo>
                    <a:lnTo>
                      <a:pt x="1187" y="473"/>
                    </a:lnTo>
                    <a:lnTo>
                      <a:pt x="1189" y="475"/>
                    </a:lnTo>
                    <a:lnTo>
                      <a:pt x="1191" y="476"/>
                    </a:lnTo>
                    <a:lnTo>
                      <a:pt x="1192" y="482"/>
                    </a:lnTo>
                    <a:lnTo>
                      <a:pt x="1194" y="487"/>
                    </a:lnTo>
                    <a:lnTo>
                      <a:pt x="1192" y="489"/>
                    </a:lnTo>
                    <a:lnTo>
                      <a:pt x="1192" y="490"/>
                    </a:lnTo>
                    <a:lnTo>
                      <a:pt x="1192" y="490"/>
                    </a:lnTo>
                    <a:lnTo>
                      <a:pt x="1191" y="492"/>
                    </a:lnTo>
                    <a:lnTo>
                      <a:pt x="1191" y="496"/>
                    </a:lnTo>
                    <a:lnTo>
                      <a:pt x="1177" y="496"/>
                    </a:lnTo>
                    <a:lnTo>
                      <a:pt x="1163" y="499"/>
                    </a:lnTo>
                    <a:lnTo>
                      <a:pt x="1152" y="503"/>
                    </a:lnTo>
                    <a:lnTo>
                      <a:pt x="1156" y="503"/>
                    </a:lnTo>
                    <a:lnTo>
                      <a:pt x="1161" y="506"/>
                    </a:lnTo>
                    <a:lnTo>
                      <a:pt x="1165" y="508"/>
                    </a:lnTo>
                    <a:lnTo>
                      <a:pt x="1168" y="508"/>
                    </a:lnTo>
                    <a:lnTo>
                      <a:pt x="1172" y="510"/>
                    </a:lnTo>
                    <a:lnTo>
                      <a:pt x="1175" y="513"/>
                    </a:lnTo>
                    <a:lnTo>
                      <a:pt x="1178" y="518"/>
                    </a:lnTo>
                    <a:lnTo>
                      <a:pt x="1172" y="527"/>
                    </a:lnTo>
                    <a:lnTo>
                      <a:pt x="1168" y="538"/>
                    </a:lnTo>
                    <a:lnTo>
                      <a:pt x="1163" y="550"/>
                    </a:lnTo>
                    <a:lnTo>
                      <a:pt x="1161" y="545"/>
                    </a:lnTo>
                    <a:lnTo>
                      <a:pt x="1158" y="541"/>
                    </a:lnTo>
                    <a:lnTo>
                      <a:pt x="1156" y="539"/>
                    </a:lnTo>
                    <a:lnTo>
                      <a:pt x="1152" y="539"/>
                    </a:lnTo>
                    <a:lnTo>
                      <a:pt x="1147" y="538"/>
                    </a:lnTo>
                    <a:lnTo>
                      <a:pt x="1140" y="538"/>
                    </a:lnTo>
                    <a:lnTo>
                      <a:pt x="1140" y="541"/>
                    </a:lnTo>
                    <a:lnTo>
                      <a:pt x="1144" y="541"/>
                    </a:lnTo>
                    <a:lnTo>
                      <a:pt x="1156" y="553"/>
                    </a:lnTo>
                    <a:lnTo>
                      <a:pt x="1166" y="567"/>
                    </a:lnTo>
                    <a:lnTo>
                      <a:pt x="1172" y="585"/>
                    </a:lnTo>
                    <a:lnTo>
                      <a:pt x="1175" y="606"/>
                    </a:lnTo>
                    <a:lnTo>
                      <a:pt x="1172" y="606"/>
                    </a:lnTo>
                    <a:lnTo>
                      <a:pt x="1172" y="611"/>
                    </a:lnTo>
                    <a:lnTo>
                      <a:pt x="1144" y="614"/>
                    </a:lnTo>
                    <a:lnTo>
                      <a:pt x="1144" y="595"/>
                    </a:lnTo>
                    <a:lnTo>
                      <a:pt x="1140" y="592"/>
                    </a:lnTo>
                    <a:lnTo>
                      <a:pt x="1137" y="590"/>
                    </a:lnTo>
                    <a:lnTo>
                      <a:pt x="1135" y="588"/>
                    </a:lnTo>
                    <a:lnTo>
                      <a:pt x="1130" y="585"/>
                    </a:lnTo>
                    <a:lnTo>
                      <a:pt x="1124" y="583"/>
                    </a:lnTo>
                    <a:lnTo>
                      <a:pt x="1116" y="588"/>
                    </a:lnTo>
                    <a:lnTo>
                      <a:pt x="1105" y="592"/>
                    </a:lnTo>
                    <a:lnTo>
                      <a:pt x="1093" y="593"/>
                    </a:lnTo>
                    <a:lnTo>
                      <a:pt x="1082" y="597"/>
                    </a:lnTo>
                    <a:lnTo>
                      <a:pt x="1076" y="602"/>
                    </a:lnTo>
                    <a:lnTo>
                      <a:pt x="1082" y="602"/>
                    </a:lnTo>
                    <a:lnTo>
                      <a:pt x="1091" y="602"/>
                    </a:lnTo>
                    <a:lnTo>
                      <a:pt x="1105" y="600"/>
                    </a:lnTo>
                    <a:lnTo>
                      <a:pt x="1121" y="599"/>
                    </a:lnTo>
                    <a:lnTo>
                      <a:pt x="1121" y="606"/>
                    </a:lnTo>
                    <a:lnTo>
                      <a:pt x="1086" y="618"/>
                    </a:lnTo>
                    <a:lnTo>
                      <a:pt x="1086" y="621"/>
                    </a:lnTo>
                    <a:lnTo>
                      <a:pt x="1095" y="621"/>
                    </a:lnTo>
                    <a:lnTo>
                      <a:pt x="1100" y="620"/>
                    </a:lnTo>
                    <a:lnTo>
                      <a:pt x="1107" y="618"/>
                    </a:lnTo>
                    <a:lnTo>
                      <a:pt x="1114" y="616"/>
                    </a:lnTo>
                    <a:lnTo>
                      <a:pt x="1121" y="614"/>
                    </a:lnTo>
                    <a:lnTo>
                      <a:pt x="1123" y="623"/>
                    </a:lnTo>
                    <a:lnTo>
                      <a:pt x="1130" y="627"/>
                    </a:lnTo>
                    <a:lnTo>
                      <a:pt x="1137" y="628"/>
                    </a:lnTo>
                    <a:lnTo>
                      <a:pt x="1149" y="627"/>
                    </a:lnTo>
                    <a:lnTo>
                      <a:pt x="1163" y="627"/>
                    </a:lnTo>
                    <a:lnTo>
                      <a:pt x="1163" y="630"/>
                    </a:lnTo>
                    <a:lnTo>
                      <a:pt x="1159" y="630"/>
                    </a:lnTo>
                    <a:lnTo>
                      <a:pt x="1140" y="648"/>
                    </a:lnTo>
                    <a:lnTo>
                      <a:pt x="1119" y="665"/>
                    </a:lnTo>
                    <a:lnTo>
                      <a:pt x="1098" y="679"/>
                    </a:lnTo>
                    <a:lnTo>
                      <a:pt x="1074" y="691"/>
                    </a:lnTo>
                    <a:lnTo>
                      <a:pt x="1048" y="696"/>
                    </a:lnTo>
                    <a:lnTo>
                      <a:pt x="1018" y="695"/>
                    </a:lnTo>
                    <a:lnTo>
                      <a:pt x="1018" y="700"/>
                    </a:lnTo>
                    <a:lnTo>
                      <a:pt x="1018" y="705"/>
                    </a:lnTo>
                    <a:lnTo>
                      <a:pt x="1016" y="709"/>
                    </a:lnTo>
                    <a:lnTo>
                      <a:pt x="1014" y="710"/>
                    </a:lnTo>
                    <a:lnTo>
                      <a:pt x="1013" y="710"/>
                    </a:lnTo>
                    <a:lnTo>
                      <a:pt x="1011" y="712"/>
                    </a:lnTo>
                    <a:lnTo>
                      <a:pt x="1007" y="714"/>
                    </a:lnTo>
                    <a:lnTo>
                      <a:pt x="1004" y="716"/>
                    </a:lnTo>
                    <a:lnTo>
                      <a:pt x="1002" y="717"/>
                    </a:lnTo>
                    <a:lnTo>
                      <a:pt x="999" y="721"/>
                    </a:lnTo>
                    <a:lnTo>
                      <a:pt x="995" y="731"/>
                    </a:lnTo>
                    <a:lnTo>
                      <a:pt x="993" y="744"/>
                    </a:lnTo>
                    <a:lnTo>
                      <a:pt x="990" y="752"/>
                    </a:lnTo>
                    <a:lnTo>
                      <a:pt x="981" y="761"/>
                    </a:lnTo>
                    <a:lnTo>
                      <a:pt x="966" y="771"/>
                    </a:lnTo>
                    <a:lnTo>
                      <a:pt x="946" y="780"/>
                    </a:lnTo>
                    <a:lnTo>
                      <a:pt x="929" y="787"/>
                    </a:lnTo>
                    <a:lnTo>
                      <a:pt x="913" y="791"/>
                    </a:lnTo>
                    <a:lnTo>
                      <a:pt x="913" y="787"/>
                    </a:lnTo>
                    <a:lnTo>
                      <a:pt x="913" y="784"/>
                    </a:lnTo>
                    <a:lnTo>
                      <a:pt x="911" y="784"/>
                    </a:lnTo>
                    <a:lnTo>
                      <a:pt x="911" y="782"/>
                    </a:lnTo>
                    <a:lnTo>
                      <a:pt x="910" y="780"/>
                    </a:lnTo>
                    <a:lnTo>
                      <a:pt x="908" y="794"/>
                    </a:lnTo>
                    <a:lnTo>
                      <a:pt x="903" y="806"/>
                    </a:lnTo>
                    <a:lnTo>
                      <a:pt x="899" y="817"/>
                    </a:lnTo>
                    <a:lnTo>
                      <a:pt x="894" y="827"/>
                    </a:lnTo>
                    <a:lnTo>
                      <a:pt x="890" y="841"/>
                    </a:lnTo>
                    <a:lnTo>
                      <a:pt x="894" y="843"/>
                    </a:lnTo>
                    <a:lnTo>
                      <a:pt x="894" y="845"/>
                    </a:lnTo>
                    <a:lnTo>
                      <a:pt x="896" y="845"/>
                    </a:lnTo>
                    <a:lnTo>
                      <a:pt x="896" y="845"/>
                    </a:lnTo>
                    <a:lnTo>
                      <a:pt x="896" y="847"/>
                    </a:lnTo>
                    <a:lnTo>
                      <a:pt x="894" y="848"/>
                    </a:lnTo>
                    <a:lnTo>
                      <a:pt x="890" y="852"/>
                    </a:lnTo>
                    <a:lnTo>
                      <a:pt x="887" y="854"/>
                    </a:lnTo>
                    <a:lnTo>
                      <a:pt x="884" y="857"/>
                    </a:lnTo>
                    <a:lnTo>
                      <a:pt x="880" y="859"/>
                    </a:lnTo>
                    <a:lnTo>
                      <a:pt x="878" y="862"/>
                    </a:lnTo>
                    <a:lnTo>
                      <a:pt x="875" y="867"/>
                    </a:lnTo>
                    <a:lnTo>
                      <a:pt x="868" y="887"/>
                    </a:lnTo>
                    <a:lnTo>
                      <a:pt x="863" y="908"/>
                    </a:lnTo>
                    <a:lnTo>
                      <a:pt x="861" y="932"/>
                    </a:lnTo>
                    <a:lnTo>
                      <a:pt x="857" y="955"/>
                    </a:lnTo>
                    <a:lnTo>
                      <a:pt x="852" y="976"/>
                    </a:lnTo>
                    <a:lnTo>
                      <a:pt x="849" y="974"/>
                    </a:lnTo>
                    <a:lnTo>
                      <a:pt x="849" y="974"/>
                    </a:lnTo>
                    <a:lnTo>
                      <a:pt x="847" y="974"/>
                    </a:lnTo>
                    <a:lnTo>
                      <a:pt x="847" y="972"/>
                    </a:lnTo>
                    <a:lnTo>
                      <a:pt x="845" y="972"/>
                    </a:lnTo>
                    <a:lnTo>
                      <a:pt x="840" y="969"/>
                    </a:lnTo>
                    <a:lnTo>
                      <a:pt x="831" y="962"/>
                    </a:lnTo>
                    <a:lnTo>
                      <a:pt x="817" y="953"/>
                    </a:lnTo>
                    <a:lnTo>
                      <a:pt x="801" y="944"/>
                    </a:lnTo>
                    <a:lnTo>
                      <a:pt x="786" y="934"/>
                    </a:lnTo>
                    <a:lnTo>
                      <a:pt x="774" y="925"/>
                    </a:lnTo>
                    <a:lnTo>
                      <a:pt x="763" y="920"/>
                    </a:lnTo>
                    <a:lnTo>
                      <a:pt x="760" y="918"/>
                    </a:lnTo>
                    <a:lnTo>
                      <a:pt x="756" y="880"/>
                    </a:lnTo>
                    <a:lnTo>
                      <a:pt x="754" y="876"/>
                    </a:lnTo>
                    <a:lnTo>
                      <a:pt x="749" y="873"/>
                    </a:lnTo>
                    <a:lnTo>
                      <a:pt x="746" y="871"/>
                    </a:lnTo>
                    <a:lnTo>
                      <a:pt x="740" y="867"/>
                    </a:lnTo>
                    <a:lnTo>
                      <a:pt x="737" y="864"/>
                    </a:lnTo>
                    <a:lnTo>
                      <a:pt x="740" y="862"/>
                    </a:lnTo>
                    <a:lnTo>
                      <a:pt x="740" y="860"/>
                    </a:lnTo>
                    <a:lnTo>
                      <a:pt x="742" y="859"/>
                    </a:lnTo>
                    <a:lnTo>
                      <a:pt x="742" y="859"/>
                    </a:lnTo>
                    <a:lnTo>
                      <a:pt x="744" y="855"/>
                    </a:lnTo>
                    <a:lnTo>
                      <a:pt x="746" y="852"/>
                    </a:lnTo>
                    <a:lnTo>
                      <a:pt x="737" y="852"/>
                    </a:lnTo>
                    <a:lnTo>
                      <a:pt x="732" y="852"/>
                    </a:lnTo>
                    <a:lnTo>
                      <a:pt x="728" y="852"/>
                    </a:lnTo>
                    <a:lnTo>
                      <a:pt x="726" y="850"/>
                    </a:lnTo>
                    <a:lnTo>
                      <a:pt x="725" y="847"/>
                    </a:lnTo>
                    <a:lnTo>
                      <a:pt x="721" y="841"/>
                    </a:lnTo>
                    <a:lnTo>
                      <a:pt x="719" y="838"/>
                    </a:lnTo>
                    <a:lnTo>
                      <a:pt x="719" y="834"/>
                    </a:lnTo>
                    <a:lnTo>
                      <a:pt x="719" y="833"/>
                    </a:lnTo>
                    <a:lnTo>
                      <a:pt x="719" y="829"/>
                    </a:lnTo>
                    <a:lnTo>
                      <a:pt x="721" y="826"/>
                    </a:lnTo>
                    <a:lnTo>
                      <a:pt x="721" y="822"/>
                    </a:lnTo>
                    <a:lnTo>
                      <a:pt x="711" y="822"/>
                    </a:lnTo>
                    <a:lnTo>
                      <a:pt x="711" y="817"/>
                    </a:lnTo>
                    <a:lnTo>
                      <a:pt x="712" y="812"/>
                    </a:lnTo>
                    <a:lnTo>
                      <a:pt x="714" y="810"/>
                    </a:lnTo>
                    <a:lnTo>
                      <a:pt x="714" y="806"/>
                    </a:lnTo>
                    <a:lnTo>
                      <a:pt x="716" y="803"/>
                    </a:lnTo>
                    <a:lnTo>
                      <a:pt x="718" y="798"/>
                    </a:lnTo>
                    <a:lnTo>
                      <a:pt x="712" y="798"/>
                    </a:lnTo>
                    <a:lnTo>
                      <a:pt x="707" y="798"/>
                    </a:lnTo>
                    <a:lnTo>
                      <a:pt x="704" y="796"/>
                    </a:lnTo>
                    <a:lnTo>
                      <a:pt x="698" y="794"/>
                    </a:lnTo>
                    <a:lnTo>
                      <a:pt x="697" y="768"/>
                    </a:lnTo>
                    <a:lnTo>
                      <a:pt x="695" y="744"/>
                    </a:lnTo>
                    <a:lnTo>
                      <a:pt x="695" y="721"/>
                    </a:lnTo>
                    <a:lnTo>
                      <a:pt x="702" y="698"/>
                    </a:lnTo>
                    <a:lnTo>
                      <a:pt x="709" y="688"/>
                    </a:lnTo>
                    <a:lnTo>
                      <a:pt x="718" y="681"/>
                    </a:lnTo>
                    <a:lnTo>
                      <a:pt x="725" y="675"/>
                    </a:lnTo>
                    <a:lnTo>
                      <a:pt x="730" y="667"/>
                    </a:lnTo>
                    <a:lnTo>
                      <a:pt x="735" y="656"/>
                    </a:lnTo>
                    <a:lnTo>
                      <a:pt x="737" y="637"/>
                    </a:lnTo>
                    <a:lnTo>
                      <a:pt x="733" y="637"/>
                    </a:lnTo>
                    <a:lnTo>
                      <a:pt x="730" y="641"/>
                    </a:lnTo>
                    <a:lnTo>
                      <a:pt x="726" y="642"/>
                    </a:lnTo>
                    <a:lnTo>
                      <a:pt x="725" y="642"/>
                    </a:lnTo>
                    <a:lnTo>
                      <a:pt x="721" y="642"/>
                    </a:lnTo>
                    <a:lnTo>
                      <a:pt x="718" y="641"/>
                    </a:lnTo>
                    <a:lnTo>
                      <a:pt x="704" y="637"/>
                    </a:lnTo>
                    <a:lnTo>
                      <a:pt x="693" y="630"/>
                    </a:lnTo>
                    <a:lnTo>
                      <a:pt x="686" y="620"/>
                    </a:lnTo>
                    <a:lnTo>
                      <a:pt x="683" y="602"/>
                    </a:lnTo>
                    <a:lnTo>
                      <a:pt x="688" y="602"/>
                    </a:lnTo>
                    <a:lnTo>
                      <a:pt x="688" y="599"/>
                    </a:lnTo>
                    <a:lnTo>
                      <a:pt x="697" y="604"/>
                    </a:lnTo>
                    <a:lnTo>
                      <a:pt x="707" y="611"/>
                    </a:lnTo>
                    <a:lnTo>
                      <a:pt x="716" y="614"/>
                    </a:lnTo>
                    <a:lnTo>
                      <a:pt x="726" y="614"/>
                    </a:lnTo>
                    <a:lnTo>
                      <a:pt x="726" y="613"/>
                    </a:lnTo>
                    <a:lnTo>
                      <a:pt x="728" y="611"/>
                    </a:lnTo>
                    <a:lnTo>
                      <a:pt x="728" y="611"/>
                    </a:lnTo>
                    <a:lnTo>
                      <a:pt x="728" y="609"/>
                    </a:lnTo>
                    <a:lnTo>
                      <a:pt x="730" y="606"/>
                    </a:lnTo>
                    <a:lnTo>
                      <a:pt x="711" y="592"/>
                    </a:lnTo>
                    <a:lnTo>
                      <a:pt x="695" y="572"/>
                    </a:lnTo>
                    <a:lnTo>
                      <a:pt x="690" y="574"/>
                    </a:lnTo>
                    <a:lnTo>
                      <a:pt x="686" y="576"/>
                    </a:lnTo>
                    <a:lnTo>
                      <a:pt x="681" y="578"/>
                    </a:lnTo>
                    <a:lnTo>
                      <a:pt x="676" y="579"/>
                    </a:lnTo>
                    <a:lnTo>
                      <a:pt x="672" y="576"/>
                    </a:lnTo>
                    <a:lnTo>
                      <a:pt x="671" y="574"/>
                    </a:lnTo>
                    <a:lnTo>
                      <a:pt x="669" y="571"/>
                    </a:lnTo>
                    <a:lnTo>
                      <a:pt x="667" y="569"/>
                    </a:lnTo>
                    <a:lnTo>
                      <a:pt x="664" y="564"/>
                    </a:lnTo>
                    <a:lnTo>
                      <a:pt x="674" y="553"/>
                    </a:lnTo>
                    <a:lnTo>
                      <a:pt x="676" y="538"/>
                    </a:lnTo>
                    <a:lnTo>
                      <a:pt x="674" y="518"/>
                    </a:lnTo>
                    <a:lnTo>
                      <a:pt x="669" y="497"/>
                    </a:lnTo>
                    <a:lnTo>
                      <a:pt x="660" y="475"/>
                    </a:lnTo>
                    <a:lnTo>
                      <a:pt x="650" y="454"/>
                    </a:lnTo>
                    <a:lnTo>
                      <a:pt x="637" y="435"/>
                    </a:lnTo>
                    <a:lnTo>
                      <a:pt x="627" y="417"/>
                    </a:lnTo>
                    <a:lnTo>
                      <a:pt x="618" y="403"/>
                    </a:lnTo>
                    <a:lnTo>
                      <a:pt x="597" y="389"/>
                    </a:lnTo>
                    <a:lnTo>
                      <a:pt x="573" y="384"/>
                    </a:lnTo>
                    <a:lnTo>
                      <a:pt x="548" y="384"/>
                    </a:lnTo>
                    <a:lnTo>
                      <a:pt x="520" y="384"/>
                    </a:lnTo>
                    <a:lnTo>
                      <a:pt x="493" y="386"/>
                    </a:lnTo>
                    <a:lnTo>
                      <a:pt x="465" y="384"/>
                    </a:lnTo>
                    <a:lnTo>
                      <a:pt x="465" y="379"/>
                    </a:lnTo>
                    <a:lnTo>
                      <a:pt x="465" y="375"/>
                    </a:lnTo>
                    <a:lnTo>
                      <a:pt x="466" y="374"/>
                    </a:lnTo>
                    <a:lnTo>
                      <a:pt x="466" y="372"/>
                    </a:lnTo>
                    <a:lnTo>
                      <a:pt x="466" y="370"/>
                    </a:lnTo>
                    <a:lnTo>
                      <a:pt x="465" y="368"/>
                    </a:lnTo>
                    <a:lnTo>
                      <a:pt x="454" y="363"/>
                    </a:lnTo>
                    <a:lnTo>
                      <a:pt x="444" y="360"/>
                    </a:lnTo>
                    <a:lnTo>
                      <a:pt x="433" y="353"/>
                    </a:lnTo>
                    <a:lnTo>
                      <a:pt x="442" y="353"/>
                    </a:lnTo>
                    <a:lnTo>
                      <a:pt x="452" y="349"/>
                    </a:lnTo>
                    <a:lnTo>
                      <a:pt x="466" y="346"/>
                    </a:lnTo>
                    <a:lnTo>
                      <a:pt x="482" y="344"/>
                    </a:lnTo>
                    <a:lnTo>
                      <a:pt x="494" y="340"/>
                    </a:lnTo>
                    <a:lnTo>
                      <a:pt x="503" y="333"/>
                    </a:lnTo>
                    <a:lnTo>
                      <a:pt x="461" y="333"/>
                    </a:lnTo>
                    <a:lnTo>
                      <a:pt x="451" y="330"/>
                    </a:lnTo>
                    <a:lnTo>
                      <a:pt x="442" y="330"/>
                    </a:lnTo>
                    <a:lnTo>
                      <a:pt x="431" y="328"/>
                    </a:lnTo>
                    <a:lnTo>
                      <a:pt x="423" y="326"/>
                    </a:lnTo>
                    <a:lnTo>
                      <a:pt x="414" y="323"/>
                    </a:lnTo>
                    <a:lnTo>
                      <a:pt x="409" y="314"/>
                    </a:lnTo>
                    <a:lnTo>
                      <a:pt x="407" y="300"/>
                    </a:lnTo>
                    <a:lnTo>
                      <a:pt x="428" y="297"/>
                    </a:lnTo>
                    <a:lnTo>
                      <a:pt x="447" y="290"/>
                    </a:lnTo>
                    <a:lnTo>
                      <a:pt x="463" y="283"/>
                    </a:lnTo>
                    <a:lnTo>
                      <a:pt x="480" y="276"/>
                    </a:lnTo>
                    <a:lnTo>
                      <a:pt x="515" y="276"/>
                    </a:lnTo>
                    <a:lnTo>
                      <a:pt x="529" y="230"/>
                    </a:lnTo>
                    <a:lnTo>
                      <a:pt x="496" y="230"/>
                    </a:lnTo>
                    <a:lnTo>
                      <a:pt x="487" y="218"/>
                    </a:lnTo>
                    <a:lnTo>
                      <a:pt x="498" y="211"/>
                    </a:lnTo>
                    <a:lnTo>
                      <a:pt x="506" y="204"/>
                    </a:lnTo>
                    <a:lnTo>
                      <a:pt x="517" y="199"/>
                    </a:lnTo>
                    <a:lnTo>
                      <a:pt x="529" y="195"/>
                    </a:lnTo>
                    <a:lnTo>
                      <a:pt x="529" y="183"/>
                    </a:lnTo>
                    <a:lnTo>
                      <a:pt x="543" y="176"/>
                    </a:lnTo>
                    <a:lnTo>
                      <a:pt x="550" y="168"/>
                    </a:lnTo>
                    <a:lnTo>
                      <a:pt x="557" y="157"/>
                    </a:lnTo>
                    <a:lnTo>
                      <a:pt x="568" y="150"/>
                    </a:lnTo>
                    <a:lnTo>
                      <a:pt x="580" y="145"/>
                    </a:lnTo>
                    <a:lnTo>
                      <a:pt x="590" y="145"/>
                    </a:lnTo>
                    <a:lnTo>
                      <a:pt x="599" y="148"/>
                    </a:lnTo>
                    <a:lnTo>
                      <a:pt x="611" y="147"/>
                    </a:lnTo>
                    <a:lnTo>
                      <a:pt x="602" y="143"/>
                    </a:lnTo>
                    <a:lnTo>
                      <a:pt x="597" y="141"/>
                    </a:lnTo>
                    <a:lnTo>
                      <a:pt x="592" y="140"/>
                    </a:lnTo>
                    <a:lnTo>
                      <a:pt x="587" y="134"/>
                    </a:lnTo>
                    <a:lnTo>
                      <a:pt x="604" y="131"/>
                    </a:lnTo>
                    <a:lnTo>
                      <a:pt x="620" y="126"/>
                    </a:lnTo>
                    <a:lnTo>
                      <a:pt x="634" y="122"/>
                    </a:lnTo>
                    <a:lnTo>
                      <a:pt x="650" y="119"/>
                    </a:lnTo>
                    <a:lnTo>
                      <a:pt x="651" y="126"/>
                    </a:lnTo>
                    <a:lnTo>
                      <a:pt x="653" y="129"/>
                    </a:lnTo>
                    <a:lnTo>
                      <a:pt x="655" y="134"/>
                    </a:lnTo>
                    <a:lnTo>
                      <a:pt x="657" y="138"/>
                    </a:lnTo>
                    <a:lnTo>
                      <a:pt x="662" y="140"/>
                    </a:lnTo>
                    <a:lnTo>
                      <a:pt x="669" y="141"/>
                    </a:lnTo>
                    <a:lnTo>
                      <a:pt x="669" y="136"/>
                    </a:lnTo>
                    <a:lnTo>
                      <a:pt x="672" y="131"/>
                    </a:lnTo>
                    <a:lnTo>
                      <a:pt x="674" y="124"/>
                    </a:lnTo>
                    <a:lnTo>
                      <a:pt x="676" y="119"/>
                    </a:lnTo>
                    <a:lnTo>
                      <a:pt x="679" y="124"/>
                    </a:lnTo>
                    <a:lnTo>
                      <a:pt x="685" y="129"/>
                    </a:lnTo>
                    <a:lnTo>
                      <a:pt x="688" y="133"/>
                    </a:lnTo>
                    <a:lnTo>
                      <a:pt x="695" y="136"/>
                    </a:lnTo>
                    <a:lnTo>
                      <a:pt x="702" y="138"/>
                    </a:lnTo>
                    <a:lnTo>
                      <a:pt x="698" y="115"/>
                    </a:lnTo>
                    <a:lnTo>
                      <a:pt x="711" y="112"/>
                    </a:lnTo>
                    <a:lnTo>
                      <a:pt x="721" y="108"/>
                    </a:lnTo>
                    <a:lnTo>
                      <a:pt x="737" y="112"/>
                    </a:lnTo>
                    <a:lnTo>
                      <a:pt x="754" y="119"/>
                    </a:lnTo>
                    <a:lnTo>
                      <a:pt x="772" y="129"/>
                    </a:lnTo>
                    <a:lnTo>
                      <a:pt x="791" y="138"/>
                    </a:lnTo>
                    <a:lnTo>
                      <a:pt x="807" y="145"/>
                    </a:lnTo>
                    <a:lnTo>
                      <a:pt x="822" y="150"/>
                    </a:lnTo>
                    <a:lnTo>
                      <a:pt x="822" y="147"/>
                    </a:lnTo>
                    <a:lnTo>
                      <a:pt x="812" y="138"/>
                    </a:lnTo>
                    <a:lnTo>
                      <a:pt x="805" y="131"/>
                    </a:lnTo>
                    <a:lnTo>
                      <a:pt x="801" y="122"/>
                    </a:lnTo>
                    <a:lnTo>
                      <a:pt x="807" y="112"/>
                    </a:lnTo>
                    <a:lnTo>
                      <a:pt x="803" y="108"/>
                    </a:lnTo>
                    <a:lnTo>
                      <a:pt x="798" y="103"/>
                    </a:lnTo>
                    <a:lnTo>
                      <a:pt x="793" y="99"/>
                    </a:lnTo>
                    <a:lnTo>
                      <a:pt x="788" y="96"/>
                    </a:lnTo>
                    <a:lnTo>
                      <a:pt x="784" y="92"/>
                    </a:lnTo>
                    <a:lnTo>
                      <a:pt x="788" y="84"/>
                    </a:lnTo>
                    <a:lnTo>
                      <a:pt x="798" y="87"/>
                    </a:lnTo>
                    <a:lnTo>
                      <a:pt x="812" y="89"/>
                    </a:lnTo>
                    <a:lnTo>
                      <a:pt x="824" y="87"/>
                    </a:lnTo>
                    <a:lnTo>
                      <a:pt x="833" y="80"/>
                    </a:lnTo>
                    <a:lnTo>
                      <a:pt x="791" y="80"/>
                    </a:lnTo>
                    <a:lnTo>
                      <a:pt x="791" y="77"/>
                    </a:lnTo>
                    <a:lnTo>
                      <a:pt x="788" y="77"/>
                    </a:lnTo>
                    <a:lnTo>
                      <a:pt x="788" y="73"/>
                    </a:lnTo>
                    <a:lnTo>
                      <a:pt x="793" y="70"/>
                    </a:lnTo>
                    <a:lnTo>
                      <a:pt x="798" y="66"/>
                    </a:lnTo>
                    <a:lnTo>
                      <a:pt x="803" y="63"/>
                    </a:lnTo>
                    <a:lnTo>
                      <a:pt x="808" y="59"/>
                    </a:lnTo>
                    <a:lnTo>
                      <a:pt x="814" y="58"/>
                    </a:lnTo>
                    <a:lnTo>
                      <a:pt x="836" y="61"/>
                    </a:lnTo>
                    <a:lnTo>
                      <a:pt x="842" y="45"/>
                    </a:lnTo>
                    <a:lnTo>
                      <a:pt x="868" y="49"/>
                    </a:lnTo>
                    <a:lnTo>
                      <a:pt x="870" y="49"/>
                    </a:lnTo>
                    <a:lnTo>
                      <a:pt x="871" y="45"/>
                    </a:lnTo>
                    <a:lnTo>
                      <a:pt x="873" y="44"/>
                    </a:lnTo>
                    <a:lnTo>
                      <a:pt x="875" y="40"/>
                    </a:lnTo>
                    <a:lnTo>
                      <a:pt x="880" y="38"/>
                    </a:lnTo>
                    <a:lnTo>
                      <a:pt x="884" y="44"/>
                    </a:lnTo>
                    <a:lnTo>
                      <a:pt x="889" y="49"/>
                    </a:lnTo>
                    <a:lnTo>
                      <a:pt x="894" y="54"/>
                    </a:lnTo>
                    <a:lnTo>
                      <a:pt x="894" y="45"/>
                    </a:lnTo>
                    <a:lnTo>
                      <a:pt x="896" y="44"/>
                    </a:lnTo>
                    <a:lnTo>
                      <a:pt x="896" y="42"/>
                    </a:lnTo>
                    <a:lnTo>
                      <a:pt x="896" y="40"/>
                    </a:lnTo>
                    <a:lnTo>
                      <a:pt x="896" y="38"/>
                    </a:lnTo>
                    <a:lnTo>
                      <a:pt x="897" y="35"/>
                    </a:lnTo>
                    <a:lnTo>
                      <a:pt x="899" y="33"/>
                    </a:lnTo>
                    <a:lnTo>
                      <a:pt x="903" y="31"/>
                    </a:lnTo>
                    <a:lnTo>
                      <a:pt x="920" y="23"/>
                    </a:lnTo>
                    <a:lnTo>
                      <a:pt x="943" y="19"/>
                    </a:lnTo>
                    <a:close/>
                    <a:moveTo>
                      <a:pt x="2205" y="16"/>
                    </a:moveTo>
                    <a:lnTo>
                      <a:pt x="2215" y="19"/>
                    </a:lnTo>
                    <a:lnTo>
                      <a:pt x="2215" y="26"/>
                    </a:lnTo>
                    <a:lnTo>
                      <a:pt x="2200" y="26"/>
                    </a:lnTo>
                    <a:lnTo>
                      <a:pt x="2205" y="16"/>
                    </a:lnTo>
                    <a:close/>
                    <a:moveTo>
                      <a:pt x="2676" y="0"/>
                    </a:moveTo>
                    <a:lnTo>
                      <a:pt x="2681" y="3"/>
                    </a:lnTo>
                    <a:lnTo>
                      <a:pt x="2685" y="7"/>
                    </a:lnTo>
                    <a:lnTo>
                      <a:pt x="2687" y="10"/>
                    </a:lnTo>
                    <a:lnTo>
                      <a:pt x="2688" y="16"/>
                    </a:lnTo>
                    <a:lnTo>
                      <a:pt x="2690" y="19"/>
                    </a:lnTo>
                    <a:lnTo>
                      <a:pt x="2692" y="24"/>
                    </a:lnTo>
                    <a:lnTo>
                      <a:pt x="2695" y="26"/>
                    </a:lnTo>
                    <a:lnTo>
                      <a:pt x="2706" y="31"/>
                    </a:lnTo>
                    <a:lnTo>
                      <a:pt x="2716" y="33"/>
                    </a:lnTo>
                    <a:lnTo>
                      <a:pt x="2723" y="33"/>
                    </a:lnTo>
                    <a:lnTo>
                      <a:pt x="2728" y="37"/>
                    </a:lnTo>
                    <a:lnTo>
                      <a:pt x="2732" y="44"/>
                    </a:lnTo>
                    <a:lnTo>
                      <a:pt x="2734" y="58"/>
                    </a:lnTo>
                    <a:lnTo>
                      <a:pt x="2732" y="59"/>
                    </a:lnTo>
                    <a:lnTo>
                      <a:pt x="2732" y="59"/>
                    </a:lnTo>
                    <a:lnTo>
                      <a:pt x="2732" y="61"/>
                    </a:lnTo>
                    <a:lnTo>
                      <a:pt x="2732" y="63"/>
                    </a:lnTo>
                    <a:lnTo>
                      <a:pt x="2730" y="65"/>
                    </a:lnTo>
                    <a:lnTo>
                      <a:pt x="2708" y="65"/>
                    </a:lnTo>
                    <a:lnTo>
                      <a:pt x="2685" y="65"/>
                    </a:lnTo>
                    <a:lnTo>
                      <a:pt x="2666" y="73"/>
                    </a:lnTo>
                    <a:lnTo>
                      <a:pt x="2662" y="75"/>
                    </a:lnTo>
                    <a:lnTo>
                      <a:pt x="2660" y="79"/>
                    </a:lnTo>
                    <a:lnTo>
                      <a:pt x="2659" y="80"/>
                    </a:lnTo>
                    <a:lnTo>
                      <a:pt x="2657" y="82"/>
                    </a:lnTo>
                    <a:lnTo>
                      <a:pt x="2655" y="84"/>
                    </a:lnTo>
                    <a:lnTo>
                      <a:pt x="2652" y="86"/>
                    </a:lnTo>
                    <a:lnTo>
                      <a:pt x="2646" y="89"/>
                    </a:lnTo>
                    <a:lnTo>
                      <a:pt x="2643" y="84"/>
                    </a:lnTo>
                    <a:lnTo>
                      <a:pt x="2641" y="80"/>
                    </a:lnTo>
                    <a:lnTo>
                      <a:pt x="2638" y="77"/>
                    </a:lnTo>
                    <a:lnTo>
                      <a:pt x="2650" y="47"/>
                    </a:lnTo>
                    <a:lnTo>
                      <a:pt x="2662" y="23"/>
                    </a:lnTo>
                    <a:lnTo>
                      <a:pt x="2676" y="0"/>
                    </a:lnTo>
                    <a:close/>
                    <a:moveTo>
                      <a:pt x="2554" y="0"/>
                    </a:moveTo>
                    <a:lnTo>
                      <a:pt x="2563" y="9"/>
                    </a:lnTo>
                    <a:lnTo>
                      <a:pt x="2568" y="19"/>
                    </a:lnTo>
                    <a:lnTo>
                      <a:pt x="2573" y="31"/>
                    </a:lnTo>
                    <a:lnTo>
                      <a:pt x="2564" y="31"/>
                    </a:lnTo>
                    <a:lnTo>
                      <a:pt x="2564" y="26"/>
                    </a:lnTo>
                    <a:lnTo>
                      <a:pt x="2561" y="23"/>
                    </a:lnTo>
                    <a:lnTo>
                      <a:pt x="2557" y="19"/>
                    </a:lnTo>
                    <a:lnTo>
                      <a:pt x="2556" y="14"/>
                    </a:lnTo>
                    <a:lnTo>
                      <a:pt x="2554" y="9"/>
                    </a:lnTo>
                    <a:lnTo>
                      <a:pt x="2554"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ko-KR" altLang="en-US"/>
              </a:p>
            </p:txBody>
          </p:sp>
        </p:grpSp>
        <p:grpSp>
          <p:nvGrpSpPr>
            <p:cNvPr id="14" name="Group 13">
              <a:extLst>
                <a:ext uri="{FF2B5EF4-FFF2-40B4-BE49-F238E27FC236}">
                  <a16:creationId xmlns:a16="http://schemas.microsoft.com/office/drawing/2014/main" id="{A5BE5ADD-2D29-A248-A498-57848B433E31}"/>
                </a:ext>
              </a:extLst>
            </p:cNvPr>
            <p:cNvGrpSpPr/>
            <p:nvPr/>
          </p:nvGrpSpPr>
          <p:grpSpPr>
            <a:xfrm>
              <a:off x="4907330" y="2315202"/>
              <a:ext cx="532678" cy="532678"/>
              <a:chOff x="2483768" y="3040338"/>
              <a:chExt cx="532678" cy="532678"/>
            </a:xfrm>
          </p:grpSpPr>
          <p:sp>
            <p:nvSpPr>
              <p:cNvPr id="15" name="Oval 14">
                <a:extLst>
                  <a:ext uri="{FF2B5EF4-FFF2-40B4-BE49-F238E27FC236}">
                    <a16:creationId xmlns:a16="http://schemas.microsoft.com/office/drawing/2014/main" id="{4A3DD8FF-0148-284C-AE1A-ED5B1837162D}"/>
                  </a:ext>
                </a:extLst>
              </p:cNvPr>
              <p:cNvSpPr/>
              <p:nvPr/>
            </p:nvSpPr>
            <p:spPr>
              <a:xfrm>
                <a:off x="2483768" y="3040338"/>
                <a:ext cx="532678" cy="532678"/>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Oval 15">
                <a:extLst>
                  <a:ext uri="{FF2B5EF4-FFF2-40B4-BE49-F238E27FC236}">
                    <a16:creationId xmlns:a16="http://schemas.microsoft.com/office/drawing/2014/main" id="{0C055F63-9F29-724F-AB58-6803729682DA}"/>
                  </a:ext>
                </a:extLst>
              </p:cNvPr>
              <p:cNvSpPr/>
              <p:nvPr/>
            </p:nvSpPr>
            <p:spPr>
              <a:xfrm>
                <a:off x="2633928" y="3190498"/>
                <a:ext cx="232359" cy="232359"/>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7" name="Group 16">
              <a:extLst>
                <a:ext uri="{FF2B5EF4-FFF2-40B4-BE49-F238E27FC236}">
                  <a16:creationId xmlns:a16="http://schemas.microsoft.com/office/drawing/2014/main" id="{F79C88F7-C496-5841-9DFF-49D9CEF1E807}"/>
                </a:ext>
              </a:extLst>
            </p:cNvPr>
            <p:cNvGrpSpPr/>
            <p:nvPr/>
          </p:nvGrpSpPr>
          <p:grpSpPr>
            <a:xfrm>
              <a:off x="8142032" y="5012911"/>
              <a:ext cx="532678" cy="532678"/>
              <a:chOff x="2483768" y="3040338"/>
              <a:chExt cx="532678" cy="532678"/>
            </a:xfrm>
            <a:solidFill>
              <a:schemeClr val="accent3">
                <a:alpha val="70000"/>
              </a:schemeClr>
            </a:solidFill>
          </p:grpSpPr>
          <p:sp>
            <p:nvSpPr>
              <p:cNvPr id="18" name="Oval 17">
                <a:extLst>
                  <a:ext uri="{FF2B5EF4-FFF2-40B4-BE49-F238E27FC236}">
                    <a16:creationId xmlns:a16="http://schemas.microsoft.com/office/drawing/2014/main" id="{3A5DF1B5-4DA9-5E40-91DB-64110B7819E9}"/>
                  </a:ext>
                </a:extLst>
              </p:cNvPr>
              <p:cNvSpPr/>
              <p:nvPr/>
            </p:nvSpPr>
            <p:spPr>
              <a:xfrm>
                <a:off x="2483768" y="3040338"/>
                <a:ext cx="532678" cy="532678"/>
              </a:xfrm>
              <a:prstGeom prst="ellipse">
                <a:avLst/>
              </a:prstGeom>
              <a:solidFill>
                <a:schemeClr val="accent4">
                  <a:lumMod val="9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Oval 18">
                <a:extLst>
                  <a:ext uri="{FF2B5EF4-FFF2-40B4-BE49-F238E27FC236}">
                    <a16:creationId xmlns:a16="http://schemas.microsoft.com/office/drawing/2014/main" id="{A6B21F13-1870-0345-B7AF-5A081328028A}"/>
                  </a:ext>
                </a:extLst>
              </p:cNvPr>
              <p:cNvSpPr/>
              <p:nvPr/>
            </p:nvSpPr>
            <p:spPr>
              <a:xfrm>
                <a:off x="2633928" y="3190498"/>
                <a:ext cx="232359" cy="232359"/>
              </a:xfrm>
              <a:prstGeom prst="ellipse">
                <a:avLst/>
              </a:prstGeom>
              <a:solidFill>
                <a:schemeClr val="accent4">
                  <a:lumMod val="9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0" name="Group 19">
              <a:extLst>
                <a:ext uri="{FF2B5EF4-FFF2-40B4-BE49-F238E27FC236}">
                  <a16:creationId xmlns:a16="http://schemas.microsoft.com/office/drawing/2014/main" id="{BF6D51B1-1993-D846-ADC8-A523926D065A}"/>
                </a:ext>
              </a:extLst>
            </p:cNvPr>
            <p:cNvGrpSpPr/>
            <p:nvPr/>
          </p:nvGrpSpPr>
          <p:grpSpPr>
            <a:xfrm>
              <a:off x="6404175" y="3114539"/>
              <a:ext cx="532678" cy="532678"/>
              <a:chOff x="2483768" y="3040338"/>
              <a:chExt cx="532678" cy="532678"/>
            </a:xfrm>
          </p:grpSpPr>
          <p:sp>
            <p:nvSpPr>
              <p:cNvPr id="21" name="Oval 20">
                <a:extLst>
                  <a:ext uri="{FF2B5EF4-FFF2-40B4-BE49-F238E27FC236}">
                    <a16:creationId xmlns:a16="http://schemas.microsoft.com/office/drawing/2014/main" id="{2D1AF09E-2AB9-294D-BF87-F689C8DFC1BE}"/>
                  </a:ext>
                </a:extLst>
              </p:cNvPr>
              <p:cNvSpPr/>
              <p:nvPr/>
            </p:nvSpPr>
            <p:spPr>
              <a:xfrm>
                <a:off x="2483768" y="3040338"/>
                <a:ext cx="532678" cy="532678"/>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Oval 21">
                <a:extLst>
                  <a:ext uri="{FF2B5EF4-FFF2-40B4-BE49-F238E27FC236}">
                    <a16:creationId xmlns:a16="http://schemas.microsoft.com/office/drawing/2014/main" id="{5FE1BF54-868F-C747-A508-B74CE0A069DD}"/>
                  </a:ext>
                </a:extLst>
              </p:cNvPr>
              <p:cNvSpPr/>
              <p:nvPr/>
            </p:nvSpPr>
            <p:spPr>
              <a:xfrm>
                <a:off x="2633928" y="3190498"/>
                <a:ext cx="232359" cy="232359"/>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3" name="Group 22">
              <a:extLst>
                <a:ext uri="{FF2B5EF4-FFF2-40B4-BE49-F238E27FC236}">
                  <a16:creationId xmlns:a16="http://schemas.microsoft.com/office/drawing/2014/main" id="{975ADDAA-CC67-7648-AD8B-2F3CB0065B39}"/>
                </a:ext>
              </a:extLst>
            </p:cNvPr>
            <p:cNvGrpSpPr/>
            <p:nvPr/>
          </p:nvGrpSpPr>
          <p:grpSpPr>
            <a:xfrm>
              <a:off x="7779695" y="3803644"/>
              <a:ext cx="532678" cy="532678"/>
              <a:chOff x="2483768" y="3040338"/>
              <a:chExt cx="532678" cy="532678"/>
            </a:xfrm>
          </p:grpSpPr>
          <p:sp>
            <p:nvSpPr>
              <p:cNvPr id="24" name="Oval 23">
                <a:extLst>
                  <a:ext uri="{FF2B5EF4-FFF2-40B4-BE49-F238E27FC236}">
                    <a16:creationId xmlns:a16="http://schemas.microsoft.com/office/drawing/2014/main" id="{F8BBE7BF-1BDD-4D42-A785-44E15B9F4C90}"/>
                  </a:ext>
                </a:extLst>
              </p:cNvPr>
              <p:cNvSpPr/>
              <p:nvPr/>
            </p:nvSpPr>
            <p:spPr>
              <a:xfrm>
                <a:off x="2483768" y="3040338"/>
                <a:ext cx="532678" cy="532678"/>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Oval 24">
                <a:extLst>
                  <a:ext uri="{FF2B5EF4-FFF2-40B4-BE49-F238E27FC236}">
                    <a16:creationId xmlns:a16="http://schemas.microsoft.com/office/drawing/2014/main" id="{1C9615C3-7F6F-1940-8232-6BF10B03D831}"/>
                  </a:ext>
                </a:extLst>
              </p:cNvPr>
              <p:cNvSpPr/>
              <p:nvPr/>
            </p:nvSpPr>
            <p:spPr>
              <a:xfrm>
                <a:off x="2633928" y="3190498"/>
                <a:ext cx="232359" cy="232359"/>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cxnSp>
          <p:nvCxnSpPr>
            <p:cNvPr id="26" name="Elbow Connector 29">
              <a:extLst>
                <a:ext uri="{FF2B5EF4-FFF2-40B4-BE49-F238E27FC236}">
                  <a16:creationId xmlns:a16="http://schemas.microsoft.com/office/drawing/2014/main" id="{FCD5F6EB-2574-B344-8C55-2D9DD8F90B91}"/>
                </a:ext>
              </a:extLst>
            </p:cNvPr>
            <p:cNvCxnSpPr>
              <a:cxnSpLocks/>
            </p:cNvCxnSpPr>
            <p:nvPr/>
          </p:nvCxnSpPr>
          <p:spPr>
            <a:xfrm rot="10800000" flipV="1">
              <a:off x="3768633" y="3380877"/>
              <a:ext cx="2899197" cy="1897131"/>
            </a:xfrm>
            <a:prstGeom prst="bentConnector3">
              <a:avLst>
                <a:gd name="adj1" fmla="val 50000"/>
              </a:avLst>
            </a:prstGeom>
            <a:ln w="19050">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그룹 3">
              <a:extLst>
                <a:ext uri="{FF2B5EF4-FFF2-40B4-BE49-F238E27FC236}">
                  <a16:creationId xmlns:a16="http://schemas.microsoft.com/office/drawing/2014/main" id="{81423F68-91CB-A54C-94F8-2A49F9CE727D}"/>
                </a:ext>
              </a:extLst>
            </p:cNvPr>
            <p:cNvGrpSpPr/>
            <p:nvPr/>
          </p:nvGrpSpPr>
          <p:grpSpPr>
            <a:xfrm>
              <a:off x="688008" y="1771699"/>
              <a:ext cx="2520000" cy="1013312"/>
              <a:chOff x="1954056" y="1822840"/>
              <a:chExt cx="2520000" cy="1013312"/>
            </a:xfrm>
          </p:grpSpPr>
          <p:sp>
            <p:nvSpPr>
              <p:cNvPr id="28" name="TextBox 27">
                <a:extLst>
                  <a:ext uri="{FF2B5EF4-FFF2-40B4-BE49-F238E27FC236}">
                    <a16:creationId xmlns:a16="http://schemas.microsoft.com/office/drawing/2014/main" id="{BFC9E18E-AEF5-C64C-BAE6-094167D4662C}"/>
                  </a:ext>
                </a:extLst>
              </p:cNvPr>
              <p:cNvSpPr txBox="1"/>
              <p:nvPr/>
            </p:nvSpPr>
            <p:spPr>
              <a:xfrm>
                <a:off x="1954056" y="1822840"/>
                <a:ext cx="2520000" cy="461665"/>
              </a:xfrm>
              <a:prstGeom prst="rect">
                <a:avLst/>
              </a:prstGeom>
              <a:noFill/>
            </p:spPr>
            <p:txBody>
              <a:bodyPr wrap="square" rtlCol="0" anchor="ctr">
                <a:spAutoFit/>
              </a:bodyPr>
              <a:lstStyle/>
              <a:p>
                <a:r>
                  <a:rPr lang="en-US" altLang="ko-KR" sz="2400" b="1">
                    <a:solidFill>
                      <a:schemeClr val="accent2"/>
                    </a:solidFill>
                  </a:rPr>
                  <a:t>Content A</a:t>
                </a:r>
                <a:endParaRPr lang="ko-KR" altLang="en-US" sz="2400" b="1">
                  <a:solidFill>
                    <a:schemeClr val="accent2"/>
                  </a:solidFill>
                </a:endParaRPr>
              </a:p>
            </p:txBody>
          </p:sp>
          <p:sp>
            <p:nvSpPr>
              <p:cNvPr id="29" name="TextBox 28">
                <a:extLst>
                  <a:ext uri="{FF2B5EF4-FFF2-40B4-BE49-F238E27FC236}">
                    <a16:creationId xmlns:a16="http://schemas.microsoft.com/office/drawing/2014/main" id="{9B5D2FED-24DF-8048-8104-3AA0AF63E65B}"/>
                  </a:ext>
                </a:extLst>
              </p:cNvPr>
              <p:cNvSpPr txBox="1"/>
              <p:nvPr/>
            </p:nvSpPr>
            <p:spPr>
              <a:xfrm>
                <a:off x="1954056" y="2189821"/>
                <a:ext cx="2520000" cy="646331"/>
              </a:xfrm>
              <a:prstGeom prst="rect">
                <a:avLst/>
              </a:prstGeom>
              <a:noFill/>
            </p:spPr>
            <p:txBody>
              <a:bodyPr wrap="square" rtlCol="0">
                <a:spAutoFit/>
              </a:bodyPr>
              <a:lstStyle/>
              <a:p>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grpSp>
        <p:grpSp>
          <p:nvGrpSpPr>
            <p:cNvPr id="30" name="그룹 6">
              <a:extLst>
                <a:ext uri="{FF2B5EF4-FFF2-40B4-BE49-F238E27FC236}">
                  <a16:creationId xmlns:a16="http://schemas.microsoft.com/office/drawing/2014/main" id="{3AFBBD21-8363-1747-AE2D-544CF3F21EC7}"/>
                </a:ext>
              </a:extLst>
            </p:cNvPr>
            <p:cNvGrpSpPr/>
            <p:nvPr/>
          </p:nvGrpSpPr>
          <p:grpSpPr>
            <a:xfrm>
              <a:off x="1771614" y="5071707"/>
              <a:ext cx="2520000" cy="1012013"/>
              <a:chOff x="2453259" y="4604748"/>
              <a:chExt cx="2520000" cy="1012013"/>
            </a:xfrm>
          </p:grpSpPr>
          <p:sp>
            <p:nvSpPr>
              <p:cNvPr id="31" name="TextBox 30">
                <a:extLst>
                  <a:ext uri="{FF2B5EF4-FFF2-40B4-BE49-F238E27FC236}">
                    <a16:creationId xmlns:a16="http://schemas.microsoft.com/office/drawing/2014/main" id="{0600E6D5-D94B-D145-AAF5-5AB681BF67BC}"/>
                  </a:ext>
                </a:extLst>
              </p:cNvPr>
              <p:cNvSpPr txBox="1"/>
              <p:nvPr/>
            </p:nvSpPr>
            <p:spPr>
              <a:xfrm>
                <a:off x="2453259" y="4604748"/>
                <a:ext cx="2520000" cy="461665"/>
              </a:xfrm>
              <a:prstGeom prst="rect">
                <a:avLst/>
              </a:prstGeom>
              <a:noFill/>
            </p:spPr>
            <p:txBody>
              <a:bodyPr wrap="square" rtlCol="0" anchor="ctr">
                <a:spAutoFit/>
              </a:bodyPr>
              <a:lstStyle/>
              <a:p>
                <a:r>
                  <a:rPr lang="en-US" altLang="ko-KR" sz="2400" b="1">
                    <a:solidFill>
                      <a:schemeClr val="accent1"/>
                    </a:solidFill>
                  </a:rPr>
                  <a:t>Content B</a:t>
                </a:r>
                <a:endParaRPr lang="ko-KR" altLang="en-US" sz="2400" b="1">
                  <a:solidFill>
                    <a:schemeClr val="accent1"/>
                  </a:solidFill>
                </a:endParaRPr>
              </a:p>
            </p:txBody>
          </p:sp>
          <p:sp>
            <p:nvSpPr>
              <p:cNvPr id="32" name="TextBox 31">
                <a:extLst>
                  <a:ext uri="{FF2B5EF4-FFF2-40B4-BE49-F238E27FC236}">
                    <a16:creationId xmlns:a16="http://schemas.microsoft.com/office/drawing/2014/main" id="{74D9D27A-DDB1-1A49-8AEF-D794C995D3E8}"/>
                  </a:ext>
                </a:extLst>
              </p:cNvPr>
              <p:cNvSpPr txBox="1"/>
              <p:nvPr/>
            </p:nvSpPr>
            <p:spPr>
              <a:xfrm>
                <a:off x="2453259" y="4970430"/>
                <a:ext cx="2520000" cy="646331"/>
              </a:xfrm>
              <a:prstGeom prst="rect">
                <a:avLst/>
              </a:prstGeom>
              <a:noFill/>
            </p:spPr>
            <p:txBody>
              <a:bodyPr wrap="square" rtlCol="0">
                <a:spAutoFit/>
              </a:bodyPr>
              <a:lstStyle/>
              <a:p>
                <a:r>
                  <a:rPr lang="en-US" altLang="ko-KR" sz="1200">
                    <a:solidFill>
                      <a:schemeClr val="tx1">
                        <a:lumMod val="75000"/>
                        <a:lumOff val="25000"/>
                      </a:schemeClr>
                    </a:solidFill>
                  </a:rPr>
                  <a:t>Get a modern PowerPoint  Presentation that is beautifully designed. </a:t>
                </a:r>
              </a:p>
            </p:txBody>
          </p:sp>
        </p:grpSp>
        <p:grpSp>
          <p:nvGrpSpPr>
            <p:cNvPr id="33" name="그룹 4">
              <a:extLst>
                <a:ext uri="{FF2B5EF4-FFF2-40B4-BE49-F238E27FC236}">
                  <a16:creationId xmlns:a16="http://schemas.microsoft.com/office/drawing/2014/main" id="{2C2EC380-7BBB-3A40-BF81-E7324C66E379}"/>
                </a:ext>
              </a:extLst>
            </p:cNvPr>
            <p:cNvGrpSpPr/>
            <p:nvPr/>
          </p:nvGrpSpPr>
          <p:grpSpPr>
            <a:xfrm>
              <a:off x="9321523" y="1693646"/>
              <a:ext cx="2520000" cy="1012746"/>
              <a:chOff x="8044923" y="1580192"/>
              <a:chExt cx="2520000" cy="1012746"/>
            </a:xfrm>
          </p:grpSpPr>
          <p:sp>
            <p:nvSpPr>
              <p:cNvPr id="34" name="TextBox 33">
                <a:extLst>
                  <a:ext uri="{FF2B5EF4-FFF2-40B4-BE49-F238E27FC236}">
                    <a16:creationId xmlns:a16="http://schemas.microsoft.com/office/drawing/2014/main" id="{05B7C262-F9B9-0846-8828-6C116CEBA8C5}"/>
                  </a:ext>
                </a:extLst>
              </p:cNvPr>
              <p:cNvSpPr txBox="1"/>
              <p:nvPr/>
            </p:nvSpPr>
            <p:spPr>
              <a:xfrm>
                <a:off x="8044923" y="1580192"/>
                <a:ext cx="2520000" cy="461665"/>
              </a:xfrm>
              <a:prstGeom prst="rect">
                <a:avLst/>
              </a:prstGeom>
              <a:noFill/>
            </p:spPr>
            <p:txBody>
              <a:bodyPr wrap="square" rtlCol="0" anchor="ctr">
                <a:spAutoFit/>
              </a:bodyPr>
              <a:lstStyle/>
              <a:p>
                <a:r>
                  <a:rPr lang="en-US" altLang="ko-KR" sz="2400" b="1">
                    <a:solidFill>
                      <a:schemeClr val="accent3"/>
                    </a:solidFill>
                  </a:rPr>
                  <a:t>Content C</a:t>
                </a:r>
                <a:endParaRPr lang="ko-KR" altLang="en-US" sz="2400" b="1">
                  <a:solidFill>
                    <a:schemeClr val="accent3"/>
                  </a:solidFill>
                </a:endParaRPr>
              </a:p>
            </p:txBody>
          </p:sp>
          <p:sp>
            <p:nvSpPr>
              <p:cNvPr id="35" name="TextBox 34">
                <a:extLst>
                  <a:ext uri="{FF2B5EF4-FFF2-40B4-BE49-F238E27FC236}">
                    <a16:creationId xmlns:a16="http://schemas.microsoft.com/office/drawing/2014/main" id="{A3884301-BAEB-F34A-9938-7E592DCDC094}"/>
                  </a:ext>
                </a:extLst>
              </p:cNvPr>
              <p:cNvSpPr txBox="1"/>
              <p:nvPr/>
            </p:nvSpPr>
            <p:spPr>
              <a:xfrm>
                <a:off x="8044923" y="1946607"/>
                <a:ext cx="2520000" cy="646331"/>
              </a:xfrm>
              <a:prstGeom prst="rect">
                <a:avLst/>
              </a:prstGeom>
              <a:noFill/>
            </p:spPr>
            <p:txBody>
              <a:bodyPr wrap="square" rtlCol="0">
                <a:spAutoFit/>
              </a:bodyPr>
              <a:lstStyle/>
              <a:p>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grpSp>
        <p:grpSp>
          <p:nvGrpSpPr>
            <p:cNvPr id="36" name="그룹 7">
              <a:extLst>
                <a:ext uri="{FF2B5EF4-FFF2-40B4-BE49-F238E27FC236}">
                  <a16:creationId xmlns:a16="http://schemas.microsoft.com/office/drawing/2014/main" id="{1F7466F7-3243-684F-993D-1A2159680465}"/>
                </a:ext>
              </a:extLst>
            </p:cNvPr>
            <p:cNvGrpSpPr/>
            <p:nvPr/>
          </p:nvGrpSpPr>
          <p:grpSpPr>
            <a:xfrm>
              <a:off x="8883624" y="4023138"/>
              <a:ext cx="2520000" cy="1010092"/>
              <a:chOff x="6292159" y="5203377"/>
              <a:chExt cx="2520000" cy="1010092"/>
            </a:xfrm>
          </p:grpSpPr>
          <p:sp>
            <p:nvSpPr>
              <p:cNvPr id="37" name="TextBox 36">
                <a:extLst>
                  <a:ext uri="{FF2B5EF4-FFF2-40B4-BE49-F238E27FC236}">
                    <a16:creationId xmlns:a16="http://schemas.microsoft.com/office/drawing/2014/main" id="{5FD2B839-0A14-2148-86DF-B3F1DC015935}"/>
                  </a:ext>
                </a:extLst>
              </p:cNvPr>
              <p:cNvSpPr txBox="1"/>
              <p:nvPr/>
            </p:nvSpPr>
            <p:spPr>
              <a:xfrm>
                <a:off x="6292159" y="5203377"/>
                <a:ext cx="2520000" cy="461665"/>
              </a:xfrm>
              <a:prstGeom prst="rect">
                <a:avLst/>
              </a:prstGeom>
              <a:noFill/>
            </p:spPr>
            <p:txBody>
              <a:bodyPr wrap="square" rtlCol="0" anchor="ctr">
                <a:spAutoFit/>
              </a:bodyPr>
              <a:lstStyle/>
              <a:p>
                <a:r>
                  <a:rPr lang="en-US" altLang="ko-KR" sz="2400" b="1">
                    <a:solidFill>
                      <a:schemeClr val="accent4">
                        <a:lumMod val="90000"/>
                      </a:schemeClr>
                    </a:solidFill>
                  </a:rPr>
                  <a:t>Content D</a:t>
                </a:r>
                <a:endParaRPr lang="ko-KR" altLang="en-US" sz="2400" b="1">
                  <a:solidFill>
                    <a:schemeClr val="accent4">
                      <a:lumMod val="90000"/>
                    </a:schemeClr>
                  </a:solidFill>
                </a:endParaRPr>
              </a:p>
            </p:txBody>
          </p:sp>
          <p:sp>
            <p:nvSpPr>
              <p:cNvPr id="38" name="TextBox 37">
                <a:extLst>
                  <a:ext uri="{FF2B5EF4-FFF2-40B4-BE49-F238E27FC236}">
                    <a16:creationId xmlns:a16="http://schemas.microsoft.com/office/drawing/2014/main" id="{2F0A93DB-01A5-FC45-B022-DA9B71B4DD97}"/>
                  </a:ext>
                </a:extLst>
              </p:cNvPr>
              <p:cNvSpPr txBox="1"/>
              <p:nvPr/>
            </p:nvSpPr>
            <p:spPr>
              <a:xfrm>
                <a:off x="6292159" y="5567138"/>
                <a:ext cx="2520000" cy="646331"/>
              </a:xfrm>
              <a:prstGeom prst="rect">
                <a:avLst/>
              </a:prstGeom>
              <a:noFill/>
            </p:spPr>
            <p:txBody>
              <a:bodyPr wrap="square" rtlCol="0">
                <a:spAutoFit/>
              </a:bodyPr>
              <a:lstStyle/>
              <a:p>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grpSp>
        <p:cxnSp>
          <p:nvCxnSpPr>
            <p:cNvPr id="39" name="Elbow Connector 29">
              <a:extLst>
                <a:ext uri="{FF2B5EF4-FFF2-40B4-BE49-F238E27FC236}">
                  <a16:creationId xmlns:a16="http://schemas.microsoft.com/office/drawing/2014/main" id="{3F542BEE-3888-CB43-9AA2-5172A6171364}"/>
                </a:ext>
              </a:extLst>
            </p:cNvPr>
            <p:cNvCxnSpPr>
              <a:cxnSpLocks/>
              <a:stCxn id="16" idx="2"/>
            </p:cNvCxnSpPr>
            <p:nvPr/>
          </p:nvCxnSpPr>
          <p:spPr>
            <a:xfrm rot="10800000">
              <a:off x="2487454" y="1988728"/>
              <a:ext cx="2570036" cy="592814"/>
            </a:xfrm>
            <a:prstGeom prst="bentConnector3">
              <a:avLst>
                <a:gd name="adj1" fmla="val 70184"/>
              </a:avLst>
            </a:prstGeom>
            <a:ln w="19050">
              <a:solidFill>
                <a:schemeClr val="accent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Elbow Connector 29">
              <a:extLst>
                <a:ext uri="{FF2B5EF4-FFF2-40B4-BE49-F238E27FC236}">
                  <a16:creationId xmlns:a16="http://schemas.microsoft.com/office/drawing/2014/main" id="{040BDA5E-5B11-6743-BFC9-D59B6630AF68}"/>
                </a:ext>
              </a:extLst>
            </p:cNvPr>
            <p:cNvCxnSpPr>
              <a:cxnSpLocks/>
              <a:stCxn id="37" idx="1"/>
              <a:endCxn id="19" idx="0"/>
            </p:cNvCxnSpPr>
            <p:nvPr/>
          </p:nvCxnSpPr>
          <p:spPr>
            <a:xfrm rot="10800000" flipV="1">
              <a:off x="8408372" y="4253971"/>
              <a:ext cx="475252" cy="909100"/>
            </a:xfrm>
            <a:prstGeom prst="bentConnector2">
              <a:avLst/>
            </a:prstGeom>
            <a:ln w="19050">
              <a:solidFill>
                <a:schemeClr val="accent4">
                  <a:lumMod val="9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Elbow Connector 29">
              <a:extLst>
                <a:ext uri="{FF2B5EF4-FFF2-40B4-BE49-F238E27FC236}">
                  <a16:creationId xmlns:a16="http://schemas.microsoft.com/office/drawing/2014/main" id="{9CEA5BB4-DC39-6747-95F9-936423016639}"/>
                </a:ext>
              </a:extLst>
            </p:cNvPr>
            <p:cNvCxnSpPr>
              <a:cxnSpLocks/>
              <a:stCxn id="34" idx="1"/>
              <a:endCxn id="25" idx="0"/>
            </p:cNvCxnSpPr>
            <p:nvPr/>
          </p:nvCxnSpPr>
          <p:spPr>
            <a:xfrm rot="10800000" flipV="1">
              <a:off x="8046035" y="1924478"/>
              <a:ext cx="1275488" cy="2029325"/>
            </a:xfrm>
            <a:prstGeom prst="bentConnector2">
              <a:avLst/>
            </a:prstGeom>
            <a:ln w="19050">
              <a:solidFill>
                <a:schemeClr val="accent3"/>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441863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002842-A277-5948-B5F4-6961D9E03425}"/>
              </a:ext>
            </a:extLst>
          </p:cNvPr>
          <p:cNvGraphicFramePr>
            <a:graphicFrameLocks noChangeAspect="1"/>
          </p:cNvGraphicFramePr>
          <p:nvPr>
            <p:custDataLst>
              <p:tags r:id="rId1"/>
            </p:custDataLst>
            <p:extLst>
              <p:ext uri="{D42A27DB-BD31-4B8C-83A1-F6EECF244321}">
                <p14:modId xmlns:p14="http://schemas.microsoft.com/office/powerpoint/2010/main" val="717113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EC002842-A277-5948-B5F4-6961D9E0342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graphicFrame>
        <p:nvGraphicFramePr>
          <p:cNvPr id="18" name="Table 6">
            <a:extLst>
              <a:ext uri="{FF2B5EF4-FFF2-40B4-BE49-F238E27FC236}">
                <a16:creationId xmlns:a16="http://schemas.microsoft.com/office/drawing/2014/main" id="{AAC40444-080D-8646-8D1D-DB3BA66FCE93}"/>
              </a:ext>
            </a:extLst>
          </p:cNvPr>
          <p:cNvGraphicFramePr>
            <a:graphicFrameLocks noGrp="1"/>
          </p:cNvGraphicFramePr>
          <p:nvPr>
            <p:extLst>
              <p:ext uri="{D42A27DB-BD31-4B8C-83A1-F6EECF244321}">
                <p14:modId xmlns:p14="http://schemas.microsoft.com/office/powerpoint/2010/main" val="31291641"/>
              </p:ext>
            </p:extLst>
          </p:nvPr>
        </p:nvGraphicFramePr>
        <p:xfrm>
          <a:off x="371475" y="1872015"/>
          <a:ext cx="2124000" cy="3857670"/>
        </p:xfrm>
        <a:graphic>
          <a:graphicData uri="http://schemas.openxmlformats.org/drawingml/2006/table">
            <a:tbl>
              <a:tblPr firstRow="1" bandRow="1">
                <a:tableStyleId>{5940675A-B579-460E-94D1-54222C63F5DA}</a:tableStyleId>
              </a:tblPr>
              <a:tblGrid>
                <a:gridCol w="239318">
                  <a:extLst>
                    <a:ext uri="{9D8B030D-6E8A-4147-A177-3AD203B41FA5}">
                      <a16:colId xmlns:a16="http://schemas.microsoft.com/office/drawing/2014/main" val="20000"/>
                    </a:ext>
                  </a:extLst>
                </a:gridCol>
                <a:gridCol w="1645364">
                  <a:extLst>
                    <a:ext uri="{9D8B030D-6E8A-4147-A177-3AD203B41FA5}">
                      <a16:colId xmlns:a16="http://schemas.microsoft.com/office/drawing/2014/main" val="20001"/>
                    </a:ext>
                  </a:extLst>
                </a:gridCol>
                <a:gridCol w="239318">
                  <a:extLst>
                    <a:ext uri="{9D8B030D-6E8A-4147-A177-3AD203B41FA5}">
                      <a16:colId xmlns:a16="http://schemas.microsoft.com/office/drawing/2014/main" val="20002"/>
                    </a:ext>
                  </a:extLst>
                </a:gridCol>
              </a:tblGrid>
              <a:tr h="358853">
                <a:tc gridSpan="3">
                  <a:txBody>
                    <a:bodyPr/>
                    <a:lstStyle/>
                    <a:p>
                      <a:pPr algn="ctr"/>
                      <a:r>
                        <a:rPr lang="en-US" altLang="ko-KR" sz="1400" b="1">
                          <a:solidFill>
                            <a:schemeClr val="tx1">
                              <a:lumMod val="75000"/>
                              <a:lumOff val="25000"/>
                            </a:schemeClr>
                          </a:solidFill>
                          <a:latin typeface="+mn-lt"/>
                          <a:cs typeface="Arial" pitchFamily="34" charset="0"/>
                        </a:rPr>
                        <a:t>Option 1</a:t>
                      </a:r>
                      <a:endParaRPr lang="ko-KR" altLang="en-US" sz="1400" b="1">
                        <a:solidFill>
                          <a:schemeClr val="tx1">
                            <a:lumMod val="75000"/>
                            <a:lumOff val="25000"/>
                          </a:schemeClr>
                        </a:solidFill>
                        <a:latin typeface="+mn-lt"/>
                        <a:cs typeface="Arial" pitchFamily="34" charset="0"/>
                      </a:endParaRP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0"/>
                  </a:ext>
                </a:extLst>
              </a:tr>
              <a:tr h="986846">
                <a:tc gridSpan="3">
                  <a:txBody>
                    <a:bodyPr/>
                    <a:lstStyle/>
                    <a:p>
                      <a:pPr algn="ctr" latinLnBrk="1"/>
                      <a:r>
                        <a:rPr lang="en-US" altLang="ko-KR" sz="4000" b="1">
                          <a:solidFill>
                            <a:schemeClr val="tx1">
                              <a:lumMod val="75000"/>
                              <a:lumOff val="25000"/>
                            </a:schemeClr>
                          </a:solidFill>
                          <a:latin typeface="+mn-lt"/>
                          <a:cs typeface="Arial" pitchFamily="34" charset="0"/>
                        </a:rPr>
                        <a:t>Logo</a:t>
                      </a: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1"/>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905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58853">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Your Text  Here</a:t>
                      </a:r>
                      <a:endParaRPr lang="ko-KR" altLang="en-US" sz="1200" b="1">
                        <a:solidFill>
                          <a:schemeClr val="tx1">
                            <a:lumMod val="75000"/>
                            <a:lumOff val="25000"/>
                          </a:schemeClr>
                        </a:solidFill>
                        <a:latin typeface="+mn-lt"/>
                        <a:cs typeface="Arial" pitchFamily="34" charset="0"/>
                      </a:endParaRP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8"/>
                  </a:ext>
                </a:extLst>
              </a:tr>
            </a:tbl>
          </a:graphicData>
        </a:graphic>
      </p:graphicFrame>
      <p:sp>
        <p:nvSpPr>
          <p:cNvPr id="2" name="Slide Number Placeholder 1">
            <a:extLst>
              <a:ext uri="{FF2B5EF4-FFF2-40B4-BE49-F238E27FC236}">
                <a16:creationId xmlns:a16="http://schemas.microsoft.com/office/drawing/2014/main" id="{DEF6529A-6997-B946-9A53-369E4A1563D1}"/>
              </a:ext>
            </a:extLst>
          </p:cNvPr>
          <p:cNvSpPr>
            <a:spLocks noGrp="1"/>
          </p:cNvSpPr>
          <p:nvPr>
            <p:ph type="sldNum" sz="quarter" idx="4"/>
          </p:nvPr>
        </p:nvSpPr>
        <p:spPr/>
        <p:txBody>
          <a:bodyPr/>
          <a:lstStyle/>
          <a:p>
            <a:fld id="{3D966009-6E5A-4F8C-8CA7-E37AFBF5FB92}" type="slidenum">
              <a:rPr lang="en-US" smtClean="0"/>
              <a:t>108</a:t>
            </a:fld>
            <a:endParaRPr lang="en-US"/>
          </a:p>
        </p:txBody>
      </p:sp>
      <p:sp>
        <p:nvSpPr>
          <p:cNvPr id="3" name="Title 2">
            <a:extLst>
              <a:ext uri="{FF2B5EF4-FFF2-40B4-BE49-F238E27FC236}">
                <a16:creationId xmlns:a16="http://schemas.microsoft.com/office/drawing/2014/main" id="{770514ED-3031-E749-B3D1-2F6E56B07E2E}"/>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234CFA2E-20A6-3947-9FD7-ECA8DBF88861}"/>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4FA46D4F-B3D0-624B-9C8F-9BE72CA0D203}"/>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7C86B432-AFF2-E645-A010-7B99C861DA06}"/>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CC2AEDCF-AF9A-B54E-8753-96F0EFC57AC7}"/>
              </a:ext>
            </a:extLst>
          </p:cNvPr>
          <p:cNvSpPr>
            <a:spLocks noGrp="1"/>
          </p:cNvSpPr>
          <p:nvPr>
            <p:ph sz="quarter" idx="14"/>
          </p:nvPr>
        </p:nvSpPr>
        <p:spPr/>
        <p:txBody>
          <a:bodyPr/>
          <a:lstStyle/>
          <a:p>
            <a:endParaRPr lang="de-DE"/>
          </a:p>
        </p:txBody>
      </p:sp>
      <p:graphicFrame>
        <p:nvGraphicFramePr>
          <p:cNvPr id="15" name="Table 6">
            <a:extLst>
              <a:ext uri="{FF2B5EF4-FFF2-40B4-BE49-F238E27FC236}">
                <a16:creationId xmlns:a16="http://schemas.microsoft.com/office/drawing/2014/main" id="{E3D93F35-D401-C440-A6E1-988F4CF646BD}"/>
              </a:ext>
            </a:extLst>
          </p:cNvPr>
          <p:cNvGraphicFramePr>
            <a:graphicFrameLocks noGrp="1"/>
          </p:cNvGraphicFramePr>
          <p:nvPr>
            <p:extLst>
              <p:ext uri="{D42A27DB-BD31-4B8C-83A1-F6EECF244321}">
                <p14:modId xmlns:p14="http://schemas.microsoft.com/office/powerpoint/2010/main" val="1749839842"/>
              </p:ext>
            </p:extLst>
          </p:nvPr>
        </p:nvGraphicFramePr>
        <p:xfrm>
          <a:off x="4649979" y="1876520"/>
          <a:ext cx="2124000" cy="3857670"/>
        </p:xfrm>
        <a:graphic>
          <a:graphicData uri="http://schemas.openxmlformats.org/drawingml/2006/table">
            <a:tbl>
              <a:tblPr firstRow="1" bandRow="1">
                <a:tableStyleId>{5940675A-B579-460E-94D1-54222C63F5DA}</a:tableStyleId>
              </a:tblPr>
              <a:tblGrid>
                <a:gridCol w="239318">
                  <a:extLst>
                    <a:ext uri="{9D8B030D-6E8A-4147-A177-3AD203B41FA5}">
                      <a16:colId xmlns:a16="http://schemas.microsoft.com/office/drawing/2014/main" val="20000"/>
                    </a:ext>
                  </a:extLst>
                </a:gridCol>
                <a:gridCol w="1645364">
                  <a:extLst>
                    <a:ext uri="{9D8B030D-6E8A-4147-A177-3AD203B41FA5}">
                      <a16:colId xmlns:a16="http://schemas.microsoft.com/office/drawing/2014/main" val="20001"/>
                    </a:ext>
                  </a:extLst>
                </a:gridCol>
                <a:gridCol w="239318">
                  <a:extLst>
                    <a:ext uri="{9D8B030D-6E8A-4147-A177-3AD203B41FA5}">
                      <a16:colId xmlns:a16="http://schemas.microsoft.com/office/drawing/2014/main" val="20002"/>
                    </a:ext>
                  </a:extLst>
                </a:gridCol>
              </a:tblGrid>
              <a:tr h="358853">
                <a:tc gridSpan="3">
                  <a:txBody>
                    <a:bodyPr/>
                    <a:lstStyle/>
                    <a:p>
                      <a:pPr algn="ctr"/>
                      <a:r>
                        <a:rPr lang="en-US" altLang="ko-KR" sz="1400" b="1">
                          <a:solidFill>
                            <a:schemeClr val="tx1">
                              <a:lumMod val="75000"/>
                              <a:lumOff val="25000"/>
                            </a:schemeClr>
                          </a:solidFill>
                          <a:latin typeface="+mn-lt"/>
                          <a:cs typeface="Arial" pitchFamily="34" charset="0"/>
                        </a:rPr>
                        <a:t>Option 3</a:t>
                      </a:r>
                      <a:endParaRPr lang="ko-KR" altLang="en-US" sz="1400" b="1">
                        <a:solidFill>
                          <a:schemeClr val="tx1">
                            <a:lumMod val="75000"/>
                            <a:lumOff val="25000"/>
                          </a:schemeClr>
                        </a:solidFill>
                        <a:latin typeface="+mn-lt"/>
                        <a:cs typeface="Arial" pitchFamily="34" charset="0"/>
                      </a:endParaRP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0"/>
                  </a:ext>
                </a:extLst>
              </a:tr>
              <a:tr h="986846">
                <a:tc gridSpan="3">
                  <a:txBody>
                    <a:bodyPr/>
                    <a:lstStyle/>
                    <a:p>
                      <a:pPr algn="ctr" latinLnBrk="1"/>
                      <a:r>
                        <a:rPr lang="en-US" altLang="ko-KR" sz="4000" b="1">
                          <a:solidFill>
                            <a:schemeClr val="tx1">
                              <a:lumMod val="75000"/>
                              <a:lumOff val="25000"/>
                            </a:schemeClr>
                          </a:solidFill>
                          <a:latin typeface="+mn-lt"/>
                          <a:cs typeface="Arial" pitchFamily="34" charset="0"/>
                        </a:rPr>
                        <a:t>Logo</a:t>
                      </a: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1"/>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905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58853">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Content Here</a:t>
                      </a:r>
                    </a:p>
                  </a:txBody>
                  <a:tcPr marL="75112" marR="75112" marT="37556" marB="37556" anchor="ctr">
                    <a:lnL w="12700" cmpd="sng">
                      <a:noFill/>
                    </a:lnL>
                    <a:lnR w="12700" cmpd="sng">
                      <a:noFill/>
                    </a:lnR>
                    <a:lnT w="1270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400">
                        <a:solidFill>
                          <a:schemeClr val="tx1">
                            <a:lumMod val="75000"/>
                            <a:lumOff val="25000"/>
                          </a:schemeClr>
                        </a:solidFill>
                        <a:latin typeface="+mn-lt"/>
                        <a:cs typeface="Arial" pitchFamily="34" charset="0"/>
                      </a:endParaRPr>
                    </a:p>
                  </a:txBody>
                  <a:tcPr marL="75112" marR="75112" marT="37556" marB="37556">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58853">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tx1">
                              <a:lumMod val="75000"/>
                              <a:lumOff val="25000"/>
                            </a:schemeClr>
                          </a:solidFill>
                          <a:latin typeface="+mn-lt"/>
                          <a:cs typeface="Arial" pitchFamily="34" charset="0"/>
                        </a:rPr>
                        <a:t>Your Text  Here</a:t>
                      </a:r>
                      <a:endParaRPr lang="ko-KR" altLang="en-US" sz="1200" b="1">
                        <a:solidFill>
                          <a:schemeClr val="tx1">
                            <a:lumMod val="75000"/>
                            <a:lumOff val="25000"/>
                          </a:schemeClr>
                        </a:solidFill>
                        <a:latin typeface="+mn-lt"/>
                        <a:cs typeface="Arial" pitchFamily="34" charset="0"/>
                      </a:endParaRPr>
                    </a:p>
                  </a:txBody>
                  <a:tcPr marL="75112" marR="75112" marT="37556" marB="37556"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8"/>
                  </a:ext>
                </a:extLst>
              </a:tr>
            </a:tbl>
          </a:graphicData>
        </a:graphic>
      </p:graphicFrame>
      <p:graphicFrame>
        <p:nvGraphicFramePr>
          <p:cNvPr id="17" name="Table 16">
            <a:extLst>
              <a:ext uri="{FF2B5EF4-FFF2-40B4-BE49-F238E27FC236}">
                <a16:creationId xmlns:a16="http://schemas.microsoft.com/office/drawing/2014/main" id="{5C166CB6-AD1E-0246-B11A-191AE89A3D87}"/>
              </a:ext>
            </a:extLst>
          </p:cNvPr>
          <p:cNvGraphicFramePr>
            <a:graphicFrameLocks noGrp="1"/>
          </p:cNvGraphicFramePr>
          <p:nvPr>
            <p:extLst>
              <p:ext uri="{D42A27DB-BD31-4B8C-83A1-F6EECF244321}">
                <p14:modId xmlns:p14="http://schemas.microsoft.com/office/powerpoint/2010/main" val="1731022940"/>
              </p:ext>
            </p:extLst>
          </p:nvPr>
        </p:nvGraphicFramePr>
        <p:xfrm>
          <a:off x="2294727" y="1694238"/>
          <a:ext cx="2556000" cy="4213224"/>
        </p:xfrm>
        <a:graphic>
          <a:graphicData uri="http://schemas.openxmlformats.org/drawingml/2006/table">
            <a:tbl>
              <a:tblPr firstRow="1" bandRow="1">
                <a:tableStyleId>{5940675A-B579-460E-94D1-54222C63F5DA}</a:tableStyleId>
              </a:tblPr>
              <a:tblGrid>
                <a:gridCol w="287991">
                  <a:extLst>
                    <a:ext uri="{9D8B030D-6E8A-4147-A177-3AD203B41FA5}">
                      <a16:colId xmlns:a16="http://schemas.microsoft.com/office/drawing/2014/main" val="20000"/>
                    </a:ext>
                  </a:extLst>
                </a:gridCol>
                <a:gridCol w="1980018">
                  <a:extLst>
                    <a:ext uri="{9D8B030D-6E8A-4147-A177-3AD203B41FA5}">
                      <a16:colId xmlns:a16="http://schemas.microsoft.com/office/drawing/2014/main" val="20001"/>
                    </a:ext>
                  </a:extLst>
                </a:gridCol>
                <a:gridCol w="287991">
                  <a:extLst>
                    <a:ext uri="{9D8B030D-6E8A-4147-A177-3AD203B41FA5}">
                      <a16:colId xmlns:a16="http://schemas.microsoft.com/office/drawing/2014/main" val="20002"/>
                    </a:ext>
                  </a:extLst>
                </a:gridCol>
              </a:tblGrid>
              <a:tr h="391928">
                <a:tc gridSpan="3">
                  <a:txBody>
                    <a:bodyPr/>
                    <a:lstStyle/>
                    <a:p>
                      <a:pPr algn="ctr"/>
                      <a:r>
                        <a:rPr lang="en-US" altLang="ko-KR" sz="1600" b="1">
                          <a:solidFill>
                            <a:schemeClr val="bg1"/>
                          </a:solidFill>
                          <a:latin typeface="+mn-lt"/>
                          <a:cs typeface="Arial" pitchFamily="34" charset="0"/>
                        </a:rPr>
                        <a:t>Option 2</a:t>
                      </a:r>
                      <a:endParaRPr lang="ko-KR" altLang="en-US" sz="1600" b="1">
                        <a:solidFill>
                          <a:schemeClr val="bg1"/>
                        </a:solidFill>
                        <a:latin typeface="+mn-lt"/>
                        <a:cs typeface="Arial" pitchFamily="34" charset="0"/>
                      </a:endParaRPr>
                    </a:p>
                  </a:txBody>
                  <a:tcPr marL="83779" marR="83779" marT="41889" marB="418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0"/>
                  </a:ext>
                </a:extLst>
              </a:tr>
              <a:tr h="1077800">
                <a:tc gridSpan="3">
                  <a:txBody>
                    <a:bodyPr/>
                    <a:lstStyle/>
                    <a:p>
                      <a:pPr algn="ctr" latinLnBrk="1"/>
                      <a:r>
                        <a:rPr lang="en-US" altLang="ko-KR" sz="4500" b="1">
                          <a:solidFill>
                            <a:schemeClr val="bg1"/>
                          </a:solidFill>
                          <a:latin typeface="+mn-lt"/>
                          <a:cs typeface="Arial" pitchFamily="34" charset="0"/>
                        </a:rPr>
                        <a:t>$50</a:t>
                      </a:r>
                    </a:p>
                  </a:txBody>
                  <a:tcPr marL="83779" marR="83779" marT="41889" marB="418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1"/>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2"/>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3"/>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4"/>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5"/>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6"/>
                  </a:ext>
                </a:extLst>
              </a:tr>
              <a:tr h="391928">
                <a:tc>
                  <a:txBody>
                    <a:bodyPr/>
                    <a:lstStyle/>
                    <a:p>
                      <a:pPr latinLnBrk="1"/>
                      <a:endParaRPr lang="ko-KR" altLang="en-US" sz="1600">
                        <a:solidFill>
                          <a:schemeClr val="bg1"/>
                        </a:solidFill>
                        <a:latin typeface="+mn-lt"/>
                        <a:cs typeface="Arial" pitchFamily="34" charset="0"/>
                      </a:endParaRPr>
                    </a:p>
                  </a:txBody>
                  <a:tcPr marL="83779" marR="83779" marT="41889" marB="41889">
                    <a:lnL w="19050" cap="flat" cmpd="sng" algn="ctr">
                      <a:solidFill>
                        <a:schemeClr val="bg1"/>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Content Here</a:t>
                      </a:r>
                    </a:p>
                  </a:txBody>
                  <a:tcPr marL="83779" marR="83779" marT="41889" marB="41889" anchor="ctr">
                    <a:lnL w="12700" cmpd="sng">
                      <a:noFill/>
                    </a:lnL>
                    <a:lnR w="12700" cmpd="sng">
                      <a:noFill/>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p>
                      <a:pPr latinLnBrk="1"/>
                      <a:endParaRPr lang="ko-KR" altLang="en-US" sz="1600">
                        <a:solidFill>
                          <a:schemeClr val="bg1"/>
                        </a:solidFill>
                        <a:latin typeface="+mn-lt"/>
                        <a:cs typeface="Arial" pitchFamily="34" charset="0"/>
                      </a:endParaRPr>
                    </a:p>
                  </a:txBody>
                  <a:tcPr marL="83779" marR="83779" marT="41889" marB="41889">
                    <a:lnL w="12700" cmpd="sng">
                      <a:noFill/>
                    </a:lnL>
                    <a:lnR w="19050" cap="flat" cmpd="sng" algn="ctr">
                      <a:solidFill>
                        <a:schemeClr val="bg1"/>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7"/>
                  </a:ext>
                </a:extLst>
              </a:tr>
              <a:tr h="391928">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300" b="1">
                          <a:solidFill>
                            <a:schemeClr val="bg1"/>
                          </a:solidFill>
                          <a:latin typeface="+mn-lt"/>
                          <a:cs typeface="Arial" pitchFamily="34" charset="0"/>
                        </a:rPr>
                        <a:t>Your Text  Here</a:t>
                      </a:r>
                      <a:endParaRPr lang="ko-KR" altLang="en-US" sz="1300" b="1">
                        <a:solidFill>
                          <a:schemeClr val="bg1"/>
                        </a:solidFill>
                        <a:latin typeface="+mn-lt"/>
                        <a:cs typeface="Arial" pitchFamily="34" charset="0"/>
                      </a:endParaRPr>
                    </a:p>
                  </a:txBody>
                  <a:tcPr marL="83779" marR="83779" marT="41889" marB="41889"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981764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0F2058-4A0B-FD43-B235-CAC862F272B7}"/>
              </a:ext>
            </a:extLst>
          </p:cNvPr>
          <p:cNvGraphicFramePr>
            <a:graphicFrameLocks noChangeAspect="1"/>
          </p:cNvGraphicFramePr>
          <p:nvPr>
            <p:custDataLst>
              <p:tags r:id="rId1"/>
            </p:custDataLst>
            <p:extLst>
              <p:ext uri="{D42A27DB-BD31-4B8C-83A1-F6EECF244321}">
                <p14:modId xmlns:p14="http://schemas.microsoft.com/office/powerpoint/2010/main" val="2929244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70F2058-4A0B-FD43-B235-CAC862F272B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5444337-D296-5A49-8DCA-D1F92BE6431B}"/>
              </a:ext>
            </a:extLst>
          </p:cNvPr>
          <p:cNvSpPr>
            <a:spLocks noGrp="1"/>
          </p:cNvSpPr>
          <p:nvPr>
            <p:ph type="sldNum" sz="quarter" idx="4"/>
          </p:nvPr>
        </p:nvSpPr>
        <p:spPr/>
        <p:txBody>
          <a:bodyPr/>
          <a:lstStyle/>
          <a:p>
            <a:fld id="{3D966009-6E5A-4F8C-8CA7-E37AFBF5FB92}" type="slidenum">
              <a:rPr lang="en-US" smtClean="0"/>
              <a:t>109</a:t>
            </a:fld>
            <a:endParaRPr lang="en-US"/>
          </a:p>
        </p:txBody>
      </p:sp>
      <p:sp>
        <p:nvSpPr>
          <p:cNvPr id="3" name="Title 2">
            <a:extLst>
              <a:ext uri="{FF2B5EF4-FFF2-40B4-BE49-F238E27FC236}">
                <a16:creationId xmlns:a16="http://schemas.microsoft.com/office/drawing/2014/main" id="{48439FDC-49AC-1B4D-84E1-6EAFF3FADC6F}"/>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51A427CE-C9C3-E042-98AE-5270F66D50C4}"/>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ED6CEFFC-8846-BE48-B3EA-8D54C5AC52F6}"/>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4BAF4808-9DDB-A842-AA7E-8CD52A3E72BF}"/>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093C8443-6CDD-B145-8963-EAA41DE6C17E}"/>
              </a:ext>
            </a:extLst>
          </p:cNvPr>
          <p:cNvSpPr>
            <a:spLocks noGrp="1"/>
          </p:cNvSpPr>
          <p:nvPr>
            <p:ph sz="quarter" idx="14"/>
          </p:nvPr>
        </p:nvSpPr>
        <p:spPr/>
        <p:txBody>
          <a:bodyPr/>
          <a:lstStyle/>
          <a:p>
            <a:endParaRPr lang="de-DE"/>
          </a:p>
        </p:txBody>
      </p:sp>
      <p:graphicFrame>
        <p:nvGraphicFramePr>
          <p:cNvPr id="11" name="Table 10">
            <a:extLst>
              <a:ext uri="{FF2B5EF4-FFF2-40B4-BE49-F238E27FC236}">
                <a16:creationId xmlns:a16="http://schemas.microsoft.com/office/drawing/2014/main" id="{0081201A-1047-B440-8911-3DFF4DC5B179}"/>
              </a:ext>
            </a:extLst>
          </p:cNvPr>
          <p:cNvGraphicFramePr>
            <a:graphicFrameLocks noGrp="1"/>
          </p:cNvGraphicFramePr>
          <p:nvPr>
            <p:extLst>
              <p:ext uri="{D42A27DB-BD31-4B8C-83A1-F6EECF244321}">
                <p14:modId xmlns:p14="http://schemas.microsoft.com/office/powerpoint/2010/main" val="3450375441"/>
              </p:ext>
            </p:extLst>
          </p:nvPr>
        </p:nvGraphicFramePr>
        <p:xfrm>
          <a:off x="4211627" y="1701010"/>
          <a:ext cx="1829300" cy="421242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4"/>
                      </a:solidFill>
                      <a:prstDash val="solid"/>
                      <a:round/>
                      <a:headEnd type="none" w="med" len="med"/>
                      <a:tailEnd type="none" w="med" len="med"/>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DEE0E3"/>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graphicFrame>
        <p:nvGraphicFramePr>
          <p:cNvPr id="12" name="Table 11">
            <a:extLst>
              <a:ext uri="{FF2B5EF4-FFF2-40B4-BE49-F238E27FC236}">
                <a16:creationId xmlns:a16="http://schemas.microsoft.com/office/drawing/2014/main" id="{2232CD6B-09C6-F943-9B24-F6E3B1743B12}"/>
              </a:ext>
            </a:extLst>
          </p:cNvPr>
          <p:cNvGraphicFramePr>
            <a:graphicFrameLocks noGrp="1"/>
          </p:cNvGraphicFramePr>
          <p:nvPr>
            <p:extLst>
              <p:ext uri="{D42A27DB-BD31-4B8C-83A1-F6EECF244321}">
                <p14:modId xmlns:p14="http://schemas.microsoft.com/office/powerpoint/2010/main" val="397347212"/>
              </p:ext>
            </p:extLst>
          </p:nvPr>
        </p:nvGraphicFramePr>
        <p:xfrm>
          <a:off x="6131703" y="1700213"/>
          <a:ext cx="1829300" cy="422530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3"/>
                      </a:solidFill>
                      <a:prstDash val="solid"/>
                      <a:round/>
                      <a:headEnd type="none" w="med" len="med"/>
                      <a:tailEnd type="none" w="med" len="med"/>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8512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DEE0E3"/>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graphicFrame>
        <p:nvGraphicFramePr>
          <p:cNvPr id="13" name="Table 12">
            <a:extLst>
              <a:ext uri="{FF2B5EF4-FFF2-40B4-BE49-F238E27FC236}">
                <a16:creationId xmlns:a16="http://schemas.microsoft.com/office/drawing/2014/main" id="{C1019285-C096-7E47-80EC-A2057F714240}"/>
              </a:ext>
            </a:extLst>
          </p:cNvPr>
          <p:cNvGraphicFramePr>
            <a:graphicFrameLocks noGrp="1"/>
          </p:cNvGraphicFramePr>
          <p:nvPr>
            <p:extLst>
              <p:ext uri="{D42A27DB-BD31-4B8C-83A1-F6EECF244321}">
                <p14:modId xmlns:p14="http://schemas.microsoft.com/office/powerpoint/2010/main" val="2432130754"/>
              </p:ext>
            </p:extLst>
          </p:nvPr>
        </p:nvGraphicFramePr>
        <p:xfrm>
          <a:off x="8051779" y="1700213"/>
          <a:ext cx="1829300" cy="422530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3"/>
                      </a:solidFill>
                      <a:prstDash val="solid"/>
                      <a:round/>
                      <a:headEnd type="none" w="med" len="med"/>
                      <a:tailEnd type="none" w="med" len="med"/>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8512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8D8EA7"/>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graphicFrame>
        <p:nvGraphicFramePr>
          <p:cNvPr id="14" name="Table 13">
            <a:extLst>
              <a:ext uri="{FF2B5EF4-FFF2-40B4-BE49-F238E27FC236}">
                <a16:creationId xmlns:a16="http://schemas.microsoft.com/office/drawing/2014/main" id="{9F11D7AF-C9A6-BE4A-88DD-6B5F3CD5F45F}"/>
              </a:ext>
            </a:extLst>
          </p:cNvPr>
          <p:cNvGraphicFramePr>
            <a:graphicFrameLocks noGrp="1"/>
          </p:cNvGraphicFramePr>
          <p:nvPr>
            <p:extLst>
              <p:ext uri="{D42A27DB-BD31-4B8C-83A1-F6EECF244321}">
                <p14:modId xmlns:p14="http://schemas.microsoft.com/office/powerpoint/2010/main" val="749975506"/>
              </p:ext>
            </p:extLst>
          </p:nvPr>
        </p:nvGraphicFramePr>
        <p:xfrm>
          <a:off x="9971857" y="1700213"/>
          <a:ext cx="1829300" cy="422530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3"/>
                      </a:solidFill>
                      <a:prstDash val="solid"/>
                      <a:round/>
                      <a:headEnd type="none" w="med" len="med"/>
                      <a:tailEnd type="none" w="med" len="med"/>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8512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3"/>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3"/>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C9CAE1"/>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3"/>
                      </a:solidFill>
                      <a:prstDash val="solid"/>
                      <a:round/>
                      <a:headEnd type="none" w="med" len="med"/>
                      <a:tailEnd type="none" w="med" len="med"/>
                    </a:lnL>
                    <a:lnR w="28575" cap="flat" cmpd="sng" algn="ctr">
                      <a:solidFill>
                        <a:schemeClr val="accent3"/>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graphicFrame>
        <p:nvGraphicFramePr>
          <p:cNvPr id="15" name="Table 14">
            <a:extLst>
              <a:ext uri="{FF2B5EF4-FFF2-40B4-BE49-F238E27FC236}">
                <a16:creationId xmlns:a16="http://schemas.microsoft.com/office/drawing/2014/main" id="{853E0178-05D1-8D41-89CB-8123E3A5D331}"/>
              </a:ext>
            </a:extLst>
          </p:cNvPr>
          <p:cNvGraphicFramePr>
            <a:graphicFrameLocks noGrp="1"/>
          </p:cNvGraphicFramePr>
          <p:nvPr>
            <p:extLst>
              <p:ext uri="{D42A27DB-BD31-4B8C-83A1-F6EECF244321}">
                <p14:modId xmlns:p14="http://schemas.microsoft.com/office/powerpoint/2010/main" val="3212719276"/>
              </p:ext>
            </p:extLst>
          </p:nvPr>
        </p:nvGraphicFramePr>
        <p:xfrm>
          <a:off x="387773" y="1701010"/>
          <a:ext cx="1829300" cy="421242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4"/>
                      </a:solidFill>
                      <a:prstDash val="solid"/>
                      <a:round/>
                      <a:headEnd type="none" w="med" len="med"/>
                      <a:tailEnd type="none" w="med" len="med"/>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DEE0E3"/>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graphicFrame>
        <p:nvGraphicFramePr>
          <p:cNvPr id="16" name="Table 15">
            <a:extLst>
              <a:ext uri="{FF2B5EF4-FFF2-40B4-BE49-F238E27FC236}">
                <a16:creationId xmlns:a16="http://schemas.microsoft.com/office/drawing/2014/main" id="{E0448148-3825-834D-A8F4-FC142B156CB7}"/>
              </a:ext>
            </a:extLst>
          </p:cNvPr>
          <p:cNvGraphicFramePr>
            <a:graphicFrameLocks noGrp="1"/>
          </p:cNvGraphicFramePr>
          <p:nvPr>
            <p:extLst>
              <p:ext uri="{D42A27DB-BD31-4B8C-83A1-F6EECF244321}">
                <p14:modId xmlns:p14="http://schemas.microsoft.com/office/powerpoint/2010/main" val="38657244"/>
              </p:ext>
            </p:extLst>
          </p:nvPr>
        </p:nvGraphicFramePr>
        <p:xfrm>
          <a:off x="2313555" y="1701010"/>
          <a:ext cx="1829300" cy="4212427"/>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20000"/>
                    </a:ext>
                  </a:extLst>
                </a:gridCol>
                <a:gridCol w="1412740">
                  <a:extLst>
                    <a:ext uri="{9D8B030D-6E8A-4147-A177-3AD203B41FA5}">
                      <a16:colId xmlns:a16="http://schemas.microsoft.com/office/drawing/2014/main" val="20001"/>
                    </a:ext>
                  </a:extLst>
                </a:gridCol>
                <a:gridCol w="208280">
                  <a:extLst>
                    <a:ext uri="{9D8B030D-6E8A-4147-A177-3AD203B41FA5}">
                      <a16:colId xmlns:a16="http://schemas.microsoft.com/office/drawing/2014/main" val="20002"/>
                    </a:ext>
                  </a:extLst>
                </a:gridCol>
              </a:tblGrid>
              <a:tr h="169548">
                <a:tc>
                  <a:txBody>
                    <a:bodyPr/>
                    <a:lstStyle/>
                    <a:p>
                      <a:pPr>
                        <a:lnSpc>
                          <a:spcPct val="0"/>
                        </a:lnSpc>
                      </a:pPr>
                      <a:endParaRPr lang="ko-KR" altLang="en-US" sz="800">
                        <a:solidFill>
                          <a:schemeClr val="tx1">
                            <a:lumMod val="75000"/>
                            <a:lumOff val="25000"/>
                          </a:schemeClr>
                        </a:solidFill>
                        <a:latin typeface="+mn-lt"/>
                      </a:endParaRPr>
                    </a:p>
                  </a:txBody>
                  <a:tcPr>
                    <a:lnL w="28575" cap="flat" cmpd="sng" algn="ctr">
                      <a:solidFill>
                        <a:schemeClr val="accent4"/>
                      </a:solidFill>
                      <a:prstDash val="solid"/>
                      <a:round/>
                      <a:headEnd type="none" w="med" len="med"/>
                      <a:tailEnd type="none" w="med" len="med"/>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nSpc>
                          <a:spcPct val="0"/>
                        </a:lnSpc>
                      </a:pPr>
                      <a:endParaRPr lang="ko-KR" altLang="en-US" sz="800">
                        <a:solidFill>
                          <a:schemeClr val="tx1">
                            <a:lumMod val="75000"/>
                            <a:lumOff val="25000"/>
                          </a:schemeClr>
                        </a:solidFill>
                        <a:latin typeface="+mn-lt"/>
                      </a:endParaRPr>
                    </a:p>
                  </a:txBody>
                  <a:tcPr anchor="ctr">
                    <a:lnL w="12700" cmpd="sng">
                      <a:noFill/>
                    </a:lnL>
                    <a:lnR w="12700" cmpd="sng">
                      <a:noFill/>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8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28575"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kern="1200">
                          <a:solidFill>
                            <a:schemeClr val="tx1">
                              <a:lumMod val="75000"/>
                              <a:lumOff val="25000"/>
                            </a:schemeClr>
                          </a:solidFill>
                          <a:latin typeface="+mn-lt"/>
                          <a:cs typeface="Arial" pitchFamily="34" charset="0"/>
                        </a:rPr>
                        <a:t>Content</a:t>
                      </a:r>
                      <a:endParaRPr lang="en-JM" altLang="ko-KR" sz="1600" b="1">
                        <a:solidFill>
                          <a:schemeClr val="tx1">
                            <a:lumMod val="75000"/>
                            <a:lumOff val="25000"/>
                          </a:schemeClr>
                        </a:solidFill>
                        <a:latin typeface="+mn-lt"/>
                        <a:cs typeface="Arial"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22201">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You can simply impress your audience and add a unique zing and appeal to your Presentations.     </a:t>
                      </a:r>
                      <a:endParaRPr lang="ko-KR" altLang="en-US"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202765">
                <a:tc>
                  <a:txBody>
                    <a:bodyPr/>
                    <a:lstStyle/>
                    <a:p>
                      <a:pPr latinLnBrk="1"/>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ko-KR" sz="1200">
                        <a:solidFill>
                          <a:schemeClr val="tx1">
                            <a:lumMod val="75000"/>
                            <a:lumOff val="25000"/>
                          </a:schemeClr>
                        </a:solidFill>
                        <a:latin typeface="Arial" pitchFamily="34" charset="0"/>
                        <a:cs typeface="Arial" pitchFamily="34" charset="0"/>
                      </a:endParaRPr>
                    </a:p>
                  </a:txBody>
                  <a:tcPr anchor="ctr">
                    <a:lnL w="12700" cmpd="sng">
                      <a:noFill/>
                    </a:lnL>
                    <a:lnR w="12700" cmpd="sng">
                      <a:noFill/>
                    </a:lnR>
                    <a:lnT w="28575" cap="flat" cmpd="sng" algn="ctr">
                      <a:solidFill>
                        <a:schemeClr val="tx1">
                          <a:lumMod val="75000"/>
                          <a:lumOff val="25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atinLnBrk="1"/>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72242">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28575" cap="flat" cmpd="sng" algn="ctr">
                      <a:solidFill>
                        <a:schemeClr val="accent4"/>
                      </a:solidFill>
                      <a:prstDash val="solid"/>
                      <a:round/>
                      <a:headEnd type="none" w="med" len="med"/>
                      <a:tailEnd type="none" w="med" len="med"/>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0"/>
                        </a:lnSpc>
                        <a:spcBef>
                          <a:spcPts val="0"/>
                        </a:spcBef>
                        <a:spcAft>
                          <a:spcPts val="0"/>
                        </a:spcAft>
                        <a:buClrTx/>
                        <a:buSzTx/>
                        <a:buFontTx/>
                        <a:buNone/>
                        <a:tabLst/>
                        <a:defRPr/>
                      </a:pPr>
                      <a:endParaRPr lang="en-US" altLang="ko-KR" sz="1200">
                        <a:solidFill>
                          <a:schemeClr val="tx1">
                            <a:lumMod val="75000"/>
                            <a:lumOff val="25000"/>
                          </a:schemeClr>
                        </a:solidFill>
                        <a:latin typeface="+mn-lt"/>
                        <a:cs typeface="Arial" pitchFamily="34" charset="0"/>
                      </a:endParaRP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atinLnBrk="1">
                        <a:lnSpc>
                          <a:spcPct val="0"/>
                        </a:lnSpc>
                      </a:pPr>
                      <a:endParaRPr lang="ko-KR" altLang="en-US" sz="1200">
                        <a:solidFill>
                          <a:schemeClr val="tx1">
                            <a:lumMod val="75000"/>
                            <a:lumOff val="25000"/>
                          </a:schemeClr>
                        </a:solidFill>
                        <a:latin typeface="+mn-lt"/>
                        <a:cs typeface="Arial" pitchFamily="34" charset="0"/>
                      </a:endParaRPr>
                    </a:p>
                  </a:txBody>
                  <a:tcPr>
                    <a:lnL w="12700" cmpd="sng">
                      <a:noFill/>
                    </a:lnL>
                    <a:lnR w="28575" cap="flat" cmpd="sng" algn="ctr">
                      <a:solidFill>
                        <a:schemeClr val="accent4"/>
                      </a:solid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928828">
                <a:tc gridSpan="3">
                  <a:txBody>
                    <a:bodyPr/>
                    <a:lstStyle/>
                    <a:p>
                      <a:pPr algn="ctr" latinLnBrk="1"/>
                      <a:r>
                        <a:rPr lang="en-US" altLang="ko-KR" sz="3600" b="1" err="1">
                          <a:solidFill>
                            <a:schemeClr val="tx1">
                              <a:lumMod val="75000"/>
                              <a:lumOff val="25000"/>
                            </a:schemeClr>
                          </a:solidFill>
                          <a:latin typeface="+mn-lt"/>
                          <a:cs typeface="Arial" pitchFamily="34" charset="0"/>
                        </a:rPr>
                        <a:t>tbd</a:t>
                      </a:r>
                      <a:endParaRPr lang="ko-KR" altLang="en-US" sz="3600" b="1">
                        <a:solidFill>
                          <a:schemeClr val="tx1">
                            <a:lumMod val="75000"/>
                            <a:lumOff val="25000"/>
                          </a:schemeClr>
                        </a:solidFill>
                        <a:latin typeface="+mn-lt"/>
                        <a:cs typeface="Arial" pitchFamily="34" charset="0"/>
                      </a:endParaRPr>
                    </a:p>
                  </a:txBody>
                  <a:tcPr anchor="b">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285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DEE0E3"/>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6"/>
                  </a:ext>
                </a:extLst>
              </a:tr>
              <a:tr h="522400">
                <a:tc gridSpan="3">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kern="1200">
                          <a:solidFill>
                            <a:schemeClr val="tx1">
                              <a:lumMod val="75000"/>
                              <a:lumOff val="25000"/>
                            </a:schemeClr>
                          </a:solidFill>
                          <a:latin typeface="+mn-lt"/>
                          <a:cs typeface="Arial" pitchFamily="34" charset="0"/>
                        </a:rPr>
                        <a:t>Content Here</a:t>
                      </a:r>
                      <a:endParaRPr lang="en-JM" altLang="ko-KR" sz="1200">
                        <a:solidFill>
                          <a:schemeClr val="tx1">
                            <a:lumMod val="75000"/>
                            <a:lumOff val="25000"/>
                          </a:schemeClr>
                        </a:solidFill>
                        <a:latin typeface="+mn-lt"/>
                        <a:cs typeface="Arial" pitchFamily="34" charset="0"/>
                      </a:endParaRPr>
                    </a:p>
                  </a:txBody>
                  <a:tcPr anchor="ctr">
                    <a:lnL w="28575" cap="flat" cmpd="sng" algn="ctr">
                      <a:solidFill>
                        <a:schemeClr val="accent4"/>
                      </a:solidFill>
                      <a:prstDash val="solid"/>
                      <a:round/>
                      <a:headEnd type="none" w="med" len="med"/>
                      <a:tailEnd type="none" w="med" len="med"/>
                    </a:lnL>
                    <a:lnR w="28575" cap="flat" cmpd="sng" algn="ctr">
                      <a:solidFill>
                        <a:schemeClr val="accent4"/>
                      </a:solidFill>
                      <a:prstDash val="solid"/>
                      <a:round/>
                      <a:headEnd type="none" w="med" len="med"/>
                      <a:tailEnd type="none" w="med" len="med"/>
                    </a:lnR>
                    <a:lnT w="76200" cap="flat" cmpd="sng" algn="ctr">
                      <a:noFill/>
                      <a:prstDash val="solid"/>
                      <a:round/>
                      <a:headEnd type="none" w="med" len="med"/>
                      <a:tailEnd type="none" w="med" len="med"/>
                    </a:lnT>
                    <a:lnB w="2857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latinLnBrk="1"/>
                      <a:endParaRPr lang="ko-KR" altLang="en-US" sz="1200">
                        <a:latin typeface="Arial" pitchFamily="34" charset="0"/>
                        <a:cs typeface="Arial" pitchFamily="34" charset="0"/>
                      </a:endParaRPr>
                    </a:p>
                  </a:txBody>
                  <a:tcPr/>
                </a:tc>
                <a:tc hMerge="1">
                  <a:txBody>
                    <a:bodyPr/>
                    <a:lstStyle/>
                    <a:p>
                      <a:pPr latinLnBrk="1"/>
                      <a:endParaRPr lang="ko-KR" altLang="en-US" sz="1200">
                        <a:latin typeface="Arial" pitchFamily="34" charset="0"/>
                        <a:cs typeface="Arial" pitchFamily="34" charset="0"/>
                      </a:endParaRP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262501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4" name="RBContent58">
            <a:extLst>
              <a:ext uri="{FF2B5EF4-FFF2-40B4-BE49-F238E27FC236}">
                <a16:creationId xmlns:a16="http://schemas.microsoft.com/office/drawing/2014/main" id="{E22E56F2-31AA-4CDB-ABDC-D92A06DB25A5}"/>
              </a:ext>
            </a:extLst>
          </p:cNvPr>
          <p:cNvSpPr txBox="1">
            <a:spLocks/>
          </p:cNvSpPr>
          <p:nvPr/>
        </p:nvSpPr>
        <p:spPr>
          <a:xfrm>
            <a:off x="365681" y="2488728"/>
            <a:ext cx="10382401" cy="1877437"/>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p:txBody>
      </p:sp>
      <p:sp>
        <p:nvSpPr>
          <p:cNvPr id="17" name="RBContent58">
            <a:extLst>
              <a:ext uri="{FF2B5EF4-FFF2-40B4-BE49-F238E27FC236}">
                <a16:creationId xmlns:a16="http://schemas.microsoft.com/office/drawing/2014/main" id="{0C8D50A0-54C6-41FC-910F-F35EB182DDC6}"/>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18" name="RBContent58">
            <a:extLst>
              <a:ext uri="{FF2B5EF4-FFF2-40B4-BE49-F238E27FC236}">
                <a16:creationId xmlns:a16="http://schemas.microsoft.com/office/drawing/2014/main" id="{5F3C3A19-9BC3-46F5-9D8D-A225A280E780}"/>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9" name="RBContent58">
            <a:extLst>
              <a:ext uri="{FF2B5EF4-FFF2-40B4-BE49-F238E27FC236}">
                <a16:creationId xmlns:a16="http://schemas.microsoft.com/office/drawing/2014/main" id="{C0DB1D66-737D-4AA5-92DF-43E34902D0F1}"/>
              </a:ext>
            </a:extLst>
          </p:cNvPr>
          <p:cNvSpPr txBox="1">
            <a:spLocks/>
          </p:cNvSpPr>
          <p:nvPr/>
        </p:nvSpPr>
        <p:spPr>
          <a:xfrm>
            <a:off x="11195403" y="2488728"/>
            <a:ext cx="630914" cy="1877437"/>
          </a:xfrm>
          <a:prstGeom prst="rect">
            <a:avLst/>
          </a:prstGeom>
          <a:noFill/>
          <a:ln w="9525">
            <a:noFill/>
          </a:ln>
        </p:spPr>
        <p:txBody>
          <a:bodyPr vert="horz" wrap="square" lIns="0" tIns="0" rIns="0" bIns="0" rtlCol="0">
            <a:spAutoFit/>
          </a:bodyPr>
          <a:lstStyle/>
          <a:p>
            <a:pPr algn="r">
              <a:spcAft>
                <a:spcPts val="2000"/>
              </a:spcAft>
            </a:pPr>
            <a:r>
              <a:rPr lang="en-GB"/>
              <a:t>1</a:t>
            </a:r>
          </a:p>
          <a:p>
            <a:pPr algn="r">
              <a:spcAft>
                <a:spcPts val="2000"/>
              </a:spcAft>
            </a:pPr>
            <a:r>
              <a:rPr lang="en-GB"/>
              <a:t>2</a:t>
            </a:r>
          </a:p>
          <a:p>
            <a:pPr algn="r">
              <a:spcAft>
                <a:spcPts val="2000"/>
              </a:spcAft>
            </a:pPr>
            <a:r>
              <a:rPr lang="en-GB"/>
              <a:t>3</a:t>
            </a:r>
          </a:p>
          <a:p>
            <a:pPr algn="r">
              <a:spcAft>
                <a:spcPts val="2000"/>
              </a:spcAft>
            </a:pPr>
            <a:r>
              <a:rPr lang="en-GB"/>
              <a:t>4</a:t>
            </a:r>
          </a:p>
        </p:txBody>
      </p:sp>
    </p:spTree>
    <p:extLst>
      <p:ext uri="{BB962C8B-B14F-4D97-AF65-F5344CB8AC3E}">
        <p14:creationId xmlns:p14="http://schemas.microsoft.com/office/powerpoint/2010/main" val="32697555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1CA7C2-8DB7-0847-BD5E-AAC807DD2CB0}"/>
              </a:ext>
            </a:extLst>
          </p:cNvPr>
          <p:cNvGraphicFramePr>
            <a:graphicFrameLocks noChangeAspect="1"/>
          </p:cNvGraphicFramePr>
          <p:nvPr>
            <p:custDataLst>
              <p:tags r:id="rId1"/>
            </p:custDataLst>
            <p:extLst>
              <p:ext uri="{D42A27DB-BD31-4B8C-83A1-F6EECF244321}">
                <p14:modId xmlns:p14="http://schemas.microsoft.com/office/powerpoint/2010/main" val="1236135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D01CA7C2-8DB7-0847-BD5E-AAC807DD2C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9B3B131-DC87-654B-9E97-316FCC394523}"/>
              </a:ext>
            </a:extLst>
          </p:cNvPr>
          <p:cNvSpPr>
            <a:spLocks noGrp="1"/>
          </p:cNvSpPr>
          <p:nvPr>
            <p:ph type="sldNum" sz="quarter" idx="4"/>
          </p:nvPr>
        </p:nvSpPr>
        <p:spPr/>
        <p:txBody>
          <a:bodyPr/>
          <a:lstStyle/>
          <a:p>
            <a:fld id="{3D966009-6E5A-4F8C-8CA7-E37AFBF5FB92}" type="slidenum">
              <a:rPr lang="en-US" smtClean="0"/>
              <a:t>110</a:t>
            </a:fld>
            <a:endParaRPr lang="en-US"/>
          </a:p>
        </p:txBody>
      </p:sp>
      <p:sp>
        <p:nvSpPr>
          <p:cNvPr id="3" name="Title 2">
            <a:extLst>
              <a:ext uri="{FF2B5EF4-FFF2-40B4-BE49-F238E27FC236}">
                <a16:creationId xmlns:a16="http://schemas.microsoft.com/office/drawing/2014/main" id="{EDDC0660-7743-B744-95BB-B0731AA7D3D1}"/>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4B47A050-33B4-9444-BE5E-DF148793E920}"/>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909D7686-EAFD-324D-AD4E-2EFE971B4195}"/>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643D44E5-266D-1240-91F2-311BFAA0ED3D}"/>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44CCA7A0-29BF-DA49-AC0C-8182626DF563}"/>
              </a:ext>
            </a:extLst>
          </p:cNvPr>
          <p:cNvSpPr>
            <a:spLocks noGrp="1"/>
          </p:cNvSpPr>
          <p:nvPr>
            <p:ph sz="quarter" idx="14"/>
          </p:nvPr>
        </p:nvSpPr>
        <p:spPr/>
        <p:txBody>
          <a:bodyPr/>
          <a:lstStyle/>
          <a:p>
            <a:endParaRPr lang="de-DE"/>
          </a:p>
        </p:txBody>
      </p:sp>
      <p:grpSp>
        <p:nvGrpSpPr>
          <p:cNvPr id="169" name="Group 168">
            <a:extLst>
              <a:ext uri="{FF2B5EF4-FFF2-40B4-BE49-F238E27FC236}">
                <a16:creationId xmlns:a16="http://schemas.microsoft.com/office/drawing/2014/main" id="{3798E417-4904-E446-9BFD-9AD4C8F5BA91}"/>
              </a:ext>
            </a:extLst>
          </p:cNvPr>
          <p:cNvGrpSpPr/>
          <p:nvPr/>
        </p:nvGrpSpPr>
        <p:grpSpPr>
          <a:xfrm>
            <a:off x="371475" y="1719242"/>
            <a:ext cx="3477854" cy="3311393"/>
            <a:chOff x="371475" y="2160428"/>
            <a:chExt cx="3888000" cy="3311393"/>
          </a:xfrm>
        </p:grpSpPr>
        <p:cxnSp>
          <p:nvCxnSpPr>
            <p:cNvPr id="9" name="직선 연결선 4">
              <a:extLst>
                <a:ext uri="{FF2B5EF4-FFF2-40B4-BE49-F238E27FC236}">
                  <a16:creationId xmlns:a16="http://schemas.microsoft.com/office/drawing/2014/main" id="{7C031A03-0451-414E-9012-218C97BCD05B}"/>
                </a:ext>
              </a:extLst>
            </p:cNvPr>
            <p:cNvCxnSpPr/>
            <p:nvPr/>
          </p:nvCxnSpPr>
          <p:spPr bwMode="auto">
            <a:xfrm>
              <a:off x="371475" y="2468204"/>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직선 연결선 8">
              <a:extLst>
                <a:ext uri="{FF2B5EF4-FFF2-40B4-BE49-F238E27FC236}">
                  <a16:creationId xmlns:a16="http://schemas.microsoft.com/office/drawing/2014/main" id="{C00C7205-9813-6B44-A79C-4C1D17AACC2C}"/>
                </a:ext>
              </a:extLst>
            </p:cNvPr>
            <p:cNvCxnSpPr/>
            <p:nvPr/>
          </p:nvCxnSpPr>
          <p:spPr bwMode="auto">
            <a:xfrm>
              <a:off x="371475" y="2163392"/>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EF89F74-3EB6-1040-85DC-3322A23F21D5}"/>
                </a:ext>
              </a:extLst>
            </p:cNvPr>
            <p:cNvSpPr txBox="1"/>
            <p:nvPr/>
          </p:nvSpPr>
          <p:spPr>
            <a:xfrm>
              <a:off x="371475" y="2160428"/>
              <a:ext cx="878175" cy="307777"/>
            </a:xfrm>
            <a:prstGeom prst="rect">
              <a:avLst/>
            </a:prstGeom>
            <a:noFill/>
          </p:spPr>
          <p:txBody>
            <a:bodyPr wrap="none" rtlCol="0" anchor="ctr">
              <a:spAutoFit/>
            </a:bodyPr>
            <a:lstStyle/>
            <a:p>
              <a:r>
                <a:rPr lang="en-US" altLang="ko-KR" sz="1400" b="1">
                  <a:ln w="3175">
                    <a:noFill/>
                  </a:ln>
                  <a:solidFill>
                    <a:srgbClr val="333657"/>
                  </a:solidFill>
                </a:rPr>
                <a:t>A Case</a:t>
              </a:r>
              <a:endParaRPr lang="ko-KR" altLang="en-US" sz="1400" b="1">
                <a:ln w="3175">
                  <a:noFill/>
                </a:ln>
                <a:solidFill>
                  <a:srgbClr val="333657"/>
                </a:solidFill>
              </a:endParaRPr>
            </a:p>
          </p:txBody>
        </p:sp>
        <p:sp>
          <p:nvSpPr>
            <p:cNvPr id="12" name="TextBox 11">
              <a:extLst>
                <a:ext uri="{FF2B5EF4-FFF2-40B4-BE49-F238E27FC236}">
                  <a16:creationId xmlns:a16="http://schemas.microsoft.com/office/drawing/2014/main" id="{72F33424-5001-4244-BDE1-44C61F09B8AC}"/>
                </a:ext>
              </a:extLst>
            </p:cNvPr>
            <p:cNvSpPr txBox="1"/>
            <p:nvPr/>
          </p:nvSpPr>
          <p:spPr>
            <a:xfrm>
              <a:off x="371476" y="2756238"/>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13" name="순서도: 처리 250">
              <a:extLst>
                <a:ext uri="{FF2B5EF4-FFF2-40B4-BE49-F238E27FC236}">
                  <a16:creationId xmlns:a16="http://schemas.microsoft.com/office/drawing/2014/main" id="{CA250495-C110-C440-A9C5-CD9BC6AAB1FA}"/>
                </a:ext>
              </a:extLst>
            </p:cNvPr>
            <p:cNvSpPr/>
            <p:nvPr/>
          </p:nvSpPr>
          <p:spPr>
            <a:xfrm>
              <a:off x="456317"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4" name="순서도: 처리 251">
              <a:extLst>
                <a:ext uri="{FF2B5EF4-FFF2-40B4-BE49-F238E27FC236}">
                  <a16:creationId xmlns:a16="http://schemas.microsoft.com/office/drawing/2014/main" id="{78A2958C-EA68-4C42-A7B5-BD288EE4D933}"/>
                </a:ext>
              </a:extLst>
            </p:cNvPr>
            <p:cNvSpPr/>
            <p:nvPr/>
          </p:nvSpPr>
          <p:spPr>
            <a:xfrm>
              <a:off x="607886"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5" name="순서도: 처리 252">
              <a:extLst>
                <a:ext uri="{FF2B5EF4-FFF2-40B4-BE49-F238E27FC236}">
                  <a16:creationId xmlns:a16="http://schemas.microsoft.com/office/drawing/2014/main" id="{E41A3668-44C6-D74C-A6C7-33D5AEDB3A54}"/>
                </a:ext>
              </a:extLst>
            </p:cNvPr>
            <p:cNvSpPr/>
            <p:nvPr/>
          </p:nvSpPr>
          <p:spPr>
            <a:xfrm>
              <a:off x="759455"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6" name="순서도: 처리 253">
              <a:extLst>
                <a:ext uri="{FF2B5EF4-FFF2-40B4-BE49-F238E27FC236}">
                  <a16:creationId xmlns:a16="http://schemas.microsoft.com/office/drawing/2014/main" id="{197D5BAC-90A7-7A44-AD3D-13FEDFBB17A6}"/>
                </a:ext>
              </a:extLst>
            </p:cNvPr>
            <p:cNvSpPr/>
            <p:nvPr/>
          </p:nvSpPr>
          <p:spPr>
            <a:xfrm>
              <a:off x="911024"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7" name="순서도: 처리 254">
              <a:extLst>
                <a:ext uri="{FF2B5EF4-FFF2-40B4-BE49-F238E27FC236}">
                  <a16:creationId xmlns:a16="http://schemas.microsoft.com/office/drawing/2014/main" id="{312A799C-2C5C-C14A-8770-014DA6350132}"/>
                </a:ext>
              </a:extLst>
            </p:cNvPr>
            <p:cNvSpPr/>
            <p:nvPr/>
          </p:nvSpPr>
          <p:spPr>
            <a:xfrm>
              <a:off x="1062593"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8" name="순서도: 처리 255">
              <a:extLst>
                <a:ext uri="{FF2B5EF4-FFF2-40B4-BE49-F238E27FC236}">
                  <a16:creationId xmlns:a16="http://schemas.microsoft.com/office/drawing/2014/main" id="{6004C460-8DA5-634B-BA5F-43E8CFD95B14}"/>
                </a:ext>
              </a:extLst>
            </p:cNvPr>
            <p:cNvSpPr/>
            <p:nvPr/>
          </p:nvSpPr>
          <p:spPr>
            <a:xfrm>
              <a:off x="1214162"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19" name="순서도: 처리 256">
              <a:extLst>
                <a:ext uri="{FF2B5EF4-FFF2-40B4-BE49-F238E27FC236}">
                  <a16:creationId xmlns:a16="http://schemas.microsoft.com/office/drawing/2014/main" id="{6FB80B72-047F-BE4C-9DFB-DFD800A2DE6D}"/>
                </a:ext>
              </a:extLst>
            </p:cNvPr>
            <p:cNvSpPr/>
            <p:nvPr/>
          </p:nvSpPr>
          <p:spPr>
            <a:xfrm>
              <a:off x="1365731"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0" name="순서도: 처리 257">
              <a:extLst>
                <a:ext uri="{FF2B5EF4-FFF2-40B4-BE49-F238E27FC236}">
                  <a16:creationId xmlns:a16="http://schemas.microsoft.com/office/drawing/2014/main" id="{21F4790E-8BA7-7A4B-B4C4-B4D8C6D3DFAE}"/>
                </a:ext>
              </a:extLst>
            </p:cNvPr>
            <p:cNvSpPr/>
            <p:nvPr/>
          </p:nvSpPr>
          <p:spPr>
            <a:xfrm>
              <a:off x="1517300"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1" name="순서도: 처리 258">
              <a:extLst>
                <a:ext uri="{FF2B5EF4-FFF2-40B4-BE49-F238E27FC236}">
                  <a16:creationId xmlns:a16="http://schemas.microsoft.com/office/drawing/2014/main" id="{A68B9AB3-71A9-064F-BF08-9077D1D19953}"/>
                </a:ext>
              </a:extLst>
            </p:cNvPr>
            <p:cNvSpPr/>
            <p:nvPr/>
          </p:nvSpPr>
          <p:spPr>
            <a:xfrm>
              <a:off x="1668869"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2" name="순서도: 처리 259">
              <a:extLst>
                <a:ext uri="{FF2B5EF4-FFF2-40B4-BE49-F238E27FC236}">
                  <a16:creationId xmlns:a16="http://schemas.microsoft.com/office/drawing/2014/main" id="{BD855998-2567-7947-AFBD-95D1BE6146DF}"/>
                </a:ext>
              </a:extLst>
            </p:cNvPr>
            <p:cNvSpPr/>
            <p:nvPr/>
          </p:nvSpPr>
          <p:spPr>
            <a:xfrm>
              <a:off x="1820438"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3" name="순서도: 처리 260">
              <a:extLst>
                <a:ext uri="{FF2B5EF4-FFF2-40B4-BE49-F238E27FC236}">
                  <a16:creationId xmlns:a16="http://schemas.microsoft.com/office/drawing/2014/main" id="{A3E6D1C2-0944-7D4B-AB9C-864C3C07C128}"/>
                </a:ext>
              </a:extLst>
            </p:cNvPr>
            <p:cNvSpPr/>
            <p:nvPr/>
          </p:nvSpPr>
          <p:spPr>
            <a:xfrm>
              <a:off x="197200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4" name="순서도: 처리 261">
              <a:extLst>
                <a:ext uri="{FF2B5EF4-FFF2-40B4-BE49-F238E27FC236}">
                  <a16:creationId xmlns:a16="http://schemas.microsoft.com/office/drawing/2014/main" id="{3B514727-7142-A440-ACB8-E46F24505DFD}"/>
                </a:ext>
              </a:extLst>
            </p:cNvPr>
            <p:cNvSpPr/>
            <p:nvPr/>
          </p:nvSpPr>
          <p:spPr>
            <a:xfrm>
              <a:off x="2123576"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5" name="순서도: 처리 262">
              <a:extLst>
                <a:ext uri="{FF2B5EF4-FFF2-40B4-BE49-F238E27FC236}">
                  <a16:creationId xmlns:a16="http://schemas.microsoft.com/office/drawing/2014/main" id="{4AE4B811-9833-FE4D-8B26-B17667879C96}"/>
                </a:ext>
              </a:extLst>
            </p:cNvPr>
            <p:cNvSpPr/>
            <p:nvPr/>
          </p:nvSpPr>
          <p:spPr>
            <a:xfrm>
              <a:off x="2275145"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6" name="순서도: 처리 263">
              <a:extLst>
                <a:ext uri="{FF2B5EF4-FFF2-40B4-BE49-F238E27FC236}">
                  <a16:creationId xmlns:a16="http://schemas.microsoft.com/office/drawing/2014/main" id="{C3C6C776-0785-0146-B803-D2FBC4D176F5}"/>
                </a:ext>
              </a:extLst>
            </p:cNvPr>
            <p:cNvSpPr/>
            <p:nvPr/>
          </p:nvSpPr>
          <p:spPr>
            <a:xfrm>
              <a:off x="2426714"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7" name="순서도: 처리 264">
              <a:extLst>
                <a:ext uri="{FF2B5EF4-FFF2-40B4-BE49-F238E27FC236}">
                  <a16:creationId xmlns:a16="http://schemas.microsoft.com/office/drawing/2014/main" id="{B81E4019-F3EC-5149-8846-6EB73ACC1528}"/>
                </a:ext>
              </a:extLst>
            </p:cNvPr>
            <p:cNvSpPr/>
            <p:nvPr/>
          </p:nvSpPr>
          <p:spPr>
            <a:xfrm>
              <a:off x="2578283"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8" name="순서도: 처리 265">
              <a:extLst>
                <a:ext uri="{FF2B5EF4-FFF2-40B4-BE49-F238E27FC236}">
                  <a16:creationId xmlns:a16="http://schemas.microsoft.com/office/drawing/2014/main" id="{6B5178E6-4DF4-4A48-8E2B-FC75751903BC}"/>
                </a:ext>
              </a:extLst>
            </p:cNvPr>
            <p:cNvSpPr/>
            <p:nvPr/>
          </p:nvSpPr>
          <p:spPr>
            <a:xfrm>
              <a:off x="2729852"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 name="순서도: 처리 266">
              <a:extLst>
                <a:ext uri="{FF2B5EF4-FFF2-40B4-BE49-F238E27FC236}">
                  <a16:creationId xmlns:a16="http://schemas.microsoft.com/office/drawing/2014/main" id="{D22F8108-34BB-2343-82A1-BE51BE6C0278}"/>
                </a:ext>
              </a:extLst>
            </p:cNvPr>
            <p:cNvSpPr/>
            <p:nvPr/>
          </p:nvSpPr>
          <p:spPr>
            <a:xfrm>
              <a:off x="2881421"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0" name="순서도: 처리 267">
              <a:extLst>
                <a:ext uri="{FF2B5EF4-FFF2-40B4-BE49-F238E27FC236}">
                  <a16:creationId xmlns:a16="http://schemas.microsoft.com/office/drawing/2014/main" id="{02B4D5DF-8FE0-6745-9314-9B99EE7879B4}"/>
                </a:ext>
              </a:extLst>
            </p:cNvPr>
            <p:cNvSpPr/>
            <p:nvPr/>
          </p:nvSpPr>
          <p:spPr>
            <a:xfrm>
              <a:off x="3032990"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1" name="순서도: 처리 268">
              <a:extLst>
                <a:ext uri="{FF2B5EF4-FFF2-40B4-BE49-F238E27FC236}">
                  <a16:creationId xmlns:a16="http://schemas.microsoft.com/office/drawing/2014/main" id="{9DE3D38C-A8ED-9B45-A06D-D995A6745509}"/>
                </a:ext>
              </a:extLst>
            </p:cNvPr>
            <p:cNvSpPr/>
            <p:nvPr/>
          </p:nvSpPr>
          <p:spPr>
            <a:xfrm>
              <a:off x="3184559"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 name="순서도: 처리 269">
              <a:extLst>
                <a:ext uri="{FF2B5EF4-FFF2-40B4-BE49-F238E27FC236}">
                  <a16:creationId xmlns:a16="http://schemas.microsoft.com/office/drawing/2014/main" id="{E858EC14-BA71-4547-81AA-D5501D4BA17D}"/>
                </a:ext>
              </a:extLst>
            </p:cNvPr>
            <p:cNvSpPr/>
            <p:nvPr/>
          </p:nvSpPr>
          <p:spPr>
            <a:xfrm>
              <a:off x="333612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3" name="TextBox 32">
              <a:extLst>
                <a:ext uri="{FF2B5EF4-FFF2-40B4-BE49-F238E27FC236}">
                  <a16:creationId xmlns:a16="http://schemas.microsoft.com/office/drawing/2014/main" id="{0B6D7749-354B-464C-AB88-E0D9C0834D56}"/>
                </a:ext>
              </a:extLst>
            </p:cNvPr>
            <p:cNvSpPr txBox="1"/>
            <p:nvPr/>
          </p:nvSpPr>
          <p:spPr>
            <a:xfrm>
              <a:off x="3516590" y="2980871"/>
              <a:ext cx="742266" cy="461665"/>
            </a:xfrm>
            <a:prstGeom prst="rect">
              <a:avLst/>
            </a:prstGeom>
            <a:noFill/>
          </p:spPr>
          <p:txBody>
            <a:bodyPr wrap="none" rtlCol="0" anchor="ctr">
              <a:spAutoFit/>
            </a:bodyPr>
            <a:lstStyle/>
            <a:p>
              <a:r>
                <a:rPr lang="en-US" altLang="ko-KR" sz="2400" b="1">
                  <a:solidFill>
                    <a:srgbClr val="333657"/>
                  </a:solidFill>
                </a:rPr>
                <a:t>50</a:t>
              </a:r>
              <a:r>
                <a:rPr lang="en-US" altLang="ko-KR" sz="1200" b="1">
                  <a:solidFill>
                    <a:srgbClr val="333657"/>
                  </a:solidFill>
                </a:rPr>
                <a:t>%</a:t>
              </a:r>
              <a:endParaRPr lang="ko-KR" altLang="en-US" sz="1200" b="1">
                <a:solidFill>
                  <a:srgbClr val="333657"/>
                </a:solidFill>
              </a:endParaRPr>
            </a:p>
          </p:txBody>
        </p:sp>
        <p:sp>
          <p:nvSpPr>
            <p:cNvPr id="34" name="TextBox 33">
              <a:extLst>
                <a:ext uri="{FF2B5EF4-FFF2-40B4-BE49-F238E27FC236}">
                  <a16:creationId xmlns:a16="http://schemas.microsoft.com/office/drawing/2014/main" id="{2E7F2335-DE79-CE49-8F20-0232AFE698F5}"/>
                </a:ext>
              </a:extLst>
            </p:cNvPr>
            <p:cNvSpPr txBox="1"/>
            <p:nvPr/>
          </p:nvSpPr>
          <p:spPr>
            <a:xfrm>
              <a:off x="371476" y="3496482"/>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35" name="순서도: 처리 273">
              <a:extLst>
                <a:ext uri="{FF2B5EF4-FFF2-40B4-BE49-F238E27FC236}">
                  <a16:creationId xmlns:a16="http://schemas.microsoft.com/office/drawing/2014/main" id="{EA6DE902-6540-C248-85A4-5A230CA6E1EC}"/>
                </a:ext>
              </a:extLst>
            </p:cNvPr>
            <p:cNvSpPr/>
            <p:nvPr/>
          </p:nvSpPr>
          <p:spPr>
            <a:xfrm>
              <a:off x="45357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 name="순서도: 처리 274">
              <a:extLst>
                <a:ext uri="{FF2B5EF4-FFF2-40B4-BE49-F238E27FC236}">
                  <a16:creationId xmlns:a16="http://schemas.microsoft.com/office/drawing/2014/main" id="{F901E336-FC38-A14C-9352-4B8AC95B6E87}"/>
                </a:ext>
              </a:extLst>
            </p:cNvPr>
            <p:cNvSpPr/>
            <p:nvPr/>
          </p:nvSpPr>
          <p:spPr>
            <a:xfrm>
              <a:off x="60514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7" name="순서도: 처리 275">
              <a:extLst>
                <a:ext uri="{FF2B5EF4-FFF2-40B4-BE49-F238E27FC236}">
                  <a16:creationId xmlns:a16="http://schemas.microsoft.com/office/drawing/2014/main" id="{47CE9C4F-3F93-B84F-816B-635AD8027FE7}"/>
                </a:ext>
              </a:extLst>
            </p:cNvPr>
            <p:cNvSpPr/>
            <p:nvPr/>
          </p:nvSpPr>
          <p:spPr>
            <a:xfrm>
              <a:off x="75670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8" name="순서도: 처리 276">
              <a:extLst>
                <a:ext uri="{FF2B5EF4-FFF2-40B4-BE49-F238E27FC236}">
                  <a16:creationId xmlns:a16="http://schemas.microsoft.com/office/drawing/2014/main" id="{43D56062-F40E-1D47-9132-D0C2292C6117}"/>
                </a:ext>
              </a:extLst>
            </p:cNvPr>
            <p:cNvSpPr/>
            <p:nvPr/>
          </p:nvSpPr>
          <p:spPr>
            <a:xfrm>
              <a:off x="90827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9" name="순서도: 처리 277">
              <a:extLst>
                <a:ext uri="{FF2B5EF4-FFF2-40B4-BE49-F238E27FC236}">
                  <a16:creationId xmlns:a16="http://schemas.microsoft.com/office/drawing/2014/main" id="{93B4D4F1-A9F7-5943-8CF9-348C5AF74B27}"/>
                </a:ext>
              </a:extLst>
            </p:cNvPr>
            <p:cNvSpPr/>
            <p:nvPr/>
          </p:nvSpPr>
          <p:spPr>
            <a:xfrm>
              <a:off x="105984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0" name="순서도: 처리 278">
              <a:extLst>
                <a:ext uri="{FF2B5EF4-FFF2-40B4-BE49-F238E27FC236}">
                  <a16:creationId xmlns:a16="http://schemas.microsoft.com/office/drawing/2014/main" id="{28EB5DC8-66C6-1848-A9B2-B86537460B36}"/>
                </a:ext>
              </a:extLst>
            </p:cNvPr>
            <p:cNvSpPr/>
            <p:nvPr/>
          </p:nvSpPr>
          <p:spPr>
            <a:xfrm>
              <a:off x="1211416"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1" name="순서도: 처리 279">
              <a:extLst>
                <a:ext uri="{FF2B5EF4-FFF2-40B4-BE49-F238E27FC236}">
                  <a16:creationId xmlns:a16="http://schemas.microsoft.com/office/drawing/2014/main" id="{0922D752-C613-BA47-B269-B4368219FB5F}"/>
                </a:ext>
              </a:extLst>
            </p:cNvPr>
            <p:cNvSpPr/>
            <p:nvPr/>
          </p:nvSpPr>
          <p:spPr>
            <a:xfrm>
              <a:off x="1362985"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2" name="순서도: 처리 280">
              <a:extLst>
                <a:ext uri="{FF2B5EF4-FFF2-40B4-BE49-F238E27FC236}">
                  <a16:creationId xmlns:a16="http://schemas.microsoft.com/office/drawing/2014/main" id="{5352F725-7094-EB49-B756-EA66DE17E28A}"/>
                </a:ext>
              </a:extLst>
            </p:cNvPr>
            <p:cNvSpPr/>
            <p:nvPr/>
          </p:nvSpPr>
          <p:spPr>
            <a:xfrm>
              <a:off x="1514554"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3" name="순서도: 처리 281">
              <a:extLst>
                <a:ext uri="{FF2B5EF4-FFF2-40B4-BE49-F238E27FC236}">
                  <a16:creationId xmlns:a16="http://schemas.microsoft.com/office/drawing/2014/main" id="{46414482-BDE9-EE49-9A90-E173436528C5}"/>
                </a:ext>
              </a:extLst>
            </p:cNvPr>
            <p:cNvSpPr/>
            <p:nvPr/>
          </p:nvSpPr>
          <p:spPr>
            <a:xfrm>
              <a:off x="1666123"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4" name="순서도: 처리 282">
              <a:extLst>
                <a:ext uri="{FF2B5EF4-FFF2-40B4-BE49-F238E27FC236}">
                  <a16:creationId xmlns:a16="http://schemas.microsoft.com/office/drawing/2014/main" id="{781EB041-7F31-7242-97FD-EBB45788D7FD}"/>
                </a:ext>
              </a:extLst>
            </p:cNvPr>
            <p:cNvSpPr/>
            <p:nvPr/>
          </p:nvSpPr>
          <p:spPr>
            <a:xfrm>
              <a:off x="1817692"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5" name="순서도: 처리 283">
              <a:extLst>
                <a:ext uri="{FF2B5EF4-FFF2-40B4-BE49-F238E27FC236}">
                  <a16:creationId xmlns:a16="http://schemas.microsoft.com/office/drawing/2014/main" id="{DB9E5C92-C7BD-EF43-BE68-23DD30EE43DB}"/>
                </a:ext>
              </a:extLst>
            </p:cNvPr>
            <p:cNvSpPr/>
            <p:nvPr/>
          </p:nvSpPr>
          <p:spPr>
            <a:xfrm>
              <a:off x="196926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6" name="순서도: 처리 284">
              <a:extLst>
                <a:ext uri="{FF2B5EF4-FFF2-40B4-BE49-F238E27FC236}">
                  <a16:creationId xmlns:a16="http://schemas.microsoft.com/office/drawing/2014/main" id="{4361D5E3-AC39-0F42-A0CA-710BBDEFB88A}"/>
                </a:ext>
              </a:extLst>
            </p:cNvPr>
            <p:cNvSpPr/>
            <p:nvPr/>
          </p:nvSpPr>
          <p:spPr>
            <a:xfrm>
              <a:off x="212083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7" name="순서도: 처리 285">
              <a:extLst>
                <a:ext uri="{FF2B5EF4-FFF2-40B4-BE49-F238E27FC236}">
                  <a16:creationId xmlns:a16="http://schemas.microsoft.com/office/drawing/2014/main" id="{796DF9D7-9D45-564C-8B11-CA252C0B91A2}"/>
                </a:ext>
              </a:extLst>
            </p:cNvPr>
            <p:cNvSpPr/>
            <p:nvPr/>
          </p:nvSpPr>
          <p:spPr>
            <a:xfrm>
              <a:off x="227239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8" name="순서도: 처리 286">
              <a:extLst>
                <a:ext uri="{FF2B5EF4-FFF2-40B4-BE49-F238E27FC236}">
                  <a16:creationId xmlns:a16="http://schemas.microsoft.com/office/drawing/2014/main" id="{9986E3C2-BA0B-C744-9568-F6C0C87EA63D}"/>
                </a:ext>
              </a:extLst>
            </p:cNvPr>
            <p:cNvSpPr/>
            <p:nvPr/>
          </p:nvSpPr>
          <p:spPr>
            <a:xfrm>
              <a:off x="242396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49" name="순서도: 처리 287">
              <a:extLst>
                <a:ext uri="{FF2B5EF4-FFF2-40B4-BE49-F238E27FC236}">
                  <a16:creationId xmlns:a16="http://schemas.microsoft.com/office/drawing/2014/main" id="{33CBF37B-EBA0-B949-A706-E297E3E2855E}"/>
                </a:ext>
              </a:extLst>
            </p:cNvPr>
            <p:cNvSpPr/>
            <p:nvPr/>
          </p:nvSpPr>
          <p:spPr>
            <a:xfrm>
              <a:off x="257553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50" name="순서도: 처리 288">
              <a:extLst>
                <a:ext uri="{FF2B5EF4-FFF2-40B4-BE49-F238E27FC236}">
                  <a16:creationId xmlns:a16="http://schemas.microsoft.com/office/drawing/2014/main" id="{4D5D9E5D-82F0-8F49-837E-CE9D1729A3B4}"/>
                </a:ext>
              </a:extLst>
            </p:cNvPr>
            <p:cNvSpPr/>
            <p:nvPr/>
          </p:nvSpPr>
          <p:spPr>
            <a:xfrm>
              <a:off x="2727106"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1" name="순서도: 처리 289">
              <a:extLst>
                <a:ext uri="{FF2B5EF4-FFF2-40B4-BE49-F238E27FC236}">
                  <a16:creationId xmlns:a16="http://schemas.microsoft.com/office/drawing/2014/main" id="{4B6BF736-6BCD-B447-B557-DC03F6A3A8AE}"/>
                </a:ext>
              </a:extLst>
            </p:cNvPr>
            <p:cNvSpPr/>
            <p:nvPr/>
          </p:nvSpPr>
          <p:spPr>
            <a:xfrm>
              <a:off x="2878675"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2" name="순서도: 처리 290">
              <a:extLst>
                <a:ext uri="{FF2B5EF4-FFF2-40B4-BE49-F238E27FC236}">
                  <a16:creationId xmlns:a16="http://schemas.microsoft.com/office/drawing/2014/main" id="{30D41962-CC8F-E248-846C-9D06BDCF1E12}"/>
                </a:ext>
              </a:extLst>
            </p:cNvPr>
            <p:cNvSpPr/>
            <p:nvPr/>
          </p:nvSpPr>
          <p:spPr>
            <a:xfrm>
              <a:off x="3030244"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3" name="순서도: 처리 291">
              <a:extLst>
                <a:ext uri="{FF2B5EF4-FFF2-40B4-BE49-F238E27FC236}">
                  <a16:creationId xmlns:a16="http://schemas.microsoft.com/office/drawing/2014/main" id="{5D3B90E5-FE93-9940-BF53-8559CB902F30}"/>
                </a:ext>
              </a:extLst>
            </p:cNvPr>
            <p:cNvSpPr/>
            <p:nvPr/>
          </p:nvSpPr>
          <p:spPr>
            <a:xfrm>
              <a:off x="3181813"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4" name="순서도: 처리 292">
              <a:extLst>
                <a:ext uri="{FF2B5EF4-FFF2-40B4-BE49-F238E27FC236}">
                  <a16:creationId xmlns:a16="http://schemas.microsoft.com/office/drawing/2014/main" id="{28269479-54DD-1241-8D0B-317DFC75DBB3}"/>
                </a:ext>
              </a:extLst>
            </p:cNvPr>
            <p:cNvSpPr/>
            <p:nvPr/>
          </p:nvSpPr>
          <p:spPr>
            <a:xfrm>
              <a:off x="3333381"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5" name="TextBox 54">
              <a:extLst>
                <a:ext uri="{FF2B5EF4-FFF2-40B4-BE49-F238E27FC236}">
                  <a16:creationId xmlns:a16="http://schemas.microsoft.com/office/drawing/2014/main" id="{FCA1DB7E-A8C7-5B4B-A5A5-E26B8F02F056}"/>
                </a:ext>
              </a:extLst>
            </p:cNvPr>
            <p:cNvSpPr txBox="1"/>
            <p:nvPr/>
          </p:nvSpPr>
          <p:spPr>
            <a:xfrm>
              <a:off x="3513843" y="3721115"/>
              <a:ext cx="742266" cy="461665"/>
            </a:xfrm>
            <a:prstGeom prst="rect">
              <a:avLst/>
            </a:prstGeom>
            <a:noFill/>
          </p:spPr>
          <p:txBody>
            <a:bodyPr wrap="none" rtlCol="0" anchor="ctr">
              <a:spAutoFit/>
            </a:bodyPr>
            <a:lstStyle/>
            <a:p>
              <a:r>
                <a:rPr lang="en-US" altLang="ko-KR" sz="2400" b="1">
                  <a:solidFill>
                    <a:srgbClr val="333657"/>
                  </a:solidFill>
                </a:rPr>
                <a:t>75</a:t>
              </a:r>
              <a:r>
                <a:rPr lang="en-US" altLang="ko-KR" sz="1200" b="1">
                  <a:solidFill>
                    <a:srgbClr val="333657"/>
                  </a:solidFill>
                </a:rPr>
                <a:t>%</a:t>
              </a:r>
              <a:endParaRPr lang="ko-KR" altLang="en-US" sz="1200" b="1">
                <a:solidFill>
                  <a:srgbClr val="333657"/>
                </a:solidFill>
              </a:endParaRPr>
            </a:p>
          </p:txBody>
        </p:sp>
        <p:cxnSp>
          <p:nvCxnSpPr>
            <p:cNvPr id="56" name="직선 연결선 294">
              <a:extLst>
                <a:ext uri="{FF2B5EF4-FFF2-40B4-BE49-F238E27FC236}">
                  <a16:creationId xmlns:a16="http://schemas.microsoft.com/office/drawing/2014/main" id="{C8E39302-0EF0-4F4D-8991-3AB19E088B9C}"/>
                </a:ext>
              </a:extLst>
            </p:cNvPr>
            <p:cNvCxnSpPr/>
            <p:nvPr/>
          </p:nvCxnSpPr>
          <p:spPr bwMode="auto">
            <a:xfrm>
              <a:off x="840467" y="4737161"/>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직선 연결선 295">
              <a:extLst>
                <a:ext uri="{FF2B5EF4-FFF2-40B4-BE49-F238E27FC236}">
                  <a16:creationId xmlns:a16="http://schemas.microsoft.com/office/drawing/2014/main" id="{0B606719-4242-504C-AC46-ACB1E3B4B9A3}"/>
                </a:ext>
              </a:extLst>
            </p:cNvPr>
            <p:cNvCxnSpPr/>
            <p:nvPr/>
          </p:nvCxnSpPr>
          <p:spPr bwMode="auto">
            <a:xfrm>
              <a:off x="840467" y="4432349"/>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2405BEC-830B-854E-8530-CCFE87547FDB}"/>
                </a:ext>
              </a:extLst>
            </p:cNvPr>
            <p:cNvSpPr txBox="1"/>
            <p:nvPr/>
          </p:nvSpPr>
          <p:spPr>
            <a:xfrm>
              <a:off x="840467" y="4423492"/>
              <a:ext cx="878175" cy="307777"/>
            </a:xfrm>
            <a:prstGeom prst="rect">
              <a:avLst/>
            </a:prstGeom>
            <a:noFill/>
          </p:spPr>
          <p:txBody>
            <a:bodyPr wrap="none" rtlCol="0" anchor="ctr">
              <a:spAutoFit/>
            </a:bodyPr>
            <a:lstStyle/>
            <a:p>
              <a:r>
                <a:rPr lang="en-US" altLang="ko-KR" sz="1400" b="1">
                  <a:solidFill>
                    <a:schemeClr val="tx1">
                      <a:lumMod val="75000"/>
                      <a:lumOff val="25000"/>
                    </a:schemeClr>
                  </a:solidFill>
                </a:rPr>
                <a:t>A Case</a:t>
              </a:r>
              <a:endParaRPr lang="ko-KR" altLang="en-US" sz="1400" b="1">
                <a:solidFill>
                  <a:schemeClr val="tx1">
                    <a:lumMod val="75000"/>
                    <a:lumOff val="25000"/>
                  </a:schemeClr>
                </a:solidFill>
              </a:endParaRPr>
            </a:p>
          </p:txBody>
        </p:sp>
        <p:sp>
          <p:nvSpPr>
            <p:cNvPr id="59" name="타원 297">
              <a:extLst>
                <a:ext uri="{FF2B5EF4-FFF2-40B4-BE49-F238E27FC236}">
                  <a16:creationId xmlns:a16="http://schemas.microsoft.com/office/drawing/2014/main" id="{2F66213B-2FB0-1846-A5DD-549D91B74345}"/>
                </a:ext>
              </a:extLst>
            </p:cNvPr>
            <p:cNvSpPr/>
            <p:nvPr/>
          </p:nvSpPr>
          <p:spPr>
            <a:xfrm>
              <a:off x="371475" y="4373660"/>
              <a:ext cx="402455" cy="360000"/>
            </a:xfrm>
            <a:prstGeom prst="ellipse">
              <a:avLst/>
            </a:prstGeom>
            <a:solidFill>
              <a:srgbClr val="C9CAE1"/>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400"/>
            </a:p>
          </p:txBody>
        </p:sp>
        <p:sp>
          <p:nvSpPr>
            <p:cNvPr id="60" name="TextBox 59">
              <a:extLst>
                <a:ext uri="{FF2B5EF4-FFF2-40B4-BE49-F238E27FC236}">
                  <a16:creationId xmlns:a16="http://schemas.microsoft.com/office/drawing/2014/main" id="{FA7D2CD1-EE8A-F84E-97FA-6849C07B64AE}"/>
                </a:ext>
              </a:extLst>
            </p:cNvPr>
            <p:cNvSpPr txBox="1"/>
            <p:nvPr/>
          </p:nvSpPr>
          <p:spPr>
            <a:xfrm>
              <a:off x="371476" y="4825490"/>
              <a:ext cx="3419429" cy="646331"/>
            </a:xfrm>
            <a:prstGeom prst="rect">
              <a:avLst/>
            </a:prstGeom>
            <a:noFill/>
          </p:spPr>
          <p:txBody>
            <a:bodyPr wrap="square" rtlCol="0">
              <a:spAutoFit/>
            </a:bodyPr>
            <a:lstStyle/>
            <a:p>
              <a:r>
                <a:rPr lang="en-US" altLang="ko-KR" sz="1200">
                  <a:solidFill>
                    <a:schemeClr val="tx1">
                      <a:lumMod val="75000"/>
                      <a:lumOff val="25000"/>
                    </a:schemeClr>
                  </a:solidFill>
                </a:rPr>
                <a:t>You can simply impress your audience and add a unique zing and appeal to your Reports and Presentations with our Templates.</a:t>
              </a:r>
            </a:p>
          </p:txBody>
        </p:sp>
      </p:grpSp>
      <p:grpSp>
        <p:nvGrpSpPr>
          <p:cNvPr id="278" name="Group 277">
            <a:extLst>
              <a:ext uri="{FF2B5EF4-FFF2-40B4-BE49-F238E27FC236}">
                <a16:creationId xmlns:a16="http://schemas.microsoft.com/office/drawing/2014/main" id="{C2484DC6-FE10-0C4C-BFF7-BE26D033F53F}"/>
              </a:ext>
            </a:extLst>
          </p:cNvPr>
          <p:cNvGrpSpPr/>
          <p:nvPr/>
        </p:nvGrpSpPr>
        <p:grpSpPr>
          <a:xfrm>
            <a:off x="4195330" y="1719242"/>
            <a:ext cx="3477854" cy="3311393"/>
            <a:chOff x="371475" y="2160428"/>
            <a:chExt cx="3888000" cy="3311393"/>
          </a:xfrm>
        </p:grpSpPr>
        <p:cxnSp>
          <p:nvCxnSpPr>
            <p:cNvPr id="279" name="직선 연결선 4">
              <a:extLst>
                <a:ext uri="{FF2B5EF4-FFF2-40B4-BE49-F238E27FC236}">
                  <a16:creationId xmlns:a16="http://schemas.microsoft.com/office/drawing/2014/main" id="{CA62A181-A844-E34E-81C6-E9E18B6D6F2E}"/>
                </a:ext>
              </a:extLst>
            </p:cNvPr>
            <p:cNvCxnSpPr/>
            <p:nvPr/>
          </p:nvCxnSpPr>
          <p:spPr bwMode="auto">
            <a:xfrm>
              <a:off x="371475" y="2468204"/>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0" name="직선 연결선 8">
              <a:extLst>
                <a:ext uri="{FF2B5EF4-FFF2-40B4-BE49-F238E27FC236}">
                  <a16:creationId xmlns:a16="http://schemas.microsoft.com/office/drawing/2014/main" id="{E2F9EC0F-ECFC-CD40-A03D-50D727001D7A}"/>
                </a:ext>
              </a:extLst>
            </p:cNvPr>
            <p:cNvCxnSpPr/>
            <p:nvPr/>
          </p:nvCxnSpPr>
          <p:spPr bwMode="auto">
            <a:xfrm>
              <a:off x="371475" y="2163392"/>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1" name="TextBox 280">
              <a:extLst>
                <a:ext uri="{FF2B5EF4-FFF2-40B4-BE49-F238E27FC236}">
                  <a16:creationId xmlns:a16="http://schemas.microsoft.com/office/drawing/2014/main" id="{8D92AA45-466C-7D44-A118-C0025C1F0B6C}"/>
                </a:ext>
              </a:extLst>
            </p:cNvPr>
            <p:cNvSpPr txBox="1"/>
            <p:nvPr/>
          </p:nvSpPr>
          <p:spPr>
            <a:xfrm>
              <a:off x="371475" y="2160428"/>
              <a:ext cx="885630" cy="307777"/>
            </a:xfrm>
            <a:prstGeom prst="rect">
              <a:avLst/>
            </a:prstGeom>
            <a:noFill/>
          </p:spPr>
          <p:txBody>
            <a:bodyPr wrap="none" rtlCol="0" anchor="ctr">
              <a:spAutoFit/>
            </a:bodyPr>
            <a:lstStyle/>
            <a:p>
              <a:r>
                <a:rPr lang="en-US" altLang="ko-KR" sz="1400" b="1">
                  <a:ln w="3175">
                    <a:noFill/>
                  </a:ln>
                  <a:solidFill>
                    <a:srgbClr val="333657"/>
                  </a:solidFill>
                </a:rPr>
                <a:t>B Case</a:t>
              </a:r>
              <a:endParaRPr lang="ko-KR" altLang="en-US" sz="1400" b="1">
                <a:ln w="3175">
                  <a:noFill/>
                </a:ln>
                <a:solidFill>
                  <a:srgbClr val="333657"/>
                </a:solidFill>
              </a:endParaRPr>
            </a:p>
          </p:txBody>
        </p:sp>
        <p:sp>
          <p:nvSpPr>
            <p:cNvPr id="282" name="TextBox 281">
              <a:extLst>
                <a:ext uri="{FF2B5EF4-FFF2-40B4-BE49-F238E27FC236}">
                  <a16:creationId xmlns:a16="http://schemas.microsoft.com/office/drawing/2014/main" id="{10F5D723-2C79-4644-AAEF-FE1654934FA5}"/>
                </a:ext>
              </a:extLst>
            </p:cNvPr>
            <p:cNvSpPr txBox="1"/>
            <p:nvPr/>
          </p:nvSpPr>
          <p:spPr>
            <a:xfrm>
              <a:off x="371476" y="2756238"/>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283" name="순서도: 처리 250">
              <a:extLst>
                <a:ext uri="{FF2B5EF4-FFF2-40B4-BE49-F238E27FC236}">
                  <a16:creationId xmlns:a16="http://schemas.microsoft.com/office/drawing/2014/main" id="{767A1E63-48A6-5644-B1A0-AF64C17BBF1E}"/>
                </a:ext>
              </a:extLst>
            </p:cNvPr>
            <p:cNvSpPr/>
            <p:nvPr/>
          </p:nvSpPr>
          <p:spPr>
            <a:xfrm>
              <a:off x="456317"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4" name="순서도: 처리 251">
              <a:extLst>
                <a:ext uri="{FF2B5EF4-FFF2-40B4-BE49-F238E27FC236}">
                  <a16:creationId xmlns:a16="http://schemas.microsoft.com/office/drawing/2014/main" id="{158F6A29-7121-3C4D-BD04-FC55E55AED19}"/>
                </a:ext>
              </a:extLst>
            </p:cNvPr>
            <p:cNvSpPr/>
            <p:nvPr/>
          </p:nvSpPr>
          <p:spPr>
            <a:xfrm>
              <a:off x="607886"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5" name="순서도: 처리 252">
              <a:extLst>
                <a:ext uri="{FF2B5EF4-FFF2-40B4-BE49-F238E27FC236}">
                  <a16:creationId xmlns:a16="http://schemas.microsoft.com/office/drawing/2014/main" id="{F4B12C05-70ED-9241-9578-0BFFA7D868E8}"/>
                </a:ext>
              </a:extLst>
            </p:cNvPr>
            <p:cNvSpPr/>
            <p:nvPr/>
          </p:nvSpPr>
          <p:spPr>
            <a:xfrm>
              <a:off x="759455"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6" name="순서도: 처리 253">
              <a:extLst>
                <a:ext uri="{FF2B5EF4-FFF2-40B4-BE49-F238E27FC236}">
                  <a16:creationId xmlns:a16="http://schemas.microsoft.com/office/drawing/2014/main" id="{55B360C2-AA4A-C840-B420-B8FCCF41F764}"/>
                </a:ext>
              </a:extLst>
            </p:cNvPr>
            <p:cNvSpPr/>
            <p:nvPr/>
          </p:nvSpPr>
          <p:spPr>
            <a:xfrm>
              <a:off x="911024"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7" name="순서도: 처리 254">
              <a:extLst>
                <a:ext uri="{FF2B5EF4-FFF2-40B4-BE49-F238E27FC236}">
                  <a16:creationId xmlns:a16="http://schemas.microsoft.com/office/drawing/2014/main" id="{37C777E3-A3E9-ED4A-955A-0FCC779E540D}"/>
                </a:ext>
              </a:extLst>
            </p:cNvPr>
            <p:cNvSpPr/>
            <p:nvPr/>
          </p:nvSpPr>
          <p:spPr>
            <a:xfrm>
              <a:off x="1062593"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8" name="순서도: 처리 255">
              <a:extLst>
                <a:ext uri="{FF2B5EF4-FFF2-40B4-BE49-F238E27FC236}">
                  <a16:creationId xmlns:a16="http://schemas.microsoft.com/office/drawing/2014/main" id="{9F5068C2-AB5C-C749-A4CC-BA7E4512689B}"/>
                </a:ext>
              </a:extLst>
            </p:cNvPr>
            <p:cNvSpPr/>
            <p:nvPr/>
          </p:nvSpPr>
          <p:spPr>
            <a:xfrm>
              <a:off x="1214162"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89" name="순서도: 처리 256">
              <a:extLst>
                <a:ext uri="{FF2B5EF4-FFF2-40B4-BE49-F238E27FC236}">
                  <a16:creationId xmlns:a16="http://schemas.microsoft.com/office/drawing/2014/main" id="{1A3B21F8-6E42-5347-93EA-36F04FF74DB4}"/>
                </a:ext>
              </a:extLst>
            </p:cNvPr>
            <p:cNvSpPr/>
            <p:nvPr/>
          </p:nvSpPr>
          <p:spPr>
            <a:xfrm>
              <a:off x="1365731"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90" name="순서도: 처리 257">
              <a:extLst>
                <a:ext uri="{FF2B5EF4-FFF2-40B4-BE49-F238E27FC236}">
                  <a16:creationId xmlns:a16="http://schemas.microsoft.com/office/drawing/2014/main" id="{B572DA40-4602-0240-81F7-6B1ECDEF0334}"/>
                </a:ext>
              </a:extLst>
            </p:cNvPr>
            <p:cNvSpPr/>
            <p:nvPr/>
          </p:nvSpPr>
          <p:spPr>
            <a:xfrm>
              <a:off x="1517300"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91" name="순서도: 처리 258">
              <a:extLst>
                <a:ext uri="{FF2B5EF4-FFF2-40B4-BE49-F238E27FC236}">
                  <a16:creationId xmlns:a16="http://schemas.microsoft.com/office/drawing/2014/main" id="{E0F84B69-761B-C049-AB27-7AF9857E020C}"/>
                </a:ext>
              </a:extLst>
            </p:cNvPr>
            <p:cNvSpPr/>
            <p:nvPr/>
          </p:nvSpPr>
          <p:spPr>
            <a:xfrm>
              <a:off x="1668869"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92" name="순서도: 처리 259">
              <a:extLst>
                <a:ext uri="{FF2B5EF4-FFF2-40B4-BE49-F238E27FC236}">
                  <a16:creationId xmlns:a16="http://schemas.microsoft.com/office/drawing/2014/main" id="{42A2DE63-091D-674E-8A2A-27CDD14BCC20}"/>
                </a:ext>
              </a:extLst>
            </p:cNvPr>
            <p:cNvSpPr/>
            <p:nvPr/>
          </p:nvSpPr>
          <p:spPr>
            <a:xfrm>
              <a:off x="1820438"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293" name="순서도: 처리 260">
              <a:extLst>
                <a:ext uri="{FF2B5EF4-FFF2-40B4-BE49-F238E27FC236}">
                  <a16:creationId xmlns:a16="http://schemas.microsoft.com/office/drawing/2014/main" id="{B830C574-5B6F-374F-89DA-B23AE42C3FBE}"/>
                </a:ext>
              </a:extLst>
            </p:cNvPr>
            <p:cNvSpPr/>
            <p:nvPr/>
          </p:nvSpPr>
          <p:spPr>
            <a:xfrm>
              <a:off x="197200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4" name="순서도: 처리 261">
              <a:extLst>
                <a:ext uri="{FF2B5EF4-FFF2-40B4-BE49-F238E27FC236}">
                  <a16:creationId xmlns:a16="http://schemas.microsoft.com/office/drawing/2014/main" id="{F072A561-409E-ED41-A0B6-8756A3D0603C}"/>
                </a:ext>
              </a:extLst>
            </p:cNvPr>
            <p:cNvSpPr/>
            <p:nvPr/>
          </p:nvSpPr>
          <p:spPr>
            <a:xfrm>
              <a:off x="2123576"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5" name="순서도: 처리 262">
              <a:extLst>
                <a:ext uri="{FF2B5EF4-FFF2-40B4-BE49-F238E27FC236}">
                  <a16:creationId xmlns:a16="http://schemas.microsoft.com/office/drawing/2014/main" id="{0FA003C8-475B-E44F-9D38-2EAAAEE0357A}"/>
                </a:ext>
              </a:extLst>
            </p:cNvPr>
            <p:cNvSpPr/>
            <p:nvPr/>
          </p:nvSpPr>
          <p:spPr>
            <a:xfrm>
              <a:off x="2275145"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6" name="순서도: 처리 263">
              <a:extLst>
                <a:ext uri="{FF2B5EF4-FFF2-40B4-BE49-F238E27FC236}">
                  <a16:creationId xmlns:a16="http://schemas.microsoft.com/office/drawing/2014/main" id="{DE550F62-F9E8-0441-AB1A-8506A6EF6F08}"/>
                </a:ext>
              </a:extLst>
            </p:cNvPr>
            <p:cNvSpPr/>
            <p:nvPr/>
          </p:nvSpPr>
          <p:spPr>
            <a:xfrm>
              <a:off x="2426714"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7" name="순서도: 처리 264">
              <a:extLst>
                <a:ext uri="{FF2B5EF4-FFF2-40B4-BE49-F238E27FC236}">
                  <a16:creationId xmlns:a16="http://schemas.microsoft.com/office/drawing/2014/main" id="{C5D557B5-3D79-B24D-B74F-CB3DC78EB19F}"/>
                </a:ext>
              </a:extLst>
            </p:cNvPr>
            <p:cNvSpPr/>
            <p:nvPr/>
          </p:nvSpPr>
          <p:spPr>
            <a:xfrm>
              <a:off x="2578283"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8" name="순서도: 처리 265">
              <a:extLst>
                <a:ext uri="{FF2B5EF4-FFF2-40B4-BE49-F238E27FC236}">
                  <a16:creationId xmlns:a16="http://schemas.microsoft.com/office/drawing/2014/main" id="{A3FDF773-6ADD-7F45-B37B-14C1A1960146}"/>
                </a:ext>
              </a:extLst>
            </p:cNvPr>
            <p:cNvSpPr/>
            <p:nvPr/>
          </p:nvSpPr>
          <p:spPr>
            <a:xfrm>
              <a:off x="2729852"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9" name="순서도: 처리 266">
              <a:extLst>
                <a:ext uri="{FF2B5EF4-FFF2-40B4-BE49-F238E27FC236}">
                  <a16:creationId xmlns:a16="http://schemas.microsoft.com/office/drawing/2014/main" id="{75C0E4C4-24E8-A643-AAAE-3243D4B4BC7E}"/>
                </a:ext>
              </a:extLst>
            </p:cNvPr>
            <p:cNvSpPr/>
            <p:nvPr/>
          </p:nvSpPr>
          <p:spPr>
            <a:xfrm>
              <a:off x="2881421"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00" name="순서도: 처리 267">
              <a:extLst>
                <a:ext uri="{FF2B5EF4-FFF2-40B4-BE49-F238E27FC236}">
                  <a16:creationId xmlns:a16="http://schemas.microsoft.com/office/drawing/2014/main" id="{1C6DEAF7-DB54-0044-BF35-A021DEAB343E}"/>
                </a:ext>
              </a:extLst>
            </p:cNvPr>
            <p:cNvSpPr/>
            <p:nvPr/>
          </p:nvSpPr>
          <p:spPr>
            <a:xfrm>
              <a:off x="3032990"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01" name="순서도: 처리 268">
              <a:extLst>
                <a:ext uri="{FF2B5EF4-FFF2-40B4-BE49-F238E27FC236}">
                  <a16:creationId xmlns:a16="http://schemas.microsoft.com/office/drawing/2014/main" id="{B4A5071F-C0E7-7C42-91F0-E82A1204FEE7}"/>
                </a:ext>
              </a:extLst>
            </p:cNvPr>
            <p:cNvSpPr/>
            <p:nvPr/>
          </p:nvSpPr>
          <p:spPr>
            <a:xfrm>
              <a:off x="3184559"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02" name="순서도: 처리 269">
              <a:extLst>
                <a:ext uri="{FF2B5EF4-FFF2-40B4-BE49-F238E27FC236}">
                  <a16:creationId xmlns:a16="http://schemas.microsoft.com/office/drawing/2014/main" id="{C26E60AC-645F-E041-955C-EA0009CA677C}"/>
                </a:ext>
              </a:extLst>
            </p:cNvPr>
            <p:cNvSpPr/>
            <p:nvPr/>
          </p:nvSpPr>
          <p:spPr>
            <a:xfrm>
              <a:off x="333612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03" name="TextBox 302">
              <a:extLst>
                <a:ext uri="{FF2B5EF4-FFF2-40B4-BE49-F238E27FC236}">
                  <a16:creationId xmlns:a16="http://schemas.microsoft.com/office/drawing/2014/main" id="{54804E55-3638-634D-B83E-BD7DA35570C1}"/>
                </a:ext>
              </a:extLst>
            </p:cNvPr>
            <p:cNvSpPr txBox="1"/>
            <p:nvPr/>
          </p:nvSpPr>
          <p:spPr>
            <a:xfrm>
              <a:off x="3516590" y="2980871"/>
              <a:ext cx="742266" cy="461665"/>
            </a:xfrm>
            <a:prstGeom prst="rect">
              <a:avLst/>
            </a:prstGeom>
            <a:noFill/>
          </p:spPr>
          <p:txBody>
            <a:bodyPr wrap="none" rtlCol="0" anchor="ctr">
              <a:spAutoFit/>
            </a:bodyPr>
            <a:lstStyle/>
            <a:p>
              <a:r>
                <a:rPr lang="en-US" altLang="ko-KR" sz="2400" b="1">
                  <a:solidFill>
                    <a:srgbClr val="333657"/>
                  </a:solidFill>
                </a:rPr>
                <a:t>50</a:t>
              </a:r>
              <a:r>
                <a:rPr lang="en-US" altLang="ko-KR" sz="1200" b="1">
                  <a:solidFill>
                    <a:srgbClr val="333657"/>
                  </a:solidFill>
                </a:rPr>
                <a:t>%</a:t>
              </a:r>
              <a:endParaRPr lang="ko-KR" altLang="en-US" sz="1200" b="1">
                <a:solidFill>
                  <a:srgbClr val="333657"/>
                </a:solidFill>
              </a:endParaRPr>
            </a:p>
          </p:txBody>
        </p:sp>
        <p:sp>
          <p:nvSpPr>
            <p:cNvPr id="304" name="TextBox 303">
              <a:extLst>
                <a:ext uri="{FF2B5EF4-FFF2-40B4-BE49-F238E27FC236}">
                  <a16:creationId xmlns:a16="http://schemas.microsoft.com/office/drawing/2014/main" id="{EA43FB1E-4517-694E-BB99-A3D2E3BB774B}"/>
                </a:ext>
              </a:extLst>
            </p:cNvPr>
            <p:cNvSpPr txBox="1"/>
            <p:nvPr/>
          </p:nvSpPr>
          <p:spPr>
            <a:xfrm>
              <a:off x="371476" y="3496482"/>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305" name="순서도: 처리 273">
              <a:extLst>
                <a:ext uri="{FF2B5EF4-FFF2-40B4-BE49-F238E27FC236}">
                  <a16:creationId xmlns:a16="http://schemas.microsoft.com/office/drawing/2014/main" id="{6D84FCCF-6AF8-E94B-932B-CAA2AF9175E7}"/>
                </a:ext>
              </a:extLst>
            </p:cNvPr>
            <p:cNvSpPr/>
            <p:nvPr/>
          </p:nvSpPr>
          <p:spPr>
            <a:xfrm>
              <a:off x="45357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06" name="순서도: 처리 274">
              <a:extLst>
                <a:ext uri="{FF2B5EF4-FFF2-40B4-BE49-F238E27FC236}">
                  <a16:creationId xmlns:a16="http://schemas.microsoft.com/office/drawing/2014/main" id="{FB7B3EBB-CE30-6840-9449-E553B6B4108F}"/>
                </a:ext>
              </a:extLst>
            </p:cNvPr>
            <p:cNvSpPr/>
            <p:nvPr/>
          </p:nvSpPr>
          <p:spPr>
            <a:xfrm>
              <a:off x="60514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07" name="순서도: 처리 275">
              <a:extLst>
                <a:ext uri="{FF2B5EF4-FFF2-40B4-BE49-F238E27FC236}">
                  <a16:creationId xmlns:a16="http://schemas.microsoft.com/office/drawing/2014/main" id="{7BF9AD9E-9B22-0343-BAE6-0D21876FCE92}"/>
                </a:ext>
              </a:extLst>
            </p:cNvPr>
            <p:cNvSpPr/>
            <p:nvPr/>
          </p:nvSpPr>
          <p:spPr>
            <a:xfrm>
              <a:off x="75670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08" name="순서도: 처리 276">
              <a:extLst>
                <a:ext uri="{FF2B5EF4-FFF2-40B4-BE49-F238E27FC236}">
                  <a16:creationId xmlns:a16="http://schemas.microsoft.com/office/drawing/2014/main" id="{51C78E9B-E757-0C44-8F83-1F8467857FC5}"/>
                </a:ext>
              </a:extLst>
            </p:cNvPr>
            <p:cNvSpPr/>
            <p:nvPr/>
          </p:nvSpPr>
          <p:spPr>
            <a:xfrm>
              <a:off x="90827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09" name="순서도: 처리 277">
              <a:extLst>
                <a:ext uri="{FF2B5EF4-FFF2-40B4-BE49-F238E27FC236}">
                  <a16:creationId xmlns:a16="http://schemas.microsoft.com/office/drawing/2014/main" id="{F3E210BD-34FD-3249-9F2E-ECE7B9430692}"/>
                </a:ext>
              </a:extLst>
            </p:cNvPr>
            <p:cNvSpPr/>
            <p:nvPr/>
          </p:nvSpPr>
          <p:spPr>
            <a:xfrm>
              <a:off x="105984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0" name="순서도: 처리 278">
              <a:extLst>
                <a:ext uri="{FF2B5EF4-FFF2-40B4-BE49-F238E27FC236}">
                  <a16:creationId xmlns:a16="http://schemas.microsoft.com/office/drawing/2014/main" id="{37C9FEAC-BAF5-8C41-B7A2-AB3923508CC7}"/>
                </a:ext>
              </a:extLst>
            </p:cNvPr>
            <p:cNvSpPr/>
            <p:nvPr/>
          </p:nvSpPr>
          <p:spPr>
            <a:xfrm>
              <a:off x="1211416"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1" name="순서도: 처리 279">
              <a:extLst>
                <a:ext uri="{FF2B5EF4-FFF2-40B4-BE49-F238E27FC236}">
                  <a16:creationId xmlns:a16="http://schemas.microsoft.com/office/drawing/2014/main" id="{02EF0446-5304-5249-A65C-56969943FA3E}"/>
                </a:ext>
              </a:extLst>
            </p:cNvPr>
            <p:cNvSpPr/>
            <p:nvPr/>
          </p:nvSpPr>
          <p:spPr>
            <a:xfrm>
              <a:off x="1362985"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2" name="순서도: 처리 280">
              <a:extLst>
                <a:ext uri="{FF2B5EF4-FFF2-40B4-BE49-F238E27FC236}">
                  <a16:creationId xmlns:a16="http://schemas.microsoft.com/office/drawing/2014/main" id="{B7246A73-7FE0-5049-A1B1-DEA47FB832F3}"/>
                </a:ext>
              </a:extLst>
            </p:cNvPr>
            <p:cNvSpPr/>
            <p:nvPr/>
          </p:nvSpPr>
          <p:spPr>
            <a:xfrm>
              <a:off x="1514554"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3" name="순서도: 처리 281">
              <a:extLst>
                <a:ext uri="{FF2B5EF4-FFF2-40B4-BE49-F238E27FC236}">
                  <a16:creationId xmlns:a16="http://schemas.microsoft.com/office/drawing/2014/main" id="{985C3807-3C3B-1243-A3E1-1DD957897966}"/>
                </a:ext>
              </a:extLst>
            </p:cNvPr>
            <p:cNvSpPr/>
            <p:nvPr/>
          </p:nvSpPr>
          <p:spPr>
            <a:xfrm>
              <a:off x="1666123"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4" name="순서도: 처리 282">
              <a:extLst>
                <a:ext uri="{FF2B5EF4-FFF2-40B4-BE49-F238E27FC236}">
                  <a16:creationId xmlns:a16="http://schemas.microsoft.com/office/drawing/2014/main" id="{FCD31E45-EC79-7B41-A230-F3AD58E7985A}"/>
                </a:ext>
              </a:extLst>
            </p:cNvPr>
            <p:cNvSpPr/>
            <p:nvPr/>
          </p:nvSpPr>
          <p:spPr>
            <a:xfrm>
              <a:off x="1817692"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5" name="순서도: 처리 283">
              <a:extLst>
                <a:ext uri="{FF2B5EF4-FFF2-40B4-BE49-F238E27FC236}">
                  <a16:creationId xmlns:a16="http://schemas.microsoft.com/office/drawing/2014/main" id="{CA664829-FDE9-3147-86DE-01ACB3B2DCA3}"/>
                </a:ext>
              </a:extLst>
            </p:cNvPr>
            <p:cNvSpPr/>
            <p:nvPr/>
          </p:nvSpPr>
          <p:spPr>
            <a:xfrm>
              <a:off x="196926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6" name="순서도: 처리 284">
              <a:extLst>
                <a:ext uri="{FF2B5EF4-FFF2-40B4-BE49-F238E27FC236}">
                  <a16:creationId xmlns:a16="http://schemas.microsoft.com/office/drawing/2014/main" id="{8B36BEA3-456D-004E-AA09-35A658DC82D3}"/>
                </a:ext>
              </a:extLst>
            </p:cNvPr>
            <p:cNvSpPr/>
            <p:nvPr/>
          </p:nvSpPr>
          <p:spPr>
            <a:xfrm>
              <a:off x="212083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7" name="순서도: 처리 285">
              <a:extLst>
                <a:ext uri="{FF2B5EF4-FFF2-40B4-BE49-F238E27FC236}">
                  <a16:creationId xmlns:a16="http://schemas.microsoft.com/office/drawing/2014/main" id="{5C9CEFAD-B465-A14A-BD58-5A6AAB22C19E}"/>
                </a:ext>
              </a:extLst>
            </p:cNvPr>
            <p:cNvSpPr/>
            <p:nvPr/>
          </p:nvSpPr>
          <p:spPr>
            <a:xfrm>
              <a:off x="227239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8" name="순서도: 처리 286">
              <a:extLst>
                <a:ext uri="{FF2B5EF4-FFF2-40B4-BE49-F238E27FC236}">
                  <a16:creationId xmlns:a16="http://schemas.microsoft.com/office/drawing/2014/main" id="{CE497554-6B2E-B549-9EFB-AC8B2AF39E5E}"/>
                </a:ext>
              </a:extLst>
            </p:cNvPr>
            <p:cNvSpPr/>
            <p:nvPr/>
          </p:nvSpPr>
          <p:spPr>
            <a:xfrm>
              <a:off x="242396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19" name="순서도: 처리 287">
              <a:extLst>
                <a:ext uri="{FF2B5EF4-FFF2-40B4-BE49-F238E27FC236}">
                  <a16:creationId xmlns:a16="http://schemas.microsoft.com/office/drawing/2014/main" id="{2CFF611F-B37F-6149-ADCD-2087CFAE3674}"/>
                </a:ext>
              </a:extLst>
            </p:cNvPr>
            <p:cNvSpPr/>
            <p:nvPr/>
          </p:nvSpPr>
          <p:spPr>
            <a:xfrm>
              <a:off x="257553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20" name="순서도: 처리 288">
              <a:extLst>
                <a:ext uri="{FF2B5EF4-FFF2-40B4-BE49-F238E27FC236}">
                  <a16:creationId xmlns:a16="http://schemas.microsoft.com/office/drawing/2014/main" id="{19695A26-EA85-3046-942C-B903130EBD58}"/>
                </a:ext>
              </a:extLst>
            </p:cNvPr>
            <p:cNvSpPr/>
            <p:nvPr/>
          </p:nvSpPr>
          <p:spPr>
            <a:xfrm>
              <a:off x="2727106"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1" name="순서도: 처리 289">
              <a:extLst>
                <a:ext uri="{FF2B5EF4-FFF2-40B4-BE49-F238E27FC236}">
                  <a16:creationId xmlns:a16="http://schemas.microsoft.com/office/drawing/2014/main" id="{E53B6F6A-E776-B244-AD99-1024CAC6F83F}"/>
                </a:ext>
              </a:extLst>
            </p:cNvPr>
            <p:cNvSpPr/>
            <p:nvPr/>
          </p:nvSpPr>
          <p:spPr>
            <a:xfrm>
              <a:off x="2878675"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2" name="순서도: 처리 290">
              <a:extLst>
                <a:ext uri="{FF2B5EF4-FFF2-40B4-BE49-F238E27FC236}">
                  <a16:creationId xmlns:a16="http://schemas.microsoft.com/office/drawing/2014/main" id="{9DD76B1F-EED6-5245-AA21-19B974936DC7}"/>
                </a:ext>
              </a:extLst>
            </p:cNvPr>
            <p:cNvSpPr/>
            <p:nvPr/>
          </p:nvSpPr>
          <p:spPr>
            <a:xfrm>
              <a:off x="3030244"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3" name="순서도: 처리 291">
              <a:extLst>
                <a:ext uri="{FF2B5EF4-FFF2-40B4-BE49-F238E27FC236}">
                  <a16:creationId xmlns:a16="http://schemas.microsoft.com/office/drawing/2014/main" id="{5D8E852F-176D-A142-A2BA-AC0418A28DC6}"/>
                </a:ext>
              </a:extLst>
            </p:cNvPr>
            <p:cNvSpPr/>
            <p:nvPr/>
          </p:nvSpPr>
          <p:spPr>
            <a:xfrm>
              <a:off x="3181813"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4" name="순서도: 처리 292">
              <a:extLst>
                <a:ext uri="{FF2B5EF4-FFF2-40B4-BE49-F238E27FC236}">
                  <a16:creationId xmlns:a16="http://schemas.microsoft.com/office/drawing/2014/main" id="{D7249EA5-0E16-2C41-B2ED-6DE27DD562DE}"/>
                </a:ext>
              </a:extLst>
            </p:cNvPr>
            <p:cNvSpPr/>
            <p:nvPr/>
          </p:nvSpPr>
          <p:spPr>
            <a:xfrm>
              <a:off x="3333381"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5" name="TextBox 324">
              <a:extLst>
                <a:ext uri="{FF2B5EF4-FFF2-40B4-BE49-F238E27FC236}">
                  <a16:creationId xmlns:a16="http://schemas.microsoft.com/office/drawing/2014/main" id="{D6C8BAF0-E552-5643-952C-CCE4EA750C27}"/>
                </a:ext>
              </a:extLst>
            </p:cNvPr>
            <p:cNvSpPr txBox="1"/>
            <p:nvPr/>
          </p:nvSpPr>
          <p:spPr>
            <a:xfrm>
              <a:off x="3513843" y="3721115"/>
              <a:ext cx="742266" cy="461665"/>
            </a:xfrm>
            <a:prstGeom prst="rect">
              <a:avLst/>
            </a:prstGeom>
            <a:noFill/>
          </p:spPr>
          <p:txBody>
            <a:bodyPr wrap="none" rtlCol="0" anchor="ctr">
              <a:spAutoFit/>
            </a:bodyPr>
            <a:lstStyle/>
            <a:p>
              <a:r>
                <a:rPr lang="en-US" altLang="ko-KR" sz="2400" b="1">
                  <a:solidFill>
                    <a:srgbClr val="333657"/>
                  </a:solidFill>
                </a:rPr>
                <a:t>75</a:t>
              </a:r>
              <a:r>
                <a:rPr lang="en-US" altLang="ko-KR" sz="1200" b="1">
                  <a:solidFill>
                    <a:srgbClr val="333657"/>
                  </a:solidFill>
                </a:rPr>
                <a:t>%</a:t>
              </a:r>
              <a:endParaRPr lang="ko-KR" altLang="en-US" sz="1200" b="1">
                <a:solidFill>
                  <a:srgbClr val="333657"/>
                </a:solidFill>
              </a:endParaRPr>
            </a:p>
          </p:txBody>
        </p:sp>
        <p:cxnSp>
          <p:nvCxnSpPr>
            <p:cNvPr id="326" name="직선 연결선 294">
              <a:extLst>
                <a:ext uri="{FF2B5EF4-FFF2-40B4-BE49-F238E27FC236}">
                  <a16:creationId xmlns:a16="http://schemas.microsoft.com/office/drawing/2014/main" id="{5799A001-5044-1641-8510-71E5BF642B15}"/>
                </a:ext>
              </a:extLst>
            </p:cNvPr>
            <p:cNvCxnSpPr/>
            <p:nvPr/>
          </p:nvCxnSpPr>
          <p:spPr bwMode="auto">
            <a:xfrm>
              <a:off x="840467" y="4737161"/>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7" name="직선 연결선 295">
              <a:extLst>
                <a:ext uri="{FF2B5EF4-FFF2-40B4-BE49-F238E27FC236}">
                  <a16:creationId xmlns:a16="http://schemas.microsoft.com/office/drawing/2014/main" id="{095E7D45-3725-5B4F-B2F0-8AF04BC05B4B}"/>
                </a:ext>
              </a:extLst>
            </p:cNvPr>
            <p:cNvCxnSpPr/>
            <p:nvPr/>
          </p:nvCxnSpPr>
          <p:spPr bwMode="auto">
            <a:xfrm>
              <a:off x="840467" y="4432349"/>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28" name="TextBox 327">
              <a:extLst>
                <a:ext uri="{FF2B5EF4-FFF2-40B4-BE49-F238E27FC236}">
                  <a16:creationId xmlns:a16="http://schemas.microsoft.com/office/drawing/2014/main" id="{C9E6F6F5-0E1E-F140-823B-E3C4EA53B31A}"/>
                </a:ext>
              </a:extLst>
            </p:cNvPr>
            <p:cNvSpPr txBox="1"/>
            <p:nvPr/>
          </p:nvSpPr>
          <p:spPr>
            <a:xfrm>
              <a:off x="840467" y="4423492"/>
              <a:ext cx="885630" cy="307777"/>
            </a:xfrm>
            <a:prstGeom prst="rect">
              <a:avLst/>
            </a:prstGeom>
            <a:noFill/>
          </p:spPr>
          <p:txBody>
            <a:bodyPr wrap="none" rtlCol="0" anchor="ctr">
              <a:spAutoFit/>
            </a:bodyPr>
            <a:lstStyle/>
            <a:p>
              <a:r>
                <a:rPr lang="en-US" altLang="ko-KR" sz="1400" b="1">
                  <a:solidFill>
                    <a:schemeClr val="tx1">
                      <a:lumMod val="75000"/>
                      <a:lumOff val="25000"/>
                    </a:schemeClr>
                  </a:solidFill>
                </a:rPr>
                <a:t>B Case</a:t>
              </a:r>
              <a:endParaRPr lang="ko-KR" altLang="en-US" sz="1400" b="1">
                <a:solidFill>
                  <a:schemeClr val="tx1">
                    <a:lumMod val="75000"/>
                    <a:lumOff val="25000"/>
                  </a:schemeClr>
                </a:solidFill>
              </a:endParaRPr>
            </a:p>
          </p:txBody>
        </p:sp>
        <p:sp>
          <p:nvSpPr>
            <p:cNvPr id="329" name="타원 297">
              <a:extLst>
                <a:ext uri="{FF2B5EF4-FFF2-40B4-BE49-F238E27FC236}">
                  <a16:creationId xmlns:a16="http://schemas.microsoft.com/office/drawing/2014/main" id="{4974B522-64C5-D447-B744-4E03A5B557B6}"/>
                </a:ext>
              </a:extLst>
            </p:cNvPr>
            <p:cNvSpPr/>
            <p:nvPr/>
          </p:nvSpPr>
          <p:spPr>
            <a:xfrm>
              <a:off x="371475" y="4373660"/>
              <a:ext cx="402455" cy="360000"/>
            </a:xfrm>
            <a:prstGeom prst="ellipse">
              <a:avLst/>
            </a:prstGeom>
            <a:solidFill>
              <a:srgbClr val="C9CAE1"/>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400"/>
            </a:p>
          </p:txBody>
        </p:sp>
        <p:sp>
          <p:nvSpPr>
            <p:cNvPr id="330" name="TextBox 329">
              <a:extLst>
                <a:ext uri="{FF2B5EF4-FFF2-40B4-BE49-F238E27FC236}">
                  <a16:creationId xmlns:a16="http://schemas.microsoft.com/office/drawing/2014/main" id="{085EDED2-7A35-A74A-AF0F-C988C9614768}"/>
                </a:ext>
              </a:extLst>
            </p:cNvPr>
            <p:cNvSpPr txBox="1"/>
            <p:nvPr/>
          </p:nvSpPr>
          <p:spPr>
            <a:xfrm>
              <a:off x="371476" y="4825490"/>
              <a:ext cx="3419429" cy="646331"/>
            </a:xfrm>
            <a:prstGeom prst="rect">
              <a:avLst/>
            </a:prstGeom>
            <a:noFill/>
          </p:spPr>
          <p:txBody>
            <a:bodyPr wrap="square" rtlCol="0">
              <a:spAutoFit/>
            </a:bodyPr>
            <a:lstStyle/>
            <a:p>
              <a:r>
                <a:rPr lang="en-US" altLang="ko-KR" sz="1200">
                  <a:solidFill>
                    <a:schemeClr val="tx1">
                      <a:lumMod val="75000"/>
                      <a:lumOff val="25000"/>
                    </a:schemeClr>
                  </a:solidFill>
                </a:rPr>
                <a:t>You can simply impress your audience and add a unique zing and appeal to your Reports and Presentations with our Templates.</a:t>
              </a:r>
            </a:p>
          </p:txBody>
        </p:sp>
      </p:grpSp>
      <p:grpSp>
        <p:nvGrpSpPr>
          <p:cNvPr id="331" name="Group 330">
            <a:extLst>
              <a:ext uri="{FF2B5EF4-FFF2-40B4-BE49-F238E27FC236}">
                <a16:creationId xmlns:a16="http://schemas.microsoft.com/office/drawing/2014/main" id="{AFEE10EE-35C4-4F46-929C-70E18B6420EC}"/>
              </a:ext>
            </a:extLst>
          </p:cNvPr>
          <p:cNvGrpSpPr/>
          <p:nvPr/>
        </p:nvGrpSpPr>
        <p:grpSpPr>
          <a:xfrm>
            <a:off x="8310985" y="1719242"/>
            <a:ext cx="3477854" cy="3311393"/>
            <a:chOff x="371475" y="2160428"/>
            <a:chExt cx="3888000" cy="3311393"/>
          </a:xfrm>
        </p:grpSpPr>
        <p:cxnSp>
          <p:nvCxnSpPr>
            <p:cNvPr id="332" name="직선 연결선 4">
              <a:extLst>
                <a:ext uri="{FF2B5EF4-FFF2-40B4-BE49-F238E27FC236}">
                  <a16:creationId xmlns:a16="http://schemas.microsoft.com/office/drawing/2014/main" id="{4A7F4933-7F46-CD45-9CD0-B1D159C21B32}"/>
                </a:ext>
              </a:extLst>
            </p:cNvPr>
            <p:cNvCxnSpPr/>
            <p:nvPr/>
          </p:nvCxnSpPr>
          <p:spPr bwMode="auto">
            <a:xfrm>
              <a:off x="371475" y="2468204"/>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3" name="직선 연결선 8">
              <a:extLst>
                <a:ext uri="{FF2B5EF4-FFF2-40B4-BE49-F238E27FC236}">
                  <a16:creationId xmlns:a16="http://schemas.microsoft.com/office/drawing/2014/main" id="{187A3A8E-18D8-2344-9CFE-9281A5C38668}"/>
                </a:ext>
              </a:extLst>
            </p:cNvPr>
            <p:cNvCxnSpPr/>
            <p:nvPr/>
          </p:nvCxnSpPr>
          <p:spPr bwMode="auto">
            <a:xfrm>
              <a:off x="371475" y="2163392"/>
              <a:ext cx="3888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34" name="TextBox 333">
              <a:extLst>
                <a:ext uri="{FF2B5EF4-FFF2-40B4-BE49-F238E27FC236}">
                  <a16:creationId xmlns:a16="http://schemas.microsoft.com/office/drawing/2014/main" id="{B4AA030E-0152-A646-BA4F-B13DF1C9449F}"/>
                </a:ext>
              </a:extLst>
            </p:cNvPr>
            <p:cNvSpPr txBox="1"/>
            <p:nvPr/>
          </p:nvSpPr>
          <p:spPr>
            <a:xfrm>
              <a:off x="371475" y="2160428"/>
              <a:ext cx="885630" cy="307777"/>
            </a:xfrm>
            <a:prstGeom prst="rect">
              <a:avLst/>
            </a:prstGeom>
            <a:noFill/>
          </p:spPr>
          <p:txBody>
            <a:bodyPr wrap="none" rtlCol="0" anchor="ctr">
              <a:spAutoFit/>
            </a:bodyPr>
            <a:lstStyle/>
            <a:p>
              <a:r>
                <a:rPr lang="en-US" altLang="ko-KR" sz="1400" b="1">
                  <a:ln w="3175">
                    <a:noFill/>
                  </a:ln>
                  <a:solidFill>
                    <a:srgbClr val="333657"/>
                  </a:solidFill>
                </a:rPr>
                <a:t>C Case</a:t>
              </a:r>
              <a:endParaRPr lang="ko-KR" altLang="en-US" sz="1400" b="1">
                <a:ln w="3175">
                  <a:noFill/>
                </a:ln>
                <a:solidFill>
                  <a:srgbClr val="333657"/>
                </a:solidFill>
              </a:endParaRPr>
            </a:p>
          </p:txBody>
        </p:sp>
        <p:sp>
          <p:nvSpPr>
            <p:cNvPr id="335" name="TextBox 334">
              <a:extLst>
                <a:ext uri="{FF2B5EF4-FFF2-40B4-BE49-F238E27FC236}">
                  <a16:creationId xmlns:a16="http://schemas.microsoft.com/office/drawing/2014/main" id="{44A3ABF7-8C95-294A-8FC2-8FED02490A93}"/>
                </a:ext>
              </a:extLst>
            </p:cNvPr>
            <p:cNvSpPr txBox="1"/>
            <p:nvPr/>
          </p:nvSpPr>
          <p:spPr>
            <a:xfrm>
              <a:off x="371476" y="2756238"/>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336" name="순서도: 처리 250">
              <a:extLst>
                <a:ext uri="{FF2B5EF4-FFF2-40B4-BE49-F238E27FC236}">
                  <a16:creationId xmlns:a16="http://schemas.microsoft.com/office/drawing/2014/main" id="{3C3B4FF2-8E60-CE49-BB1E-281AF8448CE9}"/>
                </a:ext>
              </a:extLst>
            </p:cNvPr>
            <p:cNvSpPr/>
            <p:nvPr/>
          </p:nvSpPr>
          <p:spPr>
            <a:xfrm>
              <a:off x="456317"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37" name="순서도: 처리 251">
              <a:extLst>
                <a:ext uri="{FF2B5EF4-FFF2-40B4-BE49-F238E27FC236}">
                  <a16:creationId xmlns:a16="http://schemas.microsoft.com/office/drawing/2014/main" id="{401B5242-D227-404F-8249-5C46BBD5513F}"/>
                </a:ext>
              </a:extLst>
            </p:cNvPr>
            <p:cNvSpPr/>
            <p:nvPr/>
          </p:nvSpPr>
          <p:spPr>
            <a:xfrm>
              <a:off x="607886"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38" name="순서도: 처리 252">
              <a:extLst>
                <a:ext uri="{FF2B5EF4-FFF2-40B4-BE49-F238E27FC236}">
                  <a16:creationId xmlns:a16="http://schemas.microsoft.com/office/drawing/2014/main" id="{35978EDD-3D3C-5641-842D-02122A55E843}"/>
                </a:ext>
              </a:extLst>
            </p:cNvPr>
            <p:cNvSpPr/>
            <p:nvPr/>
          </p:nvSpPr>
          <p:spPr>
            <a:xfrm>
              <a:off x="759455"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39" name="순서도: 처리 253">
              <a:extLst>
                <a:ext uri="{FF2B5EF4-FFF2-40B4-BE49-F238E27FC236}">
                  <a16:creationId xmlns:a16="http://schemas.microsoft.com/office/drawing/2014/main" id="{15FEA08A-413F-7F45-B5E2-A9C9ED0C8FBF}"/>
                </a:ext>
              </a:extLst>
            </p:cNvPr>
            <p:cNvSpPr/>
            <p:nvPr/>
          </p:nvSpPr>
          <p:spPr>
            <a:xfrm>
              <a:off x="911024"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0" name="순서도: 처리 254">
              <a:extLst>
                <a:ext uri="{FF2B5EF4-FFF2-40B4-BE49-F238E27FC236}">
                  <a16:creationId xmlns:a16="http://schemas.microsoft.com/office/drawing/2014/main" id="{5A5C466B-AB14-5740-AABB-D63C13EC881B}"/>
                </a:ext>
              </a:extLst>
            </p:cNvPr>
            <p:cNvSpPr/>
            <p:nvPr/>
          </p:nvSpPr>
          <p:spPr>
            <a:xfrm>
              <a:off x="1062593"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1" name="순서도: 처리 255">
              <a:extLst>
                <a:ext uri="{FF2B5EF4-FFF2-40B4-BE49-F238E27FC236}">
                  <a16:creationId xmlns:a16="http://schemas.microsoft.com/office/drawing/2014/main" id="{58491B4C-FB68-6248-B894-8FE7B1B0B984}"/>
                </a:ext>
              </a:extLst>
            </p:cNvPr>
            <p:cNvSpPr/>
            <p:nvPr/>
          </p:nvSpPr>
          <p:spPr>
            <a:xfrm>
              <a:off x="1214162"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2" name="순서도: 처리 256">
              <a:extLst>
                <a:ext uri="{FF2B5EF4-FFF2-40B4-BE49-F238E27FC236}">
                  <a16:creationId xmlns:a16="http://schemas.microsoft.com/office/drawing/2014/main" id="{96821580-A737-6042-8291-83234FEAC3A6}"/>
                </a:ext>
              </a:extLst>
            </p:cNvPr>
            <p:cNvSpPr/>
            <p:nvPr/>
          </p:nvSpPr>
          <p:spPr>
            <a:xfrm>
              <a:off x="1365731"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3" name="순서도: 처리 257">
              <a:extLst>
                <a:ext uri="{FF2B5EF4-FFF2-40B4-BE49-F238E27FC236}">
                  <a16:creationId xmlns:a16="http://schemas.microsoft.com/office/drawing/2014/main" id="{00F6DF8B-0308-8043-94F4-F1DC9045E9FF}"/>
                </a:ext>
              </a:extLst>
            </p:cNvPr>
            <p:cNvSpPr/>
            <p:nvPr/>
          </p:nvSpPr>
          <p:spPr>
            <a:xfrm>
              <a:off x="1517300"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4" name="순서도: 처리 258">
              <a:extLst>
                <a:ext uri="{FF2B5EF4-FFF2-40B4-BE49-F238E27FC236}">
                  <a16:creationId xmlns:a16="http://schemas.microsoft.com/office/drawing/2014/main" id="{5A4669E4-4B82-A440-9966-4144BD8742D6}"/>
                </a:ext>
              </a:extLst>
            </p:cNvPr>
            <p:cNvSpPr/>
            <p:nvPr/>
          </p:nvSpPr>
          <p:spPr>
            <a:xfrm>
              <a:off x="1668869"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5" name="순서도: 처리 259">
              <a:extLst>
                <a:ext uri="{FF2B5EF4-FFF2-40B4-BE49-F238E27FC236}">
                  <a16:creationId xmlns:a16="http://schemas.microsoft.com/office/drawing/2014/main" id="{869AF08E-7629-9C49-A959-3A5F6CD35D5A}"/>
                </a:ext>
              </a:extLst>
            </p:cNvPr>
            <p:cNvSpPr/>
            <p:nvPr/>
          </p:nvSpPr>
          <p:spPr>
            <a:xfrm>
              <a:off x="1820438" y="3064197"/>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46" name="순서도: 처리 260">
              <a:extLst>
                <a:ext uri="{FF2B5EF4-FFF2-40B4-BE49-F238E27FC236}">
                  <a16:creationId xmlns:a16="http://schemas.microsoft.com/office/drawing/2014/main" id="{D027ABC8-BAED-E64B-9E45-282F095BFFA3}"/>
                </a:ext>
              </a:extLst>
            </p:cNvPr>
            <p:cNvSpPr/>
            <p:nvPr/>
          </p:nvSpPr>
          <p:spPr>
            <a:xfrm>
              <a:off x="197200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47" name="순서도: 처리 261">
              <a:extLst>
                <a:ext uri="{FF2B5EF4-FFF2-40B4-BE49-F238E27FC236}">
                  <a16:creationId xmlns:a16="http://schemas.microsoft.com/office/drawing/2014/main" id="{642FA5F4-6374-3647-AA0C-00DC13E5FDB7}"/>
                </a:ext>
              </a:extLst>
            </p:cNvPr>
            <p:cNvSpPr/>
            <p:nvPr/>
          </p:nvSpPr>
          <p:spPr>
            <a:xfrm>
              <a:off x="2123576"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48" name="순서도: 처리 262">
              <a:extLst>
                <a:ext uri="{FF2B5EF4-FFF2-40B4-BE49-F238E27FC236}">
                  <a16:creationId xmlns:a16="http://schemas.microsoft.com/office/drawing/2014/main" id="{9C63CF4F-5993-F345-8057-2B40A2B9752A}"/>
                </a:ext>
              </a:extLst>
            </p:cNvPr>
            <p:cNvSpPr/>
            <p:nvPr/>
          </p:nvSpPr>
          <p:spPr>
            <a:xfrm>
              <a:off x="2275145"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49" name="순서도: 처리 263">
              <a:extLst>
                <a:ext uri="{FF2B5EF4-FFF2-40B4-BE49-F238E27FC236}">
                  <a16:creationId xmlns:a16="http://schemas.microsoft.com/office/drawing/2014/main" id="{5F5C5585-EAFB-9249-BC63-7F9B5168592A}"/>
                </a:ext>
              </a:extLst>
            </p:cNvPr>
            <p:cNvSpPr/>
            <p:nvPr/>
          </p:nvSpPr>
          <p:spPr>
            <a:xfrm>
              <a:off x="2426714"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0" name="순서도: 처리 264">
              <a:extLst>
                <a:ext uri="{FF2B5EF4-FFF2-40B4-BE49-F238E27FC236}">
                  <a16:creationId xmlns:a16="http://schemas.microsoft.com/office/drawing/2014/main" id="{60BE8DE0-8934-8F40-A5F5-97DDBE5A49BA}"/>
                </a:ext>
              </a:extLst>
            </p:cNvPr>
            <p:cNvSpPr/>
            <p:nvPr/>
          </p:nvSpPr>
          <p:spPr>
            <a:xfrm>
              <a:off x="2578283"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1" name="순서도: 처리 265">
              <a:extLst>
                <a:ext uri="{FF2B5EF4-FFF2-40B4-BE49-F238E27FC236}">
                  <a16:creationId xmlns:a16="http://schemas.microsoft.com/office/drawing/2014/main" id="{AEAC61F3-40B2-E840-BC7C-A9A1DF647830}"/>
                </a:ext>
              </a:extLst>
            </p:cNvPr>
            <p:cNvSpPr/>
            <p:nvPr/>
          </p:nvSpPr>
          <p:spPr>
            <a:xfrm>
              <a:off x="2729852"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2" name="순서도: 처리 266">
              <a:extLst>
                <a:ext uri="{FF2B5EF4-FFF2-40B4-BE49-F238E27FC236}">
                  <a16:creationId xmlns:a16="http://schemas.microsoft.com/office/drawing/2014/main" id="{D1118088-3828-E14F-A7AF-34245F648AF9}"/>
                </a:ext>
              </a:extLst>
            </p:cNvPr>
            <p:cNvSpPr/>
            <p:nvPr/>
          </p:nvSpPr>
          <p:spPr>
            <a:xfrm>
              <a:off x="2881421"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3" name="순서도: 처리 267">
              <a:extLst>
                <a:ext uri="{FF2B5EF4-FFF2-40B4-BE49-F238E27FC236}">
                  <a16:creationId xmlns:a16="http://schemas.microsoft.com/office/drawing/2014/main" id="{4D5329E2-B081-5242-B398-D5632080D420}"/>
                </a:ext>
              </a:extLst>
            </p:cNvPr>
            <p:cNvSpPr/>
            <p:nvPr/>
          </p:nvSpPr>
          <p:spPr>
            <a:xfrm>
              <a:off x="3032990"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4" name="순서도: 처리 268">
              <a:extLst>
                <a:ext uri="{FF2B5EF4-FFF2-40B4-BE49-F238E27FC236}">
                  <a16:creationId xmlns:a16="http://schemas.microsoft.com/office/drawing/2014/main" id="{037299B5-0528-5143-8B07-E82B6388795E}"/>
                </a:ext>
              </a:extLst>
            </p:cNvPr>
            <p:cNvSpPr/>
            <p:nvPr/>
          </p:nvSpPr>
          <p:spPr>
            <a:xfrm>
              <a:off x="3184559"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5" name="순서도: 처리 269">
              <a:extLst>
                <a:ext uri="{FF2B5EF4-FFF2-40B4-BE49-F238E27FC236}">
                  <a16:creationId xmlns:a16="http://schemas.microsoft.com/office/drawing/2014/main" id="{6547B434-0D74-B241-AA1D-566CBBAD8266}"/>
                </a:ext>
              </a:extLst>
            </p:cNvPr>
            <p:cNvSpPr/>
            <p:nvPr/>
          </p:nvSpPr>
          <p:spPr>
            <a:xfrm>
              <a:off x="3336127" y="3064197"/>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6" name="TextBox 355">
              <a:extLst>
                <a:ext uri="{FF2B5EF4-FFF2-40B4-BE49-F238E27FC236}">
                  <a16:creationId xmlns:a16="http://schemas.microsoft.com/office/drawing/2014/main" id="{97419A9A-382A-0F47-830A-A7341EFE2BA4}"/>
                </a:ext>
              </a:extLst>
            </p:cNvPr>
            <p:cNvSpPr txBox="1"/>
            <p:nvPr/>
          </p:nvSpPr>
          <p:spPr>
            <a:xfrm>
              <a:off x="3516590" y="2980871"/>
              <a:ext cx="742266" cy="461665"/>
            </a:xfrm>
            <a:prstGeom prst="rect">
              <a:avLst/>
            </a:prstGeom>
            <a:noFill/>
          </p:spPr>
          <p:txBody>
            <a:bodyPr wrap="none" rtlCol="0" anchor="ctr">
              <a:spAutoFit/>
            </a:bodyPr>
            <a:lstStyle/>
            <a:p>
              <a:r>
                <a:rPr lang="en-US" altLang="ko-KR" sz="2400" b="1">
                  <a:solidFill>
                    <a:srgbClr val="333657"/>
                  </a:solidFill>
                </a:rPr>
                <a:t>50</a:t>
              </a:r>
              <a:r>
                <a:rPr lang="en-US" altLang="ko-KR" sz="1200" b="1">
                  <a:solidFill>
                    <a:srgbClr val="333657"/>
                  </a:solidFill>
                </a:rPr>
                <a:t>%</a:t>
              </a:r>
              <a:endParaRPr lang="ko-KR" altLang="en-US" sz="1200" b="1">
                <a:solidFill>
                  <a:srgbClr val="333657"/>
                </a:solidFill>
              </a:endParaRPr>
            </a:p>
          </p:txBody>
        </p:sp>
        <p:sp>
          <p:nvSpPr>
            <p:cNvPr id="357" name="TextBox 356">
              <a:extLst>
                <a:ext uri="{FF2B5EF4-FFF2-40B4-BE49-F238E27FC236}">
                  <a16:creationId xmlns:a16="http://schemas.microsoft.com/office/drawing/2014/main" id="{C6C8241A-588F-274D-BEB8-45E438A7918E}"/>
                </a:ext>
              </a:extLst>
            </p:cNvPr>
            <p:cNvSpPr txBox="1"/>
            <p:nvPr/>
          </p:nvSpPr>
          <p:spPr>
            <a:xfrm>
              <a:off x="371476" y="3496482"/>
              <a:ext cx="1149674" cy="276999"/>
            </a:xfrm>
            <a:prstGeom prst="rect">
              <a:avLst/>
            </a:prstGeom>
            <a:noFill/>
          </p:spPr>
          <p:txBody>
            <a:bodyPr wrap="none" rtlCol="0" anchor="ctr">
              <a:spAutoFit/>
            </a:bodyPr>
            <a:lstStyle/>
            <a:p>
              <a:r>
                <a:rPr lang="en-US" altLang="ko-KR" sz="1200" b="1">
                  <a:solidFill>
                    <a:schemeClr val="tx1">
                      <a:lumMod val="75000"/>
                      <a:lumOff val="25000"/>
                    </a:schemeClr>
                  </a:solidFill>
                </a:rPr>
                <a:t>Content Here</a:t>
              </a:r>
              <a:endParaRPr lang="ko-KR" altLang="en-US" sz="1200" b="1">
                <a:solidFill>
                  <a:schemeClr val="tx1">
                    <a:lumMod val="75000"/>
                    <a:lumOff val="25000"/>
                  </a:schemeClr>
                </a:solidFill>
              </a:endParaRPr>
            </a:p>
          </p:txBody>
        </p:sp>
        <p:sp>
          <p:nvSpPr>
            <p:cNvPr id="358" name="순서도: 처리 273">
              <a:extLst>
                <a:ext uri="{FF2B5EF4-FFF2-40B4-BE49-F238E27FC236}">
                  <a16:creationId xmlns:a16="http://schemas.microsoft.com/office/drawing/2014/main" id="{03282C48-4C4D-3A43-915D-ED8E1C916268}"/>
                </a:ext>
              </a:extLst>
            </p:cNvPr>
            <p:cNvSpPr/>
            <p:nvPr/>
          </p:nvSpPr>
          <p:spPr>
            <a:xfrm>
              <a:off x="45357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59" name="순서도: 처리 274">
              <a:extLst>
                <a:ext uri="{FF2B5EF4-FFF2-40B4-BE49-F238E27FC236}">
                  <a16:creationId xmlns:a16="http://schemas.microsoft.com/office/drawing/2014/main" id="{1149C493-F2BA-8E47-9CD4-37F7AB660D9E}"/>
                </a:ext>
              </a:extLst>
            </p:cNvPr>
            <p:cNvSpPr/>
            <p:nvPr/>
          </p:nvSpPr>
          <p:spPr>
            <a:xfrm>
              <a:off x="60514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0" name="순서도: 처리 275">
              <a:extLst>
                <a:ext uri="{FF2B5EF4-FFF2-40B4-BE49-F238E27FC236}">
                  <a16:creationId xmlns:a16="http://schemas.microsoft.com/office/drawing/2014/main" id="{5286BC67-4CDB-A640-BE17-0A338F9CAA30}"/>
                </a:ext>
              </a:extLst>
            </p:cNvPr>
            <p:cNvSpPr/>
            <p:nvPr/>
          </p:nvSpPr>
          <p:spPr>
            <a:xfrm>
              <a:off x="75670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1" name="순서도: 처리 276">
              <a:extLst>
                <a:ext uri="{FF2B5EF4-FFF2-40B4-BE49-F238E27FC236}">
                  <a16:creationId xmlns:a16="http://schemas.microsoft.com/office/drawing/2014/main" id="{C03A81A6-E2EE-DC46-9AA7-4F8D838842DB}"/>
                </a:ext>
              </a:extLst>
            </p:cNvPr>
            <p:cNvSpPr/>
            <p:nvPr/>
          </p:nvSpPr>
          <p:spPr>
            <a:xfrm>
              <a:off x="90827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2" name="순서도: 처리 277">
              <a:extLst>
                <a:ext uri="{FF2B5EF4-FFF2-40B4-BE49-F238E27FC236}">
                  <a16:creationId xmlns:a16="http://schemas.microsoft.com/office/drawing/2014/main" id="{239BEDE1-18FA-9D4A-8E6B-FECBC84C1601}"/>
                </a:ext>
              </a:extLst>
            </p:cNvPr>
            <p:cNvSpPr/>
            <p:nvPr/>
          </p:nvSpPr>
          <p:spPr>
            <a:xfrm>
              <a:off x="105984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3" name="순서도: 처리 278">
              <a:extLst>
                <a:ext uri="{FF2B5EF4-FFF2-40B4-BE49-F238E27FC236}">
                  <a16:creationId xmlns:a16="http://schemas.microsoft.com/office/drawing/2014/main" id="{A1ACBA9C-4975-024E-A65B-E5E2280DE990}"/>
                </a:ext>
              </a:extLst>
            </p:cNvPr>
            <p:cNvSpPr/>
            <p:nvPr/>
          </p:nvSpPr>
          <p:spPr>
            <a:xfrm>
              <a:off x="1211416"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4" name="순서도: 처리 279">
              <a:extLst>
                <a:ext uri="{FF2B5EF4-FFF2-40B4-BE49-F238E27FC236}">
                  <a16:creationId xmlns:a16="http://schemas.microsoft.com/office/drawing/2014/main" id="{DF2E4BBD-692A-F94D-93A2-73C3BD173DAE}"/>
                </a:ext>
              </a:extLst>
            </p:cNvPr>
            <p:cNvSpPr/>
            <p:nvPr/>
          </p:nvSpPr>
          <p:spPr>
            <a:xfrm>
              <a:off x="1362985"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5" name="순서도: 처리 280">
              <a:extLst>
                <a:ext uri="{FF2B5EF4-FFF2-40B4-BE49-F238E27FC236}">
                  <a16:creationId xmlns:a16="http://schemas.microsoft.com/office/drawing/2014/main" id="{F7F70D17-1E2A-E84E-9FB3-DFD09E2FB8FE}"/>
                </a:ext>
              </a:extLst>
            </p:cNvPr>
            <p:cNvSpPr/>
            <p:nvPr/>
          </p:nvSpPr>
          <p:spPr>
            <a:xfrm>
              <a:off x="1514554"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6" name="순서도: 처리 281">
              <a:extLst>
                <a:ext uri="{FF2B5EF4-FFF2-40B4-BE49-F238E27FC236}">
                  <a16:creationId xmlns:a16="http://schemas.microsoft.com/office/drawing/2014/main" id="{3F341B01-67F9-D446-9CD0-05B2E27A0F81}"/>
                </a:ext>
              </a:extLst>
            </p:cNvPr>
            <p:cNvSpPr/>
            <p:nvPr/>
          </p:nvSpPr>
          <p:spPr>
            <a:xfrm>
              <a:off x="1666123"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7" name="순서도: 처리 282">
              <a:extLst>
                <a:ext uri="{FF2B5EF4-FFF2-40B4-BE49-F238E27FC236}">
                  <a16:creationId xmlns:a16="http://schemas.microsoft.com/office/drawing/2014/main" id="{EB501F71-25F3-FF47-8551-620CF2FB24A5}"/>
                </a:ext>
              </a:extLst>
            </p:cNvPr>
            <p:cNvSpPr/>
            <p:nvPr/>
          </p:nvSpPr>
          <p:spPr>
            <a:xfrm>
              <a:off x="1817692"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8" name="순서도: 처리 283">
              <a:extLst>
                <a:ext uri="{FF2B5EF4-FFF2-40B4-BE49-F238E27FC236}">
                  <a16:creationId xmlns:a16="http://schemas.microsoft.com/office/drawing/2014/main" id="{0F594049-E191-DA40-826B-EDFB0E9F1E1A}"/>
                </a:ext>
              </a:extLst>
            </p:cNvPr>
            <p:cNvSpPr/>
            <p:nvPr/>
          </p:nvSpPr>
          <p:spPr>
            <a:xfrm>
              <a:off x="1969261"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69" name="순서도: 처리 284">
              <a:extLst>
                <a:ext uri="{FF2B5EF4-FFF2-40B4-BE49-F238E27FC236}">
                  <a16:creationId xmlns:a16="http://schemas.microsoft.com/office/drawing/2014/main" id="{EC7385E5-A7A4-A94F-92BE-E5CF9BC77F13}"/>
                </a:ext>
              </a:extLst>
            </p:cNvPr>
            <p:cNvSpPr/>
            <p:nvPr/>
          </p:nvSpPr>
          <p:spPr>
            <a:xfrm>
              <a:off x="2120830"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70" name="순서도: 처리 285">
              <a:extLst>
                <a:ext uri="{FF2B5EF4-FFF2-40B4-BE49-F238E27FC236}">
                  <a16:creationId xmlns:a16="http://schemas.microsoft.com/office/drawing/2014/main" id="{A65531CA-896C-C846-B53E-08838EDD9315}"/>
                </a:ext>
              </a:extLst>
            </p:cNvPr>
            <p:cNvSpPr/>
            <p:nvPr/>
          </p:nvSpPr>
          <p:spPr>
            <a:xfrm>
              <a:off x="2272399"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71" name="순서도: 처리 286">
              <a:extLst>
                <a:ext uri="{FF2B5EF4-FFF2-40B4-BE49-F238E27FC236}">
                  <a16:creationId xmlns:a16="http://schemas.microsoft.com/office/drawing/2014/main" id="{C718269D-CB86-824C-A74D-1138FB598B32}"/>
                </a:ext>
              </a:extLst>
            </p:cNvPr>
            <p:cNvSpPr/>
            <p:nvPr/>
          </p:nvSpPr>
          <p:spPr>
            <a:xfrm>
              <a:off x="2423968"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72" name="순서도: 처리 287">
              <a:extLst>
                <a:ext uri="{FF2B5EF4-FFF2-40B4-BE49-F238E27FC236}">
                  <a16:creationId xmlns:a16="http://schemas.microsoft.com/office/drawing/2014/main" id="{65EF70B1-C001-3543-A80E-41955D8C2D1E}"/>
                </a:ext>
              </a:extLst>
            </p:cNvPr>
            <p:cNvSpPr/>
            <p:nvPr/>
          </p:nvSpPr>
          <p:spPr>
            <a:xfrm>
              <a:off x="2575537" y="3804441"/>
              <a:ext cx="108000" cy="288032"/>
            </a:xfrm>
            <a:prstGeom prst="flowChartProcess">
              <a:avLst/>
            </a:prstGeom>
            <a:solidFill>
              <a:srgbClr val="3336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rgbClr val="81CD1B"/>
                </a:solidFill>
              </a:endParaRPr>
            </a:p>
          </p:txBody>
        </p:sp>
        <p:sp>
          <p:nvSpPr>
            <p:cNvPr id="373" name="순서도: 처리 288">
              <a:extLst>
                <a:ext uri="{FF2B5EF4-FFF2-40B4-BE49-F238E27FC236}">
                  <a16:creationId xmlns:a16="http://schemas.microsoft.com/office/drawing/2014/main" id="{D850068D-6EAD-A243-A59D-33445110C0EB}"/>
                </a:ext>
              </a:extLst>
            </p:cNvPr>
            <p:cNvSpPr/>
            <p:nvPr/>
          </p:nvSpPr>
          <p:spPr>
            <a:xfrm>
              <a:off x="2727106"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74" name="순서도: 처리 289">
              <a:extLst>
                <a:ext uri="{FF2B5EF4-FFF2-40B4-BE49-F238E27FC236}">
                  <a16:creationId xmlns:a16="http://schemas.microsoft.com/office/drawing/2014/main" id="{BD110FCA-B175-F24E-96B3-F115DC13F509}"/>
                </a:ext>
              </a:extLst>
            </p:cNvPr>
            <p:cNvSpPr/>
            <p:nvPr/>
          </p:nvSpPr>
          <p:spPr>
            <a:xfrm>
              <a:off x="2878675"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75" name="순서도: 처리 290">
              <a:extLst>
                <a:ext uri="{FF2B5EF4-FFF2-40B4-BE49-F238E27FC236}">
                  <a16:creationId xmlns:a16="http://schemas.microsoft.com/office/drawing/2014/main" id="{3330A825-F4D5-8744-AEAB-9FB98B95DE9F}"/>
                </a:ext>
              </a:extLst>
            </p:cNvPr>
            <p:cNvSpPr/>
            <p:nvPr/>
          </p:nvSpPr>
          <p:spPr>
            <a:xfrm>
              <a:off x="3030244"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76" name="순서도: 처리 291">
              <a:extLst>
                <a:ext uri="{FF2B5EF4-FFF2-40B4-BE49-F238E27FC236}">
                  <a16:creationId xmlns:a16="http://schemas.microsoft.com/office/drawing/2014/main" id="{CDFD5124-72B4-BE43-8AA7-145CD37779D7}"/>
                </a:ext>
              </a:extLst>
            </p:cNvPr>
            <p:cNvSpPr/>
            <p:nvPr/>
          </p:nvSpPr>
          <p:spPr>
            <a:xfrm>
              <a:off x="3181813"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77" name="순서도: 처리 292">
              <a:extLst>
                <a:ext uri="{FF2B5EF4-FFF2-40B4-BE49-F238E27FC236}">
                  <a16:creationId xmlns:a16="http://schemas.microsoft.com/office/drawing/2014/main" id="{3297BD26-34DB-4646-BC74-D7C204CB4641}"/>
                </a:ext>
              </a:extLst>
            </p:cNvPr>
            <p:cNvSpPr/>
            <p:nvPr/>
          </p:nvSpPr>
          <p:spPr>
            <a:xfrm>
              <a:off x="3333381" y="3804441"/>
              <a:ext cx="108000" cy="288032"/>
            </a:xfrm>
            <a:prstGeom prst="flowChartProcess">
              <a:avLst/>
            </a:prstGeom>
            <a:solidFill>
              <a:schemeClr val="bg1">
                <a:lumMod val="75000"/>
                <a:alpha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78" name="TextBox 377">
              <a:extLst>
                <a:ext uri="{FF2B5EF4-FFF2-40B4-BE49-F238E27FC236}">
                  <a16:creationId xmlns:a16="http://schemas.microsoft.com/office/drawing/2014/main" id="{58BC9440-4EA2-B544-9FBF-5279546ADAD4}"/>
                </a:ext>
              </a:extLst>
            </p:cNvPr>
            <p:cNvSpPr txBox="1"/>
            <p:nvPr/>
          </p:nvSpPr>
          <p:spPr>
            <a:xfrm>
              <a:off x="3513843" y="3721115"/>
              <a:ext cx="742266" cy="461665"/>
            </a:xfrm>
            <a:prstGeom prst="rect">
              <a:avLst/>
            </a:prstGeom>
            <a:noFill/>
          </p:spPr>
          <p:txBody>
            <a:bodyPr wrap="none" rtlCol="0" anchor="ctr">
              <a:spAutoFit/>
            </a:bodyPr>
            <a:lstStyle/>
            <a:p>
              <a:r>
                <a:rPr lang="en-US" altLang="ko-KR" sz="2400" b="1">
                  <a:solidFill>
                    <a:srgbClr val="333657"/>
                  </a:solidFill>
                </a:rPr>
                <a:t>75</a:t>
              </a:r>
              <a:r>
                <a:rPr lang="en-US" altLang="ko-KR" sz="1200" b="1">
                  <a:solidFill>
                    <a:srgbClr val="333657"/>
                  </a:solidFill>
                </a:rPr>
                <a:t>%</a:t>
              </a:r>
              <a:endParaRPr lang="ko-KR" altLang="en-US" sz="1200" b="1">
                <a:solidFill>
                  <a:srgbClr val="333657"/>
                </a:solidFill>
              </a:endParaRPr>
            </a:p>
          </p:txBody>
        </p:sp>
        <p:cxnSp>
          <p:nvCxnSpPr>
            <p:cNvPr id="379" name="직선 연결선 294">
              <a:extLst>
                <a:ext uri="{FF2B5EF4-FFF2-40B4-BE49-F238E27FC236}">
                  <a16:creationId xmlns:a16="http://schemas.microsoft.com/office/drawing/2014/main" id="{AFB7BA6B-9515-954C-A349-2918820BF265}"/>
                </a:ext>
              </a:extLst>
            </p:cNvPr>
            <p:cNvCxnSpPr/>
            <p:nvPr/>
          </p:nvCxnSpPr>
          <p:spPr bwMode="auto">
            <a:xfrm>
              <a:off x="840467" y="4737161"/>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0" name="직선 연결선 295">
              <a:extLst>
                <a:ext uri="{FF2B5EF4-FFF2-40B4-BE49-F238E27FC236}">
                  <a16:creationId xmlns:a16="http://schemas.microsoft.com/office/drawing/2014/main" id="{E07F25E1-579F-D84E-9D15-B3C742FAC87A}"/>
                </a:ext>
              </a:extLst>
            </p:cNvPr>
            <p:cNvCxnSpPr/>
            <p:nvPr/>
          </p:nvCxnSpPr>
          <p:spPr bwMode="auto">
            <a:xfrm>
              <a:off x="840467" y="4432349"/>
              <a:ext cx="3384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1" name="TextBox 380">
              <a:extLst>
                <a:ext uri="{FF2B5EF4-FFF2-40B4-BE49-F238E27FC236}">
                  <a16:creationId xmlns:a16="http://schemas.microsoft.com/office/drawing/2014/main" id="{8033117B-BFD9-3F42-B91E-B932D768E13F}"/>
                </a:ext>
              </a:extLst>
            </p:cNvPr>
            <p:cNvSpPr txBox="1"/>
            <p:nvPr/>
          </p:nvSpPr>
          <p:spPr>
            <a:xfrm>
              <a:off x="840467" y="4423492"/>
              <a:ext cx="885630" cy="307777"/>
            </a:xfrm>
            <a:prstGeom prst="rect">
              <a:avLst/>
            </a:prstGeom>
            <a:noFill/>
          </p:spPr>
          <p:txBody>
            <a:bodyPr wrap="none" rtlCol="0" anchor="ctr">
              <a:spAutoFit/>
            </a:bodyPr>
            <a:lstStyle/>
            <a:p>
              <a:r>
                <a:rPr lang="en-US" altLang="ko-KR" sz="1400" b="1">
                  <a:solidFill>
                    <a:schemeClr val="tx1">
                      <a:lumMod val="75000"/>
                      <a:lumOff val="25000"/>
                    </a:schemeClr>
                  </a:solidFill>
                </a:rPr>
                <a:t>C Case</a:t>
              </a:r>
              <a:endParaRPr lang="ko-KR" altLang="en-US" sz="1400" b="1">
                <a:solidFill>
                  <a:schemeClr val="tx1">
                    <a:lumMod val="75000"/>
                    <a:lumOff val="25000"/>
                  </a:schemeClr>
                </a:solidFill>
              </a:endParaRPr>
            </a:p>
          </p:txBody>
        </p:sp>
        <p:sp>
          <p:nvSpPr>
            <p:cNvPr id="382" name="타원 297">
              <a:extLst>
                <a:ext uri="{FF2B5EF4-FFF2-40B4-BE49-F238E27FC236}">
                  <a16:creationId xmlns:a16="http://schemas.microsoft.com/office/drawing/2014/main" id="{F701BB07-7D10-DA4F-980A-40CB61015AD9}"/>
                </a:ext>
              </a:extLst>
            </p:cNvPr>
            <p:cNvSpPr/>
            <p:nvPr/>
          </p:nvSpPr>
          <p:spPr>
            <a:xfrm>
              <a:off x="371475" y="4373660"/>
              <a:ext cx="402455" cy="360000"/>
            </a:xfrm>
            <a:prstGeom prst="ellipse">
              <a:avLst/>
            </a:prstGeom>
            <a:solidFill>
              <a:srgbClr val="C9CAE1"/>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400"/>
            </a:p>
          </p:txBody>
        </p:sp>
        <p:sp>
          <p:nvSpPr>
            <p:cNvPr id="383" name="TextBox 382">
              <a:extLst>
                <a:ext uri="{FF2B5EF4-FFF2-40B4-BE49-F238E27FC236}">
                  <a16:creationId xmlns:a16="http://schemas.microsoft.com/office/drawing/2014/main" id="{13110AFD-E021-664B-8EC3-083BF34ECD26}"/>
                </a:ext>
              </a:extLst>
            </p:cNvPr>
            <p:cNvSpPr txBox="1"/>
            <p:nvPr/>
          </p:nvSpPr>
          <p:spPr>
            <a:xfrm>
              <a:off x="371476" y="4825490"/>
              <a:ext cx="3419429" cy="646331"/>
            </a:xfrm>
            <a:prstGeom prst="rect">
              <a:avLst/>
            </a:prstGeom>
            <a:noFill/>
          </p:spPr>
          <p:txBody>
            <a:bodyPr wrap="square" rtlCol="0">
              <a:spAutoFit/>
            </a:bodyPr>
            <a:lstStyle/>
            <a:p>
              <a:r>
                <a:rPr lang="en-US" altLang="ko-KR" sz="1200">
                  <a:solidFill>
                    <a:schemeClr val="tx1">
                      <a:lumMod val="75000"/>
                      <a:lumOff val="25000"/>
                    </a:schemeClr>
                  </a:solidFill>
                </a:rPr>
                <a:t>You can simply impress your audience and add a unique zing and appeal to your Reports and Presentations with our Templates.</a:t>
              </a:r>
            </a:p>
          </p:txBody>
        </p:sp>
      </p:grpSp>
    </p:spTree>
    <p:extLst>
      <p:ext uri="{BB962C8B-B14F-4D97-AF65-F5344CB8AC3E}">
        <p14:creationId xmlns:p14="http://schemas.microsoft.com/office/powerpoint/2010/main" val="1616307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3CC8AC-2DCF-E145-9196-90D0C11814A0}"/>
              </a:ext>
            </a:extLst>
          </p:cNvPr>
          <p:cNvGraphicFramePr>
            <a:graphicFrameLocks noChangeAspect="1"/>
          </p:cNvGraphicFramePr>
          <p:nvPr>
            <p:custDataLst>
              <p:tags r:id="rId1"/>
            </p:custDataLst>
            <p:extLst>
              <p:ext uri="{D42A27DB-BD31-4B8C-83A1-F6EECF244321}">
                <p14:modId xmlns:p14="http://schemas.microsoft.com/office/powerpoint/2010/main" val="851990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653CC8AC-2DCF-E145-9196-90D0C11814A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59F156D-4665-4947-94FF-CD5D9E770E1B}"/>
              </a:ext>
            </a:extLst>
          </p:cNvPr>
          <p:cNvSpPr>
            <a:spLocks noGrp="1"/>
          </p:cNvSpPr>
          <p:nvPr>
            <p:ph type="sldNum" sz="quarter" idx="4"/>
          </p:nvPr>
        </p:nvSpPr>
        <p:spPr/>
        <p:txBody>
          <a:bodyPr/>
          <a:lstStyle/>
          <a:p>
            <a:fld id="{3D966009-6E5A-4F8C-8CA7-E37AFBF5FB92}" type="slidenum">
              <a:rPr lang="en-US" smtClean="0"/>
              <a:t>111</a:t>
            </a:fld>
            <a:endParaRPr lang="en-US"/>
          </a:p>
        </p:txBody>
      </p:sp>
      <p:sp>
        <p:nvSpPr>
          <p:cNvPr id="3" name="Title 2">
            <a:extLst>
              <a:ext uri="{FF2B5EF4-FFF2-40B4-BE49-F238E27FC236}">
                <a16:creationId xmlns:a16="http://schemas.microsoft.com/office/drawing/2014/main" id="{46C9129B-27E4-3042-9EF3-A2BA06C202E3}"/>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21293E11-B98C-324A-B91A-05AACD1BBA75}"/>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2F2573EF-FCF9-214B-AF9E-85BE3765AD2A}"/>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29C3AB14-3067-F840-BC85-B6F5102B685B}"/>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79FA7CF7-4F95-4E40-945B-27F1EEB6AE3E}"/>
              </a:ext>
            </a:extLst>
          </p:cNvPr>
          <p:cNvSpPr>
            <a:spLocks noGrp="1"/>
          </p:cNvSpPr>
          <p:nvPr>
            <p:ph sz="quarter" idx="14"/>
          </p:nvPr>
        </p:nvSpPr>
        <p:spPr/>
        <p:txBody>
          <a:bodyPr/>
          <a:lstStyle/>
          <a:p>
            <a:endParaRPr lang="de-DE"/>
          </a:p>
        </p:txBody>
      </p:sp>
      <p:grpSp>
        <p:nvGrpSpPr>
          <p:cNvPr id="9" name="Group 8">
            <a:extLst>
              <a:ext uri="{FF2B5EF4-FFF2-40B4-BE49-F238E27FC236}">
                <a16:creationId xmlns:a16="http://schemas.microsoft.com/office/drawing/2014/main" id="{07C523C9-2DE0-8A4C-BB9E-E892FA109EF0}"/>
              </a:ext>
            </a:extLst>
          </p:cNvPr>
          <p:cNvGrpSpPr/>
          <p:nvPr/>
        </p:nvGrpSpPr>
        <p:grpSpPr>
          <a:xfrm>
            <a:off x="365682" y="1728511"/>
            <a:ext cx="11460635" cy="4246613"/>
            <a:chOff x="869918" y="1625778"/>
            <a:chExt cx="10610142" cy="4246613"/>
          </a:xfrm>
        </p:grpSpPr>
        <p:cxnSp>
          <p:nvCxnSpPr>
            <p:cNvPr id="10" name="Straight Connector 9">
              <a:extLst>
                <a:ext uri="{FF2B5EF4-FFF2-40B4-BE49-F238E27FC236}">
                  <a16:creationId xmlns:a16="http://schemas.microsoft.com/office/drawing/2014/main" id="{93E82DB6-1CCB-A640-8711-F811172AB205}"/>
                </a:ext>
              </a:extLst>
            </p:cNvPr>
            <p:cNvCxnSpPr>
              <a:cxnSpLocks/>
            </p:cNvCxnSpPr>
            <p:nvPr/>
          </p:nvCxnSpPr>
          <p:spPr>
            <a:xfrm flipH="1">
              <a:off x="869918" y="3687711"/>
              <a:ext cx="10429591" cy="0"/>
            </a:xfrm>
            <a:prstGeom prst="line">
              <a:avLst/>
            </a:prstGeom>
            <a:ln w="19050">
              <a:solidFill>
                <a:schemeClr val="tx1">
                  <a:lumMod val="50000"/>
                  <a:lumOff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C03B1F34-5033-534A-AD08-CCD94DDAE5C9}"/>
                </a:ext>
              </a:extLst>
            </p:cNvPr>
            <p:cNvGrpSpPr/>
            <p:nvPr/>
          </p:nvGrpSpPr>
          <p:grpSpPr>
            <a:xfrm>
              <a:off x="3226036" y="1999128"/>
              <a:ext cx="2022232" cy="850432"/>
              <a:chOff x="1978221" y="2100456"/>
              <a:chExt cx="1716151" cy="850432"/>
            </a:xfrm>
          </p:grpSpPr>
          <p:sp>
            <p:nvSpPr>
              <p:cNvPr id="59" name="TextBox 58">
                <a:extLst>
                  <a:ext uri="{FF2B5EF4-FFF2-40B4-BE49-F238E27FC236}">
                    <a16:creationId xmlns:a16="http://schemas.microsoft.com/office/drawing/2014/main" id="{AF40AB7C-EE87-2949-A268-DDADDD9BD85D}"/>
                  </a:ext>
                </a:extLst>
              </p:cNvPr>
              <p:cNvSpPr txBox="1"/>
              <p:nvPr/>
            </p:nvSpPr>
            <p:spPr>
              <a:xfrm>
                <a:off x="1978221" y="2304557"/>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60" name="TextBox 59">
                <a:extLst>
                  <a:ext uri="{FF2B5EF4-FFF2-40B4-BE49-F238E27FC236}">
                    <a16:creationId xmlns:a16="http://schemas.microsoft.com/office/drawing/2014/main" id="{44C93E5A-C529-7D46-9CED-5E648F688CDA}"/>
                  </a:ext>
                </a:extLst>
              </p:cNvPr>
              <p:cNvSpPr txBox="1"/>
              <p:nvPr/>
            </p:nvSpPr>
            <p:spPr>
              <a:xfrm>
                <a:off x="1979822" y="2100456"/>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cxnSp>
          <p:nvCxnSpPr>
            <p:cNvPr id="12" name="Straight Connector 11">
              <a:extLst>
                <a:ext uri="{FF2B5EF4-FFF2-40B4-BE49-F238E27FC236}">
                  <a16:creationId xmlns:a16="http://schemas.microsoft.com/office/drawing/2014/main" id="{D6DF1FD5-1E28-1743-B40C-04B61642820C}"/>
                </a:ext>
              </a:extLst>
            </p:cNvPr>
            <p:cNvCxnSpPr/>
            <p:nvPr/>
          </p:nvCxnSpPr>
          <p:spPr>
            <a:xfrm>
              <a:off x="6624001" y="2823615"/>
              <a:ext cx="0"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0ACF48-9939-204A-94FD-6394D030D583}"/>
                </a:ext>
              </a:extLst>
            </p:cNvPr>
            <p:cNvCxnSpPr/>
            <p:nvPr/>
          </p:nvCxnSpPr>
          <p:spPr>
            <a:xfrm>
              <a:off x="9030992" y="2829234"/>
              <a:ext cx="0"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B43BCF6-2E9D-D240-9ED9-0F79DEA16298}"/>
                </a:ext>
              </a:extLst>
            </p:cNvPr>
            <p:cNvCxnSpPr/>
            <p:nvPr/>
          </p:nvCxnSpPr>
          <p:spPr>
            <a:xfrm>
              <a:off x="4237151" y="2829234"/>
              <a:ext cx="0"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80BE01-7988-9649-930D-7A51A827FCDE}"/>
                </a:ext>
              </a:extLst>
            </p:cNvPr>
            <p:cNvCxnSpPr/>
            <p:nvPr/>
          </p:nvCxnSpPr>
          <p:spPr>
            <a:xfrm flipH="1" flipV="1">
              <a:off x="2994835" y="4047751"/>
              <a:ext cx="4143"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30DD92-9F9C-0540-8230-AA5B7D3D02AC}"/>
                </a:ext>
              </a:extLst>
            </p:cNvPr>
            <p:cNvCxnSpPr/>
            <p:nvPr/>
          </p:nvCxnSpPr>
          <p:spPr>
            <a:xfrm flipH="1" flipV="1">
              <a:off x="5410400" y="4043640"/>
              <a:ext cx="4143"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25D72DC-3D21-E442-BD3E-4E7FE6A15718}"/>
                </a:ext>
              </a:extLst>
            </p:cNvPr>
            <p:cNvCxnSpPr/>
            <p:nvPr/>
          </p:nvCxnSpPr>
          <p:spPr>
            <a:xfrm flipH="1" flipV="1">
              <a:off x="7833462" y="4039529"/>
              <a:ext cx="4143" cy="504056"/>
            </a:xfrm>
            <a:prstGeom prst="line">
              <a:avLst/>
            </a:prstGeom>
            <a:ln>
              <a:solidFill>
                <a:schemeClr val="bg1">
                  <a:lumMod val="65000"/>
                </a:schemeClr>
              </a:solidFill>
              <a:prstDash val="dash"/>
              <a:headEnd type="triangle"/>
              <a:tailEnd type="ova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0F5FAA0-21E2-3746-8811-D19D0ECE199F}"/>
                </a:ext>
              </a:extLst>
            </p:cNvPr>
            <p:cNvSpPr txBox="1"/>
            <p:nvPr/>
          </p:nvSpPr>
          <p:spPr>
            <a:xfrm>
              <a:off x="893133" y="3226976"/>
              <a:ext cx="1184282" cy="523220"/>
            </a:xfrm>
            <a:prstGeom prst="rect">
              <a:avLst/>
            </a:prstGeom>
            <a:noFill/>
          </p:spPr>
          <p:txBody>
            <a:bodyPr wrap="square" rtlCol="0" anchor="ctr">
              <a:spAutoFit/>
            </a:bodyPr>
            <a:lstStyle/>
            <a:p>
              <a:r>
                <a:rPr lang="en-US" altLang="ko-KR" sz="2800">
                  <a:solidFill>
                    <a:schemeClr val="tx1">
                      <a:lumMod val="75000"/>
                      <a:lumOff val="25000"/>
                    </a:schemeClr>
                  </a:solidFill>
                </a:rPr>
                <a:t>Start</a:t>
              </a:r>
            </a:p>
          </p:txBody>
        </p:sp>
        <p:sp>
          <p:nvSpPr>
            <p:cNvPr id="19" name="TextBox 18">
              <a:extLst>
                <a:ext uri="{FF2B5EF4-FFF2-40B4-BE49-F238E27FC236}">
                  <a16:creationId xmlns:a16="http://schemas.microsoft.com/office/drawing/2014/main" id="{AA3C5C69-EF00-FA47-9000-BB1BD7EE4EA7}"/>
                </a:ext>
              </a:extLst>
            </p:cNvPr>
            <p:cNvSpPr txBox="1"/>
            <p:nvPr/>
          </p:nvSpPr>
          <p:spPr>
            <a:xfrm>
              <a:off x="907775" y="3668663"/>
              <a:ext cx="1169640" cy="276999"/>
            </a:xfrm>
            <a:prstGeom prst="rect">
              <a:avLst/>
            </a:prstGeom>
            <a:noFill/>
          </p:spPr>
          <p:txBody>
            <a:bodyPr wrap="square" rtlCol="0">
              <a:spAutoFit/>
            </a:bodyPr>
            <a:lstStyle/>
            <a:p>
              <a:r>
                <a:rPr lang="en-US" altLang="ko-KR">
                  <a:solidFill>
                    <a:schemeClr val="tx1">
                      <a:lumMod val="75000"/>
                      <a:lumOff val="25000"/>
                    </a:schemeClr>
                  </a:solidFill>
                </a:rPr>
                <a:t>Contents</a:t>
              </a:r>
              <a:endParaRPr lang="ko-KR" altLang="en-US">
                <a:solidFill>
                  <a:schemeClr val="tx1">
                    <a:lumMod val="75000"/>
                    <a:lumOff val="25000"/>
                  </a:schemeClr>
                </a:solidFill>
              </a:endParaRPr>
            </a:p>
          </p:txBody>
        </p:sp>
        <p:sp>
          <p:nvSpPr>
            <p:cNvPr id="20" name="TextBox 19">
              <a:extLst>
                <a:ext uri="{FF2B5EF4-FFF2-40B4-BE49-F238E27FC236}">
                  <a16:creationId xmlns:a16="http://schemas.microsoft.com/office/drawing/2014/main" id="{879BD036-E244-3140-891D-1C298A15A3C1}"/>
                </a:ext>
              </a:extLst>
            </p:cNvPr>
            <p:cNvSpPr txBox="1"/>
            <p:nvPr/>
          </p:nvSpPr>
          <p:spPr>
            <a:xfrm>
              <a:off x="9880741" y="2660436"/>
              <a:ext cx="1184282" cy="523220"/>
            </a:xfrm>
            <a:prstGeom prst="rect">
              <a:avLst/>
            </a:prstGeom>
            <a:noFill/>
          </p:spPr>
          <p:txBody>
            <a:bodyPr wrap="square" rtlCol="0" anchor="ctr">
              <a:spAutoFit/>
            </a:bodyPr>
            <a:lstStyle/>
            <a:p>
              <a:pPr algn="ctr"/>
              <a:r>
                <a:rPr lang="en-US" altLang="ko-KR" sz="2800">
                  <a:solidFill>
                    <a:sysClr val="windowText" lastClr="000000"/>
                  </a:solidFill>
                </a:rPr>
                <a:t>Vision</a:t>
              </a:r>
            </a:p>
          </p:txBody>
        </p:sp>
        <p:grpSp>
          <p:nvGrpSpPr>
            <p:cNvPr id="21" name="Group 20">
              <a:extLst>
                <a:ext uri="{FF2B5EF4-FFF2-40B4-BE49-F238E27FC236}">
                  <a16:creationId xmlns:a16="http://schemas.microsoft.com/office/drawing/2014/main" id="{99CBCBC4-26C9-D649-A847-B3814E776533}"/>
                </a:ext>
              </a:extLst>
            </p:cNvPr>
            <p:cNvGrpSpPr/>
            <p:nvPr/>
          </p:nvGrpSpPr>
          <p:grpSpPr>
            <a:xfrm>
              <a:off x="5612886" y="1993509"/>
              <a:ext cx="2022232" cy="850432"/>
              <a:chOff x="3705087" y="2094837"/>
              <a:chExt cx="1716151" cy="850432"/>
            </a:xfrm>
          </p:grpSpPr>
          <p:sp>
            <p:nvSpPr>
              <p:cNvPr id="57" name="TextBox 56">
                <a:extLst>
                  <a:ext uri="{FF2B5EF4-FFF2-40B4-BE49-F238E27FC236}">
                    <a16:creationId xmlns:a16="http://schemas.microsoft.com/office/drawing/2014/main" id="{FBA8F700-E1F5-9A48-BCF9-DA677FB458C3}"/>
                  </a:ext>
                </a:extLst>
              </p:cNvPr>
              <p:cNvSpPr txBox="1"/>
              <p:nvPr/>
            </p:nvSpPr>
            <p:spPr>
              <a:xfrm>
                <a:off x="3705087" y="2298938"/>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58" name="TextBox 57">
                <a:extLst>
                  <a:ext uri="{FF2B5EF4-FFF2-40B4-BE49-F238E27FC236}">
                    <a16:creationId xmlns:a16="http://schemas.microsoft.com/office/drawing/2014/main" id="{1F4AF668-DE84-E141-86D3-A8516B1D6272}"/>
                  </a:ext>
                </a:extLst>
              </p:cNvPr>
              <p:cNvSpPr txBox="1"/>
              <p:nvPr/>
            </p:nvSpPr>
            <p:spPr>
              <a:xfrm>
                <a:off x="3706688" y="2094837"/>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grpSp>
          <p:nvGrpSpPr>
            <p:cNvPr id="22" name="Group 21">
              <a:extLst>
                <a:ext uri="{FF2B5EF4-FFF2-40B4-BE49-F238E27FC236}">
                  <a16:creationId xmlns:a16="http://schemas.microsoft.com/office/drawing/2014/main" id="{920718BC-FE75-5D4E-99EF-34DCB62256B7}"/>
                </a:ext>
              </a:extLst>
            </p:cNvPr>
            <p:cNvGrpSpPr/>
            <p:nvPr/>
          </p:nvGrpSpPr>
          <p:grpSpPr>
            <a:xfrm>
              <a:off x="7985475" y="2015720"/>
              <a:ext cx="2091036" cy="850432"/>
              <a:chOff x="5315247" y="2100456"/>
              <a:chExt cx="1774541" cy="850432"/>
            </a:xfrm>
          </p:grpSpPr>
          <p:sp>
            <p:nvSpPr>
              <p:cNvPr id="55" name="TextBox 54">
                <a:extLst>
                  <a:ext uri="{FF2B5EF4-FFF2-40B4-BE49-F238E27FC236}">
                    <a16:creationId xmlns:a16="http://schemas.microsoft.com/office/drawing/2014/main" id="{8C3A1FD9-FE08-E94A-982D-6EF4C1490C08}"/>
                  </a:ext>
                </a:extLst>
              </p:cNvPr>
              <p:cNvSpPr txBox="1"/>
              <p:nvPr/>
            </p:nvSpPr>
            <p:spPr>
              <a:xfrm>
                <a:off x="5380321" y="2304557"/>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56" name="TextBox 55">
                <a:extLst>
                  <a:ext uri="{FF2B5EF4-FFF2-40B4-BE49-F238E27FC236}">
                    <a16:creationId xmlns:a16="http://schemas.microsoft.com/office/drawing/2014/main" id="{5E29D309-ADE9-B94A-A505-59E102A539E6}"/>
                  </a:ext>
                </a:extLst>
              </p:cNvPr>
              <p:cNvSpPr txBox="1"/>
              <p:nvPr/>
            </p:nvSpPr>
            <p:spPr>
              <a:xfrm>
                <a:off x="5315247" y="2100456"/>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grpSp>
          <p:nvGrpSpPr>
            <p:cNvPr id="23" name="Group 22">
              <a:extLst>
                <a:ext uri="{FF2B5EF4-FFF2-40B4-BE49-F238E27FC236}">
                  <a16:creationId xmlns:a16="http://schemas.microsoft.com/office/drawing/2014/main" id="{E5639CBA-97DF-AE48-9F9B-47B825277EC0}"/>
                </a:ext>
              </a:extLst>
            </p:cNvPr>
            <p:cNvGrpSpPr/>
            <p:nvPr/>
          </p:nvGrpSpPr>
          <p:grpSpPr>
            <a:xfrm>
              <a:off x="1983399" y="5031484"/>
              <a:ext cx="2027014" cy="840907"/>
              <a:chOff x="1109958" y="5132809"/>
              <a:chExt cx="1720208" cy="840907"/>
            </a:xfrm>
          </p:grpSpPr>
          <p:sp>
            <p:nvSpPr>
              <p:cNvPr id="53" name="TextBox 52">
                <a:extLst>
                  <a:ext uri="{FF2B5EF4-FFF2-40B4-BE49-F238E27FC236}">
                    <a16:creationId xmlns:a16="http://schemas.microsoft.com/office/drawing/2014/main" id="{998B4A90-A39C-AC45-8B0F-A9E0478A1E52}"/>
                  </a:ext>
                </a:extLst>
              </p:cNvPr>
              <p:cNvSpPr txBox="1"/>
              <p:nvPr/>
            </p:nvSpPr>
            <p:spPr>
              <a:xfrm>
                <a:off x="1109958" y="5327385"/>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54" name="TextBox 53">
                <a:extLst>
                  <a:ext uri="{FF2B5EF4-FFF2-40B4-BE49-F238E27FC236}">
                    <a16:creationId xmlns:a16="http://schemas.microsoft.com/office/drawing/2014/main" id="{E260A5EC-3275-4E4A-995F-E4EF6343C153}"/>
                  </a:ext>
                </a:extLst>
              </p:cNvPr>
              <p:cNvSpPr txBox="1"/>
              <p:nvPr/>
            </p:nvSpPr>
            <p:spPr>
              <a:xfrm>
                <a:off x="1115616" y="5132809"/>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grpSp>
          <p:nvGrpSpPr>
            <p:cNvPr id="24" name="Group 23">
              <a:extLst>
                <a:ext uri="{FF2B5EF4-FFF2-40B4-BE49-F238E27FC236}">
                  <a16:creationId xmlns:a16="http://schemas.microsoft.com/office/drawing/2014/main" id="{0637E2BB-E1E6-DC46-8420-A7E4C720CF16}"/>
                </a:ext>
              </a:extLst>
            </p:cNvPr>
            <p:cNvGrpSpPr/>
            <p:nvPr/>
          </p:nvGrpSpPr>
          <p:grpSpPr>
            <a:xfrm>
              <a:off x="4390131" y="5027373"/>
              <a:ext cx="2044680" cy="840907"/>
              <a:chOff x="2864666" y="5128698"/>
              <a:chExt cx="1735201" cy="840907"/>
            </a:xfrm>
          </p:grpSpPr>
          <p:sp>
            <p:nvSpPr>
              <p:cNvPr id="51" name="TextBox 50">
                <a:extLst>
                  <a:ext uri="{FF2B5EF4-FFF2-40B4-BE49-F238E27FC236}">
                    <a16:creationId xmlns:a16="http://schemas.microsoft.com/office/drawing/2014/main" id="{C1323B0B-7EF3-664C-BFB0-2150EEA9359D}"/>
                  </a:ext>
                </a:extLst>
              </p:cNvPr>
              <p:cNvSpPr txBox="1"/>
              <p:nvPr/>
            </p:nvSpPr>
            <p:spPr>
              <a:xfrm>
                <a:off x="2864666" y="5323274"/>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52" name="TextBox 51">
                <a:extLst>
                  <a:ext uri="{FF2B5EF4-FFF2-40B4-BE49-F238E27FC236}">
                    <a16:creationId xmlns:a16="http://schemas.microsoft.com/office/drawing/2014/main" id="{93871220-DC1F-5842-9EE6-9C9D4D0B332A}"/>
                  </a:ext>
                </a:extLst>
              </p:cNvPr>
              <p:cNvSpPr txBox="1"/>
              <p:nvPr/>
            </p:nvSpPr>
            <p:spPr>
              <a:xfrm>
                <a:off x="2885317" y="5128698"/>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grpSp>
          <p:nvGrpSpPr>
            <p:cNvPr id="25" name="Group 24">
              <a:extLst>
                <a:ext uri="{FF2B5EF4-FFF2-40B4-BE49-F238E27FC236}">
                  <a16:creationId xmlns:a16="http://schemas.microsoft.com/office/drawing/2014/main" id="{4AFF917C-0D74-524F-B91D-9281F434E7C6}"/>
                </a:ext>
              </a:extLst>
            </p:cNvPr>
            <p:cNvGrpSpPr/>
            <p:nvPr/>
          </p:nvGrpSpPr>
          <p:grpSpPr>
            <a:xfrm>
              <a:off x="6813193" y="5023262"/>
              <a:ext cx="2044680" cy="840907"/>
              <a:chOff x="4574516" y="5124587"/>
              <a:chExt cx="1735201" cy="840907"/>
            </a:xfrm>
          </p:grpSpPr>
          <p:sp>
            <p:nvSpPr>
              <p:cNvPr id="49" name="TextBox 48">
                <a:extLst>
                  <a:ext uri="{FF2B5EF4-FFF2-40B4-BE49-F238E27FC236}">
                    <a16:creationId xmlns:a16="http://schemas.microsoft.com/office/drawing/2014/main" id="{089F430B-6293-0D45-BD68-D89B39FF4B6E}"/>
                  </a:ext>
                </a:extLst>
              </p:cNvPr>
              <p:cNvSpPr txBox="1"/>
              <p:nvPr/>
            </p:nvSpPr>
            <p:spPr>
              <a:xfrm>
                <a:off x="4574516" y="5319163"/>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sp>
            <p:nvSpPr>
              <p:cNvPr id="50" name="TextBox 49">
                <a:extLst>
                  <a:ext uri="{FF2B5EF4-FFF2-40B4-BE49-F238E27FC236}">
                    <a16:creationId xmlns:a16="http://schemas.microsoft.com/office/drawing/2014/main" id="{B74B4977-422A-9644-970F-847EB696DE46}"/>
                  </a:ext>
                </a:extLst>
              </p:cNvPr>
              <p:cNvSpPr txBox="1"/>
              <p:nvPr/>
            </p:nvSpPr>
            <p:spPr>
              <a:xfrm>
                <a:off x="4595167" y="5124587"/>
                <a:ext cx="171455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grpSp>
        <p:grpSp>
          <p:nvGrpSpPr>
            <p:cNvPr id="26" name="Group 25">
              <a:extLst>
                <a:ext uri="{FF2B5EF4-FFF2-40B4-BE49-F238E27FC236}">
                  <a16:creationId xmlns:a16="http://schemas.microsoft.com/office/drawing/2014/main" id="{79FACA2F-CAC4-2C4A-A848-BE5B6201F577}"/>
                </a:ext>
              </a:extLst>
            </p:cNvPr>
            <p:cNvGrpSpPr/>
            <p:nvPr/>
          </p:nvGrpSpPr>
          <p:grpSpPr>
            <a:xfrm>
              <a:off x="9465704" y="4295695"/>
              <a:ext cx="2014356" cy="850595"/>
              <a:chOff x="6543137" y="4397020"/>
              <a:chExt cx="1709467" cy="850595"/>
            </a:xfrm>
          </p:grpSpPr>
          <p:sp>
            <p:nvSpPr>
              <p:cNvPr id="47" name="TextBox 46">
                <a:extLst>
                  <a:ext uri="{FF2B5EF4-FFF2-40B4-BE49-F238E27FC236}">
                    <a16:creationId xmlns:a16="http://schemas.microsoft.com/office/drawing/2014/main" id="{811C3C68-B3D2-A645-BE3F-B5FE360F5A2A}"/>
                  </a:ext>
                </a:extLst>
              </p:cNvPr>
              <p:cNvSpPr txBox="1"/>
              <p:nvPr/>
            </p:nvSpPr>
            <p:spPr>
              <a:xfrm>
                <a:off x="6813051" y="4397020"/>
                <a:ext cx="1169640" cy="276999"/>
              </a:xfrm>
              <a:prstGeom prst="rect">
                <a:avLst/>
              </a:prstGeom>
              <a:noFill/>
            </p:spPr>
            <p:txBody>
              <a:bodyPr wrap="square" rtlCol="0">
                <a:spAutoFit/>
              </a:bodyPr>
              <a:lstStyle/>
              <a:p>
                <a:pPr algn="ctr"/>
                <a:r>
                  <a:rPr lang="en-US" altLang="ko-KR" sz="1200">
                    <a:solidFill>
                      <a:schemeClr val="tx1">
                        <a:lumMod val="75000"/>
                        <a:lumOff val="25000"/>
                      </a:schemeClr>
                    </a:solidFill>
                  </a:rPr>
                  <a:t>Contents</a:t>
                </a:r>
                <a:endParaRPr lang="ko-KR" altLang="en-US" sz="1200">
                  <a:solidFill>
                    <a:schemeClr val="tx1">
                      <a:lumMod val="75000"/>
                      <a:lumOff val="25000"/>
                    </a:schemeClr>
                  </a:solidFill>
                </a:endParaRPr>
              </a:p>
            </p:txBody>
          </p:sp>
          <p:sp>
            <p:nvSpPr>
              <p:cNvPr id="48" name="TextBox 47">
                <a:extLst>
                  <a:ext uri="{FF2B5EF4-FFF2-40B4-BE49-F238E27FC236}">
                    <a16:creationId xmlns:a16="http://schemas.microsoft.com/office/drawing/2014/main" id="{A23B27B4-D983-6741-A73A-C3AE79A5577F}"/>
                  </a:ext>
                </a:extLst>
              </p:cNvPr>
              <p:cNvSpPr txBox="1"/>
              <p:nvPr/>
            </p:nvSpPr>
            <p:spPr>
              <a:xfrm>
                <a:off x="6543137" y="4601284"/>
                <a:ext cx="1709467" cy="646331"/>
              </a:xfrm>
              <a:prstGeom prst="rect">
                <a:avLst/>
              </a:prstGeom>
              <a:noFill/>
            </p:spPr>
            <p:txBody>
              <a:bodyPr wrap="square" rtlCol="0">
                <a:spAutoFit/>
              </a:bodyPr>
              <a:lstStyle/>
              <a:p>
                <a:pPr algn="ctr"/>
                <a:r>
                  <a:rPr lang="en-US" altLang="ko-KR" sz="1200">
                    <a:solidFill>
                      <a:schemeClr val="tx1">
                        <a:lumMod val="75000"/>
                        <a:lumOff val="25000"/>
                      </a:schemeClr>
                    </a:solidFill>
                  </a:rPr>
                  <a:t>Get a modern PowerPoint  Presentation that is beautifully designed. </a:t>
                </a:r>
                <a:endParaRPr lang="ko-KR" altLang="en-US" sz="1200">
                  <a:solidFill>
                    <a:schemeClr val="tx1">
                      <a:lumMod val="75000"/>
                      <a:lumOff val="25000"/>
                    </a:schemeClr>
                  </a:solidFill>
                </a:endParaRPr>
              </a:p>
            </p:txBody>
          </p:sp>
        </p:grpSp>
        <p:sp>
          <p:nvSpPr>
            <p:cNvPr id="27" name="TextBox 26">
              <a:extLst>
                <a:ext uri="{FF2B5EF4-FFF2-40B4-BE49-F238E27FC236}">
                  <a16:creationId xmlns:a16="http://schemas.microsoft.com/office/drawing/2014/main" id="{4A7B129B-AAFD-1E40-BAA7-8CDFF82D05EE}"/>
                </a:ext>
              </a:extLst>
            </p:cNvPr>
            <p:cNvSpPr txBox="1"/>
            <p:nvPr/>
          </p:nvSpPr>
          <p:spPr>
            <a:xfrm>
              <a:off x="2771693" y="3140224"/>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3</a:t>
              </a:r>
              <a:endParaRPr lang="ko-KR" altLang="en-US" sz="1200">
                <a:solidFill>
                  <a:schemeClr val="tx1">
                    <a:lumMod val="75000"/>
                    <a:lumOff val="25000"/>
                  </a:schemeClr>
                </a:solidFill>
              </a:endParaRPr>
            </a:p>
          </p:txBody>
        </p:sp>
        <p:sp>
          <p:nvSpPr>
            <p:cNvPr id="28" name="TextBox 27">
              <a:extLst>
                <a:ext uri="{FF2B5EF4-FFF2-40B4-BE49-F238E27FC236}">
                  <a16:creationId xmlns:a16="http://schemas.microsoft.com/office/drawing/2014/main" id="{22C758DF-3905-8247-A90F-C6EEA9705C10}"/>
                </a:ext>
              </a:extLst>
            </p:cNvPr>
            <p:cNvSpPr txBox="1"/>
            <p:nvPr/>
          </p:nvSpPr>
          <p:spPr>
            <a:xfrm>
              <a:off x="5169395" y="3140224"/>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5</a:t>
              </a:r>
              <a:endParaRPr lang="ko-KR" altLang="en-US" sz="1200">
                <a:solidFill>
                  <a:schemeClr val="tx1">
                    <a:lumMod val="75000"/>
                    <a:lumOff val="25000"/>
                  </a:schemeClr>
                </a:solidFill>
              </a:endParaRPr>
            </a:p>
          </p:txBody>
        </p:sp>
        <p:sp>
          <p:nvSpPr>
            <p:cNvPr id="29" name="TextBox 28">
              <a:extLst>
                <a:ext uri="{FF2B5EF4-FFF2-40B4-BE49-F238E27FC236}">
                  <a16:creationId xmlns:a16="http://schemas.microsoft.com/office/drawing/2014/main" id="{7DF8A0B8-5F5D-1B4A-8F67-4E12AD0F0204}"/>
                </a:ext>
              </a:extLst>
            </p:cNvPr>
            <p:cNvSpPr txBox="1"/>
            <p:nvPr/>
          </p:nvSpPr>
          <p:spPr>
            <a:xfrm>
              <a:off x="7567097" y="3140224"/>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7</a:t>
              </a:r>
              <a:endParaRPr lang="ko-KR" altLang="en-US" sz="1200">
                <a:solidFill>
                  <a:schemeClr val="tx1">
                    <a:lumMod val="75000"/>
                    <a:lumOff val="25000"/>
                  </a:schemeClr>
                </a:solidFill>
              </a:endParaRPr>
            </a:p>
          </p:txBody>
        </p:sp>
        <p:sp>
          <p:nvSpPr>
            <p:cNvPr id="30" name="TextBox 29">
              <a:extLst>
                <a:ext uri="{FF2B5EF4-FFF2-40B4-BE49-F238E27FC236}">
                  <a16:creationId xmlns:a16="http://schemas.microsoft.com/office/drawing/2014/main" id="{76E9B2F6-0680-7B4B-97E8-CB5CB0C6B6FD}"/>
                </a:ext>
              </a:extLst>
            </p:cNvPr>
            <p:cNvSpPr txBox="1"/>
            <p:nvPr/>
          </p:nvSpPr>
          <p:spPr>
            <a:xfrm>
              <a:off x="3970544" y="3986778"/>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4</a:t>
              </a:r>
              <a:endParaRPr lang="ko-KR" altLang="en-US" sz="1200">
                <a:solidFill>
                  <a:schemeClr val="tx1">
                    <a:lumMod val="75000"/>
                    <a:lumOff val="25000"/>
                  </a:schemeClr>
                </a:solidFill>
              </a:endParaRPr>
            </a:p>
          </p:txBody>
        </p:sp>
        <p:sp>
          <p:nvSpPr>
            <p:cNvPr id="31" name="TextBox 30">
              <a:extLst>
                <a:ext uri="{FF2B5EF4-FFF2-40B4-BE49-F238E27FC236}">
                  <a16:creationId xmlns:a16="http://schemas.microsoft.com/office/drawing/2014/main" id="{D3FE5281-8379-C94F-9757-42F33F79FD57}"/>
                </a:ext>
              </a:extLst>
            </p:cNvPr>
            <p:cNvSpPr txBox="1"/>
            <p:nvPr/>
          </p:nvSpPr>
          <p:spPr>
            <a:xfrm>
              <a:off x="6368246" y="3986778"/>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6</a:t>
              </a:r>
              <a:endParaRPr lang="ko-KR" altLang="en-US" sz="1200">
                <a:solidFill>
                  <a:schemeClr val="tx1">
                    <a:lumMod val="75000"/>
                    <a:lumOff val="25000"/>
                  </a:schemeClr>
                </a:solidFill>
              </a:endParaRPr>
            </a:p>
          </p:txBody>
        </p:sp>
        <p:sp>
          <p:nvSpPr>
            <p:cNvPr id="32" name="TextBox 31">
              <a:extLst>
                <a:ext uri="{FF2B5EF4-FFF2-40B4-BE49-F238E27FC236}">
                  <a16:creationId xmlns:a16="http://schemas.microsoft.com/office/drawing/2014/main" id="{6DBC1386-344D-4248-A26B-2F66C290D4CC}"/>
                </a:ext>
              </a:extLst>
            </p:cNvPr>
            <p:cNvSpPr txBox="1"/>
            <p:nvPr/>
          </p:nvSpPr>
          <p:spPr>
            <a:xfrm>
              <a:off x="8765950" y="3986778"/>
              <a:ext cx="521171" cy="276999"/>
            </a:xfrm>
            <a:prstGeom prst="rect">
              <a:avLst/>
            </a:prstGeom>
            <a:noFill/>
          </p:spPr>
          <p:txBody>
            <a:bodyPr wrap="square" rtlCol="0">
              <a:spAutoFit/>
            </a:bodyPr>
            <a:lstStyle/>
            <a:p>
              <a:pPr algn="ctr"/>
              <a:r>
                <a:rPr lang="en-US" altLang="ko-KR" sz="1200">
                  <a:solidFill>
                    <a:schemeClr val="tx1">
                      <a:lumMod val="75000"/>
                      <a:lumOff val="25000"/>
                    </a:schemeClr>
                  </a:solidFill>
                </a:rPr>
                <a:t>2018</a:t>
              </a:r>
              <a:endParaRPr lang="ko-KR" altLang="en-US" sz="1200">
                <a:solidFill>
                  <a:schemeClr val="tx1">
                    <a:lumMod val="75000"/>
                    <a:lumOff val="25000"/>
                  </a:schemeClr>
                </a:solidFill>
              </a:endParaRPr>
            </a:p>
          </p:txBody>
        </p:sp>
        <p:sp>
          <p:nvSpPr>
            <p:cNvPr id="33" name="Oval 32">
              <a:extLst>
                <a:ext uri="{FF2B5EF4-FFF2-40B4-BE49-F238E27FC236}">
                  <a16:creationId xmlns:a16="http://schemas.microsoft.com/office/drawing/2014/main" id="{E771BA4A-6EC8-DD45-A009-A06BA9D0BF32}"/>
                </a:ext>
              </a:extLst>
            </p:cNvPr>
            <p:cNvSpPr/>
            <p:nvPr/>
          </p:nvSpPr>
          <p:spPr>
            <a:xfrm>
              <a:off x="9976861" y="3191691"/>
              <a:ext cx="992043" cy="992043"/>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4" name="Oval 33">
              <a:extLst>
                <a:ext uri="{FF2B5EF4-FFF2-40B4-BE49-F238E27FC236}">
                  <a16:creationId xmlns:a16="http://schemas.microsoft.com/office/drawing/2014/main" id="{E05C1349-E399-D840-BDA2-C6019AEC7238}"/>
                </a:ext>
              </a:extLst>
            </p:cNvPr>
            <p:cNvSpPr/>
            <p:nvPr/>
          </p:nvSpPr>
          <p:spPr>
            <a:xfrm>
              <a:off x="8782981"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5" name="Oval 34">
              <a:extLst>
                <a:ext uri="{FF2B5EF4-FFF2-40B4-BE49-F238E27FC236}">
                  <a16:creationId xmlns:a16="http://schemas.microsoft.com/office/drawing/2014/main" id="{357C0F8E-998F-4846-B0B0-AF391E70776F}"/>
                </a:ext>
              </a:extLst>
            </p:cNvPr>
            <p:cNvSpPr/>
            <p:nvPr/>
          </p:nvSpPr>
          <p:spPr>
            <a:xfrm>
              <a:off x="7579671"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6" name="Oval 35">
              <a:extLst>
                <a:ext uri="{FF2B5EF4-FFF2-40B4-BE49-F238E27FC236}">
                  <a16:creationId xmlns:a16="http://schemas.microsoft.com/office/drawing/2014/main" id="{582EF638-6EC9-3942-B42E-3A3DA65AC4A6}"/>
                </a:ext>
              </a:extLst>
            </p:cNvPr>
            <p:cNvSpPr/>
            <p:nvPr/>
          </p:nvSpPr>
          <p:spPr>
            <a:xfrm>
              <a:off x="6380819"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7" name="Oval 36">
              <a:extLst>
                <a:ext uri="{FF2B5EF4-FFF2-40B4-BE49-F238E27FC236}">
                  <a16:creationId xmlns:a16="http://schemas.microsoft.com/office/drawing/2014/main" id="{6FC00471-66CA-0347-AF78-B762CB3DE3A1}"/>
                </a:ext>
              </a:extLst>
            </p:cNvPr>
            <p:cNvSpPr/>
            <p:nvPr/>
          </p:nvSpPr>
          <p:spPr>
            <a:xfrm>
              <a:off x="5181969"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8" name="Oval 37">
              <a:extLst>
                <a:ext uri="{FF2B5EF4-FFF2-40B4-BE49-F238E27FC236}">
                  <a16:creationId xmlns:a16="http://schemas.microsoft.com/office/drawing/2014/main" id="{8DCC9B5A-B3FD-CE45-840E-39BBAA093178}"/>
                </a:ext>
              </a:extLst>
            </p:cNvPr>
            <p:cNvSpPr/>
            <p:nvPr/>
          </p:nvSpPr>
          <p:spPr>
            <a:xfrm>
              <a:off x="3983117"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39" name="Oval 38">
              <a:extLst>
                <a:ext uri="{FF2B5EF4-FFF2-40B4-BE49-F238E27FC236}">
                  <a16:creationId xmlns:a16="http://schemas.microsoft.com/office/drawing/2014/main" id="{51D7BA46-B704-954E-A38A-BD45B41F911F}"/>
                </a:ext>
              </a:extLst>
            </p:cNvPr>
            <p:cNvSpPr/>
            <p:nvPr/>
          </p:nvSpPr>
          <p:spPr>
            <a:xfrm>
              <a:off x="2784267" y="3439701"/>
              <a:ext cx="496022" cy="540000"/>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sp>
          <p:nvSpPr>
            <p:cNvPr id="40" name="TextBox 39">
              <a:extLst>
                <a:ext uri="{FF2B5EF4-FFF2-40B4-BE49-F238E27FC236}">
                  <a16:creationId xmlns:a16="http://schemas.microsoft.com/office/drawing/2014/main" id="{F3CC01DA-131B-C141-B12D-7F044F6C39E3}"/>
                </a:ext>
              </a:extLst>
            </p:cNvPr>
            <p:cNvSpPr txBox="1"/>
            <p:nvPr/>
          </p:nvSpPr>
          <p:spPr>
            <a:xfrm>
              <a:off x="10117785" y="3530163"/>
              <a:ext cx="710192" cy="369332"/>
            </a:xfrm>
            <a:prstGeom prst="rect">
              <a:avLst/>
            </a:prstGeom>
            <a:noFill/>
          </p:spPr>
          <p:txBody>
            <a:bodyPr wrap="square" rtlCol="0">
              <a:spAutoFit/>
            </a:bodyPr>
            <a:lstStyle/>
            <a:p>
              <a:pPr algn="ctr"/>
              <a:r>
                <a:rPr lang="en-US" altLang="ko-KR" b="1">
                  <a:solidFill>
                    <a:sysClr val="windowText" lastClr="000000"/>
                  </a:solidFill>
                </a:rPr>
                <a:t>2019</a:t>
              </a:r>
              <a:endParaRPr lang="ko-KR" altLang="en-US" b="1">
                <a:solidFill>
                  <a:sysClr val="windowText" lastClr="000000"/>
                </a:solidFill>
              </a:endParaRPr>
            </a:p>
          </p:txBody>
        </p:sp>
        <p:sp>
          <p:nvSpPr>
            <p:cNvPr id="41" name="Rectangle 9">
              <a:extLst>
                <a:ext uri="{FF2B5EF4-FFF2-40B4-BE49-F238E27FC236}">
                  <a16:creationId xmlns:a16="http://schemas.microsoft.com/office/drawing/2014/main" id="{F5029A54-E38C-604D-A3C4-D668B7E3C1E6}"/>
                </a:ext>
              </a:extLst>
            </p:cNvPr>
            <p:cNvSpPr/>
            <p:nvPr/>
          </p:nvSpPr>
          <p:spPr>
            <a:xfrm>
              <a:off x="2869575" y="4708517"/>
              <a:ext cx="263917" cy="247050"/>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2" name="Rounded Rectangle 5">
              <a:extLst>
                <a:ext uri="{FF2B5EF4-FFF2-40B4-BE49-F238E27FC236}">
                  <a16:creationId xmlns:a16="http://schemas.microsoft.com/office/drawing/2014/main" id="{E0E4A2CA-64B4-D340-9B64-D9FBFF77F217}"/>
                </a:ext>
              </a:extLst>
            </p:cNvPr>
            <p:cNvSpPr/>
            <p:nvPr/>
          </p:nvSpPr>
          <p:spPr>
            <a:xfrm flipH="1">
              <a:off x="4080273" y="1703252"/>
              <a:ext cx="313757" cy="258831"/>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3" name="Oval 7">
              <a:extLst>
                <a:ext uri="{FF2B5EF4-FFF2-40B4-BE49-F238E27FC236}">
                  <a16:creationId xmlns:a16="http://schemas.microsoft.com/office/drawing/2014/main" id="{CAEDEC81-6447-8C45-8ABE-41D6703143E5}"/>
                </a:ext>
              </a:extLst>
            </p:cNvPr>
            <p:cNvSpPr/>
            <p:nvPr/>
          </p:nvSpPr>
          <p:spPr>
            <a:xfrm>
              <a:off x="6479301" y="1625778"/>
              <a:ext cx="289401" cy="289401"/>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4" name="Rounded Rectangle 27">
              <a:extLst>
                <a:ext uri="{FF2B5EF4-FFF2-40B4-BE49-F238E27FC236}">
                  <a16:creationId xmlns:a16="http://schemas.microsoft.com/office/drawing/2014/main" id="{DBA86C73-8F92-CE49-B66B-86062D3B462C}"/>
                </a:ext>
              </a:extLst>
            </p:cNvPr>
            <p:cNvSpPr/>
            <p:nvPr/>
          </p:nvSpPr>
          <p:spPr>
            <a:xfrm>
              <a:off x="7694721" y="4744875"/>
              <a:ext cx="277481" cy="213143"/>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5" name="Rounded Rectangle 7">
              <a:extLst>
                <a:ext uri="{FF2B5EF4-FFF2-40B4-BE49-F238E27FC236}">
                  <a16:creationId xmlns:a16="http://schemas.microsoft.com/office/drawing/2014/main" id="{C44C59B3-3CC8-6A41-91E2-58D86314E0D0}"/>
                </a:ext>
              </a:extLst>
            </p:cNvPr>
            <p:cNvSpPr/>
            <p:nvPr/>
          </p:nvSpPr>
          <p:spPr>
            <a:xfrm>
              <a:off x="8889937" y="1630312"/>
              <a:ext cx="282111" cy="2434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6" name="Oval 21">
              <a:extLst>
                <a:ext uri="{FF2B5EF4-FFF2-40B4-BE49-F238E27FC236}">
                  <a16:creationId xmlns:a16="http://schemas.microsoft.com/office/drawing/2014/main" id="{7B9E6398-4B5F-CD4E-BFA9-4E1D9F9C218F}"/>
                </a:ext>
              </a:extLst>
            </p:cNvPr>
            <p:cNvSpPr>
              <a:spLocks noChangeAspect="1"/>
            </p:cNvSpPr>
            <p:nvPr/>
          </p:nvSpPr>
          <p:spPr>
            <a:xfrm>
              <a:off x="5287711" y="4696858"/>
              <a:ext cx="284114" cy="286487"/>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2953654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743040A-8AC1-CE4A-BF33-791149E8E4D0}"/>
              </a:ext>
            </a:extLst>
          </p:cNvPr>
          <p:cNvGraphicFramePr>
            <a:graphicFrameLocks noChangeAspect="1"/>
          </p:cNvGraphicFramePr>
          <p:nvPr>
            <p:custDataLst>
              <p:tags r:id="rId1"/>
            </p:custDataLst>
            <p:extLst>
              <p:ext uri="{D42A27DB-BD31-4B8C-83A1-F6EECF244321}">
                <p14:modId xmlns:p14="http://schemas.microsoft.com/office/powerpoint/2010/main" val="1620466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7" name="Object 16" hidden="1">
                        <a:extLst>
                          <a:ext uri="{FF2B5EF4-FFF2-40B4-BE49-F238E27FC236}">
                            <a16:creationId xmlns:a16="http://schemas.microsoft.com/office/drawing/2014/main" id="{9743040A-8AC1-CE4A-BF33-791149E8E4D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32E8E0E-424E-3E47-9F35-1BE07BA90733}"/>
              </a:ext>
            </a:extLst>
          </p:cNvPr>
          <p:cNvSpPr>
            <a:spLocks noGrp="1"/>
          </p:cNvSpPr>
          <p:nvPr>
            <p:ph type="sldNum" sz="quarter" idx="4"/>
          </p:nvPr>
        </p:nvSpPr>
        <p:spPr/>
        <p:txBody>
          <a:bodyPr/>
          <a:lstStyle/>
          <a:p>
            <a:fld id="{3D966009-6E5A-4F8C-8CA7-E37AFBF5FB92}" type="slidenum">
              <a:rPr lang="en-US" smtClean="0"/>
              <a:t>112</a:t>
            </a:fld>
            <a:endParaRPr lang="en-US"/>
          </a:p>
        </p:txBody>
      </p:sp>
      <p:sp>
        <p:nvSpPr>
          <p:cNvPr id="3" name="Title 2">
            <a:extLst>
              <a:ext uri="{FF2B5EF4-FFF2-40B4-BE49-F238E27FC236}">
                <a16:creationId xmlns:a16="http://schemas.microsoft.com/office/drawing/2014/main" id="{2BA97BE3-8590-2942-A734-C702526CDE8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B8585DB-8405-6643-B049-D007860DD6CE}"/>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1D595C0-CCB9-C942-9647-991C6A1F30AC}"/>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ED225FD-BD36-7A4C-83BA-1F2717193089}"/>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B145D5A2-7CDE-E94A-A6FB-9E07D85C3A44}"/>
              </a:ext>
            </a:extLst>
          </p:cNvPr>
          <p:cNvSpPr>
            <a:spLocks noGrp="1"/>
          </p:cNvSpPr>
          <p:nvPr>
            <p:ph sz="quarter" idx="14"/>
          </p:nvPr>
        </p:nvSpPr>
        <p:spPr/>
        <p:txBody>
          <a:bodyPr/>
          <a:lstStyle/>
          <a:p>
            <a:endParaRPr lang="en-GB"/>
          </a:p>
        </p:txBody>
      </p:sp>
      <p:grpSp>
        <p:nvGrpSpPr>
          <p:cNvPr id="9" name="그룹 2">
            <a:extLst>
              <a:ext uri="{FF2B5EF4-FFF2-40B4-BE49-F238E27FC236}">
                <a16:creationId xmlns:a16="http://schemas.microsoft.com/office/drawing/2014/main" id="{59E7EDFE-A9DD-B74F-BD00-DD8DCC6C3402}"/>
              </a:ext>
            </a:extLst>
          </p:cNvPr>
          <p:cNvGrpSpPr/>
          <p:nvPr/>
        </p:nvGrpSpPr>
        <p:grpSpPr>
          <a:xfrm>
            <a:off x="891038" y="3288463"/>
            <a:ext cx="10384574" cy="936104"/>
            <a:chOff x="891037" y="3385183"/>
            <a:chExt cx="10384574" cy="936104"/>
          </a:xfrm>
          <a:solidFill>
            <a:schemeClr val="accent1"/>
          </a:solidFill>
        </p:grpSpPr>
        <p:sp>
          <p:nvSpPr>
            <p:cNvPr id="10" name="Oval 11">
              <a:extLst>
                <a:ext uri="{FF2B5EF4-FFF2-40B4-BE49-F238E27FC236}">
                  <a16:creationId xmlns:a16="http://schemas.microsoft.com/office/drawing/2014/main" id="{7FA47A43-F313-A04E-99DB-0E7F76495A73}"/>
                </a:ext>
              </a:extLst>
            </p:cNvPr>
            <p:cNvSpPr/>
            <p:nvPr/>
          </p:nvSpPr>
          <p:spPr>
            <a:xfrm>
              <a:off x="891037" y="3474607"/>
              <a:ext cx="2484289" cy="736452"/>
            </a:xfrm>
            <a:custGeom>
              <a:avLst/>
              <a:gdLst/>
              <a:ahLst/>
              <a:cxnLst/>
              <a:rect l="l" t="t" r="r" b="b"/>
              <a:pathLst>
                <a:path w="2484289" h="736452">
                  <a:moveTo>
                    <a:pt x="2116063" y="0"/>
                  </a:moveTo>
                  <a:cubicBezTo>
                    <a:pt x="2319429" y="0"/>
                    <a:pt x="2484289" y="164860"/>
                    <a:pt x="2484289" y="368226"/>
                  </a:cubicBezTo>
                  <a:cubicBezTo>
                    <a:pt x="2484289" y="571592"/>
                    <a:pt x="2319429" y="736452"/>
                    <a:pt x="2116063" y="736452"/>
                  </a:cubicBezTo>
                  <a:cubicBezTo>
                    <a:pt x="1936555" y="736452"/>
                    <a:pt x="1787048" y="608005"/>
                    <a:pt x="1754863" y="437925"/>
                  </a:cubicBezTo>
                  <a:lnTo>
                    <a:pt x="346009" y="437925"/>
                  </a:lnTo>
                  <a:cubicBezTo>
                    <a:pt x="318800" y="502742"/>
                    <a:pt x="254724" y="548245"/>
                    <a:pt x="180020" y="548245"/>
                  </a:cubicBezTo>
                  <a:cubicBezTo>
                    <a:pt x="80598" y="548245"/>
                    <a:pt x="0" y="467647"/>
                    <a:pt x="0" y="368225"/>
                  </a:cubicBezTo>
                  <a:cubicBezTo>
                    <a:pt x="0" y="268803"/>
                    <a:pt x="80598" y="188205"/>
                    <a:pt x="180020" y="188205"/>
                  </a:cubicBezTo>
                  <a:cubicBezTo>
                    <a:pt x="254724" y="188205"/>
                    <a:pt x="318801" y="233709"/>
                    <a:pt x="346009" y="298526"/>
                  </a:cubicBezTo>
                  <a:lnTo>
                    <a:pt x="1754863" y="298526"/>
                  </a:lnTo>
                  <a:cubicBezTo>
                    <a:pt x="1787049" y="128447"/>
                    <a:pt x="1936556" y="0"/>
                    <a:pt x="2116063" y="0"/>
                  </a:cubicBezTo>
                  <a:close/>
                </a:path>
              </a:pathLst>
            </a:custGeom>
            <a:grp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1" name="Oval 11">
              <a:extLst>
                <a:ext uri="{FF2B5EF4-FFF2-40B4-BE49-F238E27FC236}">
                  <a16:creationId xmlns:a16="http://schemas.microsoft.com/office/drawing/2014/main" id="{45B30E0A-9311-E644-A37A-2300980AA909}"/>
                </a:ext>
              </a:extLst>
            </p:cNvPr>
            <p:cNvSpPr/>
            <p:nvPr/>
          </p:nvSpPr>
          <p:spPr>
            <a:xfrm>
              <a:off x="2839789" y="3485009"/>
              <a:ext cx="2484289" cy="736452"/>
            </a:xfrm>
            <a:custGeom>
              <a:avLst/>
              <a:gdLst/>
              <a:ahLst/>
              <a:cxnLst/>
              <a:rect l="l" t="t" r="r" b="b"/>
              <a:pathLst>
                <a:path w="2484289" h="736452">
                  <a:moveTo>
                    <a:pt x="2116063" y="0"/>
                  </a:moveTo>
                  <a:cubicBezTo>
                    <a:pt x="2319429" y="0"/>
                    <a:pt x="2484289" y="164860"/>
                    <a:pt x="2484289" y="368226"/>
                  </a:cubicBezTo>
                  <a:cubicBezTo>
                    <a:pt x="2484289" y="571592"/>
                    <a:pt x="2319429" y="736452"/>
                    <a:pt x="2116063" y="736452"/>
                  </a:cubicBezTo>
                  <a:cubicBezTo>
                    <a:pt x="1936555" y="736452"/>
                    <a:pt x="1787048" y="608005"/>
                    <a:pt x="1754863" y="437925"/>
                  </a:cubicBezTo>
                  <a:lnTo>
                    <a:pt x="346009" y="437925"/>
                  </a:lnTo>
                  <a:cubicBezTo>
                    <a:pt x="318800" y="502742"/>
                    <a:pt x="254724" y="548245"/>
                    <a:pt x="180020" y="548245"/>
                  </a:cubicBezTo>
                  <a:cubicBezTo>
                    <a:pt x="80598" y="548245"/>
                    <a:pt x="0" y="467647"/>
                    <a:pt x="0" y="368225"/>
                  </a:cubicBezTo>
                  <a:cubicBezTo>
                    <a:pt x="0" y="268803"/>
                    <a:pt x="80598" y="188205"/>
                    <a:pt x="180020" y="188205"/>
                  </a:cubicBezTo>
                  <a:cubicBezTo>
                    <a:pt x="254724" y="188205"/>
                    <a:pt x="318801" y="233709"/>
                    <a:pt x="346009" y="298526"/>
                  </a:cubicBezTo>
                  <a:lnTo>
                    <a:pt x="1754863" y="298526"/>
                  </a:lnTo>
                  <a:cubicBezTo>
                    <a:pt x="1787049" y="128447"/>
                    <a:pt x="1936556" y="0"/>
                    <a:pt x="2116063" y="0"/>
                  </a:cubicBezTo>
                  <a:close/>
                </a:path>
              </a:pathLst>
            </a:custGeom>
            <a:grp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2" name="Oval 11">
              <a:extLst>
                <a:ext uri="{FF2B5EF4-FFF2-40B4-BE49-F238E27FC236}">
                  <a16:creationId xmlns:a16="http://schemas.microsoft.com/office/drawing/2014/main" id="{C6AFD1C7-2318-AE4C-84BE-2A2DDBBC95C6}"/>
                </a:ext>
              </a:extLst>
            </p:cNvPr>
            <p:cNvSpPr/>
            <p:nvPr/>
          </p:nvSpPr>
          <p:spPr>
            <a:xfrm>
              <a:off x="4788541" y="3485009"/>
              <a:ext cx="2484289" cy="736452"/>
            </a:xfrm>
            <a:custGeom>
              <a:avLst/>
              <a:gdLst/>
              <a:ahLst/>
              <a:cxnLst/>
              <a:rect l="l" t="t" r="r" b="b"/>
              <a:pathLst>
                <a:path w="2484289" h="736452">
                  <a:moveTo>
                    <a:pt x="2116063" y="0"/>
                  </a:moveTo>
                  <a:cubicBezTo>
                    <a:pt x="2319429" y="0"/>
                    <a:pt x="2484289" y="164860"/>
                    <a:pt x="2484289" y="368226"/>
                  </a:cubicBezTo>
                  <a:cubicBezTo>
                    <a:pt x="2484289" y="571592"/>
                    <a:pt x="2319429" y="736452"/>
                    <a:pt x="2116063" y="736452"/>
                  </a:cubicBezTo>
                  <a:cubicBezTo>
                    <a:pt x="1936555" y="736452"/>
                    <a:pt x="1787048" y="608005"/>
                    <a:pt x="1754863" y="437925"/>
                  </a:cubicBezTo>
                  <a:lnTo>
                    <a:pt x="346009" y="437925"/>
                  </a:lnTo>
                  <a:cubicBezTo>
                    <a:pt x="318800" y="502742"/>
                    <a:pt x="254724" y="548245"/>
                    <a:pt x="180020" y="548245"/>
                  </a:cubicBezTo>
                  <a:cubicBezTo>
                    <a:pt x="80598" y="548245"/>
                    <a:pt x="0" y="467647"/>
                    <a:pt x="0" y="368225"/>
                  </a:cubicBezTo>
                  <a:cubicBezTo>
                    <a:pt x="0" y="268803"/>
                    <a:pt x="80598" y="188205"/>
                    <a:pt x="180020" y="188205"/>
                  </a:cubicBezTo>
                  <a:cubicBezTo>
                    <a:pt x="254724" y="188205"/>
                    <a:pt x="318801" y="233709"/>
                    <a:pt x="346009" y="298526"/>
                  </a:cubicBezTo>
                  <a:lnTo>
                    <a:pt x="1754863" y="298526"/>
                  </a:lnTo>
                  <a:cubicBezTo>
                    <a:pt x="1787049" y="128447"/>
                    <a:pt x="1936556" y="0"/>
                    <a:pt x="2116063" y="0"/>
                  </a:cubicBezTo>
                  <a:close/>
                </a:path>
              </a:pathLst>
            </a:custGeom>
            <a:grp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3" name="Oval 11">
              <a:extLst>
                <a:ext uri="{FF2B5EF4-FFF2-40B4-BE49-F238E27FC236}">
                  <a16:creationId xmlns:a16="http://schemas.microsoft.com/office/drawing/2014/main" id="{DB505A96-0EFE-E14E-9C5E-850E708C8912}"/>
                </a:ext>
              </a:extLst>
            </p:cNvPr>
            <p:cNvSpPr/>
            <p:nvPr/>
          </p:nvSpPr>
          <p:spPr>
            <a:xfrm>
              <a:off x="6737293" y="3485009"/>
              <a:ext cx="2484289" cy="736452"/>
            </a:xfrm>
            <a:custGeom>
              <a:avLst/>
              <a:gdLst/>
              <a:ahLst/>
              <a:cxnLst/>
              <a:rect l="l" t="t" r="r" b="b"/>
              <a:pathLst>
                <a:path w="2484289" h="736452">
                  <a:moveTo>
                    <a:pt x="2116063" y="0"/>
                  </a:moveTo>
                  <a:cubicBezTo>
                    <a:pt x="2319429" y="0"/>
                    <a:pt x="2484289" y="164860"/>
                    <a:pt x="2484289" y="368226"/>
                  </a:cubicBezTo>
                  <a:cubicBezTo>
                    <a:pt x="2484289" y="571592"/>
                    <a:pt x="2319429" y="736452"/>
                    <a:pt x="2116063" y="736452"/>
                  </a:cubicBezTo>
                  <a:cubicBezTo>
                    <a:pt x="1936555" y="736452"/>
                    <a:pt x="1787048" y="608005"/>
                    <a:pt x="1754863" y="437925"/>
                  </a:cubicBezTo>
                  <a:lnTo>
                    <a:pt x="346009" y="437925"/>
                  </a:lnTo>
                  <a:cubicBezTo>
                    <a:pt x="318800" y="502742"/>
                    <a:pt x="254724" y="548245"/>
                    <a:pt x="180020" y="548245"/>
                  </a:cubicBezTo>
                  <a:cubicBezTo>
                    <a:pt x="80598" y="548245"/>
                    <a:pt x="0" y="467647"/>
                    <a:pt x="0" y="368225"/>
                  </a:cubicBezTo>
                  <a:cubicBezTo>
                    <a:pt x="0" y="268803"/>
                    <a:pt x="80598" y="188205"/>
                    <a:pt x="180020" y="188205"/>
                  </a:cubicBezTo>
                  <a:cubicBezTo>
                    <a:pt x="254724" y="188205"/>
                    <a:pt x="318801" y="233709"/>
                    <a:pt x="346009" y="298526"/>
                  </a:cubicBezTo>
                  <a:lnTo>
                    <a:pt x="1754863" y="298526"/>
                  </a:lnTo>
                  <a:cubicBezTo>
                    <a:pt x="1787049" y="128447"/>
                    <a:pt x="1936556" y="0"/>
                    <a:pt x="2116063" y="0"/>
                  </a:cubicBezTo>
                  <a:close/>
                </a:path>
              </a:pathLst>
            </a:custGeom>
            <a:grp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4" name="Oval 11">
              <a:extLst>
                <a:ext uri="{FF2B5EF4-FFF2-40B4-BE49-F238E27FC236}">
                  <a16:creationId xmlns:a16="http://schemas.microsoft.com/office/drawing/2014/main" id="{968003F4-CA7C-B248-A52D-E04C7AB4DF88}"/>
                </a:ext>
              </a:extLst>
            </p:cNvPr>
            <p:cNvSpPr/>
            <p:nvPr/>
          </p:nvSpPr>
          <p:spPr>
            <a:xfrm>
              <a:off x="8686045" y="3485009"/>
              <a:ext cx="2484289" cy="736452"/>
            </a:xfrm>
            <a:custGeom>
              <a:avLst/>
              <a:gdLst/>
              <a:ahLst/>
              <a:cxnLst/>
              <a:rect l="l" t="t" r="r" b="b"/>
              <a:pathLst>
                <a:path w="2484289" h="736452">
                  <a:moveTo>
                    <a:pt x="2116063" y="0"/>
                  </a:moveTo>
                  <a:cubicBezTo>
                    <a:pt x="2319429" y="0"/>
                    <a:pt x="2484289" y="164860"/>
                    <a:pt x="2484289" y="368226"/>
                  </a:cubicBezTo>
                  <a:cubicBezTo>
                    <a:pt x="2484289" y="571592"/>
                    <a:pt x="2319429" y="736452"/>
                    <a:pt x="2116063" y="736452"/>
                  </a:cubicBezTo>
                  <a:cubicBezTo>
                    <a:pt x="1936555" y="736452"/>
                    <a:pt x="1787048" y="608005"/>
                    <a:pt x="1754863" y="437925"/>
                  </a:cubicBezTo>
                  <a:lnTo>
                    <a:pt x="346009" y="437925"/>
                  </a:lnTo>
                  <a:cubicBezTo>
                    <a:pt x="318800" y="502742"/>
                    <a:pt x="254724" y="548245"/>
                    <a:pt x="180020" y="548245"/>
                  </a:cubicBezTo>
                  <a:cubicBezTo>
                    <a:pt x="80598" y="548245"/>
                    <a:pt x="0" y="467647"/>
                    <a:pt x="0" y="368225"/>
                  </a:cubicBezTo>
                  <a:cubicBezTo>
                    <a:pt x="0" y="268803"/>
                    <a:pt x="80598" y="188205"/>
                    <a:pt x="180020" y="188205"/>
                  </a:cubicBezTo>
                  <a:cubicBezTo>
                    <a:pt x="254724" y="188205"/>
                    <a:pt x="318801" y="233709"/>
                    <a:pt x="346009" y="298526"/>
                  </a:cubicBezTo>
                  <a:lnTo>
                    <a:pt x="1754863" y="298526"/>
                  </a:lnTo>
                  <a:cubicBezTo>
                    <a:pt x="1787049" y="128447"/>
                    <a:pt x="1936556" y="0"/>
                    <a:pt x="2116063" y="0"/>
                  </a:cubicBezTo>
                  <a:close/>
                </a:path>
              </a:pathLst>
            </a:custGeom>
            <a:solidFill>
              <a:schemeClr val="accent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5" name="Oval 14">
              <a:extLst>
                <a:ext uri="{FF2B5EF4-FFF2-40B4-BE49-F238E27FC236}">
                  <a16:creationId xmlns:a16="http://schemas.microsoft.com/office/drawing/2014/main" id="{6091AA6B-DDEA-1A4C-A92B-5673DF143B35}"/>
                </a:ext>
              </a:extLst>
            </p:cNvPr>
            <p:cNvSpPr/>
            <p:nvPr/>
          </p:nvSpPr>
          <p:spPr>
            <a:xfrm>
              <a:off x="10339507" y="3385183"/>
              <a:ext cx="936104" cy="936104"/>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 name="Oval 15">
              <a:extLst>
                <a:ext uri="{FF2B5EF4-FFF2-40B4-BE49-F238E27FC236}">
                  <a16:creationId xmlns:a16="http://schemas.microsoft.com/office/drawing/2014/main" id="{9113BE0B-2EDC-B744-8E35-C363D3EEF7AA}"/>
                </a:ext>
              </a:extLst>
            </p:cNvPr>
            <p:cNvSpPr/>
            <p:nvPr/>
          </p:nvSpPr>
          <p:spPr>
            <a:xfrm>
              <a:off x="10637064" y="3682740"/>
              <a:ext cx="340990" cy="340990"/>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Tree>
    <p:extLst>
      <p:ext uri="{BB962C8B-B14F-4D97-AF65-F5344CB8AC3E}">
        <p14:creationId xmlns:p14="http://schemas.microsoft.com/office/powerpoint/2010/main" val="159563200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1F7821-90F8-A447-BD36-2B741048437E}"/>
              </a:ext>
            </a:extLst>
          </p:cNvPr>
          <p:cNvGraphicFramePr>
            <a:graphicFrameLocks noChangeAspect="1"/>
          </p:cNvGraphicFramePr>
          <p:nvPr>
            <p:custDataLst>
              <p:tags r:id="rId1"/>
            </p:custDataLst>
            <p:extLst>
              <p:ext uri="{D42A27DB-BD31-4B8C-83A1-F6EECF244321}">
                <p14:modId xmlns:p14="http://schemas.microsoft.com/office/powerpoint/2010/main" val="3093365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011F7821-90F8-A447-BD36-2B74104843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F9D5B1D-D0E8-1E40-A5A1-5F40C971F25E}"/>
              </a:ext>
            </a:extLst>
          </p:cNvPr>
          <p:cNvSpPr>
            <a:spLocks noGrp="1"/>
          </p:cNvSpPr>
          <p:nvPr>
            <p:ph type="sldNum" sz="quarter" idx="4"/>
          </p:nvPr>
        </p:nvSpPr>
        <p:spPr/>
        <p:txBody>
          <a:bodyPr/>
          <a:lstStyle/>
          <a:p>
            <a:fld id="{3D966009-6E5A-4F8C-8CA7-E37AFBF5FB92}" type="slidenum">
              <a:rPr lang="en-US" smtClean="0"/>
              <a:t>113</a:t>
            </a:fld>
            <a:endParaRPr lang="en-US"/>
          </a:p>
        </p:txBody>
      </p:sp>
      <p:sp>
        <p:nvSpPr>
          <p:cNvPr id="3" name="Title 2">
            <a:extLst>
              <a:ext uri="{FF2B5EF4-FFF2-40B4-BE49-F238E27FC236}">
                <a16:creationId xmlns:a16="http://schemas.microsoft.com/office/drawing/2014/main" id="{EEC709DD-0A40-4C4D-A099-339E6DB3EB28}"/>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19856E40-A5A6-AA42-9A55-7D83A964C50F}"/>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97A9D26B-3F86-F041-A997-643D6277C7C8}"/>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38CE3A76-9800-FE43-A834-05DC60D946F6}"/>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CA5B44FB-DB3F-AB42-8A46-A276D74FE1EE}"/>
              </a:ext>
            </a:extLst>
          </p:cNvPr>
          <p:cNvSpPr>
            <a:spLocks noGrp="1"/>
          </p:cNvSpPr>
          <p:nvPr>
            <p:ph sz="quarter" idx="14"/>
          </p:nvPr>
        </p:nvSpPr>
        <p:spPr/>
        <p:txBody>
          <a:bodyPr/>
          <a:lstStyle/>
          <a:p>
            <a:endParaRPr lang="de-DE"/>
          </a:p>
        </p:txBody>
      </p:sp>
      <p:grpSp>
        <p:nvGrpSpPr>
          <p:cNvPr id="63" name="Group 62">
            <a:extLst>
              <a:ext uri="{FF2B5EF4-FFF2-40B4-BE49-F238E27FC236}">
                <a16:creationId xmlns:a16="http://schemas.microsoft.com/office/drawing/2014/main" id="{90F38ABE-CAB9-404E-B545-3D2968154519}"/>
              </a:ext>
            </a:extLst>
          </p:cNvPr>
          <p:cNvGrpSpPr/>
          <p:nvPr/>
        </p:nvGrpSpPr>
        <p:grpSpPr>
          <a:xfrm>
            <a:off x="568852" y="1747116"/>
            <a:ext cx="11251673" cy="3891683"/>
            <a:chOff x="568852" y="1760688"/>
            <a:chExt cx="8039095" cy="2845633"/>
          </a:xfrm>
        </p:grpSpPr>
        <p:cxnSp>
          <p:nvCxnSpPr>
            <p:cNvPr id="36" name="Straight Connector 35">
              <a:extLst>
                <a:ext uri="{FF2B5EF4-FFF2-40B4-BE49-F238E27FC236}">
                  <a16:creationId xmlns:a16="http://schemas.microsoft.com/office/drawing/2014/main" id="{A0A3EA8F-D459-CF49-B682-3A12190C98B4}"/>
                </a:ext>
              </a:extLst>
            </p:cNvPr>
            <p:cNvCxnSpPr>
              <a:stCxn id="42" idx="6"/>
            </p:cNvCxnSpPr>
            <p:nvPr/>
          </p:nvCxnSpPr>
          <p:spPr>
            <a:xfrm>
              <a:off x="1670688" y="3006407"/>
              <a:ext cx="5984077" cy="8296"/>
            </a:xfrm>
            <a:prstGeom prst="line">
              <a:avLst/>
            </a:prstGeom>
            <a:noFill/>
            <a:ln w="25400" cap="flat" cmpd="sng" algn="ctr">
              <a:solidFill>
                <a:sysClr val="windowText" lastClr="000000">
                  <a:lumMod val="75000"/>
                  <a:lumOff val="25000"/>
                </a:sysClr>
              </a:solidFill>
              <a:prstDash val="solid"/>
              <a:headEnd type="none"/>
            </a:ln>
            <a:effectLst/>
          </p:spPr>
        </p:cxnSp>
        <p:grpSp>
          <p:nvGrpSpPr>
            <p:cNvPr id="37" name="Group 36">
              <a:extLst>
                <a:ext uri="{FF2B5EF4-FFF2-40B4-BE49-F238E27FC236}">
                  <a16:creationId xmlns:a16="http://schemas.microsoft.com/office/drawing/2014/main" id="{50A709EB-19CD-374C-988D-F0ADCBF4AA11}"/>
                </a:ext>
              </a:extLst>
            </p:cNvPr>
            <p:cNvGrpSpPr/>
            <p:nvPr/>
          </p:nvGrpSpPr>
          <p:grpSpPr>
            <a:xfrm>
              <a:off x="7092278" y="2517710"/>
              <a:ext cx="971680" cy="971680"/>
              <a:chOff x="7092280" y="2517710"/>
              <a:chExt cx="971680" cy="971680"/>
            </a:xfrm>
          </p:grpSpPr>
          <p:sp>
            <p:nvSpPr>
              <p:cNvPr id="38" name="Oval 37">
                <a:extLst>
                  <a:ext uri="{FF2B5EF4-FFF2-40B4-BE49-F238E27FC236}">
                    <a16:creationId xmlns:a16="http://schemas.microsoft.com/office/drawing/2014/main" id="{A3C02BA0-0606-AD42-9E78-2BBEB97FFB0E}"/>
                  </a:ext>
                </a:extLst>
              </p:cNvPr>
              <p:cNvSpPr/>
              <p:nvPr/>
            </p:nvSpPr>
            <p:spPr>
              <a:xfrm>
                <a:off x="7092280" y="2517710"/>
                <a:ext cx="971680" cy="971680"/>
              </a:xfrm>
              <a:prstGeom prst="ellipse">
                <a:avLst/>
              </a:prstGeom>
              <a:solidFill>
                <a:sysClr val="window" lastClr="FFFFFF"/>
              </a:solidFill>
              <a:ln w="50800" cap="flat" cmpd="sng" algn="ctr">
                <a:solidFill>
                  <a:srgbClr val="8D8EA7"/>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65000"/>
                      <a:lumOff val="35000"/>
                    </a:prstClr>
                  </a:solidFill>
                  <a:effectLst/>
                  <a:uLnTx/>
                  <a:uFillTx/>
                  <a:latin typeface="Arial"/>
                  <a:ea typeface="Arial Unicode MS"/>
                  <a:cs typeface="+mn-cs"/>
                </a:endParaRPr>
              </a:p>
            </p:txBody>
          </p:sp>
          <p:sp>
            <p:nvSpPr>
              <p:cNvPr id="39" name="Oval 38">
                <a:extLst>
                  <a:ext uri="{FF2B5EF4-FFF2-40B4-BE49-F238E27FC236}">
                    <a16:creationId xmlns:a16="http://schemas.microsoft.com/office/drawing/2014/main" id="{3732D6DD-82D7-D648-978B-F6749F598C25}"/>
                  </a:ext>
                </a:extLst>
              </p:cNvPr>
              <p:cNvSpPr/>
              <p:nvPr/>
            </p:nvSpPr>
            <p:spPr>
              <a:xfrm>
                <a:off x="7201684" y="2627114"/>
                <a:ext cx="752872" cy="752872"/>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40" name="Group 39">
              <a:extLst>
                <a:ext uri="{FF2B5EF4-FFF2-40B4-BE49-F238E27FC236}">
                  <a16:creationId xmlns:a16="http://schemas.microsoft.com/office/drawing/2014/main" id="{EF81CD44-41F1-FB48-BA16-3C70C0059BED}"/>
                </a:ext>
              </a:extLst>
            </p:cNvPr>
            <p:cNvGrpSpPr/>
            <p:nvPr/>
          </p:nvGrpSpPr>
          <p:grpSpPr>
            <a:xfrm>
              <a:off x="1454664" y="2862391"/>
              <a:ext cx="288032" cy="288032"/>
              <a:chOff x="611560" y="2851238"/>
              <a:chExt cx="288032" cy="288032"/>
            </a:xfrm>
          </p:grpSpPr>
          <p:sp>
            <p:nvSpPr>
              <p:cNvPr id="41" name="Oval 40">
                <a:extLst>
                  <a:ext uri="{FF2B5EF4-FFF2-40B4-BE49-F238E27FC236}">
                    <a16:creationId xmlns:a16="http://schemas.microsoft.com/office/drawing/2014/main" id="{F835C194-43C7-AF47-BC12-43B5E124E7C2}"/>
                  </a:ext>
                </a:extLst>
              </p:cNvPr>
              <p:cNvSpPr/>
              <p:nvPr/>
            </p:nvSpPr>
            <p:spPr>
              <a:xfrm>
                <a:off x="611560" y="2851238"/>
                <a:ext cx="288032" cy="288032"/>
              </a:xfrm>
              <a:prstGeom prst="ellipse">
                <a:avLst/>
              </a:prstGeom>
              <a:solidFill>
                <a:srgbClr val="8D8EA7">
                  <a:alpha val="40000"/>
                </a:srgb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42" name="Oval 41">
                <a:extLst>
                  <a:ext uri="{FF2B5EF4-FFF2-40B4-BE49-F238E27FC236}">
                    <a16:creationId xmlns:a16="http://schemas.microsoft.com/office/drawing/2014/main" id="{E6823CD2-93D8-1441-84D7-88846EBE3F38}"/>
                  </a:ext>
                </a:extLst>
              </p:cNvPr>
              <p:cNvSpPr/>
              <p:nvPr/>
            </p:nvSpPr>
            <p:spPr>
              <a:xfrm>
                <a:off x="683568" y="2923246"/>
                <a:ext cx="144016" cy="144016"/>
              </a:xfrm>
              <a:prstGeom prst="ellipse">
                <a:avLst/>
              </a:prstGeom>
              <a:solidFill>
                <a:sysClr val="windowText" lastClr="000000">
                  <a:lumMod val="75000"/>
                  <a:lumOff val="25000"/>
                </a:sys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43" name="Group 42">
              <a:extLst>
                <a:ext uri="{FF2B5EF4-FFF2-40B4-BE49-F238E27FC236}">
                  <a16:creationId xmlns:a16="http://schemas.microsoft.com/office/drawing/2014/main" id="{40A91A61-46DA-5742-AB71-2EC0D9A2762D}"/>
                </a:ext>
              </a:extLst>
            </p:cNvPr>
            <p:cNvGrpSpPr/>
            <p:nvPr/>
          </p:nvGrpSpPr>
          <p:grpSpPr>
            <a:xfrm>
              <a:off x="2864067" y="2851238"/>
              <a:ext cx="288032" cy="288032"/>
              <a:chOff x="611560" y="2851238"/>
              <a:chExt cx="288032" cy="288032"/>
            </a:xfrm>
          </p:grpSpPr>
          <p:sp>
            <p:nvSpPr>
              <p:cNvPr id="44" name="Oval 43">
                <a:extLst>
                  <a:ext uri="{FF2B5EF4-FFF2-40B4-BE49-F238E27FC236}">
                    <a16:creationId xmlns:a16="http://schemas.microsoft.com/office/drawing/2014/main" id="{0F532CDE-5538-2E49-A81E-3D418B5F1022}"/>
                  </a:ext>
                </a:extLst>
              </p:cNvPr>
              <p:cNvSpPr/>
              <p:nvPr/>
            </p:nvSpPr>
            <p:spPr>
              <a:xfrm>
                <a:off x="611560" y="2851238"/>
                <a:ext cx="288032" cy="288032"/>
              </a:xfrm>
              <a:prstGeom prst="ellipse">
                <a:avLst/>
              </a:prstGeom>
              <a:solidFill>
                <a:srgbClr val="8D8EA7">
                  <a:alpha val="40000"/>
                </a:srgb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45" name="Oval 44">
                <a:extLst>
                  <a:ext uri="{FF2B5EF4-FFF2-40B4-BE49-F238E27FC236}">
                    <a16:creationId xmlns:a16="http://schemas.microsoft.com/office/drawing/2014/main" id="{AE415E24-515B-064D-BE21-5AA9FA161E36}"/>
                  </a:ext>
                </a:extLst>
              </p:cNvPr>
              <p:cNvSpPr/>
              <p:nvPr/>
            </p:nvSpPr>
            <p:spPr>
              <a:xfrm>
                <a:off x="683568" y="2923246"/>
                <a:ext cx="144016" cy="144016"/>
              </a:xfrm>
              <a:prstGeom prst="ellipse">
                <a:avLst/>
              </a:prstGeom>
              <a:solidFill>
                <a:sysClr val="windowText" lastClr="000000">
                  <a:lumMod val="75000"/>
                  <a:lumOff val="25000"/>
                </a:sys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46" name="Group 45">
              <a:extLst>
                <a:ext uri="{FF2B5EF4-FFF2-40B4-BE49-F238E27FC236}">
                  <a16:creationId xmlns:a16="http://schemas.microsoft.com/office/drawing/2014/main" id="{7A93B237-B50F-1643-9076-9395D98D789F}"/>
                </a:ext>
              </a:extLst>
            </p:cNvPr>
            <p:cNvGrpSpPr/>
            <p:nvPr/>
          </p:nvGrpSpPr>
          <p:grpSpPr>
            <a:xfrm>
              <a:off x="4273470" y="2851238"/>
              <a:ext cx="288032" cy="288032"/>
              <a:chOff x="611560" y="2851238"/>
              <a:chExt cx="288032" cy="288032"/>
            </a:xfrm>
          </p:grpSpPr>
          <p:sp>
            <p:nvSpPr>
              <p:cNvPr id="47" name="Oval 46">
                <a:extLst>
                  <a:ext uri="{FF2B5EF4-FFF2-40B4-BE49-F238E27FC236}">
                    <a16:creationId xmlns:a16="http://schemas.microsoft.com/office/drawing/2014/main" id="{59C5A14F-7266-D04B-ABB0-A6E4005B9E8F}"/>
                  </a:ext>
                </a:extLst>
              </p:cNvPr>
              <p:cNvSpPr/>
              <p:nvPr/>
            </p:nvSpPr>
            <p:spPr>
              <a:xfrm>
                <a:off x="611560" y="2851238"/>
                <a:ext cx="288032" cy="288032"/>
              </a:xfrm>
              <a:prstGeom prst="ellipse">
                <a:avLst/>
              </a:prstGeom>
              <a:solidFill>
                <a:srgbClr val="8D8EA7">
                  <a:alpha val="40000"/>
                </a:srgb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48" name="Oval 47">
                <a:extLst>
                  <a:ext uri="{FF2B5EF4-FFF2-40B4-BE49-F238E27FC236}">
                    <a16:creationId xmlns:a16="http://schemas.microsoft.com/office/drawing/2014/main" id="{AA4F6B30-D935-A442-8D55-A8E3D50E9376}"/>
                  </a:ext>
                </a:extLst>
              </p:cNvPr>
              <p:cNvSpPr/>
              <p:nvPr/>
            </p:nvSpPr>
            <p:spPr>
              <a:xfrm>
                <a:off x="683568" y="2923246"/>
                <a:ext cx="144016" cy="144016"/>
              </a:xfrm>
              <a:prstGeom prst="ellipse">
                <a:avLst/>
              </a:prstGeom>
              <a:solidFill>
                <a:sysClr val="windowText" lastClr="000000">
                  <a:lumMod val="75000"/>
                  <a:lumOff val="25000"/>
                </a:sys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49" name="Group 48">
              <a:extLst>
                <a:ext uri="{FF2B5EF4-FFF2-40B4-BE49-F238E27FC236}">
                  <a16:creationId xmlns:a16="http://schemas.microsoft.com/office/drawing/2014/main" id="{C048D16B-BAF3-174D-88AF-5DCC518B355E}"/>
                </a:ext>
              </a:extLst>
            </p:cNvPr>
            <p:cNvGrpSpPr/>
            <p:nvPr/>
          </p:nvGrpSpPr>
          <p:grpSpPr>
            <a:xfrm>
              <a:off x="5682873" y="2851238"/>
              <a:ext cx="288032" cy="288032"/>
              <a:chOff x="611560" y="2851238"/>
              <a:chExt cx="288032" cy="288032"/>
            </a:xfrm>
          </p:grpSpPr>
          <p:sp>
            <p:nvSpPr>
              <p:cNvPr id="50" name="Oval 49">
                <a:extLst>
                  <a:ext uri="{FF2B5EF4-FFF2-40B4-BE49-F238E27FC236}">
                    <a16:creationId xmlns:a16="http://schemas.microsoft.com/office/drawing/2014/main" id="{1C720FBE-4675-6B42-ABC4-1C347629DF9E}"/>
                  </a:ext>
                </a:extLst>
              </p:cNvPr>
              <p:cNvSpPr/>
              <p:nvPr/>
            </p:nvSpPr>
            <p:spPr>
              <a:xfrm>
                <a:off x="611560" y="2851238"/>
                <a:ext cx="288032" cy="288032"/>
              </a:xfrm>
              <a:prstGeom prst="ellipse">
                <a:avLst/>
              </a:prstGeom>
              <a:solidFill>
                <a:srgbClr val="8D8EA7">
                  <a:alpha val="40000"/>
                </a:srgb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1" name="Oval 50">
                <a:extLst>
                  <a:ext uri="{FF2B5EF4-FFF2-40B4-BE49-F238E27FC236}">
                    <a16:creationId xmlns:a16="http://schemas.microsoft.com/office/drawing/2014/main" id="{B858F161-913B-E94F-9A75-521A00E9F25D}"/>
                  </a:ext>
                </a:extLst>
              </p:cNvPr>
              <p:cNvSpPr/>
              <p:nvPr/>
            </p:nvSpPr>
            <p:spPr>
              <a:xfrm>
                <a:off x="683568" y="2923246"/>
                <a:ext cx="144016" cy="144016"/>
              </a:xfrm>
              <a:prstGeom prst="ellipse">
                <a:avLst/>
              </a:prstGeom>
              <a:solidFill>
                <a:sysClr val="windowText" lastClr="000000">
                  <a:lumMod val="75000"/>
                  <a:lumOff val="25000"/>
                </a:sys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52" name="Text Placeholder 17">
              <a:extLst>
                <a:ext uri="{FF2B5EF4-FFF2-40B4-BE49-F238E27FC236}">
                  <a16:creationId xmlns:a16="http://schemas.microsoft.com/office/drawing/2014/main" id="{B6564F7E-C238-494F-A91F-3FF3C268CB5D}"/>
                </a:ext>
              </a:extLst>
            </p:cNvPr>
            <p:cNvSpPr txBox="1">
              <a:spLocks/>
            </p:cNvSpPr>
            <p:nvPr/>
          </p:nvSpPr>
          <p:spPr>
            <a:xfrm>
              <a:off x="5304622" y="2281436"/>
              <a:ext cx="1024939" cy="360040"/>
            </a:xfrm>
            <a:prstGeom prst="rect">
              <a:avLst/>
            </a:prstGeom>
            <a:ln w="25400">
              <a:no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a:ea typeface="Arial Unicode MS"/>
                  <a:cs typeface="Arial" pitchFamily="34" charset="0"/>
                </a:rPr>
                <a:t>2018</a:t>
              </a:r>
            </a:p>
          </p:txBody>
        </p:sp>
        <p:sp>
          <p:nvSpPr>
            <p:cNvPr id="53" name="Text Placeholder 17">
              <a:extLst>
                <a:ext uri="{FF2B5EF4-FFF2-40B4-BE49-F238E27FC236}">
                  <a16:creationId xmlns:a16="http://schemas.microsoft.com/office/drawing/2014/main" id="{45B76FCA-3182-D443-9A80-9C134DBC3B10}"/>
                </a:ext>
              </a:extLst>
            </p:cNvPr>
            <p:cNvSpPr txBox="1">
              <a:spLocks/>
            </p:cNvSpPr>
            <p:nvPr/>
          </p:nvSpPr>
          <p:spPr>
            <a:xfrm>
              <a:off x="3898485" y="3301074"/>
              <a:ext cx="1024939" cy="360040"/>
            </a:xfrm>
            <a:prstGeom prst="rect">
              <a:avLst/>
            </a:prstGeom>
            <a:ln w="25400">
              <a:no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a:ea typeface="Arial Unicode MS"/>
                  <a:cs typeface="Arial" pitchFamily="34" charset="0"/>
                </a:rPr>
                <a:t>2017</a:t>
              </a:r>
            </a:p>
          </p:txBody>
        </p:sp>
        <p:sp>
          <p:nvSpPr>
            <p:cNvPr id="54" name="Text Placeholder 17">
              <a:extLst>
                <a:ext uri="{FF2B5EF4-FFF2-40B4-BE49-F238E27FC236}">
                  <a16:creationId xmlns:a16="http://schemas.microsoft.com/office/drawing/2014/main" id="{7E3294DC-647A-634A-AD14-9C33B32965E9}"/>
                </a:ext>
              </a:extLst>
            </p:cNvPr>
            <p:cNvSpPr txBox="1">
              <a:spLocks/>
            </p:cNvSpPr>
            <p:nvPr/>
          </p:nvSpPr>
          <p:spPr>
            <a:xfrm>
              <a:off x="2492348" y="2283718"/>
              <a:ext cx="1024939" cy="360040"/>
            </a:xfrm>
            <a:prstGeom prst="rect">
              <a:avLst/>
            </a:prstGeom>
            <a:ln w="25400">
              <a:no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a:ea typeface="Arial Unicode MS"/>
                  <a:cs typeface="Arial" pitchFamily="34" charset="0"/>
                </a:rPr>
                <a:t>2016</a:t>
              </a:r>
            </a:p>
          </p:txBody>
        </p:sp>
        <p:sp>
          <p:nvSpPr>
            <p:cNvPr id="55" name="Text Placeholder 17">
              <a:extLst>
                <a:ext uri="{FF2B5EF4-FFF2-40B4-BE49-F238E27FC236}">
                  <a16:creationId xmlns:a16="http://schemas.microsoft.com/office/drawing/2014/main" id="{6B2602E5-BD7A-604E-80B6-1B2891B859AF}"/>
                </a:ext>
              </a:extLst>
            </p:cNvPr>
            <p:cNvSpPr txBox="1">
              <a:spLocks/>
            </p:cNvSpPr>
            <p:nvPr/>
          </p:nvSpPr>
          <p:spPr>
            <a:xfrm>
              <a:off x="1086211" y="3301034"/>
              <a:ext cx="1024939" cy="360040"/>
            </a:xfrm>
            <a:prstGeom prst="rect">
              <a:avLst/>
            </a:prstGeom>
            <a:ln w="25400">
              <a:no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a:ea typeface="Arial Unicode MS"/>
                  <a:cs typeface="Arial" pitchFamily="34" charset="0"/>
                </a:rPr>
                <a:t>2015</a:t>
              </a:r>
            </a:p>
          </p:txBody>
        </p:sp>
        <p:sp>
          <p:nvSpPr>
            <p:cNvPr id="56" name="TextBox 55">
              <a:extLst>
                <a:ext uri="{FF2B5EF4-FFF2-40B4-BE49-F238E27FC236}">
                  <a16:creationId xmlns:a16="http://schemas.microsoft.com/office/drawing/2014/main" id="{D9F2862B-E526-914C-9CD1-95B28A468528}"/>
                </a:ext>
              </a:extLst>
            </p:cNvPr>
            <p:cNvSpPr txBox="1"/>
            <p:nvPr/>
          </p:nvSpPr>
          <p:spPr>
            <a:xfrm>
              <a:off x="568852" y="3775284"/>
              <a:ext cx="2059657" cy="830997"/>
            </a:xfrm>
            <a:prstGeom prst="rect">
              <a:avLst/>
            </a:prstGeom>
            <a:noFill/>
          </p:spPr>
          <p:txBody>
            <a:bodyPr wrap="square" rtlCol="0">
              <a:spAutoFit/>
            </a:bodyPr>
            <a:lstStyle/>
            <a:p>
              <a:pPr algn="ctr" latinLnBrk="1"/>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a:t>
              </a:r>
              <a:endParaRPr lang="ko-KR" altLang="en-US" sz="1200">
                <a:solidFill>
                  <a:prstClr val="black">
                    <a:lumMod val="75000"/>
                    <a:lumOff val="25000"/>
                  </a:prstClr>
                </a:solidFill>
                <a:ea typeface="Arial Unicode MS"/>
                <a:cs typeface="Arial" pitchFamily="34" charset="0"/>
              </a:endParaRPr>
            </a:p>
          </p:txBody>
        </p:sp>
        <p:sp>
          <p:nvSpPr>
            <p:cNvPr id="57" name="TextBox 56">
              <a:extLst>
                <a:ext uri="{FF2B5EF4-FFF2-40B4-BE49-F238E27FC236}">
                  <a16:creationId xmlns:a16="http://schemas.microsoft.com/office/drawing/2014/main" id="{167BB381-055C-444B-9908-0FE6A8FC0E69}"/>
                </a:ext>
              </a:extLst>
            </p:cNvPr>
            <p:cNvSpPr txBox="1"/>
            <p:nvPr/>
          </p:nvSpPr>
          <p:spPr>
            <a:xfrm>
              <a:off x="3381126" y="3775324"/>
              <a:ext cx="2059657" cy="830997"/>
            </a:xfrm>
            <a:prstGeom prst="rect">
              <a:avLst/>
            </a:prstGeom>
            <a:noFill/>
          </p:spPr>
          <p:txBody>
            <a:bodyPr wrap="square" rtlCol="0">
              <a:spAutoFit/>
            </a:bodyPr>
            <a:lstStyle/>
            <a:p>
              <a:pPr algn="ctr" latinLnBrk="1"/>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a:t>
              </a:r>
              <a:endParaRPr lang="ko-KR" altLang="en-US" sz="1200">
                <a:solidFill>
                  <a:prstClr val="black">
                    <a:lumMod val="75000"/>
                    <a:lumOff val="25000"/>
                  </a:prstClr>
                </a:solidFill>
                <a:ea typeface="Arial Unicode MS"/>
                <a:cs typeface="Arial" pitchFamily="34" charset="0"/>
              </a:endParaRPr>
            </a:p>
          </p:txBody>
        </p:sp>
        <p:sp>
          <p:nvSpPr>
            <p:cNvPr id="58" name="TextBox 57">
              <a:extLst>
                <a:ext uri="{FF2B5EF4-FFF2-40B4-BE49-F238E27FC236}">
                  <a16:creationId xmlns:a16="http://schemas.microsoft.com/office/drawing/2014/main" id="{3ECCC094-7D38-3C40-98B6-89CDEDAD15C8}"/>
                </a:ext>
              </a:extLst>
            </p:cNvPr>
            <p:cNvSpPr txBox="1"/>
            <p:nvPr/>
          </p:nvSpPr>
          <p:spPr>
            <a:xfrm>
              <a:off x="4787262" y="1760688"/>
              <a:ext cx="2059657" cy="830997"/>
            </a:xfrm>
            <a:prstGeom prst="rect">
              <a:avLst/>
            </a:prstGeom>
            <a:noFill/>
          </p:spPr>
          <p:txBody>
            <a:bodyPr wrap="square" rtlCol="0">
              <a:spAutoFit/>
            </a:bodyPr>
            <a:lstStyle/>
            <a:p>
              <a:pPr algn="ctr" latinLnBrk="1"/>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a:t>
              </a:r>
              <a:endParaRPr lang="ko-KR" altLang="en-US" sz="1200">
                <a:solidFill>
                  <a:prstClr val="black">
                    <a:lumMod val="75000"/>
                    <a:lumOff val="25000"/>
                  </a:prstClr>
                </a:solidFill>
                <a:ea typeface="Arial Unicode MS"/>
                <a:cs typeface="Arial" pitchFamily="34" charset="0"/>
              </a:endParaRPr>
            </a:p>
          </p:txBody>
        </p:sp>
        <p:sp>
          <p:nvSpPr>
            <p:cNvPr id="59" name="TextBox 58">
              <a:extLst>
                <a:ext uri="{FF2B5EF4-FFF2-40B4-BE49-F238E27FC236}">
                  <a16:creationId xmlns:a16="http://schemas.microsoft.com/office/drawing/2014/main" id="{543FEDEB-736B-F642-9171-AFDDFA583974}"/>
                </a:ext>
              </a:extLst>
            </p:cNvPr>
            <p:cNvSpPr txBox="1"/>
            <p:nvPr/>
          </p:nvSpPr>
          <p:spPr>
            <a:xfrm>
              <a:off x="1974989" y="1762970"/>
              <a:ext cx="2059657" cy="830997"/>
            </a:xfrm>
            <a:prstGeom prst="rect">
              <a:avLst/>
            </a:prstGeom>
            <a:noFill/>
          </p:spPr>
          <p:txBody>
            <a:bodyPr wrap="square" rtlCol="0">
              <a:spAutoFit/>
            </a:bodyPr>
            <a:lstStyle/>
            <a:p>
              <a:pPr algn="ctr" latinLnBrk="1"/>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a:t>
              </a:r>
              <a:endParaRPr lang="ko-KR" altLang="en-US" sz="1200">
                <a:solidFill>
                  <a:prstClr val="black">
                    <a:lumMod val="75000"/>
                    <a:lumOff val="25000"/>
                  </a:prstClr>
                </a:solidFill>
                <a:ea typeface="Arial Unicode MS"/>
                <a:cs typeface="Arial" pitchFamily="34" charset="0"/>
              </a:endParaRPr>
            </a:p>
          </p:txBody>
        </p:sp>
        <p:sp>
          <p:nvSpPr>
            <p:cNvPr id="60" name="Text Placeholder 17">
              <a:extLst>
                <a:ext uri="{FF2B5EF4-FFF2-40B4-BE49-F238E27FC236}">
                  <a16:creationId xmlns:a16="http://schemas.microsoft.com/office/drawing/2014/main" id="{BAE7F917-4373-F94E-B88F-6637449B4C5B}"/>
                </a:ext>
              </a:extLst>
            </p:cNvPr>
            <p:cNvSpPr txBox="1">
              <a:spLocks/>
            </p:cNvSpPr>
            <p:nvPr/>
          </p:nvSpPr>
          <p:spPr>
            <a:xfrm>
              <a:off x="7065649" y="2019205"/>
              <a:ext cx="1024939" cy="360040"/>
            </a:xfrm>
            <a:prstGeom prst="rect">
              <a:avLst/>
            </a:prstGeom>
            <a:ln w="25400">
              <a:no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Arial"/>
                  <a:ea typeface="Arial Unicode MS"/>
                  <a:cs typeface="Arial" pitchFamily="34" charset="0"/>
                </a:rPr>
                <a:t>2019</a:t>
              </a:r>
            </a:p>
          </p:txBody>
        </p:sp>
        <p:sp>
          <p:nvSpPr>
            <p:cNvPr id="61" name="TextBox 60">
              <a:extLst>
                <a:ext uri="{FF2B5EF4-FFF2-40B4-BE49-F238E27FC236}">
                  <a16:creationId xmlns:a16="http://schemas.microsoft.com/office/drawing/2014/main" id="{92126B05-3FAA-9245-BEB2-C409912AF79C}"/>
                </a:ext>
              </a:extLst>
            </p:cNvPr>
            <p:cNvSpPr txBox="1"/>
            <p:nvPr/>
          </p:nvSpPr>
          <p:spPr>
            <a:xfrm>
              <a:off x="6548290" y="3579862"/>
              <a:ext cx="2059657" cy="830997"/>
            </a:xfrm>
            <a:prstGeom prst="rect">
              <a:avLst/>
            </a:prstGeom>
            <a:noFill/>
          </p:spPr>
          <p:txBody>
            <a:bodyPr wrap="square" rtlCol="0">
              <a:spAutoFit/>
            </a:bodyPr>
            <a:lstStyle/>
            <a:p>
              <a:pPr algn="ctr" latinLnBrk="1"/>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a:t>
              </a:r>
              <a:endParaRPr lang="ko-KR" altLang="en-US" sz="1200">
                <a:solidFill>
                  <a:prstClr val="black">
                    <a:lumMod val="75000"/>
                    <a:lumOff val="25000"/>
                  </a:prstClr>
                </a:solidFill>
                <a:ea typeface="Arial Unicode MS"/>
                <a:cs typeface="Arial" pitchFamily="34" charset="0"/>
              </a:endParaRPr>
            </a:p>
          </p:txBody>
        </p:sp>
        <p:sp>
          <p:nvSpPr>
            <p:cNvPr id="62" name="Block Arc 14">
              <a:extLst>
                <a:ext uri="{FF2B5EF4-FFF2-40B4-BE49-F238E27FC236}">
                  <a16:creationId xmlns:a16="http://schemas.microsoft.com/office/drawing/2014/main" id="{905C418C-CF4A-5E45-A192-8454097AE98C}"/>
                </a:ext>
              </a:extLst>
            </p:cNvPr>
            <p:cNvSpPr/>
            <p:nvPr/>
          </p:nvSpPr>
          <p:spPr>
            <a:xfrm rot="16200000">
              <a:off x="7363828" y="2780823"/>
              <a:ext cx="428579" cy="428861"/>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ea typeface="Arial Unicode MS"/>
                <a:cs typeface="+mn-cs"/>
              </a:endParaRPr>
            </a:p>
          </p:txBody>
        </p:sp>
      </p:grpSp>
    </p:spTree>
    <p:extLst>
      <p:ext uri="{BB962C8B-B14F-4D97-AF65-F5344CB8AC3E}">
        <p14:creationId xmlns:p14="http://schemas.microsoft.com/office/powerpoint/2010/main" val="96067072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B83DF6-25DE-4746-82A8-F0EE83AAD45F}"/>
              </a:ext>
            </a:extLst>
          </p:cNvPr>
          <p:cNvSpPr>
            <a:spLocks noGrp="1"/>
          </p:cNvSpPr>
          <p:nvPr>
            <p:ph type="sldNum" sz="quarter" idx="4"/>
          </p:nvPr>
        </p:nvSpPr>
        <p:spPr/>
        <p:txBody>
          <a:bodyPr/>
          <a:lstStyle/>
          <a:p>
            <a:fld id="{3D966009-6E5A-4F8C-8CA7-E37AFBF5FB92}" type="slidenum">
              <a:rPr lang="en-US" smtClean="0"/>
              <a:t>114</a:t>
            </a:fld>
            <a:endParaRPr lang="en-US"/>
          </a:p>
        </p:txBody>
      </p:sp>
      <p:sp>
        <p:nvSpPr>
          <p:cNvPr id="3" name="Title 2">
            <a:extLst>
              <a:ext uri="{FF2B5EF4-FFF2-40B4-BE49-F238E27FC236}">
                <a16:creationId xmlns:a16="http://schemas.microsoft.com/office/drawing/2014/main" id="{CC6F5CE5-CBC2-B348-975A-D6058681F24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1E1BA56-56D4-EB4E-A8DE-E73B5E16973B}"/>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0E06865-3053-7B4C-96E6-827DACA06736}"/>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F37FD019-A82A-464B-BE3A-02C71758C597}"/>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8424D0F1-EE60-2D43-B73D-38F7F437DF05}"/>
              </a:ext>
            </a:extLst>
          </p:cNvPr>
          <p:cNvSpPr>
            <a:spLocks noGrp="1"/>
          </p:cNvSpPr>
          <p:nvPr>
            <p:ph sz="quarter" idx="14"/>
          </p:nvPr>
        </p:nvSpPr>
        <p:spPr/>
        <p:txBody>
          <a:bodyPr/>
          <a:lstStyle/>
          <a:p>
            <a:endParaRPr lang="en-GB"/>
          </a:p>
        </p:txBody>
      </p:sp>
      <p:sp>
        <p:nvSpPr>
          <p:cNvPr id="9" name="Oval 76">
            <a:extLst>
              <a:ext uri="{FF2B5EF4-FFF2-40B4-BE49-F238E27FC236}">
                <a16:creationId xmlns:a16="http://schemas.microsoft.com/office/drawing/2014/main" id="{3A98B953-E3AB-6B41-A45B-0765972A43AA}"/>
              </a:ext>
            </a:extLst>
          </p:cNvPr>
          <p:cNvSpPr/>
          <p:nvPr/>
        </p:nvSpPr>
        <p:spPr>
          <a:xfrm>
            <a:off x="2034534" y="3066394"/>
            <a:ext cx="936000" cy="93600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Oval 78">
            <a:extLst>
              <a:ext uri="{FF2B5EF4-FFF2-40B4-BE49-F238E27FC236}">
                <a16:creationId xmlns:a16="http://schemas.microsoft.com/office/drawing/2014/main" id="{A55A6F06-047B-1947-90C4-F5CA942C5FD3}"/>
              </a:ext>
            </a:extLst>
          </p:cNvPr>
          <p:cNvSpPr/>
          <p:nvPr/>
        </p:nvSpPr>
        <p:spPr>
          <a:xfrm>
            <a:off x="3654940" y="4002498"/>
            <a:ext cx="936000" cy="93600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Oval 79">
            <a:extLst>
              <a:ext uri="{FF2B5EF4-FFF2-40B4-BE49-F238E27FC236}">
                <a16:creationId xmlns:a16="http://schemas.microsoft.com/office/drawing/2014/main" id="{41F11C2C-7374-D14D-BFD2-F62E55311895}"/>
              </a:ext>
            </a:extLst>
          </p:cNvPr>
          <p:cNvSpPr/>
          <p:nvPr/>
        </p:nvSpPr>
        <p:spPr>
          <a:xfrm>
            <a:off x="5275346" y="2706354"/>
            <a:ext cx="936000" cy="936000"/>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Oval 84">
            <a:extLst>
              <a:ext uri="{FF2B5EF4-FFF2-40B4-BE49-F238E27FC236}">
                <a16:creationId xmlns:a16="http://schemas.microsoft.com/office/drawing/2014/main" id="{0BD72BEA-A2C6-D94B-AA58-073CE0C0059F}"/>
              </a:ext>
            </a:extLst>
          </p:cNvPr>
          <p:cNvSpPr/>
          <p:nvPr/>
        </p:nvSpPr>
        <p:spPr>
          <a:xfrm>
            <a:off x="6895752" y="2706354"/>
            <a:ext cx="936000" cy="936000"/>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Oval 105">
            <a:extLst>
              <a:ext uri="{FF2B5EF4-FFF2-40B4-BE49-F238E27FC236}">
                <a16:creationId xmlns:a16="http://schemas.microsoft.com/office/drawing/2014/main" id="{7C7166D9-093F-C84F-A5C9-3FFD4014373F}"/>
              </a:ext>
            </a:extLst>
          </p:cNvPr>
          <p:cNvSpPr/>
          <p:nvPr/>
        </p:nvSpPr>
        <p:spPr>
          <a:xfrm>
            <a:off x="8516158" y="4218522"/>
            <a:ext cx="936000" cy="936000"/>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Oval 106">
            <a:extLst>
              <a:ext uri="{FF2B5EF4-FFF2-40B4-BE49-F238E27FC236}">
                <a16:creationId xmlns:a16="http://schemas.microsoft.com/office/drawing/2014/main" id="{EE257CD7-7B64-DC4E-9E3A-4B7019EEFB95}"/>
              </a:ext>
            </a:extLst>
          </p:cNvPr>
          <p:cNvSpPr/>
          <p:nvPr/>
        </p:nvSpPr>
        <p:spPr>
          <a:xfrm>
            <a:off x="10136562" y="3066394"/>
            <a:ext cx="936000" cy="936000"/>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accent1"/>
              </a:solidFill>
            </a:endParaRPr>
          </a:p>
        </p:txBody>
      </p:sp>
      <p:cxnSp>
        <p:nvCxnSpPr>
          <p:cNvPr id="15" name="Straight Connector 107">
            <a:extLst>
              <a:ext uri="{FF2B5EF4-FFF2-40B4-BE49-F238E27FC236}">
                <a16:creationId xmlns:a16="http://schemas.microsoft.com/office/drawing/2014/main" id="{761B90A7-82BA-5749-84BD-31FA27C7B3D3}"/>
              </a:ext>
            </a:extLst>
          </p:cNvPr>
          <p:cNvCxnSpPr>
            <a:endCxn id="9" idx="2"/>
          </p:cNvCxnSpPr>
          <p:nvPr/>
        </p:nvCxnSpPr>
        <p:spPr>
          <a:xfrm>
            <a:off x="917330" y="3534394"/>
            <a:ext cx="111720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08">
            <a:extLst>
              <a:ext uri="{FF2B5EF4-FFF2-40B4-BE49-F238E27FC236}">
                <a16:creationId xmlns:a16="http://schemas.microsoft.com/office/drawing/2014/main" id="{88CF8605-3BA5-2247-AED5-05CBD9E2F159}"/>
              </a:ext>
            </a:extLst>
          </p:cNvPr>
          <p:cNvCxnSpPr>
            <a:stCxn id="9" idx="4"/>
          </p:cNvCxnSpPr>
          <p:nvPr/>
        </p:nvCxnSpPr>
        <p:spPr>
          <a:xfrm>
            <a:off x="2502534" y="4002394"/>
            <a:ext cx="0" cy="468104"/>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09">
            <a:extLst>
              <a:ext uri="{FF2B5EF4-FFF2-40B4-BE49-F238E27FC236}">
                <a16:creationId xmlns:a16="http://schemas.microsoft.com/office/drawing/2014/main" id="{6757BAFA-A5FE-E04B-B34F-8DC05E12E695}"/>
              </a:ext>
            </a:extLst>
          </p:cNvPr>
          <p:cNvCxnSpPr>
            <a:stCxn id="10" idx="2"/>
          </p:cNvCxnSpPr>
          <p:nvPr/>
        </p:nvCxnSpPr>
        <p:spPr>
          <a:xfrm flipH="1">
            <a:off x="2502534" y="4470498"/>
            <a:ext cx="115240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10">
            <a:extLst>
              <a:ext uri="{FF2B5EF4-FFF2-40B4-BE49-F238E27FC236}">
                <a16:creationId xmlns:a16="http://schemas.microsoft.com/office/drawing/2014/main" id="{0A98A768-FF0F-9545-B894-39F869386A22}"/>
              </a:ext>
            </a:extLst>
          </p:cNvPr>
          <p:cNvCxnSpPr>
            <a:cxnSpLocks/>
            <a:endCxn id="10" idx="0"/>
          </p:cNvCxnSpPr>
          <p:nvPr/>
        </p:nvCxnSpPr>
        <p:spPr>
          <a:xfrm>
            <a:off x="4115175" y="3174354"/>
            <a:ext cx="7765" cy="828144"/>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11">
            <a:extLst>
              <a:ext uri="{FF2B5EF4-FFF2-40B4-BE49-F238E27FC236}">
                <a16:creationId xmlns:a16="http://schemas.microsoft.com/office/drawing/2014/main" id="{E925CDD3-6767-C34E-94B0-3C8155A4E96F}"/>
              </a:ext>
            </a:extLst>
          </p:cNvPr>
          <p:cNvCxnSpPr>
            <a:cxnSpLocks/>
            <a:stCxn id="11" idx="2"/>
          </p:cNvCxnSpPr>
          <p:nvPr/>
        </p:nvCxnSpPr>
        <p:spPr>
          <a:xfrm flipH="1">
            <a:off x="4122940" y="3174354"/>
            <a:ext cx="1152406"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Straight Connector 112">
            <a:extLst>
              <a:ext uri="{FF2B5EF4-FFF2-40B4-BE49-F238E27FC236}">
                <a16:creationId xmlns:a16="http://schemas.microsoft.com/office/drawing/2014/main" id="{ECCA6357-0478-7844-8DF2-68A36F21F7CE}"/>
              </a:ext>
            </a:extLst>
          </p:cNvPr>
          <p:cNvCxnSpPr>
            <a:stCxn id="12" idx="2"/>
            <a:endCxn id="11" idx="6"/>
          </p:cNvCxnSpPr>
          <p:nvPr/>
        </p:nvCxnSpPr>
        <p:spPr>
          <a:xfrm flipH="1">
            <a:off x="6211346" y="3174354"/>
            <a:ext cx="6844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Straight Connector 113">
            <a:extLst>
              <a:ext uri="{FF2B5EF4-FFF2-40B4-BE49-F238E27FC236}">
                <a16:creationId xmlns:a16="http://schemas.microsoft.com/office/drawing/2014/main" id="{31783377-C490-6D49-91BE-28CB7D85105C}"/>
              </a:ext>
            </a:extLst>
          </p:cNvPr>
          <p:cNvCxnSpPr>
            <a:cxnSpLocks/>
            <a:stCxn id="12" idx="4"/>
          </p:cNvCxnSpPr>
          <p:nvPr/>
        </p:nvCxnSpPr>
        <p:spPr>
          <a:xfrm>
            <a:off x="7363752" y="3642354"/>
            <a:ext cx="0" cy="104416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114">
            <a:extLst>
              <a:ext uri="{FF2B5EF4-FFF2-40B4-BE49-F238E27FC236}">
                <a16:creationId xmlns:a16="http://schemas.microsoft.com/office/drawing/2014/main" id="{AA511B45-E4A6-724A-A1F5-2C6A5BDC8354}"/>
              </a:ext>
            </a:extLst>
          </p:cNvPr>
          <p:cNvCxnSpPr>
            <a:cxnSpLocks/>
            <a:stCxn id="13" idx="2"/>
          </p:cNvCxnSpPr>
          <p:nvPr/>
        </p:nvCxnSpPr>
        <p:spPr>
          <a:xfrm flipH="1">
            <a:off x="7363752" y="4686522"/>
            <a:ext cx="115240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115">
            <a:extLst>
              <a:ext uri="{FF2B5EF4-FFF2-40B4-BE49-F238E27FC236}">
                <a16:creationId xmlns:a16="http://schemas.microsoft.com/office/drawing/2014/main" id="{BF6AFF18-598B-FF4A-90D7-5D236984CB42}"/>
              </a:ext>
            </a:extLst>
          </p:cNvPr>
          <p:cNvCxnSpPr>
            <a:cxnSpLocks/>
            <a:endCxn id="13" idx="6"/>
          </p:cNvCxnSpPr>
          <p:nvPr/>
        </p:nvCxnSpPr>
        <p:spPr>
          <a:xfrm flipH="1">
            <a:off x="9452158" y="4686522"/>
            <a:ext cx="1152404" cy="0"/>
          </a:xfrm>
          <a:prstGeom prst="line">
            <a:avLst/>
          </a:prstGeom>
          <a:solidFill>
            <a:schemeClr val="accent1"/>
          </a:solidFill>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116">
            <a:extLst>
              <a:ext uri="{FF2B5EF4-FFF2-40B4-BE49-F238E27FC236}">
                <a16:creationId xmlns:a16="http://schemas.microsoft.com/office/drawing/2014/main" id="{0C8AB65D-2963-DB45-9225-011AB7D7C060}"/>
              </a:ext>
            </a:extLst>
          </p:cNvPr>
          <p:cNvCxnSpPr>
            <a:cxnSpLocks/>
            <a:stCxn id="14" idx="4"/>
          </p:cNvCxnSpPr>
          <p:nvPr/>
        </p:nvCxnSpPr>
        <p:spPr>
          <a:xfrm>
            <a:off x="10604562" y="4002394"/>
            <a:ext cx="0" cy="684128"/>
          </a:xfrm>
          <a:prstGeom prst="line">
            <a:avLst/>
          </a:prstGeom>
          <a:solidFill>
            <a:schemeClr val="accent1"/>
          </a:solidFill>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117">
            <a:extLst>
              <a:ext uri="{FF2B5EF4-FFF2-40B4-BE49-F238E27FC236}">
                <a16:creationId xmlns:a16="http://schemas.microsoft.com/office/drawing/2014/main" id="{5478C4C4-393B-A140-85D6-1DC9FCE797D7}"/>
              </a:ext>
            </a:extLst>
          </p:cNvPr>
          <p:cNvCxnSpPr>
            <a:endCxn id="14" idx="0"/>
          </p:cNvCxnSpPr>
          <p:nvPr/>
        </p:nvCxnSpPr>
        <p:spPr>
          <a:xfrm>
            <a:off x="10604562" y="2159500"/>
            <a:ext cx="0" cy="906894"/>
          </a:xfrm>
          <a:prstGeom prst="line">
            <a:avLst/>
          </a:prstGeom>
          <a:solidFill>
            <a:schemeClr val="accent1"/>
          </a:solidFill>
          <a:ln w="38100">
            <a:solidFill>
              <a:schemeClr val="accent1"/>
            </a:solidFill>
            <a:headEnd type="arrow" w="lg" len="med"/>
            <a:tailEnd type="none"/>
          </a:ln>
        </p:spPr>
        <p:style>
          <a:lnRef idx="1">
            <a:schemeClr val="accent1"/>
          </a:lnRef>
          <a:fillRef idx="0">
            <a:schemeClr val="accent1"/>
          </a:fillRef>
          <a:effectRef idx="0">
            <a:schemeClr val="accent1"/>
          </a:effectRef>
          <a:fontRef idx="minor">
            <a:schemeClr val="tx1"/>
          </a:fontRef>
        </p:style>
      </p:cxnSp>
      <p:grpSp>
        <p:nvGrpSpPr>
          <p:cNvPr id="26" name="Group 124">
            <a:extLst>
              <a:ext uri="{FF2B5EF4-FFF2-40B4-BE49-F238E27FC236}">
                <a16:creationId xmlns:a16="http://schemas.microsoft.com/office/drawing/2014/main" id="{25482D0D-42D4-864C-9A89-0F26879241AE}"/>
              </a:ext>
            </a:extLst>
          </p:cNvPr>
          <p:cNvGrpSpPr/>
          <p:nvPr/>
        </p:nvGrpSpPr>
        <p:grpSpPr>
          <a:xfrm>
            <a:off x="1515152" y="2080810"/>
            <a:ext cx="1974766" cy="902906"/>
            <a:chOff x="2530759" y="1745937"/>
            <a:chExt cx="1681201" cy="902906"/>
          </a:xfrm>
        </p:grpSpPr>
        <p:sp>
          <p:nvSpPr>
            <p:cNvPr id="27" name="TextBox 26">
              <a:extLst>
                <a:ext uri="{FF2B5EF4-FFF2-40B4-BE49-F238E27FC236}">
                  <a16:creationId xmlns:a16="http://schemas.microsoft.com/office/drawing/2014/main" id="{7CC70924-1049-1344-A417-D0229836A2D3}"/>
                </a:ext>
              </a:extLst>
            </p:cNvPr>
            <p:cNvSpPr txBox="1"/>
            <p:nvPr/>
          </p:nvSpPr>
          <p:spPr>
            <a:xfrm>
              <a:off x="2530759" y="2002512"/>
              <a:ext cx="1681201"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sp>
          <p:nvSpPr>
            <p:cNvPr id="28" name="TextBox 27">
              <a:extLst>
                <a:ext uri="{FF2B5EF4-FFF2-40B4-BE49-F238E27FC236}">
                  <a16:creationId xmlns:a16="http://schemas.microsoft.com/office/drawing/2014/main" id="{E9AE2232-06FA-894B-84FF-F54C69265064}"/>
                </a:ext>
              </a:extLst>
            </p:cNvPr>
            <p:cNvSpPr txBox="1"/>
            <p:nvPr/>
          </p:nvSpPr>
          <p:spPr>
            <a:xfrm>
              <a:off x="2530759" y="1745937"/>
              <a:ext cx="1681201" cy="307777"/>
            </a:xfrm>
            <a:prstGeom prst="rect">
              <a:avLst/>
            </a:prstGeom>
            <a:noFill/>
            <a:ln w="3175">
              <a:noFill/>
            </a:ln>
          </p:spPr>
          <p:txBody>
            <a:bodyPr wrap="square" rtlCol="0" anchor="ctr">
              <a:spAutoFit/>
            </a:bodyPr>
            <a:lstStyle/>
            <a:p>
              <a:pPr algn="ctr"/>
              <a:r>
                <a:rPr lang="en-US" altLang="ko-KR" sz="1400" b="1">
                  <a:solidFill>
                    <a:schemeClr val="accent1"/>
                  </a:solidFill>
                  <a:cs typeface="Arial" pitchFamily="34" charset="0"/>
                </a:rPr>
                <a:t>Content  Here</a:t>
              </a:r>
              <a:endParaRPr lang="ko-KR" altLang="en-US" sz="1400" b="1">
                <a:solidFill>
                  <a:schemeClr val="accent1"/>
                </a:solidFill>
                <a:cs typeface="Arial" pitchFamily="34" charset="0"/>
              </a:endParaRPr>
            </a:p>
          </p:txBody>
        </p:sp>
      </p:grpSp>
      <p:grpSp>
        <p:nvGrpSpPr>
          <p:cNvPr id="29" name="Group 127">
            <a:extLst>
              <a:ext uri="{FF2B5EF4-FFF2-40B4-BE49-F238E27FC236}">
                <a16:creationId xmlns:a16="http://schemas.microsoft.com/office/drawing/2014/main" id="{F50F8695-3BB7-0445-966F-F0904E5E03D7}"/>
              </a:ext>
            </a:extLst>
          </p:cNvPr>
          <p:cNvGrpSpPr/>
          <p:nvPr/>
        </p:nvGrpSpPr>
        <p:grpSpPr>
          <a:xfrm>
            <a:off x="3128413" y="5022642"/>
            <a:ext cx="1974766" cy="902906"/>
            <a:chOff x="2530759" y="1745937"/>
            <a:chExt cx="1681201" cy="902906"/>
          </a:xfrm>
        </p:grpSpPr>
        <p:sp>
          <p:nvSpPr>
            <p:cNvPr id="30" name="TextBox 29">
              <a:extLst>
                <a:ext uri="{FF2B5EF4-FFF2-40B4-BE49-F238E27FC236}">
                  <a16:creationId xmlns:a16="http://schemas.microsoft.com/office/drawing/2014/main" id="{DFAF36B2-6B67-EE4A-9424-EDBD71E1CD79}"/>
                </a:ext>
              </a:extLst>
            </p:cNvPr>
            <p:cNvSpPr txBox="1"/>
            <p:nvPr/>
          </p:nvSpPr>
          <p:spPr>
            <a:xfrm>
              <a:off x="2530759" y="2002512"/>
              <a:ext cx="1681201"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sp>
          <p:nvSpPr>
            <p:cNvPr id="31" name="TextBox 30">
              <a:extLst>
                <a:ext uri="{FF2B5EF4-FFF2-40B4-BE49-F238E27FC236}">
                  <a16:creationId xmlns:a16="http://schemas.microsoft.com/office/drawing/2014/main" id="{C65F9398-A1BA-894A-8CB2-9F11C149B114}"/>
                </a:ext>
              </a:extLst>
            </p:cNvPr>
            <p:cNvSpPr txBox="1"/>
            <p:nvPr/>
          </p:nvSpPr>
          <p:spPr>
            <a:xfrm>
              <a:off x="2530759" y="1745937"/>
              <a:ext cx="1681201" cy="307777"/>
            </a:xfrm>
            <a:prstGeom prst="rect">
              <a:avLst/>
            </a:prstGeom>
            <a:noFill/>
            <a:ln w="3175">
              <a:noFill/>
            </a:ln>
          </p:spPr>
          <p:txBody>
            <a:bodyPr wrap="square" rtlCol="0" anchor="ctr">
              <a:spAutoFit/>
            </a:bodyPr>
            <a:lstStyle/>
            <a:p>
              <a:pPr algn="ctr"/>
              <a:r>
                <a:rPr lang="en-US" altLang="ko-KR" sz="1400" b="1">
                  <a:solidFill>
                    <a:schemeClr val="accent2"/>
                  </a:solidFill>
                  <a:cs typeface="Arial" pitchFamily="34" charset="0"/>
                </a:rPr>
                <a:t>Content  Here</a:t>
              </a:r>
              <a:endParaRPr lang="ko-KR" altLang="en-US" sz="1400" b="1">
                <a:solidFill>
                  <a:schemeClr val="accent2"/>
                </a:solidFill>
                <a:cs typeface="Arial" pitchFamily="34" charset="0"/>
              </a:endParaRPr>
            </a:p>
          </p:txBody>
        </p:sp>
      </p:grpSp>
      <p:grpSp>
        <p:nvGrpSpPr>
          <p:cNvPr id="32" name="Group 130">
            <a:extLst>
              <a:ext uri="{FF2B5EF4-FFF2-40B4-BE49-F238E27FC236}">
                <a16:creationId xmlns:a16="http://schemas.microsoft.com/office/drawing/2014/main" id="{248FCED9-B18E-694C-84E9-DFDEEBBFCD82}"/>
              </a:ext>
            </a:extLst>
          </p:cNvPr>
          <p:cNvGrpSpPr/>
          <p:nvPr/>
        </p:nvGrpSpPr>
        <p:grpSpPr>
          <a:xfrm>
            <a:off x="4768787" y="3730891"/>
            <a:ext cx="1974766" cy="902906"/>
            <a:chOff x="2530759" y="1745937"/>
            <a:chExt cx="1681201" cy="902906"/>
          </a:xfrm>
        </p:grpSpPr>
        <p:sp>
          <p:nvSpPr>
            <p:cNvPr id="33" name="TextBox 32">
              <a:extLst>
                <a:ext uri="{FF2B5EF4-FFF2-40B4-BE49-F238E27FC236}">
                  <a16:creationId xmlns:a16="http://schemas.microsoft.com/office/drawing/2014/main" id="{E7C64C60-184E-134A-91E1-0AAB4D04EEC2}"/>
                </a:ext>
              </a:extLst>
            </p:cNvPr>
            <p:cNvSpPr txBox="1"/>
            <p:nvPr/>
          </p:nvSpPr>
          <p:spPr>
            <a:xfrm>
              <a:off x="2530759" y="2002512"/>
              <a:ext cx="1681201"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sp>
          <p:nvSpPr>
            <p:cNvPr id="34" name="TextBox 33">
              <a:extLst>
                <a:ext uri="{FF2B5EF4-FFF2-40B4-BE49-F238E27FC236}">
                  <a16:creationId xmlns:a16="http://schemas.microsoft.com/office/drawing/2014/main" id="{06410461-F704-EC44-910C-8ED24150E4E2}"/>
                </a:ext>
              </a:extLst>
            </p:cNvPr>
            <p:cNvSpPr txBox="1"/>
            <p:nvPr/>
          </p:nvSpPr>
          <p:spPr>
            <a:xfrm>
              <a:off x="2530759" y="1745937"/>
              <a:ext cx="1681201" cy="307777"/>
            </a:xfrm>
            <a:prstGeom prst="rect">
              <a:avLst/>
            </a:prstGeom>
            <a:noFill/>
            <a:ln w="3175">
              <a:noFill/>
            </a:ln>
          </p:spPr>
          <p:txBody>
            <a:bodyPr wrap="square" rtlCol="0" anchor="ctr">
              <a:spAutoFit/>
            </a:bodyPr>
            <a:lstStyle/>
            <a:p>
              <a:pPr algn="ctr"/>
              <a:r>
                <a:rPr lang="en-US" altLang="ko-KR" sz="1400" b="1">
                  <a:solidFill>
                    <a:schemeClr val="accent3"/>
                  </a:solidFill>
                  <a:cs typeface="Arial" pitchFamily="34" charset="0"/>
                </a:rPr>
                <a:t>Content  Here</a:t>
              </a:r>
              <a:endParaRPr lang="ko-KR" altLang="en-US" sz="1400" b="1">
                <a:solidFill>
                  <a:schemeClr val="accent3"/>
                </a:solidFill>
                <a:cs typeface="Arial" pitchFamily="34" charset="0"/>
              </a:endParaRPr>
            </a:p>
          </p:txBody>
        </p:sp>
      </p:grpSp>
      <p:grpSp>
        <p:nvGrpSpPr>
          <p:cNvPr id="35" name="Group 133">
            <a:extLst>
              <a:ext uri="{FF2B5EF4-FFF2-40B4-BE49-F238E27FC236}">
                <a16:creationId xmlns:a16="http://schemas.microsoft.com/office/drawing/2014/main" id="{EC9EF895-4A5D-4E4F-B06C-DA0A5E65E624}"/>
              </a:ext>
            </a:extLst>
          </p:cNvPr>
          <p:cNvGrpSpPr/>
          <p:nvPr/>
        </p:nvGrpSpPr>
        <p:grpSpPr>
          <a:xfrm>
            <a:off x="6378200" y="1717965"/>
            <a:ext cx="1974766" cy="902906"/>
            <a:chOff x="2530759" y="1745937"/>
            <a:chExt cx="1681201" cy="902906"/>
          </a:xfrm>
        </p:grpSpPr>
        <p:sp>
          <p:nvSpPr>
            <p:cNvPr id="36" name="TextBox 35">
              <a:extLst>
                <a:ext uri="{FF2B5EF4-FFF2-40B4-BE49-F238E27FC236}">
                  <a16:creationId xmlns:a16="http://schemas.microsoft.com/office/drawing/2014/main" id="{A2DB5CBC-C788-9A46-B609-08AC6A8671D8}"/>
                </a:ext>
              </a:extLst>
            </p:cNvPr>
            <p:cNvSpPr txBox="1"/>
            <p:nvPr/>
          </p:nvSpPr>
          <p:spPr>
            <a:xfrm>
              <a:off x="2530759" y="2002512"/>
              <a:ext cx="1681201"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sp>
          <p:nvSpPr>
            <p:cNvPr id="37" name="TextBox 36">
              <a:extLst>
                <a:ext uri="{FF2B5EF4-FFF2-40B4-BE49-F238E27FC236}">
                  <a16:creationId xmlns:a16="http://schemas.microsoft.com/office/drawing/2014/main" id="{6A2CB550-CFE9-BB4C-9EAB-DA16DAE2FA90}"/>
                </a:ext>
              </a:extLst>
            </p:cNvPr>
            <p:cNvSpPr txBox="1"/>
            <p:nvPr/>
          </p:nvSpPr>
          <p:spPr>
            <a:xfrm>
              <a:off x="2530759" y="1745937"/>
              <a:ext cx="1681201" cy="307777"/>
            </a:xfrm>
            <a:prstGeom prst="rect">
              <a:avLst/>
            </a:prstGeom>
            <a:noFill/>
            <a:ln w="3175">
              <a:noFill/>
            </a:ln>
          </p:spPr>
          <p:txBody>
            <a:bodyPr wrap="square" rtlCol="0" anchor="ctr">
              <a:spAutoFit/>
            </a:bodyPr>
            <a:lstStyle/>
            <a:p>
              <a:pPr algn="ctr"/>
              <a:r>
                <a:rPr lang="en-US" altLang="ko-KR" sz="1400" b="1">
                  <a:solidFill>
                    <a:schemeClr val="accent4"/>
                  </a:solidFill>
                  <a:cs typeface="Arial" pitchFamily="34" charset="0"/>
                </a:rPr>
                <a:t>Content  Here</a:t>
              </a:r>
              <a:endParaRPr lang="ko-KR" altLang="en-US" sz="1400" b="1">
                <a:solidFill>
                  <a:schemeClr val="accent4"/>
                </a:solidFill>
                <a:cs typeface="Arial" pitchFamily="34" charset="0"/>
              </a:endParaRPr>
            </a:p>
          </p:txBody>
        </p:sp>
      </p:grpSp>
      <p:grpSp>
        <p:nvGrpSpPr>
          <p:cNvPr id="38" name="Group 136">
            <a:extLst>
              <a:ext uri="{FF2B5EF4-FFF2-40B4-BE49-F238E27FC236}">
                <a16:creationId xmlns:a16="http://schemas.microsoft.com/office/drawing/2014/main" id="{867183F3-A4EB-FE4D-A898-B157747D02C3}"/>
              </a:ext>
            </a:extLst>
          </p:cNvPr>
          <p:cNvGrpSpPr/>
          <p:nvPr/>
        </p:nvGrpSpPr>
        <p:grpSpPr>
          <a:xfrm>
            <a:off x="7975200" y="5241272"/>
            <a:ext cx="2021656" cy="902906"/>
            <a:chOff x="2530759" y="1745937"/>
            <a:chExt cx="1681201" cy="902906"/>
          </a:xfrm>
        </p:grpSpPr>
        <p:sp>
          <p:nvSpPr>
            <p:cNvPr id="39" name="TextBox 38">
              <a:extLst>
                <a:ext uri="{FF2B5EF4-FFF2-40B4-BE49-F238E27FC236}">
                  <a16:creationId xmlns:a16="http://schemas.microsoft.com/office/drawing/2014/main" id="{0CD93800-D742-A340-863F-3D6ED98530C9}"/>
                </a:ext>
              </a:extLst>
            </p:cNvPr>
            <p:cNvSpPr txBox="1"/>
            <p:nvPr/>
          </p:nvSpPr>
          <p:spPr>
            <a:xfrm>
              <a:off x="2530759" y="2002512"/>
              <a:ext cx="1681201"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40" name="TextBox 39">
              <a:extLst>
                <a:ext uri="{FF2B5EF4-FFF2-40B4-BE49-F238E27FC236}">
                  <a16:creationId xmlns:a16="http://schemas.microsoft.com/office/drawing/2014/main" id="{A0213D9B-B7E1-A349-8578-EDD4DECA6CC7}"/>
                </a:ext>
              </a:extLst>
            </p:cNvPr>
            <p:cNvSpPr txBox="1"/>
            <p:nvPr/>
          </p:nvSpPr>
          <p:spPr>
            <a:xfrm>
              <a:off x="2530759" y="1745937"/>
              <a:ext cx="1681201" cy="307777"/>
            </a:xfrm>
            <a:prstGeom prst="rect">
              <a:avLst/>
            </a:prstGeom>
            <a:noFill/>
            <a:ln w="3175">
              <a:noFill/>
            </a:ln>
          </p:spPr>
          <p:txBody>
            <a:bodyPr wrap="square" rtlCol="0" anchor="ctr">
              <a:spAutoFit/>
            </a:bodyPr>
            <a:lstStyle/>
            <a:p>
              <a:pPr algn="ctr"/>
              <a:r>
                <a:rPr lang="en-US" altLang="ko-KR" sz="1400" b="1">
                  <a:solidFill>
                    <a:schemeClr val="accent5"/>
                  </a:solidFill>
                  <a:cs typeface="Arial" pitchFamily="34" charset="0"/>
                </a:rPr>
                <a:t>Content  Here</a:t>
              </a:r>
              <a:endParaRPr lang="ko-KR" altLang="en-US" sz="1400" b="1">
                <a:solidFill>
                  <a:schemeClr val="accent5"/>
                </a:solidFill>
                <a:cs typeface="Arial" pitchFamily="34" charset="0"/>
              </a:endParaRPr>
            </a:p>
          </p:txBody>
        </p:sp>
      </p:grpSp>
      <p:grpSp>
        <p:nvGrpSpPr>
          <p:cNvPr id="41" name="Group 139">
            <a:extLst>
              <a:ext uri="{FF2B5EF4-FFF2-40B4-BE49-F238E27FC236}">
                <a16:creationId xmlns:a16="http://schemas.microsoft.com/office/drawing/2014/main" id="{FE75AA78-2F43-3E43-800F-83CAFF5B3F76}"/>
              </a:ext>
            </a:extLst>
          </p:cNvPr>
          <p:cNvGrpSpPr/>
          <p:nvPr/>
        </p:nvGrpSpPr>
        <p:grpSpPr>
          <a:xfrm>
            <a:off x="8087015" y="3109985"/>
            <a:ext cx="1974766" cy="902906"/>
            <a:chOff x="2530758" y="1745937"/>
            <a:chExt cx="1681202" cy="902906"/>
          </a:xfrm>
        </p:grpSpPr>
        <p:sp>
          <p:nvSpPr>
            <p:cNvPr id="42" name="TextBox 41">
              <a:extLst>
                <a:ext uri="{FF2B5EF4-FFF2-40B4-BE49-F238E27FC236}">
                  <a16:creationId xmlns:a16="http://schemas.microsoft.com/office/drawing/2014/main" id="{64876495-DB13-6A43-82E2-7CF9FF54C100}"/>
                </a:ext>
              </a:extLst>
            </p:cNvPr>
            <p:cNvSpPr txBox="1"/>
            <p:nvPr/>
          </p:nvSpPr>
          <p:spPr>
            <a:xfrm>
              <a:off x="2530759" y="2002512"/>
              <a:ext cx="168120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sp>
          <p:nvSpPr>
            <p:cNvPr id="43" name="TextBox 42">
              <a:extLst>
                <a:ext uri="{FF2B5EF4-FFF2-40B4-BE49-F238E27FC236}">
                  <a16:creationId xmlns:a16="http://schemas.microsoft.com/office/drawing/2014/main" id="{5C184D97-7845-DF48-B47A-CAD4C52137A5}"/>
                </a:ext>
              </a:extLst>
            </p:cNvPr>
            <p:cNvSpPr txBox="1"/>
            <p:nvPr/>
          </p:nvSpPr>
          <p:spPr>
            <a:xfrm>
              <a:off x="2530758" y="1745937"/>
              <a:ext cx="1681201" cy="307777"/>
            </a:xfrm>
            <a:prstGeom prst="rect">
              <a:avLst/>
            </a:prstGeom>
            <a:noFill/>
            <a:ln w="3175">
              <a:noFill/>
            </a:ln>
          </p:spPr>
          <p:txBody>
            <a:bodyPr wrap="square" rtlCol="0" anchor="ctr">
              <a:spAutoFit/>
            </a:bodyPr>
            <a:lstStyle/>
            <a:p>
              <a:pPr algn="r"/>
              <a:r>
                <a:rPr lang="en-US" altLang="ko-KR" sz="1400" b="1">
                  <a:solidFill>
                    <a:schemeClr val="accent6"/>
                  </a:solidFill>
                  <a:cs typeface="Arial" pitchFamily="34" charset="0"/>
                </a:rPr>
                <a:t>Content  Here</a:t>
              </a:r>
              <a:endParaRPr lang="ko-KR" altLang="en-US" sz="1400" b="1">
                <a:solidFill>
                  <a:schemeClr val="accent6"/>
                </a:solidFill>
                <a:cs typeface="Arial" pitchFamily="34" charset="0"/>
              </a:endParaRPr>
            </a:p>
          </p:txBody>
        </p:sp>
      </p:grpSp>
      <p:sp>
        <p:nvSpPr>
          <p:cNvPr id="44" name="Rectangle 16">
            <a:extLst>
              <a:ext uri="{FF2B5EF4-FFF2-40B4-BE49-F238E27FC236}">
                <a16:creationId xmlns:a16="http://schemas.microsoft.com/office/drawing/2014/main" id="{8EE8A07A-1140-F544-8BDB-6AD89BB7594F}"/>
              </a:ext>
            </a:extLst>
          </p:cNvPr>
          <p:cNvSpPr/>
          <p:nvPr/>
        </p:nvSpPr>
        <p:spPr>
          <a:xfrm rot="2700000">
            <a:off x="3975018" y="4180611"/>
            <a:ext cx="323388" cy="579774"/>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5" name="Rectangle 9">
            <a:extLst>
              <a:ext uri="{FF2B5EF4-FFF2-40B4-BE49-F238E27FC236}">
                <a16:creationId xmlns:a16="http://schemas.microsoft.com/office/drawing/2014/main" id="{A5FECC46-5BBE-2C47-A1DE-4EF29A0F4A60}"/>
              </a:ext>
            </a:extLst>
          </p:cNvPr>
          <p:cNvSpPr/>
          <p:nvPr/>
        </p:nvSpPr>
        <p:spPr>
          <a:xfrm>
            <a:off x="2339179" y="3330057"/>
            <a:ext cx="400663" cy="375057"/>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6" name="Rounded Rectangle 5">
            <a:extLst>
              <a:ext uri="{FF2B5EF4-FFF2-40B4-BE49-F238E27FC236}">
                <a16:creationId xmlns:a16="http://schemas.microsoft.com/office/drawing/2014/main" id="{04710D0C-E67F-5642-9872-E214DF761423}"/>
              </a:ext>
            </a:extLst>
          </p:cNvPr>
          <p:cNvSpPr/>
          <p:nvPr/>
        </p:nvSpPr>
        <p:spPr>
          <a:xfrm flipH="1">
            <a:off x="5542560" y="2983716"/>
            <a:ext cx="476328" cy="392942"/>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7" name="Freeform 18">
            <a:extLst>
              <a:ext uri="{FF2B5EF4-FFF2-40B4-BE49-F238E27FC236}">
                <a16:creationId xmlns:a16="http://schemas.microsoft.com/office/drawing/2014/main" id="{BE627F2C-F9D8-4A4E-AC2E-90659CBCF7D9}"/>
              </a:ext>
            </a:extLst>
          </p:cNvPr>
          <p:cNvSpPr/>
          <p:nvPr/>
        </p:nvSpPr>
        <p:spPr>
          <a:xfrm>
            <a:off x="10356588" y="3291601"/>
            <a:ext cx="519811" cy="419526"/>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8" name="Oval 7">
            <a:extLst>
              <a:ext uri="{FF2B5EF4-FFF2-40B4-BE49-F238E27FC236}">
                <a16:creationId xmlns:a16="http://schemas.microsoft.com/office/drawing/2014/main" id="{F0225F90-5FCB-BC4B-AC30-D2007972D186}"/>
              </a:ext>
            </a:extLst>
          </p:cNvPr>
          <p:cNvSpPr/>
          <p:nvPr/>
        </p:nvSpPr>
        <p:spPr>
          <a:xfrm>
            <a:off x="8781633" y="4469936"/>
            <a:ext cx="439352" cy="439352"/>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9" name="Rounded Rectangle 7">
            <a:extLst>
              <a:ext uri="{FF2B5EF4-FFF2-40B4-BE49-F238E27FC236}">
                <a16:creationId xmlns:a16="http://schemas.microsoft.com/office/drawing/2014/main" id="{408FAC77-D92F-A74D-AAD6-969B22C5008C}"/>
              </a:ext>
            </a:extLst>
          </p:cNvPr>
          <p:cNvSpPr/>
          <p:nvPr/>
        </p:nvSpPr>
        <p:spPr>
          <a:xfrm>
            <a:off x="7175258" y="2925183"/>
            <a:ext cx="428284" cy="369604"/>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293410359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058603-20F1-5B47-908A-5AB534691555}"/>
              </a:ext>
            </a:extLst>
          </p:cNvPr>
          <p:cNvSpPr>
            <a:spLocks noGrp="1"/>
          </p:cNvSpPr>
          <p:nvPr>
            <p:ph type="sldNum" sz="quarter" idx="4"/>
          </p:nvPr>
        </p:nvSpPr>
        <p:spPr/>
        <p:txBody>
          <a:bodyPr/>
          <a:lstStyle/>
          <a:p>
            <a:fld id="{3D966009-6E5A-4F8C-8CA7-E37AFBF5FB92}" type="slidenum">
              <a:rPr lang="en-US" smtClean="0"/>
              <a:t>115</a:t>
            </a:fld>
            <a:endParaRPr lang="en-US"/>
          </a:p>
        </p:txBody>
      </p:sp>
      <p:sp>
        <p:nvSpPr>
          <p:cNvPr id="3" name="Title 2">
            <a:extLst>
              <a:ext uri="{FF2B5EF4-FFF2-40B4-BE49-F238E27FC236}">
                <a16:creationId xmlns:a16="http://schemas.microsoft.com/office/drawing/2014/main" id="{52A17AD9-6076-D840-9D4B-6CF533525B33}"/>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F9249E71-6DC4-0C4D-9919-381072F78A83}"/>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2E9A282C-DE24-6440-AAAE-BF24BE6D1CF4}"/>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9037C403-F64A-6F48-9747-0014468842B7}"/>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C36D11B0-715D-1A4F-B831-7B0130E3553E}"/>
              </a:ext>
            </a:extLst>
          </p:cNvPr>
          <p:cNvSpPr>
            <a:spLocks noGrp="1"/>
          </p:cNvSpPr>
          <p:nvPr>
            <p:ph sz="quarter" idx="14"/>
          </p:nvPr>
        </p:nvSpPr>
        <p:spPr/>
        <p:txBody>
          <a:bodyPr/>
          <a:lstStyle/>
          <a:p>
            <a:endParaRPr lang="en-GB"/>
          </a:p>
        </p:txBody>
      </p:sp>
      <p:grpSp>
        <p:nvGrpSpPr>
          <p:cNvPr id="111" name="Group 110">
            <a:extLst>
              <a:ext uri="{FF2B5EF4-FFF2-40B4-BE49-F238E27FC236}">
                <a16:creationId xmlns:a16="http://schemas.microsoft.com/office/drawing/2014/main" id="{C304CD40-6672-8D4A-A5AB-9BE6411595CC}"/>
              </a:ext>
            </a:extLst>
          </p:cNvPr>
          <p:cNvGrpSpPr/>
          <p:nvPr/>
        </p:nvGrpSpPr>
        <p:grpSpPr>
          <a:xfrm>
            <a:off x="2345961" y="2186958"/>
            <a:ext cx="8108756" cy="3592347"/>
            <a:chOff x="367418" y="1130448"/>
            <a:chExt cx="8108756" cy="3592347"/>
          </a:xfrm>
        </p:grpSpPr>
        <p:grpSp>
          <p:nvGrpSpPr>
            <p:cNvPr id="60" name="Group 59">
              <a:extLst>
                <a:ext uri="{FF2B5EF4-FFF2-40B4-BE49-F238E27FC236}">
                  <a16:creationId xmlns:a16="http://schemas.microsoft.com/office/drawing/2014/main" id="{F3CAD1B2-9154-C04C-8C2C-328E6A51ECD2}"/>
                </a:ext>
              </a:extLst>
            </p:cNvPr>
            <p:cNvGrpSpPr/>
            <p:nvPr/>
          </p:nvGrpSpPr>
          <p:grpSpPr>
            <a:xfrm>
              <a:off x="1360332" y="1541512"/>
              <a:ext cx="7025063" cy="1816297"/>
              <a:chOff x="1291353" y="1755670"/>
              <a:chExt cx="7025063" cy="1816297"/>
            </a:xfrm>
          </p:grpSpPr>
          <p:sp>
            <p:nvSpPr>
              <p:cNvPr id="61" name="Block Arc 60">
                <a:extLst>
                  <a:ext uri="{FF2B5EF4-FFF2-40B4-BE49-F238E27FC236}">
                    <a16:creationId xmlns:a16="http://schemas.microsoft.com/office/drawing/2014/main" id="{AB8A2F81-B642-2F47-AEA1-6DECD4DB04C8}"/>
                  </a:ext>
                </a:extLst>
              </p:cNvPr>
              <p:cNvSpPr/>
              <p:nvPr/>
            </p:nvSpPr>
            <p:spPr>
              <a:xfrm>
                <a:off x="6500119" y="1755670"/>
                <a:ext cx="1816297" cy="1816297"/>
              </a:xfrm>
              <a:prstGeom prst="blockArc">
                <a:avLst>
                  <a:gd name="adj1" fmla="val 16127381"/>
                  <a:gd name="adj2" fmla="val 5490194"/>
                  <a:gd name="adj3" fmla="val 4041"/>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2" name="Rectangle 61">
                <a:extLst>
                  <a:ext uri="{FF2B5EF4-FFF2-40B4-BE49-F238E27FC236}">
                    <a16:creationId xmlns:a16="http://schemas.microsoft.com/office/drawing/2014/main" id="{AEB9F645-7D07-D649-93F1-24E965565A15}"/>
                  </a:ext>
                </a:extLst>
              </p:cNvPr>
              <p:cNvSpPr/>
              <p:nvPr/>
            </p:nvSpPr>
            <p:spPr>
              <a:xfrm>
                <a:off x="1291353" y="1755670"/>
                <a:ext cx="6156000" cy="72000"/>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3" name="Rectangle 62">
                <a:extLst>
                  <a:ext uri="{FF2B5EF4-FFF2-40B4-BE49-F238E27FC236}">
                    <a16:creationId xmlns:a16="http://schemas.microsoft.com/office/drawing/2014/main" id="{38BE5896-3F0C-4E4E-8FDC-AAF73B823651}"/>
                  </a:ext>
                </a:extLst>
              </p:cNvPr>
              <p:cNvSpPr/>
              <p:nvPr/>
            </p:nvSpPr>
            <p:spPr>
              <a:xfrm>
                <a:off x="2340248" y="3499967"/>
                <a:ext cx="5112000" cy="72000"/>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64" name="Group 63">
              <a:extLst>
                <a:ext uri="{FF2B5EF4-FFF2-40B4-BE49-F238E27FC236}">
                  <a16:creationId xmlns:a16="http://schemas.microsoft.com/office/drawing/2014/main" id="{BE607F22-D9A3-5A43-8F29-C4F94DE8E3FA}"/>
                </a:ext>
              </a:extLst>
            </p:cNvPr>
            <p:cNvGrpSpPr/>
            <p:nvPr/>
          </p:nvGrpSpPr>
          <p:grpSpPr>
            <a:xfrm>
              <a:off x="922197" y="1130448"/>
              <a:ext cx="914400" cy="914400"/>
              <a:chOff x="5364088" y="2787774"/>
              <a:chExt cx="914400" cy="914400"/>
            </a:xfrm>
          </p:grpSpPr>
          <p:sp>
            <p:nvSpPr>
              <p:cNvPr id="65" name="Oval 64">
                <a:extLst>
                  <a:ext uri="{FF2B5EF4-FFF2-40B4-BE49-F238E27FC236}">
                    <a16:creationId xmlns:a16="http://schemas.microsoft.com/office/drawing/2014/main" id="{F3A41DE0-24FC-4042-8E70-B1B05F3D00AF}"/>
                  </a:ext>
                </a:extLst>
              </p:cNvPr>
              <p:cNvSpPr/>
              <p:nvPr/>
            </p:nvSpPr>
            <p:spPr>
              <a:xfrm>
                <a:off x="5364088" y="2787774"/>
                <a:ext cx="914400" cy="914400"/>
              </a:xfrm>
              <a:prstGeom prst="ellipse">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6" name="Oval 65">
                <a:extLst>
                  <a:ext uri="{FF2B5EF4-FFF2-40B4-BE49-F238E27FC236}">
                    <a16:creationId xmlns:a16="http://schemas.microsoft.com/office/drawing/2014/main" id="{A83F55CC-85F4-E846-B3FE-A06FC2E47A48}"/>
                  </a:ext>
                </a:extLst>
              </p:cNvPr>
              <p:cNvSpPr/>
              <p:nvPr/>
            </p:nvSpPr>
            <p:spPr>
              <a:xfrm>
                <a:off x="5443246" y="2866932"/>
                <a:ext cx="756084" cy="756084"/>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67" name="Group 66">
              <a:extLst>
                <a:ext uri="{FF2B5EF4-FFF2-40B4-BE49-F238E27FC236}">
                  <a16:creationId xmlns:a16="http://schemas.microsoft.com/office/drawing/2014/main" id="{08727CEB-5D40-6848-8D92-8B9569C41FA8}"/>
                </a:ext>
              </a:extLst>
            </p:cNvPr>
            <p:cNvGrpSpPr/>
            <p:nvPr/>
          </p:nvGrpSpPr>
          <p:grpSpPr>
            <a:xfrm>
              <a:off x="3609680" y="1130448"/>
              <a:ext cx="914400" cy="914400"/>
              <a:chOff x="5364088" y="2787774"/>
              <a:chExt cx="914400" cy="914400"/>
            </a:xfrm>
          </p:grpSpPr>
          <p:sp>
            <p:nvSpPr>
              <p:cNvPr id="68" name="Oval 67">
                <a:extLst>
                  <a:ext uri="{FF2B5EF4-FFF2-40B4-BE49-F238E27FC236}">
                    <a16:creationId xmlns:a16="http://schemas.microsoft.com/office/drawing/2014/main" id="{C30315FE-3815-7843-8F6D-87B306035D7D}"/>
                  </a:ext>
                </a:extLst>
              </p:cNvPr>
              <p:cNvSpPr/>
              <p:nvPr/>
            </p:nvSpPr>
            <p:spPr>
              <a:xfrm>
                <a:off x="5364088" y="2787774"/>
                <a:ext cx="914400" cy="914400"/>
              </a:xfrm>
              <a:prstGeom prst="ellipse">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9" name="Oval 68">
                <a:extLst>
                  <a:ext uri="{FF2B5EF4-FFF2-40B4-BE49-F238E27FC236}">
                    <a16:creationId xmlns:a16="http://schemas.microsoft.com/office/drawing/2014/main" id="{C242DAA5-91A5-674B-870D-573A2C87F9E2}"/>
                  </a:ext>
                </a:extLst>
              </p:cNvPr>
              <p:cNvSpPr/>
              <p:nvPr/>
            </p:nvSpPr>
            <p:spPr>
              <a:xfrm>
                <a:off x="5443246" y="2866932"/>
                <a:ext cx="756084" cy="756084"/>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70" name="Group 69">
              <a:extLst>
                <a:ext uri="{FF2B5EF4-FFF2-40B4-BE49-F238E27FC236}">
                  <a16:creationId xmlns:a16="http://schemas.microsoft.com/office/drawing/2014/main" id="{7DFDD835-EEA7-7044-BE0A-89148BD54486}"/>
                </a:ext>
              </a:extLst>
            </p:cNvPr>
            <p:cNvGrpSpPr/>
            <p:nvPr/>
          </p:nvGrpSpPr>
          <p:grpSpPr>
            <a:xfrm>
              <a:off x="6297163" y="1130448"/>
              <a:ext cx="914400" cy="914400"/>
              <a:chOff x="5364088" y="2787774"/>
              <a:chExt cx="914400" cy="914400"/>
            </a:xfrm>
          </p:grpSpPr>
          <p:sp>
            <p:nvSpPr>
              <p:cNvPr id="71" name="Oval 70">
                <a:extLst>
                  <a:ext uri="{FF2B5EF4-FFF2-40B4-BE49-F238E27FC236}">
                    <a16:creationId xmlns:a16="http://schemas.microsoft.com/office/drawing/2014/main" id="{73B033DE-0CFF-2642-BF28-7822CE910518}"/>
                  </a:ext>
                </a:extLst>
              </p:cNvPr>
              <p:cNvSpPr/>
              <p:nvPr/>
            </p:nvSpPr>
            <p:spPr>
              <a:xfrm>
                <a:off x="5364088" y="2787774"/>
                <a:ext cx="914400" cy="914400"/>
              </a:xfrm>
              <a:prstGeom prst="ellipse">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2" name="Oval 71">
                <a:extLst>
                  <a:ext uri="{FF2B5EF4-FFF2-40B4-BE49-F238E27FC236}">
                    <a16:creationId xmlns:a16="http://schemas.microsoft.com/office/drawing/2014/main" id="{045BDEFB-0251-EA47-B9EF-D59B9A28CECD}"/>
                  </a:ext>
                </a:extLst>
              </p:cNvPr>
              <p:cNvSpPr/>
              <p:nvPr/>
            </p:nvSpPr>
            <p:spPr>
              <a:xfrm>
                <a:off x="5443246" y="2866932"/>
                <a:ext cx="756084" cy="756084"/>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73" name="Group 72">
              <a:extLst>
                <a:ext uri="{FF2B5EF4-FFF2-40B4-BE49-F238E27FC236}">
                  <a16:creationId xmlns:a16="http://schemas.microsoft.com/office/drawing/2014/main" id="{D6E7C1EC-D1DE-D141-8E47-282653BEF020}"/>
                </a:ext>
              </a:extLst>
            </p:cNvPr>
            <p:cNvGrpSpPr/>
            <p:nvPr/>
          </p:nvGrpSpPr>
          <p:grpSpPr>
            <a:xfrm>
              <a:off x="2265939" y="2863724"/>
              <a:ext cx="914400" cy="914400"/>
              <a:chOff x="5364088" y="2787774"/>
              <a:chExt cx="914400" cy="914400"/>
            </a:xfrm>
          </p:grpSpPr>
          <p:sp>
            <p:nvSpPr>
              <p:cNvPr id="74" name="Oval 73">
                <a:extLst>
                  <a:ext uri="{FF2B5EF4-FFF2-40B4-BE49-F238E27FC236}">
                    <a16:creationId xmlns:a16="http://schemas.microsoft.com/office/drawing/2014/main" id="{A78F40B0-155C-7B4B-870E-DC79FBA2D2D9}"/>
                  </a:ext>
                </a:extLst>
              </p:cNvPr>
              <p:cNvSpPr/>
              <p:nvPr/>
            </p:nvSpPr>
            <p:spPr>
              <a:xfrm>
                <a:off x="5364088" y="2787774"/>
                <a:ext cx="914400" cy="914400"/>
              </a:xfrm>
              <a:prstGeom prst="ellipse">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5" name="Oval 74">
                <a:extLst>
                  <a:ext uri="{FF2B5EF4-FFF2-40B4-BE49-F238E27FC236}">
                    <a16:creationId xmlns:a16="http://schemas.microsoft.com/office/drawing/2014/main" id="{F8C88643-D2BC-B047-B8FD-7F91B6ED6623}"/>
                  </a:ext>
                </a:extLst>
              </p:cNvPr>
              <p:cNvSpPr/>
              <p:nvPr/>
            </p:nvSpPr>
            <p:spPr>
              <a:xfrm>
                <a:off x="5443246" y="2866932"/>
                <a:ext cx="756084" cy="756084"/>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76" name="Group 75">
              <a:extLst>
                <a:ext uri="{FF2B5EF4-FFF2-40B4-BE49-F238E27FC236}">
                  <a16:creationId xmlns:a16="http://schemas.microsoft.com/office/drawing/2014/main" id="{7B3AAAEB-C588-B848-B155-3A7AE7A4B183}"/>
                </a:ext>
              </a:extLst>
            </p:cNvPr>
            <p:cNvGrpSpPr/>
            <p:nvPr/>
          </p:nvGrpSpPr>
          <p:grpSpPr>
            <a:xfrm>
              <a:off x="4953422" y="2863724"/>
              <a:ext cx="914400" cy="914400"/>
              <a:chOff x="5364088" y="2787774"/>
              <a:chExt cx="914400" cy="914400"/>
            </a:xfrm>
          </p:grpSpPr>
          <p:sp>
            <p:nvSpPr>
              <p:cNvPr id="77" name="Oval 76">
                <a:extLst>
                  <a:ext uri="{FF2B5EF4-FFF2-40B4-BE49-F238E27FC236}">
                    <a16:creationId xmlns:a16="http://schemas.microsoft.com/office/drawing/2014/main" id="{F7BE89DE-091A-F746-8EFF-AE4661DCEE13}"/>
                  </a:ext>
                </a:extLst>
              </p:cNvPr>
              <p:cNvSpPr/>
              <p:nvPr/>
            </p:nvSpPr>
            <p:spPr>
              <a:xfrm>
                <a:off x="5364088" y="2787774"/>
                <a:ext cx="914400" cy="914400"/>
              </a:xfrm>
              <a:prstGeom prst="ellipse">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8" name="Oval 77">
                <a:extLst>
                  <a:ext uri="{FF2B5EF4-FFF2-40B4-BE49-F238E27FC236}">
                    <a16:creationId xmlns:a16="http://schemas.microsoft.com/office/drawing/2014/main" id="{B90A9998-8C15-A24B-8264-2C0F035CABD1}"/>
                  </a:ext>
                </a:extLst>
              </p:cNvPr>
              <p:cNvSpPr/>
              <p:nvPr/>
            </p:nvSpPr>
            <p:spPr>
              <a:xfrm>
                <a:off x="5443246" y="2866932"/>
                <a:ext cx="756084" cy="756084"/>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79" name="Group 78">
              <a:extLst>
                <a:ext uri="{FF2B5EF4-FFF2-40B4-BE49-F238E27FC236}">
                  <a16:creationId xmlns:a16="http://schemas.microsoft.com/office/drawing/2014/main" id="{8A4DD407-5547-D34D-9E4A-6E9987015DFB}"/>
                </a:ext>
              </a:extLst>
            </p:cNvPr>
            <p:cNvGrpSpPr/>
            <p:nvPr/>
          </p:nvGrpSpPr>
          <p:grpSpPr>
            <a:xfrm>
              <a:off x="2569737" y="1434246"/>
              <a:ext cx="306803" cy="306803"/>
              <a:chOff x="1547664" y="3147814"/>
              <a:chExt cx="720080" cy="720080"/>
            </a:xfrm>
          </p:grpSpPr>
          <p:sp>
            <p:nvSpPr>
              <p:cNvPr id="80" name="Oval 79">
                <a:extLst>
                  <a:ext uri="{FF2B5EF4-FFF2-40B4-BE49-F238E27FC236}">
                    <a16:creationId xmlns:a16="http://schemas.microsoft.com/office/drawing/2014/main" id="{22073BFF-40D8-1E40-8B16-DA8912C77514}"/>
                  </a:ext>
                </a:extLst>
              </p:cNvPr>
              <p:cNvSpPr/>
              <p:nvPr/>
            </p:nvSpPr>
            <p:spPr>
              <a:xfrm>
                <a:off x="1547664" y="3147814"/>
                <a:ext cx="720080" cy="720080"/>
              </a:xfrm>
              <a:prstGeom prst="ellipse">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1" name="Chevron 80">
                <a:extLst>
                  <a:ext uri="{FF2B5EF4-FFF2-40B4-BE49-F238E27FC236}">
                    <a16:creationId xmlns:a16="http://schemas.microsoft.com/office/drawing/2014/main" id="{A9353E90-D31D-684E-9080-7C88B8FCF72D}"/>
                  </a:ext>
                </a:extLst>
              </p:cNvPr>
              <p:cNvSpPr/>
              <p:nvPr/>
            </p:nvSpPr>
            <p:spPr>
              <a:xfrm>
                <a:off x="1741237" y="3312127"/>
                <a:ext cx="391455" cy="39145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grpSp>
          <p:nvGrpSpPr>
            <p:cNvPr id="82" name="Group 81">
              <a:extLst>
                <a:ext uri="{FF2B5EF4-FFF2-40B4-BE49-F238E27FC236}">
                  <a16:creationId xmlns:a16="http://schemas.microsoft.com/office/drawing/2014/main" id="{8D9737BE-8547-BB45-8FCD-4E4DACDC390E}"/>
                </a:ext>
              </a:extLst>
            </p:cNvPr>
            <p:cNvGrpSpPr/>
            <p:nvPr/>
          </p:nvGrpSpPr>
          <p:grpSpPr>
            <a:xfrm>
              <a:off x="5257220" y="1434246"/>
              <a:ext cx="306803" cy="306803"/>
              <a:chOff x="1547664" y="3147814"/>
              <a:chExt cx="720080" cy="720080"/>
            </a:xfrm>
          </p:grpSpPr>
          <p:sp>
            <p:nvSpPr>
              <p:cNvPr id="83" name="Oval 82">
                <a:extLst>
                  <a:ext uri="{FF2B5EF4-FFF2-40B4-BE49-F238E27FC236}">
                    <a16:creationId xmlns:a16="http://schemas.microsoft.com/office/drawing/2014/main" id="{D95DE166-B8EA-AE41-B0D7-B3DE97FDC4C1}"/>
                  </a:ext>
                </a:extLst>
              </p:cNvPr>
              <p:cNvSpPr/>
              <p:nvPr/>
            </p:nvSpPr>
            <p:spPr>
              <a:xfrm>
                <a:off x="1547664" y="3147814"/>
                <a:ext cx="720080" cy="720080"/>
              </a:xfrm>
              <a:prstGeom prst="ellipse">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4" name="Chevron 83">
                <a:extLst>
                  <a:ext uri="{FF2B5EF4-FFF2-40B4-BE49-F238E27FC236}">
                    <a16:creationId xmlns:a16="http://schemas.microsoft.com/office/drawing/2014/main" id="{DA5E4630-9F8D-414B-B46D-B24CD836ED95}"/>
                  </a:ext>
                </a:extLst>
              </p:cNvPr>
              <p:cNvSpPr/>
              <p:nvPr/>
            </p:nvSpPr>
            <p:spPr>
              <a:xfrm>
                <a:off x="1741237" y="3312127"/>
                <a:ext cx="391455" cy="39145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grpSp>
          <p:nvGrpSpPr>
            <p:cNvPr id="85" name="Group 84">
              <a:extLst>
                <a:ext uri="{FF2B5EF4-FFF2-40B4-BE49-F238E27FC236}">
                  <a16:creationId xmlns:a16="http://schemas.microsoft.com/office/drawing/2014/main" id="{21972FD4-5E87-8B4F-9DF9-F1FCB2BB83CE}"/>
                </a:ext>
              </a:extLst>
            </p:cNvPr>
            <p:cNvGrpSpPr/>
            <p:nvPr/>
          </p:nvGrpSpPr>
          <p:grpSpPr>
            <a:xfrm rot="10800000">
              <a:off x="3913479" y="3167523"/>
              <a:ext cx="306803" cy="306803"/>
              <a:chOff x="1547664" y="3147814"/>
              <a:chExt cx="720080" cy="720080"/>
            </a:xfrm>
          </p:grpSpPr>
          <p:sp>
            <p:nvSpPr>
              <p:cNvPr id="86" name="Oval 85">
                <a:extLst>
                  <a:ext uri="{FF2B5EF4-FFF2-40B4-BE49-F238E27FC236}">
                    <a16:creationId xmlns:a16="http://schemas.microsoft.com/office/drawing/2014/main" id="{64AB0A01-E31D-7646-937B-BC7E601BA07D}"/>
                  </a:ext>
                </a:extLst>
              </p:cNvPr>
              <p:cNvSpPr/>
              <p:nvPr/>
            </p:nvSpPr>
            <p:spPr>
              <a:xfrm>
                <a:off x="1547664" y="3147814"/>
                <a:ext cx="720080" cy="720080"/>
              </a:xfrm>
              <a:prstGeom prst="ellipse">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7" name="Chevron 86">
                <a:extLst>
                  <a:ext uri="{FF2B5EF4-FFF2-40B4-BE49-F238E27FC236}">
                    <a16:creationId xmlns:a16="http://schemas.microsoft.com/office/drawing/2014/main" id="{42A3E321-C054-604E-BE89-FF0F8BE40656}"/>
                  </a:ext>
                </a:extLst>
              </p:cNvPr>
              <p:cNvSpPr/>
              <p:nvPr/>
            </p:nvSpPr>
            <p:spPr>
              <a:xfrm>
                <a:off x="1741237" y="3312127"/>
                <a:ext cx="391455" cy="39145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grpSp>
          <p:nvGrpSpPr>
            <p:cNvPr id="88" name="Group 87">
              <a:extLst>
                <a:ext uri="{FF2B5EF4-FFF2-40B4-BE49-F238E27FC236}">
                  <a16:creationId xmlns:a16="http://schemas.microsoft.com/office/drawing/2014/main" id="{EF0E32B5-3573-AA4E-B891-B2B3E4F5D776}"/>
                </a:ext>
              </a:extLst>
            </p:cNvPr>
            <p:cNvGrpSpPr/>
            <p:nvPr/>
          </p:nvGrpSpPr>
          <p:grpSpPr>
            <a:xfrm rot="5400000">
              <a:off x="8169371" y="2300884"/>
              <a:ext cx="306803" cy="306803"/>
              <a:chOff x="1547664" y="3147814"/>
              <a:chExt cx="720080" cy="720080"/>
            </a:xfrm>
          </p:grpSpPr>
          <p:sp>
            <p:nvSpPr>
              <p:cNvPr id="89" name="Oval 88">
                <a:extLst>
                  <a:ext uri="{FF2B5EF4-FFF2-40B4-BE49-F238E27FC236}">
                    <a16:creationId xmlns:a16="http://schemas.microsoft.com/office/drawing/2014/main" id="{FD21D7BE-DAAB-EB4E-94CE-7FA47A281732}"/>
                  </a:ext>
                </a:extLst>
              </p:cNvPr>
              <p:cNvSpPr/>
              <p:nvPr/>
            </p:nvSpPr>
            <p:spPr>
              <a:xfrm>
                <a:off x="1547664" y="3147814"/>
                <a:ext cx="720080" cy="720080"/>
              </a:xfrm>
              <a:prstGeom prst="ellipse">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0" name="Chevron 89">
                <a:extLst>
                  <a:ext uri="{FF2B5EF4-FFF2-40B4-BE49-F238E27FC236}">
                    <a16:creationId xmlns:a16="http://schemas.microsoft.com/office/drawing/2014/main" id="{3DFBC205-CCFC-5F4C-8E97-2F76098584DA}"/>
                  </a:ext>
                </a:extLst>
              </p:cNvPr>
              <p:cNvSpPr/>
              <p:nvPr/>
            </p:nvSpPr>
            <p:spPr>
              <a:xfrm>
                <a:off x="1741237" y="3312127"/>
                <a:ext cx="391455" cy="39145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sp>
          <p:nvSpPr>
            <p:cNvPr id="91" name="Block Arc 14">
              <a:extLst>
                <a:ext uri="{FF2B5EF4-FFF2-40B4-BE49-F238E27FC236}">
                  <a16:creationId xmlns:a16="http://schemas.microsoft.com/office/drawing/2014/main" id="{F1787635-69DF-0140-B458-E833E51C5DBB}"/>
                </a:ext>
              </a:extLst>
            </p:cNvPr>
            <p:cNvSpPr/>
            <p:nvPr/>
          </p:nvSpPr>
          <p:spPr>
            <a:xfrm rot="16200000">
              <a:off x="1212690" y="1420832"/>
              <a:ext cx="333413" cy="33363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2" name="Rectangle 36">
              <a:extLst>
                <a:ext uri="{FF2B5EF4-FFF2-40B4-BE49-F238E27FC236}">
                  <a16:creationId xmlns:a16="http://schemas.microsoft.com/office/drawing/2014/main" id="{A86E6907-85D1-7342-AAC9-85A99B30297E}"/>
                </a:ext>
              </a:extLst>
            </p:cNvPr>
            <p:cNvSpPr/>
            <p:nvPr/>
          </p:nvSpPr>
          <p:spPr>
            <a:xfrm>
              <a:off x="6602480" y="1450550"/>
              <a:ext cx="303765" cy="253924"/>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3" name="Teardrop 6">
              <a:extLst>
                <a:ext uri="{FF2B5EF4-FFF2-40B4-BE49-F238E27FC236}">
                  <a16:creationId xmlns:a16="http://schemas.microsoft.com/office/drawing/2014/main" id="{ED0B32CD-9554-6D48-BDA1-DFC4FC164D19}"/>
                </a:ext>
              </a:extLst>
            </p:cNvPr>
            <p:cNvSpPr/>
            <p:nvPr/>
          </p:nvSpPr>
          <p:spPr>
            <a:xfrm rot="8100000">
              <a:off x="3920239" y="1430872"/>
              <a:ext cx="293279" cy="293280"/>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4" name="Rectangle 16">
              <a:extLst>
                <a:ext uri="{FF2B5EF4-FFF2-40B4-BE49-F238E27FC236}">
                  <a16:creationId xmlns:a16="http://schemas.microsoft.com/office/drawing/2014/main" id="{45DA2613-B3CE-A347-83BE-F9E90F99BF28}"/>
                </a:ext>
              </a:extLst>
            </p:cNvPr>
            <p:cNvSpPr/>
            <p:nvPr/>
          </p:nvSpPr>
          <p:spPr>
            <a:xfrm rot="2700000">
              <a:off x="5298806" y="3109076"/>
              <a:ext cx="223629" cy="42546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5" name="Rounded Rectangle 27">
              <a:extLst>
                <a:ext uri="{FF2B5EF4-FFF2-40B4-BE49-F238E27FC236}">
                  <a16:creationId xmlns:a16="http://schemas.microsoft.com/office/drawing/2014/main" id="{AA87BCF9-5669-0B44-ABDF-15E2B1A04D3A}"/>
                </a:ext>
              </a:extLst>
            </p:cNvPr>
            <p:cNvSpPr/>
            <p:nvPr/>
          </p:nvSpPr>
          <p:spPr>
            <a:xfrm>
              <a:off x="2571070" y="3194540"/>
              <a:ext cx="329069" cy="25276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96" name="Group 95">
              <a:extLst>
                <a:ext uri="{FF2B5EF4-FFF2-40B4-BE49-F238E27FC236}">
                  <a16:creationId xmlns:a16="http://schemas.microsoft.com/office/drawing/2014/main" id="{8AE4C57C-5F32-AC45-8057-41827571E4C4}"/>
                </a:ext>
              </a:extLst>
            </p:cNvPr>
            <p:cNvGrpSpPr/>
            <p:nvPr/>
          </p:nvGrpSpPr>
          <p:grpSpPr>
            <a:xfrm>
              <a:off x="367418" y="2118466"/>
              <a:ext cx="2023958" cy="863358"/>
              <a:chOff x="803640" y="3362835"/>
              <a:chExt cx="2059657" cy="863358"/>
            </a:xfrm>
          </p:grpSpPr>
          <p:sp>
            <p:nvSpPr>
              <p:cNvPr id="97" name="TextBox 96">
                <a:extLst>
                  <a:ext uri="{FF2B5EF4-FFF2-40B4-BE49-F238E27FC236}">
                    <a16:creationId xmlns:a16="http://schemas.microsoft.com/office/drawing/2014/main" id="{B45E11AC-4983-0246-B8D0-C939AD103D68}"/>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a:t>
                </a:r>
                <a:endParaRPr lang="ko-KR" altLang="en-US" sz="1200">
                  <a:solidFill>
                    <a:schemeClr val="tx1">
                      <a:lumMod val="75000"/>
                      <a:lumOff val="25000"/>
                    </a:schemeClr>
                  </a:solidFill>
                  <a:cs typeface="Arial" pitchFamily="34" charset="0"/>
                </a:endParaRPr>
              </a:p>
            </p:txBody>
          </p:sp>
          <p:sp>
            <p:nvSpPr>
              <p:cNvPr id="98" name="TextBox 97">
                <a:extLst>
                  <a:ext uri="{FF2B5EF4-FFF2-40B4-BE49-F238E27FC236}">
                    <a16:creationId xmlns:a16="http://schemas.microsoft.com/office/drawing/2014/main" id="{D07CB49B-BE3C-774C-82A6-579AE1FB56B1}"/>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99" name="Group 98">
              <a:extLst>
                <a:ext uri="{FF2B5EF4-FFF2-40B4-BE49-F238E27FC236}">
                  <a16:creationId xmlns:a16="http://schemas.microsoft.com/office/drawing/2014/main" id="{A726DE95-1CBB-F646-B45C-C9DF7E057F3B}"/>
                </a:ext>
              </a:extLst>
            </p:cNvPr>
            <p:cNvGrpSpPr/>
            <p:nvPr/>
          </p:nvGrpSpPr>
          <p:grpSpPr>
            <a:xfrm>
              <a:off x="3054899" y="2118466"/>
              <a:ext cx="2023958" cy="863358"/>
              <a:chOff x="803640" y="3362835"/>
              <a:chExt cx="2059657" cy="863358"/>
            </a:xfrm>
          </p:grpSpPr>
          <p:sp>
            <p:nvSpPr>
              <p:cNvPr id="100" name="TextBox 99">
                <a:extLst>
                  <a:ext uri="{FF2B5EF4-FFF2-40B4-BE49-F238E27FC236}">
                    <a16:creationId xmlns:a16="http://schemas.microsoft.com/office/drawing/2014/main" id="{53339ACE-C05E-DC44-9614-53E497CEED1F}"/>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a:t>
                </a:r>
                <a:endParaRPr lang="ko-KR" altLang="en-US" sz="1200">
                  <a:solidFill>
                    <a:schemeClr val="tx1">
                      <a:lumMod val="75000"/>
                      <a:lumOff val="25000"/>
                    </a:schemeClr>
                  </a:solidFill>
                  <a:cs typeface="Arial" pitchFamily="34" charset="0"/>
                </a:endParaRPr>
              </a:p>
            </p:txBody>
          </p:sp>
          <p:sp>
            <p:nvSpPr>
              <p:cNvPr id="101" name="TextBox 100">
                <a:extLst>
                  <a:ext uri="{FF2B5EF4-FFF2-40B4-BE49-F238E27FC236}">
                    <a16:creationId xmlns:a16="http://schemas.microsoft.com/office/drawing/2014/main" id="{0DD41D28-6C32-164F-AADF-4547BCA2D24D}"/>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02" name="Group 101">
              <a:extLst>
                <a:ext uri="{FF2B5EF4-FFF2-40B4-BE49-F238E27FC236}">
                  <a16:creationId xmlns:a16="http://schemas.microsoft.com/office/drawing/2014/main" id="{9F49BBDB-9A59-0145-9013-26116733B73D}"/>
                </a:ext>
              </a:extLst>
            </p:cNvPr>
            <p:cNvGrpSpPr/>
            <p:nvPr/>
          </p:nvGrpSpPr>
          <p:grpSpPr>
            <a:xfrm>
              <a:off x="5742380" y="2118466"/>
              <a:ext cx="2023958" cy="863358"/>
              <a:chOff x="803640" y="3362835"/>
              <a:chExt cx="2059657" cy="863358"/>
            </a:xfrm>
          </p:grpSpPr>
          <p:sp>
            <p:nvSpPr>
              <p:cNvPr id="103" name="TextBox 102">
                <a:extLst>
                  <a:ext uri="{FF2B5EF4-FFF2-40B4-BE49-F238E27FC236}">
                    <a16:creationId xmlns:a16="http://schemas.microsoft.com/office/drawing/2014/main" id="{CE786FD3-9A72-BC49-A9F5-288F7BB69D06}"/>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a:t>
                </a:r>
                <a:endParaRPr lang="ko-KR" altLang="en-US" sz="1200">
                  <a:solidFill>
                    <a:schemeClr val="tx1">
                      <a:lumMod val="75000"/>
                      <a:lumOff val="25000"/>
                    </a:schemeClr>
                  </a:solidFill>
                  <a:cs typeface="Arial" pitchFamily="34" charset="0"/>
                </a:endParaRPr>
              </a:p>
            </p:txBody>
          </p:sp>
          <p:sp>
            <p:nvSpPr>
              <p:cNvPr id="104" name="TextBox 103">
                <a:extLst>
                  <a:ext uri="{FF2B5EF4-FFF2-40B4-BE49-F238E27FC236}">
                    <a16:creationId xmlns:a16="http://schemas.microsoft.com/office/drawing/2014/main" id="{332CA1EB-2A74-414B-A4CC-9641E824C269}"/>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05" name="Group 104">
              <a:extLst>
                <a:ext uri="{FF2B5EF4-FFF2-40B4-BE49-F238E27FC236}">
                  <a16:creationId xmlns:a16="http://schemas.microsoft.com/office/drawing/2014/main" id="{144BC72C-9A97-9E49-BF6D-A69F08C5A106}"/>
                </a:ext>
              </a:extLst>
            </p:cNvPr>
            <p:cNvGrpSpPr/>
            <p:nvPr/>
          </p:nvGrpSpPr>
          <p:grpSpPr>
            <a:xfrm>
              <a:off x="1723626" y="3859437"/>
              <a:ext cx="2023958" cy="863358"/>
              <a:chOff x="803640" y="3362835"/>
              <a:chExt cx="2059657" cy="863358"/>
            </a:xfrm>
          </p:grpSpPr>
          <p:sp>
            <p:nvSpPr>
              <p:cNvPr id="106" name="TextBox 105">
                <a:extLst>
                  <a:ext uri="{FF2B5EF4-FFF2-40B4-BE49-F238E27FC236}">
                    <a16:creationId xmlns:a16="http://schemas.microsoft.com/office/drawing/2014/main" id="{E17703F9-3043-3C4B-9FCF-93D1F3BE367E}"/>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a:t>
                </a:r>
                <a:endParaRPr lang="ko-KR" altLang="en-US" sz="1200">
                  <a:solidFill>
                    <a:schemeClr val="tx1">
                      <a:lumMod val="75000"/>
                      <a:lumOff val="25000"/>
                    </a:schemeClr>
                  </a:solidFill>
                  <a:cs typeface="Arial" pitchFamily="34" charset="0"/>
                </a:endParaRPr>
              </a:p>
            </p:txBody>
          </p:sp>
          <p:sp>
            <p:nvSpPr>
              <p:cNvPr id="107" name="TextBox 106">
                <a:extLst>
                  <a:ext uri="{FF2B5EF4-FFF2-40B4-BE49-F238E27FC236}">
                    <a16:creationId xmlns:a16="http://schemas.microsoft.com/office/drawing/2014/main" id="{4EA06065-C009-BC4C-A036-52F80DFEE63A}"/>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08" name="Group 107">
              <a:extLst>
                <a:ext uri="{FF2B5EF4-FFF2-40B4-BE49-F238E27FC236}">
                  <a16:creationId xmlns:a16="http://schemas.microsoft.com/office/drawing/2014/main" id="{6BC16302-F9C8-834B-8884-38DA06402CDE}"/>
                </a:ext>
              </a:extLst>
            </p:cNvPr>
            <p:cNvGrpSpPr/>
            <p:nvPr/>
          </p:nvGrpSpPr>
          <p:grpSpPr>
            <a:xfrm>
              <a:off x="4411109" y="3859437"/>
              <a:ext cx="2023958" cy="863358"/>
              <a:chOff x="803640" y="3362835"/>
              <a:chExt cx="2059657" cy="863358"/>
            </a:xfrm>
          </p:grpSpPr>
          <p:sp>
            <p:nvSpPr>
              <p:cNvPr id="109" name="TextBox 108">
                <a:extLst>
                  <a:ext uri="{FF2B5EF4-FFF2-40B4-BE49-F238E27FC236}">
                    <a16:creationId xmlns:a16="http://schemas.microsoft.com/office/drawing/2014/main" id="{843A2885-B535-4F40-A664-FA9B5718E450}"/>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a:t>
                </a:r>
                <a:endParaRPr lang="ko-KR" altLang="en-US" sz="1200">
                  <a:solidFill>
                    <a:schemeClr val="tx1">
                      <a:lumMod val="75000"/>
                      <a:lumOff val="25000"/>
                    </a:schemeClr>
                  </a:solidFill>
                  <a:cs typeface="Arial" pitchFamily="34" charset="0"/>
                </a:endParaRPr>
              </a:p>
            </p:txBody>
          </p:sp>
          <p:sp>
            <p:nvSpPr>
              <p:cNvPr id="110" name="TextBox 109">
                <a:extLst>
                  <a:ext uri="{FF2B5EF4-FFF2-40B4-BE49-F238E27FC236}">
                    <a16:creationId xmlns:a16="http://schemas.microsoft.com/office/drawing/2014/main" id="{54052A46-83BF-F04A-871D-1563FBB755D7}"/>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84187068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2F0998-3268-1E4F-9173-A99C914D70C3}"/>
              </a:ext>
            </a:extLst>
          </p:cNvPr>
          <p:cNvSpPr>
            <a:spLocks noGrp="1"/>
          </p:cNvSpPr>
          <p:nvPr>
            <p:ph type="sldNum" sz="quarter" idx="4"/>
          </p:nvPr>
        </p:nvSpPr>
        <p:spPr/>
        <p:txBody>
          <a:bodyPr/>
          <a:lstStyle/>
          <a:p>
            <a:fld id="{3D966009-6E5A-4F8C-8CA7-E37AFBF5FB92}" type="slidenum">
              <a:rPr lang="en-US" smtClean="0"/>
              <a:t>116</a:t>
            </a:fld>
            <a:endParaRPr lang="en-US"/>
          </a:p>
        </p:txBody>
      </p:sp>
      <p:sp>
        <p:nvSpPr>
          <p:cNvPr id="3" name="Title 2">
            <a:extLst>
              <a:ext uri="{FF2B5EF4-FFF2-40B4-BE49-F238E27FC236}">
                <a16:creationId xmlns:a16="http://schemas.microsoft.com/office/drawing/2014/main" id="{37DC0D55-5E82-2F43-826D-02EF4A08B4D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17060C3C-BCB6-3944-94FE-843404C8E9AB}"/>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2C79BC89-61E3-084E-9BCF-70D3E68ED2B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903D2E84-BDB2-D445-A750-AE750FF537C9}"/>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EAD6AA30-7F1E-6443-B2B8-8AA4F18EB700}"/>
              </a:ext>
            </a:extLst>
          </p:cNvPr>
          <p:cNvSpPr>
            <a:spLocks noGrp="1"/>
          </p:cNvSpPr>
          <p:nvPr>
            <p:ph sz="quarter" idx="14"/>
          </p:nvPr>
        </p:nvSpPr>
        <p:spPr/>
        <p:txBody>
          <a:bodyPr/>
          <a:lstStyle/>
          <a:p>
            <a:endParaRPr lang="en-GB"/>
          </a:p>
        </p:txBody>
      </p:sp>
      <p:grpSp>
        <p:nvGrpSpPr>
          <p:cNvPr id="45" name="Group 44">
            <a:extLst>
              <a:ext uri="{FF2B5EF4-FFF2-40B4-BE49-F238E27FC236}">
                <a16:creationId xmlns:a16="http://schemas.microsoft.com/office/drawing/2014/main" id="{2830959F-C0B4-CC49-A703-2AC661E1BA14}"/>
              </a:ext>
            </a:extLst>
          </p:cNvPr>
          <p:cNvGrpSpPr>
            <a:grpSpLocks noChangeAspect="1"/>
          </p:cNvGrpSpPr>
          <p:nvPr/>
        </p:nvGrpSpPr>
        <p:grpSpPr>
          <a:xfrm>
            <a:off x="365682" y="1428750"/>
            <a:ext cx="11454843" cy="4493233"/>
            <a:chOff x="3597" y="907356"/>
            <a:chExt cx="9140403" cy="3823021"/>
          </a:xfrm>
        </p:grpSpPr>
        <p:sp>
          <p:nvSpPr>
            <p:cNvPr id="9" name="Parallelogram 8">
              <a:extLst>
                <a:ext uri="{FF2B5EF4-FFF2-40B4-BE49-F238E27FC236}">
                  <a16:creationId xmlns:a16="http://schemas.microsoft.com/office/drawing/2014/main" id="{40AA8757-21F1-7246-A5B3-39EE60FD7AC1}"/>
                </a:ext>
              </a:extLst>
            </p:cNvPr>
            <p:cNvSpPr/>
            <p:nvPr/>
          </p:nvSpPr>
          <p:spPr>
            <a:xfrm flipH="1">
              <a:off x="3308404" y="3965712"/>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0" name="Parallelogram 9">
              <a:extLst>
                <a:ext uri="{FF2B5EF4-FFF2-40B4-BE49-F238E27FC236}">
                  <a16:creationId xmlns:a16="http://schemas.microsoft.com/office/drawing/2014/main" id="{46E72DAF-D864-3A4F-B0F4-B6D2CCAA3A50}"/>
                </a:ext>
              </a:extLst>
            </p:cNvPr>
            <p:cNvSpPr/>
            <p:nvPr/>
          </p:nvSpPr>
          <p:spPr>
            <a:xfrm rot="16200000" flipH="1" flipV="1">
              <a:off x="3052072" y="4222045"/>
              <a:ext cx="764664" cy="252000"/>
            </a:xfrm>
            <a:prstGeom prst="parallelogram">
              <a:avLst>
                <a:gd name="adj" fmla="val 12266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 name="Parallelogram 10">
              <a:extLst>
                <a:ext uri="{FF2B5EF4-FFF2-40B4-BE49-F238E27FC236}">
                  <a16:creationId xmlns:a16="http://schemas.microsoft.com/office/drawing/2014/main" id="{BD9F104A-BDE7-9246-9011-8C8565872A20}"/>
                </a:ext>
              </a:extLst>
            </p:cNvPr>
            <p:cNvSpPr/>
            <p:nvPr/>
          </p:nvSpPr>
          <p:spPr>
            <a:xfrm flipH="1">
              <a:off x="2267744" y="4409211"/>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2" name="Rectangle 11">
              <a:extLst>
                <a:ext uri="{FF2B5EF4-FFF2-40B4-BE49-F238E27FC236}">
                  <a16:creationId xmlns:a16="http://schemas.microsoft.com/office/drawing/2014/main" id="{05D27004-3BE8-0045-9D12-461CAC0AE89C}"/>
                </a:ext>
              </a:extLst>
            </p:cNvPr>
            <p:cNvSpPr/>
            <p:nvPr/>
          </p:nvSpPr>
          <p:spPr>
            <a:xfrm>
              <a:off x="3597" y="4409977"/>
              <a:ext cx="3024336" cy="320400"/>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3" name="Parallelogram 12">
              <a:extLst>
                <a:ext uri="{FF2B5EF4-FFF2-40B4-BE49-F238E27FC236}">
                  <a16:creationId xmlns:a16="http://schemas.microsoft.com/office/drawing/2014/main" id="{86596C25-E81C-614B-9E5B-51FCE671C0D2}"/>
                </a:ext>
              </a:extLst>
            </p:cNvPr>
            <p:cNvSpPr/>
            <p:nvPr/>
          </p:nvSpPr>
          <p:spPr>
            <a:xfrm flipH="1">
              <a:off x="4329743" y="3519994"/>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4" name="Parallelogram 13">
              <a:extLst>
                <a:ext uri="{FF2B5EF4-FFF2-40B4-BE49-F238E27FC236}">
                  <a16:creationId xmlns:a16="http://schemas.microsoft.com/office/drawing/2014/main" id="{46BE61A8-7E99-6F44-A3D9-25308D3DB277}"/>
                </a:ext>
              </a:extLst>
            </p:cNvPr>
            <p:cNvSpPr/>
            <p:nvPr/>
          </p:nvSpPr>
          <p:spPr>
            <a:xfrm rot="16200000" flipH="1" flipV="1">
              <a:off x="4073411" y="3776327"/>
              <a:ext cx="764664" cy="252000"/>
            </a:xfrm>
            <a:prstGeom prst="parallelogram">
              <a:avLst>
                <a:gd name="adj" fmla="val 12266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Parallelogram 14">
              <a:extLst>
                <a:ext uri="{FF2B5EF4-FFF2-40B4-BE49-F238E27FC236}">
                  <a16:creationId xmlns:a16="http://schemas.microsoft.com/office/drawing/2014/main" id="{E806E5C1-B58A-9E4B-AB4D-A4451F4B1541}"/>
                </a:ext>
              </a:extLst>
            </p:cNvPr>
            <p:cNvSpPr/>
            <p:nvPr/>
          </p:nvSpPr>
          <p:spPr>
            <a:xfrm flipH="1">
              <a:off x="5369754" y="3075806"/>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6" name="Parallelogram 15">
              <a:extLst>
                <a:ext uri="{FF2B5EF4-FFF2-40B4-BE49-F238E27FC236}">
                  <a16:creationId xmlns:a16="http://schemas.microsoft.com/office/drawing/2014/main" id="{CF438387-8E57-D546-8EF6-B918C6BF398B}"/>
                </a:ext>
              </a:extLst>
            </p:cNvPr>
            <p:cNvSpPr/>
            <p:nvPr/>
          </p:nvSpPr>
          <p:spPr>
            <a:xfrm rot="16200000" flipH="1" flipV="1">
              <a:off x="5113422" y="3332139"/>
              <a:ext cx="764664" cy="252000"/>
            </a:xfrm>
            <a:prstGeom prst="parallelogram">
              <a:avLst>
                <a:gd name="adj" fmla="val 12266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Parallelogram 16">
              <a:extLst>
                <a:ext uri="{FF2B5EF4-FFF2-40B4-BE49-F238E27FC236}">
                  <a16:creationId xmlns:a16="http://schemas.microsoft.com/office/drawing/2014/main" id="{E971A2E2-D6B6-664A-A51F-DBF7EDD8AE95}"/>
                </a:ext>
              </a:extLst>
            </p:cNvPr>
            <p:cNvSpPr/>
            <p:nvPr/>
          </p:nvSpPr>
          <p:spPr>
            <a:xfrm flipH="1">
              <a:off x="6399132" y="2631675"/>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8" name="Parallelogram 17">
              <a:extLst>
                <a:ext uri="{FF2B5EF4-FFF2-40B4-BE49-F238E27FC236}">
                  <a16:creationId xmlns:a16="http://schemas.microsoft.com/office/drawing/2014/main" id="{C7BCC979-F1A4-3B46-94E4-6829EF1DFB5C}"/>
                </a:ext>
              </a:extLst>
            </p:cNvPr>
            <p:cNvSpPr/>
            <p:nvPr/>
          </p:nvSpPr>
          <p:spPr>
            <a:xfrm rot="16200000" flipH="1" flipV="1">
              <a:off x="6142800" y="2888008"/>
              <a:ext cx="764664" cy="252000"/>
            </a:xfrm>
            <a:prstGeom prst="parallelogram">
              <a:avLst>
                <a:gd name="adj" fmla="val 12266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9" name="Parallelogram 18">
              <a:extLst>
                <a:ext uri="{FF2B5EF4-FFF2-40B4-BE49-F238E27FC236}">
                  <a16:creationId xmlns:a16="http://schemas.microsoft.com/office/drawing/2014/main" id="{AF30AD53-1206-8342-9D6D-8733FB250D2E}"/>
                </a:ext>
              </a:extLst>
            </p:cNvPr>
            <p:cNvSpPr/>
            <p:nvPr/>
          </p:nvSpPr>
          <p:spPr>
            <a:xfrm flipH="1">
              <a:off x="7429684" y="2211710"/>
              <a:ext cx="1296144" cy="321166"/>
            </a:xfrm>
            <a:prstGeom prst="parallelogram">
              <a:avLst>
                <a:gd name="adj" fmla="val 82205"/>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20" name="Parallelogram 19">
              <a:extLst>
                <a:ext uri="{FF2B5EF4-FFF2-40B4-BE49-F238E27FC236}">
                  <a16:creationId xmlns:a16="http://schemas.microsoft.com/office/drawing/2014/main" id="{10607DB9-DC1B-3A4B-A8D7-39FEB929C085}"/>
                </a:ext>
              </a:extLst>
            </p:cNvPr>
            <p:cNvSpPr/>
            <p:nvPr/>
          </p:nvSpPr>
          <p:spPr>
            <a:xfrm rot="16200000" flipH="1" flipV="1">
              <a:off x="7173352" y="2468043"/>
              <a:ext cx="764664" cy="252000"/>
            </a:xfrm>
            <a:prstGeom prst="parallelogram">
              <a:avLst>
                <a:gd name="adj" fmla="val 12266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1" name="Rectangle 20">
              <a:extLst>
                <a:ext uri="{FF2B5EF4-FFF2-40B4-BE49-F238E27FC236}">
                  <a16:creationId xmlns:a16="http://schemas.microsoft.com/office/drawing/2014/main" id="{57118CF7-31FB-5E4D-B38E-45B4C48A7333}"/>
                </a:ext>
              </a:extLst>
            </p:cNvPr>
            <p:cNvSpPr/>
            <p:nvPr/>
          </p:nvSpPr>
          <p:spPr>
            <a:xfrm>
              <a:off x="8316416" y="2212476"/>
              <a:ext cx="827584" cy="320400"/>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27" name="Oval 26">
              <a:extLst>
                <a:ext uri="{FF2B5EF4-FFF2-40B4-BE49-F238E27FC236}">
                  <a16:creationId xmlns:a16="http://schemas.microsoft.com/office/drawing/2014/main" id="{23BD6C47-365D-5646-8C41-F23487C9F4E7}"/>
                </a:ext>
              </a:extLst>
            </p:cNvPr>
            <p:cNvSpPr/>
            <p:nvPr/>
          </p:nvSpPr>
          <p:spPr>
            <a:xfrm>
              <a:off x="3592129" y="2682353"/>
              <a:ext cx="718156" cy="765756"/>
            </a:xfrm>
            <a:prstGeom prst="ellipse">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8" name="Oval 27">
              <a:extLst>
                <a:ext uri="{FF2B5EF4-FFF2-40B4-BE49-F238E27FC236}">
                  <a16:creationId xmlns:a16="http://schemas.microsoft.com/office/drawing/2014/main" id="{BE8EF0B8-EB2E-2D41-808F-B89EF217B864}"/>
                </a:ext>
              </a:extLst>
            </p:cNvPr>
            <p:cNvSpPr/>
            <p:nvPr/>
          </p:nvSpPr>
          <p:spPr>
            <a:xfrm>
              <a:off x="4614467" y="2238603"/>
              <a:ext cx="718156" cy="765756"/>
            </a:xfrm>
            <a:prstGeom prst="ellipse">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9" name="Oval 28">
              <a:extLst>
                <a:ext uri="{FF2B5EF4-FFF2-40B4-BE49-F238E27FC236}">
                  <a16:creationId xmlns:a16="http://schemas.microsoft.com/office/drawing/2014/main" id="{64FBB082-9DB3-B445-886E-122E06D71B09}"/>
                </a:ext>
              </a:extLst>
            </p:cNvPr>
            <p:cNvSpPr/>
            <p:nvPr/>
          </p:nvSpPr>
          <p:spPr>
            <a:xfrm>
              <a:off x="5636805" y="1794854"/>
              <a:ext cx="718156" cy="765756"/>
            </a:xfrm>
            <a:prstGeom prst="ellipse">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0" name="Oval 29">
              <a:extLst>
                <a:ext uri="{FF2B5EF4-FFF2-40B4-BE49-F238E27FC236}">
                  <a16:creationId xmlns:a16="http://schemas.microsoft.com/office/drawing/2014/main" id="{D63B1A61-09E8-D848-824C-A73FDA809BD4}"/>
                </a:ext>
              </a:extLst>
            </p:cNvPr>
            <p:cNvSpPr/>
            <p:nvPr/>
          </p:nvSpPr>
          <p:spPr>
            <a:xfrm>
              <a:off x="6659143" y="1351105"/>
              <a:ext cx="718156" cy="765756"/>
            </a:xfrm>
            <a:prstGeom prst="ellipse">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1" name="Oval 30">
              <a:extLst>
                <a:ext uri="{FF2B5EF4-FFF2-40B4-BE49-F238E27FC236}">
                  <a16:creationId xmlns:a16="http://schemas.microsoft.com/office/drawing/2014/main" id="{78866180-8EF7-524F-9EAF-D012E93243C1}"/>
                </a:ext>
              </a:extLst>
            </p:cNvPr>
            <p:cNvSpPr/>
            <p:nvPr/>
          </p:nvSpPr>
          <p:spPr>
            <a:xfrm>
              <a:off x="7681481" y="907356"/>
              <a:ext cx="718156" cy="765756"/>
            </a:xfrm>
            <a:prstGeom prst="ellipse">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2" name="Rectangle 36">
              <a:extLst>
                <a:ext uri="{FF2B5EF4-FFF2-40B4-BE49-F238E27FC236}">
                  <a16:creationId xmlns:a16="http://schemas.microsoft.com/office/drawing/2014/main" id="{C5752712-C707-D341-8AEC-96F34A23AB61}"/>
                </a:ext>
              </a:extLst>
            </p:cNvPr>
            <p:cNvSpPr/>
            <p:nvPr/>
          </p:nvSpPr>
          <p:spPr>
            <a:xfrm>
              <a:off x="6860929" y="1591487"/>
              <a:ext cx="340795" cy="284878"/>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3" name="Oval 21">
              <a:extLst>
                <a:ext uri="{FF2B5EF4-FFF2-40B4-BE49-F238E27FC236}">
                  <a16:creationId xmlns:a16="http://schemas.microsoft.com/office/drawing/2014/main" id="{785C2971-95E2-C045-90E5-AD5E103A1D62}"/>
                </a:ext>
              </a:extLst>
            </p:cNvPr>
            <p:cNvSpPr>
              <a:spLocks noChangeAspect="1"/>
            </p:cNvSpPr>
            <p:nvPr/>
          </p:nvSpPr>
          <p:spPr>
            <a:xfrm>
              <a:off x="3747091" y="2867289"/>
              <a:ext cx="418700" cy="422199"/>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4" name="Rounded Rectangle 27">
              <a:extLst>
                <a:ext uri="{FF2B5EF4-FFF2-40B4-BE49-F238E27FC236}">
                  <a16:creationId xmlns:a16="http://schemas.microsoft.com/office/drawing/2014/main" id="{56856123-A1B6-254D-85EE-2754DDA6B27B}"/>
                </a:ext>
              </a:extLst>
            </p:cNvPr>
            <p:cNvSpPr/>
            <p:nvPr/>
          </p:nvSpPr>
          <p:spPr>
            <a:xfrm>
              <a:off x="5824092" y="2036343"/>
              <a:ext cx="374982" cy="288037"/>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5" name="Rectangle 9">
              <a:extLst>
                <a:ext uri="{FF2B5EF4-FFF2-40B4-BE49-F238E27FC236}">
                  <a16:creationId xmlns:a16="http://schemas.microsoft.com/office/drawing/2014/main" id="{03068EDA-461C-DB4A-802C-873998B2438A}"/>
                </a:ext>
              </a:extLst>
            </p:cNvPr>
            <p:cNvSpPr/>
            <p:nvPr/>
          </p:nvSpPr>
          <p:spPr>
            <a:xfrm>
              <a:off x="4819468" y="2459561"/>
              <a:ext cx="316694" cy="296453"/>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Rectangle 16">
              <a:extLst>
                <a:ext uri="{FF2B5EF4-FFF2-40B4-BE49-F238E27FC236}">
                  <a16:creationId xmlns:a16="http://schemas.microsoft.com/office/drawing/2014/main" id="{B694CC91-A206-004D-930C-10C92E22CB2B}"/>
                </a:ext>
              </a:extLst>
            </p:cNvPr>
            <p:cNvSpPr/>
            <p:nvPr/>
          </p:nvSpPr>
          <p:spPr>
            <a:xfrm rot="2700000">
              <a:off x="7922628" y="1082580"/>
              <a:ext cx="246331" cy="441624"/>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TextBox 37">
              <a:extLst>
                <a:ext uri="{FF2B5EF4-FFF2-40B4-BE49-F238E27FC236}">
                  <a16:creationId xmlns:a16="http://schemas.microsoft.com/office/drawing/2014/main" id="{265DA9AC-83D2-2041-892E-A5D5FF0C88D2}"/>
                </a:ext>
              </a:extLst>
            </p:cNvPr>
            <p:cNvSpPr txBox="1"/>
            <p:nvPr/>
          </p:nvSpPr>
          <p:spPr>
            <a:xfrm>
              <a:off x="537160" y="1299127"/>
              <a:ext cx="1189749" cy="830997"/>
            </a:xfrm>
            <a:prstGeom prst="rect">
              <a:avLst/>
            </a:prstGeom>
            <a:noFill/>
          </p:spPr>
          <p:txBody>
            <a:bodyPr wrap="none" rtlCol="0" anchor="ctr">
              <a:spAutoFit/>
            </a:bodyPr>
            <a:lstStyle/>
            <a:p>
              <a:r>
                <a:rPr lang="en-US" altLang="ko-KR" sz="4800" b="1">
                  <a:solidFill>
                    <a:schemeClr val="bg1"/>
                  </a:solidFill>
                  <a:cs typeface="Arial" pitchFamily="34" charset="0"/>
                </a:rPr>
                <a:t>45</a:t>
              </a:r>
              <a:r>
                <a:rPr lang="en-US" altLang="ko-KR" sz="2800" b="1">
                  <a:solidFill>
                    <a:schemeClr val="bg1"/>
                  </a:solidFill>
                  <a:cs typeface="Arial" pitchFamily="34" charset="0"/>
                </a:rPr>
                <a:t>%</a:t>
              </a:r>
              <a:endParaRPr lang="ko-KR" altLang="en-US" sz="2800" b="1">
                <a:solidFill>
                  <a:schemeClr val="bg1"/>
                </a:solidFill>
                <a:cs typeface="Arial" pitchFamily="34" charset="0"/>
              </a:endParaRPr>
            </a:p>
          </p:txBody>
        </p:sp>
        <p:sp>
          <p:nvSpPr>
            <p:cNvPr id="39" name="TextBox 38">
              <a:extLst>
                <a:ext uri="{FF2B5EF4-FFF2-40B4-BE49-F238E27FC236}">
                  <a16:creationId xmlns:a16="http://schemas.microsoft.com/office/drawing/2014/main" id="{77A4DCF6-4CA4-7147-8CB3-4CCAF745A6E5}"/>
                </a:ext>
              </a:extLst>
            </p:cNvPr>
            <p:cNvSpPr txBox="1"/>
            <p:nvPr/>
          </p:nvSpPr>
          <p:spPr>
            <a:xfrm>
              <a:off x="1726909" y="1299708"/>
              <a:ext cx="1566020" cy="830997"/>
            </a:xfrm>
            <a:prstGeom prst="rect">
              <a:avLst/>
            </a:prstGeom>
            <a:noFill/>
          </p:spPr>
          <p:txBody>
            <a:bodyPr wrap="square" rtlCol="0" anchor="ctr">
              <a:spAutoFit/>
            </a:bodyPr>
            <a:lstStyle/>
            <a:p>
              <a:r>
                <a:rPr lang="en-US" altLang="ko-KR" sz="1200">
                  <a:solidFill>
                    <a:schemeClr val="bg1"/>
                  </a:solidFill>
                  <a:cs typeface="Arial" pitchFamily="34" charset="0"/>
                </a:rPr>
                <a:t>Get a modern PowerPoint  Presentation that is beautifully designed. </a:t>
              </a:r>
            </a:p>
          </p:txBody>
        </p:sp>
        <p:cxnSp>
          <p:nvCxnSpPr>
            <p:cNvPr id="40" name="Straight Connector 39">
              <a:extLst>
                <a:ext uri="{FF2B5EF4-FFF2-40B4-BE49-F238E27FC236}">
                  <a16:creationId xmlns:a16="http://schemas.microsoft.com/office/drawing/2014/main" id="{83E99225-103C-0B4D-ADCD-7026DA970C02}"/>
                </a:ext>
              </a:extLst>
            </p:cNvPr>
            <p:cNvCxnSpPr>
              <a:cxnSpLocks/>
              <a:stCxn id="27" idx="4"/>
            </p:cNvCxnSpPr>
            <p:nvPr/>
          </p:nvCxnSpPr>
          <p:spPr>
            <a:xfrm>
              <a:off x="3951207" y="3448109"/>
              <a:ext cx="0" cy="720574"/>
            </a:xfrm>
            <a:prstGeom prst="line">
              <a:avLst/>
            </a:prstGeom>
            <a:solidFill>
              <a:srgbClr val="90D214"/>
            </a:solidFill>
            <a:ln w="38100">
              <a:solidFill>
                <a:srgbClr val="8D8EA7"/>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42EE82C-55FF-7C47-9C13-E0B8330ECBFC}"/>
                </a:ext>
              </a:extLst>
            </p:cNvPr>
            <p:cNvCxnSpPr>
              <a:stCxn id="28" idx="4"/>
            </p:cNvCxnSpPr>
            <p:nvPr/>
          </p:nvCxnSpPr>
          <p:spPr>
            <a:xfrm>
              <a:off x="4973545" y="3004358"/>
              <a:ext cx="0" cy="674315"/>
            </a:xfrm>
            <a:prstGeom prst="line">
              <a:avLst/>
            </a:prstGeom>
            <a:solidFill>
              <a:srgbClr val="90D214"/>
            </a:solidFill>
            <a:ln w="38100">
              <a:solidFill>
                <a:srgbClr val="8D8EA7"/>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BEC3B3D-4881-184D-A7A8-5EA0332B7D1B}"/>
                </a:ext>
              </a:extLst>
            </p:cNvPr>
            <p:cNvCxnSpPr>
              <a:stCxn id="29" idx="4"/>
            </p:cNvCxnSpPr>
            <p:nvPr/>
          </p:nvCxnSpPr>
          <p:spPr>
            <a:xfrm>
              <a:off x="5995882" y="2560610"/>
              <a:ext cx="0" cy="674315"/>
            </a:xfrm>
            <a:prstGeom prst="line">
              <a:avLst/>
            </a:prstGeom>
            <a:solidFill>
              <a:srgbClr val="90D214"/>
            </a:solidFill>
            <a:ln w="38100">
              <a:solidFill>
                <a:srgbClr val="8D8EA7"/>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6A1043C-2070-1243-8DDF-05A71FC819CE}"/>
                </a:ext>
              </a:extLst>
            </p:cNvPr>
            <p:cNvCxnSpPr>
              <a:stCxn id="30" idx="4"/>
            </p:cNvCxnSpPr>
            <p:nvPr/>
          </p:nvCxnSpPr>
          <p:spPr>
            <a:xfrm>
              <a:off x="7018220" y="2116860"/>
              <a:ext cx="0" cy="674316"/>
            </a:xfrm>
            <a:prstGeom prst="line">
              <a:avLst/>
            </a:prstGeom>
            <a:solidFill>
              <a:srgbClr val="90D214"/>
            </a:solidFill>
            <a:ln w="38100">
              <a:solidFill>
                <a:srgbClr val="8D8EA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9004BCA-84DF-3140-86BF-10F2FE51A07B}"/>
                </a:ext>
              </a:extLst>
            </p:cNvPr>
            <p:cNvCxnSpPr>
              <a:stCxn id="31" idx="4"/>
            </p:cNvCxnSpPr>
            <p:nvPr/>
          </p:nvCxnSpPr>
          <p:spPr>
            <a:xfrm>
              <a:off x="8040560" y="1673112"/>
              <a:ext cx="0" cy="674317"/>
            </a:xfrm>
            <a:prstGeom prst="line">
              <a:avLst/>
            </a:prstGeom>
            <a:solidFill>
              <a:srgbClr val="90D214"/>
            </a:solidFill>
            <a:ln w="38100">
              <a:solidFill>
                <a:srgbClr val="8D8EA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5342525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6C606883-20EE-7B42-BB51-92C3FF3F97AC}"/>
              </a:ext>
            </a:extLst>
          </p:cNvPr>
          <p:cNvGraphicFramePr>
            <a:graphicFrameLocks noChangeAspect="1"/>
          </p:cNvGraphicFramePr>
          <p:nvPr>
            <p:custDataLst>
              <p:tags r:id="rId1"/>
            </p:custDataLst>
            <p:extLst>
              <p:ext uri="{D42A27DB-BD31-4B8C-83A1-F6EECF244321}">
                <p14:modId xmlns:p14="http://schemas.microsoft.com/office/powerpoint/2010/main" val="715814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1" name="Object 40" hidden="1">
                        <a:extLst>
                          <a:ext uri="{FF2B5EF4-FFF2-40B4-BE49-F238E27FC236}">
                            <a16:creationId xmlns:a16="http://schemas.microsoft.com/office/drawing/2014/main" id="{6C606883-20EE-7B42-BB51-92C3FF3F97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3A9E659-5843-544E-A799-FB3DF95B75BF}"/>
              </a:ext>
            </a:extLst>
          </p:cNvPr>
          <p:cNvSpPr>
            <a:spLocks noGrp="1"/>
          </p:cNvSpPr>
          <p:nvPr>
            <p:ph type="sldNum" sz="quarter" idx="4"/>
          </p:nvPr>
        </p:nvSpPr>
        <p:spPr/>
        <p:txBody>
          <a:bodyPr/>
          <a:lstStyle/>
          <a:p>
            <a:fld id="{3D966009-6E5A-4F8C-8CA7-E37AFBF5FB92}" type="slidenum">
              <a:rPr lang="en-US" smtClean="0"/>
              <a:t>117</a:t>
            </a:fld>
            <a:endParaRPr lang="en-US"/>
          </a:p>
        </p:txBody>
      </p:sp>
      <p:sp>
        <p:nvSpPr>
          <p:cNvPr id="3" name="Title 2">
            <a:extLst>
              <a:ext uri="{FF2B5EF4-FFF2-40B4-BE49-F238E27FC236}">
                <a16:creationId xmlns:a16="http://schemas.microsoft.com/office/drawing/2014/main" id="{03E644E7-B5FB-584F-8E38-C21A4369893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79642CB-AA73-2B43-9356-3F1956263FD0}"/>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B8BD998B-EF92-BF49-847B-5577944B5766}"/>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7F5529DD-0427-0A43-89F0-AE71332FDE36}"/>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7E457C8-718F-2646-B555-9311878DF5B0}"/>
              </a:ext>
            </a:extLst>
          </p:cNvPr>
          <p:cNvSpPr>
            <a:spLocks noGrp="1"/>
          </p:cNvSpPr>
          <p:nvPr>
            <p:ph sz="quarter" idx="14"/>
          </p:nvPr>
        </p:nvSpPr>
        <p:spPr/>
        <p:txBody>
          <a:bodyPr/>
          <a:lstStyle/>
          <a:p>
            <a:endParaRPr lang="en-GB"/>
          </a:p>
        </p:txBody>
      </p:sp>
      <p:grpSp>
        <p:nvGrpSpPr>
          <p:cNvPr id="40" name="Group 39">
            <a:extLst>
              <a:ext uri="{FF2B5EF4-FFF2-40B4-BE49-F238E27FC236}">
                <a16:creationId xmlns:a16="http://schemas.microsoft.com/office/drawing/2014/main" id="{8E61BDE0-7AB5-1345-99A8-588AFFB1E988}"/>
              </a:ext>
            </a:extLst>
          </p:cNvPr>
          <p:cNvGrpSpPr/>
          <p:nvPr/>
        </p:nvGrpSpPr>
        <p:grpSpPr>
          <a:xfrm>
            <a:off x="1809898" y="2202108"/>
            <a:ext cx="8301467" cy="2320704"/>
            <a:chOff x="415438" y="1168566"/>
            <a:chExt cx="8301467" cy="2320704"/>
          </a:xfrm>
        </p:grpSpPr>
        <p:grpSp>
          <p:nvGrpSpPr>
            <p:cNvPr id="9" name="Group 8">
              <a:extLst>
                <a:ext uri="{FF2B5EF4-FFF2-40B4-BE49-F238E27FC236}">
                  <a16:creationId xmlns:a16="http://schemas.microsoft.com/office/drawing/2014/main" id="{80B756B8-307E-8940-9B2F-3EC57752BFE0}"/>
                </a:ext>
              </a:extLst>
            </p:cNvPr>
            <p:cNvGrpSpPr/>
            <p:nvPr/>
          </p:nvGrpSpPr>
          <p:grpSpPr>
            <a:xfrm>
              <a:off x="614543" y="1168566"/>
              <a:ext cx="8102362" cy="1552788"/>
              <a:chOff x="541393" y="1168566"/>
              <a:chExt cx="8102362" cy="1552788"/>
            </a:xfrm>
          </p:grpSpPr>
          <p:sp>
            <p:nvSpPr>
              <p:cNvPr id="10" name="Chevron 9">
                <a:extLst>
                  <a:ext uri="{FF2B5EF4-FFF2-40B4-BE49-F238E27FC236}">
                    <a16:creationId xmlns:a16="http://schemas.microsoft.com/office/drawing/2014/main" id="{B22980D6-4FF6-424C-AE98-175640B0CE5F}"/>
                  </a:ext>
                </a:extLst>
              </p:cNvPr>
              <p:cNvSpPr/>
              <p:nvPr/>
            </p:nvSpPr>
            <p:spPr>
              <a:xfrm>
                <a:off x="541393" y="1558628"/>
                <a:ext cx="1428225" cy="772664"/>
              </a:xfrm>
              <a:prstGeom prst="chevron">
                <a:avLst>
                  <a:gd name="adj" fmla="val 4485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 name="Chevron 10">
                <a:extLst>
                  <a:ext uri="{FF2B5EF4-FFF2-40B4-BE49-F238E27FC236}">
                    <a16:creationId xmlns:a16="http://schemas.microsoft.com/office/drawing/2014/main" id="{BF4DD97A-3B5A-A94B-82A9-2D6357D216EE}"/>
                  </a:ext>
                </a:extLst>
              </p:cNvPr>
              <p:cNvSpPr/>
              <p:nvPr/>
            </p:nvSpPr>
            <p:spPr>
              <a:xfrm>
                <a:off x="1761977" y="1558628"/>
                <a:ext cx="1428225" cy="772664"/>
              </a:xfrm>
              <a:prstGeom prst="chevron">
                <a:avLst>
                  <a:gd name="adj" fmla="val 4485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 name="Chevron 11">
                <a:extLst>
                  <a:ext uri="{FF2B5EF4-FFF2-40B4-BE49-F238E27FC236}">
                    <a16:creationId xmlns:a16="http://schemas.microsoft.com/office/drawing/2014/main" id="{18BFEC30-2302-734F-BC34-684858624F94}"/>
                  </a:ext>
                </a:extLst>
              </p:cNvPr>
              <p:cNvSpPr/>
              <p:nvPr/>
            </p:nvSpPr>
            <p:spPr>
              <a:xfrm>
                <a:off x="2982561" y="1558628"/>
                <a:ext cx="1428225" cy="772664"/>
              </a:xfrm>
              <a:prstGeom prst="chevron">
                <a:avLst>
                  <a:gd name="adj" fmla="val 4485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 name="Chevron 12">
                <a:extLst>
                  <a:ext uri="{FF2B5EF4-FFF2-40B4-BE49-F238E27FC236}">
                    <a16:creationId xmlns:a16="http://schemas.microsoft.com/office/drawing/2014/main" id="{51501F3E-60A4-4647-B989-9B6596C38356}"/>
                  </a:ext>
                </a:extLst>
              </p:cNvPr>
              <p:cNvSpPr/>
              <p:nvPr/>
            </p:nvSpPr>
            <p:spPr>
              <a:xfrm>
                <a:off x="4203145" y="1558628"/>
                <a:ext cx="1428225" cy="772664"/>
              </a:xfrm>
              <a:prstGeom prst="chevron">
                <a:avLst>
                  <a:gd name="adj" fmla="val 4485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Chevron 13">
                <a:extLst>
                  <a:ext uri="{FF2B5EF4-FFF2-40B4-BE49-F238E27FC236}">
                    <a16:creationId xmlns:a16="http://schemas.microsoft.com/office/drawing/2014/main" id="{212547A6-6AFF-FD4D-9B35-AFB9281E16B2}"/>
                  </a:ext>
                </a:extLst>
              </p:cNvPr>
              <p:cNvSpPr/>
              <p:nvPr/>
            </p:nvSpPr>
            <p:spPr>
              <a:xfrm>
                <a:off x="5423729" y="1558628"/>
                <a:ext cx="1428225" cy="772664"/>
              </a:xfrm>
              <a:prstGeom prst="chevron">
                <a:avLst>
                  <a:gd name="adj" fmla="val 4485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 name="Up Arrow 7">
                <a:extLst>
                  <a:ext uri="{FF2B5EF4-FFF2-40B4-BE49-F238E27FC236}">
                    <a16:creationId xmlns:a16="http://schemas.microsoft.com/office/drawing/2014/main" id="{0E9673EE-1E4F-BA4F-A0A8-FD81292073B3}"/>
                  </a:ext>
                </a:extLst>
              </p:cNvPr>
              <p:cNvSpPr/>
              <p:nvPr/>
            </p:nvSpPr>
            <p:spPr>
              <a:xfrm rot="5400000">
                <a:off x="6859530" y="937129"/>
                <a:ext cx="1552788" cy="2015662"/>
              </a:xfrm>
              <a:custGeom>
                <a:avLst/>
                <a:gdLst/>
                <a:ahLst/>
                <a:cxnLst/>
                <a:rect l="l" t="t" r="r" b="b"/>
                <a:pathLst>
                  <a:path w="1552788" h="2015662">
                    <a:moveTo>
                      <a:pt x="0" y="736643"/>
                    </a:moveTo>
                    <a:lnTo>
                      <a:pt x="776394" y="0"/>
                    </a:lnTo>
                    <a:lnTo>
                      <a:pt x="1552788" y="736643"/>
                    </a:lnTo>
                    <a:lnTo>
                      <a:pt x="1164591" y="736643"/>
                    </a:lnTo>
                    <a:lnTo>
                      <a:pt x="1164591" y="2015662"/>
                    </a:lnTo>
                    <a:lnTo>
                      <a:pt x="1162556" y="2015662"/>
                    </a:lnTo>
                    <a:lnTo>
                      <a:pt x="776394" y="1669237"/>
                    </a:lnTo>
                    <a:lnTo>
                      <a:pt x="390233" y="2015662"/>
                    </a:lnTo>
                    <a:lnTo>
                      <a:pt x="388197" y="2015662"/>
                    </a:lnTo>
                    <a:lnTo>
                      <a:pt x="388197" y="73664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16" name="Rounded Rectangle 6">
              <a:extLst>
                <a:ext uri="{FF2B5EF4-FFF2-40B4-BE49-F238E27FC236}">
                  <a16:creationId xmlns:a16="http://schemas.microsoft.com/office/drawing/2014/main" id="{BCA69607-2139-844E-B32E-52C460547043}"/>
                </a:ext>
              </a:extLst>
            </p:cNvPr>
            <p:cNvSpPr/>
            <p:nvPr/>
          </p:nvSpPr>
          <p:spPr>
            <a:xfrm>
              <a:off x="6092771" y="1749804"/>
              <a:ext cx="383905" cy="390311"/>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Rectangle 36">
              <a:extLst>
                <a:ext uri="{FF2B5EF4-FFF2-40B4-BE49-F238E27FC236}">
                  <a16:creationId xmlns:a16="http://schemas.microsoft.com/office/drawing/2014/main" id="{F7875C9B-D78D-BE4E-AFE7-BBFC8A72FCEC}"/>
                </a:ext>
              </a:extLst>
            </p:cNvPr>
            <p:cNvSpPr/>
            <p:nvPr/>
          </p:nvSpPr>
          <p:spPr>
            <a:xfrm>
              <a:off x="2422563" y="1784502"/>
              <a:ext cx="383904" cy="320914"/>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8" name="Rounded Rectangle 27">
              <a:extLst>
                <a:ext uri="{FF2B5EF4-FFF2-40B4-BE49-F238E27FC236}">
                  <a16:creationId xmlns:a16="http://schemas.microsoft.com/office/drawing/2014/main" id="{6293D98F-3DC0-0341-AB1E-7E5D746A8FF9}"/>
                </a:ext>
              </a:extLst>
            </p:cNvPr>
            <p:cNvSpPr/>
            <p:nvPr/>
          </p:nvSpPr>
          <p:spPr>
            <a:xfrm>
              <a:off x="1188766" y="1780034"/>
              <a:ext cx="429418" cy="329851"/>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9" name="Rounded Rectangle 7">
              <a:extLst>
                <a:ext uri="{FF2B5EF4-FFF2-40B4-BE49-F238E27FC236}">
                  <a16:creationId xmlns:a16="http://schemas.microsoft.com/office/drawing/2014/main" id="{A6B927E5-3B7A-FE4F-8C2E-240D98585784}"/>
                </a:ext>
              </a:extLst>
            </p:cNvPr>
            <p:cNvSpPr/>
            <p:nvPr/>
          </p:nvSpPr>
          <p:spPr>
            <a:xfrm>
              <a:off x="7353064" y="1707654"/>
              <a:ext cx="436585" cy="376768"/>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0" name="Donut 39">
              <a:extLst>
                <a:ext uri="{FF2B5EF4-FFF2-40B4-BE49-F238E27FC236}">
                  <a16:creationId xmlns:a16="http://schemas.microsoft.com/office/drawing/2014/main" id="{02140CB9-E322-1A40-8CF8-D3BB5BCDC341}"/>
                </a:ext>
              </a:extLst>
            </p:cNvPr>
            <p:cNvSpPr/>
            <p:nvPr/>
          </p:nvSpPr>
          <p:spPr>
            <a:xfrm>
              <a:off x="4851809" y="1726668"/>
              <a:ext cx="436583" cy="436583"/>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1" name="Rectangle 16">
              <a:extLst>
                <a:ext uri="{FF2B5EF4-FFF2-40B4-BE49-F238E27FC236}">
                  <a16:creationId xmlns:a16="http://schemas.microsoft.com/office/drawing/2014/main" id="{7B60B59D-335F-F54B-8CEE-3510B78C58BF}"/>
                </a:ext>
              </a:extLst>
            </p:cNvPr>
            <p:cNvSpPr/>
            <p:nvPr/>
          </p:nvSpPr>
          <p:spPr>
            <a:xfrm>
              <a:off x="3610846" y="1801495"/>
              <a:ext cx="436584" cy="286929"/>
            </a:xfrm>
            <a:custGeom>
              <a:avLst/>
              <a:gdLst/>
              <a:ahLst/>
              <a:cxnLst/>
              <a:rect l="l" t="t" r="r" b="b"/>
              <a:pathLst>
                <a:path w="3240006" h="2129375">
                  <a:moveTo>
                    <a:pt x="1916836" y="454558"/>
                  </a:moveTo>
                  <a:cubicBezTo>
                    <a:pt x="2018418" y="454558"/>
                    <a:pt x="2100766" y="536906"/>
                    <a:pt x="2100766" y="638488"/>
                  </a:cubicBezTo>
                  <a:cubicBezTo>
                    <a:pt x="2100766" y="740070"/>
                    <a:pt x="2018418" y="822418"/>
                    <a:pt x="1916836" y="822418"/>
                  </a:cubicBezTo>
                  <a:cubicBezTo>
                    <a:pt x="1815254" y="822418"/>
                    <a:pt x="1732906" y="740070"/>
                    <a:pt x="1732906" y="638488"/>
                  </a:cubicBezTo>
                  <a:cubicBezTo>
                    <a:pt x="1732906" y="536906"/>
                    <a:pt x="1815254" y="454558"/>
                    <a:pt x="1916836" y="454558"/>
                  </a:cubicBezTo>
                  <a:close/>
                  <a:moveTo>
                    <a:pt x="1197545" y="272737"/>
                  </a:moveTo>
                  <a:lnTo>
                    <a:pt x="1861974" y="1458536"/>
                  </a:lnTo>
                  <a:lnTo>
                    <a:pt x="2263096" y="848801"/>
                  </a:lnTo>
                  <a:lnTo>
                    <a:pt x="2919562" y="1846679"/>
                  </a:lnTo>
                  <a:lnTo>
                    <a:pt x="2079459" y="1846679"/>
                  </a:lnTo>
                  <a:lnTo>
                    <a:pt x="1606629" y="1846679"/>
                  </a:lnTo>
                  <a:lnTo>
                    <a:pt x="315630" y="1846679"/>
                  </a:lnTo>
                  <a:close/>
                  <a:moveTo>
                    <a:pt x="180003" y="164687"/>
                  </a:moveTo>
                  <a:lnTo>
                    <a:pt x="180003" y="1964687"/>
                  </a:lnTo>
                  <a:lnTo>
                    <a:pt x="3060003" y="1964687"/>
                  </a:lnTo>
                  <a:lnTo>
                    <a:pt x="3060003" y="164687"/>
                  </a:lnTo>
                  <a:close/>
                  <a:moveTo>
                    <a:pt x="0" y="0"/>
                  </a:moveTo>
                  <a:lnTo>
                    <a:pt x="3240006" y="0"/>
                  </a:lnTo>
                  <a:lnTo>
                    <a:pt x="3240006" y="2129375"/>
                  </a:lnTo>
                  <a:lnTo>
                    <a:pt x="0" y="21293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2" name="TextBox 21">
              <a:extLst>
                <a:ext uri="{FF2B5EF4-FFF2-40B4-BE49-F238E27FC236}">
                  <a16:creationId xmlns:a16="http://schemas.microsoft.com/office/drawing/2014/main" id="{EA958ED3-359D-664E-85F8-BFF2C4962C26}"/>
                </a:ext>
              </a:extLst>
            </p:cNvPr>
            <p:cNvSpPr txBox="1"/>
            <p:nvPr/>
          </p:nvSpPr>
          <p:spPr>
            <a:xfrm>
              <a:off x="6928598" y="2860093"/>
              <a:ext cx="1012018" cy="369332"/>
            </a:xfrm>
            <a:prstGeom prst="rect">
              <a:avLst/>
            </a:prstGeom>
            <a:noFill/>
          </p:spPr>
          <p:txBody>
            <a:bodyPr wrap="square" tIns="0" bIns="0" rtlCol="0" anchor="ctr">
              <a:spAutoFit/>
            </a:bodyPr>
            <a:lstStyle/>
            <a:p>
              <a:pPr algn="ctr"/>
              <a:r>
                <a:rPr lang="en-US" altLang="ko-KR" sz="2400" b="1">
                  <a:solidFill>
                    <a:schemeClr val="accent5"/>
                  </a:solidFill>
                  <a:cs typeface="Arial" pitchFamily="34" charset="0"/>
                </a:rPr>
                <a:t>TBD</a:t>
              </a:r>
            </a:p>
          </p:txBody>
        </p:sp>
        <p:sp>
          <p:nvSpPr>
            <p:cNvPr id="23" name="TextBox 22">
              <a:extLst>
                <a:ext uri="{FF2B5EF4-FFF2-40B4-BE49-F238E27FC236}">
                  <a16:creationId xmlns:a16="http://schemas.microsoft.com/office/drawing/2014/main" id="{F2A199F0-FFBF-6441-8EDC-8DC6229B9B1E}"/>
                </a:ext>
              </a:extLst>
            </p:cNvPr>
            <p:cNvSpPr txBox="1"/>
            <p:nvPr/>
          </p:nvSpPr>
          <p:spPr>
            <a:xfrm>
              <a:off x="5611008" y="2921649"/>
              <a:ext cx="1012018" cy="246221"/>
            </a:xfrm>
            <a:prstGeom prst="rect">
              <a:avLst/>
            </a:prstGeom>
            <a:noFill/>
          </p:spPr>
          <p:txBody>
            <a:bodyPr wrap="square" tIns="0" bIns="0" rtlCol="0" anchor="ctr">
              <a:spAutoFit/>
            </a:bodyPr>
            <a:lstStyle/>
            <a:p>
              <a:pPr algn="ctr"/>
              <a:r>
                <a:rPr lang="en-US" altLang="ko-KR" sz="1600" b="1">
                  <a:solidFill>
                    <a:schemeClr val="accent5"/>
                  </a:solidFill>
                  <a:cs typeface="Arial" pitchFamily="34" charset="0"/>
                </a:rPr>
                <a:t>TBD</a:t>
              </a:r>
            </a:p>
          </p:txBody>
        </p:sp>
        <p:sp>
          <p:nvSpPr>
            <p:cNvPr id="24" name="TextBox 23">
              <a:extLst>
                <a:ext uri="{FF2B5EF4-FFF2-40B4-BE49-F238E27FC236}">
                  <a16:creationId xmlns:a16="http://schemas.microsoft.com/office/drawing/2014/main" id="{D6531039-3034-D340-8FF4-D5CCACFF7E8B}"/>
                </a:ext>
              </a:extLst>
            </p:cNvPr>
            <p:cNvSpPr txBox="1"/>
            <p:nvPr/>
          </p:nvSpPr>
          <p:spPr>
            <a:xfrm>
              <a:off x="4370995" y="2921649"/>
              <a:ext cx="1012018" cy="246221"/>
            </a:xfrm>
            <a:prstGeom prst="rect">
              <a:avLst/>
            </a:prstGeom>
            <a:noFill/>
          </p:spPr>
          <p:txBody>
            <a:bodyPr wrap="square" tIns="0" bIns="0" rtlCol="0" anchor="ctr">
              <a:spAutoFit/>
            </a:bodyPr>
            <a:lstStyle/>
            <a:p>
              <a:pPr algn="ctr"/>
              <a:r>
                <a:rPr lang="en-US" altLang="ko-KR" sz="1600" b="1">
                  <a:solidFill>
                    <a:schemeClr val="accent5"/>
                  </a:solidFill>
                  <a:cs typeface="Arial" pitchFamily="34" charset="0"/>
                </a:rPr>
                <a:t>TBD</a:t>
              </a:r>
            </a:p>
          </p:txBody>
        </p:sp>
        <p:sp>
          <p:nvSpPr>
            <p:cNvPr id="25" name="TextBox 24">
              <a:extLst>
                <a:ext uri="{FF2B5EF4-FFF2-40B4-BE49-F238E27FC236}">
                  <a16:creationId xmlns:a16="http://schemas.microsoft.com/office/drawing/2014/main" id="{13889D9A-3805-244C-9841-93A9C0366807}"/>
                </a:ext>
              </a:extLst>
            </p:cNvPr>
            <p:cNvSpPr txBox="1"/>
            <p:nvPr/>
          </p:nvSpPr>
          <p:spPr>
            <a:xfrm>
              <a:off x="3130981" y="2921649"/>
              <a:ext cx="1012018" cy="246221"/>
            </a:xfrm>
            <a:prstGeom prst="rect">
              <a:avLst/>
            </a:prstGeom>
            <a:noFill/>
          </p:spPr>
          <p:txBody>
            <a:bodyPr wrap="square" tIns="0" bIns="0" rtlCol="0" anchor="ctr">
              <a:spAutoFit/>
            </a:bodyPr>
            <a:lstStyle/>
            <a:p>
              <a:pPr algn="ctr"/>
              <a:r>
                <a:rPr lang="en-US" altLang="ko-KR" sz="1600" b="1">
                  <a:solidFill>
                    <a:schemeClr val="accent5"/>
                  </a:solidFill>
                  <a:cs typeface="Arial" pitchFamily="34" charset="0"/>
                </a:rPr>
                <a:t>TBD</a:t>
              </a:r>
            </a:p>
          </p:txBody>
        </p:sp>
        <p:sp>
          <p:nvSpPr>
            <p:cNvPr id="26" name="TextBox 25">
              <a:extLst>
                <a:ext uri="{FF2B5EF4-FFF2-40B4-BE49-F238E27FC236}">
                  <a16:creationId xmlns:a16="http://schemas.microsoft.com/office/drawing/2014/main" id="{6266E1D2-95CB-524B-80D1-5D9DF22AE7DA}"/>
                </a:ext>
              </a:extLst>
            </p:cNvPr>
            <p:cNvSpPr txBox="1"/>
            <p:nvPr/>
          </p:nvSpPr>
          <p:spPr>
            <a:xfrm>
              <a:off x="1890967" y="2921649"/>
              <a:ext cx="1012018" cy="246221"/>
            </a:xfrm>
            <a:prstGeom prst="rect">
              <a:avLst/>
            </a:prstGeom>
            <a:noFill/>
          </p:spPr>
          <p:txBody>
            <a:bodyPr wrap="square" tIns="0" bIns="0" rtlCol="0" anchor="ctr">
              <a:spAutoFit/>
            </a:bodyPr>
            <a:lstStyle/>
            <a:p>
              <a:pPr algn="ctr"/>
              <a:r>
                <a:rPr lang="en-US" altLang="ko-KR" sz="1600" b="1">
                  <a:solidFill>
                    <a:schemeClr val="accent5"/>
                  </a:solidFill>
                  <a:cs typeface="Arial" pitchFamily="34" charset="0"/>
                </a:rPr>
                <a:t>TBD</a:t>
              </a:r>
            </a:p>
          </p:txBody>
        </p:sp>
        <p:sp>
          <p:nvSpPr>
            <p:cNvPr id="27" name="TextBox 26">
              <a:extLst>
                <a:ext uri="{FF2B5EF4-FFF2-40B4-BE49-F238E27FC236}">
                  <a16:creationId xmlns:a16="http://schemas.microsoft.com/office/drawing/2014/main" id="{F9C92E4B-B099-0E41-8656-478019C764B7}"/>
                </a:ext>
              </a:extLst>
            </p:cNvPr>
            <p:cNvSpPr txBox="1"/>
            <p:nvPr/>
          </p:nvSpPr>
          <p:spPr>
            <a:xfrm>
              <a:off x="650953" y="2921649"/>
              <a:ext cx="1012018" cy="246221"/>
            </a:xfrm>
            <a:prstGeom prst="rect">
              <a:avLst/>
            </a:prstGeom>
            <a:noFill/>
          </p:spPr>
          <p:txBody>
            <a:bodyPr wrap="square" tIns="0" bIns="0" rtlCol="0" anchor="ctr">
              <a:spAutoFit/>
            </a:bodyPr>
            <a:lstStyle/>
            <a:p>
              <a:pPr algn="ctr"/>
              <a:r>
                <a:rPr lang="en-US" altLang="ko-KR" sz="1600" b="1">
                  <a:solidFill>
                    <a:schemeClr val="accent5"/>
                  </a:solidFill>
                  <a:cs typeface="Arial" pitchFamily="34" charset="0"/>
                </a:rPr>
                <a:t>TBD</a:t>
              </a:r>
            </a:p>
          </p:txBody>
        </p:sp>
        <p:cxnSp>
          <p:nvCxnSpPr>
            <p:cNvPr id="28" name="Straight Connector 27">
              <a:extLst>
                <a:ext uri="{FF2B5EF4-FFF2-40B4-BE49-F238E27FC236}">
                  <a16:creationId xmlns:a16="http://schemas.microsoft.com/office/drawing/2014/main" id="{FD502917-511F-8F4A-8D51-3A24024A4A54}"/>
                </a:ext>
              </a:extLst>
            </p:cNvPr>
            <p:cNvCxnSpPr/>
            <p:nvPr/>
          </p:nvCxnSpPr>
          <p:spPr>
            <a:xfrm>
              <a:off x="1156962" y="2465424"/>
              <a:ext cx="0" cy="32235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447C90-29A4-6043-A735-D22A175F7692}"/>
                </a:ext>
              </a:extLst>
            </p:cNvPr>
            <p:cNvCxnSpPr/>
            <p:nvPr/>
          </p:nvCxnSpPr>
          <p:spPr>
            <a:xfrm>
              <a:off x="2395388" y="2465424"/>
              <a:ext cx="0" cy="32235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5AF045E-C012-E549-BE9D-0218187EEEE0}"/>
                </a:ext>
              </a:extLst>
            </p:cNvPr>
            <p:cNvCxnSpPr/>
            <p:nvPr/>
          </p:nvCxnSpPr>
          <p:spPr>
            <a:xfrm>
              <a:off x="3633814" y="2465424"/>
              <a:ext cx="0" cy="32235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CF38858-D6A0-B644-931E-A769CA49DD45}"/>
                </a:ext>
              </a:extLst>
            </p:cNvPr>
            <p:cNvCxnSpPr/>
            <p:nvPr/>
          </p:nvCxnSpPr>
          <p:spPr>
            <a:xfrm>
              <a:off x="4872240" y="2465424"/>
              <a:ext cx="0" cy="32235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AB97592-6843-214B-9F33-92EC8046CF83}"/>
                </a:ext>
              </a:extLst>
            </p:cNvPr>
            <p:cNvCxnSpPr/>
            <p:nvPr/>
          </p:nvCxnSpPr>
          <p:spPr>
            <a:xfrm>
              <a:off x="6110666" y="2465424"/>
              <a:ext cx="0" cy="32235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46B7659-074B-7C49-82B5-E7F33AF76172}"/>
                </a:ext>
              </a:extLst>
            </p:cNvPr>
            <p:cNvCxnSpPr/>
            <p:nvPr/>
          </p:nvCxnSpPr>
          <p:spPr>
            <a:xfrm>
              <a:off x="7429609" y="2465424"/>
              <a:ext cx="0" cy="32235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7466891-54B4-7841-859A-C4273F1BABA6}"/>
                </a:ext>
              </a:extLst>
            </p:cNvPr>
            <p:cNvSpPr txBox="1"/>
            <p:nvPr/>
          </p:nvSpPr>
          <p:spPr>
            <a:xfrm>
              <a:off x="415438"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sp>
          <p:nvSpPr>
            <p:cNvPr id="35" name="TextBox 34">
              <a:extLst>
                <a:ext uri="{FF2B5EF4-FFF2-40B4-BE49-F238E27FC236}">
                  <a16:creationId xmlns:a16="http://schemas.microsoft.com/office/drawing/2014/main" id="{CE08B6F0-E3BE-FD43-B644-E23A95427BF3}"/>
                </a:ext>
              </a:extLst>
            </p:cNvPr>
            <p:cNvSpPr txBox="1"/>
            <p:nvPr/>
          </p:nvSpPr>
          <p:spPr>
            <a:xfrm>
              <a:off x="1658122"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sp>
          <p:nvSpPr>
            <p:cNvPr id="36" name="TextBox 35">
              <a:extLst>
                <a:ext uri="{FF2B5EF4-FFF2-40B4-BE49-F238E27FC236}">
                  <a16:creationId xmlns:a16="http://schemas.microsoft.com/office/drawing/2014/main" id="{1B376D6F-F35F-7B46-96B1-F80009407961}"/>
                </a:ext>
              </a:extLst>
            </p:cNvPr>
            <p:cNvSpPr txBox="1"/>
            <p:nvPr/>
          </p:nvSpPr>
          <p:spPr>
            <a:xfrm>
              <a:off x="2900806"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sp>
          <p:nvSpPr>
            <p:cNvPr id="37" name="TextBox 36">
              <a:extLst>
                <a:ext uri="{FF2B5EF4-FFF2-40B4-BE49-F238E27FC236}">
                  <a16:creationId xmlns:a16="http://schemas.microsoft.com/office/drawing/2014/main" id="{BF8E475C-0A6B-A549-B6F8-21706019A57A}"/>
                </a:ext>
              </a:extLst>
            </p:cNvPr>
            <p:cNvSpPr txBox="1"/>
            <p:nvPr/>
          </p:nvSpPr>
          <p:spPr>
            <a:xfrm>
              <a:off x="4143490"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sp>
          <p:nvSpPr>
            <p:cNvPr id="38" name="TextBox 37">
              <a:extLst>
                <a:ext uri="{FF2B5EF4-FFF2-40B4-BE49-F238E27FC236}">
                  <a16:creationId xmlns:a16="http://schemas.microsoft.com/office/drawing/2014/main" id="{88336929-2D49-B84D-AC3F-E2D103F95917}"/>
                </a:ext>
              </a:extLst>
            </p:cNvPr>
            <p:cNvSpPr txBox="1"/>
            <p:nvPr/>
          </p:nvSpPr>
          <p:spPr>
            <a:xfrm>
              <a:off x="5386175"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sp>
          <p:nvSpPr>
            <p:cNvPr id="39" name="TextBox 38">
              <a:extLst>
                <a:ext uri="{FF2B5EF4-FFF2-40B4-BE49-F238E27FC236}">
                  <a16:creationId xmlns:a16="http://schemas.microsoft.com/office/drawing/2014/main" id="{60B4733B-B47E-4546-809C-4F80FCBE483E}"/>
                </a:ext>
              </a:extLst>
            </p:cNvPr>
            <p:cNvSpPr txBox="1"/>
            <p:nvPr/>
          </p:nvSpPr>
          <p:spPr>
            <a:xfrm>
              <a:off x="6690495" y="3212271"/>
              <a:ext cx="1483047" cy="276999"/>
            </a:xfrm>
            <a:prstGeom prst="rect">
              <a:avLst/>
            </a:prstGeom>
            <a:noFill/>
          </p:spPr>
          <p:txBody>
            <a:bodyPr wrap="square" rtlCol="0">
              <a:spAutoFit/>
            </a:bodyPr>
            <a:lstStyle/>
            <a:p>
              <a:pPr algn="ctr"/>
              <a:r>
                <a:rPr lang="en-US" altLang="ko-KR" sz="1200" b="1">
                  <a:solidFill>
                    <a:schemeClr val="accent5"/>
                  </a:solidFill>
                  <a:cs typeface="Arial" pitchFamily="34" charset="0"/>
                </a:rPr>
                <a:t>TBD</a:t>
              </a:r>
            </a:p>
          </p:txBody>
        </p:sp>
      </p:grpSp>
    </p:spTree>
    <p:extLst>
      <p:ext uri="{BB962C8B-B14F-4D97-AF65-F5344CB8AC3E}">
        <p14:creationId xmlns:p14="http://schemas.microsoft.com/office/powerpoint/2010/main" val="36414485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804C24-DA8D-5B42-A09B-228AAB901ADB}"/>
              </a:ext>
            </a:extLst>
          </p:cNvPr>
          <p:cNvGraphicFramePr>
            <a:graphicFrameLocks noChangeAspect="1"/>
          </p:cNvGraphicFramePr>
          <p:nvPr>
            <p:custDataLst>
              <p:tags r:id="rId1"/>
            </p:custDataLst>
            <p:extLst>
              <p:ext uri="{D42A27DB-BD31-4B8C-83A1-F6EECF244321}">
                <p14:modId xmlns:p14="http://schemas.microsoft.com/office/powerpoint/2010/main" val="1400187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16804C24-DA8D-5B42-A09B-228AAB901AD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90CFA28-7D27-E24D-B361-A0E7B8EBE59B}"/>
              </a:ext>
            </a:extLst>
          </p:cNvPr>
          <p:cNvSpPr>
            <a:spLocks noGrp="1"/>
          </p:cNvSpPr>
          <p:nvPr>
            <p:ph type="sldNum" sz="quarter" idx="4"/>
          </p:nvPr>
        </p:nvSpPr>
        <p:spPr/>
        <p:txBody>
          <a:bodyPr/>
          <a:lstStyle/>
          <a:p>
            <a:fld id="{3D966009-6E5A-4F8C-8CA7-E37AFBF5FB92}" type="slidenum">
              <a:rPr lang="en-US" smtClean="0"/>
              <a:t>118</a:t>
            </a:fld>
            <a:endParaRPr lang="en-US"/>
          </a:p>
        </p:txBody>
      </p:sp>
      <p:sp>
        <p:nvSpPr>
          <p:cNvPr id="3" name="Title 2">
            <a:extLst>
              <a:ext uri="{FF2B5EF4-FFF2-40B4-BE49-F238E27FC236}">
                <a16:creationId xmlns:a16="http://schemas.microsoft.com/office/drawing/2014/main" id="{CA7E2264-7119-DB46-8E39-C82876FC6DF2}"/>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7AB1B7B4-48E7-C547-AB1C-D0815EBEB57D}"/>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A445959D-DA07-124D-8FD4-73C81FE8FE48}"/>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B8460A58-D470-9B41-A2F3-20BFED0CD3B5}"/>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5B9A7F8F-F827-C341-A2AB-41F7BFC515E6}"/>
              </a:ext>
            </a:extLst>
          </p:cNvPr>
          <p:cNvSpPr>
            <a:spLocks noGrp="1"/>
          </p:cNvSpPr>
          <p:nvPr>
            <p:ph sz="quarter" idx="14"/>
          </p:nvPr>
        </p:nvSpPr>
        <p:spPr/>
        <p:txBody>
          <a:bodyPr/>
          <a:lstStyle/>
          <a:p>
            <a:endParaRPr lang="de-DE"/>
          </a:p>
        </p:txBody>
      </p:sp>
      <p:grpSp>
        <p:nvGrpSpPr>
          <p:cNvPr id="41" name="Group 40">
            <a:extLst>
              <a:ext uri="{FF2B5EF4-FFF2-40B4-BE49-F238E27FC236}">
                <a16:creationId xmlns:a16="http://schemas.microsoft.com/office/drawing/2014/main" id="{BBAE08FD-FED1-344D-9D6B-754F8E862973}"/>
              </a:ext>
            </a:extLst>
          </p:cNvPr>
          <p:cNvGrpSpPr/>
          <p:nvPr/>
        </p:nvGrpSpPr>
        <p:grpSpPr>
          <a:xfrm>
            <a:off x="400046" y="1619632"/>
            <a:ext cx="11391909" cy="4317994"/>
            <a:chOff x="-57154" y="1607158"/>
            <a:chExt cx="11391909" cy="4317994"/>
          </a:xfrm>
        </p:grpSpPr>
        <p:sp>
          <p:nvSpPr>
            <p:cNvPr id="42" name="Right Arrow 2">
              <a:extLst>
                <a:ext uri="{FF2B5EF4-FFF2-40B4-BE49-F238E27FC236}">
                  <a16:creationId xmlns:a16="http://schemas.microsoft.com/office/drawing/2014/main" id="{B8BEEC0A-5482-4D4E-BB5A-CFDA834CA2C6}"/>
                </a:ext>
              </a:extLst>
            </p:cNvPr>
            <p:cNvSpPr/>
            <p:nvPr/>
          </p:nvSpPr>
          <p:spPr>
            <a:xfrm>
              <a:off x="-57154" y="3066341"/>
              <a:ext cx="3119508" cy="1331230"/>
            </a:xfrm>
            <a:prstGeom prst="rightArrow">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3" name="Right Arrow 3">
              <a:extLst>
                <a:ext uri="{FF2B5EF4-FFF2-40B4-BE49-F238E27FC236}">
                  <a16:creationId xmlns:a16="http://schemas.microsoft.com/office/drawing/2014/main" id="{EF17C436-A094-BA49-A013-42A317340DC9}"/>
                </a:ext>
              </a:extLst>
            </p:cNvPr>
            <p:cNvSpPr/>
            <p:nvPr/>
          </p:nvSpPr>
          <p:spPr>
            <a:xfrm>
              <a:off x="6956930" y="3066341"/>
              <a:ext cx="2017945" cy="1331230"/>
            </a:xfrm>
            <a:prstGeom prst="rightArrow">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4" name="Right Arrow 4">
              <a:extLst>
                <a:ext uri="{FF2B5EF4-FFF2-40B4-BE49-F238E27FC236}">
                  <a16:creationId xmlns:a16="http://schemas.microsoft.com/office/drawing/2014/main" id="{620879D9-FC0C-7745-A64C-6C385A0139CA}"/>
                </a:ext>
              </a:extLst>
            </p:cNvPr>
            <p:cNvSpPr/>
            <p:nvPr/>
          </p:nvSpPr>
          <p:spPr>
            <a:xfrm>
              <a:off x="9316810" y="3066341"/>
              <a:ext cx="2017945" cy="1331230"/>
            </a:xfrm>
            <a:prstGeom prst="rightArrow">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5" name="TextBox 44">
              <a:extLst>
                <a:ext uri="{FF2B5EF4-FFF2-40B4-BE49-F238E27FC236}">
                  <a16:creationId xmlns:a16="http://schemas.microsoft.com/office/drawing/2014/main" id="{0D929C21-5EF5-D14A-A1C0-42EED9696A56}"/>
                </a:ext>
              </a:extLst>
            </p:cNvPr>
            <p:cNvSpPr txBox="1"/>
            <p:nvPr/>
          </p:nvSpPr>
          <p:spPr>
            <a:xfrm>
              <a:off x="681256" y="3501125"/>
              <a:ext cx="1663459" cy="4616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owerPoin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resentation </a:t>
              </a:r>
              <a:endParaRPr kumimoji="0" lang="ko-KR" altLang="en-US" sz="1200" b="0" i="0" u="none" strike="noStrike" kern="0" cap="none" spc="0" normalizeH="0" baseline="0" noProof="0">
                <a:ln>
                  <a:noFill/>
                </a:ln>
                <a:solidFill>
                  <a:prstClr val="white"/>
                </a:solidFill>
                <a:effectLst/>
                <a:uLnTx/>
                <a:uFillTx/>
                <a:ea typeface="Arial Unicode MS"/>
                <a:cs typeface="Arial" pitchFamily="34" charset="0"/>
              </a:endParaRPr>
            </a:p>
          </p:txBody>
        </p:sp>
        <p:sp>
          <p:nvSpPr>
            <p:cNvPr id="46" name="TextBox 45">
              <a:extLst>
                <a:ext uri="{FF2B5EF4-FFF2-40B4-BE49-F238E27FC236}">
                  <a16:creationId xmlns:a16="http://schemas.microsoft.com/office/drawing/2014/main" id="{681D4659-4084-5A46-85A9-9AA6B4FEAA32}"/>
                </a:ext>
              </a:extLst>
            </p:cNvPr>
            <p:cNvSpPr txBox="1"/>
            <p:nvPr/>
          </p:nvSpPr>
          <p:spPr>
            <a:xfrm>
              <a:off x="7031936" y="3501125"/>
              <a:ext cx="1102581" cy="4616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owerPoin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resentation </a:t>
              </a:r>
              <a:endParaRPr kumimoji="0" lang="ko-KR" altLang="en-US" sz="1200" b="0" i="0" u="none" strike="noStrike" kern="0" cap="none" spc="0" normalizeH="0" baseline="0" noProof="0">
                <a:ln>
                  <a:noFill/>
                </a:ln>
                <a:solidFill>
                  <a:prstClr val="white"/>
                </a:solidFill>
                <a:effectLst/>
                <a:uLnTx/>
                <a:uFillTx/>
                <a:ea typeface="Arial Unicode MS"/>
                <a:cs typeface="Arial" pitchFamily="34" charset="0"/>
              </a:endParaRPr>
            </a:p>
          </p:txBody>
        </p:sp>
        <p:sp>
          <p:nvSpPr>
            <p:cNvPr id="47" name="TextBox 46">
              <a:extLst>
                <a:ext uri="{FF2B5EF4-FFF2-40B4-BE49-F238E27FC236}">
                  <a16:creationId xmlns:a16="http://schemas.microsoft.com/office/drawing/2014/main" id="{4028042A-32A2-2740-A03D-07B00E920C96}"/>
                </a:ext>
              </a:extLst>
            </p:cNvPr>
            <p:cNvSpPr txBox="1"/>
            <p:nvPr/>
          </p:nvSpPr>
          <p:spPr>
            <a:xfrm>
              <a:off x="9391664" y="3501125"/>
              <a:ext cx="1123146" cy="4616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owerPoin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white"/>
                  </a:solidFill>
                  <a:effectLst/>
                  <a:uLnTx/>
                  <a:uFillTx/>
                  <a:ea typeface="Arial Unicode MS"/>
                  <a:cs typeface="Arial" pitchFamily="34" charset="0"/>
                </a:rPr>
                <a:t>Presentation </a:t>
              </a:r>
              <a:endParaRPr kumimoji="0" lang="ko-KR" altLang="en-US" sz="1200" b="0" i="0" u="none" strike="noStrike" kern="0" cap="none" spc="0" normalizeH="0" baseline="0" noProof="0">
                <a:ln>
                  <a:noFill/>
                </a:ln>
                <a:solidFill>
                  <a:prstClr val="white"/>
                </a:solidFill>
                <a:effectLst/>
                <a:uLnTx/>
                <a:uFillTx/>
                <a:ea typeface="Arial Unicode MS"/>
                <a:cs typeface="Arial" pitchFamily="34" charset="0"/>
              </a:endParaRPr>
            </a:p>
          </p:txBody>
        </p:sp>
        <p:grpSp>
          <p:nvGrpSpPr>
            <p:cNvPr id="48" name="Group 47">
              <a:extLst>
                <a:ext uri="{FF2B5EF4-FFF2-40B4-BE49-F238E27FC236}">
                  <a16:creationId xmlns:a16="http://schemas.microsoft.com/office/drawing/2014/main" id="{8810364F-F9AA-EB4E-9EE7-4CF176534727}"/>
                </a:ext>
              </a:extLst>
            </p:cNvPr>
            <p:cNvGrpSpPr/>
            <p:nvPr/>
          </p:nvGrpSpPr>
          <p:grpSpPr>
            <a:xfrm>
              <a:off x="3238978" y="1945637"/>
              <a:ext cx="3562716" cy="3572641"/>
              <a:chOff x="2175982" y="2022748"/>
              <a:chExt cx="3462252" cy="3471894"/>
            </a:xfrm>
          </p:grpSpPr>
          <p:sp>
            <p:nvSpPr>
              <p:cNvPr id="61" name="Block Arc 60">
                <a:extLst>
                  <a:ext uri="{FF2B5EF4-FFF2-40B4-BE49-F238E27FC236}">
                    <a16:creationId xmlns:a16="http://schemas.microsoft.com/office/drawing/2014/main" id="{EFB40FC4-EC12-7A48-8232-E5B0CF6072D9}"/>
                  </a:ext>
                </a:extLst>
              </p:cNvPr>
              <p:cNvSpPr/>
              <p:nvPr/>
            </p:nvSpPr>
            <p:spPr>
              <a:xfrm>
                <a:off x="2460500" y="2326681"/>
                <a:ext cx="2906073" cy="2906073"/>
              </a:xfrm>
              <a:prstGeom prst="blockArc">
                <a:avLst>
                  <a:gd name="adj1" fmla="val 12835057"/>
                  <a:gd name="adj2" fmla="val 9708188"/>
                  <a:gd name="adj3" fmla="val 6968"/>
                </a:avLst>
              </a:prstGeom>
              <a:solidFill>
                <a:srgbClr val="AAAAAA">
                  <a:lumMod val="40000"/>
                  <a:lumOff val="6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62" name="Oval 61">
                <a:extLst>
                  <a:ext uri="{FF2B5EF4-FFF2-40B4-BE49-F238E27FC236}">
                    <a16:creationId xmlns:a16="http://schemas.microsoft.com/office/drawing/2014/main" id="{8F41E0D2-7ECA-0C4E-93E1-7F105CA99D10}"/>
                  </a:ext>
                </a:extLst>
              </p:cNvPr>
              <p:cNvSpPr/>
              <p:nvPr/>
            </p:nvSpPr>
            <p:spPr>
              <a:xfrm>
                <a:off x="2175982" y="3352711"/>
                <a:ext cx="854012" cy="854012"/>
              </a:xfrm>
              <a:prstGeom prst="ellipse">
                <a:avLst/>
              </a:prstGeom>
              <a:solidFill>
                <a:srgbClr val="D4D4D4"/>
              </a:solidFill>
              <a:ln w="635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63" name="Oval 62">
                <a:extLst>
                  <a:ext uri="{FF2B5EF4-FFF2-40B4-BE49-F238E27FC236}">
                    <a16:creationId xmlns:a16="http://schemas.microsoft.com/office/drawing/2014/main" id="{383FF827-7FF6-C043-AD7B-7433E681A6AF}"/>
                  </a:ext>
                </a:extLst>
              </p:cNvPr>
              <p:cNvSpPr/>
              <p:nvPr/>
            </p:nvSpPr>
            <p:spPr>
              <a:xfrm>
                <a:off x="3486530" y="4640630"/>
                <a:ext cx="854012" cy="854012"/>
              </a:xfrm>
              <a:prstGeom prst="ellipse">
                <a:avLst/>
              </a:prstGeom>
              <a:solidFill>
                <a:srgbClr val="AAAAAA"/>
              </a:solidFill>
              <a:ln w="635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lumMod val="50000"/>
                      <a:lumOff val="50000"/>
                    </a:prstClr>
                  </a:solidFill>
                  <a:effectLst/>
                  <a:uLnTx/>
                  <a:uFillTx/>
                  <a:latin typeface="Arial"/>
                  <a:ea typeface="Arial Unicode MS"/>
                  <a:cs typeface="+mn-cs"/>
                </a:endParaRPr>
              </a:p>
            </p:txBody>
          </p:sp>
          <p:sp>
            <p:nvSpPr>
              <p:cNvPr id="64" name="Oval 63">
                <a:extLst>
                  <a:ext uri="{FF2B5EF4-FFF2-40B4-BE49-F238E27FC236}">
                    <a16:creationId xmlns:a16="http://schemas.microsoft.com/office/drawing/2014/main" id="{D6742F63-B4F6-7848-9C82-BE9844DB213E}"/>
                  </a:ext>
                </a:extLst>
              </p:cNvPr>
              <p:cNvSpPr/>
              <p:nvPr/>
            </p:nvSpPr>
            <p:spPr>
              <a:xfrm>
                <a:off x="4784222" y="3352711"/>
                <a:ext cx="854012" cy="854012"/>
              </a:xfrm>
              <a:prstGeom prst="ellipse">
                <a:avLst/>
              </a:prstGeom>
              <a:solidFill>
                <a:srgbClr val="D4D4D4"/>
              </a:solidFill>
              <a:ln w="635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65" name="Oval 64">
                <a:extLst>
                  <a:ext uri="{FF2B5EF4-FFF2-40B4-BE49-F238E27FC236}">
                    <a16:creationId xmlns:a16="http://schemas.microsoft.com/office/drawing/2014/main" id="{8E8D9B07-3C9C-2B43-8532-2BE59956C0F3}"/>
                  </a:ext>
                </a:extLst>
              </p:cNvPr>
              <p:cNvSpPr/>
              <p:nvPr/>
            </p:nvSpPr>
            <p:spPr>
              <a:xfrm>
                <a:off x="3486530" y="2022748"/>
                <a:ext cx="854012" cy="854012"/>
              </a:xfrm>
              <a:prstGeom prst="ellipse">
                <a:avLst/>
              </a:prstGeom>
              <a:solidFill>
                <a:srgbClr val="AAAAAA"/>
              </a:solidFill>
              <a:ln w="635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66" name="Oval 65">
                <a:extLst>
                  <a:ext uri="{FF2B5EF4-FFF2-40B4-BE49-F238E27FC236}">
                    <a16:creationId xmlns:a16="http://schemas.microsoft.com/office/drawing/2014/main" id="{BAB0EF17-E9EE-F547-A20F-B0688A39DB4F}"/>
                  </a:ext>
                </a:extLst>
              </p:cNvPr>
              <p:cNvSpPr/>
              <p:nvPr/>
            </p:nvSpPr>
            <p:spPr>
              <a:xfrm>
                <a:off x="3337956" y="3188977"/>
                <a:ext cx="1138304" cy="1138304"/>
              </a:xfrm>
              <a:prstGeom prst="ellipse">
                <a:avLst/>
              </a:prstGeom>
              <a:solidFill>
                <a:srgbClr val="333657"/>
              </a:solidFill>
              <a:ln w="635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67" name="Isosceles Triangle 16">
                <a:extLst>
                  <a:ext uri="{FF2B5EF4-FFF2-40B4-BE49-F238E27FC236}">
                    <a16:creationId xmlns:a16="http://schemas.microsoft.com/office/drawing/2014/main" id="{F75480F2-BF13-8242-B50C-F7E455D49331}"/>
                  </a:ext>
                </a:extLst>
              </p:cNvPr>
              <p:cNvSpPr/>
              <p:nvPr/>
            </p:nvSpPr>
            <p:spPr>
              <a:xfrm rot="12600000">
                <a:off x="2504961" y="2977587"/>
                <a:ext cx="422993" cy="364649"/>
              </a:xfrm>
              <a:prstGeom prst="triangle">
                <a:avLst/>
              </a:prstGeom>
              <a:solidFill>
                <a:srgbClr val="AAAAAA">
                  <a:lumMod val="40000"/>
                  <a:lumOff val="6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68" name="TextBox 67">
                <a:extLst>
                  <a:ext uri="{FF2B5EF4-FFF2-40B4-BE49-F238E27FC236}">
                    <a16:creationId xmlns:a16="http://schemas.microsoft.com/office/drawing/2014/main" id="{DCA6D94E-BE8B-774C-A0C3-28499D695055}"/>
                  </a:ext>
                </a:extLst>
              </p:cNvPr>
              <p:cNvSpPr txBox="1"/>
              <p:nvPr/>
            </p:nvSpPr>
            <p:spPr>
              <a:xfrm>
                <a:off x="3381364" y="3514864"/>
                <a:ext cx="1064342" cy="5084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a:ln>
                      <a:noFill/>
                    </a:ln>
                    <a:solidFill>
                      <a:prstClr val="white"/>
                    </a:solidFill>
                    <a:effectLst/>
                    <a:uLnTx/>
                    <a:uFillTx/>
                    <a:ea typeface="Arial Unicode MS"/>
                    <a:cs typeface="Arial" pitchFamily="34" charset="0"/>
                  </a:rPr>
                  <a:t>Contents</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1" i="0" u="none" strike="noStrike" kern="0" cap="none" spc="0" normalizeH="0" baseline="0" noProof="0">
                    <a:ln>
                      <a:noFill/>
                    </a:ln>
                    <a:solidFill>
                      <a:prstClr val="white"/>
                    </a:solidFill>
                    <a:effectLst/>
                    <a:uLnTx/>
                    <a:uFillTx/>
                    <a:ea typeface="Arial Unicode MS"/>
                    <a:cs typeface="Arial" pitchFamily="34" charset="0"/>
                  </a:rPr>
                  <a:t> Here</a:t>
                </a:r>
                <a:endParaRPr kumimoji="0" lang="ko-KR" altLang="en-US" sz="1400" b="1" i="0" u="none" strike="noStrike" kern="0" cap="none" spc="0" normalizeH="0" baseline="0" noProof="0">
                  <a:ln>
                    <a:noFill/>
                  </a:ln>
                  <a:solidFill>
                    <a:prstClr val="white"/>
                  </a:solidFill>
                  <a:effectLst/>
                  <a:uLnTx/>
                  <a:uFillTx/>
                  <a:ea typeface="Arial Unicode MS"/>
                  <a:cs typeface="Arial" pitchFamily="34" charset="0"/>
                </a:endParaRPr>
              </a:p>
            </p:txBody>
          </p:sp>
          <p:sp>
            <p:nvSpPr>
              <p:cNvPr id="69" name="TextBox 68">
                <a:extLst>
                  <a:ext uri="{FF2B5EF4-FFF2-40B4-BE49-F238E27FC236}">
                    <a16:creationId xmlns:a16="http://schemas.microsoft.com/office/drawing/2014/main" id="{E777255B-A262-0645-BEAD-8CE8FA1DABA6}"/>
                  </a:ext>
                </a:extLst>
              </p:cNvPr>
              <p:cNvSpPr txBox="1"/>
              <p:nvPr/>
            </p:nvSpPr>
            <p:spPr>
              <a:xfrm>
                <a:off x="3569983" y="2164565"/>
                <a:ext cx="707607" cy="5084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Tex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Here</a:t>
                </a:r>
                <a:endParaRPr kumimoji="0" lang="ko-KR" altLang="en-US" sz="1400" b="0" i="0" u="none" strike="noStrike" kern="0" cap="none" spc="0" normalizeH="0" baseline="0" noProof="0">
                  <a:ln>
                    <a:noFill/>
                  </a:ln>
                  <a:solidFill>
                    <a:prstClr val="white"/>
                  </a:solidFill>
                  <a:effectLst/>
                  <a:uLnTx/>
                  <a:uFillTx/>
                  <a:ea typeface="Arial Unicode MS"/>
                  <a:cs typeface="Arial" pitchFamily="34" charset="0"/>
                </a:endParaRPr>
              </a:p>
            </p:txBody>
          </p:sp>
          <p:sp>
            <p:nvSpPr>
              <p:cNvPr id="70" name="TextBox 69">
                <a:extLst>
                  <a:ext uri="{FF2B5EF4-FFF2-40B4-BE49-F238E27FC236}">
                    <a16:creationId xmlns:a16="http://schemas.microsoft.com/office/drawing/2014/main" id="{F8EF81E0-332E-384A-AABC-576F1B0AC041}"/>
                  </a:ext>
                </a:extLst>
              </p:cNvPr>
              <p:cNvSpPr txBox="1"/>
              <p:nvPr/>
            </p:nvSpPr>
            <p:spPr>
              <a:xfrm>
                <a:off x="2249184" y="3514864"/>
                <a:ext cx="707607" cy="5084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Tex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Here</a:t>
                </a:r>
                <a:endParaRPr kumimoji="0" lang="ko-KR" altLang="en-US" sz="1400" b="0" i="0" u="none" strike="noStrike" kern="0" cap="none" spc="0" normalizeH="0" baseline="0" noProof="0">
                  <a:ln>
                    <a:noFill/>
                  </a:ln>
                  <a:solidFill>
                    <a:prstClr val="white"/>
                  </a:solidFill>
                  <a:effectLst/>
                  <a:uLnTx/>
                  <a:uFillTx/>
                  <a:ea typeface="Arial Unicode MS"/>
                  <a:cs typeface="Arial" pitchFamily="34" charset="0"/>
                </a:endParaRPr>
              </a:p>
            </p:txBody>
          </p:sp>
          <p:sp>
            <p:nvSpPr>
              <p:cNvPr id="71" name="TextBox 70">
                <a:extLst>
                  <a:ext uri="{FF2B5EF4-FFF2-40B4-BE49-F238E27FC236}">
                    <a16:creationId xmlns:a16="http://schemas.microsoft.com/office/drawing/2014/main" id="{6FF0BC75-810E-E446-AD5F-BBCE9318DFD9}"/>
                  </a:ext>
                </a:extLst>
              </p:cNvPr>
              <p:cNvSpPr txBox="1"/>
              <p:nvPr/>
            </p:nvSpPr>
            <p:spPr>
              <a:xfrm>
                <a:off x="4857424" y="3514864"/>
                <a:ext cx="707607" cy="5084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Tex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Here</a:t>
                </a:r>
                <a:endParaRPr kumimoji="0" lang="ko-KR" altLang="en-US" sz="1400" b="0" i="0" u="none" strike="noStrike" kern="0" cap="none" spc="0" normalizeH="0" baseline="0" noProof="0">
                  <a:ln>
                    <a:noFill/>
                  </a:ln>
                  <a:solidFill>
                    <a:prstClr val="white"/>
                  </a:solidFill>
                  <a:effectLst/>
                  <a:uLnTx/>
                  <a:uFillTx/>
                  <a:ea typeface="Arial Unicode MS"/>
                  <a:cs typeface="Arial" pitchFamily="34" charset="0"/>
                </a:endParaRPr>
              </a:p>
            </p:txBody>
          </p:sp>
          <p:sp>
            <p:nvSpPr>
              <p:cNvPr id="72" name="TextBox 71">
                <a:extLst>
                  <a:ext uri="{FF2B5EF4-FFF2-40B4-BE49-F238E27FC236}">
                    <a16:creationId xmlns:a16="http://schemas.microsoft.com/office/drawing/2014/main" id="{2D64BA3E-A664-5849-AFF4-55CE58A77748}"/>
                  </a:ext>
                </a:extLst>
              </p:cNvPr>
              <p:cNvSpPr txBox="1"/>
              <p:nvPr/>
            </p:nvSpPr>
            <p:spPr>
              <a:xfrm>
                <a:off x="3569983" y="4806026"/>
                <a:ext cx="707607" cy="5084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Text </a:t>
                </a:r>
              </a:p>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1400" b="0" i="0" u="none" strike="noStrike" kern="0" cap="none" spc="0" normalizeH="0" baseline="0" noProof="0">
                    <a:ln>
                      <a:noFill/>
                    </a:ln>
                    <a:solidFill>
                      <a:prstClr val="white"/>
                    </a:solidFill>
                    <a:effectLst/>
                    <a:uLnTx/>
                    <a:uFillTx/>
                    <a:ea typeface="Arial Unicode MS"/>
                    <a:cs typeface="Arial" pitchFamily="34" charset="0"/>
                  </a:rPr>
                  <a:t>Here</a:t>
                </a:r>
                <a:endParaRPr kumimoji="0" lang="ko-KR" altLang="en-US" sz="1400" b="0" i="0" u="none" strike="noStrike" kern="0" cap="none" spc="0" normalizeH="0" baseline="0" noProof="0">
                  <a:ln>
                    <a:noFill/>
                  </a:ln>
                  <a:solidFill>
                    <a:prstClr val="white"/>
                  </a:solidFill>
                  <a:effectLst/>
                  <a:uLnTx/>
                  <a:uFillTx/>
                  <a:ea typeface="Arial Unicode MS"/>
                  <a:cs typeface="Arial" pitchFamily="34" charset="0"/>
                </a:endParaRPr>
              </a:p>
            </p:txBody>
          </p:sp>
        </p:grpSp>
        <p:grpSp>
          <p:nvGrpSpPr>
            <p:cNvPr id="49" name="Group 48">
              <a:extLst>
                <a:ext uri="{FF2B5EF4-FFF2-40B4-BE49-F238E27FC236}">
                  <a16:creationId xmlns:a16="http://schemas.microsoft.com/office/drawing/2014/main" id="{F7A639ED-01E1-7644-BC20-70A56E0CCB69}"/>
                </a:ext>
              </a:extLst>
            </p:cNvPr>
            <p:cNvGrpSpPr/>
            <p:nvPr/>
          </p:nvGrpSpPr>
          <p:grpSpPr>
            <a:xfrm>
              <a:off x="5654994" y="1607158"/>
              <a:ext cx="2936241" cy="897071"/>
              <a:chOff x="4964215" y="2172755"/>
              <a:chExt cx="1454627" cy="897071"/>
            </a:xfrm>
          </p:grpSpPr>
          <p:sp>
            <p:nvSpPr>
              <p:cNvPr id="59" name="TextBox 58">
                <a:extLst>
                  <a:ext uri="{FF2B5EF4-FFF2-40B4-BE49-F238E27FC236}">
                    <a16:creationId xmlns:a16="http://schemas.microsoft.com/office/drawing/2014/main" id="{A0A2CA39-5434-7D49-A81B-81EC802B61F9}"/>
                  </a:ext>
                </a:extLst>
              </p:cNvPr>
              <p:cNvSpPr txBox="1"/>
              <p:nvPr/>
            </p:nvSpPr>
            <p:spPr>
              <a:xfrm>
                <a:off x="4964215" y="2423495"/>
                <a:ext cx="1454627" cy="646331"/>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 can simply impress your audience and add a unique zing and appeal to your Presentations.   </a:t>
                </a:r>
                <a:endParaRPr kumimoji="0" lang="ko-KR" altLang="en-US"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sp>
            <p:nvSpPr>
              <p:cNvPr id="60" name="TextBox 59">
                <a:extLst>
                  <a:ext uri="{FF2B5EF4-FFF2-40B4-BE49-F238E27FC236}">
                    <a16:creationId xmlns:a16="http://schemas.microsoft.com/office/drawing/2014/main" id="{40D13EEB-28EF-0048-AB4B-EA844E22405A}"/>
                  </a:ext>
                </a:extLst>
              </p:cNvPr>
              <p:cNvSpPr txBox="1"/>
              <p:nvPr/>
            </p:nvSpPr>
            <p:spPr>
              <a:xfrm>
                <a:off x="4964215" y="2172755"/>
                <a:ext cx="1452339" cy="276999"/>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grpSp>
        <p:grpSp>
          <p:nvGrpSpPr>
            <p:cNvPr id="50" name="Group 49">
              <a:extLst>
                <a:ext uri="{FF2B5EF4-FFF2-40B4-BE49-F238E27FC236}">
                  <a16:creationId xmlns:a16="http://schemas.microsoft.com/office/drawing/2014/main" id="{A882E196-8374-044F-A6BE-E11A6FD4C0B8}"/>
                </a:ext>
              </a:extLst>
            </p:cNvPr>
            <p:cNvGrpSpPr/>
            <p:nvPr/>
          </p:nvGrpSpPr>
          <p:grpSpPr>
            <a:xfrm>
              <a:off x="6603301" y="4190903"/>
              <a:ext cx="2936241" cy="897071"/>
              <a:chOff x="4964215" y="2172755"/>
              <a:chExt cx="1454627" cy="897071"/>
            </a:xfrm>
          </p:grpSpPr>
          <p:sp>
            <p:nvSpPr>
              <p:cNvPr id="57" name="TextBox 56">
                <a:extLst>
                  <a:ext uri="{FF2B5EF4-FFF2-40B4-BE49-F238E27FC236}">
                    <a16:creationId xmlns:a16="http://schemas.microsoft.com/office/drawing/2014/main" id="{57636B85-5172-E247-B1E3-CAA2D425016F}"/>
                  </a:ext>
                </a:extLst>
              </p:cNvPr>
              <p:cNvSpPr txBox="1"/>
              <p:nvPr/>
            </p:nvSpPr>
            <p:spPr>
              <a:xfrm>
                <a:off x="4964215" y="2423495"/>
                <a:ext cx="1454627" cy="646331"/>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 can simply impress your audience and add a unique zing and appeal to your Presentations.   </a:t>
                </a:r>
                <a:endParaRPr kumimoji="0" lang="ko-KR" altLang="en-US"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sp>
            <p:nvSpPr>
              <p:cNvPr id="58" name="TextBox 57">
                <a:extLst>
                  <a:ext uri="{FF2B5EF4-FFF2-40B4-BE49-F238E27FC236}">
                    <a16:creationId xmlns:a16="http://schemas.microsoft.com/office/drawing/2014/main" id="{7EBCA907-9BD7-B64F-8B69-860B5051EABC}"/>
                  </a:ext>
                </a:extLst>
              </p:cNvPr>
              <p:cNvSpPr txBox="1"/>
              <p:nvPr/>
            </p:nvSpPr>
            <p:spPr>
              <a:xfrm>
                <a:off x="4964215" y="2172755"/>
                <a:ext cx="1452339" cy="276999"/>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grpSp>
        <p:grpSp>
          <p:nvGrpSpPr>
            <p:cNvPr id="51" name="Group 50">
              <a:extLst>
                <a:ext uri="{FF2B5EF4-FFF2-40B4-BE49-F238E27FC236}">
                  <a16:creationId xmlns:a16="http://schemas.microsoft.com/office/drawing/2014/main" id="{C6731300-0243-5545-9469-4EB9002436F6}"/>
                </a:ext>
              </a:extLst>
            </p:cNvPr>
            <p:cNvGrpSpPr/>
            <p:nvPr/>
          </p:nvGrpSpPr>
          <p:grpSpPr>
            <a:xfrm>
              <a:off x="5654994" y="5028081"/>
              <a:ext cx="2936241" cy="897071"/>
              <a:chOff x="4964215" y="2172755"/>
              <a:chExt cx="1454627" cy="897071"/>
            </a:xfrm>
          </p:grpSpPr>
          <p:sp>
            <p:nvSpPr>
              <p:cNvPr id="55" name="TextBox 54">
                <a:extLst>
                  <a:ext uri="{FF2B5EF4-FFF2-40B4-BE49-F238E27FC236}">
                    <a16:creationId xmlns:a16="http://schemas.microsoft.com/office/drawing/2014/main" id="{1111BAA2-F15B-6241-9647-BAA2E21B0069}"/>
                  </a:ext>
                </a:extLst>
              </p:cNvPr>
              <p:cNvSpPr txBox="1"/>
              <p:nvPr/>
            </p:nvSpPr>
            <p:spPr>
              <a:xfrm>
                <a:off x="4964215" y="2423495"/>
                <a:ext cx="1454627" cy="646331"/>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 can simply impress your audience and add a unique zing and appeal to your Presentations.   </a:t>
                </a:r>
                <a:endParaRPr kumimoji="0" lang="ko-KR" altLang="en-US"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sp>
            <p:nvSpPr>
              <p:cNvPr id="56" name="TextBox 55">
                <a:extLst>
                  <a:ext uri="{FF2B5EF4-FFF2-40B4-BE49-F238E27FC236}">
                    <a16:creationId xmlns:a16="http://schemas.microsoft.com/office/drawing/2014/main" id="{2E59DD2D-D84E-3F41-8537-EB1B20EB7724}"/>
                  </a:ext>
                </a:extLst>
              </p:cNvPr>
              <p:cNvSpPr txBox="1"/>
              <p:nvPr/>
            </p:nvSpPr>
            <p:spPr>
              <a:xfrm>
                <a:off x="4964215" y="2172755"/>
                <a:ext cx="1452339" cy="276999"/>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grpSp>
        <p:grpSp>
          <p:nvGrpSpPr>
            <p:cNvPr id="52" name="Group 51">
              <a:extLst>
                <a:ext uri="{FF2B5EF4-FFF2-40B4-BE49-F238E27FC236}">
                  <a16:creationId xmlns:a16="http://schemas.microsoft.com/office/drawing/2014/main" id="{E9CDCE3F-CB21-5B4D-8534-2ECA3DE7BB4E}"/>
                </a:ext>
              </a:extLst>
            </p:cNvPr>
            <p:cNvGrpSpPr/>
            <p:nvPr/>
          </p:nvGrpSpPr>
          <p:grpSpPr>
            <a:xfrm>
              <a:off x="1838339" y="4373706"/>
              <a:ext cx="1821924" cy="1266403"/>
              <a:chOff x="4964215" y="2172755"/>
              <a:chExt cx="1454627" cy="1266403"/>
            </a:xfrm>
          </p:grpSpPr>
          <p:sp>
            <p:nvSpPr>
              <p:cNvPr id="53" name="TextBox 52">
                <a:extLst>
                  <a:ext uri="{FF2B5EF4-FFF2-40B4-BE49-F238E27FC236}">
                    <a16:creationId xmlns:a16="http://schemas.microsoft.com/office/drawing/2014/main" id="{E62126DE-FD5A-2240-9A50-CD45D4B8DB8A}"/>
                  </a:ext>
                </a:extLst>
              </p:cNvPr>
              <p:cNvSpPr txBox="1"/>
              <p:nvPr/>
            </p:nvSpPr>
            <p:spPr>
              <a:xfrm>
                <a:off x="4964215" y="2423495"/>
                <a:ext cx="1454627" cy="1015663"/>
              </a:xfrm>
              <a:prstGeom prst="rect">
                <a:avLst/>
              </a:prstGeom>
              <a:noFill/>
            </p:spPr>
            <p:txBody>
              <a:bodyPr wrap="square" rtlCol="0">
                <a:spAutoFit/>
              </a:bodyPr>
              <a:lstStyle/>
              <a:p>
                <a:pPr marL="0" marR="0" lvl="0" indent="0" algn="r"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 can simply impress your audience and add a unique zing and appeal to your Presentations.   </a:t>
                </a:r>
                <a:endParaRPr kumimoji="0" lang="ko-KR" altLang="en-US" sz="1200" b="0"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sp>
            <p:nvSpPr>
              <p:cNvPr id="54" name="TextBox 53">
                <a:extLst>
                  <a:ext uri="{FF2B5EF4-FFF2-40B4-BE49-F238E27FC236}">
                    <a16:creationId xmlns:a16="http://schemas.microsoft.com/office/drawing/2014/main" id="{8ACE2DBD-1C7A-8043-A7C5-4E2B16E61971}"/>
                  </a:ext>
                </a:extLst>
              </p:cNvPr>
              <p:cNvSpPr txBox="1"/>
              <p:nvPr/>
            </p:nvSpPr>
            <p:spPr>
              <a:xfrm>
                <a:off x="4964215" y="2172755"/>
                <a:ext cx="1452339" cy="276999"/>
              </a:xfrm>
              <a:prstGeom prst="rect">
                <a:avLst/>
              </a:prstGeom>
              <a:noFill/>
            </p:spPr>
            <p:txBody>
              <a:bodyPr wrap="square" rtlCol="0">
                <a:spAutoFit/>
              </a:bodyPr>
              <a:lstStyle/>
              <a:p>
                <a:pPr marL="0" marR="0" lvl="0" indent="0" algn="r"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black">
                      <a:lumMod val="65000"/>
                      <a:lumOff val="35000"/>
                    </a:prstClr>
                  </a:solidFill>
                  <a:effectLst/>
                  <a:uLnTx/>
                  <a:uFillTx/>
                  <a:ea typeface="Arial Unicode MS"/>
                  <a:cs typeface="Arial" pitchFamily="34" charset="0"/>
                </a:endParaRPr>
              </a:p>
            </p:txBody>
          </p:sp>
        </p:grpSp>
      </p:grpSp>
    </p:spTree>
    <p:extLst>
      <p:ext uri="{BB962C8B-B14F-4D97-AF65-F5344CB8AC3E}">
        <p14:creationId xmlns:p14="http://schemas.microsoft.com/office/powerpoint/2010/main" val="37201075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D113A80F-61CB-2643-8E77-785FC0903753}"/>
              </a:ext>
            </a:extLst>
          </p:cNvPr>
          <p:cNvGraphicFramePr>
            <a:graphicFrameLocks noChangeAspect="1"/>
          </p:cNvGraphicFramePr>
          <p:nvPr>
            <p:custDataLst>
              <p:tags r:id="rId1"/>
            </p:custDataLst>
            <p:extLst>
              <p:ext uri="{D42A27DB-BD31-4B8C-83A1-F6EECF244321}">
                <p14:modId xmlns:p14="http://schemas.microsoft.com/office/powerpoint/2010/main" val="3776146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6" name="Object 35" hidden="1">
                        <a:extLst>
                          <a:ext uri="{FF2B5EF4-FFF2-40B4-BE49-F238E27FC236}">
                            <a16:creationId xmlns:a16="http://schemas.microsoft.com/office/drawing/2014/main" id="{D113A80F-61CB-2643-8E77-785FC09037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5A12D20-A039-7044-92C8-BC7AB97939A1}"/>
              </a:ext>
            </a:extLst>
          </p:cNvPr>
          <p:cNvSpPr>
            <a:spLocks noGrp="1"/>
          </p:cNvSpPr>
          <p:nvPr>
            <p:ph type="sldNum" sz="quarter" idx="4"/>
          </p:nvPr>
        </p:nvSpPr>
        <p:spPr/>
        <p:txBody>
          <a:bodyPr/>
          <a:lstStyle/>
          <a:p>
            <a:fld id="{3D966009-6E5A-4F8C-8CA7-E37AFBF5FB92}" type="slidenum">
              <a:rPr lang="en-US" smtClean="0"/>
              <a:t>119</a:t>
            </a:fld>
            <a:endParaRPr lang="en-US"/>
          </a:p>
        </p:txBody>
      </p:sp>
      <p:sp>
        <p:nvSpPr>
          <p:cNvPr id="3" name="Title 2">
            <a:extLst>
              <a:ext uri="{FF2B5EF4-FFF2-40B4-BE49-F238E27FC236}">
                <a16:creationId xmlns:a16="http://schemas.microsoft.com/office/drawing/2014/main" id="{0BE40B8B-05C6-BA4E-9B5C-9EB47B1A91D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740D9EF-A0C3-E342-9616-729B2D0C8BC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9A9262F1-0A51-8B42-984E-E16EEDE18AE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4CEF9D00-C33D-7844-A48F-6CFB53795F59}"/>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67BDEBB-DDC9-4F49-BA87-5A2B16B44C9E}"/>
              </a:ext>
            </a:extLst>
          </p:cNvPr>
          <p:cNvSpPr>
            <a:spLocks noGrp="1"/>
          </p:cNvSpPr>
          <p:nvPr>
            <p:ph sz="quarter" idx="14"/>
          </p:nvPr>
        </p:nvSpPr>
        <p:spPr/>
        <p:txBody>
          <a:bodyPr/>
          <a:lstStyle/>
          <a:p>
            <a:endParaRPr lang="en-GB"/>
          </a:p>
        </p:txBody>
      </p:sp>
      <p:grpSp>
        <p:nvGrpSpPr>
          <p:cNvPr id="49" name="Group 48">
            <a:extLst>
              <a:ext uri="{FF2B5EF4-FFF2-40B4-BE49-F238E27FC236}">
                <a16:creationId xmlns:a16="http://schemas.microsoft.com/office/drawing/2014/main" id="{CCB6B793-8FDD-7943-AFC1-8242385A5561}"/>
              </a:ext>
            </a:extLst>
          </p:cNvPr>
          <p:cNvGrpSpPr/>
          <p:nvPr/>
        </p:nvGrpSpPr>
        <p:grpSpPr>
          <a:xfrm>
            <a:off x="2135319" y="1656367"/>
            <a:ext cx="8072375" cy="6405645"/>
            <a:chOff x="2135319" y="2031117"/>
            <a:chExt cx="8072375" cy="6405645"/>
          </a:xfrm>
        </p:grpSpPr>
        <p:grpSp>
          <p:nvGrpSpPr>
            <p:cNvPr id="48" name="Group 47">
              <a:extLst>
                <a:ext uri="{FF2B5EF4-FFF2-40B4-BE49-F238E27FC236}">
                  <a16:creationId xmlns:a16="http://schemas.microsoft.com/office/drawing/2014/main" id="{23EEEAFA-823C-E345-9C25-E42B4F88BDC4}"/>
                </a:ext>
              </a:extLst>
            </p:cNvPr>
            <p:cNvGrpSpPr/>
            <p:nvPr/>
          </p:nvGrpSpPr>
          <p:grpSpPr>
            <a:xfrm>
              <a:off x="2135319" y="2031117"/>
              <a:ext cx="8072375" cy="6405645"/>
              <a:chOff x="2135319" y="1776287"/>
              <a:chExt cx="8072375" cy="6405645"/>
            </a:xfrm>
          </p:grpSpPr>
          <p:grpSp>
            <p:nvGrpSpPr>
              <p:cNvPr id="35" name="Group 34">
                <a:extLst>
                  <a:ext uri="{FF2B5EF4-FFF2-40B4-BE49-F238E27FC236}">
                    <a16:creationId xmlns:a16="http://schemas.microsoft.com/office/drawing/2014/main" id="{61A54BFB-C3CE-A548-BED0-EA2ABB513940}"/>
                  </a:ext>
                </a:extLst>
              </p:cNvPr>
              <p:cNvGrpSpPr/>
              <p:nvPr/>
            </p:nvGrpSpPr>
            <p:grpSpPr>
              <a:xfrm>
                <a:off x="2135319" y="2691126"/>
                <a:ext cx="8072375" cy="2493322"/>
                <a:chOff x="2135319" y="2691126"/>
                <a:chExt cx="8072375" cy="2493322"/>
              </a:xfrm>
            </p:grpSpPr>
            <p:sp>
              <p:nvSpPr>
                <p:cNvPr id="23" name="Rectangle 22">
                  <a:extLst>
                    <a:ext uri="{FF2B5EF4-FFF2-40B4-BE49-F238E27FC236}">
                      <a16:creationId xmlns:a16="http://schemas.microsoft.com/office/drawing/2014/main" id="{085ECC8E-D10E-AB4E-8D44-F52B7BD3C484}"/>
                    </a:ext>
                  </a:extLst>
                </p:cNvPr>
                <p:cNvSpPr/>
                <p:nvPr/>
              </p:nvSpPr>
              <p:spPr>
                <a:xfrm>
                  <a:off x="2807227" y="2896740"/>
                  <a:ext cx="2927603" cy="961226"/>
                </a:xfrm>
                <a:prstGeom prst="rect">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ea typeface="Arial Unicode MS"/>
                    <a:cs typeface="+mn-cs"/>
                  </a:endParaRPr>
                </a:p>
              </p:txBody>
            </p:sp>
            <p:sp>
              <p:nvSpPr>
                <p:cNvPr id="24" name="Rectangle 23">
                  <a:extLst>
                    <a:ext uri="{FF2B5EF4-FFF2-40B4-BE49-F238E27FC236}">
                      <a16:creationId xmlns:a16="http://schemas.microsoft.com/office/drawing/2014/main" id="{61A03560-1189-6E42-BB7C-4FD35C0F7683}"/>
                    </a:ext>
                  </a:extLst>
                </p:cNvPr>
                <p:cNvSpPr/>
                <p:nvPr/>
              </p:nvSpPr>
              <p:spPr>
                <a:xfrm>
                  <a:off x="6391362" y="4032874"/>
                  <a:ext cx="3296402" cy="961226"/>
                </a:xfrm>
                <a:prstGeom prst="rect">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ea typeface="Arial Unicode MS"/>
                    <a:cs typeface="+mn-cs"/>
                  </a:endParaRPr>
                </a:p>
              </p:txBody>
            </p:sp>
            <p:sp>
              <p:nvSpPr>
                <p:cNvPr id="26" name="Isosceles Triangle 26">
                  <a:extLst>
                    <a:ext uri="{FF2B5EF4-FFF2-40B4-BE49-F238E27FC236}">
                      <a16:creationId xmlns:a16="http://schemas.microsoft.com/office/drawing/2014/main" id="{F0BE176B-7322-A342-A81C-01E99523F991}"/>
                    </a:ext>
                  </a:extLst>
                </p:cNvPr>
                <p:cNvSpPr/>
                <p:nvPr/>
              </p:nvSpPr>
              <p:spPr>
                <a:xfrm rot="5400000">
                  <a:off x="9185515" y="4162268"/>
                  <a:ext cx="1372450" cy="671909"/>
                </a:xfrm>
                <a:prstGeom prst="triangl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ea typeface="Arial Unicode MS"/>
                    <a:cs typeface="+mn-cs"/>
                  </a:endParaRPr>
                </a:p>
              </p:txBody>
            </p:sp>
            <p:sp>
              <p:nvSpPr>
                <p:cNvPr id="27" name="Isosceles Triangle 27">
                  <a:extLst>
                    <a:ext uri="{FF2B5EF4-FFF2-40B4-BE49-F238E27FC236}">
                      <a16:creationId xmlns:a16="http://schemas.microsoft.com/office/drawing/2014/main" id="{304F49E1-C6D4-3D4C-B9A5-F8D6AEADCFC7}"/>
                    </a:ext>
                  </a:extLst>
                </p:cNvPr>
                <p:cNvSpPr/>
                <p:nvPr/>
              </p:nvSpPr>
              <p:spPr>
                <a:xfrm rot="16200000">
                  <a:off x="1785049" y="3041396"/>
                  <a:ext cx="1372450" cy="671909"/>
                </a:xfrm>
                <a:prstGeom prst="triangl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ea typeface="Arial Unicode MS"/>
                    <a:cs typeface="+mn-cs"/>
                  </a:endParaRPr>
                </a:p>
              </p:txBody>
            </p:sp>
            <p:sp>
              <p:nvSpPr>
                <p:cNvPr id="28" name="TextBox 27">
                  <a:extLst>
                    <a:ext uri="{FF2B5EF4-FFF2-40B4-BE49-F238E27FC236}">
                      <a16:creationId xmlns:a16="http://schemas.microsoft.com/office/drawing/2014/main" id="{4F020157-77FA-7A43-A6D9-C38A5EB4B99A}"/>
                    </a:ext>
                  </a:extLst>
                </p:cNvPr>
                <p:cNvSpPr txBox="1"/>
                <p:nvPr/>
              </p:nvSpPr>
              <p:spPr>
                <a:xfrm>
                  <a:off x="2823167" y="3084965"/>
                  <a:ext cx="744506" cy="584775"/>
                </a:xfrm>
                <a:prstGeom prst="rect">
                  <a:avLst/>
                </a:prstGeom>
                <a:noFill/>
              </p:spPr>
              <p:txBody>
                <a:bodyPr wrap="square" rtlCol="0" anchor="ctr">
                  <a:spAutoFit/>
                </a:bodyPr>
                <a:lstStyle/>
                <a:p>
                  <a:pPr algn="ctr" defTabSz="914286"/>
                  <a:r>
                    <a:rPr lang="en-US" altLang="ko-KR" sz="3200" b="1">
                      <a:solidFill>
                        <a:prstClr val="white"/>
                      </a:solidFill>
                      <a:ea typeface="Arial Unicode MS"/>
                      <a:cs typeface="Arial" pitchFamily="34" charset="0"/>
                    </a:rPr>
                    <a:t>01</a:t>
                  </a:r>
                  <a:endParaRPr lang="ko-KR" altLang="en-US" sz="3200" b="1">
                    <a:solidFill>
                      <a:prstClr val="white"/>
                    </a:solidFill>
                    <a:ea typeface="Arial Unicode MS"/>
                    <a:cs typeface="Arial" pitchFamily="34" charset="0"/>
                  </a:endParaRPr>
                </a:p>
              </p:txBody>
            </p:sp>
            <p:grpSp>
              <p:nvGrpSpPr>
                <p:cNvPr id="29" name="Group 28">
                  <a:extLst>
                    <a:ext uri="{FF2B5EF4-FFF2-40B4-BE49-F238E27FC236}">
                      <a16:creationId xmlns:a16="http://schemas.microsoft.com/office/drawing/2014/main" id="{81C9BDAD-636F-E743-8D2C-64718419ADCE}"/>
                    </a:ext>
                  </a:extLst>
                </p:cNvPr>
                <p:cNvGrpSpPr/>
                <p:nvPr/>
              </p:nvGrpSpPr>
              <p:grpSpPr>
                <a:xfrm>
                  <a:off x="3522364" y="2913365"/>
                  <a:ext cx="1798373" cy="923330"/>
                  <a:chOff x="2551705" y="4283314"/>
                  <a:chExt cx="2357003" cy="923330"/>
                </a:xfrm>
              </p:grpSpPr>
              <p:sp>
                <p:nvSpPr>
                  <p:cNvPr id="30" name="TextBox 29">
                    <a:extLst>
                      <a:ext uri="{FF2B5EF4-FFF2-40B4-BE49-F238E27FC236}">
                        <a16:creationId xmlns:a16="http://schemas.microsoft.com/office/drawing/2014/main" id="{25DA533E-4A7D-E64C-BCC7-30DC2F464C10}"/>
                      </a:ext>
                    </a:extLst>
                  </p:cNvPr>
                  <p:cNvSpPr txBox="1"/>
                  <p:nvPr/>
                </p:nvSpPr>
                <p:spPr>
                  <a:xfrm>
                    <a:off x="2551706" y="4560313"/>
                    <a:ext cx="2357002" cy="646331"/>
                  </a:xfrm>
                  <a:prstGeom prst="rect">
                    <a:avLst/>
                  </a:prstGeom>
                  <a:noFill/>
                </p:spPr>
                <p:txBody>
                  <a:bodyPr wrap="square" rtlCol="0">
                    <a:spAutoFit/>
                  </a:bodyPr>
                  <a:lstStyle/>
                  <a:p>
                    <a:pPr defTabSz="914286"/>
                    <a:r>
                      <a:rPr lang="en-US" altLang="ko-KR" sz="1200">
                        <a:solidFill>
                          <a:prstClr val="white"/>
                        </a:solidFill>
                        <a:ea typeface="Arial Unicode MS"/>
                        <a:cs typeface="Arial" pitchFamily="34" charset="0"/>
                      </a:rPr>
                      <a:t>You can simply impress your audience and add a unique zing. </a:t>
                    </a:r>
                    <a:endParaRPr lang="ko-KR" altLang="en-US" sz="1200">
                      <a:solidFill>
                        <a:prstClr val="white"/>
                      </a:solidFill>
                      <a:ea typeface="Arial Unicode MS"/>
                      <a:cs typeface="Arial" pitchFamily="34" charset="0"/>
                    </a:endParaRPr>
                  </a:p>
                </p:txBody>
              </p:sp>
              <p:sp>
                <p:nvSpPr>
                  <p:cNvPr id="31" name="TextBox 30">
                    <a:extLst>
                      <a:ext uri="{FF2B5EF4-FFF2-40B4-BE49-F238E27FC236}">
                        <a16:creationId xmlns:a16="http://schemas.microsoft.com/office/drawing/2014/main" id="{95870FCF-AF77-7446-A6D4-C2EA17089D51}"/>
                      </a:ext>
                    </a:extLst>
                  </p:cNvPr>
                  <p:cNvSpPr txBox="1"/>
                  <p:nvPr/>
                </p:nvSpPr>
                <p:spPr>
                  <a:xfrm>
                    <a:off x="2551705" y="4283314"/>
                    <a:ext cx="2336966" cy="307777"/>
                  </a:xfrm>
                  <a:prstGeom prst="rect">
                    <a:avLst/>
                  </a:prstGeom>
                  <a:noFill/>
                </p:spPr>
                <p:txBody>
                  <a:bodyPr wrap="square" rtlCol="0">
                    <a:spAutoFit/>
                  </a:bodyPr>
                  <a:lstStyle/>
                  <a:p>
                    <a:pPr defTabSz="914286"/>
                    <a:r>
                      <a:rPr lang="en-US" altLang="ko-KR" sz="1400">
                        <a:solidFill>
                          <a:prstClr val="white"/>
                        </a:solidFill>
                        <a:ea typeface="Arial Unicode MS"/>
                        <a:cs typeface="Arial" pitchFamily="34" charset="0"/>
                      </a:rPr>
                      <a:t>Your Text Here</a:t>
                    </a:r>
                    <a:endParaRPr lang="ko-KR" altLang="en-US" sz="1400">
                      <a:solidFill>
                        <a:prstClr val="white"/>
                      </a:solidFill>
                      <a:ea typeface="Arial Unicode MS"/>
                      <a:cs typeface="Arial" pitchFamily="34" charset="0"/>
                    </a:endParaRPr>
                  </a:p>
                </p:txBody>
              </p:sp>
            </p:grpSp>
            <p:grpSp>
              <p:nvGrpSpPr>
                <p:cNvPr id="32" name="Group 31">
                  <a:extLst>
                    <a:ext uri="{FF2B5EF4-FFF2-40B4-BE49-F238E27FC236}">
                      <a16:creationId xmlns:a16="http://schemas.microsoft.com/office/drawing/2014/main" id="{D5C2E007-D48C-B54D-9972-27CD9112F5BD}"/>
                    </a:ext>
                  </a:extLst>
                </p:cNvPr>
                <p:cNvGrpSpPr/>
                <p:nvPr/>
              </p:nvGrpSpPr>
              <p:grpSpPr>
                <a:xfrm>
                  <a:off x="6951462" y="4051817"/>
                  <a:ext cx="1798373" cy="923330"/>
                  <a:chOff x="2551705" y="4283314"/>
                  <a:chExt cx="2357003" cy="923330"/>
                </a:xfrm>
              </p:grpSpPr>
              <p:sp>
                <p:nvSpPr>
                  <p:cNvPr id="33" name="TextBox 32">
                    <a:extLst>
                      <a:ext uri="{FF2B5EF4-FFF2-40B4-BE49-F238E27FC236}">
                        <a16:creationId xmlns:a16="http://schemas.microsoft.com/office/drawing/2014/main" id="{744ECCDF-41FA-AE4B-895E-169199AC3D89}"/>
                      </a:ext>
                    </a:extLst>
                  </p:cNvPr>
                  <p:cNvSpPr txBox="1"/>
                  <p:nvPr/>
                </p:nvSpPr>
                <p:spPr>
                  <a:xfrm>
                    <a:off x="2551706" y="4560313"/>
                    <a:ext cx="2357002" cy="646331"/>
                  </a:xfrm>
                  <a:prstGeom prst="rect">
                    <a:avLst/>
                  </a:prstGeom>
                  <a:noFill/>
                </p:spPr>
                <p:txBody>
                  <a:bodyPr wrap="square" rtlCol="0">
                    <a:spAutoFit/>
                  </a:bodyPr>
                  <a:lstStyle/>
                  <a:p>
                    <a:pPr algn="r" defTabSz="914286"/>
                    <a:r>
                      <a:rPr lang="en-US" altLang="ko-KR" sz="1200">
                        <a:solidFill>
                          <a:prstClr val="white"/>
                        </a:solidFill>
                        <a:ea typeface="Arial Unicode MS"/>
                        <a:cs typeface="Arial" pitchFamily="34" charset="0"/>
                      </a:rPr>
                      <a:t>You can simply impress your audience and add a unique zing. </a:t>
                    </a:r>
                    <a:endParaRPr lang="ko-KR" altLang="en-US" sz="1200">
                      <a:solidFill>
                        <a:prstClr val="white"/>
                      </a:solidFill>
                      <a:ea typeface="Arial Unicode MS"/>
                      <a:cs typeface="Arial" pitchFamily="34" charset="0"/>
                    </a:endParaRPr>
                  </a:p>
                </p:txBody>
              </p:sp>
              <p:sp>
                <p:nvSpPr>
                  <p:cNvPr id="34" name="TextBox 33">
                    <a:extLst>
                      <a:ext uri="{FF2B5EF4-FFF2-40B4-BE49-F238E27FC236}">
                        <a16:creationId xmlns:a16="http://schemas.microsoft.com/office/drawing/2014/main" id="{B4FF9BFA-BF48-6240-9F0A-F06BA74C206C}"/>
                      </a:ext>
                    </a:extLst>
                  </p:cNvPr>
                  <p:cNvSpPr txBox="1"/>
                  <p:nvPr/>
                </p:nvSpPr>
                <p:spPr>
                  <a:xfrm>
                    <a:off x="2551705" y="4283314"/>
                    <a:ext cx="2336966" cy="307777"/>
                  </a:xfrm>
                  <a:prstGeom prst="rect">
                    <a:avLst/>
                  </a:prstGeom>
                  <a:noFill/>
                </p:spPr>
                <p:txBody>
                  <a:bodyPr wrap="square" rtlCol="0">
                    <a:spAutoFit/>
                  </a:bodyPr>
                  <a:lstStyle/>
                  <a:p>
                    <a:pPr algn="r" defTabSz="914286"/>
                    <a:r>
                      <a:rPr lang="en-US" altLang="ko-KR" sz="1400">
                        <a:solidFill>
                          <a:prstClr val="white"/>
                        </a:solidFill>
                        <a:ea typeface="Arial Unicode MS"/>
                        <a:cs typeface="Arial" pitchFamily="34" charset="0"/>
                      </a:rPr>
                      <a:t>Your Text Here</a:t>
                    </a:r>
                    <a:endParaRPr lang="ko-KR" altLang="en-US" sz="1400">
                      <a:solidFill>
                        <a:prstClr val="white"/>
                      </a:solidFill>
                      <a:ea typeface="Arial Unicode MS"/>
                      <a:cs typeface="Arial" pitchFamily="34" charset="0"/>
                    </a:endParaRPr>
                  </a:p>
                </p:txBody>
              </p:sp>
            </p:grpSp>
          </p:grpSp>
          <p:grpSp>
            <p:nvGrpSpPr>
              <p:cNvPr id="37" name="Group 13">
                <a:extLst>
                  <a:ext uri="{FF2B5EF4-FFF2-40B4-BE49-F238E27FC236}">
                    <a16:creationId xmlns:a16="http://schemas.microsoft.com/office/drawing/2014/main" id="{F266DFAD-2E26-FF49-853A-755AF7455174}"/>
                  </a:ext>
                </a:extLst>
              </p:cNvPr>
              <p:cNvGrpSpPr>
                <a:grpSpLocks noChangeAspect="1"/>
              </p:cNvGrpSpPr>
              <p:nvPr/>
            </p:nvGrpSpPr>
            <p:grpSpPr>
              <a:xfrm>
                <a:off x="4195076" y="1776287"/>
                <a:ext cx="3007691" cy="6405645"/>
                <a:chOff x="6770674" y="1828528"/>
                <a:chExt cx="552841" cy="1177415"/>
              </a:xfrm>
            </p:grpSpPr>
            <p:grpSp>
              <p:nvGrpSpPr>
                <p:cNvPr id="38" name="Group 14">
                  <a:extLst>
                    <a:ext uri="{FF2B5EF4-FFF2-40B4-BE49-F238E27FC236}">
                      <a16:creationId xmlns:a16="http://schemas.microsoft.com/office/drawing/2014/main" id="{CDA28AA0-2A9E-2D4E-AE67-7C9E3CEF50AA}"/>
                    </a:ext>
                  </a:extLst>
                </p:cNvPr>
                <p:cNvGrpSpPr/>
                <p:nvPr/>
              </p:nvGrpSpPr>
              <p:grpSpPr>
                <a:xfrm>
                  <a:off x="6933380" y="1828528"/>
                  <a:ext cx="385719" cy="718117"/>
                  <a:chOff x="6771077" y="1649620"/>
                  <a:chExt cx="726841" cy="1353205"/>
                </a:xfrm>
              </p:grpSpPr>
              <p:sp>
                <p:nvSpPr>
                  <p:cNvPr id="40" name="Freeform 16">
                    <a:extLst>
                      <a:ext uri="{FF2B5EF4-FFF2-40B4-BE49-F238E27FC236}">
                        <a16:creationId xmlns:a16="http://schemas.microsoft.com/office/drawing/2014/main" id="{4F7673B7-B210-8B49-9E48-4C9341E07352}"/>
                      </a:ext>
                    </a:extLst>
                  </p:cNvPr>
                  <p:cNvSpPr>
                    <a:spLocks noChangeAspect="1"/>
                  </p:cNvSpPr>
                  <p:nvPr/>
                </p:nvSpPr>
                <p:spPr>
                  <a:xfrm>
                    <a:off x="6771077" y="1881426"/>
                    <a:ext cx="726841" cy="1121399"/>
                  </a:xfrm>
                  <a:custGeom>
                    <a:avLst/>
                    <a:gdLst/>
                    <a:ahLst/>
                    <a:cxnLst/>
                    <a:rect l="l" t="t" r="r" b="b"/>
                    <a:pathLst>
                      <a:path w="726841" h="1121399">
                        <a:moveTo>
                          <a:pt x="236325" y="1049494"/>
                        </a:moveTo>
                        <a:lnTo>
                          <a:pt x="495287" y="1049494"/>
                        </a:lnTo>
                        <a:cubicBezTo>
                          <a:pt x="491080" y="1064561"/>
                          <a:pt x="487966" y="1079199"/>
                          <a:pt x="485273" y="1093187"/>
                        </a:cubicBezTo>
                        <a:lnTo>
                          <a:pt x="245258" y="1092728"/>
                        </a:lnTo>
                        <a:close/>
                        <a:moveTo>
                          <a:pt x="363421" y="203844"/>
                        </a:moveTo>
                        <a:cubicBezTo>
                          <a:pt x="401307" y="203844"/>
                          <a:pt x="432020" y="234557"/>
                          <a:pt x="432020" y="272443"/>
                        </a:cubicBezTo>
                        <a:cubicBezTo>
                          <a:pt x="432020" y="310329"/>
                          <a:pt x="401307" y="341042"/>
                          <a:pt x="363421" y="341042"/>
                        </a:cubicBezTo>
                        <a:cubicBezTo>
                          <a:pt x="325534" y="341042"/>
                          <a:pt x="294821" y="310329"/>
                          <a:pt x="294821" y="272443"/>
                        </a:cubicBezTo>
                        <a:cubicBezTo>
                          <a:pt x="294821" y="234557"/>
                          <a:pt x="325534" y="203844"/>
                          <a:pt x="363421" y="203844"/>
                        </a:cubicBezTo>
                        <a:close/>
                        <a:moveTo>
                          <a:pt x="363421" y="135244"/>
                        </a:moveTo>
                        <a:cubicBezTo>
                          <a:pt x="287648" y="135244"/>
                          <a:pt x="226222" y="196671"/>
                          <a:pt x="226222" y="272443"/>
                        </a:cubicBezTo>
                        <a:cubicBezTo>
                          <a:pt x="226222" y="348216"/>
                          <a:pt x="287648" y="409642"/>
                          <a:pt x="363421" y="409642"/>
                        </a:cubicBezTo>
                        <a:cubicBezTo>
                          <a:pt x="439193" y="409642"/>
                          <a:pt x="500619" y="348216"/>
                          <a:pt x="500619" y="272443"/>
                        </a:cubicBezTo>
                        <a:cubicBezTo>
                          <a:pt x="500619" y="196671"/>
                          <a:pt x="439193" y="135244"/>
                          <a:pt x="363421" y="135244"/>
                        </a:cubicBezTo>
                        <a:close/>
                        <a:moveTo>
                          <a:pt x="196200" y="0"/>
                        </a:moveTo>
                        <a:cubicBezTo>
                          <a:pt x="300307" y="58658"/>
                          <a:pt x="427219" y="59450"/>
                          <a:pt x="531959" y="2129"/>
                        </a:cubicBezTo>
                        <a:cubicBezTo>
                          <a:pt x="645195" y="251105"/>
                          <a:pt x="615578" y="521951"/>
                          <a:pt x="565642" y="749813"/>
                        </a:cubicBezTo>
                        <a:lnTo>
                          <a:pt x="726841" y="904479"/>
                        </a:lnTo>
                        <a:lnTo>
                          <a:pt x="700460" y="1113326"/>
                        </a:lnTo>
                        <a:lnTo>
                          <a:pt x="510728" y="982128"/>
                        </a:lnTo>
                        <a:lnTo>
                          <a:pt x="503274" y="1014651"/>
                        </a:lnTo>
                        <a:lnTo>
                          <a:pt x="228241" y="1014651"/>
                        </a:lnTo>
                        <a:cubicBezTo>
                          <a:pt x="226194" y="1005458"/>
                          <a:pt x="223902" y="996068"/>
                          <a:pt x="221524" y="986461"/>
                        </a:cubicBezTo>
                        <a:lnTo>
                          <a:pt x="26381" y="1121399"/>
                        </a:lnTo>
                        <a:lnTo>
                          <a:pt x="0" y="912552"/>
                        </a:lnTo>
                        <a:lnTo>
                          <a:pt x="162681" y="756465"/>
                        </a:lnTo>
                        <a:lnTo>
                          <a:pt x="163137" y="757906"/>
                        </a:lnTo>
                        <a:lnTo>
                          <a:pt x="165881" y="748957"/>
                        </a:lnTo>
                        <a:cubicBezTo>
                          <a:pt x="117348" y="521774"/>
                          <a:pt x="87568" y="246912"/>
                          <a:pt x="196200" y="0"/>
                        </a:cubicBezTo>
                        <a:close/>
                      </a:path>
                    </a:pathLst>
                  </a:cu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Freeform 17">
                    <a:extLst>
                      <a:ext uri="{FF2B5EF4-FFF2-40B4-BE49-F238E27FC236}">
                        <a16:creationId xmlns:a16="http://schemas.microsoft.com/office/drawing/2014/main" id="{BA555E11-7A84-5A46-87F5-152E9E626FFA}"/>
                      </a:ext>
                    </a:extLst>
                  </p:cNvPr>
                  <p:cNvSpPr/>
                  <p:nvPr/>
                </p:nvSpPr>
                <p:spPr>
                  <a:xfrm>
                    <a:off x="6985356" y="1649620"/>
                    <a:ext cx="298274" cy="244742"/>
                  </a:xfrm>
                  <a:custGeom>
                    <a:avLst/>
                    <a:gdLst/>
                    <a:ahLst/>
                    <a:cxnLst/>
                    <a:rect l="l" t="t" r="r" b="b"/>
                    <a:pathLst>
                      <a:path w="298274" h="244742">
                        <a:moveTo>
                          <a:pt x="147328" y="0"/>
                        </a:moveTo>
                        <a:cubicBezTo>
                          <a:pt x="212319" y="65590"/>
                          <a:pt x="261867" y="134854"/>
                          <a:pt x="298274" y="206570"/>
                        </a:cubicBezTo>
                        <a:cubicBezTo>
                          <a:pt x="205418" y="258299"/>
                          <a:pt x="92251" y="257374"/>
                          <a:pt x="0" y="204273"/>
                        </a:cubicBezTo>
                        <a:cubicBezTo>
                          <a:pt x="35363" y="132633"/>
                          <a:pt x="83678" y="64016"/>
                          <a:pt x="1473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39" name="Freeform 15">
                  <a:extLst>
                    <a:ext uri="{FF2B5EF4-FFF2-40B4-BE49-F238E27FC236}">
                      <a16:creationId xmlns:a16="http://schemas.microsoft.com/office/drawing/2014/main" id="{733D00AB-31AE-8041-BB71-FEB8A9D8DCA8}"/>
                    </a:ext>
                  </a:extLst>
                </p:cNvPr>
                <p:cNvSpPr/>
                <p:nvPr/>
              </p:nvSpPr>
              <p:spPr>
                <a:xfrm>
                  <a:off x="6770674" y="2569512"/>
                  <a:ext cx="552841" cy="436431"/>
                </a:xfrm>
                <a:custGeom>
                  <a:avLst/>
                  <a:gdLst/>
                  <a:ahLst/>
                  <a:cxnLst/>
                  <a:rect l="l" t="t" r="r" b="b"/>
                  <a:pathLst>
                    <a:path w="935319" h="738371">
                      <a:moveTo>
                        <a:pt x="570246" y="5904"/>
                      </a:moveTo>
                      <a:cubicBezTo>
                        <a:pt x="462283" y="64891"/>
                        <a:pt x="426421" y="317189"/>
                        <a:pt x="649701" y="474399"/>
                      </a:cubicBezTo>
                      <a:cubicBezTo>
                        <a:pt x="593836" y="327977"/>
                        <a:pt x="630970" y="255746"/>
                        <a:pt x="667057" y="182470"/>
                      </a:cubicBezTo>
                      <a:cubicBezTo>
                        <a:pt x="667659" y="219721"/>
                        <a:pt x="629598" y="299814"/>
                        <a:pt x="723199" y="346469"/>
                      </a:cubicBezTo>
                      <a:cubicBezTo>
                        <a:pt x="679394" y="206128"/>
                        <a:pt x="864427" y="161920"/>
                        <a:pt x="670152" y="6949"/>
                      </a:cubicBezTo>
                      <a:cubicBezTo>
                        <a:pt x="951156" y="47548"/>
                        <a:pt x="868526" y="190548"/>
                        <a:pt x="935319" y="334595"/>
                      </a:cubicBezTo>
                      <a:cubicBezTo>
                        <a:pt x="886447" y="343095"/>
                        <a:pt x="815632" y="212619"/>
                        <a:pt x="831546" y="274410"/>
                      </a:cubicBezTo>
                      <a:cubicBezTo>
                        <a:pt x="915063" y="518579"/>
                        <a:pt x="665249" y="525551"/>
                        <a:pt x="744586" y="738371"/>
                      </a:cubicBezTo>
                      <a:cubicBezTo>
                        <a:pt x="498005" y="724435"/>
                        <a:pt x="570128" y="495242"/>
                        <a:pt x="454164" y="439509"/>
                      </a:cubicBezTo>
                      <a:cubicBezTo>
                        <a:pt x="422689" y="433882"/>
                        <a:pt x="384944" y="459601"/>
                        <a:pt x="454829" y="574141"/>
                      </a:cubicBezTo>
                      <a:cubicBezTo>
                        <a:pt x="47812" y="270832"/>
                        <a:pt x="333584" y="22904"/>
                        <a:pt x="570246" y="5904"/>
                      </a:cubicBezTo>
                      <a:close/>
                      <a:moveTo>
                        <a:pt x="0" y="0"/>
                      </a:moveTo>
                      <a:lnTo>
                        <a:pt x="9284" y="0"/>
                      </a:lnTo>
                      <a:lnTo>
                        <a:pt x="746" y="590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47" name="Parallelogram 31">
              <a:extLst>
                <a:ext uri="{FF2B5EF4-FFF2-40B4-BE49-F238E27FC236}">
                  <a16:creationId xmlns:a16="http://schemas.microsoft.com/office/drawing/2014/main" id="{DB3CE37B-6396-3C4D-BFF9-793CAC1542F8}"/>
                </a:ext>
              </a:extLst>
            </p:cNvPr>
            <p:cNvSpPr/>
            <p:nvPr/>
          </p:nvSpPr>
          <p:spPr>
            <a:xfrm rot="16200000" flipH="1">
              <a:off x="5089175" y="3143918"/>
              <a:ext cx="2074198" cy="1611075"/>
            </a:xfrm>
            <a:custGeom>
              <a:avLst/>
              <a:gdLst>
                <a:gd name="connsiteX0" fmla="*/ 0 w 2160038"/>
                <a:gd name="connsiteY0" fmla="*/ 1598104 h 1598104"/>
                <a:gd name="connsiteX1" fmla="*/ 1205194 w 2160038"/>
                <a:gd name="connsiteY1" fmla="*/ 0 h 1598104"/>
                <a:gd name="connsiteX2" fmla="*/ 2160038 w 2160038"/>
                <a:gd name="connsiteY2" fmla="*/ 0 h 1598104"/>
                <a:gd name="connsiteX3" fmla="*/ 954844 w 2160038"/>
                <a:gd name="connsiteY3" fmla="*/ 1598104 h 1598104"/>
                <a:gd name="connsiteX4" fmla="*/ 0 w 2160038"/>
                <a:gd name="connsiteY4" fmla="*/ 1598104 h 1598104"/>
                <a:gd name="connsiteX0" fmla="*/ 0 w 2160038"/>
                <a:gd name="connsiteY0" fmla="*/ 1598104 h 1598104"/>
                <a:gd name="connsiteX1" fmla="*/ 1205194 w 2160038"/>
                <a:gd name="connsiteY1" fmla="*/ 0 h 1598104"/>
                <a:gd name="connsiteX2" fmla="*/ 2160038 w 2160038"/>
                <a:gd name="connsiteY2" fmla="*/ 0 h 1598104"/>
                <a:gd name="connsiteX3" fmla="*/ 954844 w 2160038"/>
                <a:gd name="connsiteY3" fmla="*/ 1598104 h 1598104"/>
                <a:gd name="connsiteX4" fmla="*/ 196602 w 2160038"/>
                <a:gd name="connsiteY4" fmla="*/ 1593944 h 1598104"/>
                <a:gd name="connsiteX5" fmla="*/ 0 w 2160038"/>
                <a:gd name="connsiteY5" fmla="*/ 1598104 h 1598104"/>
                <a:gd name="connsiteX0" fmla="*/ 0 w 2086559"/>
                <a:gd name="connsiteY0" fmla="*/ 1489247 h 1598104"/>
                <a:gd name="connsiteX1" fmla="*/ 1131715 w 2086559"/>
                <a:gd name="connsiteY1" fmla="*/ 0 h 1598104"/>
                <a:gd name="connsiteX2" fmla="*/ 2086559 w 2086559"/>
                <a:gd name="connsiteY2" fmla="*/ 0 h 1598104"/>
                <a:gd name="connsiteX3" fmla="*/ 881365 w 2086559"/>
                <a:gd name="connsiteY3" fmla="*/ 1598104 h 1598104"/>
                <a:gd name="connsiteX4" fmla="*/ 123123 w 2086559"/>
                <a:gd name="connsiteY4" fmla="*/ 1593944 h 1598104"/>
                <a:gd name="connsiteX5" fmla="*/ 0 w 2086559"/>
                <a:gd name="connsiteY5" fmla="*/ 1489247 h 1598104"/>
                <a:gd name="connsiteX0" fmla="*/ 0 w 2086559"/>
                <a:gd name="connsiteY0" fmla="*/ 1489247 h 1598104"/>
                <a:gd name="connsiteX1" fmla="*/ 1131715 w 2086559"/>
                <a:gd name="connsiteY1" fmla="*/ 0 h 1598104"/>
                <a:gd name="connsiteX2" fmla="*/ 2086559 w 2086559"/>
                <a:gd name="connsiteY2" fmla="*/ 0 h 1598104"/>
                <a:gd name="connsiteX3" fmla="*/ 881365 w 2086559"/>
                <a:gd name="connsiteY3" fmla="*/ 1598104 h 1598104"/>
                <a:gd name="connsiteX4" fmla="*/ 123123 w 2086559"/>
                <a:gd name="connsiteY4" fmla="*/ 1593944 h 1598104"/>
                <a:gd name="connsiteX5" fmla="*/ 0 w 2086559"/>
                <a:gd name="connsiteY5" fmla="*/ 1489247 h 1598104"/>
                <a:gd name="connsiteX0" fmla="*/ 0 w 2078395"/>
                <a:gd name="connsiteY0" fmla="*/ 1478364 h 1598104"/>
                <a:gd name="connsiteX1" fmla="*/ 1123551 w 2078395"/>
                <a:gd name="connsiteY1" fmla="*/ 0 h 1598104"/>
                <a:gd name="connsiteX2" fmla="*/ 2078395 w 2078395"/>
                <a:gd name="connsiteY2" fmla="*/ 0 h 1598104"/>
                <a:gd name="connsiteX3" fmla="*/ 873201 w 2078395"/>
                <a:gd name="connsiteY3" fmla="*/ 1598104 h 1598104"/>
                <a:gd name="connsiteX4" fmla="*/ 114959 w 2078395"/>
                <a:gd name="connsiteY4" fmla="*/ 1593944 h 1598104"/>
                <a:gd name="connsiteX5" fmla="*/ 0 w 2078395"/>
                <a:gd name="connsiteY5" fmla="*/ 1478364 h 1598104"/>
                <a:gd name="connsiteX0" fmla="*/ 0 w 2078395"/>
                <a:gd name="connsiteY0" fmla="*/ 1478364 h 1598104"/>
                <a:gd name="connsiteX1" fmla="*/ 1123551 w 2078395"/>
                <a:gd name="connsiteY1" fmla="*/ 0 h 1598104"/>
                <a:gd name="connsiteX2" fmla="*/ 2078395 w 2078395"/>
                <a:gd name="connsiteY2" fmla="*/ 0 h 1598104"/>
                <a:gd name="connsiteX3" fmla="*/ 873201 w 2078395"/>
                <a:gd name="connsiteY3" fmla="*/ 1598104 h 1598104"/>
                <a:gd name="connsiteX4" fmla="*/ 114959 w 2078395"/>
                <a:gd name="connsiteY4" fmla="*/ 1593944 h 1598104"/>
                <a:gd name="connsiteX5" fmla="*/ 0 w 2078395"/>
                <a:gd name="connsiteY5" fmla="*/ 1478364 h 1598104"/>
                <a:gd name="connsiteX0" fmla="*/ 0 w 2078395"/>
                <a:gd name="connsiteY0" fmla="*/ 1478364 h 1598104"/>
                <a:gd name="connsiteX1" fmla="*/ 1123551 w 2078395"/>
                <a:gd name="connsiteY1" fmla="*/ 0 h 1598104"/>
                <a:gd name="connsiteX2" fmla="*/ 2078395 w 2078395"/>
                <a:gd name="connsiteY2" fmla="*/ 0 h 1598104"/>
                <a:gd name="connsiteX3" fmla="*/ 873201 w 2078395"/>
                <a:gd name="connsiteY3" fmla="*/ 1598104 h 1598104"/>
                <a:gd name="connsiteX4" fmla="*/ 114959 w 2078395"/>
                <a:gd name="connsiteY4" fmla="*/ 1593944 h 1598104"/>
                <a:gd name="connsiteX5" fmla="*/ 0 w 2078395"/>
                <a:gd name="connsiteY5" fmla="*/ 1478364 h 1598104"/>
                <a:gd name="connsiteX0" fmla="*/ 0 w 2078395"/>
                <a:gd name="connsiteY0" fmla="*/ 1478364 h 1598104"/>
                <a:gd name="connsiteX1" fmla="*/ 1123551 w 2078395"/>
                <a:gd name="connsiteY1" fmla="*/ 0 h 1598104"/>
                <a:gd name="connsiteX2" fmla="*/ 2078395 w 2078395"/>
                <a:gd name="connsiteY2" fmla="*/ 0 h 1598104"/>
                <a:gd name="connsiteX3" fmla="*/ 873201 w 2078395"/>
                <a:gd name="connsiteY3" fmla="*/ 1598104 h 1598104"/>
                <a:gd name="connsiteX4" fmla="*/ 114959 w 2078395"/>
                <a:gd name="connsiteY4" fmla="*/ 1593944 h 1598104"/>
                <a:gd name="connsiteX5" fmla="*/ 0 w 2078395"/>
                <a:gd name="connsiteY5" fmla="*/ 1478364 h 1598104"/>
                <a:gd name="connsiteX0" fmla="*/ 0 w 2078395"/>
                <a:gd name="connsiteY0" fmla="*/ 1478364 h 1598104"/>
                <a:gd name="connsiteX1" fmla="*/ 1123551 w 2078395"/>
                <a:gd name="connsiteY1" fmla="*/ 0 h 1598104"/>
                <a:gd name="connsiteX2" fmla="*/ 2078395 w 2078395"/>
                <a:gd name="connsiteY2" fmla="*/ 0 h 1598104"/>
                <a:gd name="connsiteX3" fmla="*/ 873201 w 2078395"/>
                <a:gd name="connsiteY3" fmla="*/ 1598104 h 1598104"/>
                <a:gd name="connsiteX4" fmla="*/ 114959 w 2078395"/>
                <a:gd name="connsiteY4" fmla="*/ 1593944 h 1598104"/>
                <a:gd name="connsiteX5" fmla="*/ 0 w 2078395"/>
                <a:gd name="connsiteY5" fmla="*/ 1478364 h 1598104"/>
                <a:gd name="connsiteX0" fmla="*/ 0 w 2089280"/>
                <a:gd name="connsiteY0" fmla="*/ 1478366 h 1598104"/>
                <a:gd name="connsiteX1" fmla="*/ 1134436 w 2089280"/>
                <a:gd name="connsiteY1" fmla="*/ 0 h 1598104"/>
                <a:gd name="connsiteX2" fmla="*/ 2089280 w 2089280"/>
                <a:gd name="connsiteY2" fmla="*/ 0 h 1598104"/>
                <a:gd name="connsiteX3" fmla="*/ 884086 w 2089280"/>
                <a:gd name="connsiteY3" fmla="*/ 1598104 h 1598104"/>
                <a:gd name="connsiteX4" fmla="*/ 125844 w 2089280"/>
                <a:gd name="connsiteY4" fmla="*/ 1593944 h 1598104"/>
                <a:gd name="connsiteX5" fmla="*/ 0 w 2089280"/>
                <a:gd name="connsiteY5" fmla="*/ 1478366 h 1598104"/>
                <a:gd name="connsiteX0" fmla="*/ 0 w 2089280"/>
                <a:gd name="connsiteY0" fmla="*/ 1470201 h 1598104"/>
                <a:gd name="connsiteX1" fmla="*/ 1134436 w 2089280"/>
                <a:gd name="connsiteY1" fmla="*/ 0 h 1598104"/>
                <a:gd name="connsiteX2" fmla="*/ 2089280 w 2089280"/>
                <a:gd name="connsiteY2" fmla="*/ 0 h 1598104"/>
                <a:gd name="connsiteX3" fmla="*/ 884086 w 2089280"/>
                <a:gd name="connsiteY3" fmla="*/ 1598104 h 1598104"/>
                <a:gd name="connsiteX4" fmla="*/ 125844 w 2089280"/>
                <a:gd name="connsiteY4" fmla="*/ 1593944 h 1598104"/>
                <a:gd name="connsiteX5" fmla="*/ 0 w 2089280"/>
                <a:gd name="connsiteY5" fmla="*/ 1470201 h 1598104"/>
                <a:gd name="connsiteX0" fmla="*/ 0 w 2116495"/>
                <a:gd name="connsiteY0" fmla="*/ 1413051 h 1598104"/>
                <a:gd name="connsiteX1" fmla="*/ 1161651 w 2116495"/>
                <a:gd name="connsiteY1" fmla="*/ 0 h 1598104"/>
                <a:gd name="connsiteX2" fmla="*/ 2116495 w 2116495"/>
                <a:gd name="connsiteY2" fmla="*/ 0 h 1598104"/>
                <a:gd name="connsiteX3" fmla="*/ 911301 w 2116495"/>
                <a:gd name="connsiteY3" fmla="*/ 1598104 h 1598104"/>
                <a:gd name="connsiteX4" fmla="*/ 153059 w 2116495"/>
                <a:gd name="connsiteY4" fmla="*/ 1593944 h 1598104"/>
                <a:gd name="connsiteX5" fmla="*/ 0 w 2116495"/>
                <a:gd name="connsiteY5" fmla="*/ 1413051 h 1598104"/>
                <a:gd name="connsiteX0" fmla="*/ 0 w 2116495"/>
                <a:gd name="connsiteY0" fmla="*/ 1413051 h 1598104"/>
                <a:gd name="connsiteX1" fmla="*/ 1161651 w 2116495"/>
                <a:gd name="connsiteY1" fmla="*/ 0 h 1598104"/>
                <a:gd name="connsiteX2" fmla="*/ 2116495 w 2116495"/>
                <a:gd name="connsiteY2" fmla="*/ 0 h 1598104"/>
                <a:gd name="connsiteX3" fmla="*/ 911301 w 2116495"/>
                <a:gd name="connsiteY3" fmla="*/ 1598104 h 1598104"/>
                <a:gd name="connsiteX4" fmla="*/ 153059 w 2116495"/>
                <a:gd name="connsiteY4" fmla="*/ 1593944 h 1598104"/>
                <a:gd name="connsiteX5" fmla="*/ 0 w 2116495"/>
                <a:gd name="connsiteY5" fmla="*/ 1413051 h 1598104"/>
                <a:gd name="connsiteX0" fmla="*/ 0 w 2116495"/>
                <a:gd name="connsiteY0" fmla="*/ 1413051 h 1598104"/>
                <a:gd name="connsiteX1" fmla="*/ 1161651 w 2116495"/>
                <a:gd name="connsiteY1" fmla="*/ 0 h 1598104"/>
                <a:gd name="connsiteX2" fmla="*/ 2116495 w 2116495"/>
                <a:gd name="connsiteY2" fmla="*/ 0 h 1598104"/>
                <a:gd name="connsiteX3" fmla="*/ 911301 w 2116495"/>
                <a:gd name="connsiteY3" fmla="*/ 1598104 h 1598104"/>
                <a:gd name="connsiteX4" fmla="*/ 153059 w 2116495"/>
                <a:gd name="connsiteY4" fmla="*/ 1593944 h 1598104"/>
                <a:gd name="connsiteX5" fmla="*/ 0 w 2116495"/>
                <a:gd name="connsiteY5" fmla="*/ 1413051 h 1598104"/>
                <a:gd name="connsiteX0" fmla="*/ 0 w 2127381"/>
                <a:gd name="connsiteY0" fmla="*/ 1323246 h 1598104"/>
                <a:gd name="connsiteX1" fmla="*/ 1172537 w 2127381"/>
                <a:gd name="connsiteY1" fmla="*/ 0 h 1598104"/>
                <a:gd name="connsiteX2" fmla="*/ 2127381 w 2127381"/>
                <a:gd name="connsiteY2" fmla="*/ 0 h 1598104"/>
                <a:gd name="connsiteX3" fmla="*/ 922187 w 2127381"/>
                <a:gd name="connsiteY3" fmla="*/ 1598104 h 1598104"/>
                <a:gd name="connsiteX4" fmla="*/ 163945 w 2127381"/>
                <a:gd name="connsiteY4" fmla="*/ 1593944 h 1598104"/>
                <a:gd name="connsiteX5" fmla="*/ 0 w 2127381"/>
                <a:gd name="connsiteY5" fmla="*/ 1323246 h 1598104"/>
                <a:gd name="connsiteX0" fmla="*/ 993 w 2128374"/>
                <a:gd name="connsiteY0" fmla="*/ 1323246 h 1598104"/>
                <a:gd name="connsiteX1" fmla="*/ 1173530 w 2128374"/>
                <a:gd name="connsiteY1" fmla="*/ 0 h 1598104"/>
                <a:gd name="connsiteX2" fmla="*/ 2128374 w 2128374"/>
                <a:gd name="connsiteY2" fmla="*/ 0 h 1598104"/>
                <a:gd name="connsiteX3" fmla="*/ 923180 w 2128374"/>
                <a:gd name="connsiteY3" fmla="*/ 1598104 h 1598104"/>
                <a:gd name="connsiteX4" fmla="*/ 164938 w 2128374"/>
                <a:gd name="connsiteY4" fmla="*/ 1593944 h 1598104"/>
                <a:gd name="connsiteX5" fmla="*/ 993 w 2128374"/>
                <a:gd name="connsiteY5" fmla="*/ 1323246 h 1598104"/>
                <a:gd name="connsiteX0" fmla="*/ 993 w 2128374"/>
                <a:gd name="connsiteY0" fmla="*/ 1323246 h 1598104"/>
                <a:gd name="connsiteX1" fmla="*/ 1173530 w 2128374"/>
                <a:gd name="connsiteY1" fmla="*/ 0 h 1598104"/>
                <a:gd name="connsiteX2" fmla="*/ 2128374 w 2128374"/>
                <a:gd name="connsiteY2" fmla="*/ 0 h 1598104"/>
                <a:gd name="connsiteX3" fmla="*/ 923180 w 2128374"/>
                <a:gd name="connsiteY3" fmla="*/ 1598104 h 1598104"/>
                <a:gd name="connsiteX4" fmla="*/ 164938 w 2128374"/>
                <a:gd name="connsiteY4" fmla="*/ 1593944 h 1598104"/>
                <a:gd name="connsiteX5" fmla="*/ 993 w 2128374"/>
                <a:gd name="connsiteY5" fmla="*/ 1323246 h 1598104"/>
                <a:gd name="connsiteX0" fmla="*/ 0 w 2127381"/>
                <a:gd name="connsiteY0" fmla="*/ 1323246 h 1598104"/>
                <a:gd name="connsiteX1" fmla="*/ 1172537 w 2127381"/>
                <a:gd name="connsiteY1" fmla="*/ 0 h 1598104"/>
                <a:gd name="connsiteX2" fmla="*/ 2127381 w 2127381"/>
                <a:gd name="connsiteY2" fmla="*/ 0 h 1598104"/>
                <a:gd name="connsiteX3" fmla="*/ 922187 w 2127381"/>
                <a:gd name="connsiteY3" fmla="*/ 1598104 h 1598104"/>
                <a:gd name="connsiteX4" fmla="*/ 163945 w 2127381"/>
                <a:gd name="connsiteY4" fmla="*/ 1593944 h 1598104"/>
                <a:gd name="connsiteX5" fmla="*/ 0 w 2127381"/>
                <a:gd name="connsiteY5" fmla="*/ 1323246 h 1598104"/>
                <a:gd name="connsiteX0" fmla="*/ 0 w 2127381"/>
                <a:gd name="connsiteY0" fmla="*/ 1323246 h 1598104"/>
                <a:gd name="connsiteX1" fmla="*/ 1172537 w 2127381"/>
                <a:gd name="connsiteY1" fmla="*/ 0 h 1598104"/>
                <a:gd name="connsiteX2" fmla="*/ 2127381 w 2127381"/>
                <a:gd name="connsiteY2" fmla="*/ 0 h 1598104"/>
                <a:gd name="connsiteX3" fmla="*/ 922187 w 2127381"/>
                <a:gd name="connsiteY3" fmla="*/ 1598104 h 1598104"/>
                <a:gd name="connsiteX4" fmla="*/ 163945 w 2127381"/>
                <a:gd name="connsiteY4" fmla="*/ 1593944 h 1598104"/>
                <a:gd name="connsiteX5" fmla="*/ 0 w 2127381"/>
                <a:gd name="connsiteY5" fmla="*/ 1323246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40988"/>
                <a:gd name="connsiteY0" fmla="*/ 1325969 h 1598104"/>
                <a:gd name="connsiteX1" fmla="*/ 1186144 w 2140988"/>
                <a:gd name="connsiteY1" fmla="*/ 0 h 1598104"/>
                <a:gd name="connsiteX2" fmla="*/ 2140988 w 2140988"/>
                <a:gd name="connsiteY2" fmla="*/ 0 h 1598104"/>
                <a:gd name="connsiteX3" fmla="*/ 935794 w 2140988"/>
                <a:gd name="connsiteY3" fmla="*/ 1598104 h 1598104"/>
                <a:gd name="connsiteX4" fmla="*/ 177552 w 2140988"/>
                <a:gd name="connsiteY4" fmla="*/ 1593944 h 1598104"/>
                <a:gd name="connsiteX5" fmla="*/ 0 w 2140988"/>
                <a:gd name="connsiteY5" fmla="*/ 1325969 h 1598104"/>
                <a:gd name="connsiteX0" fmla="*/ 0 w 2113774"/>
                <a:gd name="connsiteY0" fmla="*/ 1502861 h 1718854"/>
                <a:gd name="connsiteX1" fmla="*/ 1158930 w 2113774"/>
                <a:gd name="connsiteY1" fmla="*/ 0 h 1718854"/>
                <a:gd name="connsiteX2" fmla="*/ 2113774 w 2113774"/>
                <a:gd name="connsiteY2" fmla="*/ 0 h 1718854"/>
                <a:gd name="connsiteX3" fmla="*/ 908580 w 2113774"/>
                <a:gd name="connsiteY3" fmla="*/ 1598104 h 1718854"/>
                <a:gd name="connsiteX4" fmla="*/ 150338 w 2113774"/>
                <a:gd name="connsiteY4" fmla="*/ 1593944 h 1718854"/>
                <a:gd name="connsiteX5" fmla="*/ 0 w 2113774"/>
                <a:gd name="connsiteY5" fmla="*/ 1502861 h 1718854"/>
                <a:gd name="connsiteX0" fmla="*/ 0 w 2113774"/>
                <a:gd name="connsiteY0" fmla="*/ 1502861 h 1718854"/>
                <a:gd name="connsiteX1" fmla="*/ 1158930 w 2113774"/>
                <a:gd name="connsiteY1" fmla="*/ 0 h 1718854"/>
                <a:gd name="connsiteX2" fmla="*/ 2113774 w 2113774"/>
                <a:gd name="connsiteY2" fmla="*/ 0 h 1718854"/>
                <a:gd name="connsiteX3" fmla="*/ 908580 w 2113774"/>
                <a:gd name="connsiteY3" fmla="*/ 1598104 h 1718854"/>
                <a:gd name="connsiteX4" fmla="*/ 150338 w 2113774"/>
                <a:gd name="connsiteY4" fmla="*/ 1593944 h 1718854"/>
                <a:gd name="connsiteX5" fmla="*/ 0 w 2113774"/>
                <a:gd name="connsiteY5" fmla="*/ 1502861 h 1718854"/>
                <a:gd name="connsiteX0" fmla="*/ 0 w 2113774"/>
                <a:gd name="connsiteY0" fmla="*/ 1502861 h 1598104"/>
                <a:gd name="connsiteX1" fmla="*/ 1158930 w 2113774"/>
                <a:gd name="connsiteY1" fmla="*/ 0 h 1598104"/>
                <a:gd name="connsiteX2" fmla="*/ 2113774 w 2113774"/>
                <a:gd name="connsiteY2" fmla="*/ 0 h 1598104"/>
                <a:gd name="connsiteX3" fmla="*/ 908580 w 2113774"/>
                <a:gd name="connsiteY3" fmla="*/ 1598104 h 1598104"/>
                <a:gd name="connsiteX4" fmla="*/ 150338 w 2113774"/>
                <a:gd name="connsiteY4" fmla="*/ 1593944 h 1598104"/>
                <a:gd name="connsiteX5" fmla="*/ 0 w 2113774"/>
                <a:gd name="connsiteY5" fmla="*/ 1502861 h 1598104"/>
                <a:gd name="connsiteX0" fmla="*/ 0 w 2113774"/>
                <a:gd name="connsiteY0" fmla="*/ 1502861 h 1598104"/>
                <a:gd name="connsiteX1" fmla="*/ 1158930 w 2113774"/>
                <a:gd name="connsiteY1" fmla="*/ 0 h 1598104"/>
                <a:gd name="connsiteX2" fmla="*/ 2113774 w 2113774"/>
                <a:gd name="connsiteY2" fmla="*/ 0 h 1598104"/>
                <a:gd name="connsiteX3" fmla="*/ 908580 w 2113774"/>
                <a:gd name="connsiteY3" fmla="*/ 1598104 h 1598104"/>
                <a:gd name="connsiteX4" fmla="*/ 150338 w 2113774"/>
                <a:gd name="connsiteY4" fmla="*/ 1593944 h 1598104"/>
                <a:gd name="connsiteX5" fmla="*/ 0 w 2113774"/>
                <a:gd name="connsiteY5" fmla="*/ 1502861 h 1598104"/>
                <a:gd name="connsiteX0" fmla="*/ 1 w 2113775"/>
                <a:gd name="connsiteY0" fmla="*/ 1502861 h 1598104"/>
                <a:gd name="connsiteX1" fmla="*/ 1158931 w 2113775"/>
                <a:gd name="connsiteY1" fmla="*/ 0 h 1598104"/>
                <a:gd name="connsiteX2" fmla="*/ 2113775 w 2113775"/>
                <a:gd name="connsiteY2" fmla="*/ 0 h 1598104"/>
                <a:gd name="connsiteX3" fmla="*/ 908581 w 2113775"/>
                <a:gd name="connsiteY3" fmla="*/ 1598104 h 1598104"/>
                <a:gd name="connsiteX4" fmla="*/ 150339 w 2113775"/>
                <a:gd name="connsiteY4" fmla="*/ 1593944 h 1598104"/>
                <a:gd name="connsiteX5" fmla="*/ 1 w 2113775"/>
                <a:gd name="connsiteY5" fmla="*/ 1502861 h 1598104"/>
                <a:gd name="connsiteX0" fmla="*/ 1 w 2113775"/>
                <a:gd name="connsiteY0" fmla="*/ 1502861 h 1598104"/>
                <a:gd name="connsiteX1" fmla="*/ 1158931 w 2113775"/>
                <a:gd name="connsiteY1" fmla="*/ 0 h 1598104"/>
                <a:gd name="connsiteX2" fmla="*/ 2113775 w 2113775"/>
                <a:gd name="connsiteY2" fmla="*/ 0 h 1598104"/>
                <a:gd name="connsiteX3" fmla="*/ 908581 w 2113775"/>
                <a:gd name="connsiteY3" fmla="*/ 1598104 h 1598104"/>
                <a:gd name="connsiteX4" fmla="*/ 150339 w 2113775"/>
                <a:gd name="connsiteY4" fmla="*/ 1593944 h 1598104"/>
                <a:gd name="connsiteX5" fmla="*/ 1 w 2113775"/>
                <a:gd name="connsiteY5" fmla="*/ 1502861 h 1598104"/>
                <a:gd name="connsiteX0" fmla="*/ 1 w 2113775"/>
                <a:gd name="connsiteY0" fmla="*/ 1502861 h 1598104"/>
                <a:gd name="connsiteX1" fmla="*/ 1158931 w 2113775"/>
                <a:gd name="connsiteY1" fmla="*/ 0 h 1598104"/>
                <a:gd name="connsiteX2" fmla="*/ 2113775 w 2113775"/>
                <a:gd name="connsiteY2" fmla="*/ 0 h 1598104"/>
                <a:gd name="connsiteX3" fmla="*/ 908581 w 2113775"/>
                <a:gd name="connsiteY3" fmla="*/ 1598104 h 1598104"/>
                <a:gd name="connsiteX4" fmla="*/ 150339 w 2113775"/>
                <a:gd name="connsiteY4" fmla="*/ 1593944 h 1598104"/>
                <a:gd name="connsiteX5" fmla="*/ 1 w 2113775"/>
                <a:gd name="connsiteY5" fmla="*/ 1502861 h 1598104"/>
                <a:gd name="connsiteX0" fmla="*/ 1 w 2113775"/>
                <a:gd name="connsiteY0" fmla="*/ 1502861 h 1598104"/>
                <a:gd name="connsiteX1" fmla="*/ 1158931 w 2113775"/>
                <a:gd name="connsiteY1" fmla="*/ 0 h 1598104"/>
                <a:gd name="connsiteX2" fmla="*/ 2113775 w 2113775"/>
                <a:gd name="connsiteY2" fmla="*/ 0 h 1598104"/>
                <a:gd name="connsiteX3" fmla="*/ 908581 w 2113775"/>
                <a:gd name="connsiteY3" fmla="*/ 1598104 h 1598104"/>
                <a:gd name="connsiteX4" fmla="*/ 150339 w 2113775"/>
                <a:gd name="connsiteY4" fmla="*/ 1593944 h 1598104"/>
                <a:gd name="connsiteX5" fmla="*/ 1 w 2113775"/>
                <a:gd name="connsiteY5" fmla="*/ 1502861 h 1598104"/>
                <a:gd name="connsiteX0" fmla="*/ 1 w 2129230"/>
                <a:gd name="connsiteY0" fmla="*/ 1459075 h 1598104"/>
                <a:gd name="connsiteX1" fmla="*/ 1174386 w 2129230"/>
                <a:gd name="connsiteY1" fmla="*/ 0 h 1598104"/>
                <a:gd name="connsiteX2" fmla="*/ 2129230 w 2129230"/>
                <a:gd name="connsiteY2" fmla="*/ 0 h 1598104"/>
                <a:gd name="connsiteX3" fmla="*/ 924036 w 2129230"/>
                <a:gd name="connsiteY3" fmla="*/ 1598104 h 1598104"/>
                <a:gd name="connsiteX4" fmla="*/ 165794 w 2129230"/>
                <a:gd name="connsiteY4" fmla="*/ 1593944 h 1598104"/>
                <a:gd name="connsiteX5" fmla="*/ 1 w 2129230"/>
                <a:gd name="connsiteY5" fmla="*/ 1459075 h 1598104"/>
                <a:gd name="connsiteX0" fmla="*/ 2 w 2124080"/>
                <a:gd name="connsiteY0" fmla="*/ 1448772 h 1598104"/>
                <a:gd name="connsiteX1" fmla="*/ 1169236 w 2124080"/>
                <a:gd name="connsiteY1" fmla="*/ 0 h 1598104"/>
                <a:gd name="connsiteX2" fmla="*/ 2124080 w 2124080"/>
                <a:gd name="connsiteY2" fmla="*/ 0 h 1598104"/>
                <a:gd name="connsiteX3" fmla="*/ 918886 w 2124080"/>
                <a:gd name="connsiteY3" fmla="*/ 1598104 h 1598104"/>
                <a:gd name="connsiteX4" fmla="*/ 160644 w 2124080"/>
                <a:gd name="connsiteY4" fmla="*/ 1593944 h 1598104"/>
                <a:gd name="connsiteX5" fmla="*/ 2 w 2124080"/>
                <a:gd name="connsiteY5" fmla="*/ 1448772 h 1598104"/>
                <a:gd name="connsiteX0" fmla="*/ 2 w 2124080"/>
                <a:gd name="connsiteY0" fmla="*/ 1448772 h 1598104"/>
                <a:gd name="connsiteX1" fmla="*/ 1169236 w 2124080"/>
                <a:gd name="connsiteY1" fmla="*/ 0 h 1598104"/>
                <a:gd name="connsiteX2" fmla="*/ 2124080 w 2124080"/>
                <a:gd name="connsiteY2" fmla="*/ 0 h 1598104"/>
                <a:gd name="connsiteX3" fmla="*/ 918886 w 2124080"/>
                <a:gd name="connsiteY3" fmla="*/ 1598104 h 1598104"/>
                <a:gd name="connsiteX4" fmla="*/ 160644 w 2124080"/>
                <a:gd name="connsiteY4" fmla="*/ 1593944 h 1598104"/>
                <a:gd name="connsiteX5" fmla="*/ 2 w 2124080"/>
                <a:gd name="connsiteY5" fmla="*/ 1448772 h 1598104"/>
                <a:gd name="connsiteX0" fmla="*/ 0 w 2124078"/>
                <a:gd name="connsiteY0" fmla="*/ 1448772 h 1598104"/>
                <a:gd name="connsiteX1" fmla="*/ 1169234 w 2124078"/>
                <a:gd name="connsiteY1" fmla="*/ 0 h 1598104"/>
                <a:gd name="connsiteX2" fmla="*/ 2124078 w 2124078"/>
                <a:gd name="connsiteY2" fmla="*/ 0 h 1598104"/>
                <a:gd name="connsiteX3" fmla="*/ 918884 w 2124078"/>
                <a:gd name="connsiteY3" fmla="*/ 1598104 h 1598104"/>
                <a:gd name="connsiteX4" fmla="*/ 160642 w 2124078"/>
                <a:gd name="connsiteY4" fmla="*/ 1593944 h 1598104"/>
                <a:gd name="connsiteX5" fmla="*/ 0 w 2124078"/>
                <a:gd name="connsiteY5" fmla="*/ 1448772 h 1598104"/>
                <a:gd name="connsiteX0" fmla="*/ 0 w 2124078"/>
                <a:gd name="connsiteY0" fmla="*/ 1448772 h 1598104"/>
                <a:gd name="connsiteX1" fmla="*/ 1169234 w 2124078"/>
                <a:gd name="connsiteY1" fmla="*/ 0 h 1598104"/>
                <a:gd name="connsiteX2" fmla="*/ 2124078 w 2124078"/>
                <a:gd name="connsiteY2" fmla="*/ 0 h 1598104"/>
                <a:gd name="connsiteX3" fmla="*/ 918884 w 2124078"/>
                <a:gd name="connsiteY3" fmla="*/ 1598104 h 1598104"/>
                <a:gd name="connsiteX4" fmla="*/ 160642 w 2124078"/>
                <a:gd name="connsiteY4" fmla="*/ 1593944 h 1598104"/>
                <a:gd name="connsiteX5" fmla="*/ 0 w 2124078"/>
                <a:gd name="connsiteY5" fmla="*/ 1448772 h 1598104"/>
                <a:gd name="connsiteX0" fmla="*/ 31 w 2124109"/>
                <a:gd name="connsiteY0" fmla="*/ 1448772 h 1598104"/>
                <a:gd name="connsiteX1" fmla="*/ 1169265 w 2124109"/>
                <a:gd name="connsiteY1" fmla="*/ 0 h 1598104"/>
                <a:gd name="connsiteX2" fmla="*/ 2124109 w 2124109"/>
                <a:gd name="connsiteY2" fmla="*/ 0 h 1598104"/>
                <a:gd name="connsiteX3" fmla="*/ 918915 w 2124109"/>
                <a:gd name="connsiteY3" fmla="*/ 1598104 h 1598104"/>
                <a:gd name="connsiteX4" fmla="*/ 160673 w 2124109"/>
                <a:gd name="connsiteY4" fmla="*/ 1593944 h 1598104"/>
                <a:gd name="connsiteX5" fmla="*/ 31 w 2124109"/>
                <a:gd name="connsiteY5" fmla="*/ 1448772 h 1598104"/>
                <a:gd name="connsiteX0" fmla="*/ 31 w 2124109"/>
                <a:gd name="connsiteY0" fmla="*/ 1448772 h 1598104"/>
                <a:gd name="connsiteX1" fmla="*/ 1169265 w 2124109"/>
                <a:gd name="connsiteY1" fmla="*/ 0 h 1598104"/>
                <a:gd name="connsiteX2" fmla="*/ 2124109 w 2124109"/>
                <a:gd name="connsiteY2" fmla="*/ 0 h 1598104"/>
                <a:gd name="connsiteX3" fmla="*/ 918915 w 2124109"/>
                <a:gd name="connsiteY3" fmla="*/ 1598104 h 1598104"/>
                <a:gd name="connsiteX4" fmla="*/ 160673 w 2124109"/>
                <a:gd name="connsiteY4" fmla="*/ 1593944 h 1598104"/>
                <a:gd name="connsiteX5" fmla="*/ 31 w 2124109"/>
                <a:gd name="connsiteY5" fmla="*/ 1448772 h 1598104"/>
                <a:gd name="connsiteX0" fmla="*/ 177 w 2124255"/>
                <a:gd name="connsiteY0" fmla="*/ 1448772 h 1598104"/>
                <a:gd name="connsiteX1" fmla="*/ 1169411 w 2124255"/>
                <a:gd name="connsiteY1" fmla="*/ 0 h 1598104"/>
                <a:gd name="connsiteX2" fmla="*/ 2124255 w 2124255"/>
                <a:gd name="connsiteY2" fmla="*/ 0 h 1598104"/>
                <a:gd name="connsiteX3" fmla="*/ 919061 w 2124255"/>
                <a:gd name="connsiteY3" fmla="*/ 1598104 h 1598104"/>
                <a:gd name="connsiteX4" fmla="*/ 160819 w 2124255"/>
                <a:gd name="connsiteY4" fmla="*/ 1593944 h 1598104"/>
                <a:gd name="connsiteX5" fmla="*/ 177 w 2124255"/>
                <a:gd name="connsiteY5" fmla="*/ 1448772 h 1598104"/>
                <a:gd name="connsiteX0" fmla="*/ 177 w 2124255"/>
                <a:gd name="connsiteY0" fmla="*/ 1448772 h 1598104"/>
                <a:gd name="connsiteX1" fmla="*/ 1169411 w 2124255"/>
                <a:gd name="connsiteY1" fmla="*/ 0 h 1598104"/>
                <a:gd name="connsiteX2" fmla="*/ 2124255 w 2124255"/>
                <a:gd name="connsiteY2" fmla="*/ 0 h 1598104"/>
                <a:gd name="connsiteX3" fmla="*/ 919061 w 2124255"/>
                <a:gd name="connsiteY3" fmla="*/ 1598104 h 1598104"/>
                <a:gd name="connsiteX4" fmla="*/ 160819 w 2124255"/>
                <a:gd name="connsiteY4" fmla="*/ 1593944 h 1598104"/>
                <a:gd name="connsiteX5" fmla="*/ 177 w 2124255"/>
                <a:gd name="connsiteY5" fmla="*/ 1448772 h 1598104"/>
                <a:gd name="connsiteX0" fmla="*/ 176 w 2126830"/>
                <a:gd name="connsiteY0" fmla="*/ 1428168 h 1598104"/>
                <a:gd name="connsiteX1" fmla="*/ 1171986 w 2126830"/>
                <a:gd name="connsiteY1" fmla="*/ 0 h 1598104"/>
                <a:gd name="connsiteX2" fmla="*/ 2126830 w 2126830"/>
                <a:gd name="connsiteY2" fmla="*/ 0 h 1598104"/>
                <a:gd name="connsiteX3" fmla="*/ 921636 w 2126830"/>
                <a:gd name="connsiteY3" fmla="*/ 1598104 h 1598104"/>
                <a:gd name="connsiteX4" fmla="*/ 163394 w 2126830"/>
                <a:gd name="connsiteY4" fmla="*/ 1593944 h 1598104"/>
                <a:gd name="connsiteX5" fmla="*/ 176 w 2126830"/>
                <a:gd name="connsiteY5" fmla="*/ 1428168 h 1598104"/>
                <a:gd name="connsiteX0" fmla="*/ 174 w 2136696"/>
                <a:gd name="connsiteY0" fmla="*/ 1421590 h 1598104"/>
                <a:gd name="connsiteX1" fmla="*/ 1181852 w 2136696"/>
                <a:gd name="connsiteY1" fmla="*/ 0 h 1598104"/>
                <a:gd name="connsiteX2" fmla="*/ 2136696 w 2136696"/>
                <a:gd name="connsiteY2" fmla="*/ 0 h 1598104"/>
                <a:gd name="connsiteX3" fmla="*/ 931502 w 2136696"/>
                <a:gd name="connsiteY3" fmla="*/ 1598104 h 1598104"/>
                <a:gd name="connsiteX4" fmla="*/ 173260 w 2136696"/>
                <a:gd name="connsiteY4" fmla="*/ 1593944 h 1598104"/>
                <a:gd name="connsiteX5" fmla="*/ 174 w 2136696"/>
                <a:gd name="connsiteY5" fmla="*/ 1421590 h 1598104"/>
                <a:gd name="connsiteX0" fmla="*/ 174 w 2136696"/>
                <a:gd name="connsiteY0" fmla="*/ 1421590 h 1598104"/>
                <a:gd name="connsiteX1" fmla="*/ 1181852 w 2136696"/>
                <a:gd name="connsiteY1" fmla="*/ 0 h 1598104"/>
                <a:gd name="connsiteX2" fmla="*/ 2136696 w 2136696"/>
                <a:gd name="connsiteY2" fmla="*/ 0 h 1598104"/>
                <a:gd name="connsiteX3" fmla="*/ 931502 w 2136696"/>
                <a:gd name="connsiteY3" fmla="*/ 1598104 h 1598104"/>
                <a:gd name="connsiteX4" fmla="*/ 173260 w 2136696"/>
                <a:gd name="connsiteY4" fmla="*/ 1593944 h 1598104"/>
                <a:gd name="connsiteX5" fmla="*/ 174 w 2136696"/>
                <a:gd name="connsiteY5" fmla="*/ 1421590 h 1598104"/>
                <a:gd name="connsiteX0" fmla="*/ 174 w 2136696"/>
                <a:gd name="connsiteY0" fmla="*/ 1421590 h 1598104"/>
                <a:gd name="connsiteX1" fmla="*/ 1181852 w 2136696"/>
                <a:gd name="connsiteY1" fmla="*/ 0 h 1598104"/>
                <a:gd name="connsiteX2" fmla="*/ 2136696 w 2136696"/>
                <a:gd name="connsiteY2" fmla="*/ 0 h 1598104"/>
                <a:gd name="connsiteX3" fmla="*/ 931502 w 2136696"/>
                <a:gd name="connsiteY3" fmla="*/ 1598104 h 1598104"/>
                <a:gd name="connsiteX4" fmla="*/ 173260 w 2136696"/>
                <a:gd name="connsiteY4" fmla="*/ 1593944 h 1598104"/>
                <a:gd name="connsiteX5" fmla="*/ 174 w 2136696"/>
                <a:gd name="connsiteY5" fmla="*/ 1421590 h 1598104"/>
                <a:gd name="connsiteX0" fmla="*/ 174 w 2136696"/>
                <a:gd name="connsiteY0" fmla="*/ 1421590 h 1598104"/>
                <a:gd name="connsiteX1" fmla="*/ 1181852 w 2136696"/>
                <a:gd name="connsiteY1" fmla="*/ 0 h 1598104"/>
                <a:gd name="connsiteX2" fmla="*/ 2136696 w 2136696"/>
                <a:gd name="connsiteY2" fmla="*/ 0 h 1598104"/>
                <a:gd name="connsiteX3" fmla="*/ 931502 w 2136696"/>
                <a:gd name="connsiteY3" fmla="*/ 1598104 h 1598104"/>
                <a:gd name="connsiteX4" fmla="*/ 173260 w 2136696"/>
                <a:gd name="connsiteY4" fmla="*/ 1593944 h 1598104"/>
                <a:gd name="connsiteX5" fmla="*/ 174 w 2136696"/>
                <a:gd name="connsiteY5" fmla="*/ 1421590 h 1598104"/>
                <a:gd name="connsiteX0" fmla="*/ 103 w 2136625"/>
                <a:gd name="connsiteY0" fmla="*/ 1421590 h 1598104"/>
                <a:gd name="connsiteX1" fmla="*/ 1181781 w 2136625"/>
                <a:gd name="connsiteY1" fmla="*/ 0 h 1598104"/>
                <a:gd name="connsiteX2" fmla="*/ 2136625 w 2136625"/>
                <a:gd name="connsiteY2" fmla="*/ 0 h 1598104"/>
                <a:gd name="connsiteX3" fmla="*/ 931431 w 2136625"/>
                <a:gd name="connsiteY3" fmla="*/ 1598104 h 1598104"/>
                <a:gd name="connsiteX4" fmla="*/ 173189 w 2136625"/>
                <a:gd name="connsiteY4" fmla="*/ 1593944 h 1598104"/>
                <a:gd name="connsiteX5" fmla="*/ 103 w 2136625"/>
                <a:gd name="connsiteY5" fmla="*/ 1421590 h 1598104"/>
                <a:gd name="connsiteX0" fmla="*/ 136 w 2136658"/>
                <a:gd name="connsiteY0" fmla="*/ 1421590 h 1598104"/>
                <a:gd name="connsiteX1" fmla="*/ 1181814 w 2136658"/>
                <a:gd name="connsiteY1" fmla="*/ 0 h 1598104"/>
                <a:gd name="connsiteX2" fmla="*/ 2136658 w 2136658"/>
                <a:gd name="connsiteY2" fmla="*/ 0 h 1598104"/>
                <a:gd name="connsiteX3" fmla="*/ 931464 w 2136658"/>
                <a:gd name="connsiteY3" fmla="*/ 1598104 h 1598104"/>
                <a:gd name="connsiteX4" fmla="*/ 173222 w 2136658"/>
                <a:gd name="connsiteY4" fmla="*/ 1593944 h 1598104"/>
                <a:gd name="connsiteX5" fmla="*/ 136 w 2136658"/>
                <a:gd name="connsiteY5" fmla="*/ 1421590 h 1598104"/>
                <a:gd name="connsiteX0" fmla="*/ 103 w 2136625"/>
                <a:gd name="connsiteY0" fmla="*/ 1421590 h 1598104"/>
                <a:gd name="connsiteX1" fmla="*/ 1181781 w 2136625"/>
                <a:gd name="connsiteY1" fmla="*/ 0 h 1598104"/>
                <a:gd name="connsiteX2" fmla="*/ 2136625 w 2136625"/>
                <a:gd name="connsiteY2" fmla="*/ 0 h 1598104"/>
                <a:gd name="connsiteX3" fmla="*/ 931431 w 2136625"/>
                <a:gd name="connsiteY3" fmla="*/ 1598104 h 1598104"/>
                <a:gd name="connsiteX4" fmla="*/ 173189 w 2136625"/>
                <a:gd name="connsiteY4" fmla="*/ 1593944 h 1598104"/>
                <a:gd name="connsiteX5" fmla="*/ 103 w 2136625"/>
                <a:gd name="connsiteY5" fmla="*/ 1421590 h 1598104"/>
                <a:gd name="connsiteX0" fmla="*/ 0 w 2136522"/>
                <a:gd name="connsiteY0" fmla="*/ 1421590 h 1598104"/>
                <a:gd name="connsiteX1" fmla="*/ 1181678 w 2136522"/>
                <a:gd name="connsiteY1" fmla="*/ 0 h 1598104"/>
                <a:gd name="connsiteX2" fmla="*/ 2136522 w 2136522"/>
                <a:gd name="connsiteY2" fmla="*/ 0 h 1598104"/>
                <a:gd name="connsiteX3" fmla="*/ 931328 w 2136522"/>
                <a:gd name="connsiteY3" fmla="*/ 1598104 h 1598104"/>
                <a:gd name="connsiteX4" fmla="*/ 173086 w 2136522"/>
                <a:gd name="connsiteY4" fmla="*/ 1593944 h 1598104"/>
                <a:gd name="connsiteX5" fmla="*/ 0 w 2136522"/>
                <a:gd name="connsiteY5" fmla="*/ 1421590 h 1598104"/>
                <a:gd name="connsiteX0" fmla="*/ 0 w 2136522"/>
                <a:gd name="connsiteY0" fmla="*/ 1421590 h 1598104"/>
                <a:gd name="connsiteX1" fmla="*/ 1181678 w 2136522"/>
                <a:gd name="connsiteY1" fmla="*/ 0 h 1598104"/>
                <a:gd name="connsiteX2" fmla="*/ 2136522 w 2136522"/>
                <a:gd name="connsiteY2" fmla="*/ 0 h 1598104"/>
                <a:gd name="connsiteX3" fmla="*/ 931328 w 2136522"/>
                <a:gd name="connsiteY3" fmla="*/ 1598104 h 1598104"/>
                <a:gd name="connsiteX4" fmla="*/ 173086 w 2136522"/>
                <a:gd name="connsiteY4" fmla="*/ 1593944 h 1598104"/>
                <a:gd name="connsiteX5" fmla="*/ 0 w 2136522"/>
                <a:gd name="connsiteY5" fmla="*/ 1421590 h 1598104"/>
                <a:gd name="connsiteX0" fmla="*/ 0 w 2136522"/>
                <a:gd name="connsiteY0" fmla="*/ 1421590 h 1605886"/>
                <a:gd name="connsiteX1" fmla="*/ 1181678 w 2136522"/>
                <a:gd name="connsiteY1" fmla="*/ 0 h 1605886"/>
                <a:gd name="connsiteX2" fmla="*/ 2136522 w 2136522"/>
                <a:gd name="connsiteY2" fmla="*/ 0 h 1605886"/>
                <a:gd name="connsiteX3" fmla="*/ 931328 w 2136522"/>
                <a:gd name="connsiteY3" fmla="*/ 1598104 h 1605886"/>
                <a:gd name="connsiteX4" fmla="*/ 173086 w 2136522"/>
                <a:gd name="connsiteY4" fmla="*/ 1593944 h 1605886"/>
                <a:gd name="connsiteX5" fmla="*/ 0 w 2136522"/>
                <a:gd name="connsiteY5" fmla="*/ 1421590 h 1605886"/>
                <a:gd name="connsiteX0" fmla="*/ 379 w 2136901"/>
                <a:gd name="connsiteY0" fmla="*/ 1421590 h 1598104"/>
                <a:gd name="connsiteX1" fmla="*/ 1182057 w 2136901"/>
                <a:gd name="connsiteY1" fmla="*/ 0 h 1598104"/>
                <a:gd name="connsiteX2" fmla="*/ 2136901 w 2136901"/>
                <a:gd name="connsiteY2" fmla="*/ 0 h 1598104"/>
                <a:gd name="connsiteX3" fmla="*/ 931707 w 2136901"/>
                <a:gd name="connsiteY3" fmla="*/ 1598104 h 1598104"/>
                <a:gd name="connsiteX4" fmla="*/ 173465 w 2136901"/>
                <a:gd name="connsiteY4" fmla="*/ 1593944 h 1598104"/>
                <a:gd name="connsiteX5" fmla="*/ 379 w 2136901"/>
                <a:gd name="connsiteY5" fmla="*/ 1421590 h 1598104"/>
                <a:gd name="connsiteX0" fmla="*/ 379 w 2136901"/>
                <a:gd name="connsiteY0" fmla="*/ 1421590 h 1598104"/>
                <a:gd name="connsiteX1" fmla="*/ 1182057 w 2136901"/>
                <a:gd name="connsiteY1" fmla="*/ 0 h 1598104"/>
                <a:gd name="connsiteX2" fmla="*/ 2136901 w 2136901"/>
                <a:gd name="connsiteY2" fmla="*/ 0 h 1598104"/>
                <a:gd name="connsiteX3" fmla="*/ 931707 w 2136901"/>
                <a:gd name="connsiteY3" fmla="*/ 1598104 h 1598104"/>
                <a:gd name="connsiteX4" fmla="*/ 173465 w 2136901"/>
                <a:gd name="connsiteY4" fmla="*/ 1593944 h 1598104"/>
                <a:gd name="connsiteX5" fmla="*/ 379 w 2136901"/>
                <a:gd name="connsiteY5" fmla="*/ 1421590 h 1598104"/>
                <a:gd name="connsiteX0" fmla="*/ 379 w 2136901"/>
                <a:gd name="connsiteY0" fmla="*/ 1421590 h 1598104"/>
                <a:gd name="connsiteX1" fmla="*/ 1182057 w 2136901"/>
                <a:gd name="connsiteY1" fmla="*/ 0 h 1598104"/>
                <a:gd name="connsiteX2" fmla="*/ 2136901 w 2136901"/>
                <a:gd name="connsiteY2" fmla="*/ 0 h 1598104"/>
                <a:gd name="connsiteX3" fmla="*/ 931707 w 2136901"/>
                <a:gd name="connsiteY3" fmla="*/ 1598104 h 1598104"/>
                <a:gd name="connsiteX4" fmla="*/ 173465 w 2136901"/>
                <a:gd name="connsiteY4" fmla="*/ 1593944 h 1598104"/>
                <a:gd name="connsiteX5" fmla="*/ 379 w 2136901"/>
                <a:gd name="connsiteY5" fmla="*/ 1421590 h 1598104"/>
                <a:gd name="connsiteX0" fmla="*/ 175 w 2136697"/>
                <a:gd name="connsiteY0" fmla="*/ 1421590 h 1598104"/>
                <a:gd name="connsiteX1" fmla="*/ 1181853 w 2136697"/>
                <a:gd name="connsiteY1" fmla="*/ 0 h 1598104"/>
                <a:gd name="connsiteX2" fmla="*/ 2136697 w 2136697"/>
                <a:gd name="connsiteY2" fmla="*/ 0 h 1598104"/>
                <a:gd name="connsiteX3" fmla="*/ 931503 w 2136697"/>
                <a:gd name="connsiteY3" fmla="*/ 1598104 h 1598104"/>
                <a:gd name="connsiteX4" fmla="*/ 173261 w 2136697"/>
                <a:gd name="connsiteY4" fmla="*/ 1593944 h 1598104"/>
                <a:gd name="connsiteX5" fmla="*/ 175 w 2136697"/>
                <a:gd name="connsiteY5" fmla="*/ 1421590 h 1598104"/>
                <a:gd name="connsiteX0" fmla="*/ 175 w 2136697"/>
                <a:gd name="connsiteY0" fmla="*/ 1421590 h 1598104"/>
                <a:gd name="connsiteX1" fmla="*/ 1181853 w 2136697"/>
                <a:gd name="connsiteY1" fmla="*/ 0 h 1598104"/>
                <a:gd name="connsiteX2" fmla="*/ 2136697 w 2136697"/>
                <a:gd name="connsiteY2" fmla="*/ 0 h 1598104"/>
                <a:gd name="connsiteX3" fmla="*/ 931503 w 2136697"/>
                <a:gd name="connsiteY3" fmla="*/ 1598104 h 1598104"/>
                <a:gd name="connsiteX4" fmla="*/ 173261 w 2136697"/>
                <a:gd name="connsiteY4" fmla="*/ 1593944 h 1598104"/>
                <a:gd name="connsiteX5" fmla="*/ 175 w 2136697"/>
                <a:gd name="connsiteY5" fmla="*/ 1421590 h 1598104"/>
                <a:gd name="connsiteX0" fmla="*/ 175 w 2136697"/>
                <a:gd name="connsiteY0" fmla="*/ 1421590 h 1598104"/>
                <a:gd name="connsiteX1" fmla="*/ 1181853 w 2136697"/>
                <a:gd name="connsiteY1" fmla="*/ 0 h 1598104"/>
                <a:gd name="connsiteX2" fmla="*/ 2136697 w 2136697"/>
                <a:gd name="connsiteY2" fmla="*/ 0 h 1598104"/>
                <a:gd name="connsiteX3" fmla="*/ 931503 w 2136697"/>
                <a:gd name="connsiteY3" fmla="*/ 1598104 h 1598104"/>
                <a:gd name="connsiteX4" fmla="*/ 173261 w 2136697"/>
                <a:gd name="connsiteY4" fmla="*/ 1593944 h 1598104"/>
                <a:gd name="connsiteX5" fmla="*/ 175 w 2136697"/>
                <a:gd name="connsiteY5" fmla="*/ 1421590 h 1598104"/>
                <a:gd name="connsiteX0" fmla="*/ 175 w 2136697"/>
                <a:gd name="connsiteY0" fmla="*/ 1421590 h 1624516"/>
                <a:gd name="connsiteX1" fmla="*/ 1181853 w 2136697"/>
                <a:gd name="connsiteY1" fmla="*/ 0 h 1624516"/>
                <a:gd name="connsiteX2" fmla="*/ 2136697 w 2136697"/>
                <a:gd name="connsiteY2" fmla="*/ 0 h 1624516"/>
                <a:gd name="connsiteX3" fmla="*/ 931503 w 2136697"/>
                <a:gd name="connsiteY3" fmla="*/ 1598104 h 1624516"/>
                <a:gd name="connsiteX4" fmla="*/ 173261 w 2136697"/>
                <a:gd name="connsiteY4" fmla="*/ 1593944 h 1624516"/>
                <a:gd name="connsiteX5" fmla="*/ 175 w 2136697"/>
                <a:gd name="connsiteY5" fmla="*/ 1421590 h 1624516"/>
                <a:gd name="connsiteX0" fmla="*/ 175 w 2136697"/>
                <a:gd name="connsiteY0" fmla="*/ 1421590 h 1615756"/>
                <a:gd name="connsiteX1" fmla="*/ 1181853 w 2136697"/>
                <a:gd name="connsiteY1" fmla="*/ 0 h 1615756"/>
                <a:gd name="connsiteX2" fmla="*/ 2136697 w 2136697"/>
                <a:gd name="connsiteY2" fmla="*/ 0 h 1615756"/>
                <a:gd name="connsiteX3" fmla="*/ 931503 w 2136697"/>
                <a:gd name="connsiteY3" fmla="*/ 1598104 h 1615756"/>
                <a:gd name="connsiteX4" fmla="*/ 173261 w 2136697"/>
                <a:gd name="connsiteY4" fmla="*/ 1593944 h 1615756"/>
                <a:gd name="connsiteX5" fmla="*/ 175 w 2136697"/>
                <a:gd name="connsiteY5" fmla="*/ 1421590 h 1615756"/>
                <a:gd name="connsiteX0" fmla="*/ 175 w 2136697"/>
                <a:gd name="connsiteY0" fmla="*/ 1421590 h 1604305"/>
                <a:gd name="connsiteX1" fmla="*/ 1181853 w 2136697"/>
                <a:gd name="connsiteY1" fmla="*/ 0 h 1604305"/>
                <a:gd name="connsiteX2" fmla="*/ 2136697 w 2136697"/>
                <a:gd name="connsiteY2" fmla="*/ 0 h 1604305"/>
                <a:gd name="connsiteX3" fmla="*/ 934795 w 2136697"/>
                <a:gd name="connsiteY3" fmla="*/ 1581660 h 1604305"/>
                <a:gd name="connsiteX4" fmla="*/ 173261 w 2136697"/>
                <a:gd name="connsiteY4" fmla="*/ 1593944 h 1604305"/>
                <a:gd name="connsiteX5" fmla="*/ 175 w 2136697"/>
                <a:gd name="connsiteY5" fmla="*/ 1421590 h 1604305"/>
                <a:gd name="connsiteX0" fmla="*/ 175 w 2136697"/>
                <a:gd name="connsiteY0" fmla="*/ 1421590 h 1608521"/>
                <a:gd name="connsiteX1" fmla="*/ 1181853 w 2136697"/>
                <a:gd name="connsiteY1" fmla="*/ 0 h 1608521"/>
                <a:gd name="connsiteX2" fmla="*/ 2136697 w 2136697"/>
                <a:gd name="connsiteY2" fmla="*/ 0 h 1608521"/>
                <a:gd name="connsiteX3" fmla="*/ 934795 w 2136697"/>
                <a:gd name="connsiteY3" fmla="*/ 1581660 h 1608521"/>
                <a:gd name="connsiteX4" fmla="*/ 173261 w 2136697"/>
                <a:gd name="connsiteY4" fmla="*/ 1593944 h 1608521"/>
                <a:gd name="connsiteX5" fmla="*/ 175 w 2136697"/>
                <a:gd name="connsiteY5" fmla="*/ 1421590 h 1608521"/>
                <a:gd name="connsiteX0" fmla="*/ 175 w 2136697"/>
                <a:gd name="connsiteY0" fmla="*/ 1421590 h 1595941"/>
                <a:gd name="connsiteX1" fmla="*/ 1181853 w 2136697"/>
                <a:gd name="connsiteY1" fmla="*/ 0 h 1595941"/>
                <a:gd name="connsiteX2" fmla="*/ 2136697 w 2136697"/>
                <a:gd name="connsiteY2" fmla="*/ 0 h 1595941"/>
                <a:gd name="connsiteX3" fmla="*/ 951241 w 2136697"/>
                <a:gd name="connsiteY3" fmla="*/ 1555346 h 1595941"/>
                <a:gd name="connsiteX4" fmla="*/ 173261 w 2136697"/>
                <a:gd name="connsiteY4" fmla="*/ 1593944 h 1595941"/>
                <a:gd name="connsiteX5" fmla="*/ 175 w 2136697"/>
                <a:gd name="connsiteY5" fmla="*/ 1421590 h 1595941"/>
                <a:gd name="connsiteX0" fmla="*/ 175 w 2136697"/>
                <a:gd name="connsiteY0" fmla="*/ 1421590 h 1610638"/>
                <a:gd name="connsiteX1" fmla="*/ 1181853 w 2136697"/>
                <a:gd name="connsiteY1" fmla="*/ 0 h 1610638"/>
                <a:gd name="connsiteX2" fmla="*/ 2136697 w 2136697"/>
                <a:gd name="connsiteY2" fmla="*/ 0 h 1610638"/>
                <a:gd name="connsiteX3" fmla="*/ 951241 w 2136697"/>
                <a:gd name="connsiteY3" fmla="*/ 1555346 h 1610638"/>
                <a:gd name="connsiteX4" fmla="*/ 173261 w 2136697"/>
                <a:gd name="connsiteY4" fmla="*/ 1593944 h 1610638"/>
                <a:gd name="connsiteX5" fmla="*/ 175 w 2136697"/>
                <a:gd name="connsiteY5" fmla="*/ 1421590 h 1610638"/>
                <a:gd name="connsiteX0" fmla="*/ 175 w 2136697"/>
                <a:gd name="connsiteY0" fmla="*/ 1421590 h 1616000"/>
                <a:gd name="connsiteX1" fmla="*/ 1181853 w 2136697"/>
                <a:gd name="connsiteY1" fmla="*/ 0 h 1616000"/>
                <a:gd name="connsiteX2" fmla="*/ 2136697 w 2136697"/>
                <a:gd name="connsiteY2" fmla="*/ 0 h 1616000"/>
                <a:gd name="connsiteX3" fmla="*/ 951241 w 2136697"/>
                <a:gd name="connsiteY3" fmla="*/ 1555346 h 1616000"/>
                <a:gd name="connsiteX4" fmla="*/ 173261 w 2136697"/>
                <a:gd name="connsiteY4" fmla="*/ 1593944 h 1616000"/>
                <a:gd name="connsiteX5" fmla="*/ 175 w 2136697"/>
                <a:gd name="connsiteY5" fmla="*/ 1421590 h 1616000"/>
                <a:gd name="connsiteX0" fmla="*/ 175 w 2136697"/>
                <a:gd name="connsiteY0" fmla="*/ 1421590 h 1621935"/>
                <a:gd name="connsiteX1" fmla="*/ 1181853 w 2136697"/>
                <a:gd name="connsiteY1" fmla="*/ 0 h 1621935"/>
                <a:gd name="connsiteX2" fmla="*/ 2136697 w 2136697"/>
                <a:gd name="connsiteY2" fmla="*/ 0 h 1621935"/>
                <a:gd name="connsiteX3" fmla="*/ 951241 w 2136697"/>
                <a:gd name="connsiteY3" fmla="*/ 1555346 h 1621935"/>
                <a:gd name="connsiteX4" fmla="*/ 176550 w 2136697"/>
                <a:gd name="connsiteY4" fmla="*/ 1607103 h 1621935"/>
                <a:gd name="connsiteX5" fmla="*/ 175 w 2136697"/>
                <a:gd name="connsiteY5" fmla="*/ 1421590 h 1621935"/>
                <a:gd name="connsiteX0" fmla="*/ 175 w 2136697"/>
                <a:gd name="connsiteY0" fmla="*/ 1421590 h 1612307"/>
                <a:gd name="connsiteX1" fmla="*/ 1181853 w 2136697"/>
                <a:gd name="connsiteY1" fmla="*/ 0 h 1612307"/>
                <a:gd name="connsiteX2" fmla="*/ 2136697 w 2136697"/>
                <a:gd name="connsiteY2" fmla="*/ 0 h 1612307"/>
                <a:gd name="connsiteX3" fmla="*/ 964398 w 2136697"/>
                <a:gd name="connsiteY3" fmla="*/ 1532321 h 1612307"/>
                <a:gd name="connsiteX4" fmla="*/ 176550 w 2136697"/>
                <a:gd name="connsiteY4" fmla="*/ 1607103 h 1612307"/>
                <a:gd name="connsiteX5" fmla="*/ 175 w 2136697"/>
                <a:gd name="connsiteY5" fmla="*/ 1421590 h 1612307"/>
                <a:gd name="connsiteX0" fmla="*/ 175 w 2136697"/>
                <a:gd name="connsiteY0" fmla="*/ 1421590 h 1620507"/>
                <a:gd name="connsiteX1" fmla="*/ 1181853 w 2136697"/>
                <a:gd name="connsiteY1" fmla="*/ 0 h 1620507"/>
                <a:gd name="connsiteX2" fmla="*/ 2136697 w 2136697"/>
                <a:gd name="connsiteY2" fmla="*/ 0 h 1620507"/>
                <a:gd name="connsiteX3" fmla="*/ 964398 w 2136697"/>
                <a:gd name="connsiteY3" fmla="*/ 1532321 h 1620507"/>
                <a:gd name="connsiteX4" fmla="*/ 176550 w 2136697"/>
                <a:gd name="connsiteY4" fmla="*/ 1607103 h 1620507"/>
                <a:gd name="connsiteX5" fmla="*/ 175 w 2136697"/>
                <a:gd name="connsiteY5" fmla="*/ 1421590 h 1620507"/>
                <a:gd name="connsiteX0" fmla="*/ 175 w 2136697"/>
                <a:gd name="connsiteY0" fmla="*/ 1422384 h 1621301"/>
                <a:gd name="connsiteX1" fmla="*/ 1181853 w 2136697"/>
                <a:gd name="connsiteY1" fmla="*/ 794 h 1621301"/>
                <a:gd name="connsiteX2" fmla="*/ 1893612 w 2136697"/>
                <a:gd name="connsiteY2" fmla="*/ 0 h 1621301"/>
                <a:gd name="connsiteX3" fmla="*/ 2136697 w 2136697"/>
                <a:gd name="connsiteY3" fmla="*/ 794 h 1621301"/>
                <a:gd name="connsiteX4" fmla="*/ 964398 w 2136697"/>
                <a:gd name="connsiteY4" fmla="*/ 1533115 h 1621301"/>
                <a:gd name="connsiteX5" fmla="*/ 176550 w 2136697"/>
                <a:gd name="connsiteY5" fmla="*/ 1607897 h 1621301"/>
                <a:gd name="connsiteX6" fmla="*/ 175 w 2136697"/>
                <a:gd name="connsiteY6" fmla="*/ 1422384 h 1621301"/>
                <a:gd name="connsiteX0" fmla="*/ 175 w 2067623"/>
                <a:gd name="connsiteY0" fmla="*/ 1422384 h 1621301"/>
                <a:gd name="connsiteX1" fmla="*/ 1181853 w 2067623"/>
                <a:gd name="connsiteY1" fmla="*/ 794 h 1621301"/>
                <a:gd name="connsiteX2" fmla="*/ 1893612 w 2067623"/>
                <a:gd name="connsiteY2" fmla="*/ 0 h 1621301"/>
                <a:gd name="connsiteX3" fmla="*/ 2067623 w 2067623"/>
                <a:gd name="connsiteY3" fmla="*/ 115917 h 1621301"/>
                <a:gd name="connsiteX4" fmla="*/ 964398 w 2067623"/>
                <a:gd name="connsiteY4" fmla="*/ 1533115 h 1621301"/>
                <a:gd name="connsiteX5" fmla="*/ 176550 w 2067623"/>
                <a:gd name="connsiteY5" fmla="*/ 1607897 h 1621301"/>
                <a:gd name="connsiteX6" fmla="*/ 175 w 2067623"/>
                <a:gd name="connsiteY6" fmla="*/ 1422384 h 1621301"/>
                <a:gd name="connsiteX0" fmla="*/ 175 w 2073421"/>
                <a:gd name="connsiteY0" fmla="*/ 1422384 h 1621301"/>
                <a:gd name="connsiteX1" fmla="*/ 1181853 w 2073421"/>
                <a:gd name="connsiteY1" fmla="*/ 794 h 1621301"/>
                <a:gd name="connsiteX2" fmla="*/ 1893612 w 2073421"/>
                <a:gd name="connsiteY2" fmla="*/ 0 h 1621301"/>
                <a:gd name="connsiteX3" fmla="*/ 2067623 w 2073421"/>
                <a:gd name="connsiteY3" fmla="*/ 115917 h 1621301"/>
                <a:gd name="connsiteX4" fmla="*/ 964398 w 2073421"/>
                <a:gd name="connsiteY4" fmla="*/ 1533115 h 1621301"/>
                <a:gd name="connsiteX5" fmla="*/ 176550 w 2073421"/>
                <a:gd name="connsiteY5" fmla="*/ 1607897 h 1621301"/>
                <a:gd name="connsiteX6" fmla="*/ 175 w 2073421"/>
                <a:gd name="connsiteY6" fmla="*/ 1422384 h 1621301"/>
                <a:gd name="connsiteX0" fmla="*/ 175 w 2079798"/>
                <a:gd name="connsiteY0" fmla="*/ 1422384 h 1621301"/>
                <a:gd name="connsiteX1" fmla="*/ 1181853 w 2079798"/>
                <a:gd name="connsiteY1" fmla="*/ 794 h 1621301"/>
                <a:gd name="connsiteX2" fmla="*/ 1893612 w 2079798"/>
                <a:gd name="connsiteY2" fmla="*/ 0 h 1621301"/>
                <a:gd name="connsiteX3" fmla="*/ 2074201 w 2079798"/>
                <a:gd name="connsiteY3" fmla="*/ 155388 h 1621301"/>
                <a:gd name="connsiteX4" fmla="*/ 964398 w 2079798"/>
                <a:gd name="connsiteY4" fmla="*/ 1533115 h 1621301"/>
                <a:gd name="connsiteX5" fmla="*/ 176550 w 2079798"/>
                <a:gd name="connsiteY5" fmla="*/ 1607897 h 1621301"/>
                <a:gd name="connsiteX6" fmla="*/ 175 w 2079798"/>
                <a:gd name="connsiteY6" fmla="*/ 1422384 h 1621301"/>
                <a:gd name="connsiteX0" fmla="*/ 175 w 2086273"/>
                <a:gd name="connsiteY0" fmla="*/ 1422384 h 1621301"/>
                <a:gd name="connsiteX1" fmla="*/ 1181853 w 2086273"/>
                <a:gd name="connsiteY1" fmla="*/ 794 h 1621301"/>
                <a:gd name="connsiteX2" fmla="*/ 1893612 w 2086273"/>
                <a:gd name="connsiteY2" fmla="*/ 0 h 1621301"/>
                <a:gd name="connsiteX3" fmla="*/ 2074201 w 2086273"/>
                <a:gd name="connsiteY3" fmla="*/ 155388 h 1621301"/>
                <a:gd name="connsiteX4" fmla="*/ 964398 w 2086273"/>
                <a:gd name="connsiteY4" fmla="*/ 1533115 h 1621301"/>
                <a:gd name="connsiteX5" fmla="*/ 176550 w 2086273"/>
                <a:gd name="connsiteY5" fmla="*/ 1607897 h 1621301"/>
                <a:gd name="connsiteX6" fmla="*/ 175 w 2086273"/>
                <a:gd name="connsiteY6" fmla="*/ 1422384 h 1621301"/>
                <a:gd name="connsiteX0" fmla="*/ 175 w 2086273"/>
                <a:gd name="connsiteY0" fmla="*/ 1422384 h 1621301"/>
                <a:gd name="connsiteX1" fmla="*/ 1181853 w 2086273"/>
                <a:gd name="connsiteY1" fmla="*/ 794 h 1621301"/>
                <a:gd name="connsiteX2" fmla="*/ 1893612 w 2086273"/>
                <a:gd name="connsiteY2" fmla="*/ 0 h 1621301"/>
                <a:gd name="connsiteX3" fmla="*/ 2074201 w 2086273"/>
                <a:gd name="connsiteY3" fmla="*/ 155388 h 1621301"/>
                <a:gd name="connsiteX4" fmla="*/ 964398 w 2086273"/>
                <a:gd name="connsiteY4" fmla="*/ 1533115 h 1621301"/>
                <a:gd name="connsiteX5" fmla="*/ 176550 w 2086273"/>
                <a:gd name="connsiteY5" fmla="*/ 1607897 h 1621301"/>
                <a:gd name="connsiteX6" fmla="*/ 175 w 2086273"/>
                <a:gd name="connsiteY6" fmla="*/ 1422384 h 1621301"/>
                <a:gd name="connsiteX0" fmla="*/ 175 w 2088520"/>
                <a:gd name="connsiteY0" fmla="*/ 1422384 h 1621301"/>
                <a:gd name="connsiteX1" fmla="*/ 1181853 w 2088520"/>
                <a:gd name="connsiteY1" fmla="*/ 794 h 1621301"/>
                <a:gd name="connsiteX2" fmla="*/ 1893612 w 2088520"/>
                <a:gd name="connsiteY2" fmla="*/ 0 h 1621301"/>
                <a:gd name="connsiteX3" fmla="*/ 2074201 w 2088520"/>
                <a:gd name="connsiteY3" fmla="*/ 155388 h 1621301"/>
                <a:gd name="connsiteX4" fmla="*/ 964398 w 2088520"/>
                <a:gd name="connsiteY4" fmla="*/ 1533115 h 1621301"/>
                <a:gd name="connsiteX5" fmla="*/ 176550 w 2088520"/>
                <a:gd name="connsiteY5" fmla="*/ 1607897 h 1621301"/>
                <a:gd name="connsiteX6" fmla="*/ 175 w 2088520"/>
                <a:gd name="connsiteY6" fmla="*/ 1422384 h 1621301"/>
                <a:gd name="connsiteX0" fmla="*/ 175 w 2075561"/>
                <a:gd name="connsiteY0" fmla="*/ 1422384 h 1621301"/>
                <a:gd name="connsiteX1" fmla="*/ 1181853 w 2075561"/>
                <a:gd name="connsiteY1" fmla="*/ 794 h 1621301"/>
                <a:gd name="connsiteX2" fmla="*/ 1893612 w 2075561"/>
                <a:gd name="connsiteY2" fmla="*/ 0 h 1621301"/>
                <a:gd name="connsiteX3" fmla="*/ 2061048 w 2075561"/>
                <a:gd name="connsiteY3" fmla="*/ 145520 h 1621301"/>
                <a:gd name="connsiteX4" fmla="*/ 964398 w 2075561"/>
                <a:gd name="connsiteY4" fmla="*/ 1533115 h 1621301"/>
                <a:gd name="connsiteX5" fmla="*/ 176550 w 2075561"/>
                <a:gd name="connsiteY5" fmla="*/ 1607897 h 1621301"/>
                <a:gd name="connsiteX6" fmla="*/ 175 w 2075561"/>
                <a:gd name="connsiteY6" fmla="*/ 1422384 h 1621301"/>
                <a:gd name="connsiteX0" fmla="*/ 175 w 2088524"/>
                <a:gd name="connsiteY0" fmla="*/ 1422384 h 1621301"/>
                <a:gd name="connsiteX1" fmla="*/ 1181853 w 2088524"/>
                <a:gd name="connsiteY1" fmla="*/ 794 h 1621301"/>
                <a:gd name="connsiteX2" fmla="*/ 1893612 w 2088524"/>
                <a:gd name="connsiteY2" fmla="*/ 0 h 1621301"/>
                <a:gd name="connsiteX3" fmla="*/ 2074205 w 2088524"/>
                <a:gd name="connsiteY3" fmla="*/ 214594 h 1621301"/>
                <a:gd name="connsiteX4" fmla="*/ 964398 w 2088524"/>
                <a:gd name="connsiteY4" fmla="*/ 1533115 h 1621301"/>
                <a:gd name="connsiteX5" fmla="*/ 176550 w 2088524"/>
                <a:gd name="connsiteY5" fmla="*/ 1607897 h 1621301"/>
                <a:gd name="connsiteX6" fmla="*/ 175 w 2088524"/>
                <a:gd name="connsiteY6" fmla="*/ 1422384 h 1621301"/>
                <a:gd name="connsiteX0" fmla="*/ 175 w 2088524"/>
                <a:gd name="connsiteY0" fmla="*/ 1422384 h 1621301"/>
                <a:gd name="connsiteX1" fmla="*/ 1181853 w 2088524"/>
                <a:gd name="connsiteY1" fmla="*/ 794 h 1621301"/>
                <a:gd name="connsiteX2" fmla="*/ 1893612 w 2088524"/>
                <a:gd name="connsiteY2" fmla="*/ 0 h 1621301"/>
                <a:gd name="connsiteX3" fmla="*/ 2074205 w 2088524"/>
                <a:gd name="connsiteY3" fmla="*/ 214594 h 1621301"/>
                <a:gd name="connsiteX4" fmla="*/ 964398 w 2088524"/>
                <a:gd name="connsiteY4" fmla="*/ 1533115 h 1621301"/>
                <a:gd name="connsiteX5" fmla="*/ 176550 w 2088524"/>
                <a:gd name="connsiteY5" fmla="*/ 1607897 h 1621301"/>
                <a:gd name="connsiteX6" fmla="*/ 175 w 2088524"/>
                <a:gd name="connsiteY6" fmla="*/ 1422384 h 1621301"/>
                <a:gd name="connsiteX0" fmla="*/ 175 w 2074539"/>
                <a:gd name="connsiteY0" fmla="*/ 1422384 h 1621301"/>
                <a:gd name="connsiteX1" fmla="*/ 1181853 w 2074539"/>
                <a:gd name="connsiteY1" fmla="*/ 794 h 1621301"/>
                <a:gd name="connsiteX2" fmla="*/ 1893612 w 2074539"/>
                <a:gd name="connsiteY2" fmla="*/ 0 h 1621301"/>
                <a:gd name="connsiteX3" fmla="*/ 2074205 w 2074539"/>
                <a:gd name="connsiteY3" fmla="*/ 214594 h 1621301"/>
                <a:gd name="connsiteX4" fmla="*/ 964398 w 2074539"/>
                <a:gd name="connsiteY4" fmla="*/ 1533115 h 1621301"/>
                <a:gd name="connsiteX5" fmla="*/ 176550 w 2074539"/>
                <a:gd name="connsiteY5" fmla="*/ 1607897 h 1621301"/>
                <a:gd name="connsiteX6" fmla="*/ 175 w 2074539"/>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2384 h 1621301"/>
                <a:gd name="connsiteX1" fmla="*/ 1181853 w 2074205"/>
                <a:gd name="connsiteY1" fmla="*/ 794 h 1621301"/>
                <a:gd name="connsiteX2" fmla="*/ 1893612 w 2074205"/>
                <a:gd name="connsiteY2" fmla="*/ 0 h 1621301"/>
                <a:gd name="connsiteX3" fmla="*/ 2074205 w 2074205"/>
                <a:gd name="connsiteY3" fmla="*/ 214594 h 1621301"/>
                <a:gd name="connsiteX4" fmla="*/ 964398 w 2074205"/>
                <a:gd name="connsiteY4" fmla="*/ 1533115 h 1621301"/>
                <a:gd name="connsiteX5" fmla="*/ 176550 w 2074205"/>
                <a:gd name="connsiteY5" fmla="*/ 1607897 h 1621301"/>
                <a:gd name="connsiteX6" fmla="*/ 175 w 2074205"/>
                <a:gd name="connsiteY6" fmla="*/ 1422384 h 1621301"/>
                <a:gd name="connsiteX0" fmla="*/ 175 w 2074205"/>
                <a:gd name="connsiteY0" fmla="*/ 1423822 h 1622739"/>
                <a:gd name="connsiteX1" fmla="*/ 1181853 w 2074205"/>
                <a:gd name="connsiteY1" fmla="*/ 2232 h 1622739"/>
                <a:gd name="connsiteX2" fmla="*/ 1893612 w 2074205"/>
                <a:gd name="connsiteY2" fmla="*/ 1438 h 1622739"/>
                <a:gd name="connsiteX3" fmla="*/ 2074205 w 2074205"/>
                <a:gd name="connsiteY3" fmla="*/ 216032 h 1622739"/>
                <a:gd name="connsiteX4" fmla="*/ 964398 w 2074205"/>
                <a:gd name="connsiteY4" fmla="*/ 1534553 h 1622739"/>
                <a:gd name="connsiteX5" fmla="*/ 176550 w 2074205"/>
                <a:gd name="connsiteY5" fmla="*/ 1609335 h 1622739"/>
                <a:gd name="connsiteX6" fmla="*/ 175 w 2074205"/>
                <a:gd name="connsiteY6" fmla="*/ 1423822 h 1622739"/>
                <a:gd name="connsiteX0" fmla="*/ 175 w 2074205"/>
                <a:gd name="connsiteY0" fmla="*/ 1424365 h 1623282"/>
                <a:gd name="connsiteX1" fmla="*/ 1181853 w 2074205"/>
                <a:gd name="connsiteY1" fmla="*/ 2775 h 1623282"/>
                <a:gd name="connsiteX2" fmla="*/ 1893612 w 2074205"/>
                <a:gd name="connsiteY2" fmla="*/ 1981 h 1623282"/>
                <a:gd name="connsiteX3" fmla="*/ 2074205 w 2074205"/>
                <a:gd name="connsiteY3" fmla="*/ 216575 h 1623282"/>
                <a:gd name="connsiteX4" fmla="*/ 964398 w 2074205"/>
                <a:gd name="connsiteY4" fmla="*/ 1535096 h 1623282"/>
                <a:gd name="connsiteX5" fmla="*/ 176550 w 2074205"/>
                <a:gd name="connsiteY5" fmla="*/ 1609878 h 1623282"/>
                <a:gd name="connsiteX6" fmla="*/ 175 w 2074205"/>
                <a:gd name="connsiteY6" fmla="*/ 1424365 h 1623282"/>
                <a:gd name="connsiteX0" fmla="*/ 175 w 2074205"/>
                <a:gd name="connsiteY0" fmla="*/ 1424365 h 1623282"/>
                <a:gd name="connsiteX1" fmla="*/ 1181853 w 2074205"/>
                <a:gd name="connsiteY1" fmla="*/ 2775 h 1623282"/>
                <a:gd name="connsiteX2" fmla="*/ 1893612 w 2074205"/>
                <a:gd name="connsiteY2" fmla="*/ 1981 h 1623282"/>
                <a:gd name="connsiteX3" fmla="*/ 2074205 w 2074205"/>
                <a:gd name="connsiteY3" fmla="*/ 216575 h 1623282"/>
                <a:gd name="connsiteX4" fmla="*/ 964398 w 2074205"/>
                <a:gd name="connsiteY4" fmla="*/ 1535096 h 1623282"/>
                <a:gd name="connsiteX5" fmla="*/ 176550 w 2074205"/>
                <a:gd name="connsiteY5" fmla="*/ 1609878 h 1623282"/>
                <a:gd name="connsiteX6" fmla="*/ 175 w 2074205"/>
                <a:gd name="connsiteY6" fmla="*/ 1424365 h 1623282"/>
                <a:gd name="connsiteX0" fmla="*/ 133 w 2074163"/>
                <a:gd name="connsiteY0" fmla="*/ 1424365 h 1623282"/>
                <a:gd name="connsiteX1" fmla="*/ 1181811 w 2074163"/>
                <a:gd name="connsiteY1" fmla="*/ 2775 h 1623282"/>
                <a:gd name="connsiteX2" fmla="*/ 1893570 w 2074163"/>
                <a:gd name="connsiteY2" fmla="*/ 1981 h 1623282"/>
                <a:gd name="connsiteX3" fmla="*/ 2074163 w 2074163"/>
                <a:gd name="connsiteY3" fmla="*/ 216575 h 1623282"/>
                <a:gd name="connsiteX4" fmla="*/ 964356 w 2074163"/>
                <a:gd name="connsiteY4" fmla="*/ 1535096 h 1623282"/>
                <a:gd name="connsiteX5" fmla="*/ 176508 w 2074163"/>
                <a:gd name="connsiteY5" fmla="*/ 1609878 h 1623282"/>
                <a:gd name="connsiteX6" fmla="*/ 133 w 2074163"/>
                <a:gd name="connsiteY6" fmla="*/ 1424365 h 1623282"/>
                <a:gd name="connsiteX0" fmla="*/ 133 w 2074163"/>
                <a:gd name="connsiteY0" fmla="*/ 1424365 h 1623282"/>
                <a:gd name="connsiteX1" fmla="*/ 1181811 w 2074163"/>
                <a:gd name="connsiteY1" fmla="*/ 2775 h 1623282"/>
                <a:gd name="connsiteX2" fmla="*/ 1893570 w 2074163"/>
                <a:gd name="connsiteY2" fmla="*/ 1981 h 1623282"/>
                <a:gd name="connsiteX3" fmla="*/ 2074163 w 2074163"/>
                <a:gd name="connsiteY3" fmla="*/ 216575 h 1623282"/>
                <a:gd name="connsiteX4" fmla="*/ 964356 w 2074163"/>
                <a:gd name="connsiteY4" fmla="*/ 1535096 h 1623282"/>
                <a:gd name="connsiteX5" fmla="*/ 176508 w 2074163"/>
                <a:gd name="connsiteY5" fmla="*/ 1609878 h 1623282"/>
                <a:gd name="connsiteX6" fmla="*/ 133 w 2074163"/>
                <a:gd name="connsiteY6" fmla="*/ 1424365 h 1623282"/>
                <a:gd name="connsiteX0" fmla="*/ 135 w 2074165"/>
                <a:gd name="connsiteY0" fmla="*/ 1424365 h 1623282"/>
                <a:gd name="connsiteX1" fmla="*/ 1181813 w 2074165"/>
                <a:gd name="connsiteY1" fmla="*/ 2775 h 1623282"/>
                <a:gd name="connsiteX2" fmla="*/ 1893572 w 2074165"/>
                <a:gd name="connsiteY2" fmla="*/ 1981 h 1623282"/>
                <a:gd name="connsiteX3" fmla="*/ 2074165 w 2074165"/>
                <a:gd name="connsiteY3" fmla="*/ 216575 h 1623282"/>
                <a:gd name="connsiteX4" fmla="*/ 964358 w 2074165"/>
                <a:gd name="connsiteY4" fmla="*/ 1535096 h 1623282"/>
                <a:gd name="connsiteX5" fmla="*/ 176510 w 2074165"/>
                <a:gd name="connsiteY5" fmla="*/ 1609878 h 1623282"/>
                <a:gd name="connsiteX6" fmla="*/ 135 w 2074165"/>
                <a:gd name="connsiteY6" fmla="*/ 1424365 h 1623282"/>
                <a:gd name="connsiteX0" fmla="*/ 140 w 2074170"/>
                <a:gd name="connsiteY0" fmla="*/ 1424365 h 1623282"/>
                <a:gd name="connsiteX1" fmla="*/ 1181818 w 2074170"/>
                <a:gd name="connsiteY1" fmla="*/ 2775 h 1623282"/>
                <a:gd name="connsiteX2" fmla="*/ 1893577 w 2074170"/>
                <a:gd name="connsiteY2" fmla="*/ 1981 h 1623282"/>
                <a:gd name="connsiteX3" fmla="*/ 2074170 w 2074170"/>
                <a:gd name="connsiteY3" fmla="*/ 216575 h 1623282"/>
                <a:gd name="connsiteX4" fmla="*/ 964363 w 2074170"/>
                <a:gd name="connsiteY4" fmla="*/ 1535096 h 1623282"/>
                <a:gd name="connsiteX5" fmla="*/ 176515 w 2074170"/>
                <a:gd name="connsiteY5" fmla="*/ 1609878 h 1623282"/>
                <a:gd name="connsiteX6" fmla="*/ 140 w 2074170"/>
                <a:gd name="connsiteY6" fmla="*/ 1424365 h 1623282"/>
                <a:gd name="connsiteX0" fmla="*/ 143 w 2074173"/>
                <a:gd name="connsiteY0" fmla="*/ 1424365 h 1623282"/>
                <a:gd name="connsiteX1" fmla="*/ 1181821 w 2074173"/>
                <a:gd name="connsiteY1" fmla="*/ 2775 h 1623282"/>
                <a:gd name="connsiteX2" fmla="*/ 1893580 w 2074173"/>
                <a:gd name="connsiteY2" fmla="*/ 1981 h 1623282"/>
                <a:gd name="connsiteX3" fmla="*/ 2074173 w 2074173"/>
                <a:gd name="connsiteY3" fmla="*/ 216575 h 1623282"/>
                <a:gd name="connsiteX4" fmla="*/ 964366 w 2074173"/>
                <a:gd name="connsiteY4" fmla="*/ 1535096 h 1623282"/>
                <a:gd name="connsiteX5" fmla="*/ 176518 w 2074173"/>
                <a:gd name="connsiteY5" fmla="*/ 1609878 h 1623282"/>
                <a:gd name="connsiteX6" fmla="*/ 143 w 2074173"/>
                <a:gd name="connsiteY6" fmla="*/ 1424365 h 1623282"/>
                <a:gd name="connsiteX0" fmla="*/ 143 w 2074173"/>
                <a:gd name="connsiteY0" fmla="*/ 1424365 h 1630465"/>
                <a:gd name="connsiteX1" fmla="*/ 1181821 w 2074173"/>
                <a:gd name="connsiteY1" fmla="*/ 2775 h 1630465"/>
                <a:gd name="connsiteX2" fmla="*/ 1893580 w 2074173"/>
                <a:gd name="connsiteY2" fmla="*/ 1981 h 1630465"/>
                <a:gd name="connsiteX3" fmla="*/ 2074173 w 2074173"/>
                <a:gd name="connsiteY3" fmla="*/ 216575 h 1630465"/>
                <a:gd name="connsiteX4" fmla="*/ 964366 w 2074173"/>
                <a:gd name="connsiteY4" fmla="*/ 1535096 h 1630465"/>
                <a:gd name="connsiteX5" fmla="*/ 176518 w 2074173"/>
                <a:gd name="connsiteY5" fmla="*/ 1609878 h 1630465"/>
                <a:gd name="connsiteX6" fmla="*/ 143 w 2074173"/>
                <a:gd name="connsiteY6" fmla="*/ 1424365 h 1630465"/>
                <a:gd name="connsiteX0" fmla="*/ 143 w 2074173"/>
                <a:gd name="connsiteY0" fmla="*/ 1424365 h 1676501"/>
                <a:gd name="connsiteX1" fmla="*/ 1181821 w 2074173"/>
                <a:gd name="connsiteY1" fmla="*/ 2775 h 1676501"/>
                <a:gd name="connsiteX2" fmla="*/ 1893580 w 2074173"/>
                <a:gd name="connsiteY2" fmla="*/ 1981 h 1676501"/>
                <a:gd name="connsiteX3" fmla="*/ 2074173 w 2074173"/>
                <a:gd name="connsiteY3" fmla="*/ 216575 h 1676501"/>
                <a:gd name="connsiteX4" fmla="*/ 915028 w 2074173"/>
                <a:gd name="connsiteY4" fmla="*/ 1607459 h 1676501"/>
                <a:gd name="connsiteX5" fmla="*/ 176518 w 2074173"/>
                <a:gd name="connsiteY5" fmla="*/ 1609878 h 1676501"/>
                <a:gd name="connsiteX6" fmla="*/ 143 w 2074173"/>
                <a:gd name="connsiteY6" fmla="*/ 1424365 h 1676501"/>
                <a:gd name="connsiteX0" fmla="*/ 143 w 2074173"/>
                <a:gd name="connsiteY0" fmla="*/ 1424365 h 1612418"/>
                <a:gd name="connsiteX1" fmla="*/ 1181821 w 2074173"/>
                <a:gd name="connsiteY1" fmla="*/ 2775 h 1612418"/>
                <a:gd name="connsiteX2" fmla="*/ 1893580 w 2074173"/>
                <a:gd name="connsiteY2" fmla="*/ 1981 h 1612418"/>
                <a:gd name="connsiteX3" fmla="*/ 2074173 w 2074173"/>
                <a:gd name="connsiteY3" fmla="*/ 216575 h 1612418"/>
                <a:gd name="connsiteX4" fmla="*/ 915028 w 2074173"/>
                <a:gd name="connsiteY4" fmla="*/ 1607459 h 1612418"/>
                <a:gd name="connsiteX5" fmla="*/ 176518 w 2074173"/>
                <a:gd name="connsiteY5" fmla="*/ 1609878 h 1612418"/>
                <a:gd name="connsiteX6" fmla="*/ 143 w 2074173"/>
                <a:gd name="connsiteY6" fmla="*/ 1424365 h 1612418"/>
                <a:gd name="connsiteX0" fmla="*/ 143 w 2074173"/>
                <a:gd name="connsiteY0" fmla="*/ 1424365 h 1609996"/>
                <a:gd name="connsiteX1" fmla="*/ 1181821 w 2074173"/>
                <a:gd name="connsiteY1" fmla="*/ 2775 h 1609996"/>
                <a:gd name="connsiteX2" fmla="*/ 1893580 w 2074173"/>
                <a:gd name="connsiteY2" fmla="*/ 1981 h 1609996"/>
                <a:gd name="connsiteX3" fmla="*/ 2074173 w 2074173"/>
                <a:gd name="connsiteY3" fmla="*/ 216575 h 1609996"/>
                <a:gd name="connsiteX4" fmla="*/ 915028 w 2074173"/>
                <a:gd name="connsiteY4" fmla="*/ 1607459 h 1609996"/>
                <a:gd name="connsiteX5" fmla="*/ 176518 w 2074173"/>
                <a:gd name="connsiteY5" fmla="*/ 1609878 h 1609996"/>
                <a:gd name="connsiteX6" fmla="*/ 143 w 2074173"/>
                <a:gd name="connsiteY6" fmla="*/ 1424365 h 1609996"/>
                <a:gd name="connsiteX0" fmla="*/ 168 w 2074198"/>
                <a:gd name="connsiteY0" fmla="*/ 1424365 h 1609878"/>
                <a:gd name="connsiteX1" fmla="*/ 1181846 w 2074198"/>
                <a:gd name="connsiteY1" fmla="*/ 2775 h 1609878"/>
                <a:gd name="connsiteX2" fmla="*/ 1893605 w 2074198"/>
                <a:gd name="connsiteY2" fmla="*/ 1981 h 1609878"/>
                <a:gd name="connsiteX3" fmla="*/ 2074198 w 2074198"/>
                <a:gd name="connsiteY3" fmla="*/ 216575 h 1609878"/>
                <a:gd name="connsiteX4" fmla="*/ 915053 w 2074198"/>
                <a:gd name="connsiteY4" fmla="*/ 1607459 h 1609878"/>
                <a:gd name="connsiteX5" fmla="*/ 176543 w 2074198"/>
                <a:gd name="connsiteY5" fmla="*/ 1609878 h 1609878"/>
                <a:gd name="connsiteX6" fmla="*/ 168 w 2074198"/>
                <a:gd name="connsiteY6" fmla="*/ 1424365 h 1609878"/>
                <a:gd name="connsiteX0" fmla="*/ 168 w 2074198"/>
                <a:gd name="connsiteY0" fmla="*/ 1424365 h 1609878"/>
                <a:gd name="connsiteX1" fmla="*/ 1181846 w 2074198"/>
                <a:gd name="connsiteY1" fmla="*/ 2775 h 1609878"/>
                <a:gd name="connsiteX2" fmla="*/ 1893605 w 2074198"/>
                <a:gd name="connsiteY2" fmla="*/ 1981 h 1609878"/>
                <a:gd name="connsiteX3" fmla="*/ 2074198 w 2074198"/>
                <a:gd name="connsiteY3" fmla="*/ 216575 h 1609878"/>
                <a:gd name="connsiteX4" fmla="*/ 915053 w 2074198"/>
                <a:gd name="connsiteY4" fmla="*/ 1607459 h 1609878"/>
                <a:gd name="connsiteX5" fmla="*/ 176543 w 2074198"/>
                <a:gd name="connsiteY5" fmla="*/ 1609878 h 1609878"/>
                <a:gd name="connsiteX6" fmla="*/ 168 w 2074198"/>
                <a:gd name="connsiteY6" fmla="*/ 1424365 h 1609878"/>
                <a:gd name="connsiteX0" fmla="*/ 168 w 2074198"/>
                <a:gd name="connsiteY0" fmla="*/ 1424365 h 1609878"/>
                <a:gd name="connsiteX1" fmla="*/ 1181846 w 2074198"/>
                <a:gd name="connsiteY1" fmla="*/ 2775 h 1609878"/>
                <a:gd name="connsiteX2" fmla="*/ 1893605 w 2074198"/>
                <a:gd name="connsiteY2" fmla="*/ 1981 h 1609878"/>
                <a:gd name="connsiteX3" fmla="*/ 2074198 w 2074198"/>
                <a:gd name="connsiteY3" fmla="*/ 216575 h 1609878"/>
                <a:gd name="connsiteX4" fmla="*/ 915053 w 2074198"/>
                <a:gd name="connsiteY4" fmla="*/ 1607459 h 1609878"/>
                <a:gd name="connsiteX5" fmla="*/ 176543 w 2074198"/>
                <a:gd name="connsiteY5" fmla="*/ 1609878 h 1609878"/>
                <a:gd name="connsiteX6" fmla="*/ 168 w 2074198"/>
                <a:gd name="connsiteY6" fmla="*/ 1424365 h 1609878"/>
                <a:gd name="connsiteX0" fmla="*/ 168 w 2074198"/>
                <a:gd name="connsiteY0" fmla="*/ 1424365 h 1609878"/>
                <a:gd name="connsiteX1" fmla="*/ 1181846 w 2074198"/>
                <a:gd name="connsiteY1" fmla="*/ 2775 h 1609878"/>
                <a:gd name="connsiteX2" fmla="*/ 1893605 w 2074198"/>
                <a:gd name="connsiteY2" fmla="*/ 1981 h 1609878"/>
                <a:gd name="connsiteX3" fmla="*/ 2074198 w 2074198"/>
                <a:gd name="connsiteY3" fmla="*/ 216575 h 1609878"/>
                <a:gd name="connsiteX4" fmla="*/ 915053 w 2074198"/>
                <a:gd name="connsiteY4" fmla="*/ 1607459 h 1609878"/>
                <a:gd name="connsiteX5" fmla="*/ 176543 w 2074198"/>
                <a:gd name="connsiteY5" fmla="*/ 1609878 h 1609878"/>
                <a:gd name="connsiteX6" fmla="*/ 168 w 2074198"/>
                <a:gd name="connsiteY6" fmla="*/ 1424365 h 1609878"/>
                <a:gd name="connsiteX0" fmla="*/ 168 w 2074198"/>
                <a:gd name="connsiteY0" fmla="*/ 1425562 h 1611075"/>
                <a:gd name="connsiteX1" fmla="*/ 1181846 w 2074198"/>
                <a:gd name="connsiteY1" fmla="*/ 3972 h 1611075"/>
                <a:gd name="connsiteX2" fmla="*/ 1893605 w 2074198"/>
                <a:gd name="connsiteY2" fmla="*/ 3178 h 1611075"/>
                <a:gd name="connsiteX3" fmla="*/ 2074198 w 2074198"/>
                <a:gd name="connsiteY3" fmla="*/ 217772 h 1611075"/>
                <a:gd name="connsiteX4" fmla="*/ 915053 w 2074198"/>
                <a:gd name="connsiteY4" fmla="*/ 1608656 h 1611075"/>
                <a:gd name="connsiteX5" fmla="*/ 176543 w 2074198"/>
                <a:gd name="connsiteY5" fmla="*/ 1611075 h 1611075"/>
                <a:gd name="connsiteX6" fmla="*/ 168 w 2074198"/>
                <a:gd name="connsiteY6" fmla="*/ 1425562 h 1611075"/>
                <a:gd name="connsiteX0" fmla="*/ 168 w 2074198"/>
                <a:gd name="connsiteY0" fmla="*/ 1425562 h 1611075"/>
                <a:gd name="connsiteX1" fmla="*/ 1181846 w 2074198"/>
                <a:gd name="connsiteY1" fmla="*/ 3972 h 1611075"/>
                <a:gd name="connsiteX2" fmla="*/ 1893605 w 2074198"/>
                <a:gd name="connsiteY2" fmla="*/ 3178 h 1611075"/>
                <a:gd name="connsiteX3" fmla="*/ 2074198 w 2074198"/>
                <a:gd name="connsiteY3" fmla="*/ 217772 h 1611075"/>
                <a:gd name="connsiteX4" fmla="*/ 915053 w 2074198"/>
                <a:gd name="connsiteY4" fmla="*/ 1608656 h 1611075"/>
                <a:gd name="connsiteX5" fmla="*/ 176543 w 2074198"/>
                <a:gd name="connsiteY5" fmla="*/ 1611075 h 1611075"/>
                <a:gd name="connsiteX6" fmla="*/ 168 w 2074198"/>
                <a:gd name="connsiteY6" fmla="*/ 1425562 h 1611075"/>
                <a:gd name="connsiteX0" fmla="*/ 168 w 2074198"/>
                <a:gd name="connsiteY0" fmla="*/ 1425562 h 1611075"/>
                <a:gd name="connsiteX1" fmla="*/ 1181846 w 2074198"/>
                <a:gd name="connsiteY1" fmla="*/ 3972 h 1611075"/>
                <a:gd name="connsiteX2" fmla="*/ 1893605 w 2074198"/>
                <a:gd name="connsiteY2" fmla="*/ 3178 h 1611075"/>
                <a:gd name="connsiteX3" fmla="*/ 2074198 w 2074198"/>
                <a:gd name="connsiteY3" fmla="*/ 217772 h 1611075"/>
                <a:gd name="connsiteX4" fmla="*/ 915053 w 2074198"/>
                <a:gd name="connsiteY4" fmla="*/ 1608656 h 1611075"/>
                <a:gd name="connsiteX5" fmla="*/ 176543 w 2074198"/>
                <a:gd name="connsiteY5" fmla="*/ 1611075 h 1611075"/>
                <a:gd name="connsiteX6" fmla="*/ 168 w 2074198"/>
                <a:gd name="connsiteY6" fmla="*/ 1425562 h 1611075"/>
                <a:gd name="connsiteX0" fmla="*/ 168 w 2074198"/>
                <a:gd name="connsiteY0" fmla="*/ 1425562 h 1611075"/>
                <a:gd name="connsiteX1" fmla="*/ 1181846 w 2074198"/>
                <a:gd name="connsiteY1" fmla="*/ 3972 h 1611075"/>
                <a:gd name="connsiteX2" fmla="*/ 1893605 w 2074198"/>
                <a:gd name="connsiteY2" fmla="*/ 3178 h 1611075"/>
                <a:gd name="connsiteX3" fmla="*/ 2074198 w 2074198"/>
                <a:gd name="connsiteY3" fmla="*/ 217772 h 1611075"/>
                <a:gd name="connsiteX4" fmla="*/ 915053 w 2074198"/>
                <a:gd name="connsiteY4" fmla="*/ 1608656 h 1611075"/>
                <a:gd name="connsiteX5" fmla="*/ 176543 w 2074198"/>
                <a:gd name="connsiteY5" fmla="*/ 1611075 h 1611075"/>
                <a:gd name="connsiteX6" fmla="*/ 168 w 2074198"/>
                <a:gd name="connsiteY6" fmla="*/ 1425562 h 1611075"/>
                <a:gd name="connsiteX0" fmla="*/ 168 w 2074198"/>
                <a:gd name="connsiteY0" fmla="*/ 1425562 h 1611075"/>
                <a:gd name="connsiteX1" fmla="*/ 1181846 w 2074198"/>
                <a:gd name="connsiteY1" fmla="*/ 3972 h 1611075"/>
                <a:gd name="connsiteX2" fmla="*/ 1893605 w 2074198"/>
                <a:gd name="connsiteY2" fmla="*/ 3178 h 1611075"/>
                <a:gd name="connsiteX3" fmla="*/ 2074198 w 2074198"/>
                <a:gd name="connsiteY3" fmla="*/ 217772 h 1611075"/>
                <a:gd name="connsiteX4" fmla="*/ 915053 w 2074198"/>
                <a:gd name="connsiteY4" fmla="*/ 1608656 h 1611075"/>
                <a:gd name="connsiteX5" fmla="*/ 176543 w 2074198"/>
                <a:gd name="connsiteY5" fmla="*/ 1611075 h 1611075"/>
                <a:gd name="connsiteX6" fmla="*/ 168 w 2074198"/>
                <a:gd name="connsiteY6" fmla="*/ 1425562 h 161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4198" h="1611075">
                  <a:moveTo>
                    <a:pt x="168" y="1425562"/>
                  </a:moveTo>
                  <a:cubicBezTo>
                    <a:pt x="-13747" y="2036916"/>
                    <a:pt x="948780" y="3379"/>
                    <a:pt x="1181846" y="3972"/>
                  </a:cubicBezTo>
                  <a:lnTo>
                    <a:pt x="1893605" y="3178"/>
                  </a:lnTo>
                  <a:cubicBezTo>
                    <a:pt x="1974634" y="8924"/>
                    <a:pt x="2072119" y="-57691"/>
                    <a:pt x="2074198" y="217772"/>
                  </a:cubicBezTo>
                  <a:cubicBezTo>
                    <a:pt x="2066085" y="-563017"/>
                    <a:pt x="1202760" y="1596748"/>
                    <a:pt x="915053" y="1608656"/>
                  </a:cubicBezTo>
                  <a:lnTo>
                    <a:pt x="176543" y="1611075"/>
                  </a:lnTo>
                  <a:cubicBezTo>
                    <a:pt x="87416" y="1598403"/>
                    <a:pt x="-4473" y="1617577"/>
                    <a:pt x="168" y="1425562"/>
                  </a:cubicBezTo>
                  <a:close/>
                </a:path>
              </a:pathLst>
            </a:custGeom>
            <a:gradFill>
              <a:gsLst>
                <a:gs pos="0">
                  <a:srgbClr val="8D8EA7"/>
                </a:gs>
                <a:gs pos="100000">
                  <a:srgbClr val="8D8EA7"/>
                </a:gs>
              </a:gsLst>
              <a:lin ang="162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ea typeface="Arial Unicode MS"/>
                <a:cs typeface="+mn-cs"/>
              </a:endParaRPr>
            </a:p>
          </p:txBody>
        </p:sp>
      </p:grpSp>
    </p:spTree>
    <p:extLst>
      <p:ext uri="{BB962C8B-B14F-4D97-AF65-F5344CB8AC3E}">
        <p14:creationId xmlns:p14="http://schemas.microsoft.com/office/powerpoint/2010/main" val="2320820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4" name="RBContent58">
            <a:extLst>
              <a:ext uri="{FF2B5EF4-FFF2-40B4-BE49-F238E27FC236}">
                <a16:creationId xmlns:a16="http://schemas.microsoft.com/office/drawing/2014/main" id="{90633DAF-27C2-4679-BBF4-D7AD473BA4B2}"/>
              </a:ext>
            </a:extLst>
          </p:cNvPr>
          <p:cNvSpPr txBox="1">
            <a:spLocks/>
          </p:cNvSpPr>
          <p:nvPr/>
        </p:nvSpPr>
        <p:spPr>
          <a:xfrm>
            <a:off x="365681" y="2488728"/>
            <a:ext cx="10382401" cy="2410916"/>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p:txBody>
      </p:sp>
      <p:sp>
        <p:nvSpPr>
          <p:cNvPr id="17" name="RBContent58">
            <a:extLst>
              <a:ext uri="{FF2B5EF4-FFF2-40B4-BE49-F238E27FC236}">
                <a16:creationId xmlns:a16="http://schemas.microsoft.com/office/drawing/2014/main" id="{119E2AC3-65EC-4A2B-BA6D-E928C2B3C21A}"/>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18" name="RBContent58">
            <a:extLst>
              <a:ext uri="{FF2B5EF4-FFF2-40B4-BE49-F238E27FC236}">
                <a16:creationId xmlns:a16="http://schemas.microsoft.com/office/drawing/2014/main" id="{3B6C4E21-8A76-4A73-9F91-45F9869564F6}"/>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9" name="RBContent58">
            <a:extLst>
              <a:ext uri="{FF2B5EF4-FFF2-40B4-BE49-F238E27FC236}">
                <a16:creationId xmlns:a16="http://schemas.microsoft.com/office/drawing/2014/main" id="{CB47741C-A274-455B-9E58-A9A6AAB3F735}"/>
              </a:ext>
            </a:extLst>
          </p:cNvPr>
          <p:cNvSpPr txBox="1">
            <a:spLocks/>
          </p:cNvSpPr>
          <p:nvPr/>
        </p:nvSpPr>
        <p:spPr>
          <a:xfrm>
            <a:off x="11195403" y="2488728"/>
            <a:ext cx="630914" cy="2410916"/>
          </a:xfrm>
          <a:prstGeom prst="rect">
            <a:avLst/>
          </a:prstGeom>
          <a:noFill/>
          <a:ln w="9525">
            <a:noFill/>
          </a:ln>
        </p:spPr>
        <p:txBody>
          <a:bodyPr vert="horz" wrap="square" lIns="0" tIns="0" rIns="0" bIns="0" rtlCol="0">
            <a:spAutoFit/>
          </a:bodyPr>
          <a:lstStyle/>
          <a:p>
            <a:pPr algn="r">
              <a:spcAft>
                <a:spcPts val="2000"/>
              </a:spcAft>
            </a:pPr>
            <a:r>
              <a:rPr lang="en-GB"/>
              <a:t>1</a:t>
            </a:r>
          </a:p>
          <a:p>
            <a:pPr algn="r">
              <a:spcAft>
                <a:spcPts val="2000"/>
              </a:spcAft>
            </a:pPr>
            <a:r>
              <a:rPr lang="en-GB"/>
              <a:t>2</a:t>
            </a:r>
          </a:p>
          <a:p>
            <a:pPr algn="r">
              <a:spcAft>
                <a:spcPts val="2000"/>
              </a:spcAft>
            </a:pPr>
            <a:r>
              <a:rPr lang="en-GB"/>
              <a:t>3</a:t>
            </a:r>
          </a:p>
          <a:p>
            <a:pPr algn="r">
              <a:spcAft>
                <a:spcPts val="2000"/>
              </a:spcAft>
            </a:pPr>
            <a:r>
              <a:rPr lang="en-GB"/>
              <a:t>4</a:t>
            </a:r>
          </a:p>
          <a:p>
            <a:pPr algn="r">
              <a:spcAft>
                <a:spcPts val="2000"/>
              </a:spcAft>
            </a:pPr>
            <a:r>
              <a:rPr lang="en-GB"/>
              <a:t>5</a:t>
            </a:r>
          </a:p>
        </p:txBody>
      </p:sp>
    </p:spTree>
    <p:extLst>
      <p:ext uri="{BB962C8B-B14F-4D97-AF65-F5344CB8AC3E}">
        <p14:creationId xmlns:p14="http://schemas.microsoft.com/office/powerpoint/2010/main" val="294003290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F653CB-8826-F34B-8831-6AA93798A31B}"/>
              </a:ext>
            </a:extLst>
          </p:cNvPr>
          <p:cNvSpPr>
            <a:spLocks noGrp="1"/>
          </p:cNvSpPr>
          <p:nvPr>
            <p:ph type="sldNum" sz="quarter" idx="4"/>
          </p:nvPr>
        </p:nvSpPr>
        <p:spPr/>
        <p:txBody>
          <a:bodyPr/>
          <a:lstStyle/>
          <a:p>
            <a:fld id="{3D966009-6E5A-4F8C-8CA7-E37AFBF5FB92}" type="slidenum">
              <a:rPr lang="en-US" smtClean="0"/>
              <a:t>120</a:t>
            </a:fld>
            <a:endParaRPr lang="en-US"/>
          </a:p>
        </p:txBody>
      </p:sp>
      <p:sp>
        <p:nvSpPr>
          <p:cNvPr id="3" name="Title 2">
            <a:extLst>
              <a:ext uri="{FF2B5EF4-FFF2-40B4-BE49-F238E27FC236}">
                <a16:creationId xmlns:a16="http://schemas.microsoft.com/office/drawing/2014/main" id="{9B78BC42-B98C-C94C-B2E6-B8AC4E9C02B9}"/>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34465943-379E-DC4F-AE0B-43E2A7BE8BD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FDF224C4-8998-EB49-9EB6-2BFF635F6FDB}"/>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787D707A-2DDD-704B-896C-B0F3DECC54AF}"/>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6AD6C29-D882-144D-BD32-2F825D95B140}"/>
              </a:ext>
            </a:extLst>
          </p:cNvPr>
          <p:cNvSpPr>
            <a:spLocks noGrp="1"/>
          </p:cNvSpPr>
          <p:nvPr>
            <p:ph sz="quarter" idx="14"/>
          </p:nvPr>
        </p:nvSpPr>
        <p:spPr/>
        <p:txBody>
          <a:bodyPr/>
          <a:lstStyle/>
          <a:p>
            <a:endParaRPr lang="en-GB"/>
          </a:p>
        </p:txBody>
      </p:sp>
      <p:grpSp>
        <p:nvGrpSpPr>
          <p:cNvPr id="9" name="Group 8">
            <a:extLst>
              <a:ext uri="{FF2B5EF4-FFF2-40B4-BE49-F238E27FC236}">
                <a16:creationId xmlns:a16="http://schemas.microsoft.com/office/drawing/2014/main" id="{4FA526F7-353E-1A4B-9C31-C32EDDA5A931}"/>
              </a:ext>
            </a:extLst>
          </p:cNvPr>
          <p:cNvGrpSpPr/>
          <p:nvPr/>
        </p:nvGrpSpPr>
        <p:grpSpPr>
          <a:xfrm>
            <a:off x="3994931" y="2610438"/>
            <a:ext cx="4692302" cy="3228874"/>
            <a:chOff x="3994931" y="2610438"/>
            <a:chExt cx="4692302" cy="3228874"/>
          </a:xfrm>
          <a:solidFill>
            <a:schemeClr val="bg1">
              <a:lumMod val="75000"/>
            </a:schemeClr>
          </a:solidFill>
        </p:grpSpPr>
        <p:sp>
          <p:nvSpPr>
            <p:cNvPr id="11" name="Rectangle 10">
              <a:extLst>
                <a:ext uri="{FF2B5EF4-FFF2-40B4-BE49-F238E27FC236}">
                  <a16:creationId xmlns:a16="http://schemas.microsoft.com/office/drawing/2014/main" id="{CAD888B7-0034-6248-8F54-16DECDA6500F}"/>
                </a:ext>
              </a:extLst>
            </p:cNvPr>
            <p:cNvSpPr/>
            <p:nvPr/>
          </p:nvSpPr>
          <p:spPr>
            <a:xfrm>
              <a:off x="6012146" y="2610438"/>
              <a:ext cx="133781" cy="3344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 name="Rectangle 11">
              <a:extLst>
                <a:ext uri="{FF2B5EF4-FFF2-40B4-BE49-F238E27FC236}">
                  <a16:creationId xmlns:a16="http://schemas.microsoft.com/office/drawing/2014/main" id="{D56BCD21-82F7-5F40-AF61-BD8813E8FC30}"/>
                </a:ext>
              </a:extLst>
            </p:cNvPr>
            <p:cNvSpPr/>
            <p:nvPr/>
          </p:nvSpPr>
          <p:spPr>
            <a:xfrm>
              <a:off x="6012816" y="2926315"/>
              <a:ext cx="2219081"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 name="Rectangle 12">
              <a:extLst>
                <a:ext uri="{FF2B5EF4-FFF2-40B4-BE49-F238E27FC236}">
                  <a16:creationId xmlns:a16="http://schemas.microsoft.com/office/drawing/2014/main" id="{DBEA3051-E005-A64B-A892-9B222280C709}"/>
                </a:ext>
              </a:extLst>
            </p:cNvPr>
            <p:cNvSpPr/>
            <p:nvPr/>
          </p:nvSpPr>
          <p:spPr>
            <a:xfrm>
              <a:off x="4485617" y="3281120"/>
              <a:ext cx="3746280"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 name="Rectangle 13">
              <a:extLst>
                <a:ext uri="{FF2B5EF4-FFF2-40B4-BE49-F238E27FC236}">
                  <a16:creationId xmlns:a16="http://schemas.microsoft.com/office/drawing/2014/main" id="{AF1137F5-03F2-DC43-BCD1-694A842601AC}"/>
                </a:ext>
              </a:extLst>
            </p:cNvPr>
            <p:cNvSpPr/>
            <p:nvPr/>
          </p:nvSpPr>
          <p:spPr>
            <a:xfrm>
              <a:off x="4485617" y="3635924"/>
              <a:ext cx="3077301"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 name="Rectangle 14">
              <a:extLst>
                <a:ext uri="{FF2B5EF4-FFF2-40B4-BE49-F238E27FC236}">
                  <a16:creationId xmlns:a16="http://schemas.microsoft.com/office/drawing/2014/main" id="{1D450210-7A37-1047-829A-C1C034ABD8D5}"/>
                </a:ext>
              </a:extLst>
            </p:cNvPr>
            <p:cNvSpPr/>
            <p:nvPr/>
          </p:nvSpPr>
          <p:spPr>
            <a:xfrm>
              <a:off x="5154595" y="3990729"/>
              <a:ext cx="2408323"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 name="Rectangle 15">
              <a:extLst>
                <a:ext uri="{FF2B5EF4-FFF2-40B4-BE49-F238E27FC236}">
                  <a16:creationId xmlns:a16="http://schemas.microsoft.com/office/drawing/2014/main" id="{17CAFA31-111E-FE48-8C66-9C281E3CAFC2}"/>
                </a:ext>
              </a:extLst>
            </p:cNvPr>
            <p:cNvSpPr/>
            <p:nvPr/>
          </p:nvSpPr>
          <p:spPr>
            <a:xfrm>
              <a:off x="5154595" y="4345533"/>
              <a:ext cx="1739344"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 name="Rectangle 16">
              <a:extLst>
                <a:ext uri="{FF2B5EF4-FFF2-40B4-BE49-F238E27FC236}">
                  <a16:creationId xmlns:a16="http://schemas.microsoft.com/office/drawing/2014/main" id="{94813C40-168A-6549-8954-5D47434FE4AC}"/>
                </a:ext>
              </a:extLst>
            </p:cNvPr>
            <p:cNvSpPr/>
            <p:nvPr/>
          </p:nvSpPr>
          <p:spPr>
            <a:xfrm>
              <a:off x="6088914" y="4700337"/>
              <a:ext cx="805025" cy="1337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 name="Rectangle 17">
              <a:extLst>
                <a:ext uri="{FF2B5EF4-FFF2-40B4-BE49-F238E27FC236}">
                  <a16:creationId xmlns:a16="http://schemas.microsoft.com/office/drawing/2014/main" id="{8980CF68-1772-5D41-B36C-9066D00923DB}"/>
                </a:ext>
              </a:extLst>
            </p:cNvPr>
            <p:cNvSpPr/>
            <p:nvPr/>
          </p:nvSpPr>
          <p:spPr>
            <a:xfrm>
              <a:off x="6022024" y="4700337"/>
              <a:ext cx="133781" cy="6588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 name="Freeform 32">
              <a:extLst>
                <a:ext uri="{FF2B5EF4-FFF2-40B4-BE49-F238E27FC236}">
                  <a16:creationId xmlns:a16="http://schemas.microsoft.com/office/drawing/2014/main" id="{33338914-4715-E649-AC48-436402F5E596}"/>
                </a:ext>
              </a:extLst>
            </p:cNvPr>
            <p:cNvSpPr/>
            <p:nvPr/>
          </p:nvSpPr>
          <p:spPr>
            <a:xfrm>
              <a:off x="8129649" y="2788110"/>
              <a:ext cx="557584" cy="761717"/>
            </a:xfrm>
            <a:custGeom>
              <a:avLst/>
              <a:gdLst>
                <a:gd name="connsiteX0" fmla="*/ 0 w 557442"/>
                <a:gd name="connsiteY0" fmla="*/ 114911 h 740811"/>
                <a:gd name="connsiteX1" fmla="*/ 7335 w 557442"/>
                <a:gd name="connsiteY1" fmla="*/ 0 h 740811"/>
                <a:gd name="connsiteX2" fmla="*/ 557442 w 557442"/>
                <a:gd name="connsiteY2" fmla="*/ 378963 h 740811"/>
                <a:gd name="connsiteX3" fmla="*/ 7335 w 557442"/>
                <a:gd name="connsiteY3" fmla="*/ 740811 h 740811"/>
                <a:gd name="connsiteX4" fmla="*/ 7335 w 557442"/>
                <a:gd name="connsiteY4" fmla="*/ 625900 h 740811"/>
                <a:gd name="connsiteX5" fmla="*/ 398522 w 557442"/>
                <a:gd name="connsiteY5" fmla="*/ 386297 h 740811"/>
                <a:gd name="connsiteX6" fmla="*/ 0 w 557442"/>
                <a:gd name="connsiteY6" fmla="*/ 114911 h 740811"/>
                <a:gd name="connsiteX0" fmla="*/ 0 w 550107"/>
                <a:gd name="connsiteY0" fmla="*/ 114911 h 740811"/>
                <a:gd name="connsiteX1" fmla="*/ 7335 w 550107"/>
                <a:gd name="connsiteY1" fmla="*/ 0 h 740811"/>
                <a:gd name="connsiteX2" fmla="*/ 550107 w 550107"/>
                <a:gd name="connsiteY2" fmla="*/ 369183 h 740811"/>
                <a:gd name="connsiteX3" fmla="*/ 7335 w 550107"/>
                <a:gd name="connsiteY3" fmla="*/ 740811 h 740811"/>
                <a:gd name="connsiteX4" fmla="*/ 7335 w 550107"/>
                <a:gd name="connsiteY4" fmla="*/ 625900 h 740811"/>
                <a:gd name="connsiteX5" fmla="*/ 398522 w 550107"/>
                <a:gd name="connsiteY5" fmla="*/ 386297 h 740811"/>
                <a:gd name="connsiteX6" fmla="*/ 0 w 550107"/>
                <a:gd name="connsiteY6" fmla="*/ 114911 h 740811"/>
                <a:gd name="connsiteX0" fmla="*/ 0 w 535438"/>
                <a:gd name="connsiteY0" fmla="*/ 114911 h 740811"/>
                <a:gd name="connsiteX1" fmla="*/ 7335 w 535438"/>
                <a:gd name="connsiteY1" fmla="*/ 0 h 740811"/>
                <a:gd name="connsiteX2" fmla="*/ 535438 w 535438"/>
                <a:gd name="connsiteY2" fmla="*/ 37162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35438"/>
                <a:gd name="connsiteY0" fmla="*/ 114911 h 740811"/>
                <a:gd name="connsiteX1" fmla="*/ 7335 w 535438"/>
                <a:gd name="connsiteY1" fmla="*/ 0 h 740811"/>
                <a:gd name="connsiteX2" fmla="*/ 535438 w 535438"/>
                <a:gd name="connsiteY2" fmla="*/ 36184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398522 w 547662"/>
                <a:gd name="connsiteY5" fmla="*/ 386297 h 740811"/>
                <a:gd name="connsiteX6" fmla="*/ 0 w 547662"/>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400967 w 547662"/>
                <a:gd name="connsiteY5" fmla="*/ 364292 h 740811"/>
                <a:gd name="connsiteX6" fmla="*/ 0 w 547662"/>
                <a:gd name="connsiteY6" fmla="*/ 114911 h 740811"/>
                <a:gd name="connsiteX0" fmla="*/ 2445 w 550107"/>
                <a:gd name="connsiteY0" fmla="*/ 117356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17356 h 743256"/>
                <a:gd name="connsiteX0" fmla="*/ 2445 w 550107"/>
                <a:gd name="connsiteY0" fmla="*/ 129580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29580 h 743256"/>
                <a:gd name="connsiteX0" fmla="*/ 4889 w 552551"/>
                <a:gd name="connsiteY0" fmla="*/ 146694 h 760370"/>
                <a:gd name="connsiteX1" fmla="*/ 0 w 552551"/>
                <a:gd name="connsiteY1" fmla="*/ 0 h 760370"/>
                <a:gd name="connsiteX2" fmla="*/ 552551 w 552551"/>
                <a:gd name="connsiteY2" fmla="*/ 388742 h 760370"/>
                <a:gd name="connsiteX3" fmla="*/ 12224 w 552551"/>
                <a:gd name="connsiteY3" fmla="*/ 760370 h 760370"/>
                <a:gd name="connsiteX4" fmla="*/ 12224 w 552551"/>
                <a:gd name="connsiteY4" fmla="*/ 645459 h 760370"/>
                <a:gd name="connsiteX5" fmla="*/ 405856 w 552551"/>
                <a:gd name="connsiteY5" fmla="*/ 383851 h 760370"/>
                <a:gd name="connsiteX6" fmla="*/ 4889 w 552551"/>
                <a:gd name="connsiteY6" fmla="*/ 146694 h 760370"/>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54984 h 769895"/>
                <a:gd name="connsiteX5" fmla="*/ 405856 w 552551"/>
                <a:gd name="connsiteY5" fmla="*/ 393376 h 769895"/>
                <a:gd name="connsiteX6" fmla="*/ 4889 w 552551"/>
                <a:gd name="connsiteY6" fmla="*/ 156219 h 769895"/>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69272 h 769895"/>
                <a:gd name="connsiteX5" fmla="*/ 405856 w 552551"/>
                <a:gd name="connsiteY5" fmla="*/ 393376 h 769895"/>
                <a:gd name="connsiteX6" fmla="*/ 4889 w 552551"/>
                <a:gd name="connsiteY6" fmla="*/ 156219 h 769895"/>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12224 w 552551"/>
                <a:gd name="connsiteY4" fmla="*/ 669272 h 819902"/>
                <a:gd name="connsiteX5" fmla="*/ 405856 w 552551"/>
                <a:gd name="connsiteY5" fmla="*/ 393376 h 819902"/>
                <a:gd name="connsiteX6" fmla="*/ 4889 w 552551"/>
                <a:gd name="connsiteY6" fmla="*/ 156219 h 819902"/>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9843 w 552551"/>
                <a:gd name="connsiteY4" fmla="*/ 674035 h 819902"/>
                <a:gd name="connsiteX5" fmla="*/ 405856 w 552551"/>
                <a:gd name="connsiteY5" fmla="*/ 393376 h 819902"/>
                <a:gd name="connsiteX6" fmla="*/ 4889 w 552551"/>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405856 w 600176"/>
                <a:gd name="connsiteY5" fmla="*/ 393376 h 819902"/>
                <a:gd name="connsiteX6" fmla="*/ 4889 w 600176"/>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391569 w 600176"/>
                <a:gd name="connsiteY5" fmla="*/ 405282 h 819902"/>
                <a:gd name="connsiteX6" fmla="*/ 4889 w 600176"/>
                <a:gd name="connsiteY6" fmla="*/ 156219 h 8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76" h="819902">
                  <a:moveTo>
                    <a:pt x="4889" y="156219"/>
                  </a:moveTo>
                  <a:lnTo>
                    <a:pt x="0" y="0"/>
                  </a:lnTo>
                  <a:lnTo>
                    <a:pt x="600176" y="405411"/>
                  </a:lnTo>
                  <a:lnTo>
                    <a:pt x="9843" y="819902"/>
                  </a:lnTo>
                  <a:cubicBezTo>
                    <a:pt x="10637" y="769692"/>
                    <a:pt x="9049" y="724245"/>
                    <a:pt x="9843" y="674035"/>
                  </a:cubicBezTo>
                  <a:lnTo>
                    <a:pt x="391569" y="405282"/>
                  </a:lnTo>
                  <a:lnTo>
                    <a:pt x="4889" y="1562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 name="Freeform 35">
              <a:extLst>
                <a:ext uri="{FF2B5EF4-FFF2-40B4-BE49-F238E27FC236}">
                  <a16:creationId xmlns:a16="http://schemas.microsoft.com/office/drawing/2014/main" id="{02EEA727-10B1-FF41-B5D3-3D519B93950B}"/>
                </a:ext>
              </a:extLst>
            </p:cNvPr>
            <p:cNvSpPr/>
            <p:nvPr/>
          </p:nvSpPr>
          <p:spPr>
            <a:xfrm rot="10800000">
              <a:off x="3994931" y="3158644"/>
              <a:ext cx="557584" cy="761717"/>
            </a:xfrm>
            <a:custGeom>
              <a:avLst/>
              <a:gdLst>
                <a:gd name="connsiteX0" fmla="*/ 0 w 557442"/>
                <a:gd name="connsiteY0" fmla="*/ 114911 h 740811"/>
                <a:gd name="connsiteX1" fmla="*/ 7335 w 557442"/>
                <a:gd name="connsiteY1" fmla="*/ 0 h 740811"/>
                <a:gd name="connsiteX2" fmla="*/ 557442 w 557442"/>
                <a:gd name="connsiteY2" fmla="*/ 378963 h 740811"/>
                <a:gd name="connsiteX3" fmla="*/ 7335 w 557442"/>
                <a:gd name="connsiteY3" fmla="*/ 740811 h 740811"/>
                <a:gd name="connsiteX4" fmla="*/ 7335 w 557442"/>
                <a:gd name="connsiteY4" fmla="*/ 625900 h 740811"/>
                <a:gd name="connsiteX5" fmla="*/ 398522 w 557442"/>
                <a:gd name="connsiteY5" fmla="*/ 386297 h 740811"/>
                <a:gd name="connsiteX6" fmla="*/ 0 w 557442"/>
                <a:gd name="connsiteY6" fmla="*/ 114911 h 740811"/>
                <a:gd name="connsiteX0" fmla="*/ 0 w 550107"/>
                <a:gd name="connsiteY0" fmla="*/ 114911 h 740811"/>
                <a:gd name="connsiteX1" fmla="*/ 7335 w 550107"/>
                <a:gd name="connsiteY1" fmla="*/ 0 h 740811"/>
                <a:gd name="connsiteX2" fmla="*/ 550107 w 550107"/>
                <a:gd name="connsiteY2" fmla="*/ 369183 h 740811"/>
                <a:gd name="connsiteX3" fmla="*/ 7335 w 550107"/>
                <a:gd name="connsiteY3" fmla="*/ 740811 h 740811"/>
                <a:gd name="connsiteX4" fmla="*/ 7335 w 550107"/>
                <a:gd name="connsiteY4" fmla="*/ 625900 h 740811"/>
                <a:gd name="connsiteX5" fmla="*/ 398522 w 550107"/>
                <a:gd name="connsiteY5" fmla="*/ 386297 h 740811"/>
                <a:gd name="connsiteX6" fmla="*/ 0 w 550107"/>
                <a:gd name="connsiteY6" fmla="*/ 114911 h 740811"/>
                <a:gd name="connsiteX0" fmla="*/ 0 w 535438"/>
                <a:gd name="connsiteY0" fmla="*/ 114911 h 740811"/>
                <a:gd name="connsiteX1" fmla="*/ 7335 w 535438"/>
                <a:gd name="connsiteY1" fmla="*/ 0 h 740811"/>
                <a:gd name="connsiteX2" fmla="*/ 535438 w 535438"/>
                <a:gd name="connsiteY2" fmla="*/ 37162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35438"/>
                <a:gd name="connsiteY0" fmla="*/ 114911 h 740811"/>
                <a:gd name="connsiteX1" fmla="*/ 7335 w 535438"/>
                <a:gd name="connsiteY1" fmla="*/ 0 h 740811"/>
                <a:gd name="connsiteX2" fmla="*/ 535438 w 535438"/>
                <a:gd name="connsiteY2" fmla="*/ 36184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398522 w 547662"/>
                <a:gd name="connsiteY5" fmla="*/ 386297 h 740811"/>
                <a:gd name="connsiteX6" fmla="*/ 0 w 547662"/>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400967 w 547662"/>
                <a:gd name="connsiteY5" fmla="*/ 364292 h 740811"/>
                <a:gd name="connsiteX6" fmla="*/ 0 w 547662"/>
                <a:gd name="connsiteY6" fmla="*/ 114911 h 740811"/>
                <a:gd name="connsiteX0" fmla="*/ 2445 w 550107"/>
                <a:gd name="connsiteY0" fmla="*/ 117356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17356 h 743256"/>
                <a:gd name="connsiteX0" fmla="*/ 2445 w 550107"/>
                <a:gd name="connsiteY0" fmla="*/ 129580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29580 h 743256"/>
                <a:gd name="connsiteX0" fmla="*/ 4889 w 552551"/>
                <a:gd name="connsiteY0" fmla="*/ 146694 h 760370"/>
                <a:gd name="connsiteX1" fmla="*/ 0 w 552551"/>
                <a:gd name="connsiteY1" fmla="*/ 0 h 760370"/>
                <a:gd name="connsiteX2" fmla="*/ 552551 w 552551"/>
                <a:gd name="connsiteY2" fmla="*/ 388742 h 760370"/>
                <a:gd name="connsiteX3" fmla="*/ 12224 w 552551"/>
                <a:gd name="connsiteY3" fmla="*/ 760370 h 760370"/>
                <a:gd name="connsiteX4" fmla="*/ 12224 w 552551"/>
                <a:gd name="connsiteY4" fmla="*/ 645459 h 760370"/>
                <a:gd name="connsiteX5" fmla="*/ 405856 w 552551"/>
                <a:gd name="connsiteY5" fmla="*/ 383851 h 760370"/>
                <a:gd name="connsiteX6" fmla="*/ 4889 w 552551"/>
                <a:gd name="connsiteY6" fmla="*/ 146694 h 760370"/>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54984 h 769895"/>
                <a:gd name="connsiteX5" fmla="*/ 405856 w 552551"/>
                <a:gd name="connsiteY5" fmla="*/ 393376 h 769895"/>
                <a:gd name="connsiteX6" fmla="*/ 4889 w 552551"/>
                <a:gd name="connsiteY6" fmla="*/ 156219 h 769895"/>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69272 h 769895"/>
                <a:gd name="connsiteX5" fmla="*/ 405856 w 552551"/>
                <a:gd name="connsiteY5" fmla="*/ 393376 h 769895"/>
                <a:gd name="connsiteX6" fmla="*/ 4889 w 552551"/>
                <a:gd name="connsiteY6" fmla="*/ 156219 h 769895"/>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12224 w 552551"/>
                <a:gd name="connsiteY4" fmla="*/ 669272 h 819902"/>
                <a:gd name="connsiteX5" fmla="*/ 405856 w 552551"/>
                <a:gd name="connsiteY5" fmla="*/ 393376 h 819902"/>
                <a:gd name="connsiteX6" fmla="*/ 4889 w 552551"/>
                <a:gd name="connsiteY6" fmla="*/ 156219 h 819902"/>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9843 w 552551"/>
                <a:gd name="connsiteY4" fmla="*/ 674035 h 819902"/>
                <a:gd name="connsiteX5" fmla="*/ 405856 w 552551"/>
                <a:gd name="connsiteY5" fmla="*/ 393376 h 819902"/>
                <a:gd name="connsiteX6" fmla="*/ 4889 w 552551"/>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405856 w 600176"/>
                <a:gd name="connsiteY5" fmla="*/ 393376 h 819902"/>
                <a:gd name="connsiteX6" fmla="*/ 4889 w 600176"/>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391569 w 600176"/>
                <a:gd name="connsiteY5" fmla="*/ 405282 h 819902"/>
                <a:gd name="connsiteX6" fmla="*/ 4889 w 600176"/>
                <a:gd name="connsiteY6" fmla="*/ 156219 h 8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76" h="819902">
                  <a:moveTo>
                    <a:pt x="4889" y="156219"/>
                  </a:moveTo>
                  <a:lnTo>
                    <a:pt x="0" y="0"/>
                  </a:lnTo>
                  <a:lnTo>
                    <a:pt x="600176" y="405411"/>
                  </a:lnTo>
                  <a:lnTo>
                    <a:pt x="9843" y="819902"/>
                  </a:lnTo>
                  <a:cubicBezTo>
                    <a:pt x="10637" y="769692"/>
                    <a:pt x="9049" y="724245"/>
                    <a:pt x="9843" y="674035"/>
                  </a:cubicBezTo>
                  <a:lnTo>
                    <a:pt x="391569" y="405282"/>
                  </a:lnTo>
                  <a:lnTo>
                    <a:pt x="4889" y="1562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 name="Freeform 36">
              <a:extLst>
                <a:ext uri="{FF2B5EF4-FFF2-40B4-BE49-F238E27FC236}">
                  <a16:creationId xmlns:a16="http://schemas.microsoft.com/office/drawing/2014/main" id="{225AC2DC-5982-774F-A6D4-D9CEF38FCB07}"/>
                </a:ext>
              </a:extLst>
            </p:cNvPr>
            <p:cNvSpPr/>
            <p:nvPr/>
          </p:nvSpPr>
          <p:spPr>
            <a:xfrm>
              <a:off x="7486607" y="3502048"/>
              <a:ext cx="557584" cy="761717"/>
            </a:xfrm>
            <a:custGeom>
              <a:avLst/>
              <a:gdLst>
                <a:gd name="connsiteX0" fmla="*/ 0 w 557442"/>
                <a:gd name="connsiteY0" fmla="*/ 114911 h 740811"/>
                <a:gd name="connsiteX1" fmla="*/ 7335 w 557442"/>
                <a:gd name="connsiteY1" fmla="*/ 0 h 740811"/>
                <a:gd name="connsiteX2" fmla="*/ 557442 w 557442"/>
                <a:gd name="connsiteY2" fmla="*/ 378963 h 740811"/>
                <a:gd name="connsiteX3" fmla="*/ 7335 w 557442"/>
                <a:gd name="connsiteY3" fmla="*/ 740811 h 740811"/>
                <a:gd name="connsiteX4" fmla="*/ 7335 w 557442"/>
                <a:gd name="connsiteY4" fmla="*/ 625900 h 740811"/>
                <a:gd name="connsiteX5" fmla="*/ 398522 w 557442"/>
                <a:gd name="connsiteY5" fmla="*/ 386297 h 740811"/>
                <a:gd name="connsiteX6" fmla="*/ 0 w 557442"/>
                <a:gd name="connsiteY6" fmla="*/ 114911 h 740811"/>
                <a:gd name="connsiteX0" fmla="*/ 0 w 550107"/>
                <a:gd name="connsiteY0" fmla="*/ 114911 h 740811"/>
                <a:gd name="connsiteX1" fmla="*/ 7335 w 550107"/>
                <a:gd name="connsiteY1" fmla="*/ 0 h 740811"/>
                <a:gd name="connsiteX2" fmla="*/ 550107 w 550107"/>
                <a:gd name="connsiteY2" fmla="*/ 369183 h 740811"/>
                <a:gd name="connsiteX3" fmla="*/ 7335 w 550107"/>
                <a:gd name="connsiteY3" fmla="*/ 740811 h 740811"/>
                <a:gd name="connsiteX4" fmla="*/ 7335 w 550107"/>
                <a:gd name="connsiteY4" fmla="*/ 625900 h 740811"/>
                <a:gd name="connsiteX5" fmla="*/ 398522 w 550107"/>
                <a:gd name="connsiteY5" fmla="*/ 386297 h 740811"/>
                <a:gd name="connsiteX6" fmla="*/ 0 w 550107"/>
                <a:gd name="connsiteY6" fmla="*/ 114911 h 740811"/>
                <a:gd name="connsiteX0" fmla="*/ 0 w 535438"/>
                <a:gd name="connsiteY0" fmla="*/ 114911 h 740811"/>
                <a:gd name="connsiteX1" fmla="*/ 7335 w 535438"/>
                <a:gd name="connsiteY1" fmla="*/ 0 h 740811"/>
                <a:gd name="connsiteX2" fmla="*/ 535438 w 535438"/>
                <a:gd name="connsiteY2" fmla="*/ 37162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35438"/>
                <a:gd name="connsiteY0" fmla="*/ 114911 h 740811"/>
                <a:gd name="connsiteX1" fmla="*/ 7335 w 535438"/>
                <a:gd name="connsiteY1" fmla="*/ 0 h 740811"/>
                <a:gd name="connsiteX2" fmla="*/ 535438 w 535438"/>
                <a:gd name="connsiteY2" fmla="*/ 36184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398522 w 547662"/>
                <a:gd name="connsiteY5" fmla="*/ 386297 h 740811"/>
                <a:gd name="connsiteX6" fmla="*/ 0 w 547662"/>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400967 w 547662"/>
                <a:gd name="connsiteY5" fmla="*/ 364292 h 740811"/>
                <a:gd name="connsiteX6" fmla="*/ 0 w 547662"/>
                <a:gd name="connsiteY6" fmla="*/ 114911 h 740811"/>
                <a:gd name="connsiteX0" fmla="*/ 2445 w 550107"/>
                <a:gd name="connsiteY0" fmla="*/ 117356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17356 h 743256"/>
                <a:gd name="connsiteX0" fmla="*/ 2445 w 550107"/>
                <a:gd name="connsiteY0" fmla="*/ 129580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29580 h 743256"/>
                <a:gd name="connsiteX0" fmla="*/ 4889 w 552551"/>
                <a:gd name="connsiteY0" fmla="*/ 146694 h 760370"/>
                <a:gd name="connsiteX1" fmla="*/ 0 w 552551"/>
                <a:gd name="connsiteY1" fmla="*/ 0 h 760370"/>
                <a:gd name="connsiteX2" fmla="*/ 552551 w 552551"/>
                <a:gd name="connsiteY2" fmla="*/ 388742 h 760370"/>
                <a:gd name="connsiteX3" fmla="*/ 12224 w 552551"/>
                <a:gd name="connsiteY3" fmla="*/ 760370 h 760370"/>
                <a:gd name="connsiteX4" fmla="*/ 12224 w 552551"/>
                <a:gd name="connsiteY4" fmla="*/ 645459 h 760370"/>
                <a:gd name="connsiteX5" fmla="*/ 405856 w 552551"/>
                <a:gd name="connsiteY5" fmla="*/ 383851 h 760370"/>
                <a:gd name="connsiteX6" fmla="*/ 4889 w 552551"/>
                <a:gd name="connsiteY6" fmla="*/ 146694 h 760370"/>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54984 h 769895"/>
                <a:gd name="connsiteX5" fmla="*/ 405856 w 552551"/>
                <a:gd name="connsiteY5" fmla="*/ 393376 h 769895"/>
                <a:gd name="connsiteX6" fmla="*/ 4889 w 552551"/>
                <a:gd name="connsiteY6" fmla="*/ 156219 h 769895"/>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69272 h 769895"/>
                <a:gd name="connsiteX5" fmla="*/ 405856 w 552551"/>
                <a:gd name="connsiteY5" fmla="*/ 393376 h 769895"/>
                <a:gd name="connsiteX6" fmla="*/ 4889 w 552551"/>
                <a:gd name="connsiteY6" fmla="*/ 156219 h 769895"/>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12224 w 552551"/>
                <a:gd name="connsiteY4" fmla="*/ 669272 h 819902"/>
                <a:gd name="connsiteX5" fmla="*/ 405856 w 552551"/>
                <a:gd name="connsiteY5" fmla="*/ 393376 h 819902"/>
                <a:gd name="connsiteX6" fmla="*/ 4889 w 552551"/>
                <a:gd name="connsiteY6" fmla="*/ 156219 h 819902"/>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9843 w 552551"/>
                <a:gd name="connsiteY4" fmla="*/ 674035 h 819902"/>
                <a:gd name="connsiteX5" fmla="*/ 405856 w 552551"/>
                <a:gd name="connsiteY5" fmla="*/ 393376 h 819902"/>
                <a:gd name="connsiteX6" fmla="*/ 4889 w 552551"/>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405856 w 600176"/>
                <a:gd name="connsiteY5" fmla="*/ 393376 h 819902"/>
                <a:gd name="connsiteX6" fmla="*/ 4889 w 600176"/>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391569 w 600176"/>
                <a:gd name="connsiteY5" fmla="*/ 405282 h 819902"/>
                <a:gd name="connsiteX6" fmla="*/ 4889 w 600176"/>
                <a:gd name="connsiteY6" fmla="*/ 156219 h 8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76" h="819902">
                  <a:moveTo>
                    <a:pt x="4889" y="156219"/>
                  </a:moveTo>
                  <a:lnTo>
                    <a:pt x="0" y="0"/>
                  </a:lnTo>
                  <a:lnTo>
                    <a:pt x="600176" y="405411"/>
                  </a:lnTo>
                  <a:lnTo>
                    <a:pt x="9843" y="819902"/>
                  </a:lnTo>
                  <a:cubicBezTo>
                    <a:pt x="10637" y="769692"/>
                    <a:pt x="9049" y="724245"/>
                    <a:pt x="9843" y="674035"/>
                  </a:cubicBezTo>
                  <a:lnTo>
                    <a:pt x="391569" y="405282"/>
                  </a:lnTo>
                  <a:lnTo>
                    <a:pt x="4889" y="1562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 name="Freeform 38">
              <a:extLst>
                <a:ext uri="{FF2B5EF4-FFF2-40B4-BE49-F238E27FC236}">
                  <a16:creationId xmlns:a16="http://schemas.microsoft.com/office/drawing/2014/main" id="{6919FA7F-7F31-054A-B6DB-3FF24F08ED3E}"/>
                </a:ext>
              </a:extLst>
            </p:cNvPr>
            <p:cNvSpPr/>
            <p:nvPr/>
          </p:nvSpPr>
          <p:spPr>
            <a:xfrm>
              <a:off x="6843565" y="4215987"/>
              <a:ext cx="557584" cy="761717"/>
            </a:xfrm>
            <a:custGeom>
              <a:avLst/>
              <a:gdLst>
                <a:gd name="connsiteX0" fmla="*/ 0 w 557442"/>
                <a:gd name="connsiteY0" fmla="*/ 114911 h 740811"/>
                <a:gd name="connsiteX1" fmla="*/ 7335 w 557442"/>
                <a:gd name="connsiteY1" fmla="*/ 0 h 740811"/>
                <a:gd name="connsiteX2" fmla="*/ 557442 w 557442"/>
                <a:gd name="connsiteY2" fmla="*/ 378963 h 740811"/>
                <a:gd name="connsiteX3" fmla="*/ 7335 w 557442"/>
                <a:gd name="connsiteY3" fmla="*/ 740811 h 740811"/>
                <a:gd name="connsiteX4" fmla="*/ 7335 w 557442"/>
                <a:gd name="connsiteY4" fmla="*/ 625900 h 740811"/>
                <a:gd name="connsiteX5" fmla="*/ 398522 w 557442"/>
                <a:gd name="connsiteY5" fmla="*/ 386297 h 740811"/>
                <a:gd name="connsiteX6" fmla="*/ 0 w 557442"/>
                <a:gd name="connsiteY6" fmla="*/ 114911 h 740811"/>
                <a:gd name="connsiteX0" fmla="*/ 0 w 550107"/>
                <a:gd name="connsiteY0" fmla="*/ 114911 h 740811"/>
                <a:gd name="connsiteX1" fmla="*/ 7335 w 550107"/>
                <a:gd name="connsiteY1" fmla="*/ 0 h 740811"/>
                <a:gd name="connsiteX2" fmla="*/ 550107 w 550107"/>
                <a:gd name="connsiteY2" fmla="*/ 369183 h 740811"/>
                <a:gd name="connsiteX3" fmla="*/ 7335 w 550107"/>
                <a:gd name="connsiteY3" fmla="*/ 740811 h 740811"/>
                <a:gd name="connsiteX4" fmla="*/ 7335 w 550107"/>
                <a:gd name="connsiteY4" fmla="*/ 625900 h 740811"/>
                <a:gd name="connsiteX5" fmla="*/ 398522 w 550107"/>
                <a:gd name="connsiteY5" fmla="*/ 386297 h 740811"/>
                <a:gd name="connsiteX6" fmla="*/ 0 w 550107"/>
                <a:gd name="connsiteY6" fmla="*/ 114911 h 740811"/>
                <a:gd name="connsiteX0" fmla="*/ 0 w 535438"/>
                <a:gd name="connsiteY0" fmla="*/ 114911 h 740811"/>
                <a:gd name="connsiteX1" fmla="*/ 7335 w 535438"/>
                <a:gd name="connsiteY1" fmla="*/ 0 h 740811"/>
                <a:gd name="connsiteX2" fmla="*/ 535438 w 535438"/>
                <a:gd name="connsiteY2" fmla="*/ 37162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35438"/>
                <a:gd name="connsiteY0" fmla="*/ 114911 h 740811"/>
                <a:gd name="connsiteX1" fmla="*/ 7335 w 535438"/>
                <a:gd name="connsiteY1" fmla="*/ 0 h 740811"/>
                <a:gd name="connsiteX2" fmla="*/ 535438 w 535438"/>
                <a:gd name="connsiteY2" fmla="*/ 36184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398522 w 547662"/>
                <a:gd name="connsiteY5" fmla="*/ 386297 h 740811"/>
                <a:gd name="connsiteX6" fmla="*/ 0 w 547662"/>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400967 w 547662"/>
                <a:gd name="connsiteY5" fmla="*/ 364292 h 740811"/>
                <a:gd name="connsiteX6" fmla="*/ 0 w 547662"/>
                <a:gd name="connsiteY6" fmla="*/ 114911 h 740811"/>
                <a:gd name="connsiteX0" fmla="*/ 2445 w 550107"/>
                <a:gd name="connsiteY0" fmla="*/ 117356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17356 h 743256"/>
                <a:gd name="connsiteX0" fmla="*/ 2445 w 550107"/>
                <a:gd name="connsiteY0" fmla="*/ 129580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29580 h 743256"/>
                <a:gd name="connsiteX0" fmla="*/ 4889 w 552551"/>
                <a:gd name="connsiteY0" fmla="*/ 146694 h 760370"/>
                <a:gd name="connsiteX1" fmla="*/ 0 w 552551"/>
                <a:gd name="connsiteY1" fmla="*/ 0 h 760370"/>
                <a:gd name="connsiteX2" fmla="*/ 552551 w 552551"/>
                <a:gd name="connsiteY2" fmla="*/ 388742 h 760370"/>
                <a:gd name="connsiteX3" fmla="*/ 12224 w 552551"/>
                <a:gd name="connsiteY3" fmla="*/ 760370 h 760370"/>
                <a:gd name="connsiteX4" fmla="*/ 12224 w 552551"/>
                <a:gd name="connsiteY4" fmla="*/ 645459 h 760370"/>
                <a:gd name="connsiteX5" fmla="*/ 405856 w 552551"/>
                <a:gd name="connsiteY5" fmla="*/ 383851 h 760370"/>
                <a:gd name="connsiteX6" fmla="*/ 4889 w 552551"/>
                <a:gd name="connsiteY6" fmla="*/ 146694 h 760370"/>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54984 h 769895"/>
                <a:gd name="connsiteX5" fmla="*/ 405856 w 552551"/>
                <a:gd name="connsiteY5" fmla="*/ 393376 h 769895"/>
                <a:gd name="connsiteX6" fmla="*/ 4889 w 552551"/>
                <a:gd name="connsiteY6" fmla="*/ 156219 h 769895"/>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69272 h 769895"/>
                <a:gd name="connsiteX5" fmla="*/ 405856 w 552551"/>
                <a:gd name="connsiteY5" fmla="*/ 393376 h 769895"/>
                <a:gd name="connsiteX6" fmla="*/ 4889 w 552551"/>
                <a:gd name="connsiteY6" fmla="*/ 156219 h 769895"/>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12224 w 552551"/>
                <a:gd name="connsiteY4" fmla="*/ 669272 h 819902"/>
                <a:gd name="connsiteX5" fmla="*/ 405856 w 552551"/>
                <a:gd name="connsiteY5" fmla="*/ 393376 h 819902"/>
                <a:gd name="connsiteX6" fmla="*/ 4889 w 552551"/>
                <a:gd name="connsiteY6" fmla="*/ 156219 h 819902"/>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9843 w 552551"/>
                <a:gd name="connsiteY4" fmla="*/ 674035 h 819902"/>
                <a:gd name="connsiteX5" fmla="*/ 405856 w 552551"/>
                <a:gd name="connsiteY5" fmla="*/ 393376 h 819902"/>
                <a:gd name="connsiteX6" fmla="*/ 4889 w 552551"/>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405856 w 600176"/>
                <a:gd name="connsiteY5" fmla="*/ 393376 h 819902"/>
                <a:gd name="connsiteX6" fmla="*/ 4889 w 600176"/>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391569 w 600176"/>
                <a:gd name="connsiteY5" fmla="*/ 405282 h 819902"/>
                <a:gd name="connsiteX6" fmla="*/ 4889 w 600176"/>
                <a:gd name="connsiteY6" fmla="*/ 156219 h 8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76" h="819902">
                  <a:moveTo>
                    <a:pt x="4889" y="156219"/>
                  </a:moveTo>
                  <a:lnTo>
                    <a:pt x="0" y="0"/>
                  </a:lnTo>
                  <a:lnTo>
                    <a:pt x="600176" y="405411"/>
                  </a:lnTo>
                  <a:lnTo>
                    <a:pt x="9843" y="819902"/>
                  </a:lnTo>
                  <a:cubicBezTo>
                    <a:pt x="10637" y="769692"/>
                    <a:pt x="9049" y="724245"/>
                    <a:pt x="9843" y="674035"/>
                  </a:cubicBezTo>
                  <a:lnTo>
                    <a:pt x="391569" y="405282"/>
                  </a:lnTo>
                  <a:lnTo>
                    <a:pt x="4889" y="1562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 name="Freeform 39">
              <a:extLst>
                <a:ext uri="{FF2B5EF4-FFF2-40B4-BE49-F238E27FC236}">
                  <a16:creationId xmlns:a16="http://schemas.microsoft.com/office/drawing/2014/main" id="{3337FFF0-749D-014E-80B3-1E015D954387}"/>
                </a:ext>
              </a:extLst>
            </p:cNvPr>
            <p:cNvSpPr/>
            <p:nvPr/>
          </p:nvSpPr>
          <p:spPr>
            <a:xfrm rot="10800000">
              <a:off x="4661108" y="3861816"/>
              <a:ext cx="557584" cy="761717"/>
            </a:xfrm>
            <a:custGeom>
              <a:avLst/>
              <a:gdLst>
                <a:gd name="connsiteX0" fmla="*/ 0 w 557442"/>
                <a:gd name="connsiteY0" fmla="*/ 114911 h 740811"/>
                <a:gd name="connsiteX1" fmla="*/ 7335 w 557442"/>
                <a:gd name="connsiteY1" fmla="*/ 0 h 740811"/>
                <a:gd name="connsiteX2" fmla="*/ 557442 w 557442"/>
                <a:gd name="connsiteY2" fmla="*/ 378963 h 740811"/>
                <a:gd name="connsiteX3" fmla="*/ 7335 w 557442"/>
                <a:gd name="connsiteY3" fmla="*/ 740811 h 740811"/>
                <a:gd name="connsiteX4" fmla="*/ 7335 w 557442"/>
                <a:gd name="connsiteY4" fmla="*/ 625900 h 740811"/>
                <a:gd name="connsiteX5" fmla="*/ 398522 w 557442"/>
                <a:gd name="connsiteY5" fmla="*/ 386297 h 740811"/>
                <a:gd name="connsiteX6" fmla="*/ 0 w 557442"/>
                <a:gd name="connsiteY6" fmla="*/ 114911 h 740811"/>
                <a:gd name="connsiteX0" fmla="*/ 0 w 550107"/>
                <a:gd name="connsiteY0" fmla="*/ 114911 h 740811"/>
                <a:gd name="connsiteX1" fmla="*/ 7335 w 550107"/>
                <a:gd name="connsiteY1" fmla="*/ 0 h 740811"/>
                <a:gd name="connsiteX2" fmla="*/ 550107 w 550107"/>
                <a:gd name="connsiteY2" fmla="*/ 369183 h 740811"/>
                <a:gd name="connsiteX3" fmla="*/ 7335 w 550107"/>
                <a:gd name="connsiteY3" fmla="*/ 740811 h 740811"/>
                <a:gd name="connsiteX4" fmla="*/ 7335 w 550107"/>
                <a:gd name="connsiteY4" fmla="*/ 625900 h 740811"/>
                <a:gd name="connsiteX5" fmla="*/ 398522 w 550107"/>
                <a:gd name="connsiteY5" fmla="*/ 386297 h 740811"/>
                <a:gd name="connsiteX6" fmla="*/ 0 w 550107"/>
                <a:gd name="connsiteY6" fmla="*/ 114911 h 740811"/>
                <a:gd name="connsiteX0" fmla="*/ 0 w 535438"/>
                <a:gd name="connsiteY0" fmla="*/ 114911 h 740811"/>
                <a:gd name="connsiteX1" fmla="*/ 7335 w 535438"/>
                <a:gd name="connsiteY1" fmla="*/ 0 h 740811"/>
                <a:gd name="connsiteX2" fmla="*/ 535438 w 535438"/>
                <a:gd name="connsiteY2" fmla="*/ 37162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35438"/>
                <a:gd name="connsiteY0" fmla="*/ 114911 h 740811"/>
                <a:gd name="connsiteX1" fmla="*/ 7335 w 535438"/>
                <a:gd name="connsiteY1" fmla="*/ 0 h 740811"/>
                <a:gd name="connsiteX2" fmla="*/ 535438 w 535438"/>
                <a:gd name="connsiteY2" fmla="*/ 361848 h 740811"/>
                <a:gd name="connsiteX3" fmla="*/ 7335 w 535438"/>
                <a:gd name="connsiteY3" fmla="*/ 740811 h 740811"/>
                <a:gd name="connsiteX4" fmla="*/ 7335 w 535438"/>
                <a:gd name="connsiteY4" fmla="*/ 625900 h 740811"/>
                <a:gd name="connsiteX5" fmla="*/ 398522 w 535438"/>
                <a:gd name="connsiteY5" fmla="*/ 386297 h 740811"/>
                <a:gd name="connsiteX6" fmla="*/ 0 w 535438"/>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398522 w 547662"/>
                <a:gd name="connsiteY5" fmla="*/ 386297 h 740811"/>
                <a:gd name="connsiteX6" fmla="*/ 0 w 547662"/>
                <a:gd name="connsiteY6" fmla="*/ 114911 h 740811"/>
                <a:gd name="connsiteX0" fmla="*/ 0 w 547662"/>
                <a:gd name="connsiteY0" fmla="*/ 114911 h 740811"/>
                <a:gd name="connsiteX1" fmla="*/ 7335 w 547662"/>
                <a:gd name="connsiteY1" fmla="*/ 0 h 740811"/>
                <a:gd name="connsiteX2" fmla="*/ 547662 w 547662"/>
                <a:gd name="connsiteY2" fmla="*/ 369183 h 740811"/>
                <a:gd name="connsiteX3" fmla="*/ 7335 w 547662"/>
                <a:gd name="connsiteY3" fmla="*/ 740811 h 740811"/>
                <a:gd name="connsiteX4" fmla="*/ 7335 w 547662"/>
                <a:gd name="connsiteY4" fmla="*/ 625900 h 740811"/>
                <a:gd name="connsiteX5" fmla="*/ 400967 w 547662"/>
                <a:gd name="connsiteY5" fmla="*/ 364292 h 740811"/>
                <a:gd name="connsiteX6" fmla="*/ 0 w 547662"/>
                <a:gd name="connsiteY6" fmla="*/ 114911 h 740811"/>
                <a:gd name="connsiteX0" fmla="*/ 2445 w 550107"/>
                <a:gd name="connsiteY0" fmla="*/ 117356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17356 h 743256"/>
                <a:gd name="connsiteX0" fmla="*/ 2445 w 550107"/>
                <a:gd name="connsiteY0" fmla="*/ 129580 h 743256"/>
                <a:gd name="connsiteX1" fmla="*/ 0 w 550107"/>
                <a:gd name="connsiteY1" fmla="*/ 0 h 743256"/>
                <a:gd name="connsiteX2" fmla="*/ 550107 w 550107"/>
                <a:gd name="connsiteY2" fmla="*/ 371628 h 743256"/>
                <a:gd name="connsiteX3" fmla="*/ 9780 w 550107"/>
                <a:gd name="connsiteY3" fmla="*/ 743256 h 743256"/>
                <a:gd name="connsiteX4" fmla="*/ 9780 w 550107"/>
                <a:gd name="connsiteY4" fmla="*/ 628345 h 743256"/>
                <a:gd name="connsiteX5" fmla="*/ 403412 w 550107"/>
                <a:gd name="connsiteY5" fmla="*/ 366737 h 743256"/>
                <a:gd name="connsiteX6" fmla="*/ 2445 w 550107"/>
                <a:gd name="connsiteY6" fmla="*/ 129580 h 743256"/>
                <a:gd name="connsiteX0" fmla="*/ 4889 w 552551"/>
                <a:gd name="connsiteY0" fmla="*/ 146694 h 760370"/>
                <a:gd name="connsiteX1" fmla="*/ 0 w 552551"/>
                <a:gd name="connsiteY1" fmla="*/ 0 h 760370"/>
                <a:gd name="connsiteX2" fmla="*/ 552551 w 552551"/>
                <a:gd name="connsiteY2" fmla="*/ 388742 h 760370"/>
                <a:gd name="connsiteX3" fmla="*/ 12224 w 552551"/>
                <a:gd name="connsiteY3" fmla="*/ 760370 h 760370"/>
                <a:gd name="connsiteX4" fmla="*/ 12224 w 552551"/>
                <a:gd name="connsiteY4" fmla="*/ 645459 h 760370"/>
                <a:gd name="connsiteX5" fmla="*/ 405856 w 552551"/>
                <a:gd name="connsiteY5" fmla="*/ 383851 h 760370"/>
                <a:gd name="connsiteX6" fmla="*/ 4889 w 552551"/>
                <a:gd name="connsiteY6" fmla="*/ 146694 h 760370"/>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54984 h 769895"/>
                <a:gd name="connsiteX5" fmla="*/ 405856 w 552551"/>
                <a:gd name="connsiteY5" fmla="*/ 393376 h 769895"/>
                <a:gd name="connsiteX6" fmla="*/ 4889 w 552551"/>
                <a:gd name="connsiteY6" fmla="*/ 156219 h 769895"/>
                <a:gd name="connsiteX0" fmla="*/ 4889 w 552551"/>
                <a:gd name="connsiteY0" fmla="*/ 156219 h 769895"/>
                <a:gd name="connsiteX1" fmla="*/ 0 w 552551"/>
                <a:gd name="connsiteY1" fmla="*/ 0 h 769895"/>
                <a:gd name="connsiteX2" fmla="*/ 552551 w 552551"/>
                <a:gd name="connsiteY2" fmla="*/ 398267 h 769895"/>
                <a:gd name="connsiteX3" fmla="*/ 12224 w 552551"/>
                <a:gd name="connsiteY3" fmla="*/ 769895 h 769895"/>
                <a:gd name="connsiteX4" fmla="*/ 12224 w 552551"/>
                <a:gd name="connsiteY4" fmla="*/ 669272 h 769895"/>
                <a:gd name="connsiteX5" fmla="*/ 405856 w 552551"/>
                <a:gd name="connsiteY5" fmla="*/ 393376 h 769895"/>
                <a:gd name="connsiteX6" fmla="*/ 4889 w 552551"/>
                <a:gd name="connsiteY6" fmla="*/ 156219 h 769895"/>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12224 w 552551"/>
                <a:gd name="connsiteY4" fmla="*/ 669272 h 819902"/>
                <a:gd name="connsiteX5" fmla="*/ 405856 w 552551"/>
                <a:gd name="connsiteY5" fmla="*/ 393376 h 819902"/>
                <a:gd name="connsiteX6" fmla="*/ 4889 w 552551"/>
                <a:gd name="connsiteY6" fmla="*/ 156219 h 819902"/>
                <a:gd name="connsiteX0" fmla="*/ 4889 w 552551"/>
                <a:gd name="connsiteY0" fmla="*/ 156219 h 819902"/>
                <a:gd name="connsiteX1" fmla="*/ 0 w 552551"/>
                <a:gd name="connsiteY1" fmla="*/ 0 h 819902"/>
                <a:gd name="connsiteX2" fmla="*/ 552551 w 552551"/>
                <a:gd name="connsiteY2" fmla="*/ 398267 h 819902"/>
                <a:gd name="connsiteX3" fmla="*/ 9843 w 552551"/>
                <a:gd name="connsiteY3" fmla="*/ 819902 h 819902"/>
                <a:gd name="connsiteX4" fmla="*/ 9843 w 552551"/>
                <a:gd name="connsiteY4" fmla="*/ 674035 h 819902"/>
                <a:gd name="connsiteX5" fmla="*/ 405856 w 552551"/>
                <a:gd name="connsiteY5" fmla="*/ 393376 h 819902"/>
                <a:gd name="connsiteX6" fmla="*/ 4889 w 552551"/>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405856 w 600176"/>
                <a:gd name="connsiteY5" fmla="*/ 393376 h 819902"/>
                <a:gd name="connsiteX6" fmla="*/ 4889 w 600176"/>
                <a:gd name="connsiteY6" fmla="*/ 156219 h 819902"/>
                <a:gd name="connsiteX0" fmla="*/ 4889 w 600176"/>
                <a:gd name="connsiteY0" fmla="*/ 156219 h 819902"/>
                <a:gd name="connsiteX1" fmla="*/ 0 w 600176"/>
                <a:gd name="connsiteY1" fmla="*/ 0 h 819902"/>
                <a:gd name="connsiteX2" fmla="*/ 600176 w 600176"/>
                <a:gd name="connsiteY2" fmla="*/ 405411 h 819902"/>
                <a:gd name="connsiteX3" fmla="*/ 9843 w 600176"/>
                <a:gd name="connsiteY3" fmla="*/ 819902 h 819902"/>
                <a:gd name="connsiteX4" fmla="*/ 9843 w 600176"/>
                <a:gd name="connsiteY4" fmla="*/ 674035 h 819902"/>
                <a:gd name="connsiteX5" fmla="*/ 391569 w 600176"/>
                <a:gd name="connsiteY5" fmla="*/ 405282 h 819902"/>
                <a:gd name="connsiteX6" fmla="*/ 4889 w 600176"/>
                <a:gd name="connsiteY6" fmla="*/ 156219 h 81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76" h="819902">
                  <a:moveTo>
                    <a:pt x="4889" y="156219"/>
                  </a:moveTo>
                  <a:lnTo>
                    <a:pt x="0" y="0"/>
                  </a:lnTo>
                  <a:lnTo>
                    <a:pt x="600176" y="405411"/>
                  </a:lnTo>
                  <a:lnTo>
                    <a:pt x="9843" y="819902"/>
                  </a:lnTo>
                  <a:cubicBezTo>
                    <a:pt x="10637" y="769692"/>
                    <a:pt x="9049" y="724245"/>
                    <a:pt x="9843" y="674035"/>
                  </a:cubicBezTo>
                  <a:lnTo>
                    <a:pt x="391569" y="405282"/>
                  </a:lnTo>
                  <a:lnTo>
                    <a:pt x="4889" y="1562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 name="원형: 비어 있음 3">
              <a:extLst>
                <a:ext uri="{FF2B5EF4-FFF2-40B4-BE49-F238E27FC236}">
                  <a16:creationId xmlns:a16="http://schemas.microsoft.com/office/drawing/2014/main" id="{53BE5490-E845-104F-A2A5-40862EA37A53}"/>
                </a:ext>
              </a:extLst>
            </p:cNvPr>
            <p:cNvSpPr/>
            <p:nvPr/>
          </p:nvSpPr>
          <p:spPr>
            <a:xfrm>
              <a:off x="5844775" y="5351032"/>
              <a:ext cx="488280" cy="488280"/>
            </a:xfrm>
            <a:prstGeom prst="donut">
              <a:avLst>
                <a:gd name="adj" fmla="val 1147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solidFill>
                  <a:schemeClr val="tx1"/>
                </a:solidFill>
              </a:endParaRPr>
            </a:p>
          </p:txBody>
        </p:sp>
      </p:grpSp>
    </p:spTree>
    <p:extLst>
      <p:ext uri="{BB962C8B-B14F-4D97-AF65-F5344CB8AC3E}">
        <p14:creationId xmlns:p14="http://schemas.microsoft.com/office/powerpoint/2010/main" val="63408151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BE4F42-8E4B-8342-90DD-4A9D3716F5A3}"/>
              </a:ext>
            </a:extLst>
          </p:cNvPr>
          <p:cNvSpPr>
            <a:spLocks noGrp="1"/>
          </p:cNvSpPr>
          <p:nvPr>
            <p:ph type="sldNum" sz="quarter" idx="4"/>
          </p:nvPr>
        </p:nvSpPr>
        <p:spPr/>
        <p:txBody>
          <a:bodyPr/>
          <a:lstStyle/>
          <a:p>
            <a:fld id="{3D966009-6E5A-4F8C-8CA7-E37AFBF5FB92}" type="slidenum">
              <a:rPr lang="en-US" smtClean="0"/>
              <a:t>121</a:t>
            </a:fld>
            <a:endParaRPr lang="en-US"/>
          </a:p>
        </p:txBody>
      </p:sp>
      <p:sp>
        <p:nvSpPr>
          <p:cNvPr id="3" name="Title 2">
            <a:extLst>
              <a:ext uri="{FF2B5EF4-FFF2-40B4-BE49-F238E27FC236}">
                <a16:creationId xmlns:a16="http://schemas.microsoft.com/office/drawing/2014/main" id="{CB6A3692-CAA9-0545-802B-4EB8AAB02065}"/>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E1BF688-C1C8-AA49-BFA2-A0CBAA7F29BE}"/>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C3D0B278-8508-A04F-80B5-2A441965025B}"/>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0D402FD-4319-8D46-ABA3-0D80E26B0FA4}"/>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FFC836A-3A74-744D-9409-498156F279EE}"/>
              </a:ext>
            </a:extLst>
          </p:cNvPr>
          <p:cNvSpPr>
            <a:spLocks noGrp="1"/>
          </p:cNvSpPr>
          <p:nvPr>
            <p:ph sz="quarter" idx="14"/>
          </p:nvPr>
        </p:nvSpPr>
        <p:spPr/>
        <p:txBody>
          <a:bodyPr/>
          <a:lstStyle/>
          <a:p>
            <a:endParaRPr lang="en-GB"/>
          </a:p>
        </p:txBody>
      </p:sp>
      <p:grpSp>
        <p:nvGrpSpPr>
          <p:cNvPr id="48" name="Group 47">
            <a:extLst>
              <a:ext uri="{FF2B5EF4-FFF2-40B4-BE49-F238E27FC236}">
                <a16:creationId xmlns:a16="http://schemas.microsoft.com/office/drawing/2014/main" id="{1B44525F-ACDA-9C4B-8EA6-68F5B46D650D}"/>
              </a:ext>
            </a:extLst>
          </p:cNvPr>
          <p:cNvGrpSpPr/>
          <p:nvPr/>
        </p:nvGrpSpPr>
        <p:grpSpPr>
          <a:xfrm>
            <a:off x="814292" y="1738312"/>
            <a:ext cx="10582518" cy="4270202"/>
            <a:chOff x="814292" y="1738312"/>
            <a:chExt cx="10582518" cy="4270202"/>
          </a:xfrm>
        </p:grpSpPr>
        <p:grpSp>
          <p:nvGrpSpPr>
            <p:cNvPr id="9" name="Group 8">
              <a:extLst>
                <a:ext uri="{FF2B5EF4-FFF2-40B4-BE49-F238E27FC236}">
                  <a16:creationId xmlns:a16="http://schemas.microsoft.com/office/drawing/2014/main" id="{1E19EE5E-8948-8045-94F8-DB596D3C17F7}"/>
                </a:ext>
              </a:extLst>
            </p:cNvPr>
            <p:cNvGrpSpPr/>
            <p:nvPr/>
          </p:nvGrpSpPr>
          <p:grpSpPr>
            <a:xfrm>
              <a:off x="4670308" y="2730186"/>
              <a:ext cx="2793844" cy="2316534"/>
              <a:chOff x="3198596" y="2815122"/>
              <a:chExt cx="2390416" cy="1982029"/>
            </a:xfrm>
          </p:grpSpPr>
          <p:sp>
            <p:nvSpPr>
              <p:cNvPr id="10" name="Right Arrow 4">
                <a:extLst>
                  <a:ext uri="{FF2B5EF4-FFF2-40B4-BE49-F238E27FC236}">
                    <a16:creationId xmlns:a16="http://schemas.microsoft.com/office/drawing/2014/main" id="{64E92F3E-4259-A94B-AD2D-7F37A2902BEA}"/>
                  </a:ext>
                </a:extLst>
              </p:cNvPr>
              <p:cNvSpPr/>
              <p:nvPr/>
            </p:nvSpPr>
            <p:spPr>
              <a:xfrm rot="10800000">
                <a:off x="3198596" y="3621693"/>
                <a:ext cx="1584176" cy="1175458"/>
              </a:xfrm>
              <a:prstGeom prst="rightArrow">
                <a:avLst/>
              </a:prstGeom>
              <a:solidFill>
                <a:schemeClr val="accent4"/>
              </a:solidFill>
              <a:ln>
                <a:noFill/>
              </a:ln>
              <a:scene3d>
                <a:camera prst="orthographicFront"/>
                <a:lightRig rig="balanced" dir="t"/>
              </a:scene3d>
              <a:sp3d extrusionH="457200" contourW="12700" prstMaterial="matte">
                <a:extrusionClr>
                  <a:srgbClr val="FDBDC7"/>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Right Arrow 5">
                <a:extLst>
                  <a:ext uri="{FF2B5EF4-FFF2-40B4-BE49-F238E27FC236}">
                    <a16:creationId xmlns:a16="http://schemas.microsoft.com/office/drawing/2014/main" id="{78221C11-23B8-8D4A-A44E-E24F700D7873}"/>
                  </a:ext>
                </a:extLst>
              </p:cNvPr>
              <p:cNvSpPr/>
              <p:nvPr/>
            </p:nvSpPr>
            <p:spPr>
              <a:xfrm>
                <a:off x="3886629" y="2815122"/>
                <a:ext cx="1702383" cy="1273047"/>
              </a:xfrm>
              <a:prstGeom prst="rightArrow">
                <a:avLst/>
              </a:prstGeom>
              <a:solidFill>
                <a:schemeClr val="accent3"/>
              </a:solidFill>
              <a:ln>
                <a:noFill/>
              </a:ln>
              <a:scene3d>
                <a:camera prst="orthographicFront"/>
                <a:lightRig rig="balanced" dir="t"/>
              </a:scene3d>
              <a:sp3d extrusionH="457200" contourW="12700" prstMaterial="matte">
                <a:extrusionClr>
                  <a:srgbClr val="FDBDC7"/>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2" name="Block Arc 11">
              <a:extLst>
                <a:ext uri="{FF2B5EF4-FFF2-40B4-BE49-F238E27FC236}">
                  <a16:creationId xmlns:a16="http://schemas.microsoft.com/office/drawing/2014/main" id="{253F37E6-7D17-0A4F-853D-52908805B0E6}"/>
                </a:ext>
              </a:extLst>
            </p:cNvPr>
            <p:cNvSpPr/>
            <p:nvPr/>
          </p:nvSpPr>
          <p:spPr>
            <a:xfrm rot="5400000">
              <a:off x="4075934" y="1872205"/>
              <a:ext cx="3892275" cy="3892275"/>
            </a:xfrm>
            <a:prstGeom prst="blockArc">
              <a:avLst>
                <a:gd name="adj1" fmla="val 11864761"/>
                <a:gd name="adj2" fmla="val 20597355"/>
                <a:gd name="adj3" fmla="val 101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3" name="Block Arc 12">
              <a:extLst>
                <a:ext uri="{FF2B5EF4-FFF2-40B4-BE49-F238E27FC236}">
                  <a16:creationId xmlns:a16="http://schemas.microsoft.com/office/drawing/2014/main" id="{C4E15AA5-1211-4345-A85A-3BECC6700021}"/>
                </a:ext>
              </a:extLst>
            </p:cNvPr>
            <p:cNvSpPr/>
            <p:nvPr/>
          </p:nvSpPr>
          <p:spPr>
            <a:xfrm rot="16200000">
              <a:off x="4075934" y="1872205"/>
              <a:ext cx="3892275" cy="3892275"/>
            </a:xfrm>
            <a:prstGeom prst="blockArc">
              <a:avLst>
                <a:gd name="adj1" fmla="val 11864761"/>
                <a:gd name="adj2" fmla="val 20578708"/>
                <a:gd name="adj3" fmla="val 10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14" name="Group 13">
              <a:extLst>
                <a:ext uri="{FF2B5EF4-FFF2-40B4-BE49-F238E27FC236}">
                  <a16:creationId xmlns:a16="http://schemas.microsoft.com/office/drawing/2014/main" id="{92BCAA39-5E9E-7047-873B-A73B592BCF4A}"/>
                </a:ext>
              </a:extLst>
            </p:cNvPr>
            <p:cNvGrpSpPr/>
            <p:nvPr/>
          </p:nvGrpSpPr>
          <p:grpSpPr>
            <a:xfrm>
              <a:off x="7914844" y="1738312"/>
              <a:ext cx="2512833" cy="923330"/>
              <a:chOff x="2551706" y="4283314"/>
              <a:chExt cx="1403938" cy="923330"/>
            </a:xfrm>
          </p:grpSpPr>
          <p:sp>
            <p:nvSpPr>
              <p:cNvPr id="15" name="TextBox 14">
                <a:extLst>
                  <a:ext uri="{FF2B5EF4-FFF2-40B4-BE49-F238E27FC236}">
                    <a16:creationId xmlns:a16="http://schemas.microsoft.com/office/drawing/2014/main" id="{710FD644-DEB6-1D41-971A-BE4A73920960}"/>
                  </a:ext>
                </a:extLst>
              </p:cNvPr>
              <p:cNvSpPr txBox="1"/>
              <p:nvPr/>
            </p:nvSpPr>
            <p:spPr>
              <a:xfrm>
                <a:off x="2551706" y="4560313"/>
                <a:ext cx="140393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16" name="TextBox 15">
                <a:extLst>
                  <a:ext uri="{FF2B5EF4-FFF2-40B4-BE49-F238E27FC236}">
                    <a16:creationId xmlns:a16="http://schemas.microsoft.com/office/drawing/2014/main" id="{5A5CAB8E-AD45-2047-AE01-4AB9E389E4B0}"/>
                  </a:ext>
                </a:extLst>
              </p:cNvPr>
              <p:cNvSpPr txBox="1"/>
              <p:nvPr/>
            </p:nvSpPr>
            <p:spPr>
              <a:xfrm>
                <a:off x="2551706" y="4283314"/>
                <a:ext cx="1403938"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7" name="Group 16">
              <a:extLst>
                <a:ext uri="{FF2B5EF4-FFF2-40B4-BE49-F238E27FC236}">
                  <a16:creationId xmlns:a16="http://schemas.microsoft.com/office/drawing/2014/main" id="{D005043A-0512-544A-88B2-6DD3195F96DA}"/>
                </a:ext>
              </a:extLst>
            </p:cNvPr>
            <p:cNvGrpSpPr/>
            <p:nvPr/>
          </p:nvGrpSpPr>
          <p:grpSpPr>
            <a:xfrm>
              <a:off x="8883977" y="3441646"/>
              <a:ext cx="2512833" cy="923330"/>
              <a:chOff x="2551706" y="4283314"/>
              <a:chExt cx="1403938" cy="923330"/>
            </a:xfrm>
          </p:grpSpPr>
          <p:sp>
            <p:nvSpPr>
              <p:cNvPr id="18" name="TextBox 17">
                <a:extLst>
                  <a:ext uri="{FF2B5EF4-FFF2-40B4-BE49-F238E27FC236}">
                    <a16:creationId xmlns:a16="http://schemas.microsoft.com/office/drawing/2014/main" id="{8C0769A1-5421-1E4B-9F42-0B833C7A42B8}"/>
                  </a:ext>
                </a:extLst>
              </p:cNvPr>
              <p:cNvSpPr txBox="1"/>
              <p:nvPr/>
            </p:nvSpPr>
            <p:spPr>
              <a:xfrm>
                <a:off x="2551706" y="4560313"/>
                <a:ext cx="140393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19" name="TextBox 18">
                <a:extLst>
                  <a:ext uri="{FF2B5EF4-FFF2-40B4-BE49-F238E27FC236}">
                    <a16:creationId xmlns:a16="http://schemas.microsoft.com/office/drawing/2014/main" id="{03C3C154-1733-E245-B974-367D4ADA6713}"/>
                  </a:ext>
                </a:extLst>
              </p:cNvPr>
              <p:cNvSpPr txBox="1"/>
              <p:nvPr/>
            </p:nvSpPr>
            <p:spPr>
              <a:xfrm>
                <a:off x="2551706" y="4283314"/>
                <a:ext cx="1403938"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0" name="Group 19">
              <a:extLst>
                <a:ext uri="{FF2B5EF4-FFF2-40B4-BE49-F238E27FC236}">
                  <a16:creationId xmlns:a16="http://schemas.microsoft.com/office/drawing/2014/main" id="{FA214142-386F-CE41-B0D0-A7B44DABFAA3}"/>
                </a:ext>
              </a:extLst>
            </p:cNvPr>
            <p:cNvGrpSpPr/>
            <p:nvPr/>
          </p:nvGrpSpPr>
          <p:grpSpPr>
            <a:xfrm>
              <a:off x="7914844" y="5085184"/>
              <a:ext cx="2512833" cy="923330"/>
              <a:chOff x="2551706" y="4283314"/>
              <a:chExt cx="1403938" cy="923330"/>
            </a:xfrm>
          </p:grpSpPr>
          <p:sp>
            <p:nvSpPr>
              <p:cNvPr id="21" name="TextBox 20">
                <a:extLst>
                  <a:ext uri="{FF2B5EF4-FFF2-40B4-BE49-F238E27FC236}">
                    <a16:creationId xmlns:a16="http://schemas.microsoft.com/office/drawing/2014/main" id="{9F8ACF3A-CEFB-034F-B17C-18F222EFB6E4}"/>
                  </a:ext>
                </a:extLst>
              </p:cNvPr>
              <p:cNvSpPr txBox="1"/>
              <p:nvPr/>
            </p:nvSpPr>
            <p:spPr>
              <a:xfrm>
                <a:off x="2551706" y="4560313"/>
                <a:ext cx="140393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2" name="TextBox 21">
                <a:extLst>
                  <a:ext uri="{FF2B5EF4-FFF2-40B4-BE49-F238E27FC236}">
                    <a16:creationId xmlns:a16="http://schemas.microsoft.com/office/drawing/2014/main" id="{9E3977C0-F4CA-AF4D-909F-A11A5EFB0091}"/>
                  </a:ext>
                </a:extLst>
              </p:cNvPr>
              <p:cNvSpPr txBox="1"/>
              <p:nvPr/>
            </p:nvSpPr>
            <p:spPr>
              <a:xfrm>
                <a:off x="2551706" y="4283314"/>
                <a:ext cx="1403938"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3" name="Group 22">
              <a:extLst>
                <a:ext uri="{FF2B5EF4-FFF2-40B4-BE49-F238E27FC236}">
                  <a16:creationId xmlns:a16="http://schemas.microsoft.com/office/drawing/2014/main" id="{F8CB0933-1360-F541-B626-750798853F2F}"/>
                </a:ext>
              </a:extLst>
            </p:cNvPr>
            <p:cNvGrpSpPr/>
            <p:nvPr/>
          </p:nvGrpSpPr>
          <p:grpSpPr>
            <a:xfrm>
              <a:off x="1524000" y="1738312"/>
              <a:ext cx="2600888" cy="923330"/>
              <a:chOff x="2551706" y="4283314"/>
              <a:chExt cx="1403938" cy="923330"/>
            </a:xfrm>
          </p:grpSpPr>
          <p:sp>
            <p:nvSpPr>
              <p:cNvPr id="24" name="TextBox 23">
                <a:extLst>
                  <a:ext uri="{FF2B5EF4-FFF2-40B4-BE49-F238E27FC236}">
                    <a16:creationId xmlns:a16="http://schemas.microsoft.com/office/drawing/2014/main" id="{5812DB5F-E40E-B049-9E07-5CF8B6703732}"/>
                  </a:ext>
                </a:extLst>
              </p:cNvPr>
              <p:cNvSpPr txBox="1"/>
              <p:nvPr/>
            </p:nvSpPr>
            <p:spPr>
              <a:xfrm>
                <a:off x="2551706" y="4560313"/>
                <a:ext cx="1403938"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5" name="TextBox 24">
                <a:extLst>
                  <a:ext uri="{FF2B5EF4-FFF2-40B4-BE49-F238E27FC236}">
                    <a16:creationId xmlns:a16="http://schemas.microsoft.com/office/drawing/2014/main" id="{8AE4B29D-4944-8845-9F4E-C29FFAE58618}"/>
                  </a:ext>
                </a:extLst>
              </p:cNvPr>
              <p:cNvSpPr txBox="1"/>
              <p:nvPr/>
            </p:nvSpPr>
            <p:spPr>
              <a:xfrm>
                <a:off x="2551706" y="4283314"/>
                <a:ext cx="1403938"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6" name="Group 25">
              <a:extLst>
                <a:ext uri="{FF2B5EF4-FFF2-40B4-BE49-F238E27FC236}">
                  <a16:creationId xmlns:a16="http://schemas.microsoft.com/office/drawing/2014/main" id="{266FADF1-A7A7-0E48-99A3-18B7B696569B}"/>
                </a:ext>
              </a:extLst>
            </p:cNvPr>
            <p:cNvGrpSpPr/>
            <p:nvPr/>
          </p:nvGrpSpPr>
          <p:grpSpPr>
            <a:xfrm>
              <a:off x="814292" y="3441646"/>
              <a:ext cx="2473990" cy="923330"/>
              <a:chOff x="2551706" y="4283314"/>
              <a:chExt cx="1403938" cy="923330"/>
            </a:xfrm>
          </p:grpSpPr>
          <p:sp>
            <p:nvSpPr>
              <p:cNvPr id="27" name="TextBox 26">
                <a:extLst>
                  <a:ext uri="{FF2B5EF4-FFF2-40B4-BE49-F238E27FC236}">
                    <a16:creationId xmlns:a16="http://schemas.microsoft.com/office/drawing/2014/main" id="{E97286E4-0B59-C147-B42B-69779EE3CC32}"/>
                  </a:ext>
                </a:extLst>
              </p:cNvPr>
              <p:cNvSpPr txBox="1"/>
              <p:nvPr/>
            </p:nvSpPr>
            <p:spPr>
              <a:xfrm>
                <a:off x="2551706" y="4560313"/>
                <a:ext cx="1403938"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8" name="TextBox 27">
                <a:extLst>
                  <a:ext uri="{FF2B5EF4-FFF2-40B4-BE49-F238E27FC236}">
                    <a16:creationId xmlns:a16="http://schemas.microsoft.com/office/drawing/2014/main" id="{5FF28D1A-7428-4E40-B066-FBE19E6FC17E}"/>
                  </a:ext>
                </a:extLst>
              </p:cNvPr>
              <p:cNvSpPr txBox="1"/>
              <p:nvPr/>
            </p:nvSpPr>
            <p:spPr>
              <a:xfrm>
                <a:off x="2551706" y="4283314"/>
                <a:ext cx="1403938"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9" name="Group 28">
              <a:extLst>
                <a:ext uri="{FF2B5EF4-FFF2-40B4-BE49-F238E27FC236}">
                  <a16:creationId xmlns:a16="http://schemas.microsoft.com/office/drawing/2014/main" id="{DCA1C3B5-C9BA-2B4F-BDB2-7BD218A5FCB4}"/>
                </a:ext>
              </a:extLst>
            </p:cNvPr>
            <p:cNvGrpSpPr/>
            <p:nvPr/>
          </p:nvGrpSpPr>
          <p:grpSpPr>
            <a:xfrm>
              <a:off x="1524000" y="5085184"/>
              <a:ext cx="2600888" cy="923330"/>
              <a:chOff x="2551706" y="4283314"/>
              <a:chExt cx="1403938" cy="923330"/>
            </a:xfrm>
          </p:grpSpPr>
          <p:sp>
            <p:nvSpPr>
              <p:cNvPr id="30" name="TextBox 29">
                <a:extLst>
                  <a:ext uri="{FF2B5EF4-FFF2-40B4-BE49-F238E27FC236}">
                    <a16:creationId xmlns:a16="http://schemas.microsoft.com/office/drawing/2014/main" id="{22960928-D682-E44C-9A6B-4BDAB3DDFA77}"/>
                  </a:ext>
                </a:extLst>
              </p:cNvPr>
              <p:cNvSpPr txBox="1"/>
              <p:nvPr/>
            </p:nvSpPr>
            <p:spPr>
              <a:xfrm>
                <a:off x="2551706" y="4560313"/>
                <a:ext cx="1403938"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1" name="TextBox 30">
                <a:extLst>
                  <a:ext uri="{FF2B5EF4-FFF2-40B4-BE49-F238E27FC236}">
                    <a16:creationId xmlns:a16="http://schemas.microsoft.com/office/drawing/2014/main" id="{45D50C6A-56CE-564B-917E-0BB552C31C79}"/>
                  </a:ext>
                </a:extLst>
              </p:cNvPr>
              <p:cNvSpPr txBox="1"/>
              <p:nvPr/>
            </p:nvSpPr>
            <p:spPr>
              <a:xfrm>
                <a:off x="2551706" y="4283314"/>
                <a:ext cx="1403938"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sp>
          <p:nvSpPr>
            <p:cNvPr id="32" name="TextBox 31">
              <a:extLst>
                <a:ext uri="{FF2B5EF4-FFF2-40B4-BE49-F238E27FC236}">
                  <a16:creationId xmlns:a16="http://schemas.microsoft.com/office/drawing/2014/main" id="{8FBD3D8B-2B24-5B4A-85D4-C356E973D62F}"/>
                </a:ext>
              </a:extLst>
            </p:cNvPr>
            <p:cNvSpPr txBox="1"/>
            <p:nvPr/>
          </p:nvSpPr>
          <p:spPr>
            <a:xfrm>
              <a:off x="6120191" y="3322624"/>
              <a:ext cx="1142091" cy="307777"/>
            </a:xfrm>
            <a:prstGeom prst="rect">
              <a:avLst/>
            </a:prstGeom>
            <a:noFill/>
          </p:spPr>
          <p:txBody>
            <a:bodyPr wrap="square" rtlCol="0" anchor="ctr">
              <a:spAutoFit/>
            </a:bodyPr>
            <a:lstStyle/>
            <a:p>
              <a:pPr algn="ctr"/>
              <a:r>
                <a:rPr lang="en-US" altLang="ko-KR" sz="1400" b="1">
                  <a:solidFill>
                    <a:schemeClr val="bg1"/>
                  </a:solidFill>
                  <a:cs typeface="Arial" pitchFamily="34" charset="0"/>
                </a:rPr>
                <a:t>Option A</a:t>
              </a:r>
              <a:endParaRPr lang="ko-KR" altLang="en-US" sz="1400" b="1">
                <a:solidFill>
                  <a:schemeClr val="bg1"/>
                </a:solidFill>
                <a:cs typeface="Arial" pitchFamily="34" charset="0"/>
              </a:endParaRPr>
            </a:p>
          </p:txBody>
        </p:sp>
        <p:sp>
          <p:nvSpPr>
            <p:cNvPr id="33" name="TextBox 32">
              <a:extLst>
                <a:ext uri="{FF2B5EF4-FFF2-40B4-BE49-F238E27FC236}">
                  <a16:creationId xmlns:a16="http://schemas.microsoft.com/office/drawing/2014/main" id="{FFB6985B-B111-4B42-A136-B8E20B653035}"/>
                </a:ext>
              </a:extLst>
            </p:cNvPr>
            <p:cNvSpPr txBox="1"/>
            <p:nvPr/>
          </p:nvSpPr>
          <p:spPr>
            <a:xfrm>
              <a:off x="4921406" y="4203060"/>
              <a:ext cx="1142091" cy="307777"/>
            </a:xfrm>
            <a:prstGeom prst="rect">
              <a:avLst/>
            </a:prstGeom>
            <a:noFill/>
          </p:spPr>
          <p:txBody>
            <a:bodyPr wrap="square" rtlCol="0" anchor="ctr">
              <a:spAutoFit/>
            </a:bodyPr>
            <a:lstStyle/>
            <a:p>
              <a:pPr algn="ctr"/>
              <a:r>
                <a:rPr lang="en-US" altLang="ko-KR" sz="1400" b="1">
                  <a:solidFill>
                    <a:schemeClr val="bg1"/>
                  </a:solidFill>
                  <a:cs typeface="Arial" pitchFamily="34" charset="0"/>
                </a:rPr>
                <a:t>Option B</a:t>
              </a:r>
              <a:endParaRPr lang="ko-KR" altLang="en-US" sz="1400" b="1">
                <a:solidFill>
                  <a:schemeClr val="bg1"/>
                </a:solidFill>
                <a:cs typeface="Arial" pitchFamily="34" charset="0"/>
              </a:endParaRPr>
            </a:p>
          </p:txBody>
        </p:sp>
        <p:cxnSp>
          <p:nvCxnSpPr>
            <p:cNvPr id="34" name="Elbow Connector 29">
              <a:extLst>
                <a:ext uri="{FF2B5EF4-FFF2-40B4-BE49-F238E27FC236}">
                  <a16:creationId xmlns:a16="http://schemas.microsoft.com/office/drawing/2014/main" id="{6118FD6A-562E-E848-9F3E-D23E8C4EC475}"/>
                </a:ext>
              </a:extLst>
            </p:cNvPr>
            <p:cNvCxnSpPr/>
            <p:nvPr/>
          </p:nvCxnSpPr>
          <p:spPr>
            <a:xfrm rot="10800000">
              <a:off x="4210827" y="5223294"/>
              <a:ext cx="777620" cy="265779"/>
            </a:xfrm>
            <a:prstGeom prst="bentConnector3">
              <a:avLst/>
            </a:prstGeom>
            <a:ln w="38100">
              <a:solidFill>
                <a:schemeClr val="accent4"/>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35" name="Elbow Connector 30">
              <a:extLst>
                <a:ext uri="{FF2B5EF4-FFF2-40B4-BE49-F238E27FC236}">
                  <a16:creationId xmlns:a16="http://schemas.microsoft.com/office/drawing/2014/main" id="{F405F24C-73F3-DD48-89BA-5ACE4F6A7035}"/>
                </a:ext>
              </a:extLst>
            </p:cNvPr>
            <p:cNvCxnSpPr>
              <a:cxnSpLocks/>
            </p:cNvCxnSpPr>
            <p:nvPr/>
          </p:nvCxnSpPr>
          <p:spPr>
            <a:xfrm>
              <a:off x="7898141" y="3026948"/>
              <a:ext cx="1623929" cy="377323"/>
            </a:xfrm>
            <a:prstGeom prst="bentConnector3">
              <a:avLst>
                <a:gd name="adj1" fmla="val 100894"/>
              </a:avLst>
            </a:prstGeom>
            <a:ln w="38100">
              <a:solidFill>
                <a:schemeClr val="accent3"/>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36" name="Elbow Connector 31">
              <a:extLst>
                <a:ext uri="{FF2B5EF4-FFF2-40B4-BE49-F238E27FC236}">
                  <a16:creationId xmlns:a16="http://schemas.microsoft.com/office/drawing/2014/main" id="{42883B14-E015-9F4C-9BFC-1A5C65C94AE1}"/>
                </a:ext>
              </a:extLst>
            </p:cNvPr>
            <p:cNvCxnSpPr/>
            <p:nvPr/>
          </p:nvCxnSpPr>
          <p:spPr>
            <a:xfrm flipH="1" flipV="1">
              <a:off x="2956528" y="4405512"/>
              <a:ext cx="1351177" cy="372892"/>
            </a:xfrm>
            <a:prstGeom prst="bentConnector2">
              <a:avLst/>
            </a:prstGeom>
            <a:ln w="38100">
              <a:solidFill>
                <a:schemeClr val="accent4"/>
              </a:solidFill>
              <a:prstDash val="solid"/>
              <a:headEnd type="none"/>
              <a:tailEnd type="ova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7BEF8069-E19B-3A4E-A8EC-B5CC869F2500}"/>
                </a:ext>
              </a:extLst>
            </p:cNvPr>
            <p:cNvSpPr/>
            <p:nvPr/>
          </p:nvSpPr>
          <p:spPr>
            <a:xfrm>
              <a:off x="6813080" y="1980745"/>
              <a:ext cx="360040" cy="3600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Oval 37">
              <a:extLst>
                <a:ext uri="{FF2B5EF4-FFF2-40B4-BE49-F238E27FC236}">
                  <a16:creationId xmlns:a16="http://schemas.microsoft.com/office/drawing/2014/main" id="{66CF76E4-6613-5045-8061-75003E37F2BE}"/>
                </a:ext>
              </a:extLst>
            </p:cNvPr>
            <p:cNvSpPr/>
            <p:nvPr/>
          </p:nvSpPr>
          <p:spPr>
            <a:xfrm>
              <a:off x="7573664" y="2852936"/>
              <a:ext cx="360040" cy="3600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9" name="Oval 38">
              <a:extLst>
                <a:ext uri="{FF2B5EF4-FFF2-40B4-BE49-F238E27FC236}">
                  <a16:creationId xmlns:a16="http://schemas.microsoft.com/office/drawing/2014/main" id="{3BB5B939-3281-274E-B4B5-9682F7750AB7}"/>
                </a:ext>
              </a:extLst>
            </p:cNvPr>
            <p:cNvSpPr/>
            <p:nvPr/>
          </p:nvSpPr>
          <p:spPr>
            <a:xfrm>
              <a:off x="6813080" y="5309552"/>
              <a:ext cx="360040" cy="3600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0" name="Oval 39">
              <a:extLst>
                <a:ext uri="{FF2B5EF4-FFF2-40B4-BE49-F238E27FC236}">
                  <a16:creationId xmlns:a16="http://schemas.microsoft.com/office/drawing/2014/main" id="{6E0332AA-6886-3145-BDC4-6F911A736D06}"/>
                </a:ext>
              </a:extLst>
            </p:cNvPr>
            <p:cNvSpPr/>
            <p:nvPr/>
          </p:nvSpPr>
          <p:spPr>
            <a:xfrm>
              <a:off x="4918045" y="5309552"/>
              <a:ext cx="360040" cy="3600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1" name="Oval 40">
              <a:extLst>
                <a:ext uri="{FF2B5EF4-FFF2-40B4-BE49-F238E27FC236}">
                  <a16:creationId xmlns:a16="http://schemas.microsoft.com/office/drawing/2014/main" id="{876EE007-C51B-3540-9685-E47C0588555A}"/>
                </a:ext>
              </a:extLst>
            </p:cNvPr>
            <p:cNvSpPr/>
            <p:nvPr/>
          </p:nvSpPr>
          <p:spPr>
            <a:xfrm>
              <a:off x="4918045" y="1980745"/>
              <a:ext cx="360040" cy="3600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2" name="Oval 41">
              <a:extLst>
                <a:ext uri="{FF2B5EF4-FFF2-40B4-BE49-F238E27FC236}">
                  <a16:creationId xmlns:a16="http://schemas.microsoft.com/office/drawing/2014/main" id="{D2E5AD8A-22F6-2C48-B8CB-1A95F204DECD}"/>
                </a:ext>
              </a:extLst>
            </p:cNvPr>
            <p:cNvSpPr/>
            <p:nvPr/>
          </p:nvSpPr>
          <p:spPr>
            <a:xfrm>
              <a:off x="4166580" y="4584128"/>
              <a:ext cx="360040" cy="3600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cxnSp>
          <p:nvCxnSpPr>
            <p:cNvPr id="43" name="Elbow Connector 39">
              <a:extLst>
                <a:ext uri="{FF2B5EF4-FFF2-40B4-BE49-F238E27FC236}">
                  <a16:creationId xmlns:a16="http://schemas.microsoft.com/office/drawing/2014/main" id="{FC4D37F4-BBE8-864E-9CE8-056D18B63A2A}"/>
                </a:ext>
              </a:extLst>
            </p:cNvPr>
            <p:cNvCxnSpPr/>
            <p:nvPr/>
          </p:nvCxnSpPr>
          <p:spPr>
            <a:xfrm rot="10800000" flipH="1">
              <a:off x="7072381" y="5223293"/>
              <a:ext cx="777620" cy="265779"/>
            </a:xfrm>
            <a:prstGeom prst="bentConnector3">
              <a:avLst/>
            </a:prstGeom>
            <a:ln w="38100">
              <a:solidFill>
                <a:schemeClr val="accent3"/>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44" name="Elbow Connector 40">
              <a:extLst>
                <a:ext uri="{FF2B5EF4-FFF2-40B4-BE49-F238E27FC236}">
                  <a16:creationId xmlns:a16="http://schemas.microsoft.com/office/drawing/2014/main" id="{C38A7152-FF52-7C41-887E-FF725CCAACA2}"/>
                </a:ext>
              </a:extLst>
            </p:cNvPr>
            <p:cNvCxnSpPr/>
            <p:nvPr/>
          </p:nvCxnSpPr>
          <p:spPr>
            <a:xfrm rot="10800000">
              <a:off x="4210827" y="1912240"/>
              <a:ext cx="777620" cy="265779"/>
            </a:xfrm>
            <a:prstGeom prst="bentConnector3">
              <a:avLst/>
            </a:prstGeom>
            <a:ln w="38100">
              <a:solidFill>
                <a:schemeClr val="accent4"/>
              </a:solidFill>
              <a:prstDash val="solid"/>
              <a:headEnd type="none"/>
              <a:tailEnd type="oval"/>
            </a:ln>
          </p:spPr>
          <p:style>
            <a:lnRef idx="1">
              <a:schemeClr val="accent1"/>
            </a:lnRef>
            <a:fillRef idx="0">
              <a:schemeClr val="accent1"/>
            </a:fillRef>
            <a:effectRef idx="0">
              <a:schemeClr val="accent1"/>
            </a:effectRef>
            <a:fontRef idx="minor">
              <a:schemeClr val="tx1"/>
            </a:fontRef>
          </p:style>
        </p:cxnSp>
        <p:cxnSp>
          <p:nvCxnSpPr>
            <p:cNvPr id="45" name="Elbow Connector 41">
              <a:extLst>
                <a:ext uri="{FF2B5EF4-FFF2-40B4-BE49-F238E27FC236}">
                  <a16:creationId xmlns:a16="http://schemas.microsoft.com/office/drawing/2014/main" id="{F6114932-DD82-DA46-A094-1189E76CCBC8}"/>
                </a:ext>
              </a:extLst>
            </p:cNvPr>
            <p:cNvCxnSpPr/>
            <p:nvPr/>
          </p:nvCxnSpPr>
          <p:spPr>
            <a:xfrm rot="10800000" flipH="1">
              <a:off x="7072380" y="1912240"/>
              <a:ext cx="777620" cy="265779"/>
            </a:xfrm>
            <a:prstGeom prst="bentConnector3">
              <a:avLst/>
            </a:prstGeom>
            <a:ln w="38100">
              <a:solidFill>
                <a:schemeClr val="accent3"/>
              </a:solidFill>
              <a:prstDash val="solid"/>
              <a:headEnd type="none"/>
              <a:tailEnd type="oval"/>
            </a:ln>
          </p:spPr>
          <p:style>
            <a:lnRef idx="1">
              <a:schemeClr val="accent1"/>
            </a:lnRef>
            <a:fillRef idx="0">
              <a:schemeClr val="accent1"/>
            </a:fillRef>
            <a:effectRef idx="0">
              <a:schemeClr val="accent1"/>
            </a:effectRef>
            <a:fontRef idx="minor">
              <a:schemeClr val="tx1"/>
            </a:fontRef>
          </p:style>
        </p:cxnSp>
        <p:sp>
          <p:nvSpPr>
            <p:cNvPr id="46" name="Donut 8">
              <a:extLst>
                <a:ext uri="{FF2B5EF4-FFF2-40B4-BE49-F238E27FC236}">
                  <a16:creationId xmlns:a16="http://schemas.microsoft.com/office/drawing/2014/main" id="{0F6C46F0-6A47-EF4C-BA20-3CEAC6285C0D}"/>
                </a:ext>
              </a:extLst>
            </p:cNvPr>
            <p:cNvSpPr/>
            <p:nvPr/>
          </p:nvSpPr>
          <p:spPr>
            <a:xfrm>
              <a:off x="5995715" y="4155752"/>
              <a:ext cx="341413" cy="408098"/>
            </a:xfrm>
            <a:custGeom>
              <a:avLst/>
              <a:gdLst/>
              <a:ahLst/>
              <a:cxnLst/>
              <a:rect l="l" t="t" r="r" b="b"/>
              <a:pathLst>
                <a:path w="2688046" h="3213079">
                  <a:moveTo>
                    <a:pt x="1056023" y="556744"/>
                  </a:moveTo>
                  <a:lnTo>
                    <a:pt x="1056023" y="906412"/>
                  </a:lnTo>
                  <a:cubicBezTo>
                    <a:pt x="641240" y="1029807"/>
                    <a:pt x="338989" y="1414134"/>
                    <a:pt x="338989" y="1869056"/>
                  </a:cubicBezTo>
                  <a:cubicBezTo>
                    <a:pt x="338989" y="2424121"/>
                    <a:pt x="788958" y="2874090"/>
                    <a:pt x="1344023" y="2874090"/>
                  </a:cubicBezTo>
                  <a:cubicBezTo>
                    <a:pt x="1899088" y="2874090"/>
                    <a:pt x="2349057" y="2424121"/>
                    <a:pt x="2349057" y="1869056"/>
                  </a:cubicBezTo>
                  <a:cubicBezTo>
                    <a:pt x="2349057" y="1414134"/>
                    <a:pt x="2046806" y="1029807"/>
                    <a:pt x="1632023" y="906412"/>
                  </a:cubicBezTo>
                  <a:lnTo>
                    <a:pt x="1632023" y="556744"/>
                  </a:lnTo>
                  <a:cubicBezTo>
                    <a:pt x="2235992" y="687900"/>
                    <a:pt x="2688046" y="1225687"/>
                    <a:pt x="2688046" y="1869056"/>
                  </a:cubicBezTo>
                  <a:cubicBezTo>
                    <a:pt x="2688046" y="2611339"/>
                    <a:pt x="2086306" y="3213079"/>
                    <a:pt x="1344023" y="3213079"/>
                  </a:cubicBezTo>
                  <a:cubicBezTo>
                    <a:pt x="601740" y="3213079"/>
                    <a:pt x="0" y="2611339"/>
                    <a:pt x="0" y="1869056"/>
                  </a:cubicBezTo>
                  <a:cubicBezTo>
                    <a:pt x="0" y="1225687"/>
                    <a:pt x="452054" y="687900"/>
                    <a:pt x="1056023" y="556744"/>
                  </a:cubicBezTo>
                  <a:close/>
                  <a:moveTo>
                    <a:pt x="1344023" y="0"/>
                  </a:moveTo>
                  <a:cubicBezTo>
                    <a:pt x="1443445" y="0"/>
                    <a:pt x="1524043" y="80598"/>
                    <a:pt x="1524043" y="180020"/>
                  </a:cubicBezTo>
                  <a:lnTo>
                    <a:pt x="1524043" y="1413058"/>
                  </a:lnTo>
                  <a:cubicBezTo>
                    <a:pt x="1524043" y="1512480"/>
                    <a:pt x="1443445" y="1593078"/>
                    <a:pt x="1344023" y="1593078"/>
                  </a:cubicBezTo>
                  <a:cubicBezTo>
                    <a:pt x="1244601" y="1593078"/>
                    <a:pt x="1164003" y="1512480"/>
                    <a:pt x="1164003" y="1413058"/>
                  </a:cubicBezTo>
                  <a:lnTo>
                    <a:pt x="1164003" y="180020"/>
                  </a:lnTo>
                  <a:cubicBezTo>
                    <a:pt x="1164003" y="80598"/>
                    <a:pt x="1244601" y="0"/>
                    <a:pt x="13440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47" name="Donut 39">
              <a:extLst>
                <a:ext uri="{FF2B5EF4-FFF2-40B4-BE49-F238E27FC236}">
                  <a16:creationId xmlns:a16="http://schemas.microsoft.com/office/drawing/2014/main" id="{95660260-4A32-C748-8C41-A68EBFD9E9D4}"/>
                </a:ext>
              </a:extLst>
            </p:cNvPr>
            <p:cNvSpPr/>
            <p:nvPr/>
          </p:nvSpPr>
          <p:spPr>
            <a:xfrm>
              <a:off x="5659364" y="3294243"/>
              <a:ext cx="404132" cy="404132"/>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grpSp>
    </p:spTree>
    <p:extLst>
      <p:ext uri="{BB962C8B-B14F-4D97-AF65-F5344CB8AC3E}">
        <p14:creationId xmlns:p14="http://schemas.microsoft.com/office/powerpoint/2010/main" val="37839395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DD358A7C-0608-EB4C-9D1C-E2975C131C73}"/>
              </a:ext>
            </a:extLst>
          </p:cNvPr>
          <p:cNvGraphicFramePr>
            <a:graphicFrameLocks noChangeAspect="1"/>
          </p:cNvGraphicFramePr>
          <p:nvPr>
            <p:custDataLst>
              <p:tags r:id="rId1"/>
            </p:custDataLst>
            <p:extLst>
              <p:ext uri="{D42A27DB-BD31-4B8C-83A1-F6EECF244321}">
                <p14:modId xmlns:p14="http://schemas.microsoft.com/office/powerpoint/2010/main" val="1050765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0" name="Object 29" hidden="1">
                        <a:extLst>
                          <a:ext uri="{FF2B5EF4-FFF2-40B4-BE49-F238E27FC236}">
                            <a16:creationId xmlns:a16="http://schemas.microsoft.com/office/drawing/2014/main" id="{DD358A7C-0608-EB4C-9D1C-E2975C131C7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39A90F0-EDFB-2048-B3A5-2E85EA9DB722}"/>
              </a:ext>
            </a:extLst>
          </p:cNvPr>
          <p:cNvSpPr>
            <a:spLocks noGrp="1"/>
          </p:cNvSpPr>
          <p:nvPr>
            <p:ph type="sldNum" sz="quarter" idx="4"/>
          </p:nvPr>
        </p:nvSpPr>
        <p:spPr/>
        <p:txBody>
          <a:bodyPr/>
          <a:lstStyle/>
          <a:p>
            <a:fld id="{3D966009-6E5A-4F8C-8CA7-E37AFBF5FB92}" type="slidenum">
              <a:rPr lang="en-US" smtClean="0"/>
              <a:t>122</a:t>
            </a:fld>
            <a:endParaRPr lang="en-US"/>
          </a:p>
        </p:txBody>
      </p:sp>
      <p:sp>
        <p:nvSpPr>
          <p:cNvPr id="3" name="Title 2">
            <a:extLst>
              <a:ext uri="{FF2B5EF4-FFF2-40B4-BE49-F238E27FC236}">
                <a16:creationId xmlns:a16="http://schemas.microsoft.com/office/drawing/2014/main" id="{6A566D89-B544-E24D-86EC-5DA7EA4B20D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81F5710B-5019-B340-AFE7-2F341CCCDECB}"/>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E1C9431-1475-8A4D-A9CB-F58074FBBB4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EC6DFCFF-E718-3F40-B7E2-AAF29078FEC4}"/>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ABC832A-8A6C-4A48-9626-460B89AB29E7}"/>
              </a:ext>
            </a:extLst>
          </p:cNvPr>
          <p:cNvSpPr>
            <a:spLocks noGrp="1"/>
          </p:cNvSpPr>
          <p:nvPr>
            <p:ph sz="quarter" idx="14"/>
          </p:nvPr>
        </p:nvSpPr>
        <p:spPr/>
        <p:txBody>
          <a:bodyPr/>
          <a:lstStyle/>
          <a:p>
            <a:endParaRPr lang="en-GB"/>
          </a:p>
        </p:txBody>
      </p:sp>
      <p:grpSp>
        <p:nvGrpSpPr>
          <p:cNvPr id="29" name="Group 28">
            <a:extLst>
              <a:ext uri="{FF2B5EF4-FFF2-40B4-BE49-F238E27FC236}">
                <a16:creationId xmlns:a16="http://schemas.microsoft.com/office/drawing/2014/main" id="{DF0F0D84-17EE-5844-8674-24DAB4896D46}"/>
              </a:ext>
            </a:extLst>
          </p:cNvPr>
          <p:cNvGrpSpPr/>
          <p:nvPr/>
        </p:nvGrpSpPr>
        <p:grpSpPr>
          <a:xfrm>
            <a:off x="919005" y="1701594"/>
            <a:ext cx="10123399" cy="4393894"/>
            <a:chOff x="919005" y="1739694"/>
            <a:chExt cx="10123399" cy="4393894"/>
          </a:xfrm>
        </p:grpSpPr>
        <p:grpSp>
          <p:nvGrpSpPr>
            <p:cNvPr id="9" name="Group 8">
              <a:extLst>
                <a:ext uri="{FF2B5EF4-FFF2-40B4-BE49-F238E27FC236}">
                  <a16:creationId xmlns:a16="http://schemas.microsoft.com/office/drawing/2014/main" id="{95333F70-4C98-344B-8761-D76E435E6DA3}"/>
                </a:ext>
              </a:extLst>
            </p:cNvPr>
            <p:cNvGrpSpPr/>
            <p:nvPr/>
          </p:nvGrpSpPr>
          <p:grpSpPr>
            <a:xfrm>
              <a:off x="5648788" y="3735132"/>
              <a:ext cx="883478" cy="883478"/>
              <a:chOff x="3912982" y="3339018"/>
              <a:chExt cx="1307090" cy="1307090"/>
            </a:xfrm>
          </p:grpSpPr>
          <p:sp>
            <p:nvSpPr>
              <p:cNvPr id="10" name="Oval 9">
                <a:extLst>
                  <a:ext uri="{FF2B5EF4-FFF2-40B4-BE49-F238E27FC236}">
                    <a16:creationId xmlns:a16="http://schemas.microsoft.com/office/drawing/2014/main" id="{97F18804-112F-AC44-83AE-8BDC474281E9}"/>
                  </a:ext>
                </a:extLst>
              </p:cNvPr>
              <p:cNvSpPr/>
              <p:nvPr/>
            </p:nvSpPr>
            <p:spPr>
              <a:xfrm>
                <a:off x="3912982" y="3339018"/>
                <a:ext cx="1307090" cy="130709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Oval 10">
                <a:extLst>
                  <a:ext uri="{FF2B5EF4-FFF2-40B4-BE49-F238E27FC236}">
                    <a16:creationId xmlns:a16="http://schemas.microsoft.com/office/drawing/2014/main" id="{C437A2AB-DFF6-FE41-B9F0-7F49CFBC513B}"/>
                  </a:ext>
                </a:extLst>
              </p:cNvPr>
              <p:cNvSpPr/>
              <p:nvPr/>
            </p:nvSpPr>
            <p:spPr>
              <a:xfrm>
                <a:off x="4144138" y="3576556"/>
                <a:ext cx="840739" cy="84073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2" name="Rectangle 10">
              <a:extLst>
                <a:ext uri="{FF2B5EF4-FFF2-40B4-BE49-F238E27FC236}">
                  <a16:creationId xmlns:a16="http://schemas.microsoft.com/office/drawing/2014/main" id="{AE96ED15-D984-3F49-8E46-EEE32E645AB1}"/>
                </a:ext>
              </a:extLst>
            </p:cNvPr>
            <p:cNvSpPr/>
            <p:nvPr/>
          </p:nvSpPr>
          <p:spPr>
            <a:xfrm>
              <a:off x="5417551" y="2712620"/>
              <a:ext cx="685676" cy="1482080"/>
            </a:xfrm>
            <a:custGeom>
              <a:avLst/>
              <a:gdLst>
                <a:gd name="connsiteX0" fmla="*/ 0 w 1434976"/>
                <a:gd name="connsiteY0" fmla="*/ 0 h 720080"/>
                <a:gd name="connsiteX1" fmla="*/ 1434976 w 1434976"/>
                <a:gd name="connsiteY1" fmla="*/ 0 h 720080"/>
                <a:gd name="connsiteX2" fmla="*/ 1434976 w 1434976"/>
                <a:gd name="connsiteY2" fmla="*/ 720080 h 720080"/>
                <a:gd name="connsiteX3" fmla="*/ 0 w 1434976"/>
                <a:gd name="connsiteY3" fmla="*/ 720080 h 720080"/>
                <a:gd name="connsiteX4" fmla="*/ 0 w 1434976"/>
                <a:gd name="connsiteY4" fmla="*/ 0 h 7200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2015480 h 2015480"/>
                <a:gd name="connsiteX4" fmla="*/ 12700 w 1434976"/>
                <a:gd name="connsiteY4" fmla="*/ 0 h 20154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1434976"/>
                <a:gd name="connsiteY0" fmla="*/ 0 h 2015480"/>
                <a:gd name="connsiteX1" fmla="*/ 660276 w 1434976"/>
                <a:gd name="connsiteY1" fmla="*/ 10795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660276"/>
                <a:gd name="connsiteY0" fmla="*/ 0 h 1558280"/>
                <a:gd name="connsiteX1" fmla="*/ 660276 w 660276"/>
                <a:gd name="connsiteY1" fmla="*/ 1079500 h 1558280"/>
                <a:gd name="connsiteX2" fmla="*/ 634876 w 660276"/>
                <a:gd name="connsiteY2" fmla="*/ 1558280 h 1558280"/>
                <a:gd name="connsiteX3" fmla="*/ 0 w 660276"/>
                <a:gd name="connsiteY3" fmla="*/ 643880 h 1558280"/>
                <a:gd name="connsiteX4" fmla="*/ 12700 w 660276"/>
                <a:gd name="connsiteY4" fmla="*/ 0 h 1558280"/>
                <a:gd name="connsiteX0" fmla="*/ 12700 w 660276"/>
                <a:gd name="connsiteY0" fmla="*/ 0 h 1558280"/>
                <a:gd name="connsiteX1" fmla="*/ 660276 w 660276"/>
                <a:gd name="connsiteY1" fmla="*/ 901700 h 1558280"/>
                <a:gd name="connsiteX2" fmla="*/ 634876 w 660276"/>
                <a:gd name="connsiteY2" fmla="*/ 1558280 h 1558280"/>
                <a:gd name="connsiteX3" fmla="*/ 0 w 660276"/>
                <a:gd name="connsiteY3" fmla="*/ 643880 h 1558280"/>
                <a:gd name="connsiteX4" fmla="*/ 12700 w 660276"/>
                <a:gd name="connsiteY4" fmla="*/ 0 h 1558280"/>
                <a:gd name="connsiteX0" fmla="*/ 15038 w 662614"/>
                <a:gd name="connsiteY0" fmla="*/ 0 h 1558280"/>
                <a:gd name="connsiteX1" fmla="*/ 662614 w 662614"/>
                <a:gd name="connsiteY1" fmla="*/ 901700 h 1558280"/>
                <a:gd name="connsiteX2" fmla="*/ 637214 w 662614"/>
                <a:gd name="connsiteY2" fmla="*/ 1558280 h 1558280"/>
                <a:gd name="connsiteX3" fmla="*/ 2338 w 662614"/>
                <a:gd name="connsiteY3" fmla="*/ 643880 h 1558280"/>
                <a:gd name="connsiteX4" fmla="*/ 15038 w 662614"/>
                <a:gd name="connsiteY4" fmla="*/ 0 h 1558280"/>
                <a:gd name="connsiteX0" fmla="*/ 553 w 686229"/>
                <a:gd name="connsiteY0" fmla="*/ 0 h 1405880"/>
                <a:gd name="connsiteX1" fmla="*/ 686229 w 686229"/>
                <a:gd name="connsiteY1" fmla="*/ 749300 h 1405880"/>
                <a:gd name="connsiteX2" fmla="*/ 660829 w 686229"/>
                <a:gd name="connsiteY2" fmla="*/ 1405880 h 1405880"/>
                <a:gd name="connsiteX3" fmla="*/ 25953 w 686229"/>
                <a:gd name="connsiteY3" fmla="*/ 491480 h 1405880"/>
                <a:gd name="connsiteX4" fmla="*/ 553 w 686229"/>
                <a:gd name="connsiteY4" fmla="*/ 0 h 1405880"/>
                <a:gd name="connsiteX0" fmla="*/ 553 w 686229"/>
                <a:gd name="connsiteY0" fmla="*/ 0 h 1451600"/>
                <a:gd name="connsiteX1" fmla="*/ 686229 w 686229"/>
                <a:gd name="connsiteY1" fmla="*/ 795020 h 1451600"/>
                <a:gd name="connsiteX2" fmla="*/ 660829 w 686229"/>
                <a:gd name="connsiteY2" fmla="*/ 1451600 h 1451600"/>
                <a:gd name="connsiteX3" fmla="*/ 25953 w 686229"/>
                <a:gd name="connsiteY3" fmla="*/ 537200 h 1451600"/>
                <a:gd name="connsiteX4" fmla="*/ 553 w 686229"/>
                <a:gd name="connsiteY4" fmla="*/ 0 h 1451600"/>
                <a:gd name="connsiteX0" fmla="*/ 8518 w 694194"/>
                <a:gd name="connsiteY0" fmla="*/ 0 h 1451600"/>
                <a:gd name="connsiteX1" fmla="*/ 694194 w 694194"/>
                <a:gd name="connsiteY1" fmla="*/ 795020 h 1451600"/>
                <a:gd name="connsiteX2" fmla="*/ 668794 w 694194"/>
                <a:gd name="connsiteY2" fmla="*/ 1451600 h 1451600"/>
                <a:gd name="connsiteX3" fmla="*/ 3438 w 694194"/>
                <a:gd name="connsiteY3" fmla="*/ 735320 h 1451600"/>
                <a:gd name="connsiteX4" fmla="*/ 8518 w 694194"/>
                <a:gd name="connsiteY4" fmla="*/ 0 h 1451600"/>
                <a:gd name="connsiteX0" fmla="*/ 8518 w 668794"/>
                <a:gd name="connsiteY0" fmla="*/ 0 h 1451600"/>
                <a:gd name="connsiteX1" fmla="*/ 668794 w 668794"/>
                <a:gd name="connsiteY1" fmla="*/ 728980 h 1451600"/>
                <a:gd name="connsiteX2" fmla="*/ 668794 w 668794"/>
                <a:gd name="connsiteY2" fmla="*/ 1451600 h 1451600"/>
                <a:gd name="connsiteX3" fmla="*/ 3438 w 668794"/>
                <a:gd name="connsiteY3" fmla="*/ 735320 h 1451600"/>
                <a:gd name="connsiteX4" fmla="*/ 8518 w 668794"/>
                <a:gd name="connsiteY4" fmla="*/ 0 h 1451600"/>
                <a:gd name="connsiteX0" fmla="*/ 8518 w 684034"/>
                <a:gd name="connsiteY0" fmla="*/ 0 h 1482080"/>
                <a:gd name="connsiteX1" fmla="*/ 66879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518 w 684034"/>
                <a:gd name="connsiteY0" fmla="*/ 0 h 1482080"/>
                <a:gd name="connsiteX1" fmla="*/ 67387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7 w 675603"/>
                <a:gd name="connsiteY0" fmla="*/ 0 h 1482080"/>
                <a:gd name="connsiteX1" fmla="*/ 665443 w 675603"/>
                <a:gd name="connsiteY1" fmla="*/ 728980 h 1482080"/>
                <a:gd name="connsiteX2" fmla="*/ 675603 w 675603"/>
                <a:gd name="connsiteY2" fmla="*/ 1482080 h 1482080"/>
                <a:gd name="connsiteX3" fmla="*/ 157567 w 675603"/>
                <a:gd name="connsiteY3" fmla="*/ 704840 h 1482080"/>
                <a:gd name="connsiteX4" fmla="*/ 87 w 675603"/>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5320 h 1482080"/>
                <a:gd name="connsiteX4" fmla="*/ 12780 w 688296"/>
                <a:gd name="connsiteY4" fmla="*/ 0 h 1482080"/>
                <a:gd name="connsiteX0" fmla="*/ 2486 w 678002"/>
                <a:gd name="connsiteY0" fmla="*/ 0 h 1482080"/>
                <a:gd name="connsiteX1" fmla="*/ 667842 w 678002"/>
                <a:gd name="connsiteY1" fmla="*/ 728980 h 1482080"/>
                <a:gd name="connsiteX2" fmla="*/ 678002 w 678002"/>
                <a:gd name="connsiteY2" fmla="*/ 1482080 h 1482080"/>
                <a:gd name="connsiteX3" fmla="*/ 7566 w 678002"/>
                <a:gd name="connsiteY3" fmla="*/ 725160 h 1482080"/>
                <a:gd name="connsiteX4" fmla="*/ 2486 w 678002"/>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0240 h 1482080"/>
                <a:gd name="connsiteX4" fmla="*/ 12780 w 688296"/>
                <a:gd name="connsiteY4" fmla="*/ 0 h 1482080"/>
                <a:gd name="connsiteX0" fmla="*/ 10160 w 685676"/>
                <a:gd name="connsiteY0" fmla="*/ 0 h 1482080"/>
                <a:gd name="connsiteX1" fmla="*/ 675516 w 685676"/>
                <a:gd name="connsiteY1" fmla="*/ 728980 h 1482080"/>
                <a:gd name="connsiteX2" fmla="*/ 685676 w 685676"/>
                <a:gd name="connsiteY2" fmla="*/ 1482080 h 1482080"/>
                <a:gd name="connsiteX3" fmla="*/ 0 w 685676"/>
                <a:gd name="connsiteY3" fmla="*/ 730240 h 1482080"/>
                <a:gd name="connsiteX4" fmla="*/ 10160 w 685676"/>
                <a:gd name="connsiteY4" fmla="*/ 0 h 148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76" h="1482080">
                  <a:moveTo>
                    <a:pt x="10160" y="0"/>
                  </a:moveTo>
                  <a:lnTo>
                    <a:pt x="675516" y="728980"/>
                  </a:lnTo>
                  <a:lnTo>
                    <a:pt x="685676" y="1482080"/>
                  </a:lnTo>
                  <a:lnTo>
                    <a:pt x="0" y="730240"/>
                  </a:lnTo>
                  <a:cubicBezTo>
                    <a:pt x="6773" y="63493"/>
                    <a:pt x="5927" y="671827"/>
                    <a:pt x="1016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3" name="TextBox 12">
              <a:extLst>
                <a:ext uri="{FF2B5EF4-FFF2-40B4-BE49-F238E27FC236}">
                  <a16:creationId xmlns:a16="http://schemas.microsoft.com/office/drawing/2014/main" id="{128386C5-AB66-2240-BC5E-0E168D7019E9}"/>
                </a:ext>
              </a:extLst>
            </p:cNvPr>
            <p:cNvSpPr txBox="1"/>
            <p:nvPr/>
          </p:nvSpPr>
          <p:spPr>
            <a:xfrm>
              <a:off x="2371510" y="1739694"/>
              <a:ext cx="7463434" cy="523220"/>
            </a:xfrm>
            <a:prstGeom prst="rect">
              <a:avLst/>
            </a:prstGeom>
            <a:noFill/>
          </p:spPr>
          <p:txBody>
            <a:bodyPr wrap="square" rtlCol="0">
              <a:spAutoFit/>
            </a:bodyPr>
            <a:lstStyle/>
            <a:p>
              <a:pPr algn="ctr"/>
              <a:r>
                <a:rPr lang="en-US" altLang="ko-KR" sz="1400" b="1">
                  <a:solidFill>
                    <a:schemeClr val="tx1">
                      <a:lumMod val="75000"/>
                      <a:lumOff val="25000"/>
                    </a:schemeClr>
                  </a:solidFill>
                  <a:cs typeface="Arial" pitchFamily="34" charset="0"/>
                </a:rPr>
                <a:t>You can simply impress your audience and</a:t>
              </a:r>
            </a:p>
            <a:p>
              <a:pPr algn="ctr"/>
              <a:r>
                <a:rPr lang="en-US" altLang="ko-KR" sz="1400" b="1">
                  <a:solidFill>
                    <a:schemeClr val="tx1">
                      <a:lumMod val="75000"/>
                      <a:lumOff val="25000"/>
                    </a:schemeClr>
                  </a:solidFill>
                  <a:cs typeface="Arial" pitchFamily="34" charset="0"/>
                </a:rPr>
                <a:t>add a unique zing and appeal to your Presentations. </a:t>
              </a:r>
              <a:endParaRPr lang="ko-KR" altLang="en-US" sz="1400" b="1">
                <a:solidFill>
                  <a:schemeClr val="tx1">
                    <a:lumMod val="75000"/>
                    <a:lumOff val="25000"/>
                  </a:schemeClr>
                </a:solidFill>
                <a:cs typeface="Arial" pitchFamily="34" charset="0"/>
              </a:endParaRPr>
            </a:p>
          </p:txBody>
        </p:sp>
        <p:cxnSp>
          <p:nvCxnSpPr>
            <p:cNvPr id="14" name="Straight Connector 13">
              <a:extLst>
                <a:ext uri="{FF2B5EF4-FFF2-40B4-BE49-F238E27FC236}">
                  <a16:creationId xmlns:a16="http://schemas.microsoft.com/office/drawing/2014/main" id="{66C63B4A-1E98-D04E-ACD2-0903142EF1F7}"/>
                </a:ext>
              </a:extLst>
            </p:cNvPr>
            <p:cNvCxnSpPr/>
            <p:nvPr/>
          </p:nvCxnSpPr>
          <p:spPr>
            <a:xfrm>
              <a:off x="6096001" y="2389172"/>
              <a:ext cx="1" cy="3744416"/>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5" name="Right Arrow 9">
              <a:extLst>
                <a:ext uri="{FF2B5EF4-FFF2-40B4-BE49-F238E27FC236}">
                  <a16:creationId xmlns:a16="http://schemas.microsoft.com/office/drawing/2014/main" id="{DD010598-2BC8-9D4B-95CD-ACFDB6A54E11}"/>
                </a:ext>
              </a:extLst>
            </p:cNvPr>
            <p:cNvSpPr/>
            <p:nvPr/>
          </p:nvSpPr>
          <p:spPr>
            <a:xfrm>
              <a:off x="5426736" y="2371588"/>
              <a:ext cx="2592000" cy="1368152"/>
            </a:xfrm>
            <a:prstGeom prst="rightArrow">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6" name="Group 15">
              <a:extLst>
                <a:ext uri="{FF2B5EF4-FFF2-40B4-BE49-F238E27FC236}">
                  <a16:creationId xmlns:a16="http://schemas.microsoft.com/office/drawing/2014/main" id="{B2285B87-41F1-0F42-BBEB-B9B914E425A2}"/>
                </a:ext>
              </a:extLst>
            </p:cNvPr>
            <p:cNvGrpSpPr/>
            <p:nvPr/>
          </p:nvGrpSpPr>
          <p:grpSpPr>
            <a:xfrm flipH="1" flipV="1">
              <a:off x="4187634" y="4181234"/>
              <a:ext cx="2592000" cy="1814320"/>
              <a:chOff x="4045951" y="2348472"/>
              <a:chExt cx="2592000" cy="1814320"/>
            </a:xfrm>
          </p:grpSpPr>
          <p:sp>
            <p:nvSpPr>
              <p:cNvPr id="17" name="Rectangle 10">
                <a:extLst>
                  <a:ext uri="{FF2B5EF4-FFF2-40B4-BE49-F238E27FC236}">
                    <a16:creationId xmlns:a16="http://schemas.microsoft.com/office/drawing/2014/main" id="{E266BDC4-46F4-AB45-BD59-3DD9727E351C}"/>
                  </a:ext>
                </a:extLst>
              </p:cNvPr>
              <p:cNvSpPr/>
              <p:nvPr/>
            </p:nvSpPr>
            <p:spPr>
              <a:xfrm>
                <a:off x="4045951" y="2680712"/>
                <a:ext cx="685676" cy="1482080"/>
              </a:xfrm>
              <a:custGeom>
                <a:avLst/>
                <a:gdLst>
                  <a:gd name="connsiteX0" fmla="*/ 0 w 1434976"/>
                  <a:gd name="connsiteY0" fmla="*/ 0 h 720080"/>
                  <a:gd name="connsiteX1" fmla="*/ 1434976 w 1434976"/>
                  <a:gd name="connsiteY1" fmla="*/ 0 h 720080"/>
                  <a:gd name="connsiteX2" fmla="*/ 1434976 w 1434976"/>
                  <a:gd name="connsiteY2" fmla="*/ 720080 h 720080"/>
                  <a:gd name="connsiteX3" fmla="*/ 0 w 1434976"/>
                  <a:gd name="connsiteY3" fmla="*/ 720080 h 720080"/>
                  <a:gd name="connsiteX4" fmla="*/ 0 w 1434976"/>
                  <a:gd name="connsiteY4" fmla="*/ 0 h 7200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2015480 h 2015480"/>
                  <a:gd name="connsiteX4" fmla="*/ 12700 w 1434976"/>
                  <a:gd name="connsiteY4" fmla="*/ 0 h 2015480"/>
                  <a:gd name="connsiteX0" fmla="*/ 12700 w 1434976"/>
                  <a:gd name="connsiteY0" fmla="*/ 0 h 2015480"/>
                  <a:gd name="connsiteX1" fmla="*/ 1434976 w 1434976"/>
                  <a:gd name="connsiteY1" fmla="*/ 12954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1434976"/>
                  <a:gd name="connsiteY0" fmla="*/ 0 h 2015480"/>
                  <a:gd name="connsiteX1" fmla="*/ 660276 w 1434976"/>
                  <a:gd name="connsiteY1" fmla="*/ 1079500 h 2015480"/>
                  <a:gd name="connsiteX2" fmla="*/ 1434976 w 1434976"/>
                  <a:gd name="connsiteY2" fmla="*/ 2015480 h 2015480"/>
                  <a:gd name="connsiteX3" fmla="*/ 0 w 1434976"/>
                  <a:gd name="connsiteY3" fmla="*/ 643880 h 2015480"/>
                  <a:gd name="connsiteX4" fmla="*/ 12700 w 1434976"/>
                  <a:gd name="connsiteY4" fmla="*/ 0 h 2015480"/>
                  <a:gd name="connsiteX0" fmla="*/ 12700 w 660276"/>
                  <a:gd name="connsiteY0" fmla="*/ 0 h 1558280"/>
                  <a:gd name="connsiteX1" fmla="*/ 660276 w 660276"/>
                  <a:gd name="connsiteY1" fmla="*/ 1079500 h 1558280"/>
                  <a:gd name="connsiteX2" fmla="*/ 634876 w 660276"/>
                  <a:gd name="connsiteY2" fmla="*/ 1558280 h 1558280"/>
                  <a:gd name="connsiteX3" fmla="*/ 0 w 660276"/>
                  <a:gd name="connsiteY3" fmla="*/ 643880 h 1558280"/>
                  <a:gd name="connsiteX4" fmla="*/ 12700 w 660276"/>
                  <a:gd name="connsiteY4" fmla="*/ 0 h 1558280"/>
                  <a:gd name="connsiteX0" fmla="*/ 12700 w 660276"/>
                  <a:gd name="connsiteY0" fmla="*/ 0 h 1558280"/>
                  <a:gd name="connsiteX1" fmla="*/ 660276 w 660276"/>
                  <a:gd name="connsiteY1" fmla="*/ 901700 h 1558280"/>
                  <a:gd name="connsiteX2" fmla="*/ 634876 w 660276"/>
                  <a:gd name="connsiteY2" fmla="*/ 1558280 h 1558280"/>
                  <a:gd name="connsiteX3" fmla="*/ 0 w 660276"/>
                  <a:gd name="connsiteY3" fmla="*/ 643880 h 1558280"/>
                  <a:gd name="connsiteX4" fmla="*/ 12700 w 660276"/>
                  <a:gd name="connsiteY4" fmla="*/ 0 h 1558280"/>
                  <a:gd name="connsiteX0" fmla="*/ 15038 w 662614"/>
                  <a:gd name="connsiteY0" fmla="*/ 0 h 1558280"/>
                  <a:gd name="connsiteX1" fmla="*/ 662614 w 662614"/>
                  <a:gd name="connsiteY1" fmla="*/ 901700 h 1558280"/>
                  <a:gd name="connsiteX2" fmla="*/ 637214 w 662614"/>
                  <a:gd name="connsiteY2" fmla="*/ 1558280 h 1558280"/>
                  <a:gd name="connsiteX3" fmla="*/ 2338 w 662614"/>
                  <a:gd name="connsiteY3" fmla="*/ 643880 h 1558280"/>
                  <a:gd name="connsiteX4" fmla="*/ 15038 w 662614"/>
                  <a:gd name="connsiteY4" fmla="*/ 0 h 1558280"/>
                  <a:gd name="connsiteX0" fmla="*/ 553 w 686229"/>
                  <a:gd name="connsiteY0" fmla="*/ 0 h 1405880"/>
                  <a:gd name="connsiteX1" fmla="*/ 686229 w 686229"/>
                  <a:gd name="connsiteY1" fmla="*/ 749300 h 1405880"/>
                  <a:gd name="connsiteX2" fmla="*/ 660829 w 686229"/>
                  <a:gd name="connsiteY2" fmla="*/ 1405880 h 1405880"/>
                  <a:gd name="connsiteX3" fmla="*/ 25953 w 686229"/>
                  <a:gd name="connsiteY3" fmla="*/ 491480 h 1405880"/>
                  <a:gd name="connsiteX4" fmla="*/ 553 w 686229"/>
                  <a:gd name="connsiteY4" fmla="*/ 0 h 1405880"/>
                  <a:gd name="connsiteX0" fmla="*/ 553 w 686229"/>
                  <a:gd name="connsiteY0" fmla="*/ 0 h 1451600"/>
                  <a:gd name="connsiteX1" fmla="*/ 686229 w 686229"/>
                  <a:gd name="connsiteY1" fmla="*/ 795020 h 1451600"/>
                  <a:gd name="connsiteX2" fmla="*/ 660829 w 686229"/>
                  <a:gd name="connsiteY2" fmla="*/ 1451600 h 1451600"/>
                  <a:gd name="connsiteX3" fmla="*/ 25953 w 686229"/>
                  <a:gd name="connsiteY3" fmla="*/ 537200 h 1451600"/>
                  <a:gd name="connsiteX4" fmla="*/ 553 w 686229"/>
                  <a:gd name="connsiteY4" fmla="*/ 0 h 1451600"/>
                  <a:gd name="connsiteX0" fmla="*/ 8518 w 694194"/>
                  <a:gd name="connsiteY0" fmla="*/ 0 h 1451600"/>
                  <a:gd name="connsiteX1" fmla="*/ 694194 w 694194"/>
                  <a:gd name="connsiteY1" fmla="*/ 795020 h 1451600"/>
                  <a:gd name="connsiteX2" fmla="*/ 668794 w 694194"/>
                  <a:gd name="connsiteY2" fmla="*/ 1451600 h 1451600"/>
                  <a:gd name="connsiteX3" fmla="*/ 3438 w 694194"/>
                  <a:gd name="connsiteY3" fmla="*/ 735320 h 1451600"/>
                  <a:gd name="connsiteX4" fmla="*/ 8518 w 694194"/>
                  <a:gd name="connsiteY4" fmla="*/ 0 h 1451600"/>
                  <a:gd name="connsiteX0" fmla="*/ 8518 w 668794"/>
                  <a:gd name="connsiteY0" fmla="*/ 0 h 1451600"/>
                  <a:gd name="connsiteX1" fmla="*/ 668794 w 668794"/>
                  <a:gd name="connsiteY1" fmla="*/ 728980 h 1451600"/>
                  <a:gd name="connsiteX2" fmla="*/ 668794 w 668794"/>
                  <a:gd name="connsiteY2" fmla="*/ 1451600 h 1451600"/>
                  <a:gd name="connsiteX3" fmla="*/ 3438 w 668794"/>
                  <a:gd name="connsiteY3" fmla="*/ 735320 h 1451600"/>
                  <a:gd name="connsiteX4" fmla="*/ 8518 w 668794"/>
                  <a:gd name="connsiteY4" fmla="*/ 0 h 1451600"/>
                  <a:gd name="connsiteX0" fmla="*/ 8518 w 684034"/>
                  <a:gd name="connsiteY0" fmla="*/ 0 h 1482080"/>
                  <a:gd name="connsiteX1" fmla="*/ 66879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518 w 684034"/>
                  <a:gd name="connsiteY0" fmla="*/ 0 h 1482080"/>
                  <a:gd name="connsiteX1" fmla="*/ 673874 w 684034"/>
                  <a:gd name="connsiteY1" fmla="*/ 728980 h 1482080"/>
                  <a:gd name="connsiteX2" fmla="*/ 684034 w 684034"/>
                  <a:gd name="connsiteY2" fmla="*/ 1482080 h 1482080"/>
                  <a:gd name="connsiteX3" fmla="*/ 3438 w 684034"/>
                  <a:gd name="connsiteY3" fmla="*/ 735320 h 1482080"/>
                  <a:gd name="connsiteX4" fmla="*/ 8518 w 684034"/>
                  <a:gd name="connsiteY4" fmla="*/ 0 h 1482080"/>
                  <a:gd name="connsiteX0" fmla="*/ 87 w 675603"/>
                  <a:gd name="connsiteY0" fmla="*/ 0 h 1482080"/>
                  <a:gd name="connsiteX1" fmla="*/ 665443 w 675603"/>
                  <a:gd name="connsiteY1" fmla="*/ 728980 h 1482080"/>
                  <a:gd name="connsiteX2" fmla="*/ 675603 w 675603"/>
                  <a:gd name="connsiteY2" fmla="*/ 1482080 h 1482080"/>
                  <a:gd name="connsiteX3" fmla="*/ 157567 w 675603"/>
                  <a:gd name="connsiteY3" fmla="*/ 704840 h 1482080"/>
                  <a:gd name="connsiteX4" fmla="*/ 87 w 675603"/>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5320 h 1482080"/>
                  <a:gd name="connsiteX4" fmla="*/ 12780 w 688296"/>
                  <a:gd name="connsiteY4" fmla="*/ 0 h 1482080"/>
                  <a:gd name="connsiteX0" fmla="*/ 2486 w 678002"/>
                  <a:gd name="connsiteY0" fmla="*/ 0 h 1482080"/>
                  <a:gd name="connsiteX1" fmla="*/ 667842 w 678002"/>
                  <a:gd name="connsiteY1" fmla="*/ 728980 h 1482080"/>
                  <a:gd name="connsiteX2" fmla="*/ 678002 w 678002"/>
                  <a:gd name="connsiteY2" fmla="*/ 1482080 h 1482080"/>
                  <a:gd name="connsiteX3" fmla="*/ 7566 w 678002"/>
                  <a:gd name="connsiteY3" fmla="*/ 725160 h 1482080"/>
                  <a:gd name="connsiteX4" fmla="*/ 2486 w 678002"/>
                  <a:gd name="connsiteY4" fmla="*/ 0 h 1482080"/>
                  <a:gd name="connsiteX0" fmla="*/ 12780 w 688296"/>
                  <a:gd name="connsiteY0" fmla="*/ 0 h 1482080"/>
                  <a:gd name="connsiteX1" fmla="*/ 678136 w 688296"/>
                  <a:gd name="connsiteY1" fmla="*/ 728980 h 1482080"/>
                  <a:gd name="connsiteX2" fmla="*/ 688296 w 688296"/>
                  <a:gd name="connsiteY2" fmla="*/ 1482080 h 1482080"/>
                  <a:gd name="connsiteX3" fmla="*/ 2620 w 688296"/>
                  <a:gd name="connsiteY3" fmla="*/ 730240 h 1482080"/>
                  <a:gd name="connsiteX4" fmla="*/ 12780 w 688296"/>
                  <a:gd name="connsiteY4" fmla="*/ 0 h 1482080"/>
                  <a:gd name="connsiteX0" fmla="*/ 10160 w 685676"/>
                  <a:gd name="connsiteY0" fmla="*/ 0 h 1482080"/>
                  <a:gd name="connsiteX1" fmla="*/ 675516 w 685676"/>
                  <a:gd name="connsiteY1" fmla="*/ 728980 h 1482080"/>
                  <a:gd name="connsiteX2" fmla="*/ 685676 w 685676"/>
                  <a:gd name="connsiteY2" fmla="*/ 1482080 h 1482080"/>
                  <a:gd name="connsiteX3" fmla="*/ 0 w 685676"/>
                  <a:gd name="connsiteY3" fmla="*/ 730240 h 1482080"/>
                  <a:gd name="connsiteX4" fmla="*/ 10160 w 685676"/>
                  <a:gd name="connsiteY4" fmla="*/ 0 h 148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676" h="1482080">
                    <a:moveTo>
                      <a:pt x="10160" y="0"/>
                    </a:moveTo>
                    <a:lnTo>
                      <a:pt x="675516" y="728980"/>
                    </a:lnTo>
                    <a:lnTo>
                      <a:pt x="685676" y="1482080"/>
                    </a:lnTo>
                    <a:lnTo>
                      <a:pt x="0" y="730240"/>
                    </a:lnTo>
                    <a:cubicBezTo>
                      <a:pt x="6773" y="63493"/>
                      <a:pt x="5927" y="671827"/>
                      <a:pt x="10160" y="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Right Arrow 40">
                <a:extLst>
                  <a:ext uri="{FF2B5EF4-FFF2-40B4-BE49-F238E27FC236}">
                    <a16:creationId xmlns:a16="http://schemas.microsoft.com/office/drawing/2014/main" id="{DA92EE22-2041-0E49-8EFD-B9514984D2F6}"/>
                  </a:ext>
                </a:extLst>
              </p:cNvPr>
              <p:cNvSpPr/>
              <p:nvPr/>
            </p:nvSpPr>
            <p:spPr>
              <a:xfrm>
                <a:off x="4045951" y="2348472"/>
                <a:ext cx="2592000" cy="1368152"/>
              </a:xfrm>
              <a:prstGeom prst="rightArrow">
                <a:avLst/>
              </a:prstGeom>
              <a:solidFill>
                <a:schemeClr val="accent6"/>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aphicFrame>
          <p:nvGraphicFramePr>
            <p:cNvPr id="19" name="Chart 18">
              <a:extLst>
                <a:ext uri="{FF2B5EF4-FFF2-40B4-BE49-F238E27FC236}">
                  <a16:creationId xmlns:a16="http://schemas.microsoft.com/office/drawing/2014/main" id="{949F6E67-D0DD-BD45-A336-7F9DBD7A6CCA}"/>
                </a:ext>
              </a:extLst>
            </p:cNvPr>
            <p:cNvGraphicFramePr/>
            <p:nvPr>
              <p:extLst>
                <p:ext uri="{D42A27DB-BD31-4B8C-83A1-F6EECF244321}">
                  <p14:modId xmlns:p14="http://schemas.microsoft.com/office/powerpoint/2010/main" val="2759041820"/>
                </p:ext>
              </p:extLst>
            </p:nvPr>
          </p:nvGraphicFramePr>
          <p:xfrm>
            <a:off x="8719808" y="2260700"/>
            <a:ext cx="2322596" cy="1584000"/>
          </p:xfrm>
          <a:graphic>
            <a:graphicData uri="http://schemas.openxmlformats.org/drawingml/2006/chart">
              <c:chart xmlns:c="http://schemas.openxmlformats.org/drawingml/2006/chart" xmlns:r="http://schemas.openxmlformats.org/officeDocument/2006/relationships" r:id="rId5"/>
            </a:graphicData>
          </a:graphic>
        </p:graphicFrame>
        <p:grpSp>
          <p:nvGrpSpPr>
            <p:cNvPr id="20" name="Group 19">
              <a:extLst>
                <a:ext uri="{FF2B5EF4-FFF2-40B4-BE49-F238E27FC236}">
                  <a16:creationId xmlns:a16="http://schemas.microsoft.com/office/drawing/2014/main" id="{63D49888-5240-0849-BE32-41B7AE6CA07F}"/>
                </a:ext>
              </a:extLst>
            </p:cNvPr>
            <p:cNvGrpSpPr/>
            <p:nvPr/>
          </p:nvGrpSpPr>
          <p:grpSpPr>
            <a:xfrm>
              <a:off x="919005" y="2539472"/>
              <a:ext cx="3025151" cy="1947608"/>
              <a:chOff x="539552" y="2708920"/>
              <a:chExt cx="1872208" cy="1947608"/>
            </a:xfrm>
          </p:grpSpPr>
          <p:sp>
            <p:nvSpPr>
              <p:cNvPr id="21" name="Rounded Rectangle 54">
                <a:extLst>
                  <a:ext uri="{FF2B5EF4-FFF2-40B4-BE49-F238E27FC236}">
                    <a16:creationId xmlns:a16="http://schemas.microsoft.com/office/drawing/2014/main" id="{059E3CD7-F0B0-0944-9934-6053D7B17ADA}"/>
                  </a:ext>
                </a:extLst>
              </p:cNvPr>
              <p:cNvSpPr/>
              <p:nvPr/>
            </p:nvSpPr>
            <p:spPr>
              <a:xfrm>
                <a:off x="611560" y="2708920"/>
                <a:ext cx="1728192" cy="379785"/>
              </a:xfrm>
              <a:prstGeom prst="roundRect">
                <a:avLst>
                  <a:gd name="adj" fmla="val 50000"/>
                </a:avLst>
              </a:prstGeom>
              <a:solidFill>
                <a:schemeClr val="accent6"/>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2" name="TextBox 21">
                <a:extLst>
                  <a:ext uri="{FF2B5EF4-FFF2-40B4-BE49-F238E27FC236}">
                    <a16:creationId xmlns:a16="http://schemas.microsoft.com/office/drawing/2014/main" id="{4A9773A5-272C-C94B-9C89-19F800C933C4}"/>
                  </a:ext>
                </a:extLst>
              </p:cNvPr>
              <p:cNvSpPr txBox="1"/>
              <p:nvPr/>
            </p:nvSpPr>
            <p:spPr>
              <a:xfrm>
                <a:off x="539552" y="3271533"/>
                <a:ext cx="1872208" cy="138499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p>
              <a:p>
                <a:endParaRPr lang="en-US" altLang="ko-KR" sz="1200">
                  <a:solidFill>
                    <a:schemeClr val="tx1">
                      <a:lumMod val="75000"/>
                      <a:lumOff val="25000"/>
                    </a:schemeClr>
                  </a:solidFill>
                  <a:cs typeface="Arial" pitchFamily="34" charset="0"/>
                </a:endParaRPr>
              </a:p>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3" name="TextBox 22">
                <a:extLst>
                  <a:ext uri="{FF2B5EF4-FFF2-40B4-BE49-F238E27FC236}">
                    <a16:creationId xmlns:a16="http://schemas.microsoft.com/office/drawing/2014/main" id="{D0750536-B7BC-2F45-82B3-8FDC0E80539C}"/>
                  </a:ext>
                </a:extLst>
              </p:cNvPr>
              <p:cNvSpPr txBox="1"/>
              <p:nvPr/>
            </p:nvSpPr>
            <p:spPr>
              <a:xfrm>
                <a:off x="665833" y="2744923"/>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a:t>
                </a:r>
                <a:r>
                  <a:rPr lang="en-US" altLang="ko-KR" sz="1400" b="1">
                    <a:solidFill>
                      <a:schemeClr val="tx1">
                        <a:lumMod val="75000"/>
                        <a:lumOff val="25000"/>
                      </a:schemeClr>
                    </a:solidFill>
                    <a:cs typeface="Arial" pitchFamily="34" charset="0"/>
                  </a:rPr>
                  <a:t> </a:t>
                </a:r>
                <a:r>
                  <a:rPr lang="en-US" altLang="ko-KR" sz="1400" b="1">
                    <a:solidFill>
                      <a:schemeClr val="bg1"/>
                    </a:solidFill>
                    <a:cs typeface="Arial" pitchFamily="34" charset="0"/>
                  </a:rPr>
                  <a:t>Title</a:t>
                </a:r>
                <a:endParaRPr lang="ko-KR" altLang="en-US" sz="1400" b="1">
                  <a:solidFill>
                    <a:schemeClr val="bg1"/>
                  </a:solidFill>
                  <a:cs typeface="Arial" pitchFamily="34" charset="0"/>
                </a:endParaRPr>
              </a:p>
            </p:txBody>
          </p:sp>
        </p:grpSp>
        <p:sp>
          <p:nvSpPr>
            <p:cNvPr id="24" name="TextBox 23">
              <a:extLst>
                <a:ext uri="{FF2B5EF4-FFF2-40B4-BE49-F238E27FC236}">
                  <a16:creationId xmlns:a16="http://schemas.microsoft.com/office/drawing/2014/main" id="{FD79233C-BFC3-AC4D-B29C-2D8452903E09}"/>
                </a:ext>
              </a:extLst>
            </p:cNvPr>
            <p:cNvSpPr txBox="1"/>
            <p:nvPr/>
          </p:nvSpPr>
          <p:spPr>
            <a:xfrm>
              <a:off x="5969418" y="2889841"/>
              <a:ext cx="1619647" cy="307777"/>
            </a:xfrm>
            <a:prstGeom prst="rect">
              <a:avLst/>
            </a:prstGeom>
            <a:noFill/>
          </p:spPr>
          <p:txBody>
            <a:bodyPr wrap="square" rtlCol="0">
              <a:spAutoFit/>
            </a:bodyPr>
            <a:lstStyle/>
            <a:p>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sp>
          <p:nvSpPr>
            <p:cNvPr id="25" name="TextBox 24">
              <a:extLst>
                <a:ext uri="{FF2B5EF4-FFF2-40B4-BE49-F238E27FC236}">
                  <a16:creationId xmlns:a16="http://schemas.microsoft.com/office/drawing/2014/main" id="{8212FF8C-7D90-3B4C-9483-88057D146DFC}"/>
                </a:ext>
              </a:extLst>
            </p:cNvPr>
            <p:cNvSpPr txBox="1"/>
            <p:nvPr/>
          </p:nvSpPr>
          <p:spPr>
            <a:xfrm>
              <a:off x="4607729" y="5138219"/>
              <a:ext cx="1619647" cy="307777"/>
            </a:xfrm>
            <a:prstGeom prst="rect">
              <a:avLst/>
            </a:prstGeom>
            <a:noFill/>
          </p:spPr>
          <p:txBody>
            <a:bodyPr wrap="square" rtlCol="0">
              <a:spAutoFit/>
            </a:bodyPr>
            <a:lstStyle/>
            <a:p>
              <a:pPr algn="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graphicFrame>
          <p:nvGraphicFramePr>
            <p:cNvPr id="26" name="Chart 47">
              <a:extLst>
                <a:ext uri="{FF2B5EF4-FFF2-40B4-BE49-F238E27FC236}">
                  <a16:creationId xmlns:a16="http://schemas.microsoft.com/office/drawing/2014/main" id="{9B6B2007-405A-1647-881D-44CC125AC424}"/>
                </a:ext>
              </a:extLst>
            </p:cNvPr>
            <p:cNvGraphicFramePr/>
            <p:nvPr>
              <p:extLst>
                <p:ext uri="{D42A27DB-BD31-4B8C-83A1-F6EECF244321}">
                  <p14:modId xmlns:p14="http://schemas.microsoft.com/office/powerpoint/2010/main" val="2965537193"/>
                </p:ext>
              </p:extLst>
            </p:nvPr>
          </p:nvGraphicFramePr>
          <p:xfrm>
            <a:off x="1270281" y="4515496"/>
            <a:ext cx="2322596" cy="1584000"/>
          </p:xfrm>
          <a:graphic>
            <a:graphicData uri="http://schemas.openxmlformats.org/drawingml/2006/chart">
              <c:chart xmlns:c="http://schemas.openxmlformats.org/drawingml/2006/chart" xmlns:r="http://schemas.openxmlformats.org/officeDocument/2006/relationships" r:id="rId6"/>
            </a:graphicData>
          </a:graphic>
        </p:graphicFrame>
        <p:sp>
          <p:nvSpPr>
            <p:cNvPr id="27" name="Rectangle 16">
              <a:extLst>
                <a:ext uri="{FF2B5EF4-FFF2-40B4-BE49-F238E27FC236}">
                  <a16:creationId xmlns:a16="http://schemas.microsoft.com/office/drawing/2014/main" id="{2038FB10-0C7F-E747-A860-EAA78E4C3223}"/>
                </a:ext>
              </a:extLst>
            </p:cNvPr>
            <p:cNvSpPr/>
            <p:nvPr/>
          </p:nvSpPr>
          <p:spPr>
            <a:xfrm rot="2700000">
              <a:off x="6313634" y="5065918"/>
              <a:ext cx="265920" cy="47674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8" name="Rounded Rectangle 5">
              <a:extLst>
                <a:ext uri="{FF2B5EF4-FFF2-40B4-BE49-F238E27FC236}">
                  <a16:creationId xmlns:a16="http://schemas.microsoft.com/office/drawing/2014/main" id="{71081CD4-399F-6647-A502-FD69EFA5A64D}"/>
                </a:ext>
              </a:extLst>
            </p:cNvPr>
            <p:cNvSpPr/>
            <p:nvPr/>
          </p:nvSpPr>
          <p:spPr>
            <a:xfrm flipH="1">
              <a:off x="5559958" y="2893238"/>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276075238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017BE9-3839-FB43-BD64-8DB9C69F94BA}"/>
              </a:ext>
            </a:extLst>
          </p:cNvPr>
          <p:cNvGraphicFramePr>
            <a:graphicFrameLocks noChangeAspect="1"/>
          </p:cNvGraphicFramePr>
          <p:nvPr>
            <p:custDataLst>
              <p:tags r:id="rId1"/>
            </p:custDataLst>
            <p:extLst>
              <p:ext uri="{D42A27DB-BD31-4B8C-83A1-F6EECF244321}">
                <p14:modId xmlns:p14="http://schemas.microsoft.com/office/powerpoint/2010/main" val="2206759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14017BE9-3839-FB43-BD64-8DB9C69F94B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722C1D1-0F59-0549-94C1-2B1A5744B0DE}"/>
              </a:ext>
            </a:extLst>
          </p:cNvPr>
          <p:cNvSpPr>
            <a:spLocks noGrp="1"/>
          </p:cNvSpPr>
          <p:nvPr>
            <p:ph type="sldNum" sz="quarter" idx="4"/>
          </p:nvPr>
        </p:nvSpPr>
        <p:spPr/>
        <p:txBody>
          <a:bodyPr/>
          <a:lstStyle/>
          <a:p>
            <a:fld id="{3D966009-6E5A-4F8C-8CA7-E37AFBF5FB92}" type="slidenum">
              <a:rPr lang="en-US" smtClean="0"/>
              <a:t>123</a:t>
            </a:fld>
            <a:endParaRPr lang="en-US"/>
          </a:p>
        </p:txBody>
      </p:sp>
      <p:sp>
        <p:nvSpPr>
          <p:cNvPr id="3" name="Title 2">
            <a:extLst>
              <a:ext uri="{FF2B5EF4-FFF2-40B4-BE49-F238E27FC236}">
                <a16:creationId xmlns:a16="http://schemas.microsoft.com/office/drawing/2014/main" id="{371DF3F8-45EB-F545-8ACC-B63D275EC639}"/>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0A809FCE-6AEC-3447-9C08-AA17B6CC4362}"/>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7BB73572-40A4-504F-ABF4-ED7092CBE9F3}"/>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54898FAE-1464-0B4C-A4FC-D4E98EB5850C}"/>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C470836D-9E3A-8342-8BC4-44581BC98B3A}"/>
              </a:ext>
            </a:extLst>
          </p:cNvPr>
          <p:cNvSpPr>
            <a:spLocks noGrp="1"/>
          </p:cNvSpPr>
          <p:nvPr>
            <p:ph sz="quarter" idx="14"/>
          </p:nvPr>
        </p:nvSpPr>
        <p:spPr/>
        <p:txBody>
          <a:bodyPr/>
          <a:lstStyle/>
          <a:p>
            <a:endParaRPr lang="de-DE"/>
          </a:p>
        </p:txBody>
      </p:sp>
      <p:sp>
        <p:nvSpPr>
          <p:cNvPr id="38" name="Rectangle 37">
            <a:extLst>
              <a:ext uri="{FF2B5EF4-FFF2-40B4-BE49-F238E27FC236}">
                <a16:creationId xmlns:a16="http://schemas.microsoft.com/office/drawing/2014/main" id="{CFC5CC4B-A133-0C4D-B217-541E14E995BC}"/>
              </a:ext>
            </a:extLst>
          </p:cNvPr>
          <p:cNvSpPr/>
          <p:nvPr/>
        </p:nvSpPr>
        <p:spPr>
          <a:xfrm>
            <a:off x="1546" y="3461346"/>
            <a:ext cx="4956934" cy="540000"/>
          </a:xfrm>
          <a:prstGeom prst="rect">
            <a:avLst/>
          </a:prstGeom>
          <a:solidFill>
            <a:srgbClr val="8D8EA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39" name="Rectangle 38">
            <a:extLst>
              <a:ext uri="{FF2B5EF4-FFF2-40B4-BE49-F238E27FC236}">
                <a16:creationId xmlns:a16="http://schemas.microsoft.com/office/drawing/2014/main" id="{4E4AB28A-8B56-AE44-9EAF-3494D8C92ECB}"/>
              </a:ext>
            </a:extLst>
          </p:cNvPr>
          <p:cNvSpPr/>
          <p:nvPr/>
        </p:nvSpPr>
        <p:spPr>
          <a:xfrm rot="10800000">
            <a:off x="7233522" y="3461346"/>
            <a:ext cx="4958478" cy="540000"/>
          </a:xfrm>
          <a:prstGeom prst="rect">
            <a:avLst/>
          </a:prstGeom>
          <a:solidFill>
            <a:srgbClr val="02404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40" name="그룹 4">
            <a:extLst>
              <a:ext uri="{FF2B5EF4-FFF2-40B4-BE49-F238E27FC236}">
                <a16:creationId xmlns:a16="http://schemas.microsoft.com/office/drawing/2014/main" id="{BCB2B36D-5073-424D-B1D3-5553AC767AE3}"/>
              </a:ext>
            </a:extLst>
          </p:cNvPr>
          <p:cNvGrpSpPr/>
          <p:nvPr/>
        </p:nvGrpSpPr>
        <p:grpSpPr>
          <a:xfrm>
            <a:off x="4368416" y="1769262"/>
            <a:ext cx="3455171" cy="3900889"/>
            <a:chOff x="4613536" y="2164199"/>
            <a:chExt cx="2956435" cy="3337816"/>
          </a:xfrm>
        </p:grpSpPr>
        <p:sp>
          <p:nvSpPr>
            <p:cNvPr id="41" name="Pie 14">
              <a:extLst>
                <a:ext uri="{FF2B5EF4-FFF2-40B4-BE49-F238E27FC236}">
                  <a16:creationId xmlns:a16="http://schemas.microsoft.com/office/drawing/2014/main" id="{2392FA82-22D6-5342-9423-A9FB9C145B64}"/>
                </a:ext>
              </a:extLst>
            </p:cNvPr>
            <p:cNvSpPr/>
            <p:nvPr/>
          </p:nvSpPr>
          <p:spPr>
            <a:xfrm>
              <a:off x="4613536" y="2363855"/>
              <a:ext cx="2920588" cy="2920588"/>
            </a:xfrm>
            <a:prstGeom prst="pie">
              <a:avLst>
                <a:gd name="adj1" fmla="val 10775528"/>
                <a:gd name="adj2" fmla="val 16200000"/>
              </a:avLst>
            </a:prstGeom>
            <a:solidFill>
              <a:srgbClr val="8D8EA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42" name="Pie 22">
              <a:extLst>
                <a:ext uri="{FF2B5EF4-FFF2-40B4-BE49-F238E27FC236}">
                  <a16:creationId xmlns:a16="http://schemas.microsoft.com/office/drawing/2014/main" id="{24EBABC1-DF29-0644-A235-97E435E01C09}"/>
                </a:ext>
              </a:extLst>
            </p:cNvPr>
            <p:cNvSpPr/>
            <p:nvPr/>
          </p:nvSpPr>
          <p:spPr>
            <a:xfrm rot="10800000">
              <a:off x="4649383" y="2381767"/>
              <a:ext cx="2920588" cy="2920588"/>
            </a:xfrm>
            <a:prstGeom prst="pie">
              <a:avLst>
                <a:gd name="adj1" fmla="val 10775528"/>
                <a:gd name="adj2" fmla="val 16200000"/>
              </a:avLst>
            </a:prstGeom>
            <a:solidFill>
              <a:srgbClr val="02404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43" name="Oval 42">
              <a:extLst>
                <a:ext uri="{FF2B5EF4-FFF2-40B4-BE49-F238E27FC236}">
                  <a16:creationId xmlns:a16="http://schemas.microsoft.com/office/drawing/2014/main" id="{598E262B-BED9-DE4B-B7FC-9745A28937C8}"/>
                </a:ext>
              </a:extLst>
            </p:cNvPr>
            <p:cNvSpPr/>
            <p:nvPr/>
          </p:nvSpPr>
          <p:spPr>
            <a:xfrm>
              <a:off x="5118427" y="2853991"/>
              <a:ext cx="1946652" cy="1946652"/>
            </a:xfrm>
            <a:prstGeom prst="ellipse">
              <a:avLst/>
            </a:prstGeom>
            <a:solidFill>
              <a:sysClr val="window" lastClr="FFFFFF"/>
            </a:solidFill>
            <a:ln w="88900" cap="flat" cmpd="sng" algn="ctr">
              <a:solidFill>
                <a:srgbClr val="D4D4D4"/>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4" name="Isosceles Triangle 50">
              <a:extLst>
                <a:ext uri="{FF2B5EF4-FFF2-40B4-BE49-F238E27FC236}">
                  <a16:creationId xmlns:a16="http://schemas.microsoft.com/office/drawing/2014/main" id="{7B6FBB21-CFE9-9B4D-89A2-6AC43E28115C}"/>
                </a:ext>
              </a:extLst>
            </p:cNvPr>
            <p:cNvSpPr/>
            <p:nvPr/>
          </p:nvSpPr>
          <p:spPr>
            <a:xfrm rot="5400000">
              <a:off x="5911556" y="2299861"/>
              <a:ext cx="847738" cy="576413"/>
            </a:xfrm>
            <a:prstGeom prst="triangle">
              <a:avLst/>
            </a:prstGeom>
            <a:solidFill>
              <a:srgbClr val="8D8EA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5" name="Isosceles Triangle 51">
              <a:extLst>
                <a:ext uri="{FF2B5EF4-FFF2-40B4-BE49-F238E27FC236}">
                  <a16:creationId xmlns:a16="http://schemas.microsoft.com/office/drawing/2014/main" id="{FF976EF1-0B33-6E4B-94DD-DFD4BDDFF010}"/>
                </a:ext>
              </a:extLst>
            </p:cNvPr>
            <p:cNvSpPr/>
            <p:nvPr/>
          </p:nvSpPr>
          <p:spPr>
            <a:xfrm rot="16200000">
              <a:off x="5424212" y="4789939"/>
              <a:ext cx="847738" cy="576413"/>
            </a:xfrm>
            <a:prstGeom prst="triangle">
              <a:avLst/>
            </a:prstGeom>
            <a:solidFill>
              <a:srgbClr val="02404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46" name="Oval 45">
            <a:extLst>
              <a:ext uri="{FF2B5EF4-FFF2-40B4-BE49-F238E27FC236}">
                <a16:creationId xmlns:a16="http://schemas.microsoft.com/office/drawing/2014/main" id="{CC3ECB73-677F-C640-ABEA-C9EEBA25D6CE}"/>
              </a:ext>
            </a:extLst>
          </p:cNvPr>
          <p:cNvSpPr/>
          <p:nvPr/>
        </p:nvSpPr>
        <p:spPr>
          <a:xfrm>
            <a:off x="5466882" y="3090587"/>
            <a:ext cx="1258239" cy="1258239"/>
          </a:xfrm>
          <a:prstGeom prst="ellipse">
            <a:avLst/>
          </a:prstGeom>
          <a:solidFill>
            <a:srgbClr val="8D939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47" name="TextBox 46">
            <a:extLst>
              <a:ext uri="{FF2B5EF4-FFF2-40B4-BE49-F238E27FC236}">
                <a16:creationId xmlns:a16="http://schemas.microsoft.com/office/drawing/2014/main" id="{A266E5B3-A486-7B43-A8F2-B5240A3E7EB5}"/>
              </a:ext>
            </a:extLst>
          </p:cNvPr>
          <p:cNvSpPr txBox="1"/>
          <p:nvPr/>
        </p:nvSpPr>
        <p:spPr>
          <a:xfrm>
            <a:off x="7992416" y="3554491"/>
            <a:ext cx="2548407" cy="338554"/>
          </a:xfrm>
          <a:prstGeom prst="rect">
            <a:avLst/>
          </a:prstGeom>
          <a:noFill/>
        </p:spPr>
        <p:txBody>
          <a:bodyPr wrap="square" rtlCol="0">
            <a:spAutoFit/>
          </a:bodyPr>
          <a:lstStyle/>
          <a:p>
            <a:pPr defTabSz="914286"/>
            <a:r>
              <a:rPr lang="en-US" altLang="ko-KR" sz="1600" b="1">
                <a:solidFill>
                  <a:prstClr val="white"/>
                </a:solidFill>
                <a:ea typeface="Arial Unicode MS"/>
                <a:cs typeface="Arial" pitchFamily="34" charset="0"/>
              </a:rPr>
              <a:t>Your Text Here</a:t>
            </a:r>
            <a:endParaRPr lang="ko-KR" altLang="en-US" sz="1600" b="1">
              <a:solidFill>
                <a:prstClr val="white"/>
              </a:solidFill>
              <a:ea typeface="Arial Unicode MS"/>
              <a:cs typeface="Arial" pitchFamily="34" charset="0"/>
            </a:endParaRPr>
          </a:p>
        </p:txBody>
      </p:sp>
      <p:sp>
        <p:nvSpPr>
          <p:cNvPr id="48" name="TextBox 47">
            <a:extLst>
              <a:ext uri="{FF2B5EF4-FFF2-40B4-BE49-F238E27FC236}">
                <a16:creationId xmlns:a16="http://schemas.microsoft.com/office/drawing/2014/main" id="{36961CC4-3D4F-B145-B346-8FC1173522C8}"/>
              </a:ext>
            </a:extLst>
          </p:cNvPr>
          <p:cNvSpPr txBox="1"/>
          <p:nvPr/>
        </p:nvSpPr>
        <p:spPr>
          <a:xfrm>
            <a:off x="1623803" y="3554491"/>
            <a:ext cx="2584839" cy="338554"/>
          </a:xfrm>
          <a:prstGeom prst="rect">
            <a:avLst/>
          </a:prstGeom>
          <a:noFill/>
        </p:spPr>
        <p:txBody>
          <a:bodyPr wrap="square" rtlCol="0">
            <a:spAutoFit/>
          </a:bodyPr>
          <a:lstStyle/>
          <a:p>
            <a:pPr algn="r" defTabSz="914286"/>
            <a:r>
              <a:rPr lang="en-US" altLang="ko-KR" sz="1600" b="1">
                <a:solidFill>
                  <a:prstClr val="white"/>
                </a:solidFill>
                <a:ea typeface="Arial Unicode MS"/>
                <a:cs typeface="Arial" pitchFamily="34" charset="0"/>
              </a:rPr>
              <a:t>Your Text Here</a:t>
            </a:r>
            <a:endParaRPr lang="ko-KR" altLang="en-US" sz="1600" b="1">
              <a:solidFill>
                <a:prstClr val="white"/>
              </a:solidFill>
              <a:ea typeface="Arial Unicode MS"/>
              <a:cs typeface="Arial" pitchFamily="34" charset="0"/>
            </a:endParaRPr>
          </a:p>
        </p:txBody>
      </p:sp>
      <p:sp>
        <p:nvSpPr>
          <p:cNvPr id="49" name="TextBox 48">
            <a:extLst>
              <a:ext uri="{FF2B5EF4-FFF2-40B4-BE49-F238E27FC236}">
                <a16:creationId xmlns:a16="http://schemas.microsoft.com/office/drawing/2014/main" id="{CD13A7D9-C0F8-854C-8B0E-27CB8012ED80}"/>
              </a:ext>
            </a:extLst>
          </p:cNvPr>
          <p:cNvSpPr txBox="1"/>
          <p:nvPr/>
        </p:nvSpPr>
        <p:spPr>
          <a:xfrm>
            <a:off x="7955984" y="4134632"/>
            <a:ext cx="3334869" cy="1015663"/>
          </a:xfrm>
          <a:prstGeom prst="rect">
            <a:avLst/>
          </a:prstGeom>
          <a:noFill/>
        </p:spPr>
        <p:txBody>
          <a:bodyPr wrap="square" rtlCol="0">
            <a:spAutoFit/>
          </a:bodyPr>
          <a:lstStyle/>
          <a:p>
            <a:pPr defTabSz="914286"/>
            <a:r>
              <a:rPr lang="en-US" altLang="ko-KR" sz="1200">
                <a:solidFill>
                  <a:prstClr val="black">
                    <a:lumMod val="65000"/>
                    <a:lumOff val="3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65000"/>
                  <a:lumOff val="35000"/>
                </a:prstClr>
              </a:solidFill>
              <a:ea typeface="Arial Unicode MS"/>
              <a:cs typeface="Arial" pitchFamily="34" charset="0"/>
            </a:endParaRPr>
          </a:p>
          <a:p>
            <a:pPr defTabSz="914286"/>
            <a:r>
              <a:rPr lang="en-US" altLang="ko-KR" sz="1200">
                <a:solidFill>
                  <a:prstClr val="black">
                    <a:lumMod val="65000"/>
                    <a:lumOff val="35000"/>
                  </a:prstClr>
                </a:solidFill>
                <a:ea typeface="Arial Unicode MS"/>
                <a:cs typeface="Arial" pitchFamily="34" charset="0"/>
              </a:rPr>
              <a:t>I hope and I believe that this Template will your Time, Money and Reputation.       </a:t>
            </a:r>
            <a:endParaRPr lang="ko-KR" altLang="en-US" sz="1200">
              <a:solidFill>
                <a:prstClr val="black">
                  <a:lumMod val="65000"/>
                  <a:lumOff val="35000"/>
                </a:prstClr>
              </a:solidFill>
              <a:ea typeface="Arial Unicode MS"/>
              <a:cs typeface="Arial" pitchFamily="34" charset="0"/>
            </a:endParaRPr>
          </a:p>
        </p:txBody>
      </p:sp>
      <p:sp>
        <p:nvSpPr>
          <p:cNvPr id="50" name="TextBox 49">
            <a:extLst>
              <a:ext uri="{FF2B5EF4-FFF2-40B4-BE49-F238E27FC236}">
                <a16:creationId xmlns:a16="http://schemas.microsoft.com/office/drawing/2014/main" id="{AAAD8F7A-2B07-F54C-8343-B0AD8914E074}"/>
              </a:ext>
            </a:extLst>
          </p:cNvPr>
          <p:cNvSpPr txBox="1"/>
          <p:nvPr/>
        </p:nvSpPr>
        <p:spPr>
          <a:xfrm>
            <a:off x="874643" y="2309888"/>
            <a:ext cx="3333999" cy="1015663"/>
          </a:xfrm>
          <a:prstGeom prst="rect">
            <a:avLst/>
          </a:prstGeom>
          <a:noFill/>
        </p:spPr>
        <p:txBody>
          <a:bodyPr wrap="square" rtlCol="0">
            <a:spAutoFit/>
          </a:bodyPr>
          <a:lstStyle/>
          <a:p>
            <a:pPr algn="r" defTabSz="914286"/>
            <a:r>
              <a:rPr lang="en-US" altLang="ko-KR" sz="1200">
                <a:solidFill>
                  <a:prstClr val="black">
                    <a:lumMod val="65000"/>
                    <a:lumOff val="3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65000"/>
                  <a:lumOff val="35000"/>
                </a:prstClr>
              </a:solidFill>
              <a:ea typeface="Arial Unicode MS"/>
              <a:cs typeface="Arial" pitchFamily="34" charset="0"/>
            </a:endParaRPr>
          </a:p>
          <a:p>
            <a:pPr algn="r" defTabSz="914286"/>
            <a:r>
              <a:rPr lang="en-US" altLang="ko-KR" sz="1200">
                <a:solidFill>
                  <a:prstClr val="black">
                    <a:lumMod val="65000"/>
                    <a:lumOff val="35000"/>
                  </a:prstClr>
                </a:solidFill>
                <a:ea typeface="Arial Unicode MS"/>
                <a:cs typeface="Arial" pitchFamily="34" charset="0"/>
              </a:rPr>
              <a:t>I hope and I believe that this Template will your Time, Money and Reputation.       </a:t>
            </a:r>
            <a:endParaRPr lang="ko-KR" altLang="en-US" sz="1200">
              <a:solidFill>
                <a:prstClr val="black">
                  <a:lumMod val="65000"/>
                  <a:lumOff val="35000"/>
                </a:prstClr>
              </a:solidFill>
              <a:ea typeface="Arial Unicode MS"/>
              <a:cs typeface="Arial" pitchFamily="34" charset="0"/>
            </a:endParaRPr>
          </a:p>
        </p:txBody>
      </p:sp>
      <p:sp>
        <p:nvSpPr>
          <p:cNvPr id="51" name="Freeform 55">
            <a:extLst>
              <a:ext uri="{FF2B5EF4-FFF2-40B4-BE49-F238E27FC236}">
                <a16:creationId xmlns:a16="http://schemas.microsoft.com/office/drawing/2014/main" id="{BF8D6D29-7066-8A43-8649-4F8DC3F2F8E8}"/>
              </a:ext>
            </a:extLst>
          </p:cNvPr>
          <p:cNvSpPr/>
          <p:nvPr/>
        </p:nvSpPr>
        <p:spPr>
          <a:xfrm rot="2700000">
            <a:off x="5922840" y="3310061"/>
            <a:ext cx="346320" cy="848601"/>
          </a:xfrm>
          <a:custGeom>
            <a:avLst/>
            <a:gdLst/>
            <a:ahLst/>
            <a:cxnLst/>
            <a:rect l="l" t="t" r="r" b="b"/>
            <a:pathLst>
              <a:path w="1060423" h="2598393">
                <a:moveTo>
                  <a:pt x="511607" y="1989888"/>
                </a:moveTo>
                <a:cubicBezTo>
                  <a:pt x="421916" y="2038892"/>
                  <a:pt x="392123" y="2248491"/>
                  <a:pt x="577615" y="2379095"/>
                </a:cubicBezTo>
                <a:cubicBezTo>
                  <a:pt x="531205" y="2257454"/>
                  <a:pt x="562054" y="2197447"/>
                  <a:pt x="592034" y="2136572"/>
                </a:cubicBezTo>
                <a:cubicBezTo>
                  <a:pt x="592534" y="2167519"/>
                  <a:pt x="560915" y="2234057"/>
                  <a:pt x="638675" y="2272816"/>
                </a:cubicBezTo>
                <a:cubicBezTo>
                  <a:pt x="602283" y="2156226"/>
                  <a:pt x="756001" y="2119500"/>
                  <a:pt x="594605" y="1990756"/>
                </a:cubicBezTo>
                <a:cubicBezTo>
                  <a:pt x="828052" y="2024484"/>
                  <a:pt x="759407" y="2143283"/>
                  <a:pt x="814896" y="2262952"/>
                </a:cubicBezTo>
                <a:cubicBezTo>
                  <a:pt x="774295" y="2270013"/>
                  <a:pt x="715464" y="2161619"/>
                  <a:pt x="728685" y="2212952"/>
                </a:cubicBezTo>
                <a:cubicBezTo>
                  <a:pt x="798068" y="2415798"/>
                  <a:pt x="590532" y="2421590"/>
                  <a:pt x="656442" y="2598393"/>
                </a:cubicBezTo>
                <a:cubicBezTo>
                  <a:pt x="451592" y="2586815"/>
                  <a:pt x="511509" y="2396411"/>
                  <a:pt x="415171" y="2350110"/>
                </a:cubicBezTo>
                <a:cubicBezTo>
                  <a:pt x="389023" y="2345435"/>
                  <a:pt x="357666" y="2366802"/>
                  <a:pt x="415723" y="2461957"/>
                </a:cubicBezTo>
                <a:cubicBezTo>
                  <a:pt x="77590" y="2209980"/>
                  <a:pt x="314998" y="2004011"/>
                  <a:pt x="511607" y="1989888"/>
                </a:cubicBezTo>
                <a:close/>
                <a:moveTo>
                  <a:pt x="344786" y="1884983"/>
                </a:moveTo>
                <a:lnTo>
                  <a:pt x="722598" y="1884983"/>
                </a:lnTo>
                <a:cubicBezTo>
                  <a:pt x="716460" y="1906965"/>
                  <a:pt x="711917" y="1928321"/>
                  <a:pt x="707988" y="1948728"/>
                </a:cubicBezTo>
                <a:lnTo>
                  <a:pt x="357819" y="1948059"/>
                </a:lnTo>
                <a:close/>
                <a:moveTo>
                  <a:pt x="530212" y="651224"/>
                </a:moveTo>
                <a:cubicBezTo>
                  <a:pt x="585486" y="651224"/>
                  <a:pt x="630294" y="696033"/>
                  <a:pt x="630294" y="751307"/>
                </a:cubicBezTo>
                <a:cubicBezTo>
                  <a:pt x="630294" y="806581"/>
                  <a:pt x="585486" y="851389"/>
                  <a:pt x="530212" y="851389"/>
                </a:cubicBezTo>
                <a:cubicBezTo>
                  <a:pt x="474938" y="851389"/>
                  <a:pt x="430129" y="806581"/>
                  <a:pt x="430129" y="751307"/>
                </a:cubicBezTo>
                <a:cubicBezTo>
                  <a:pt x="430129" y="696033"/>
                  <a:pt x="474938" y="651224"/>
                  <a:pt x="530212" y="651224"/>
                </a:cubicBezTo>
                <a:close/>
                <a:moveTo>
                  <a:pt x="530212" y="551141"/>
                </a:moveTo>
                <a:cubicBezTo>
                  <a:pt x="419664" y="551141"/>
                  <a:pt x="330046" y="640759"/>
                  <a:pt x="330046" y="751307"/>
                </a:cubicBezTo>
                <a:cubicBezTo>
                  <a:pt x="330046" y="861855"/>
                  <a:pt x="419664" y="951472"/>
                  <a:pt x="530212" y="951472"/>
                </a:cubicBezTo>
                <a:cubicBezTo>
                  <a:pt x="640760" y="951472"/>
                  <a:pt x="730377" y="861855"/>
                  <a:pt x="730377" y="751307"/>
                </a:cubicBezTo>
                <a:cubicBezTo>
                  <a:pt x="730377" y="640759"/>
                  <a:pt x="640760" y="551141"/>
                  <a:pt x="530212" y="551141"/>
                </a:cubicBezTo>
                <a:close/>
                <a:moveTo>
                  <a:pt x="286245" y="353827"/>
                </a:moveTo>
                <a:cubicBezTo>
                  <a:pt x="438132" y="439406"/>
                  <a:pt x="623290" y="440561"/>
                  <a:pt x="776100" y="356932"/>
                </a:cubicBezTo>
                <a:cubicBezTo>
                  <a:pt x="941305" y="720175"/>
                  <a:pt x="898096" y="1115325"/>
                  <a:pt x="825241" y="1447764"/>
                </a:cubicBezTo>
                <a:lnTo>
                  <a:pt x="1060423" y="1673413"/>
                </a:lnTo>
                <a:lnTo>
                  <a:pt x="1021935" y="1978110"/>
                </a:lnTo>
                <a:lnTo>
                  <a:pt x="745125" y="1786699"/>
                </a:lnTo>
                <a:lnTo>
                  <a:pt x="734250" y="1834148"/>
                </a:lnTo>
                <a:lnTo>
                  <a:pt x="332991" y="1834148"/>
                </a:lnTo>
                <a:cubicBezTo>
                  <a:pt x="330005" y="1820736"/>
                  <a:pt x="326662" y="1807037"/>
                  <a:pt x="323192" y="1793020"/>
                </a:cubicBezTo>
                <a:lnTo>
                  <a:pt x="38489" y="1989888"/>
                </a:lnTo>
                <a:lnTo>
                  <a:pt x="0" y="1685191"/>
                </a:lnTo>
                <a:lnTo>
                  <a:pt x="237343" y="1457469"/>
                </a:lnTo>
                <a:lnTo>
                  <a:pt x="238009" y="1459571"/>
                </a:lnTo>
                <a:lnTo>
                  <a:pt x="242012" y="1446515"/>
                </a:lnTo>
                <a:cubicBezTo>
                  <a:pt x="171205" y="1115067"/>
                  <a:pt x="127758" y="714059"/>
                  <a:pt x="286245" y="353827"/>
                </a:cubicBezTo>
                <a:close/>
                <a:moveTo>
                  <a:pt x="527942" y="0"/>
                </a:moveTo>
                <a:cubicBezTo>
                  <a:pt x="622760" y="95693"/>
                  <a:pt x="695048" y="196745"/>
                  <a:pt x="748164" y="301374"/>
                </a:cubicBezTo>
                <a:cubicBezTo>
                  <a:pt x="612692" y="376844"/>
                  <a:pt x="447588" y="375495"/>
                  <a:pt x="312997" y="298024"/>
                </a:cubicBezTo>
                <a:cubicBezTo>
                  <a:pt x="364591" y="193505"/>
                  <a:pt x="435080" y="93397"/>
                  <a:pt x="527942"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Tree>
    <p:extLst>
      <p:ext uri="{BB962C8B-B14F-4D97-AF65-F5344CB8AC3E}">
        <p14:creationId xmlns:p14="http://schemas.microsoft.com/office/powerpoint/2010/main" val="412661833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43CADF96-0B23-D844-A7AC-C7967D6A3185}"/>
              </a:ext>
            </a:extLst>
          </p:cNvPr>
          <p:cNvGraphicFramePr>
            <a:graphicFrameLocks noChangeAspect="1"/>
          </p:cNvGraphicFramePr>
          <p:nvPr>
            <p:custDataLst>
              <p:tags r:id="rId1"/>
            </p:custDataLst>
            <p:extLst>
              <p:ext uri="{D42A27DB-BD31-4B8C-83A1-F6EECF244321}">
                <p14:modId xmlns:p14="http://schemas.microsoft.com/office/powerpoint/2010/main" val="2336070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2" name="Object 41" hidden="1">
                        <a:extLst>
                          <a:ext uri="{FF2B5EF4-FFF2-40B4-BE49-F238E27FC236}">
                            <a16:creationId xmlns:a16="http://schemas.microsoft.com/office/drawing/2014/main" id="{43CADF96-0B23-D844-A7AC-C7967D6A31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CEBAF46-F2CC-8C4E-8B0D-BEF43DB6BF1A}"/>
              </a:ext>
            </a:extLst>
          </p:cNvPr>
          <p:cNvSpPr>
            <a:spLocks noGrp="1"/>
          </p:cNvSpPr>
          <p:nvPr>
            <p:ph type="sldNum" sz="quarter" idx="4"/>
          </p:nvPr>
        </p:nvSpPr>
        <p:spPr/>
        <p:txBody>
          <a:bodyPr/>
          <a:lstStyle/>
          <a:p>
            <a:fld id="{3D966009-6E5A-4F8C-8CA7-E37AFBF5FB92}" type="slidenum">
              <a:rPr lang="en-US" smtClean="0"/>
              <a:t>124</a:t>
            </a:fld>
            <a:endParaRPr lang="en-US"/>
          </a:p>
        </p:txBody>
      </p:sp>
      <p:sp>
        <p:nvSpPr>
          <p:cNvPr id="3" name="Title 2">
            <a:extLst>
              <a:ext uri="{FF2B5EF4-FFF2-40B4-BE49-F238E27FC236}">
                <a16:creationId xmlns:a16="http://schemas.microsoft.com/office/drawing/2014/main" id="{A754BA2F-E5D9-A649-B74C-E2AD95E91C4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ECB9E05-387E-3B4D-B9C0-43F40654F392}"/>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236E5187-1CFB-B540-A32B-E7CE68B9FC55}"/>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93859C1-5D08-454B-8655-873F7DF23480}"/>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E7F04452-F519-A14A-8084-C14BF9A21288}"/>
              </a:ext>
            </a:extLst>
          </p:cNvPr>
          <p:cNvSpPr>
            <a:spLocks noGrp="1"/>
          </p:cNvSpPr>
          <p:nvPr>
            <p:ph sz="quarter" idx="14"/>
          </p:nvPr>
        </p:nvSpPr>
        <p:spPr/>
        <p:txBody>
          <a:bodyPr/>
          <a:lstStyle/>
          <a:p>
            <a:endParaRPr lang="en-GB"/>
          </a:p>
        </p:txBody>
      </p:sp>
      <p:grpSp>
        <p:nvGrpSpPr>
          <p:cNvPr id="9" name="Group 8">
            <a:extLst>
              <a:ext uri="{FF2B5EF4-FFF2-40B4-BE49-F238E27FC236}">
                <a16:creationId xmlns:a16="http://schemas.microsoft.com/office/drawing/2014/main" id="{5D75D0A8-8D25-4446-B202-8D8E95E7C114}"/>
              </a:ext>
            </a:extLst>
          </p:cNvPr>
          <p:cNvGrpSpPr/>
          <p:nvPr/>
        </p:nvGrpSpPr>
        <p:grpSpPr>
          <a:xfrm>
            <a:off x="3720882" y="1824134"/>
            <a:ext cx="3765905" cy="923331"/>
            <a:chOff x="6210997" y="1433695"/>
            <a:chExt cx="3887322" cy="656879"/>
          </a:xfrm>
        </p:grpSpPr>
        <p:sp>
          <p:nvSpPr>
            <p:cNvPr id="10" name="TextBox 9">
              <a:extLst>
                <a:ext uri="{FF2B5EF4-FFF2-40B4-BE49-F238E27FC236}">
                  <a16:creationId xmlns:a16="http://schemas.microsoft.com/office/drawing/2014/main" id="{3D2BFFB1-8F63-C343-8504-2D4FEC2C52A3}"/>
                </a:ext>
              </a:extLst>
            </p:cNvPr>
            <p:cNvSpPr txBox="1"/>
            <p:nvPr/>
          </p:nvSpPr>
          <p:spPr>
            <a:xfrm>
              <a:off x="6210999" y="1433695"/>
              <a:ext cx="3887320" cy="218960"/>
            </a:xfrm>
            <a:prstGeom prst="rect">
              <a:avLst/>
            </a:prstGeom>
            <a:noFill/>
          </p:spPr>
          <p:txBody>
            <a:bodyPr wrap="square" rtlCol="0">
              <a:spAutoFit/>
            </a:bodyPr>
            <a:lstStyle/>
            <a:p>
              <a:pPr algn="r"/>
              <a:r>
                <a:rPr lang="en-US" altLang="ko-KR" sz="1200" b="1">
                  <a:solidFill>
                    <a:schemeClr val="tx1">
                      <a:lumMod val="65000"/>
                      <a:lumOff val="35000"/>
                    </a:schemeClr>
                  </a:solidFill>
                  <a:cs typeface="Arial" pitchFamily="34" charset="0"/>
                </a:rPr>
                <a:t>Your </a:t>
              </a:r>
              <a:r>
                <a:rPr lang="en-US" altLang="ko-KR" sz="1400" b="1">
                  <a:solidFill>
                    <a:schemeClr val="tx1">
                      <a:lumMod val="65000"/>
                      <a:lumOff val="35000"/>
                    </a:schemeClr>
                  </a:solidFill>
                  <a:cs typeface="Arial" pitchFamily="34" charset="0"/>
                </a:rPr>
                <a:t>Text</a:t>
              </a:r>
              <a:r>
                <a:rPr lang="en-US" altLang="ko-KR" sz="1200" b="1">
                  <a:solidFill>
                    <a:schemeClr val="tx1">
                      <a:lumMod val="65000"/>
                      <a:lumOff val="35000"/>
                    </a:schemeClr>
                  </a:solidFill>
                  <a:cs typeface="Arial" pitchFamily="34" charset="0"/>
                </a:rPr>
                <a:t>  Here</a:t>
              </a:r>
              <a:endParaRPr lang="ko-KR" altLang="en-US" sz="1200" b="1">
                <a:solidFill>
                  <a:schemeClr val="tx1">
                    <a:lumMod val="65000"/>
                    <a:lumOff val="35000"/>
                  </a:schemeClr>
                </a:solidFill>
                <a:cs typeface="Arial" pitchFamily="34" charset="0"/>
              </a:endParaRPr>
            </a:p>
          </p:txBody>
        </p:sp>
        <p:sp>
          <p:nvSpPr>
            <p:cNvPr id="11" name="TextBox 10">
              <a:extLst>
                <a:ext uri="{FF2B5EF4-FFF2-40B4-BE49-F238E27FC236}">
                  <a16:creationId xmlns:a16="http://schemas.microsoft.com/office/drawing/2014/main" id="{EF91A35F-E8A1-7D40-A07A-854755A63AF0}"/>
                </a:ext>
              </a:extLst>
            </p:cNvPr>
            <p:cNvSpPr txBox="1"/>
            <p:nvPr/>
          </p:nvSpPr>
          <p:spPr>
            <a:xfrm>
              <a:off x="6210997" y="1630759"/>
              <a:ext cx="3887320" cy="459815"/>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I hope and I believe that this Template will your Time, Money and Reputation. Get a modern PowerPoint  Presentation that is beautifully designed.</a:t>
              </a:r>
              <a:endParaRPr lang="ko-KR" altLang="en-US" sz="1200">
                <a:solidFill>
                  <a:schemeClr val="tx1">
                    <a:lumMod val="65000"/>
                    <a:lumOff val="35000"/>
                  </a:schemeClr>
                </a:solidFill>
                <a:cs typeface="Arial" pitchFamily="34" charset="0"/>
              </a:endParaRPr>
            </a:p>
          </p:txBody>
        </p:sp>
      </p:grpSp>
      <p:grpSp>
        <p:nvGrpSpPr>
          <p:cNvPr id="12" name="Group 11">
            <a:extLst>
              <a:ext uri="{FF2B5EF4-FFF2-40B4-BE49-F238E27FC236}">
                <a16:creationId xmlns:a16="http://schemas.microsoft.com/office/drawing/2014/main" id="{1895174F-0C5D-E14D-9B3B-C222A434EB95}"/>
              </a:ext>
            </a:extLst>
          </p:cNvPr>
          <p:cNvGrpSpPr/>
          <p:nvPr/>
        </p:nvGrpSpPr>
        <p:grpSpPr>
          <a:xfrm>
            <a:off x="8808632" y="3045684"/>
            <a:ext cx="2725483" cy="1292662"/>
            <a:chOff x="6210996" y="1433695"/>
            <a:chExt cx="1712589" cy="919631"/>
          </a:xfrm>
        </p:grpSpPr>
        <p:sp>
          <p:nvSpPr>
            <p:cNvPr id="13" name="TextBox 12">
              <a:extLst>
                <a:ext uri="{FF2B5EF4-FFF2-40B4-BE49-F238E27FC236}">
                  <a16:creationId xmlns:a16="http://schemas.microsoft.com/office/drawing/2014/main" id="{5B575393-98B2-0C4E-B5D7-652B94F0F9A7}"/>
                </a:ext>
              </a:extLst>
            </p:cNvPr>
            <p:cNvSpPr txBox="1"/>
            <p:nvPr/>
          </p:nvSpPr>
          <p:spPr>
            <a:xfrm>
              <a:off x="6210999" y="1433695"/>
              <a:ext cx="1712586" cy="218960"/>
            </a:xfrm>
            <a:prstGeom prst="rect">
              <a:avLst/>
            </a:prstGeom>
            <a:noFill/>
          </p:spPr>
          <p:txBody>
            <a:bodyPr wrap="square" rtlCol="0">
              <a:spAutoFit/>
            </a:bodyPr>
            <a:lstStyle/>
            <a:p>
              <a:r>
                <a:rPr lang="en-US" altLang="ko-KR" sz="1200" b="1">
                  <a:solidFill>
                    <a:schemeClr val="tx1">
                      <a:lumMod val="65000"/>
                      <a:lumOff val="35000"/>
                    </a:schemeClr>
                  </a:solidFill>
                  <a:cs typeface="Arial" pitchFamily="34" charset="0"/>
                </a:rPr>
                <a:t>Your Text  </a:t>
              </a:r>
              <a:r>
                <a:rPr lang="en-US" altLang="ko-KR" sz="1400" b="1">
                  <a:solidFill>
                    <a:schemeClr val="tx1">
                      <a:lumMod val="65000"/>
                      <a:lumOff val="35000"/>
                    </a:schemeClr>
                  </a:solidFill>
                  <a:cs typeface="Arial" pitchFamily="34" charset="0"/>
                </a:rPr>
                <a:t>Here</a:t>
              </a:r>
              <a:endParaRPr lang="ko-KR" altLang="en-US" sz="1200" b="1">
                <a:solidFill>
                  <a:schemeClr val="tx1">
                    <a:lumMod val="65000"/>
                    <a:lumOff val="35000"/>
                  </a:schemeClr>
                </a:solidFill>
                <a:cs typeface="Arial" pitchFamily="34" charset="0"/>
              </a:endParaRPr>
            </a:p>
          </p:txBody>
        </p:sp>
        <p:sp>
          <p:nvSpPr>
            <p:cNvPr id="14" name="TextBox 13">
              <a:extLst>
                <a:ext uri="{FF2B5EF4-FFF2-40B4-BE49-F238E27FC236}">
                  <a16:creationId xmlns:a16="http://schemas.microsoft.com/office/drawing/2014/main" id="{C8FF3E2E-00E1-2D41-A70E-303E6C0E4E22}"/>
                </a:ext>
              </a:extLst>
            </p:cNvPr>
            <p:cNvSpPr txBox="1"/>
            <p:nvPr/>
          </p:nvSpPr>
          <p:spPr>
            <a:xfrm>
              <a:off x="6210996" y="1630759"/>
              <a:ext cx="1712586" cy="722567"/>
            </a:xfrm>
            <a:prstGeom prst="rect">
              <a:avLst/>
            </a:prstGeom>
            <a:noFill/>
          </p:spPr>
          <p:txBody>
            <a:bodyPr wrap="square" rtlCol="0">
              <a:spAutoFit/>
            </a:bodyPr>
            <a:lstStyle/>
            <a:p>
              <a:r>
                <a:rPr lang="en-US" altLang="ko-KR" sz="1200">
                  <a:solidFill>
                    <a:schemeClr val="tx1">
                      <a:lumMod val="65000"/>
                      <a:lumOff val="35000"/>
                    </a:schemeClr>
                  </a:solidFill>
                  <a:cs typeface="Arial" pitchFamily="34" charset="0"/>
                </a:rPr>
                <a:t>I hope and I believe that this Template will your Time, Money and Reputation. Get a modern PowerPoint  Presentation that is beautifully designed.  </a:t>
              </a:r>
              <a:endParaRPr lang="ko-KR" altLang="en-US" sz="1200">
                <a:solidFill>
                  <a:schemeClr val="tx1">
                    <a:lumMod val="65000"/>
                    <a:lumOff val="35000"/>
                  </a:schemeClr>
                </a:solidFill>
                <a:cs typeface="Arial" pitchFamily="34" charset="0"/>
              </a:endParaRPr>
            </a:p>
          </p:txBody>
        </p:sp>
      </p:grpSp>
      <p:grpSp>
        <p:nvGrpSpPr>
          <p:cNvPr id="15" name="Group 14">
            <a:extLst>
              <a:ext uri="{FF2B5EF4-FFF2-40B4-BE49-F238E27FC236}">
                <a16:creationId xmlns:a16="http://schemas.microsoft.com/office/drawing/2014/main" id="{ED3CA658-F318-0148-9211-E97056448245}"/>
              </a:ext>
            </a:extLst>
          </p:cNvPr>
          <p:cNvGrpSpPr/>
          <p:nvPr/>
        </p:nvGrpSpPr>
        <p:grpSpPr>
          <a:xfrm>
            <a:off x="657892" y="4335992"/>
            <a:ext cx="2718009" cy="1292662"/>
            <a:chOff x="6210996" y="1433695"/>
            <a:chExt cx="1712589" cy="919631"/>
          </a:xfrm>
        </p:grpSpPr>
        <p:sp>
          <p:nvSpPr>
            <p:cNvPr id="16" name="TextBox 15">
              <a:extLst>
                <a:ext uri="{FF2B5EF4-FFF2-40B4-BE49-F238E27FC236}">
                  <a16:creationId xmlns:a16="http://schemas.microsoft.com/office/drawing/2014/main" id="{04F56752-F121-4F43-B77C-621B0DDD3D55}"/>
                </a:ext>
              </a:extLst>
            </p:cNvPr>
            <p:cNvSpPr txBox="1"/>
            <p:nvPr/>
          </p:nvSpPr>
          <p:spPr>
            <a:xfrm>
              <a:off x="6210999" y="1433695"/>
              <a:ext cx="1712586" cy="197064"/>
            </a:xfrm>
            <a:prstGeom prst="rect">
              <a:avLst/>
            </a:prstGeom>
            <a:noFill/>
          </p:spPr>
          <p:txBody>
            <a:bodyPr wrap="square" rtlCol="0">
              <a:spAutoFit/>
            </a:bodyPr>
            <a:lstStyle/>
            <a:p>
              <a:pPr algn="r"/>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sp>
          <p:nvSpPr>
            <p:cNvPr id="17" name="TextBox 16">
              <a:extLst>
                <a:ext uri="{FF2B5EF4-FFF2-40B4-BE49-F238E27FC236}">
                  <a16:creationId xmlns:a16="http://schemas.microsoft.com/office/drawing/2014/main" id="{767D6E47-E711-A94F-A969-5CD795660E34}"/>
                </a:ext>
              </a:extLst>
            </p:cNvPr>
            <p:cNvSpPr txBox="1"/>
            <p:nvPr/>
          </p:nvSpPr>
          <p:spPr>
            <a:xfrm>
              <a:off x="6210996" y="1630759"/>
              <a:ext cx="1712586" cy="722567"/>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I hope and I believe that this Template will your Time, Money and Reputation. Get a modern PowerPoint  Presentation that is beautifully designed. </a:t>
              </a:r>
              <a:endParaRPr lang="ko-KR" altLang="en-US" sz="1200">
                <a:solidFill>
                  <a:schemeClr val="tx1">
                    <a:lumMod val="65000"/>
                    <a:lumOff val="35000"/>
                  </a:schemeClr>
                </a:solidFill>
                <a:cs typeface="Arial" pitchFamily="34" charset="0"/>
              </a:endParaRPr>
            </a:p>
          </p:txBody>
        </p:sp>
      </p:grpSp>
      <p:grpSp>
        <p:nvGrpSpPr>
          <p:cNvPr id="18" name="Group 17">
            <a:extLst>
              <a:ext uri="{FF2B5EF4-FFF2-40B4-BE49-F238E27FC236}">
                <a16:creationId xmlns:a16="http://schemas.microsoft.com/office/drawing/2014/main" id="{A5727A03-A901-2D47-8A14-8224F3CECCDC}"/>
              </a:ext>
            </a:extLst>
          </p:cNvPr>
          <p:cNvGrpSpPr/>
          <p:nvPr/>
        </p:nvGrpSpPr>
        <p:grpSpPr>
          <a:xfrm>
            <a:off x="4694774" y="5385827"/>
            <a:ext cx="3767574" cy="923331"/>
            <a:chOff x="4140240" y="1433695"/>
            <a:chExt cx="3889044" cy="656879"/>
          </a:xfrm>
        </p:grpSpPr>
        <p:sp>
          <p:nvSpPr>
            <p:cNvPr id="19" name="TextBox 18">
              <a:extLst>
                <a:ext uri="{FF2B5EF4-FFF2-40B4-BE49-F238E27FC236}">
                  <a16:creationId xmlns:a16="http://schemas.microsoft.com/office/drawing/2014/main" id="{6C716297-37F4-4A45-9CFB-14CDDD6CFD8E}"/>
                </a:ext>
              </a:extLst>
            </p:cNvPr>
            <p:cNvSpPr txBox="1"/>
            <p:nvPr/>
          </p:nvSpPr>
          <p:spPr>
            <a:xfrm>
              <a:off x="4140244" y="1433695"/>
              <a:ext cx="3889040" cy="218960"/>
            </a:xfrm>
            <a:prstGeom prst="rect">
              <a:avLst/>
            </a:prstGeom>
            <a:noFill/>
          </p:spPr>
          <p:txBody>
            <a:bodyPr wrap="square" rtlCol="0">
              <a:spAutoFit/>
            </a:bodyPr>
            <a:lstStyle/>
            <a:p>
              <a:r>
                <a:rPr lang="en-US" altLang="ko-KR" sz="1400" b="1">
                  <a:solidFill>
                    <a:schemeClr val="tx1">
                      <a:lumMod val="65000"/>
                      <a:lumOff val="35000"/>
                    </a:schemeClr>
                  </a:solidFill>
                  <a:cs typeface="Arial" pitchFamily="34" charset="0"/>
                </a:rPr>
                <a:t>Your</a:t>
              </a:r>
              <a:r>
                <a:rPr lang="en-US" altLang="ko-KR" sz="1200" b="1">
                  <a:solidFill>
                    <a:schemeClr val="tx1">
                      <a:lumMod val="65000"/>
                      <a:lumOff val="35000"/>
                    </a:schemeClr>
                  </a:solidFill>
                  <a:cs typeface="Arial" pitchFamily="34" charset="0"/>
                </a:rPr>
                <a:t> Text  Here</a:t>
              </a:r>
              <a:endParaRPr lang="ko-KR" altLang="en-US" sz="1200" b="1">
                <a:solidFill>
                  <a:schemeClr val="tx1">
                    <a:lumMod val="65000"/>
                    <a:lumOff val="35000"/>
                  </a:schemeClr>
                </a:solidFill>
                <a:cs typeface="Arial" pitchFamily="34" charset="0"/>
              </a:endParaRPr>
            </a:p>
          </p:txBody>
        </p:sp>
        <p:sp>
          <p:nvSpPr>
            <p:cNvPr id="20" name="TextBox 19">
              <a:extLst>
                <a:ext uri="{FF2B5EF4-FFF2-40B4-BE49-F238E27FC236}">
                  <a16:creationId xmlns:a16="http://schemas.microsoft.com/office/drawing/2014/main" id="{2AEA405E-95C8-2E4B-BB06-8D4B4A9F9583}"/>
                </a:ext>
              </a:extLst>
            </p:cNvPr>
            <p:cNvSpPr txBox="1"/>
            <p:nvPr/>
          </p:nvSpPr>
          <p:spPr>
            <a:xfrm>
              <a:off x="4140240" y="1630759"/>
              <a:ext cx="3889040" cy="459815"/>
            </a:xfrm>
            <a:prstGeom prst="rect">
              <a:avLst/>
            </a:prstGeom>
            <a:noFill/>
          </p:spPr>
          <p:txBody>
            <a:bodyPr wrap="square" rtlCol="0">
              <a:spAutoFit/>
            </a:bodyPr>
            <a:lstStyle/>
            <a:p>
              <a:r>
                <a:rPr lang="en-US" altLang="ko-KR" sz="1200">
                  <a:solidFill>
                    <a:schemeClr val="tx1">
                      <a:lumMod val="65000"/>
                      <a:lumOff val="35000"/>
                    </a:schemeClr>
                  </a:solidFill>
                  <a:cs typeface="Arial" pitchFamily="34" charset="0"/>
                </a:rPr>
                <a:t>I hope and I believe that this Template will your Time, Money and Reputation. Get a modern PowerPoint  Presentation that is beautifully designed.</a:t>
              </a:r>
              <a:endParaRPr lang="ko-KR" altLang="en-US" sz="1200">
                <a:solidFill>
                  <a:schemeClr val="tx1">
                    <a:lumMod val="65000"/>
                    <a:lumOff val="35000"/>
                  </a:schemeClr>
                </a:solidFill>
                <a:cs typeface="Arial" pitchFamily="34" charset="0"/>
              </a:endParaRPr>
            </a:p>
          </p:txBody>
        </p:sp>
      </p:grpSp>
      <p:grpSp>
        <p:nvGrpSpPr>
          <p:cNvPr id="21" name="그룹 40">
            <a:extLst>
              <a:ext uri="{FF2B5EF4-FFF2-40B4-BE49-F238E27FC236}">
                <a16:creationId xmlns:a16="http://schemas.microsoft.com/office/drawing/2014/main" id="{97051694-638F-7A43-BD09-283E969A9E55}"/>
              </a:ext>
            </a:extLst>
          </p:cNvPr>
          <p:cNvGrpSpPr/>
          <p:nvPr/>
        </p:nvGrpSpPr>
        <p:grpSpPr>
          <a:xfrm>
            <a:off x="5003250" y="2726874"/>
            <a:ext cx="3210459" cy="1873214"/>
            <a:chOff x="3479248" y="2668635"/>
            <a:chExt cx="3210459" cy="1873214"/>
          </a:xfrm>
          <a:solidFill>
            <a:schemeClr val="accent1"/>
          </a:solidFill>
        </p:grpSpPr>
        <p:sp>
          <p:nvSpPr>
            <p:cNvPr id="22" name="Rectangle 29">
              <a:extLst>
                <a:ext uri="{FF2B5EF4-FFF2-40B4-BE49-F238E27FC236}">
                  <a16:creationId xmlns:a16="http://schemas.microsoft.com/office/drawing/2014/main" id="{D0A7941A-2E8B-3044-B136-1A606BEEBE77}"/>
                </a:ext>
              </a:extLst>
            </p:cNvPr>
            <p:cNvSpPr/>
            <p:nvPr/>
          </p:nvSpPr>
          <p:spPr>
            <a:xfrm>
              <a:off x="3479248" y="2752585"/>
              <a:ext cx="2566660" cy="1789264"/>
            </a:xfrm>
            <a:custGeom>
              <a:avLst/>
              <a:gdLst>
                <a:gd name="connsiteX0" fmla="*/ 1175617 w 2534905"/>
                <a:gd name="connsiteY0" fmla="*/ 0 h 1809852"/>
                <a:gd name="connsiteX1" fmla="*/ 2534905 w 2534905"/>
                <a:gd name="connsiteY1" fmla="*/ 0 h 1809852"/>
                <a:gd name="connsiteX2" fmla="*/ 2534905 w 2534905"/>
                <a:gd name="connsiteY2" fmla="*/ 386082 h 1809852"/>
                <a:gd name="connsiteX3" fmla="*/ 1184707 w 2534905"/>
                <a:gd name="connsiteY3" fmla="*/ 386082 h 1809852"/>
                <a:gd name="connsiteX4" fmla="*/ 281517 w 2534905"/>
                <a:gd name="connsiteY4" fmla="*/ 997020 h 1809852"/>
                <a:gd name="connsiteX5" fmla="*/ 1183118 w 2534905"/>
                <a:gd name="connsiteY5" fmla="*/ 1721379 h 1809852"/>
                <a:gd name="connsiteX6" fmla="*/ 12 w 2534905"/>
                <a:gd name="connsiteY6" fmla="*/ 921450 h 1809852"/>
                <a:gd name="connsiteX7" fmla="*/ 1175617 w 2534905"/>
                <a:gd name="connsiteY7" fmla="*/ 473 h 1809852"/>
                <a:gd name="connsiteX8" fmla="*/ 1175617 w 2534905"/>
                <a:gd name="connsiteY8" fmla="*/ 0 h 1809852"/>
                <a:gd name="connsiteX0" fmla="*/ 1175617 w 2534905"/>
                <a:gd name="connsiteY0" fmla="*/ 0 h 1809852"/>
                <a:gd name="connsiteX1" fmla="*/ 2534905 w 2534905"/>
                <a:gd name="connsiteY1" fmla="*/ 0 h 1809852"/>
                <a:gd name="connsiteX2" fmla="*/ 2534905 w 2534905"/>
                <a:gd name="connsiteY2" fmla="*/ 386082 h 1809852"/>
                <a:gd name="connsiteX3" fmla="*/ 1184707 w 2534905"/>
                <a:gd name="connsiteY3" fmla="*/ 386082 h 1809852"/>
                <a:gd name="connsiteX4" fmla="*/ 281517 w 2534905"/>
                <a:gd name="connsiteY4" fmla="*/ 997020 h 1809852"/>
                <a:gd name="connsiteX5" fmla="*/ 1183118 w 2534905"/>
                <a:gd name="connsiteY5" fmla="*/ 1721379 h 1809852"/>
                <a:gd name="connsiteX6" fmla="*/ 12 w 2534905"/>
                <a:gd name="connsiteY6" fmla="*/ 921450 h 1809852"/>
                <a:gd name="connsiteX7" fmla="*/ 1175617 w 2534905"/>
                <a:gd name="connsiteY7" fmla="*/ 473 h 1809852"/>
                <a:gd name="connsiteX8" fmla="*/ 1175617 w 2534905"/>
                <a:gd name="connsiteY8" fmla="*/ 0 h 1809852"/>
                <a:gd name="connsiteX0" fmla="*/ 1207346 w 2566634"/>
                <a:gd name="connsiteY0" fmla="*/ 0 h 1812297"/>
                <a:gd name="connsiteX1" fmla="*/ 2566634 w 2566634"/>
                <a:gd name="connsiteY1" fmla="*/ 0 h 1812297"/>
                <a:gd name="connsiteX2" fmla="*/ 2566634 w 2566634"/>
                <a:gd name="connsiteY2" fmla="*/ 386082 h 1812297"/>
                <a:gd name="connsiteX3" fmla="*/ 1216436 w 2566634"/>
                <a:gd name="connsiteY3" fmla="*/ 386082 h 1812297"/>
                <a:gd name="connsiteX4" fmla="*/ 313246 w 2566634"/>
                <a:gd name="connsiteY4" fmla="*/ 997020 h 1812297"/>
                <a:gd name="connsiteX5" fmla="*/ 1214847 w 2566634"/>
                <a:gd name="connsiteY5" fmla="*/ 1721379 h 1812297"/>
                <a:gd name="connsiteX6" fmla="*/ 11 w 2566634"/>
                <a:gd name="connsiteY6" fmla="*/ 935873 h 1812297"/>
                <a:gd name="connsiteX7" fmla="*/ 1207346 w 2566634"/>
                <a:gd name="connsiteY7" fmla="*/ 473 h 1812297"/>
                <a:gd name="connsiteX8" fmla="*/ 1207346 w 2566634"/>
                <a:gd name="connsiteY8" fmla="*/ 0 h 1812297"/>
                <a:gd name="connsiteX0" fmla="*/ 1207796 w 2567084"/>
                <a:gd name="connsiteY0" fmla="*/ 0 h 1812297"/>
                <a:gd name="connsiteX1" fmla="*/ 2567084 w 2567084"/>
                <a:gd name="connsiteY1" fmla="*/ 0 h 1812297"/>
                <a:gd name="connsiteX2" fmla="*/ 2567084 w 2567084"/>
                <a:gd name="connsiteY2" fmla="*/ 386082 h 1812297"/>
                <a:gd name="connsiteX3" fmla="*/ 1216886 w 2567084"/>
                <a:gd name="connsiteY3" fmla="*/ 386082 h 1812297"/>
                <a:gd name="connsiteX4" fmla="*/ 313696 w 2567084"/>
                <a:gd name="connsiteY4" fmla="*/ 997020 h 1812297"/>
                <a:gd name="connsiteX5" fmla="*/ 1215297 w 2567084"/>
                <a:gd name="connsiteY5" fmla="*/ 1721379 h 1812297"/>
                <a:gd name="connsiteX6" fmla="*/ 461 w 2567084"/>
                <a:gd name="connsiteY6" fmla="*/ 935873 h 1812297"/>
                <a:gd name="connsiteX7" fmla="*/ 1207796 w 2567084"/>
                <a:gd name="connsiteY7" fmla="*/ 473 h 1812297"/>
                <a:gd name="connsiteX8" fmla="*/ 1207796 w 2567084"/>
                <a:gd name="connsiteY8" fmla="*/ 0 h 1812297"/>
                <a:gd name="connsiteX0" fmla="*/ 1207796 w 2567084"/>
                <a:gd name="connsiteY0" fmla="*/ 0 h 1791348"/>
                <a:gd name="connsiteX1" fmla="*/ 2567084 w 2567084"/>
                <a:gd name="connsiteY1" fmla="*/ 0 h 1791348"/>
                <a:gd name="connsiteX2" fmla="*/ 2567084 w 2567084"/>
                <a:gd name="connsiteY2" fmla="*/ 386082 h 1791348"/>
                <a:gd name="connsiteX3" fmla="*/ 1216886 w 2567084"/>
                <a:gd name="connsiteY3" fmla="*/ 386082 h 1791348"/>
                <a:gd name="connsiteX4" fmla="*/ 313696 w 2567084"/>
                <a:gd name="connsiteY4" fmla="*/ 997020 h 1791348"/>
                <a:gd name="connsiteX5" fmla="*/ 1215297 w 2567084"/>
                <a:gd name="connsiteY5" fmla="*/ 1721379 h 1791348"/>
                <a:gd name="connsiteX6" fmla="*/ 461 w 2567084"/>
                <a:gd name="connsiteY6" fmla="*/ 935873 h 1791348"/>
                <a:gd name="connsiteX7" fmla="*/ 1207796 w 2567084"/>
                <a:gd name="connsiteY7" fmla="*/ 473 h 1791348"/>
                <a:gd name="connsiteX8" fmla="*/ 1207796 w 2567084"/>
                <a:gd name="connsiteY8" fmla="*/ 0 h 1791348"/>
                <a:gd name="connsiteX0" fmla="*/ 1207796 w 2567084"/>
                <a:gd name="connsiteY0" fmla="*/ 0 h 1801236"/>
                <a:gd name="connsiteX1" fmla="*/ 2567084 w 2567084"/>
                <a:gd name="connsiteY1" fmla="*/ 0 h 1801236"/>
                <a:gd name="connsiteX2" fmla="*/ 2567084 w 2567084"/>
                <a:gd name="connsiteY2" fmla="*/ 386082 h 1801236"/>
                <a:gd name="connsiteX3" fmla="*/ 1216886 w 2567084"/>
                <a:gd name="connsiteY3" fmla="*/ 386082 h 1801236"/>
                <a:gd name="connsiteX4" fmla="*/ 313696 w 2567084"/>
                <a:gd name="connsiteY4" fmla="*/ 997020 h 1801236"/>
                <a:gd name="connsiteX5" fmla="*/ 1215297 w 2567084"/>
                <a:gd name="connsiteY5" fmla="*/ 1721379 h 1801236"/>
                <a:gd name="connsiteX6" fmla="*/ 461 w 2567084"/>
                <a:gd name="connsiteY6" fmla="*/ 935873 h 1801236"/>
                <a:gd name="connsiteX7" fmla="*/ 1207796 w 2567084"/>
                <a:gd name="connsiteY7" fmla="*/ 473 h 1801236"/>
                <a:gd name="connsiteX8" fmla="*/ 1207796 w 2567084"/>
                <a:gd name="connsiteY8" fmla="*/ 0 h 1801236"/>
                <a:gd name="connsiteX0" fmla="*/ 1207796 w 2567084"/>
                <a:gd name="connsiteY0" fmla="*/ 0 h 1811853"/>
                <a:gd name="connsiteX1" fmla="*/ 2567084 w 2567084"/>
                <a:gd name="connsiteY1" fmla="*/ 0 h 1811853"/>
                <a:gd name="connsiteX2" fmla="*/ 2567084 w 2567084"/>
                <a:gd name="connsiteY2" fmla="*/ 386082 h 1811853"/>
                <a:gd name="connsiteX3" fmla="*/ 1216886 w 2567084"/>
                <a:gd name="connsiteY3" fmla="*/ 386082 h 1811853"/>
                <a:gd name="connsiteX4" fmla="*/ 313696 w 2567084"/>
                <a:gd name="connsiteY4" fmla="*/ 997020 h 1811853"/>
                <a:gd name="connsiteX5" fmla="*/ 1215297 w 2567084"/>
                <a:gd name="connsiteY5" fmla="*/ 1721379 h 1811853"/>
                <a:gd name="connsiteX6" fmla="*/ 461 w 2567084"/>
                <a:gd name="connsiteY6" fmla="*/ 935873 h 1811853"/>
                <a:gd name="connsiteX7" fmla="*/ 1207796 w 2567084"/>
                <a:gd name="connsiteY7" fmla="*/ 473 h 1811853"/>
                <a:gd name="connsiteX8" fmla="*/ 1207796 w 2567084"/>
                <a:gd name="connsiteY8" fmla="*/ 0 h 1811853"/>
                <a:gd name="connsiteX0" fmla="*/ 1207796 w 2567084"/>
                <a:gd name="connsiteY0" fmla="*/ 0 h 1813194"/>
                <a:gd name="connsiteX1" fmla="*/ 2567084 w 2567084"/>
                <a:gd name="connsiteY1" fmla="*/ 0 h 1813194"/>
                <a:gd name="connsiteX2" fmla="*/ 2567084 w 2567084"/>
                <a:gd name="connsiteY2" fmla="*/ 386082 h 1813194"/>
                <a:gd name="connsiteX3" fmla="*/ 1216886 w 2567084"/>
                <a:gd name="connsiteY3" fmla="*/ 386082 h 1813194"/>
                <a:gd name="connsiteX4" fmla="*/ 313696 w 2567084"/>
                <a:gd name="connsiteY4" fmla="*/ 997020 h 1813194"/>
                <a:gd name="connsiteX5" fmla="*/ 1215297 w 2567084"/>
                <a:gd name="connsiteY5" fmla="*/ 1721379 h 1813194"/>
                <a:gd name="connsiteX6" fmla="*/ 461 w 2567084"/>
                <a:gd name="connsiteY6" fmla="*/ 935873 h 1813194"/>
                <a:gd name="connsiteX7" fmla="*/ 1207796 w 2567084"/>
                <a:gd name="connsiteY7" fmla="*/ 473 h 1813194"/>
                <a:gd name="connsiteX8" fmla="*/ 1207796 w 2567084"/>
                <a:gd name="connsiteY8" fmla="*/ 0 h 1813194"/>
                <a:gd name="connsiteX0" fmla="*/ 1207372 w 2566660"/>
                <a:gd name="connsiteY0" fmla="*/ 0 h 1813194"/>
                <a:gd name="connsiteX1" fmla="*/ 2566660 w 2566660"/>
                <a:gd name="connsiteY1" fmla="*/ 0 h 1813194"/>
                <a:gd name="connsiteX2" fmla="*/ 2566660 w 2566660"/>
                <a:gd name="connsiteY2" fmla="*/ 386082 h 1813194"/>
                <a:gd name="connsiteX3" fmla="*/ 1216462 w 2566660"/>
                <a:gd name="connsiteY3" fmla="*/ 386082 h 1813194"/>
                <a:gd name="connsiteX4" fmla="*/ 313272 w 2566660"/>
                <a:gd name="connsiteY4" fmla="*/ 997020 h 1813194"/>
                <a:gd name="connsiteX5" fmla="*/ 1214873 w 2566660"/>
                <a:gd name="connsiteY5" fmla="*/ 1721379 h 1813194"/>
                <a:gd name="connsiteX6" fmla="*/ 37 w 2566660"/>
                <a:gd name="connsiteY6" fmla="*/ 935873 h 1813194"/>
                <a:gd name="connsiteX7" fmla="*/ 1207372 w 2566660"/>
                <a:gd name="connsiteY7" fmla="*/ 473 h 1813194"/>
                <a:gd name="connsiteX8" fmla="*/ 1207372 w 2566660"/>
                <a:gd name="connsiteY8" fmla="*/ 0 h 1813194"/>
                <a:gd name="connsiteX0" fmla="*/ 1207372 w 2566660"/>
                <a:gd name="connsiteY0" fmla="*/ 0 h 1795638"/>
                <a:gd name="connsiteX1" fmla="*/ 2566660 w 2566660"/>
                <a:gd name="connsiteY1" fmla="*/ 0 h 1795638"/>
                <a:gd name="connsiteX2" fmla="*/ 2566660 w 2566660"/>
                <a:gd name="connsiteY2" fmla="*/ 386082 h 1795638"/>
                <a:gd name="connsiteX3" fmla="*/ 1216462 w 2566660"/>
                <a:gd name="connsiteY3" fmla="*/ 386082 h 1795638"/>
                <a:gd name="connsiteX4" fmla="*/ 313272 w 2566660"/>
                <a:gd name="connsiteY4" fmla="*/ 997020 h 1795638"/>
                <a:gd name="connsiteX5" fmla="*/ 1314886 w 2566660"/>
                <a:gd name="connsiteY5" fmla="*/ 1699948 h 1795638"/>
                <a:gd name="connsiteX6" fmla="*/ 37 w 2566660"/>
                <a:gd name="connsiteY6" fmla="*/ 935873 h 1795638"/>
                <a:gd name="connsiteX7" fmla="*/ 1207372 w 2566660"/>
                <a:gd name="connsiteY7" fmla="*/ 473 h 1795638"/>
                <a:gd name="connsiteX8" fmla="*/ 1207372 w 2566660"/>
                <a:gd name="connsiteY8" fmla="*/ 0 h 1795638"/>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9264"/>
                <a:gd name="connsiteX1" fmla="*/ 2566660 w 2566660"/>
                <a:gd name="connsiteY1" fmla="*/ 0 h 1789264"/>
                <a:gd name="connsiteX2" fmla="*/ 2566660 w 2566660"/>
                <a:gd name="connsiteY2" fmla="*/ 386082 h 1789264"/>
                <a:gd name="connsiteX3" fmla="*/ 1216462 w 2566660"/>
                <a:gd name="connsiteY3" fmla="*/ 386082 h 1789264"/>
                <a:gd name="connsiteX4" fmla="*/ 313272 w 2566660"/>
                <a:gd name="connsiteY4" fmla="*/ 997020 h 1789264"/>
                <a:gd name="connsiteX5" fmla="*/ 1314886 w 2566660"/>
                <a:gd name="connsiteY5" fmla="*/ 1685660 h 1789264"/>
                <a:gd name="connsiteX6" fmla="*/ 37 w 2566660"/>
                <a:gd name="connsiteY6" fmla="*/ 935873 h 1789264"/>
                <a:gd name="connsiteX7" fmla="*/ 1207372 w 2566660"/>
                <a:gd name="connsiteY7" fmla="*/ 473 h 1789264"/>
                <a:gd name="connsiteX8" fmla="*/ 1207372 w 2566660"/>
                <a:gd name="connsiteY8" fmla="*/ 0 h 178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6660" h="1789264">
                  <a:moveTo>
                    <a:pt x="1207372" y="0"/>
                  </a:moveTo>
                  <a:lnTo>
                    <a:pt x="2566660" y="0"/>
                  </a:lnTo>
                  <a:lnTo>
                    <a:pt x="2566660" y="386082"/>
                  </a:lnTo>
                  <a:lnTo>
                    <a:pt x="1216462" y="386082"/>
                  </a:lnTo>
                  <a:cubicBezTo>
                    <a:pt x="792910" y="393759"/>
                    <a:pt x="369863" y="541922"/>
                    <a:pt x="313272" y="997020"/>
                  </a:cubicBezTo>
                  <a:cubicBezTo>
                    <a:pt x="270385" y="1456741"/>
                    <a:pt x="724588" y="1931544"/>
                    <a:pt x="1314886" y="1685660"/>
                  </a:cubicBezTo>
                  <a:cubicBezTo>
                    <a:pt x="1005782" y="1919067"/>
                    <a:pt x="4004" y="1794352"/>
                    <a:pt x="37" y="935873"/>
                  </a:cubicBezTo>
                  <a:cubicBezTo>
                    <a:pt x="-6614" y="195373"/>
                    <a:pt x="891136" y="4432"/>
                    <a:pt x="1207372" y="473"/>
                  </a:cubicBezTo>
                  <a:lnTo>
                    <a:pt x="120737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 name="Isosceles Triangle 16">
              <a:extLst>
                <a:ext uri="{FF2B5EF4-FFF2-40B4-BE49-F238E27FC236}">
                  <a16:creationId xmlns:a16="http://schemas.microsoft.com/office/drawing/2014/main" id="{143182A8-297F-594D-B1FD-E540D31E3FD0}"/>
                </a:ext>
              </a:extLst>
            </p:cNvPr>
            <p:cNvSpPr/>
            <p:nvPr/>
          </p:nvSpPr>
          <p:spPr>
            <a:xfrm rot="5400000">
              <a:off x="6099962" y="2614581"/>
              <a:ext cx="535692" cy="64379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24" name="그룹 39">
            <a:extLst>
              <a:ext uri="{FF2B5EF4-FFF2-40B4-BE49-F238E27FC236}">
                <a16:creationId xmlns:a16="http://schemas.microsoft.com/office/drawing/2014/main" id="{02222362-07B0-8B43-B9E2-3E70CB1C2406}"/>
              </a:ext>
            </a:extLst>
          </p:cNvPr>
          <p:cNvGrpSpPr/>
          <p:nvPr/>
        </p:nvGrpSpPr>
        <p:grpSpPr>
          <a:xfrm>
            <a:off x="5313267" y="3112961"/>
            <a:ext cx="2511927" cy="1441169"/>
            <a:chOff x="3789265" y="3054721"/>
            <a:chExt cx="2511927" cy="1441169"/>
          </a:xfrm>
          <a:solidFill>
            <a:schemeClr val="accent1">
              <a:lumMod val="75000"/>
            </a:schemeClr>
          </a:solidFill>
        </p:grpSpPr>
        <p:sp>
          <p:nvSpPr>
            <p:cNvPr id="25" name="Isosceles Triangle 18">
              <a:extLst>
                <a:ext uri="{FF2B5EF4-FFF2-40B4-BE49-F238E27FC236}">
                  <a16:creationId xmlns:a16="http://schemas.microsoft.com/office/drawing/2014/main" id="{E8379315-AE2E-AC4D-9D75-C86CAC4AA660}"/>
                </a:ext>
              </a:extLst>
            </p:cNvPr>
            <p:cNvSpPr/>
            <p:nvPr/>
          </p:nvSpPr>
          <p:spPr>
            <a:xfrm rot="5400000">
              <a:off x="5711447" y="3000667"/>
              <a:ext cx="535692" cy="64379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6" name="Rectangle 28">
              <a:extLst>
                <a:ext uri="{FF2B5EF4-FFF2-40B4-BE49-F238E27FC236}">
                  <a16:creationId xmlns:a16="http://schemas.microsoft.com/office/drawing/2014/main" id="{D0FDEA5C-34F5-2649-87EE-05FEFF2F0DC4}"/>
                </a:ext>
              </a:extLst>
            </p:cNvPr>
            <p:cNvSpPr/>
            <p:nvPr/>
          </p:nvSpPr>
          <p:spPr>
            <a:xfrm>
              <a:off x="3789265" y="3129529"/>
              <a:ext cx="1868380" cy="1366361"/>
            </a:xfrm>
            <a:custGeom>
              <a:avLst/>
              <a:gdLst>
                <a:gd name="connsiteX0" fmla="*/ 902987 w 1868306"/>
                <a:gd name="connsiteY0" fmla="*/ 0 h 1356095"/>
                <a:gd name="connsiteX1" fmla="*/ 903021 w 1868306"/>
                <a:gd name="connsiteY1" fmla="*/ 5072 h 1356095"/>
                <a:gd name="connsiteX2" fmla="*/ 1868306 w 1868306"/>
                <a:gd name="connsiteY2" fmla="*/ 5072 h 1356095"/>
                <a:gd name="connsiteX3" fmla="*/ 1868306 w 1868306"/>
                <a:gd name="connsiteY3" fmla="*/ 391154 h 1356095"/>
                <a:gd name="connsiteX4" fmla="*/ 897279 w 1868306"/>
                <a:gd name="connsiteY4" fmla="*/ 391154 h 1356095"/>
                <a:gd name="connsiteX5" fmla="*/ 897279 w 1868306"/>
                <a:gd name="connsiteY5" fmla="*/ 391144 h 1356095"/>
                <a:gd name="connsiteX6" fmla="*/ 384895 w 1868306"/>
                <a:gd name="connsiteY6" fmla="*/ 684842 h 1356095"/>
                <a:gd name="connsiteX7" fmla="*/ 388217 w 1868306"/>
                <a:gd name="connsiteY7" fmla="*/ 1117302 h 1356095"/>
                <a:gd name="connsiteX8" fmla="*/ 894654 w 1868306"/>
                <a:gd name="connsiteY8" fmla="*/ 1335893 h 1356095"/>
                <a:gd name="connsiteX9" fmla="*/ 3 w 1868306"/>
                <a:gd name="connsiteY9" fmla="*/ 673635 h 1356095"/>
                <a:gd name="connsiteX10" fmla="*/ 902987 w 1868306"/>
                <a:gd name="connsiteY10" fmla="*/ 0 h 1356095"/>
                <a:gd name="connsiteX0" fmla="*/ 902987 w 1868306"/>
                <a:gd name="connsiteY0" fmla="*/ 0 h 1356095"/>
                <a:gd name="connsiteX1" fmla="*/ 903021 w 1868306"/>
                <a:gd name="connsiteY1" fmla="*/ 5072 h 1356095"/>
                <a:gd name="connsiteX2" fmla="*/ 1868306 w 1868306"/>
                <a:gd name="connsiteY2" fmla="*/ 5072 h 1356095"/>
                <a:gd name="connsiteX3" fmla="*/ 1868306 w 1868306"/>
                <a:gd name="connsiteY3" fmla="*/ 391154 h 1356095"/>
                <a:gd name="connsiteX4" fmla="*/ 897279 w 1868306"/>
                <a:gd name="connsiteY4" fmla="*/ 391154 h 1356095"/>
                <a:gd name="connsiteX5" fmla="*/ 897279 w 1868306"/>
                <a:gd name="connsiteY5" fmla="*/ 391144 h 1356095"/>
                <a:gd name="connsiteX6" fmla="*/ 384895 w 1868306"/>
                <a:gd name="connsiteY6" fmla="*/ 684842 h 1356095"/>
                <a:gd name="connsiteX7" fmla="*/ 388217 w 1868306"/>
                <a:gd name="connsiteY7" fmla="*/ 1117302 h 1356095"/>
                <a:gd name="connsiteX8" fmla="*/ 894654 w 1868306"/>
                <a:gd name="connsiteY8" fmla="*/ 1335893 h 1356095"/>
                <a:gd name="connsiteX9" fmla="*/ 3 w 1868306"/>
                <a:gd name="connsiteY9" fmla="*/ 673635 h 1356095"/>
                <a:gd name="connsiteX10" fmla="*/ 902987 w 1868306"/>
                <a:gd name="connsiteY10" fmla="*/ 0 h 1356095"/>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6 w 1868309"/>
                <a:gd name="connsiteY0" fmla="*/ 668563 h 1367962"/>
                <a:gd name="connsiteX1" fmla="*/ 903024 w 1868309"/>
                <a:gd name="connsiteY1" fmla="*/ 0 h 1367962"/>
                <a:gd name="connsiteX2" fmla="*/ 1868309 w 1868309"/>
                <a:gd name="connsiteY2" fmla="*/ 0 h 1367962"/>
                <a:gd name="connsiteX3" fmla="*/ 1868309 w 1868309"/>
                <a:gd name="connsiteY3" fmla="*/ 386082 h 1367962"/>
                <a:gd name="connsiteX4" fmla="*/ 897282 w 1868309"/>
                <a:gd name="connsiteY4" fmla="*/ 386082 h 1367962"/>
                <a:gd name="connsiteX5" fmla="*/ 897282 w 1868309"/>
                <a:gd name="connsiteY5" fmla="*/ 386072 h 1367962"/>
                <a:gd name="connsiteX6" fmla="*/ 384898 w 1868309"/>
                <a:gd name="connsiteY6" fmla="*/ 679770 h 1367962"/>
                <a:gd name="connsiteX7" fmla="*/ 388220 w 1868309"/>
                <a:gd name="connsiteY7" fmla="*/ 1112230 h 1367962"/>
                <a:gd name="connsiteX8" fmla="*/ 894657 w 1868309"/>
                <a:gd name="connsiteY8" fmla="*/ 1330821 h 1367962"/>
                <a:gd name="connsiteX9" fmla="*/ 6 w 1868309"/>
                <a:gd name="connsiteY9" fmla="*/ 668563 h 1367962"/>
                <a:gd name="connsiteX0" fmla="*/ 498 w 1868801"/>
                <a:gd name="connsiteY0" fmla="*/ 668563 h 1365568"/>
                <a:gd name="connsiteX1" fmla="*/ 903516 w 1868801"/>
                <a:gd name="connsiteY1" fmla="*/ 0 h 1365568"/>
                <a:gd name="connsiteX2" fmla="*/ 1868801 w 1868801"/>
                <a:gd name="connsiteY2" fmla="*/ 0 h 1365568"/>
                <a:gd name="connsiteX3" fmla="*/ 1868801 w 1868801"/>
                <a:gd name="connsiteY3" fmla="*/ 386082 h 1365568"/>
                <a:gd name="connsiteX4" fmla="*/ 897774 w 1868801"/>
                <a:gd name="connsiteY4" fmla="*/ 386082 h 1365568"/>
                <a:gd name="connsiteX5" fmla="*/ 897774 w 1868801"/>
                <a:gd name="connsiteY5" fmla="*/ 386072 h 1365568"/>
                <a:gd name="connsiteX6" fmla="*/ 385390 w 1868801"/>
                <a:gd name="connsiteY6" fmla="*/ 679770 h 1365568"/>
                <a:gd name="connsiteX7" fmla="*/ 388712 w 1868801"/>
                <a:gd name="connsiteY7" fmla="*/ 1112230 h 1365568"/>
                <a:gd name="connsiteX8" fmla="*/ 895149 w 1868801"/>
                <a:gd name="connsiteY8" fmla="*/ 1330821 h 1365568"/>
                <a:gd name="connsiteX9" fmla="*/ 498 w 1868801"/>
                <a:gd name="connsiteY9" fmla="*/ 668563 h 1365568"/>
                <a:gd name="connsiteX0" fmla="*/ 681 w 1868984"/>
                <a:gd name="connsiteY0" fmla="*/ 668563 h 1367232"/>
                <a:gd name="connsiteX1" fmla="*/ 903699 w 1868984"/>
                <a:gd name="connsiteY1" fmla="*/ 0 h 1367232"/>
                <a:gd name="connsiteX2" fmla="*/ 1868984 w 1868984"/>
                <a:gd name="connsiteY2" fmla="*/ 0 h 1367232"/>
                <a:gd name="connsiteX3" fmla="*/ 1868984 w 1868984"/>
                <a:gd name="connsiteY3" fmla="*/ 386082 h 1367232"/>
                <a:gd name="connsiteX4" fmla="*/ 897957 w 1868984"/>
                <a:gd name="connsiteY4" fmla="*/ 386082 h 1367232"/>
                <a:gd name="connsiteX5" fmla="*/ 897957 w 1868984"/>
                <a:gd name="connsiteY5" fmla="*/ 386072 h 1367232"/>
                <a:gd name="connsiteX6" fmla="*/ 385573 w 1868984"/>
                <a:gd name="connsiteY6" fmla="*/ 679770 h 1367232"/>
                <a:gd name="connsiteX7" fmla="*/ 388895 w 1868984"/>
                <a:gd name="connsiteY7" fmla="*/ 1112230 h 1367232"/>
                <a:gd name="connsiteX8" fmla="*/ 895332 w 1868984"/>
                <a:gd name="connsiteY8" fmla="*/ 1330821 h 1367232"/>
                <a:gd name="connsiteX9" fmla="*/ 681 w 1868984"/>
                <a:gd name="connsiteY9" fmla="*/ 668563 h 1367232"/>
                <a:gd name="connsiteX0" fmla="*/ 2927 w 1871230"/>
                <a:gd name="connsiteY0" fmla="*/ 668563 h 1368608"/>
                <a:gd name="connsiteX1" fmla="*/ 905945 w 1871230"/>
                <a:gd name="connsiteY1" fmla="*/ 0 h 1368608"/>
                <a:gd name="connsiteX2" fmla="*/ 1871230 w 1871230"/>
                <a:gd name="connsiteY2" fmla="*/ 0 h 1368608"/>
                <a:gd name="connsiteX3" fmla="*/ 1871230 w 1871230"/>
                <a:gd name="connsiteY3" fmla="*/ 386082 h 1368608"/>
                <a:gd name="connsiteX4" fmla="*/ 900203 w 1871230"/>
                <a:gd name="connsiteY4" fmla="*/ 386082 h 1368608"/>
                <a:gd name="connsiteX5" fmla="*/ 900203 w 1871230"/>
                <a:gd name="connsiteY5" fmla="*/ 386072 h 1368608"/>
                <a:gd name="connsiteX6" fmla="*/ 387819 w 1871230"/>
                <a:gd name="connsiteY6" fmla="*/ 679770 h 1368608"/>
                <a:gd name="connsiteX7" fmla="*/ 391141 w 1871230"/>
                <a:gd name="connsiteY7" fmla="*/ 1112230 h 1368608"/>
                <a:gd name="connsiteX8" fmla="*/ 897578 w 1871230"/>
                <a:gd name="connsiteY8" fmla="*/ 1330821 h 1368608"/>
                <a:gd name="connsiteX9" fmla="*/ 2927 w 1871230"/>
                <a:gd name="connsiteY9" fmla="*/ 668563 h 1368608"/>
                <a:gd name="connsiteX0" fmla="*/ 682 w 1868985"/>
                <a:gd name="connsiteY0" fmla="*/ 668563 h 1368828"/>
                <a:gd name="connsiteX1" fmla="*/ 903700 w 1868985"/>
                <a:gd name="connsiteY1" fmla="*/ 0 h 1368828"/>
                <a:gd name="connsiteX2" fmla="*/ 1868985 w 1868985"/>
                <a:gd name="connsiteY2" fmla="*/ 0 h 1368828"/>
                <a:gd name="connsiteX3" fmla="*/ 1868985 w 1868985"/>
                <a:gd name="connsiteY3" fmla="*/ 386082 h 1368828"/>
                <a:gd name="connsiteX4" fmla="*/ 897958 w 1868985"/>
                <a:gd name="connsiteY4" fmla="*/ 386082 h 1368828"/>
                <a:gd name="connsiteX5" fmla="*/ 897958 w 1868985"/>
                <a:gd name="connsiteY5" fmla="*/ 386072 h 1368828"/>
                <a:gd name="connsiteX6" fmla="*/ 385574 w 1868985"/>
                <a:gd name="connsiteY6" fmla="*/ 679770 h 1368828"/>
                <a:gd name="connsiteX7" fmla="*/ 388896 w 1868985"/>
                <a:gd name="connsiteY7" fmla="*/ 1112230 h 1368828"/>
                <a:gd name="connsiteX8" fmla="*/ 895333 w 1868985"/>
                <a:gd name="connsiteY8" fmla="*/ 1330821 h 1368828"/>
                <a:gd name="connsiteX9" fmla="*/ 682 w 1868985"/>
                <a:gd name="connsiteY9" fmla="*/ 668563 h 1368828"/>
                <a:gd name="connsiteX0" fmla="*/ 214 w 1868517"/>
                <a:gd name="connsiteY0" fmla="*/ 668563 h 1369051"/>
                <a:gd name="connsiteX1" fmla="*/ 903232 w 1868517"/>
                <a:gd name="connsiteY1" fmla="*/ 0 h 1369051"/>
                <a:gd name="connsiteX2" fmla="*/ 1868517 w 1868517"/>
                <a:gd name="connsiteY2" fmla="*/ 0 h 1369051"/>
                <a:gd name="connsiteX3" fmla="*/ 1868517 w 1868517"/>
                <a:gd name="connsiteY3" fmla="*/ 386082 h 1369051"/>
                <a:gd name="connsiteX4" fmla="*/ 897490 w 1868517"/>
                <a:gd name="connsiteY4" fmla="*/ 386082 h 1369051"/>
                <a:gd name="connsiteX5" fmla="*/ 897490 w 1868517"/>
                <a:gd name="connsiteY5" fmla="*/ 386072 h 1369051"/>
                <a:gd name="connsiteX6" fmla="*/ 385106 w 1868517"/>
                <a:gd name="connsiteY6" fmla="*/ 679770 h 1369051"/>
                <a:gd name="connsiteX7" fmla="*/ 388428 w 1868517"/>
                <a:gd name="connsiteY7" fmla="*/ 1112230 h 1369051"/>
                <a:gd name="connsiteX8" fmla="*/ 894865 w 1868517"/>
                <a:gd name="connsiteY8" fmla="*/ 1330821 h 1369051"/>
                <a:gd name="connsiteX9" fmla="*/ 214 w 1868517"/>
                <a:gd name="connsiteY9" fmla="*/ 668563 h 1369051"/>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14 w 1868317"/>
                <a:gd name="connsiteY0" fmla="*/ 668563 h 1369639"/>
                <a:gd name="connsiteX1" fmla="*/ 903032 w 1868317"/>
                <a:gd name="connsiteY1" fmla="*/ 0 h 1369639"/>
                <a:gd name="connsiteX2" fmla="*/ 1868317 w 1868317"/>
                <a:gd name="connsiteY2" fmla="*/ 0 h 1369639"/>
                <a:gd name="connsiteX3" fmla="*/ 1868317 w 1868317"/>
                <a:gd name="connsiteY3" fmla="*/ 386082 h 1369639"/>
                <a:gd name="connsiteX4" fmla="*/ 897290 w 1868317"/>
                <a:gd name="connsiteY4" fmla="*/ 386082 h 1369639"/>
                <a:gd name="connsiteX5" fmla="*/ 897290 w 1868317"/>
                <a:gd name="connsiteY5" fmla="*/ 386072 h 1369639"/>
                <a:gd name="connsiteX6" fmla="*/ 384906 w 1868317"/>
                <a:gd name="connsiteY6" fmla="*/ 679770 h 1369639"/>
                <a:gd name="connsiteX7" fmla="*/ 388228 w 1868317"/>
                <a:gd name="connsiteY7" fmla="*/ 1112230 h 1369639"/>
                <a:gd name="connsiteX8" fmla="*/ 894665 w 1868317"/>
                <a:gd name="connsiteY8" fmla="*/ 1340346 h 1369639"/>
                <a:gd name="connsiteX9" fmla="*/ 14 w 1868317"/>
                <a:gd name="connsiteY9" fmla="*/ 668563 h 1369639"/>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57 w 1868309"/>
                <a:gd name="connsiteY0" fmla="*/ 1340346 h 1431786"/>
                <a:gd name="connsiteX1" fmla="*/ 6 w 1868309"/>
                <a:gd name="connsiteY1" fmla="*/ 668563 h 1431786"/>
                <a:gd name="connsiteX2" fmla="*/ 903024 w 1868309"/>
                <a:gd name="connsiteY2" fmla="*/ 0 h 1431786"/>
                <a:gd name="connsiteX3" fmla="*/ 1868309 w 1868309"/>
                <a:gd name="connsiteY3" fmla="*/ 0 h 1431786"/>
                <a:gd name="connsiteX4" fmla="*/ 1868309 w 1868309"/>
                <a:gd name="connsiteY4" fmla="*/ 386082 h 1431786"/>
                <a:gd name="connsiteX5" fmla="*/ 897282 w 1868309"/>
                <a:gd name="connsiteY5" fmla="*/ 386082 h 1431786"/>
                <a:gd name="connsiteX6" fmla="*/ 897282 w 1868309"/>
                <a:gd name="connsiteY6" fmla="*/ 386072 h 1431786"/>
                <a:gd name="connsiteX7" fmla="*/ 388220 w 1868309"/>
                <a:gd name="connsiteY7" fmla="*/ 1123768 h 1431786"/>
                <a:gd name="connsiteX8" fmla="*/ 986097 w 1868309"/>
                <a:gd name="connsiteY8" fmla="*/ 1431786 h 1431786"/>
                <a:gd name="connsiteX0" fmla="*/ 894657 w 1868309"/>
                <a:gd name="connsiteY0" fmla="*/ 1340346 h 1469285"/>
                <a:gd name="connsiteX1" fmla="*/ 6 w 1868309"/>
                <a:gd name="connsiteY1" fmla="*/ 668563 h 1469285"/>
                <a:gd name="connsiteX2" fmla="*/ 903024 w 1868309"/>
                <a:gd name="connsiteY2" fmla="*/ 0 h 1469285"/>
                <a:gd name="connsiteX3" fmla="*/ 1868309 w 1868309"/>
                <a:gd name="connsiteY3" fmla="*/ 0 h 1469285"/>
                <a:gd name="connsiteX4" fmla="*/ 1868309 w 1868309"/>
                <a:gd name="connsiteY4" fmla="*/ 386082 h 1469285"/>
                <a:gd name="connsiteX5" fmla="*/ 897282 w 1868309"/>
                <a:gd name="connsiteY5" fmla="*/ 386082 h 1469285"/>
                <a:gd name="connsiteX6" fmla="*/ 897282 w 1868309"/>
                <a:gd name="connsiteY6" fmla="*/ 386072 h 1469285"/>
                <a:gd name="connsiteX7" fmla="*/ 388220 w 1868309"/>
                <a:gd name="connsiteY7" fmla="*/ 1123768 h 1469285"/>
                <a:gd name="connsiteX8" fmla="*/ 778410 w 1868309"/>
                <a:gd name="connsiteY8" fmla="*/ 1469285 h 1469285"/>
                <a:gd name="connsiteX0" fmla="*/ 894657 w 1868309"/>
                <a:gd name="connsiteY0" fmla="*/ 1340346 h 1377909"/>
                <a:gd name="connsiteX1" fmla="*/ 6 w 1868309"/>
                <a:gd name="connsiteY1" fmla="*/ 668563 h 1377909"/>
                <a:gd name="connsiteX2" fmla="*/ 903024 w 1868309"/>
                <a:gd name="connsiteY2" fmla="*/ 0 h 1377909"/>
                <a:gd name="connsiteX3" fmla="*/ 1868309 w 1868309"/>
                <a:gd name="connsiteY3" fmla="*/ 0 h 1377909"/>
                <a:gd name="connsiteX4" fmla="*/ 1868309 w 1868309"/>
                <a:gd name="connsiteY4" fmla="*/ 386082 h 1377909"/>
                <a:gd name="connsiteX5" fmla="*/ 897282 w 1868309"/>
                <a:gd name="connsiteY5" fmla="*/ 386082 h 1377909"/>
                <a:gd name="connsiteX6" fmla="*/ 897282 w 1868309"/>
                <a:gd name="connsiteY6" fmla="*/ 386072 h 1377909"/>
                <a:gd name="connsiteX7" fmla="*/ 388220 w 1868309"/>
                <a:gd name="connsiteY7" fmla="*/ 1123768 h 1377909"/>
                <a:gd name="connsiteX8" fmla="*/ 660144 w 1868309"/>
                <a:gd name="connsiteY8" fmla="*/ 1327943 h 1377909"/>
                <a:gd name="connsiteX0" fmla="*/ 894657 w 1868309"/>
                <a:gd name="connsiteY0" fmla="*/ 1340346 h 1541399"/>
                <a:gd name="connsiteX1" fmla="*/ 6 w 1868309"/>
                <a:gd name="connsiteY1" fmla="*/ 668563 h 1541399"/>
                <a:gd name="connsiteX2" fmla="*/ 903024 w 1868309"/>
                <a:gd name="connsiteY2" fmla="*/ 0 h 1541399"/>
                <a:gd name="connsiteX3" fmla="*/ 1868309 w 1868309"/>
                <a:gd name="connsiteY3" fmla="*/ 0 h 1541399"/>
                <a:gd name="connsiteX4" fmla="*/ 1868309 w 1868309"/>
                <a:gd name="connsiteY4" fmla="*/ 386082 h 1541399"/>
                <a:gd name="connsiteX5" fmla="*/ 897282 w 1868309"/>
                <a:gd name="connsiteY5" fmla="*/ 386082 h 1541399"/>
                <a:gd name="connsiteX6" fmla="*/ 897282 w 1868309"/>
                <a:gd name="connsiteY6" fmla="*/ 386072 h 1541399"/>
                <a:gd name="connsiteX7" fmla="*/ 388220 w 1868309"/>
                <a:gd name="connsiteY7" fmla="*/ 1123768 h 1541399"/>
                <a:gd name="connsiteX8" fmla="*/ 530340 w 1868309"/>
                <a:gd name="connsiteY8" fmla="*/ 1541399 h 1541399"/>
                <a:gd name="connsiteX0" fmla="*/ 894657 w 1868309"/>
                <a:gd name="connsiteY0" fmla="*/ 1340346 h 1377909"/>
                <a:gd name="connsiteX1" fmla="*/ 6 w 1868309"/>
                <a:gd name="connsiteY1" fmla="*/ 668563 h 1377909"/>
                <a:gd name="connsiteX2" fmla="*/ 903024 w 1868309"/>
                <a:gd name="connsiteY2" fmla="*/ 0 h 1377909"/>
                <a:gd name="connsiteX3" fmla="*/ 1868309 w 1868309"/>
                <a:gd name="connsiteY3" fmla="*/ 0 h 1377909"/>
                <a:gd name="connsiteX4" fmla="*/ 1868309 w 1868309"/>
                <a:gd name="connsiteY4" fmla="*/ 386082 h 1377909"/>
                <a:gd name="connsiteX5" fmla="*/ 897282 w 1868309"/>
                <a:gd name="connsiteY5" fmla="*/ 386082 h 1377909"/>
                <a:gd name="connsiteX6" fmla="*/ 897282 w 1868309"/>
                <a:gd name="connsiteY6" fmla="*/ 386072 h 1377909"/>
                <a:gd name="connsiteX7" fmla="*/ 388220 w 1868309"/>
                <a:gd name="connsiteY7" fmla="*/ 1123768 h 1377909"/>
                <a:gd name="connsiteX0" fmla="*/ 894660 w 1868312"/>
                <a:gd name="connsiteY0" fmla="*/ 1340346 h 1371255"/>
                <a:gd name="connsiteX1" fmla="*/ 9 w 1868312"/>
                <a:gd name="connsiteY1" fmla="*/ 668563 h 1371255"/>
                <a:gd name="connsiteX2" fmla="*/ 903027 w 1868312"/>
                <a:gd name="connsiteY2" fmla="*/ 0 h 1371255"/>
                <a:gd name="connsiteX3" fmla="*/ 1868312 w 1868312"/>
                <a:gd name="connsiteY3" fmla="*/ 0 h 1371255"/>
                <a:gd name="connsiteX4" fmla="*/ 1868312 w 1868312"/>
                <a:gd name="connsiteY4" fmla="*/ 386082 h 1371255"/>
                <a:gd name="connsiteX5" fmla="*/ 897285 w 1868312"/>
                <a:gd name="connsiteY5" fmla="*/ 386082 h 1371255"/>
                <a:gd name="connsiteX6" fmla="*/ 897285 w 1868312"/>
                <a:gd name="connsiteY6" fmla="*/ 386072 h 1371255"/>
                <a:gd name="connsiteX7" fmla="*/ 388223 w 1868312"/>
                <a:gd name="connsiteY7" fmla="*/ 1123768 h 1371255"/>
                <a:gd name="connsiteX0" fmla="*/ 896353 w 1870005"/>
                <a:gd name="connsiteY0" fmla="*/ 1340346 h 1371592"/>
                <a:gd name="connsiteX1" fmla="*/ 1702 w 1870005"/>
                <a:gd name="connsiteY1" fmla="*/ 668563 h 1371592"/>
                <a:gd name="connsiteX2" fmla="*/ 904720 w 1870005"/>
                <a:gd name="connsiteY2" fmla="*/ 0 h 1371592"/>
                <a:gd name="connsiteX3" fmla="*/ 1870005 w 1870005"/>
                <a:gd name="connsiteY3" fmla="*/ 0 h 1371592"/>
                <a:gd name="connsiteX4" fmla="*/ 1870005 w 1870005"/>
                <a:gd name="connsiteY4" fmla="*/ 386082 h 1371592"/>
                <a:gd name="connsiteX5" fmla="*/ 898978 w 1870005"/>
                <a:gd name="connsiteY5" fmla="*/ 386082 h 1371592"/>
                <a:gd name="connsiteX6" fmla="*/ 898978 w 1870005"/>
                <a:gd name="connsiteY6" fmla="*/ 386072 h 1371592"/>
                <a:gd name="connsiteX7" fmla="*/ 389916 w 1870005"/>
                <a:gd name="connsiteY7" fmla="*/ 1123768 h 1371592"/>
                <a:gd name="connsiteX0" fmla="*/ 896353 w 1870005"/>
                <a:gd name="connsiteY0" fmla="*/ 1340346 h 1371592"/>
                <a:gd name="connsiteX1" fmla="*/ 1702 w 1870005"/>
                <a:gd name="connsiteY1" fmla="*/ 668563 h 1371592"/>
                <a:gd name="connsiteX2" fmla="*/ 904720 w 1870005"/>
                <a:gd name="connsiteY2" fmla="*/ 0 h 1371592"/>
                <a:gd name="connsiteX3" fmla="*/ 1870005 w 1870005"/>
                <a:gd name="connsiteY3" fmla="*/ 0 h 1371592"/>
                <a:gd name="connsiteX4" fmla="*/ 1870005 w 1870005"/>
                <a:gd name="connsiteY4" fmla="*/ 386082 h 1371592"/>
                <a:gd name="connsiteX5" fmla="*/ 898978 w 1870005"/>
                <a:gd name="connsiteY5" fmla="*/ 386082 h 1371592"/>
                <a:gd name="connsiteX6" fmla="*/ 898978 w 1870005"/>
                <a:gd name="connsiteY6" fmla="*/ 386072 h 1371592"/>
                <a:gd name="connsiteX7" fmla="*/ 389916 w 1870005"/>
                <a:gd name="connsiteY7" fmla="*/ 1123768 h 1371592"/>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733 w 1868385"/>
                <a:gd name="connsiteY0" fmla="*/ 1340346 h 1372288"/>
                <a:gd name="connsiteX1" fmla="*/ 82 w 1868385"/>
                <a:gd name="connsiteY1" fmla="*/ 668563 h 1372288"/>
                <a:gd name="connsiteX2" fmla="*/ 903100 w 1868385"/>
                <a:gd name="connsiteY2" fmla="*/ 0 h 1372288"/>
                <a:gd name="connsiteX3" fmla="*/ 1868385 w 1868385"/>
                <a:gd name="connsiteY3" fmla="*/ 0 h 1372288"/>
                <a:gd name="connsiteX4" fmla="*/ 1868385 w 1868385"/>
                <a:gd name="connsiteY4" fmla="*/ 386082 h 1372288"/>
                <a:gd name="connsiteX5" fmla="*/ 897358 w 1868385"/>
                <a:gd name="connsiteY5" fmla="*/ 386082 h 1372288"/>
                <a:gd name="connsiteX6" fmla="*/ 897358 w 1868385"/>
                <a:gd name="connsiteY6" fmla="*/ 386072 h 1372288"/>
                <a:gd name="connsiteX7" fmla="*/ 388296 w 1868385"/>
                <a:gd name="connsiteY7" fmla="*/ 1123768 h 1372288"/>
                <a:gd name="connsiteX8" fmla="*/ 894733 w 1868385"/>
                <a:gd name="connsiteY8" fmla="*/ 1340346 h 1372288"/>
                <a:gd name="connsiteX0" fmla="*/ 983560 w 1869106"/>
                <a:gd name="connsiteY0" fmla="*/ 1316533 h 1348272"/>
                <a:gd name="connsiteX1" fmla="*/ 803 w 1869106"/>
                <a:gd name="connsiteY1" fmla="*/ 668563 h 1348272"/>
                <a:gd name="connsiteX2" fmla="*/ 903821 w 1869106"/>
                <a:gd name="connsiteY2" fmla="*/ 0 h 1348272"/>
                <a:gd name="connsiteX3" fmla="*/ 1869106 w 1869106"/>
                <a:gd name="connsiteY3" fmla="*/ 0 h 1348272"/>
                <a:gd name="connsiteX4" fmla="*/ 1869106 w 1869106"/>
                <a:gd name="connsiteY4" fmla="*/ 386082 h 1348272"/>
                <a:gd name="connsiteX5" fmla="*/ 898079 w 1869106"/>
                <a:gd name="connsiteY5" fmla="*/ 386082 h 1348272"/>
                <a:gd name="connsiteX6" fmla="*/ 898079 w 1869106"/>
                <a:gd name="connsiteY6" fmla="*/ 386072 h 1348272"/>
                <a:gd name="connsiteX7" fmla="*/ 389017 w 1869106"/>
                <a:gd name="connsiteY7" fmla="*/ 1123768 h 1348272"/>
                <a:gd name="connsiteX8" fmla="*/ 983560 w 1869106"/>
                <a:gd name="connsiteY8" fmla="*/ 1316533 h 1348272"/>
                <a:gd name="connsiteX0" fmla="*/ 983560 w 1869106"/>
                <a:gd name="connsiteY0" fmla="*/ 1307008 h 1339091"/>
                <a:gd name="connsiteX1" fmla="*/ 803 w 1869106"/>
                <a:gd name="connsiteY1" fmla="*/ 668563 h 1339091"/>
                <a:gd name="connsiteX2" fmla="*/ 903821 w 1869106"/>
                <a:gd name="connsiteY2" fmla="*/ 0 h 1339091"/>
                <a:gd name="connsiteX3" fmla="*/ 1869106 w 1869106"/>
                <a:gd name="connsiteY3" fmla="*/ 0 h 1339091"/>
                <a:gd name="connsiteX4" fmla="*/ 1869106 w 1869106"/>
                <a:gd name="connsiteY4" fmla="*/ 386082 h 1339091"/>
                <a:gd name="connsiteX5" fmla="*/ 898079 w 1869106"/>
                <a:gd name="connsiteY5" fmla="*/ 386082 h 1339091"/>
                <a:gd name="connsiteX6" fmla="*/ 898079 w 1869106"/>
                <a:gd name="connsiteY6" fmla="*/ 386072 h 1339091"/>
                <a:gd name="connsiteX7" fmla="*/ 389017 w 1869106"/>
                <a:gd name="connsiteY7" fmla="*/ 1123768 h 1339091"/>
                <a:gd name="connsiteX8" fmla="*/ 983560 w 1869106"/>
                <a:gd name="connsiteY8" fmla="*/ 1307008 h 1339091"/>
                <a:gd name="connsiteX0" fmla="*/ 983560 w 1869106"/>
                <a:gd name="connsiteY0" fmla="*/ 1307008 h 1351063"/>
                <a:gd name="connsiteX1" fmla="*/ 803 w 1869106"/>
                <a:gd name="connsiteY1" fmla="*/ 668563 h 1351063"/>
                <a:gd name="connsiteX2" fmla="*/ 903821 w 1869106"/>
                <a:gd name="connsiteY2" fmla="*/ 0 h 1351063"/>
                <a:gd name="connsiteX3" fmla="*/ 1869106 w 1869106"/>
                <a:gd name="connsiteY3" fmla="*/ 0 h 1351063"/>
                <a:gd name="connsiteX4" fmla="*/ 1869106 w 1869106"/>
                <a:gd name="connsiteY4" fmla="*/ 386082 h 1351063"/>
                <a:gd name="connsiteX5" fmla="*/ 898079 w 1869106"/>
                <a:gd name="connsiteY5" fmla="*/ 386082 h 1351063"/>
                <a:gd name="connsiteX6" fmla="*/ 898079 w 1869106"/>
                <a:gd name="connsiteY6" fmla="*/ 386072 h 1351063"/>
                <a:gd name="connsiteX7" fmla="*/ 389017 w 1869106"/>
                <a:gd name="connsiteY7" fmla="*/ 1123768 h 1351063"/>
                <a:gd name="connsiteX8" fmla="*/ 983560 w 1869106"/>
                <a:gd name="connsiteY8" fmla="*/ 1307008 h 1351063"/>
                <a:gd name="connsiteX0" fmla="*/ 983560 w 1869106"/>
                <a:gd name="connsiteY0" fmla="*/ 1307008 h 1339091"/>
                <a:gd name="connsiteX1" fmla="*/ 803 w 1869106"/>
                <a:gd name="connsiteY1" fmla="*/ 668563 h 1339091"/>
                <a:gd name="connsiteX2" fmla="*/ 903821 w 1869106"/>
                <a:gd name="connsiteY2" fmla="*/ 0 h 1339091"/>
                <a:gd name="connsiteX3" fmla="*/ 1869106 w 1869106"/>
                <a:gd name="connsiteY3" fmla="*/ 0 h 1339091"/>
                <a:gd name="connsiteX4" fmla="*/ 1869106 w 1869106"/>
                <a:gd name="connsiteY4" fmla="*/ 386082 h 1339091"/>
                <a:gd name="connsiteX5" fmla="*/ 898079 w 1869106"/>
                <a:gd name="connsiteY5" fmla="*/ 386082 h 1339091"/>
                <a:gd name="connsiteX6" fmla="*/ 898079 w 1869106"/>
                <a:gd name="connsiteY6" fmla="*/ 386072 h 1339091"/>
                <a:gd name="connsiteX7" fmla="*/ 389017 w 1869106"/>
                <a:gd name="connsiteY7" fmla="*/ 1123768 h 1339091"/>
                <a:gd name="connsiteX8" fmla="*/ 983560 w 1869106"/>
                <a:gd name="connsiteY8" fmla="*/ 1307008 h 1339091"/>
                <a:gd name="connsiteX0" fmla="*/ 983560 w 1869106"/>
                <a:gd name="connsiteY0" fmla="*/ 1307008 h 1340385"/>
                <a:gd name="connsiteX1" fmla="*/ 803 w 1869106"/>
                <a:gd name="connsiteY1" fmla="*/ 668563 h 1340385"/>
                <a:gd name="connsiteX2" fmla="*/ 903821 w 1869106"/>
                <a:gd name="connsiteY2" fmla="*/ 0 h 1340385"/>
                <a:gd name="connsiteX3" fmla="*/ 1869106 w 1869106"/>
                <a:gd name="connsiteY3" fmla="*/ 0 h 1340385"/>
                <a:gd name="connsiteX4" fmla="*/ 1869106 w 1869106"/>
                <a:gd name="connsiteY4" fmla="*/ 386082 h 1340385"/>
                <a:gd name="connsiteX5" fmla="*/ 898079 w 1869106"/>
                <a:gd name="connsiteY5" fmla="*/ 386082 h 1340385"/>
                <a:gd name="connsiteX6" fmla="*/ 898079 w 1869106"/>
                <a:gd name="connsiteY6" fmla="*/ 386072 h 1340385"/>
                <a:gd name="connsiteX7" fmla="*/ 389017 w 1869106"/>
                <a:gd name="connsiteY7" fmla="*/ 1123768 h 1340385"/>
                <a:gd name="connsiteX8" fmla="*/ 983560 w 1869106"/>
                <a:gd name="connsiteY8" fmla="*/ 1307008 h 1340385"/>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9186"/>
                <a:gd name="connsiteX1" fmla="*/ 803 w 1869106"/>
                <a:gd name="connsiteY1" fmla="*/ 668563 h 1369186"/>
                <a:gd name="connsiteX2" fmla="*/ 903821 w 1869106"/>
                <a:gd name="connsiteY2" fmla="*/ 0 h 1369186"/>
                <a:gd name="connsiteX3" fmla="*/ 1869106 w 1869106"/>
                <a:gd name="connsiteY3" fmla="*/ 0 h 1369186"/>
                <a:gd name="connsiteX4" fmla="*/ 1869106 w 1869106"/>
                <a:gd name="connsiteY4" fmla="*/ 386082 h 1369186"/>
                <a:gd name="connsiteX5" fmla="*/ 898079 w 1869106"/>
                <a:gd name="connsiteY5" fmla="*/ 386082 h 1369186"/>
                <a:gd name="connsiteX6" fmla="*/ 898079 w 1869106"/>
                <a:gd name="connsiteY6" fmla="*/ 386072 h 1369186"/>
                <a:gd name="connsiteX7" fmla="*/ 389017 w 1869106"/>
                <a:gd name="connsiteY7" fmla="*/ 1123768 h 1369186"/>
                <a:gd name="connsiteX8" fmla="*/ 983560 w 1869106"/>
                <a:gd name="connsiteY8" fmla="*/ 1307008 h 1369186"/>
                <a:gd name="connsiteX0" fmla="*/ 983838 w 1869384"/>
                <a:gd name="connsiteY0" fmla="*/ 1307008 h 1373249"/>
                <a:gd name="connsiteX1" fmla="*/ 1081 w 1869384"/>
                <a:gd name="connsiteY1" fmla="*/ 668563 h 1373249"/>
                <a:gd name="connsiteX2" fmla="*/ 904099 w 1869384"/>
                <a:gd name="connsiteY2" fmla="*/ 0 h 1373249"/>
                <a:gd name="connsiteX3" fmla="*/ 1869384 w 1869384"/>
                <a:gd name="connsiteY3" fmla="*/ 0 h 1373249"/>
                <a:gd name="connsiteX4" fmla="*/ 1869384 w 1869384"/>
                <a:gd name="connsiteY4" fmla="*/ 386082 h 1373249"/>
                <a:gd name="connsiteX5" fmla="*/ 898357 w 1869384"/>
                <a:gd name="connsiteY5" fmla="*/ 386082 h 1373249"/>
                <a:gd name="connsiteX6" fmla="*/ 898357 w 1869384"/>
                <a:gd name="connsiteY6" fmla="*/ 386072 h 1373249"/>
                <a:gd name="connsiteX7" fmla="*/ 389295 w 1869384"/>
                <a:gd name="connsiteY7" fmla="*/ 1123768 h 1373249"/>
                <a:gd name="connsiteX8" fmla="*/ 983838 w 1869384"/>
                <a:gd name="connsiteY8" fmla="*/ 1307008 h 1373249"/>
                <a:gd name="connsiteX0" fmla="*/ 983838 w 1869384"/>
                <a:gd name="connsiteY0" fmla="*/ 1307008 h 1348483"/>
                <a:gd name="connsiteX1" fmla="*/ 1081 w 1869384"/>
                <a:gd name="connsiteY1" fmla="*/ 668563 h 1348483"/>
                <a:gd name="connsiteX2" fmla="*/ 904099 w 1869384"/>
                <a:gd name="connsiteY2" fmla="*/ 0 h 1348483"/>
                <a:gd name="connsiteX3" fmla="*/ 1869384 w 1869384"/>
                <a:gd name="connsiteY3" fmla="*/ 0 h 1348483"/>
                <a:gd name="connsiteX4" fmla="*/ 1869384 w 1869384"/>
                <a:gd name="connsiteY4" fmla="*/ 386082 h 1348483"/>
                <a:gd name="connsiteX5" fmla="*/ 898357 w 1869384"/>
                <a:gd name="connsiteY5" fmla="*/ 386082 h 1348483"/>
                <a:gd name="connsiteX6" fmla="*/ 898357 w 1869384"/>
                <a:gd name="connsiteY6" fmla="*/ 386072 h 1348483"/>
                <a:gd name="connsiteX7" fmla="*/ 389295 w 1869384"/>
                <a:gd name="connsiteY7" fmla="*/ 1123768 h 1348483"/>
                <a:gd name="connsiteX8" fmla="*/ 983838 w 1869384"/>
                <a:gd name="connsiteY8" fmla="*/ 1307008 h 1348483"/>
                <a:gd name="connsiteX0" fmla="*/ 983184 w 1868730"/>
                <a:gd name="connsiteY0" fmla="*/ 1307008 h 1348483"/>
                <a:gd name="connsiteX1" fmla="*/ 427 w 1868730"/>
                <a:gd name="connsiteY1" fmla="*/ 668563 h 1348483"/>
                <a:gd name="connsiteX2" fmla="*/ 903445 w 1868730"/>
                <a:gd name="connsiteY2" fmla="*/ 0 h 1348483"/>
                <a:gd name="connsiteX3" fmla="*/ 1868730 w 1868730"/>
                <a:gd name="connsiteY3" fmla="*/ 0 h 1348483"/>
                <a:gd name="connsiteX4" fmla="*/ 1868730 w 1868730"/>
                <a:gd name="connsiteY4" fmla="*/ 386082 h 1348483"/>
                <a:gd name="connsiteX5" fmla="*/ 897703 w 1868730"/>
                <a:gd name="connsiteY5" fmla="*/ 386082 h 1348483"/>
                <a:gd name="connsiteX6" fmla="*/ 897703 w 1868730"/>
                <a:gd name="connsiteY6" fmla="*/ 386072 h 1348483"/>
                <a:gd name="connsiteX7" fmla="*/ 388641 w 1868730"/>
                <a:gd name="connsiteY7" fmla="*/ 1123768 h 1348483"/>
                <a:gd name="connsiteX8" fmla="*/ 983184 w 1868730"/>
                <a:gd name="connsiteY8" fmla="*/ 1307008 h 1348483"/>
                <a:gd name="connsiteX0" fmla="*/ 990229 w 1875775"/>
                <a:gd name="connsiteY0" fmla="*/ 1307008 h 1348483"/>
                <a:gd name="connsiteX1" fmla="*/ 7472 w 1875775"/>
                <a:gd name="connsiteY1" fmla="*/ 668563 h 1348483"/>
                <a:gd name="connsiteX2" fmla="*/ 910490 w 1875775"/>
                <a:gd name="connsiteY2" fmla="*/ 0 h 1348483"/>
                <a:gd name="connsiteX3" fmla="*/ 1875775 w 1875775"/>
                <a:gd name="connsiteY3" fmla="*/ 0 h 1348483"/>
                <a:gd name="connsiteX4" fmla="*/ 1875775 w 1875775"/>
                <a:gd name="connsiteY4" fmla="*/ 386082 h 1348483"/>
                <a:gd name="connsiteX5" fmla="*/ 904748 w 1875775"/>
                <a:gd name="connsiteY5" fmla="*/ 386082 h 1348483"/>
                <a:gd name="connsiteX6" fmla="*/ 904748 w 1875775"/>
                <a:gd name="connsiteY6" fmla="*/ 386072 h 1348483"/>
                <a:gd name="connsiteX7" fmla="*/ 395686 w 1875775"/>
                <a:gd name="connsiteY7" fmla="*/ 1123768 h 1348483"/>
                <a:gd name="connsiteX8" fmla="*/ 990229 w 1875775"/>
                <a:gd name="connsiteY8" fmla="*/ 1307008 h 1348483"/>
                <a:gd name="connsiteX0" fmla="*/ 986178 w 1871724"/>
                <a:gd name="connsiteY0" fmla="*/ 1307008 h 1348483"/>
                <a:gd name="connsiteX1" fmla="*/ 3421 w 1871724"/>
                <a:gd name="connsiteY1" fmla="*/ 668563 h 1348483"/>
                <a:gd name="connsiteX2" fmla="*/ 906439 w 1871724"/>
                <a:gd name="connsiteY2" fmla="*/ 0 h 1348483"/>
                <a:gd name="connsiteX3" fmla="*/ 1871724 w 1871724"/>
                <a:gd name="connsiteY3" fmla="*/ 0 h 1348483"/>
                <a:gd name="connsiteX4" fmla="*/ 1871724 w 1871724"/>
                <a:gd name="connsiteY4" fmla="*/ 386082 h 1348483"/>
                <a:gd name="connsiteX5" fmla="*/ 900697 w 1871724"/>
                <a:gd name="connsiteY5" fmla="*/ 386082 h 1348483"/>
                <a:gd name="connsiteX6" fmla="*/ 900697 w 1871724"/>
                <a:gd name="connsiteY6" fmla="*/ 386072 h 1348483"/>
                <a:gd name="connsiteX7" fmla="*/ 391635 w 1871724"/>
                <a:gd name="connsiteY7" fmla="*/ 1123768 h 1348483"/>
                <a:gd name="connsiteX8" fmla="*/ 986178 w 1871724"/>
                <a:gd name="connsiteY8" fmla="*/ 1307008 h 1348483"/>
                <a:gd name="connsiteX0" fmla="*/ 982824 w 1868370"/>
                <a:gd name="connsiteY0" fmla="*/ 1307008 h 1348483"/>
                <a:gd name="connsiteX1" fmla="*/ 67 w 1868370"/>
                <a:gd name="connsiteY1" fmla="*/ 668563 h 1348483"/>
                <a:gd name="connsiteX2" fmla="*/ 903085 w 1868370"/>
                <a:gd name="connsiteY2" fmla="*/ 0 h 1348483"/>
                <a:gd name="connsiteX3" fmla="*/ 1868370 w 1868370"/>
                <a:gd name="connsiteY3" fmla="*/ 0 h 1348483"/>
                <a:gd name="connsiteX4" fmla="*/ 1868370 w 1868370"/>
                <a:gd name="connsiteY4" fmla="*/ 386082 h 1348483"/>
                <a:gd name="connsiteX5" fmla="*/ 897343 w 1868370"/>
                <a:gd name="connsiteY5" fmla="*/ 386082 h 1348483"/>
                <a:gd name="connsiteX6" fmla="*/ 897343 w 1868370"/>
                <a:gd name="connsiteY6" fmla="*/ 386072 h 1348483"/>
                <a:gd name="connsiteX7" fmla="*/ 388281 w 1868370"/>
                <a:gd name="connsiteY7" fmla="*/ 1123768 h 1348483"/>
                <a:gd name="connsiteX8" fmla="*/ 982824 w 1868370"/>
                <a:gd name="connsiteY8" fmla="*/ 1307008 h 1348483"/>
                <a:gd name="connsiteX0" fmla="*/ 982837 w 1868383"/>
                <a:gd name="connsiteY0" fmla="*/ 1307008 h 1363869"/>
                <a:gd name="connsiteX1" fmla="*/ 80 w 1868383"/>
                <a:gd name="connsiteY1" fmla="*/ 668563 h 1363869"/>
                <a:gd name="connsiteX2" fmla="*/ 903098 w 1868383"/>
                <a:gd name="connsiteY2" fmla="*/ 0 h 1363869"/>
                <a:gd name="connsiteX3" fmla="*/ 1868383 w 1868383"/>
                <a:gd name="connsiteY3" fmla="*/ 0 h 1363869"/>
                <a:gd name="connsiteX4" fmla="*/ 1868383 w 1868383"/>
                <a:gd name="connsiteY4" fmla="*/ 386082 h 1363869"/>
                <a:gd name="connsiteX5" fmla="*/ 897356 w 1868383"/>
                <a:gd name="connsiteY5" fmla="*/ 386082 h 1363869"/>
                <a:gd name="connsiteX6" fmla="*/ 897356 w 1868383"/>
                <a:gd name="connsiteY6" fmla="*/ 386072 h 1363869"/>
                <a:gd name="connsiteX7" fmla="*/ 388294 w 1868383"/>
                <a:gd name="connsiteY7" fmla="*/ 1123768 h 1363869"/>
                <a:gd name="connsiteX8" fmla="*/ 982837 w 1868383"/>
                <a:gd name="connsiteY8" fmla="*/ 1307008 h 1363869"/>
                <a:gd name="connsiteX0" fmla="*/ 982970 w 1868516"/>
                <a:gd name="connsiteY0" fmla="*/ 1307008 h 1357495"/>
                <a:gd name="connsiteX1" fmla="*/ 213 w 1868516"/>
                <a:gd name="connsiteY1" fmla="*/ 668563 h 1357495"/>
                <a:gd name="connsiteX2" fmla="*/ 903231 w 1868516"/>
                <a:gd name="connsiteY2" fmla="*/ 0 h 1357495"/>
                <a:gd name="connsiteX3" fmla="*/ 1868516 w 1868516"/>
                <a:gd name="connsiteY3" fmla="*/ 0 h 1357495"/>
                <a:gd name="connsiteX4" fmla="*/ 1868516 w 1868516"/>
                <a:gd name="connsiteY4" fmla="*/ 386082 h 1357495"/>
                <a:gd name="connsiteX5" fmla="*/ 897489 w 1868516"/>
                <a:gd name="connsiteY5" fmla="*/ 386082 h 1357495"/>
                <a:gd name="connsiteX6" fmla="*/ 897489 w 1868516"/>
                <a:gd name="connsiteY6" fmla="*/ 386072 h 1357495"/>
                <a:gd name="connsiteX7" fmla="*/ 388427 w 1868516"/>
                <a:gd name="connsiteY7" fmla="*/ 1123768 h 1357495"/>
                <a:gd name="connsiteX8" fmla="*/ 982970 w 1868516"/>
                <a:gd name="connsiteY8" fmla="*/ 1307008 h 1357495"/>
                <a:gd name="connsiteX0" fmla="*/ 982834 w 1868380"/>
                <a:gd name="connsiteY0" fmla="*/ 1307008 h 1357123"/>
                <a:gd name="connsiteX1" fmla="*/ 77 w 1868380"/>
                <a:gd name="connsiteY1" fmla="*/ 668563 h 1357123"/>
                <a:gd name="connsiteX2" fmla="*/ 903095 w 1868380"/>
                <a:gd name="connsiteY2" fmla="*/ 0 h 1357123"/>
                <a:gd name="connsiteX3" fmla="*/ 1868380 w 1868380"/>
                <a:gd name="connsiteY3" fmla="*/ 0 h 1357123"/>
                <a:gd name="connsiteX4" fmla="*/ 1868380 w 1868380"/>
                <a:gd name="connsiteY4" fmla="*/ 386082 h 1357123"/>
                <a:gd name="connsiteX5" fmla="*/ 897353 w 1868380"/>
                <a:gd name="connsiteY5" fmla="*/ 386082 h 1357123"/>
                <a:gd name="connsiteX6" fmla="*/ 897353 w 1868380"/>
                <a:gd name="connsiteY6" fmla="*/ 386072 h 1357123"/>
                <a:gd name="connsiteX7" fmla="*/ 388291 w 1868380"/>
                <a:gd name="connsiteY7" fmla="*/ 1123768 h 1357123"/>
                <a:gd name="connsiteX8" fmla="*/ 982834 w 1868380"/>
                <a:gd name="connsiteY8" fmla="*/ 1307008 h 1357123"/>
                <a:gd name="connsiteX0" fmla="*/ 982834 w 1868380"/>
                <a:gd name="connsiteY0" fmla="*/ 1307008 h 1364304"/>
                <a:gd name="connsiteX1" fmla="*/ 77 w 1868380"/>
                <a:gd name="connsiteY1" fmla="*/ 668563 h 1364304"/>
                <a:gd name="connsiteX2" fmla="*/ 903095 w 1868380"/>
                <a:gd name="connsiteY2" fmla="*/ 0 h 1364304"/>
                <a:gd name="connsiteX3" fmla="*/ 1868380 w 1868380"/>
                <a:gd name="connsiteY3" fmla="*/ 0 h 1364304"/>
                <a:gd name="connsiteX4" fmla="*/ 1868380 w 1868380"/>
                <a:gd name="connsiteY4" fmla="*/ 386082 h 1364304"/>
                <a:gd name="connsiteX5" fmla="*/ 897353 w 1868380"/>
                <a:gd name="connsiteY5" fmla="*/ 386082 h 1364304"/>
                <a:gd name="connsiteX6" fmla="*/ 897353 w 1868380"/>
                <a:gd name="connsiteY6" fmla="*/ 386072 h 1364304"/>
                <a:gd name="connsiteX7" fmla="*/ 388291 w 1868380"/>
                <a:gd name="connsiteY7" fmla="*/ 1123768 h 1364304"/>
                <a:gd name="connsiteX8" fmla="*/ 982834 w 1868380"/>
                <a:gd name="connsiteY8" fmla="*/ 1307008 h 1364304"/>
                <a:gd name="connsiteX0" fmla="*/ 982834 w 1868380"/>
                <a:gd name="connsiteY0" fmla="*/ 1307008 h 1366361"/>
                <a:gd name="connsiteX1" fmla="*/ 77 w 1868380"/>
                <a:gd name="connsiteY1" fmla="*/ 668563 h 1366361"/>
                <a:gd name="connsiteX2" fmla="*/ 903095 w 1868380"/>
                <a:gd name="connsiteY2" fmla="*/ 0 h 1366361"/>
                <a:gd name="connsiteX3" fmla="*/ 1868380 w 1868380"/>
                <a:gd name="connsiteY3" fmla="*/ 0 h 1366361"/>
                <a:gd name="connsiteX4" fmla="*/ 1868380 w 1868380"/>
                <a:gd name="connsiteY4" fmla="*/ 386082 h 1366361"/>
                <a:gd name="connsiteX5" fmla="*/ 897353 w 1868380"/>
                <a:gd name="connsiteY5" fmla="*/ 386082 h 1366361"/>
                <a:gd name="connsiteX6" fmla="*/ 897353 w 1868380"/>
                <a:gd name="connsiteY6" fmla="*/ 386072 h 1366361"/>
                <a:gd name="connsiteX7" fmla="*/ 388291 w 1868380"/>
                <a:gd name="connsiteY7" fmla="*/ 1123768 h 1366361"/>
                <a:gd name="connsiteX8" fmla="*/ 982834 w 1868380"/>
                <a:gd name="connsiteY8" fmla="*/ 1307008 h 136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380" h="1366361">
                  <a:moveTo>
                    <a:pt x="982834" y="1307008"/>
                  </a:moveTo>
                  <a:cubicBezTo>
                    <a:pt x="732394" y="1440691"/>
                    <a:pt x="10007" y="1396043"/>
                    <a:pt x="77" y="668563"/>
                  </a:cubicBezTo>
                  <a:cubicBezTo>
                    <a:pt x="-3715" y="390780"/>
                    <a:pt x="132130" y="13795"/>
                    <a:pt x="903095" y="0"/>
                  </a:cubicBezTo>
                  <a:lnTo>
                    <a:pt x="1868380" y="0"/>
                  </a:lnTo>
                  <a:lnTo>
                    <a:pt x="1868380" y="386082"/>
                  </a:lnTo>
                  <a:lnTo>
                    <a:pt x="897353" y="386082"/>
                  </a:lnTo>
                  <a:lnTo>
                    <a:pt x="897353" y="386072"/>
                  </a:lnTo>
                  <a:cubicBezTo>
                    <a:pt x="339444" y="390754"/>
                    <a:pt x="248008" y="890628"/>
                    <a:pt x="388291" y="1123768"/>
                  </a:cubicBezTo>
                  <a:cubicBezTo>
                    <a:pt x="463286" y="1235204"/>
                    <a:pt x="661103" y="1435284"/>
                    <a:pt x="982834" y="130700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7" name="TextBox 26">
            <a:extLst>
              <a:ext uri="{FF2B5EF4-FFF2-40B4-BE49-F238E27FC236}">
                <a16:creationId xmlns:a16="http://schemas.microsoft.com/office/drawing/2014/main" id="{B9AD006B-09A4-A040-862C-48C712B8B172}"/>
              </a:ext>
            </a:extLst>
          </p:cNvPr>
          <p:cNvSpPr txBox="1"/>
          <p:nvPr/>
        </p:nvSpPr>
        <p:spPr>
          <a:xfrm>
            <a:off x="7130904" y="2787650"/>
            <a:ext cx="765296" cy="400110"/>
          </a:xfrm>
          <a:prstGeom prst="rect">
            <a:avLst/>
          </a:prstGeom>
          <a:noFill/>
        </p:spPr>
        <p:txBody>
          <a:bodyPr wrap="square" rtlCol="0">
            <a:spAutoFit/>
          </a:bodyPr>
          <a:lstStyle/>
          <a:p>
            <a:pPr algn="ctr"/>
            <a:r>
              <a:rPr lang="en-US" altLang="ko-KR" sz="2000" b="1">
                <a:solidFill>
                  <a:schemeClr val="bg1"/>
                </a:solidFill>
                <a:cs typeface="Arial" pitchFamily="34" charset="0"/>
              </a:rPr>
              <a:t>01</a:t>
            </a:r>
            <a:endParaRPr lang="ko-KR" altLang="en-US" sz="2000" b="1">
              <a:solidFill>
                <a:schemeClr val="bg1"/>
              </a:solidFill>
              <a:cs typeface="Arial" pitchFamily="34" charset="0"/>
            </a:endParaRPr>
          </a:p>
        </p:txBody>
      </p:sp>
      <p:sp>
        <p:nvSpPr>
          <p:cNvPr id="28" name="TextBox 27">
            <a:extLst>
              <a:ext uri="{FF2B5EF4-FFF2-40B4-BE49-F238E27FC236}">
                <a16:creationId xmlns:a16="http://schemas.microsoft.com/office/drawing/2014/main" id="{03F7BB3F-B0BC-4545-B491-BC95F16BE421}"/>
              </a:ext>
            </a:extLst>
          </p:cNvPr>
          <p:cNvSpPr txBox="1"/>
          <p:nvPr/>
        </p:nvSpPr>
        <p:spPr>
          <a:xfrm>
            <a:off x="6672066" y="3180749"/>
            <a:ext cx="756309" cy="400110"/>
          </a:xfrm>
          <a:prstGeom prst="rect">
            <a:avLst/>
          </a:prstGeom>
          <a:noFill/>
        </p:spPr>
        <p:txBody>
          <a:bodyPr wrap="square" rtlCol="0">
            <a:spAutoFit/>
          </a:bodyPr>
          <a:lstStyle/>
          <a:p>
            <a:pPr algn="ctr"/>
            <a:r>
              <a:rPr lang="en-US" altLang="ko-KR" sz="2000" b="1">
                <a:solidFill>
                  <a:schemeClr val="bg1"/>
                </a:solidFill>
                <a:cs typeface="Arial" pitchFamily="34" charset="0"/>
              </a:rPr>
              <a:t>02</a:t>
            </a:r>
            <a:endParaRPr lang="ko-KR" altLang="en-US" sz="2000" b="1">
              <a:solidFill>
                <a:schemeClr val="bg1"/>
              </a:solidFill>
              <a:cs typeface="Arial" pitchFamily="34" charset="0"/>
            </a:endParaRPr>
          </a:p>
        </p:txBody>
      </p:sp>
      <p:sp>
        <p:nvSpPr>
          <p:cNvPr id="29" name="Oval 10">
            <a:extLst>
              <a:ext uri="{FF2B5EF4-FFF2-40B4-BE49-F238E27FC236}">
                <a16:creationId xmlns:a16="http://schemas.microsoft.com/office/drawing/2014/main" id="{97A19953-6475-C743-9152-44ABD3DDD70D}"/>
              </a:ext>
            </a:extLst>
          </p:cNvPr>
          <p:cNvSpPr/>
          <p:nvPr/>
        </p:nvSpPr>
        <p:spPr>
          <a:xfrm>
            <a:off x="5878520" y="3786928"/>
            <a:ext cx="467134" cy="553571"/>
          </a:xfrm>
          <a:custGeom>
            <a:avLst/>
            <a:gdLst/>
            <a:ahLst/>
            <a:cxnLst/>
            <a:rect l="l" t="t" r="r" b="b"/>
            <a:pathLst>
              <a:path w="3310915" h="3923570">
                <a:moveTo>
                  <a:pt x="2634572" y="2782060"/>
                </a:moveTo>
                <a:cubicBezTo>
                  <a:pt x="2877724" y="2784696"/>
                  <a:pt x="3073074" y="2923910"/>
                  <a:pt x="3310915" y="3050983"/>
                </a:cubicBezTo>
                <a:lnTo>
                  <a:pt x="3113550" y="3840011"/>
                </a:lnTo>
                <a:lnTo>
                  <a:pt x="2637706" y="3668957"/>
                </a:lnTo>
                <a:cubicBezTo>
                  <a:pt x="2327360" y="3767940"/>
                  <a:pt x="1829375" y="3988492"/>
                  <a:pt x="1579811" y="3905123"/>
                </a:cubicBezTo>
                <a:cubicBezTo>
                  <a:pt x="1320906" y="3775288"/>
                  <a:pt x="642145" y="3366355"/>
                  <a:pt x="472751" y="3203771"/>
                </a:cubicBezTo>
                <a:cubicBezTo>
                  <a:pt x="303357" y="3041187"/>
                  <a:pt x="403652" y="2893777"/>
                  <a:pt x="563448" y="2929619"/>
                </a:cubicBezTo>
                <a:cubicBezTo>
                  <a:pt x="702634" y="2937547"/>
                  <a:pt x="1160012" y="3199482"/>
                  <a:pt x="1284082" y="3253983"/>
                </a:cubicBezTo>
                <a:cubicBezTo>
                  <a:pt x="1127104" y="3587742"/>
                  <a:pt x="1741057" y="3563487"/>
                  <a:pt x="1955231" y="3541261"/>
                </a:cubicBezTo>
                <a:cubicBezTo>
                  <a:pt x="2131253" y="3488686"/>
                  <a:pt x="2214010" y="3505589"/>
                  <a:pt x="2306401" y="3383364"/>
                </a:cubicBezTo>
                <a:cubicBezTo>
                  <a:pt x="2155860" y="3427865"/>
                  <a:pt x="2163213" y="3429679"/>
                  <a:pt x="1912247" y="3471537"/>
                </a:cubicBezTo>
                <a:cubicBezTo>
                  <a:pt x="1482134" y="3531123"/>
                  <a:pt x="1135709" y="3364234"/>
                  <a:pt x="1413085" y="3236383"/>
                </a:cubicBezTo>
                <a:cubicBezTo>
                  <a:pt x="1557848" y="3164554"/>
                  <a:pt x="1721108" y="3222221"/>
                  <a:pt x="1929297" y="3121321"/>
                </a:cubicBezTo>
                <a:cubicBezTo>
                  <a:pt x="2128589" y="3010789"/>
                  <a:pt x="2187815" y="2818332"/>
                  <a:pt x="2527174" y="2789726"/>
                </a:cubicBezTo>
                <a:cubicBezTo>
                  <a:pt x="2564125" y="2784095"/>
                  <a:pt x="2599836" y="2781684"/>
                  <a:pt x="2634572" y="2782060"/>
                </a:cubicBezTo>
                <a:close/>
                <a:moveTo>
                  <a:pt x="2169165" y="2259549"/>
                </a:moveTo>
                <a:cubicBezTo>
                  <a:pt x="2305163" y="2320579"/>
                  <a:pt x="2430502" y="2400997"/>
                  <a:pt x="2542352" y="2496872"/>
                </a:cubicBezTo>
                <a:cubicBezTo>
                  <a:pt x="2303978" y="2744099"/>
                  <a:pt x="1979593" y="2907447"/>
                  <a:pt x="1617206" y="2939204"/>
                </a:cubicBezTo>
                <a:lnTo>
                  <a:pt x="1588575" y="2925411"/>
                </a:lnTo>
                <a:cubicBezTo>
                  <a:pt x="1835671" y="2758142"/>
                  <a:pt x="2037335" y="2529257"/>
                  <a:pt x="2169165" y="2259549"/>
                </a:cubicBezTo>
                <a:close/>
                <a:moveTo>
                  <a:pt x="797309" y="2254509"/>
                </a:moveTo>
                <a:cubicBezTo>
                  <a:pt x="928512" y="2525684"/>
                  <a:pt x="1129977" y="2756161"/>
                  <a:pt x="1376879" y="2925229"/>
                </a:cubicBezTo>
                <a:cubicBezTo>
                  <a:pt x="1367940" y="2931748"/>
                  <a:pt x="1358086" y="2936536"/>
                  <a:pt x="1348086" y="2941055"/>
                </a:cubicBezTo>
                <a:cubicBezTo>
                  <a:pt x="981929" y="2910776"/>
                  <a:pt x="654006" y="2746454"/>
                  <a:pt x="413461" y="2497054"/>
                </a:cubicBezTo>
                <a:cubicBezTo>
                  <a:pt x="528278" y="2398621"/>
                  <a:pt x="657289" y="2316447"/>
                  <a:pt x="797309" y="2254509"/>
                </a:cubicBezTo>
                <a:close/>
                <a:moveTo>
                  <a:pt x="1426305" y="2108791"/>
                </a:moveTo>
                <a:lnTo>
                  <a:pt x="1426305" y="2824067"/>
                </a:lnTo>
                <a:cubicBezTo>
                  <a:pt x="1203050" y="2668305"/>
                  <a:pt x="1020431" y="2458508"/>
                  <a:pt x="899682" y="2212532"/>
                </a:cubicBezTo>
                <a:cubicBezTo>
                  <a:pt x="1063835" y="2148883"/>
                  <a:pt x="1241204" y="2112683"/>
                  <a:pt x="1426305" y="2108791"/>
                </a:cubicBezTo>
                <a:close/>
                <a:moveTo>
                  <a:pt x="1527809" y="2108695"/>
                </a:moveTo>
                <a:cubicBezTo>
                  <a:pt x="1717707" y="2112557"/>
                  <a:pt x="1899494" y="2150291"/>
                  <a:pt x="2067336" y="2216559"/>
                </a:cubicBezTo>
                <a:cubicBezTo>
                  <a:pt x="1943936" y="2466549"/>
                  <a:pt x="1756622" y="2679032"/>
                  <a:pt x="1527809" y="2835300"/>
                </a:cubicBezTo>
                <a:close/>
                <a:moveTo>
                  <a:pt x="2354776" y="1530125"/>
                </a:moveTo>
                <a:lnTo>
                  <a:pt x="2955077" y="1530125"/>
                </a:lnTo>
                <a:cubicBezTo>
                  <a:pt x="2942393" y="1866074"/>
                  <a:pt x="2817414" y="2173186"/>
                  <a:pt x="2615767" y="2414127"/>
                </a:cubicBezTo>
                <a:cubicBezTo>
                  <a:pt x="2496453" y="2311434"/>
                  <a:pt x="2362630" y="2225327"/>
                  <a:pt x="2217376" y="2159975"/>
                </a:cubicBezTo>
                <a:cubicBezTo>
                  <a:pt x="2300477" y="1965771"/>
                  <a:pt x="2348521" y="1753185"/>
                  <a:pt x="2354776" y="1530125"/>
                </a:cubicBezTo>
                <a:close/>
                <a:moveTo>
                  <a:pt x="1527809" y="1530125"/>
                </a:moveTo>
                <a:lnTo>
                  <a:pt x="2244039" y="1530125"/>
                </a:lnTo>
                <a:cubicBezTo>
                  <a:pt x="2237819" y="1737690"/>
                  <a:pt x="2192963" y="1935525"/>
                  <a:pt x="2115825" y="2116496"/>
                </a:cubicBezTo>
                <a:cubicBezTo>
                  <a:pt x="1933189" y="2043464"/>
                  <a:pt x="1735000" y="2001899"/>
                  <a:pt x="1527809" y="1997958"/>
                </a:cubicBezTo>
                <a:close/>
                <a:moveTo>
                  <a:pt x="725097" y="1530125"/>
                </a:moveTo>
                <a:lnTo>
                  <a:pt x="1426305" y="1530125"/>
                </a:lnTo>
                <a:lnTo>
                  <a:pt x="1426305" y="1998054"/>
                </a:lnTo>
                <a:cubicBezTo>
                  <a:pt x="1224105" y="2002029"/>
                  <a:pt x="1030504" y="2041966"/>
                  <a:pt x="851699" y="2112283"/>
                </a:cubicBezTo>
                <a:cubicBezTo>
                  <a:pt x="775482" y="1932518"/>
                  <a:pt x="731260" y="1736112"/>
                  <a:pt x="725097" y="1530125"/>
                </a:cubicBezTo>
                <a:close/>
                <a:moveTo>
                  <a:pt x="934" y="1530125"/>
                </a:moveTo>
                <a:lnTo>
                  <a:pt x="614360" y="1530125"/>
                </a:lnTo>
                <a:cubicBezTo>
                  <a:pt x="620543" y="1751166"/>
                  <a:pt x="667772" y="1961919"/>
                  <a:pt x="749235" y="2154869"/>
                </a:cubicBezTo>
                <a:cubicBezTo>
                  <a:pt x="599936" y="2221117"/>
                  <a:pt x="462426" y="2308980"/>
                  <a:pt x="340129" y="2414234"/>
                </a:cubicBezTo>
                <a:cubicBezTo>
                  <a:pt x="138582" y="2173144"/>
                  <a:pt x="13619" y="1866051"/>
                  <a:pt x="934" y="1530125"/>
                </a:cubicBezTo>
                <a:close/>
                <a:moveTo>
                  <a:pt x="883886" y="768586"/>
                </a:moveTo>
                <a:cubicBezTo>
                  <a:pt x="1053566" y="831753"/>
                  <a:pt x="1236128" y="867407"/>
                  <a:pt x="1426305" y="871035"/>
                </a:cubicBezTo>
                <a:lnTo>
                  <a:pt x="1426305" y="1428622"/>
                </a:lnTo>
                <a:lnTo>
                  <a:pt x="724559" y="1428622"/>
                </a:lnTo>
                <a:cubicBezTo>
                  <a:pt x="730221" y="1192426"/>
                  <a:pt x="785872" y="968634"/>
                  <a:pt x="883886" y="768586"/>
                </a:cubicBezTo>
                <a:close/>
                <a:moveTo>
                  <a:pt x="2083288" y="764501"/>
                </a:moveTo>
                <a:cubicBezTo>
                  <a:pt x="2182501" y="965616"/>
                  <a:pt x="2238869" y="1190833"/>
                  <a:pt x="2244577" y="1428622"/>
                </a:cubicBezTo>
                <a:lnTo>
                  <a:pt x="1527809" y="1428622"/>
                </a:lnTo>
                <a:lnTo>
                  <a:pt x="1527809" y="871130"/>
                </a:lnTo>
                <a:cubicBezTo>
                  <a:pt x="1722835" y="867528"/>
                  <a:pt x="1909881" y="830382"/>
                  <a:pt x="2083288" y="764501"/>
                </a:cubicBezTo>
                <a:close/>
                <a:moveTo>
                  <a:pt x="375750" y="484510"/>
                </a:moveTo>
                <a:cubicBezTo>
                  <a:pt x="497688" y="583858"/>
                  <a:pt x="633678" y="666438"/>
                  <a:pt x="780212" y="729142"/>
                </a:cubicBezTo>
                <a:cubicBezTo>
                  <a:pt x="677519" y="941475"/>
                  <a:pt x="619429" y="1178562"/>
                  <a:pt x="613822" y="1428622"/>
                </a:cubicBezTo>
                <a:lnTo>
                  <a:pt x="0" y="1428622"/>
                </a:lnTo>
                <a:cubicBezTo>
                  <a:pt x="9263" y="1065848"/>
                  <a:pt x="149371" y="735691"/>
                  <a:pt x="375750" y="484510"/>
                </a:cubicBezTo>
                <a:close/>
                <a:moveTo>
                  <a:pt x="2580304" y="484479"/>
                </a:moveTo>
                <a:cubicBezTo>
                  <a:pt x="2806628" y="735651"/>
                  <a:pt x="2946750" y="1065827"/>
                  <a:pt x="2956013" y="1428622"/>
                </a:cubicBezTo>
                <a:lnTo>
                  <a:pt x="2355314" y="1428622"/>
                </a:lnTo>
                <a:cubicBezTo>
                  <a:pt x="2349636" y="1176504"/>
                  <a:pt x="2290630" y="937573"/>
                  <a:pt x="2186241" y="724113"/>
                </a:cubicBezTo>
                <a:cubicBezTo>
                  <a:pt x="2328935" y="662418"/>
                  <a:pt x="2461323" y="581449"/>
                  <a:pt x="2580304" y="484479"/>
                </a:cubicBezTo>
                <a:close/>
                <a:moveTo>
                  <a:pt x="1426305" y="124032"/>
                </a:moveTo>
                <a:lnTo>
                  <a:pt x="1426305" y="760298"/>
                </a:lnTo>
                <a:cubicBezTo>
                  <a:pt x="1253727" y="756791"/>
                  <a:pt x="1087879" y="724966"/>
                  <a:pt x="933247" y="668842"/>
                </a:cubicBezTo>
                <a:cubicBezTo>
                  <a:pt x="1054039" y="451822"/>
                  <a:pt x="1223389" y="265609"/>
                  <a:pt x="1426305" y="124032"/>
                </a:cubicBezTo>
                <a:close/>
                <a:moveTo>
                  <a:pt x="1527809" y="112799"/>
                </a:moveTo>
                <a:cubicBezTo>
                  <a:pt x="1736145" y="255085"/>
                  <a:pt x="1910079" y="443973"/>
                  <a:pt x="2033951" y="664748"/>
                </a:cubicBezTo>
                <a:cubicBezTo>
                  <a:pt x="1875578" y="723616"/>
                  <a:pt x="1705238" y="756901"/>
                  <a:pt x="1527809" y="760394"/>
                </a:cubicBezTo>
                <a:close/>
                <a:moveTo>
                  <a:pt x="1632157" y="1693"/>
                </a:moveTo>
                <a:cubicBezTo>
                  <a:pt x="1969090" y="34839"/>
                  <a:pt x="2272411" y="181752"/>
                  <a:pt x="2502559" y="404493"/>
                </a:cubicBezTo>
                <a:cubicBezTo>
                  <a:pt x="2392455" y="493535"/>
                  <a:pt x="2270018" y="567692"/>
                  <a:pt x="2138287" y="624414"/>
                </a:cubicBezTo>
                <a:cubicBezTo>
                  <a:pt x="2004803" y="382989"/>
                  <a:pt x="1815448" y="176841"/>
                  <a:pt x="1587368" y="23269"/>
                </a:cubicBezTo>
                <a:close/>
                <a:moveTo>
                  <a:pt x="1333466" y="0"/>
                </a:moveTo>
                <a:lnTo>
                  <a:pt x="1376468" y="23177"/>
                </a:lnTo>
                <a:cubicBezTo>
                  <a:pt x="1149236" y="178863"/>
                  <a:pt x="960516" y="386575"/>
                  <a:pt x="827965" y="629347"/>
                </a:cubicBezTo>
                <a:cubicBezTo>
                  <a:pt x="692459" y="571593"/>
                  <a:pt x="566467" y="495851"/>
                  <a:pt x="453430" y="404475"/>
                </a:cubicBezTo>
                <a:cubicBezTo>
                  <a:pt x="685742" y="179438"/>
                  <a:pt x="992667" y="31629"/>
                  <a:pt x="133346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65000"/>
                  <a:lumOff val="35000"/>
                </a:schemeClr>
              </a:solidFill>
            </a:endParaRPr>
          </a:p>
        </p:txBody>
      </p:sp>
      <p:grpSp>
        <p:nvGrpSpPr>
          <p:cNvPr id="30" name="그룹 38">
            <a:extLst>
              <a:ext uri="{FF2B5EF4-FFF2-40B4-BE49-F238E27FC236}">
                <a16:creationId xmlns:a16="http://schemas.microsoft.com/office/drawing/2014/main" id="{CA80B77C-EB5C-EF4A-866D-C26ECDB9816C}"/>
              </a:ext>
            </a:extLst>
          </p:cNvPr>
          <p:cNvGrpSpPr/>
          <p:nvPr/>
        </p:nvGrpSpPr>
        <p:grpSpPr>
          <a:xfrm>
            <a:off x="3983774" y="3562138"/>
            <a:ext cx="3197984" cy="1845978"/>
            <a:chOff x="2459774" y="3503899"/>
            <a:chExt cx="3197984" cy="1845978"/>
          </a:xfrm>
          <a:solidFill>
            <a:schemeClr val="accent1"/>
          </a:solidFill>
        </p:grpSpPr>
        <p:sp>
          <p:nvSpPr>
            <p:cNvPr id="31" name="Rectangle 29">
              <a:extLst>
                <a:ext uri="{FF2B5EF4-FFF2-40B4-BE49-F238E27FC236}">
                  <a16:creationId xmlns:a16="http://schemas.microsoft.com/office/drawing/2014/main" id="{73D09C95-A7BA-8C4B-8022-348A8FF82C1F}"/>
                </a:ext>
              </a:extLst>
            </p:cNvPr>
            <p:cNvSpPr/>
            <p:nvPr/>
          </p:nvSpPr>
          <p:spPr>
            <a:xfrm rot="10800000">
              <a:off x="3091098" y="3503899"/>
              <a:ext cx="2566660" cy="1789264"/>
            </a:xfrm>
            <a:custGeom>
              <a:avLst/>
              <a:gdLst>
                <a:gd name="connsiteX0" fmla="*/ 1175617 w 2534905"/>
                <a:gd name="connsiteY0" fmla="*/ 0 h 1809852"/>
                <a:gd name="connsiteX1" fmla="*/ 2534905 w 2534905"/>
                <a:gd name="connsiteY1" fmla="*/ 0 h 1809852"/>
                <a:gd name="connsiteX2" fmla="*/ 2534905 w 2534905"/>
                <a:gd name="connsiteY2" fmla="*/ 386082 h 1809852"/>
                <a:gd name="connsiteX3" fmla="*/ 1184707 w 2534905"/>
                <a:gd name="connsiteY3" fmla="*/ 386082 h 1809852"/>
                <a:gd name="connsiteX4" fmla="*/ 281517 w 2534905"/>
                <a:gd name="connsiteY4" fmla="*/ 997020 h 1809852"/>
                <a:gd name="connsiteX5" fmla="*/ 1183118 w 2534905"/>
                <a:gd name="connsiteY5" fmla="*/ 1721379 h 1809852"/>
                <a:gd name="connsiteX6" fmla="*/ 12 w 2534905"/>
                <a:gd name="connsiteY6" fmla="*/ 921450 h 1809852"/>
                <a:gd name="connsiteX7" fmla="*/ 1175617 w 2534905"/>
                <a:gd name="connsiteY7" fmla="*/ 473 h 1809852"/>
                <a:gd name="connsiteX8" fmla="*/ 1175617 w 2534905"/>
                <a:gd name="connsiteY8" fmla="*/ 0 h 1809852"/>
                <a:gd name="connsiteX0" fmla="*/ 1175617 w 2534905"/>
                <a:gd name="connsiteY0" fmla="*/ 0 h 1809852"/>
                <a:gd name="connsiteX1" fmla="*/ 2534905 w 2534905"/>
                <a:gd name="connsiteY1" fmla="*/ 0 h 1809852"/>
                <a:gd name="connsiteX2" fmla="*/ 2534905 w 2534905"/>
                <a:gd name="connsiteY2" fmla="*/ 386082 h 1809852"/>
                <a:gd name="connsiteX3" fmla="*/ 1184707 w 2534905"/>
                <a:gd name="connsiteY3" fmla="*/ 386082 h 1809852"/>
                <a:gd name="connsiteX4" fmla="*/ 281517 w 2534905"/>
                <a:gd name="connsiteY4" fmla="*/ 997020 h 1809852"/>
                <a:gd name="connsiteX5" fmla="*/ 1183118 w 2534905"/>
                <a:gd name="connsiteY5" fmla="*/ 1721379 h 1809852"/>
                <a:gd name="connsiteX6" fmla="*/ 12 w 2534905"/>
                <a:gd name="connsiteY6" fmla="*/ 921450 h 1809852"/>
                <a:gd name="connsiteX7" fmla="*/ 1175617 w 2534905"/>
                <a:gd name="connsiteY7" fmla="*/ 473 h 1809852"/>
                <a:gd name="connsiteX8" fmla="*/ 1175617 w 2534905"/>
                <a:gd name="connsiteY8" fmla="*/ 0 h 1809852"/>
                <a:gd name="connsiteX0" fmla="*/ 1207346 w 2566634"/>
                <a:gd name="connsiteY0" fmla="*/ 0 h 1812297"/>
                <a:gd name="connsiteX1" fmla="*/ 2566634 w 2566634"/>
                <a:gd name="connsiteY1" fmla="*/ 0 h 1812297"/>
                <a:gd name="connsiteX2" fmla="*/ 2566634 w 2566634"/>
                <a:gd name="connsiteY2" fmla="*/ 386082 h 1812297"/>
                <a:gd name="connsiteX3" fmla="*/ 1216436 w 2566634"/>
                <a:gd name="connsiteY3" fmla="*/ 386082 h 1812297"/>
                <a:gd name="connsiteX4" fmla="*/ 313246 w 2566634"/>
                <a:gd name="connsiteY4" fmla="*/ 997020 h 1812297"/>
                <a:gd name="connsiteX5" fmla="*/ 1214847 w 2566634"/>
                <a:gd name="connsiteY5" fmla="*/ 1721379 h 1812297"/>
                <a:gd name="connsiteX6" fmla="*/ 11 w 2566634"/>
                <a:gd name="connsiteY6" fmla="*/ 935873 h 1812297"/>
                <a:gd name="connsiteX7" fmla="*/ 1207346 w 2566634"/>
                <a:gd name="connsiteY7" fmla="*/ 473 h 1812297"/>
                <a:gd name="connsiteX8" fmla="*/ 1207346 w 2566634"/>
                <a:gd name="connsiteY8" fmla="*/ 0 h 1812297"/>
                <a:gd name="connsiteX0" fmla="*/ 1207796 w 2567084"/>
                <a:gd name="connsiteY0" fmla="*/ 0 h 1812297"/>
                <a:gd name="connsiteX1" fmla="*/ 2567084 w 2567084"/>
                <a:gd name="connsiteY1" fmla="*/ 0 h 1812297"/>
                <a:gd name="connsiteX2" fmla="*/ 2567084 w 2567084"/>
                <a:gd name="connsiteY2" fmla="*/ 386082 h 1812297"/>
                <a:gd name="connsiteX3" fmla="*/ 1216886 w 2567084"/>
                <a:gd name="connsiteY3" fmla="*/ 386082 h 1812297"/>
                <a:gd name="connsiteX4" fmla="*/ 313696 w 2567084"/>
                <a:gd name="connsiteY4" fmla="*/ 997020 h 1812297"/>
                <a:gd name="connsiteX5" fmla="*/ 1215297 w 2567084"/>
                <a:gd name="connsiteY5" fmla="*/ 1721379 h 1812297"/>
                <a:gd name="connsiteX6" fmla="*/ 461 w 2567084"/>
                <a:gd name="connsiteY6" fmla="*/ 935873 h 1812297"/>
                <a:gd name="connsiteX7" fmla="*/ 1207796 w 2567084"/>
                <a:gd name="connsiteY7" fmla="*/ 473 h 1812297"/>
                <a:gd name="connsiteX8" fmla="*/ 1207796 w 2567084"/>
                <a:gd name="connsiteY8" fmla="*/ 0 h 1812297"/>
                <a:gd name="connsiteX0" fmla="*/ 1207796 w 2567084"/>
                <a:gd name="connsiteY0" fmla="*/ 0 h 1791348"/>
                <a:gd name="connsiteX1" fmla="*/ 2567084 w 2567084"/>
                <a:gd name="connsiteY1" fmla="*/ 0 h 1791348"/>
                <a:gd name="connsiteX2" fmla="*/ 2567084 w 2567084"/>
                <a:gd name="connsiteY2" fmla="*/ 386082 h 1791348"/>
                <a:gd name="connsiteX3" fmla="*/ 1216886 w 2567084"/>
                <a:gd name="connsiteY3" fmla="*/ 386082 h 1791348"/>
                <a:gd name="connsiteX4" fmla="*/ 313696 w 2567084"/>
                <a:gd name="connsiteY4" fmla="*/ 997020 h 1791348"/>
                <a:gd name="connsiteX5" fmla="*/ 1215297 w 2567084"/>
                <a:gd name="connsiteY5" fmla="*/ 1721379 h 1791348"/>
                <a:gd name="connsiteX6" fmla="*/ 461 w 2567084"/>
                <a:gd name="connsiteY6" fmla="*/ 935873 h 1791348"/>
                <a:gd name="connsiteX7" fmla="*/ 1207796 w 2567084"/>
                <a:gd name="connsiteY7" fmla="*/ 473 h 1791348"/>
                <a:gd name="connsiteX8" fmla="*/ 1207796 w 2567084"/>
                <a:gd name="connsiteY8" fmla="*/ 0 h 1791348"/>
                <a:gd name="connsiteX0" fmla="*/ 1207796 w 2567084"/>
                <a:gd name="connsiteY0" fmla="*/ 0 h 1801236"/>
                <a:gd name="connsiteX1" fmla="*/ 2567084 w 2567084"/>
                <a:gd name="connsiteY1" fmla="*/ 0 h 1801236"/>
                <a:gd name="connsiteX2" fmla="*/ 2567084 w 2567084"/>
                <a:gd name="connsiteY2" fmla="*/ 386082 h 1801236"/>
                <a:gd name="connsiteX3" fmla="*/ 1216886 w 2567084"/>
                <a:gd name="connsiteY3" fmla="*/ 386082 h 1801236"/>
                <a:gd name="connsiteX4" fmla="*/ 313696 w 2567084"/>
                <a:gd name="connsiteY4" fmla="*/ 997020 h 1801236"/>
                <a:gd name="connsiteX5" fmla="*/ 1215297 w 2567084"/>
                <a:gd name="connsiteY5" fmla="*/ 1721379 h 1801236"/>
                <a:gd name="connsiteX6" fmla="*/ 461 w 2567084"/>
                <a:gd name="connsiteY6" fmla="*/ 935873 h 1801236"/>
                <a:gd name="connsiteX7" fmla="*/ 1207796 w 2567084"/>
                <a:gd name="connsiteY7" fmla="*/ 473 h 1801236"/>
                <a:gd name="connsiteX8" fmla="*/ 1207796 w 2567084"/>
                <a:gd name="connsiteY8" fmla="*/ 0 h 1801236"/>
                <a:gd name="connsiteX0" fmla="*/ 1207796 w 2567084"/>
                <a:gd name="connsiteY0" fmla="*/ 0 h 1811853"/>
                <a:gd name="connsiteX1" fmla="*/ 2567084 w 2567084"/>
                <a:gd name="connsiteY1" fmla="*/ 0 h 1811853"/>
                <a:gd name="connsiteX2" fmla="*/ 2567084 w 2567084"/>
                <a:gd name="connsiteY2" fmla="*/ 386082 h 1811853"/>
                <a:gd name="connsiteX3" fmla="*/ 1216886 w 2567084"/>
                <a:gd name="connsiteY3" fmla="*/ 386082 h 1811853"/>
                <a:gd name="connsiteX4" fmla="*/ 313696 w 2567084"/>
                <a:gd name="connsiteY4" fmla="*/ 997020 h 1811853"/>
                <a:gd name="connsiteX5" fmla="*/ 1215297 w 2567084"/>
                <a:gd name="connsiteY5" fmla="*/ 1721379 h 1811853"/>
                <a:gd name="connsiteX6" fmla="*/ 461 w 2567084"/>
                <a:gd name="connsiteY6" fmla="*/ 935873 h 1811853"/>
                <a:gd name="connsiteX7" fmla="*/ 1207796 w 2567084"/>
                <a:gd name="connsiteY7" fmla="*/ 473 h 1811853"/>
                <a:gd name="connsiteX8" fmla="*/ 1207796 w 2567084"/>
                <a:gd name="connsiteY8" fmla="*/ 0 h 1811853"/>
                <a:gd name="connsiteX0" fmla="*/ 1207796 w 2567084"/>
                <a:gd name="connsiteY0" fmla="*/ 0 h 1813194"/>
                <a:gd name="connsiteX1" fmla="*/ 2567084 w 2567084"/>
                <a:gd name="connsiteY1" fmla="*/ 0 h 1813194"/>
                <a:gd name="connsiteX2" fmla="*/ 2567084 w 2567084"/>
                <a:gd name="connsiteY2" fmla="*/ 386082 h 1813194"/>
                <a:gd name="connsiteX3" fmla="*/ 1216886 w 2567084"/>
                <a:gd name="connsiteY3" fmla="*/ 386082 h 1813194"/>
                <a:gd name="connsiteX4" fmla="*/ 313696 w 2567084"/>
                <a:gd name="connsiteY4" fmla="*/ 997020 h 1813194"/>
                <a:gd name="connsiteX5" fmla="*/ 1215297 w 2567084"/>
                <a:gd name="connsiteY5" fmla="*/ 1721379 h 1813194"/>
                <a:gd name="connsiteX6" fmla="*/ 461 w 2567084"/>
                <a:gd name="connsiteY6" fmla="*/ 935873 h 1813194"/>
                <a:gd name="connsiteX7" fmla="*/ 1207796 w 2567084"/>
                <a:gd name="connsiteY7" fmla="*/ 473 h 1813194"/>
                <a:gd name="connsiteX8" fmla="*/ 1207796 w 2567084"/>
                <a:gd name="connsiteY8" fmla="*/ 0 h 1813194"/>
                <a:gd name="connsiteX0" fmla="*/ 1207372 w 2566660"/>
                <a:gd name="connsiteY0" fmla="*/ 0 h 1813194"/>
                <a:gd name="connsiteX1" fmla="*/ 2566660 w 2566660"/>
                <a:gd name="connsiteY1" fmla="*/ 0 h 1813194"/>
                <a:gd name="connsiteX2" fmla="*/ 2566660 w 2566660"/>
                <a:gd name="connsiteY2" fmla="*/ 386082 h 1813194"/>
                <a:gd name="connsiteX3" fmla="*/ 1216462 w 2566660"/>
                <a:gd name="connsiteY3" fmla="*/ 386082 h 1813194"/>
                <a:gd name="connsiteX4" fmla="*/ 313272 w 2566660"/>
                <a:gd name="connsiteY4" fmla="*/ 997020 h 1813194"/>
                <a:gd name="connsiteX5" fmla="*/ 1214873 w 2566660"/>
                <a:gd name="connsiteY5" fmla="*/ 1721379 h 1813194"/>
                <a:gd name="connsiteX6" fmla="*/ 37 w 2566660"/>
                <a:gd name="connsiteY6" fmla="*/ 935873 h 1813194"/>
                <a:gd name="connsiteX7" fmla="*/ 1207372 w 2566660"/>
                <a:gd name="connsiteY7" fmla="*/ 473 h 1813194"/>
                <a:gd name="connsiteX8" fmla="*/ 1207372 w 2566660"/>
                <a:gd name="connsiteY8" fmla="*/ 0 h 1813194"/>
                <a:gd name="connsiteX0" fmla="*/ 1207372 w 2566660"/>
                <a:gd name="connsiteY0" fmla="*/ 0 h 1795638"/>
                <a:gd name="connsiteX1" fmla="*/ 2566660 w 2566660"/>
                <a:gd name="connsiteY1" fmla="*/ 0 h 1795638"/>
                <a:gd name="connsiteX2" fmla="*/ 2566660 w 2566660"/>
                <a:gd name="connsiteY2" fmla="*/ 386082 h 1795638"/>
                <a:gd name="connsiteX3" fmla="*/ 1216462 w 2566660"/>
                <a:gd name="connsiteY3" fmla="*/ 386082 h 1795638"/>
                <a:gd name="connsiteX4" fmla="*/ 313272 w 2566660"/>
                <a:gd name="connsiteY4" fmla="*/ 997020 h 1795638"/>
                <a:gd name="connsiteX5" fmla="*/ 1314886 w 2566660"/>
                <a:gd name="connsiteY5" fmla="*/ 1699948 h 1795638"/>
                <a:gd name="connsiteX6" fmla="*/ 37 w 2566660"/>
                <a:gd name="connsiteY6" fmla="*/ 935873 h 1795638"/>
                <a:gd name="connsiteX7" fmla="*/ 1207372 w 2566660"/>
                <a:gd name="connsiteY7" fmla="*/ 473 h 1795638"/>
                <a:gd name="connsiteX8" fmla="*/ 1207372 w 2566660"/>
                <a:gd name="connsiteY8" fmla="*/ 0 h 1795638"/>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4067"/>
                <a:gd name="connsiteX1" fmla="*/ 2566660 w 2566660"/>
                <a:gd name="connsiteY1" fmla="*/ 0 h 1784067"/>
                <a:gd name="connsiteX2" fmla="*/ 2566660 w 2566660"/>
                <a:gd name="connsiteY2" fmla="*/ 386082 h 1784067"/>
                <a:gd name="connsiteX3" fmla="*/ 1216462 w 2566660"/>
                <a:gd name="connsiteY3" fmla="*/ 386082 h 1784067"/>
                <a:gd name="connsiteX4" fmla="*/ 313272 w 2566660"/>
                <a:gd name="connsiteY4" fmla="*/ 997020 h 1784067"/>
                <a:gd name="connsiteX5" fmla="*/ 1314886 w 2566660"/>
                <a:gd name="connsiteY5" fmla="*/ 1685660 h 1784067"/>
                <a:gd name="connsiteX6" fmla="*/ 37 w 2566660"/>
                <a:gd name="connsiteY6" fmla="*/ 935873 h 1784067"/>
                <a:gd name="connsiteX7" fmla="*/ 1207372 w 2566660"/>
                <a:gd name="connsiteY7" fmla="*/ 473 h 1784067"/>
                <a:gd name="connsiteX8" fmla="*/ 1207372 w 2566660"/>
                <a:gd name="connsiteY8" fmla="*/ 0 h 1784067"/>
                <a:gd name="connsiteX0" fmla="*/ 1207372 w 2566660"/>
                <a:gd name="connsiteY0" fmla="*/ 0 h 1789264"/>
                <a:gd name="connsiteX1" fmla="*/ 2566660 w 2566660"/>
                <a:gd name="connsiteY1" fmla="*/ 0 h 1789264"/>
                <a:gd name="connsiteX2" fmla="*/ 2566660 w 2566660"/>
                <a:gd name="connsiteY2" fmla="*/ 386082 h 1789264"/>
                <a:gd name="connsiteX3" fmla="*/ 1216462 w 2566660"/>
                <a:gd name="connsiteY3" fmla="*/ 386082 h 1789264"/>
                <a:gd name="connsiteX4" fmla="*/ 313272 w 2566660"/>
                <a:gd name="connsiteY4" fmla="*/ 997020 h 1789264"/>
                <a:gd name="connsiteX5" fmla="*/ 1314886 w 2566660"/>
                <a:gd name="connsiteY5" fmla="*/ 1685660 h 1789264"/>
                <a:gd name="connsiteX6" fmla="*/ 37 w 2566660"/>
                <a:gd name="connsiteY6" fmla="*/ 935873 h 1789264"/>
                <a:gd name="connsiteX7" fmla="*/ 1207372 w 2566660"/>
                <a:gd name="connsiteY7" fmla="*/ 473 h 1789264"/>
                <a:gd name="connsiteX8" fmla="*/ 1207372 w 2566660"/>
                <a:gd name="connsiteY8" fmla="*/ 0 h 178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6660" h="1789264">
                  <a:moveTo>
                    <a:pt x="1207372" y="0"/>
                  </a:moveTo>
                  <a:lnTo>
                    <a:pt x="2566660" y="0"/>
                  </a:lnTo>
                  <a:lnTo>
                    <a:pt x="2566660" y="386082"/>
                  </a:lnTo>
                  <a:lnTo>
                    <a:pt x="1216462" y="386082"/>
                  </a:lnTo>
                  <a:cubicBezTo>
                    <a:pt x="792910" y="393759"/>
                    <a:pt x="369863" y="541922"/>
                    <a:pt x="313272" y="997020"/>
                  </a:cubicBezTo>
                  <a:cubicBezTo>
                    <a:pt x="270385" y="1456741"/>
                    <a:pt x="724588" y="1931544"/>
                    <a:pt x="1314886" y="1685660"/>
                  </a:cubicBezTo>
                  <a:cubicBezTo>
                    <a:pt x="1005782" y="1919067"/>
                    <a:pt x="4004" y="1794352"/>
                    <a:pt x="37" y="935873"/>
                  </a:cubicBezTo>
                  <a:cubicBezTo>
                    <a:pt x="-6614" y="195373"/>
                    <a:pt x="891136" y="4432"/>
                    <a:pt x="1207372" y="473"/>
                  </a:cubicBezTo>
                  <a:lnTo>
                    <a:pt x="120737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Isosceles Triangle 25">
              <a:extLst>
                <a:ext uri="{FF2B5EF4-FFF2-40B4-BE49-F238E27FC236}">
                  <a16:creationId xmlns:a16="http://schemas.microsoft.com/office/drawing/2014/main" id="{A36B6E15-BB11-7A47-ADF0-F2E357980E77}"/>
                </a:ext>
              </a:extLst>
            </p:cNvPr>
            <p:cNvSpPr/>
            <p:nvPr/>
          </p:nvSpPr>
          <p:spPr>
            <a:xfrm rot="16200000">
              <a:off x="2513828" y="4760131"/>
              <a:ext cx="535692" cy="64379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33" name="그룹 37">
            <a:extLst>
              <a:ext uri="{FF2B5EF4-FFF2-40B4-BE49-F238E27FC236}">
                <a16:creationId xmlns:a16="http://schemas.microsoft.com/office/drawing/2014/main" id="{6DF18357-2B4F-6742-8E5E-EEB8BAAA5856}"/>
              </a:ext>
            </a:extLst>
          </p:cNvPr>
          <p:cNvGrpSpPr/>
          <p:nvPr/>
        </p:nvGrpSpPr>
        <p:grpSpPr>
          <a:xfrm>
            <a:off x="4372289" y="3598954"/>
            <a:ext cx="2499452" cy="1423077"/>
            <a:chOff x="2848289" y="3540714"/>
            <a:chExt cx="2499452" cy="1423077"/>
          </a:xfrm>
          <a:solidFill>
            <a:schemeClr val="accent1">
              <a:lumMod val="75000"/>
            </a:schemeClr>
          </a:solidFill>
        </p:grpSpPr>
        <p:sp>
          <p:nvSpPr>
            <p:cNvPr id="34" name="Rectangle 28">
              <a:extLst>
                <a:ext uri="{FF2B5EF4-FFF2-40B4-BE49-F238E27FC236}">
                  <a16:creationId xmlns:a16="http://schemas.microsoft.com/office/drawing/2014/main" id="{68673A6C-65F1-6A47-AD7B-9B7264B60BD0}"/>
                </a:ext>
              </a:extLst>
            </p:cNvPr>
            <p:cNvSpPr/>
            <p:nvPr/>
          </p:nvSpPr>
          <p:spPr>
            <a:xfrm rot="10800000">
              <a:off x="3479361" y="3540714"/>
              <a:ext cx="1868380" cy="1366361"/>
            </a:xfrm>
            <a:custGeom>
              <a:avLst/>
              <a:gdLst>
                <a:gd name="connsiteX0" fmla="*/ 902987 w 1868306"/>
                <a:gd name="connsiteY0" fmla="*/ 0 h 1356095"/>
                <a:gd name="connsiteX1" fmla="*/ 903021 w 1868306"/>
                <a:gd name="connsiteY1" fmla="*/ 5072 h 1356095"/>
                <a:gd name="connsiteX2" fmla="*/ 1868306 w 1868306"/>
                <a:gd name="connsiteY2" fmla="*/ 5072 h 1356095"/>
                <a:gd name="connsiteX3" fmla="*/ 1868306 w 1868306"/>
                <a:gd name="connsiteY3" fmla="*/ 391154 h 1356095"/>
                <a:gd name="connsiteX4" fmla="*/ 897279 w 1868306"/>
                <a:gd name="connsiteY4" fmla="*/ 391154 h 1356095"/>
                <a:gd name="connsiteX5" fmla="*/ 897279 w 1868306"/>
                <a:gd name="connsiteY5" fmla="*/ 391144 h 1356095"/>
                <a:gd name="connsiteX6" fmla="*/ 384895 w 1868306"/>
                <a:gd name="connsiteY6" fmla="*/ 684842 h 1356095"/>
                <a:gd name="connsiteX7" fmla="*/ 388217 w 1868306"/>
                <a:gd name="connsiteY7" fmla="*/ 1117302 h 1356095"/>
                <a:gd name="connsiteX8" fmla="*/ 894654 w 1868306"/>
                <a:gd name="connsiteY8" fmla="*/ 1335893 h 1356095"/>
                <a:gd name="connsiteX9" fmla="*/ 3 w 1868306"/>
                <a:gd name="connsiteY9" fmla="*/ 673635 h 1356095"/>
                <a:gd name="connsiteX10" fmla="*/ 902987 w 1868306"/>
                <a:gd name="connsiteY10" fmla="*/ 0 h 1356095"/>
                <a:gd name="connsiteX0" fmla="*/ 902987 w 1868306"/>
                <a:gd name="connsiteY0" fmla="*/ 0 h 1356095"/>
                <a:gd name="connsiteX1" fmla="*/ 903021 w 1868306"/>
                <a:gd name="connsiteY1" fmla="*/ 5072 h 1356095"/>
                <a:gd name="connsiteX2" fmla="*/ 1868306 w 1868306"/>
                <a:gd name="connsiteY2" fmla="*/ 5072 h 1356095"/>
                <a:gd name="connsiteX3" fmla="*/ 1868306 w 1868306"/>
                <a:gd name="connsiteY3" fmla="*/ 391154 h 1356095"/>
                <a:gd name="connsiteX4" fmla="*/ 897279 w 1868306"/>
                <a:gd name="connsiteY4" fmla="*/ 391154 h 1356095"/>
                <a:gd name="connsiteX5" fmla="*/ 897279 w 1868306"/>
                <a:gd name="connsiteY5" fmla="*/ 391144 h 1356095"/>
                <a:gd name="connsiteX6" fmla="*/ 384895 w 1868306"/>
                <a:gd name="connsiteY6" fmla="*/ 684842 h 1356095"/>
                <a:gd name="connsiteX7" fmla="*/ 388217 w 1868306"/>
                <a:gd name="connsiteY7" fmla="*/ 1117302 h 1356095"/>
                <a:gd name="connsiteX8" fmla="*/ 894654 w 1868306"/>
                <a:gd name="connsiteY8" fmla="*/ 1335893 h 1356095"/>
                <a:gd name="connsiteX9" fmla="*/ 3 w 1868306"/>
                <a:gd name="connsiteY9" fmla="*/ 673635 h 1356095"/>
                <a:gd name="connsiteX10" fmla="*/ 902987 w 1868306"/>
                <a:gd name="connsiteY10" fmla="*/ 0 h 1356095"/>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3 w 1868306"/>
                <a:gd name="connsiteY0" fmla="*/ 668563 h 1350999"/>
                <a:gd name="connsiteX1" fmla="*/ 903021 w 1868306"/>
                <a:gd name="connsiteY1" fmla="*/ 0 h 1350999"/>
                <a:gd name="connsiteX2" fmla="*/ 1868306 w 1868306"/>
                <a:gd name="connsiteY2" fmla="*/ 0 h 1350999"/>
                <a:gd name="connsiteX3" fmla="*/ 1868306 w 1868306"/>
                <a:gd name="connsiteY3" fmla="*/ 386082 h 1350999"/>
                <a:gd name="connsiteX4" fmla="*/ 897279 w 1868306"/>
                <a:gd name="connsiteY4" fmla="*/ 386082 h 1350999"/>
                <a:gd name="connsiteX5" fmla="*/ 897279 w 1868306"/>
                <a:gd name="connsiteY5" fmla="*/ 386072 h 1350999"/>
                <a:gd name="connsiteX6" fmla="*/ 384895 w 1868306"/>
                <a:gd name="connsiteY6" fmla="*/ 679770 h 1350999"/>
                <a:gd name="connsiteX7" fmla="*/ 388217 w 1868306"/>
                <a:gd name="connsiteY7" fmla="*/ 1112230 h 1350999"/>
                <a:gd name="connsiteX8" fmla="*/ 894654 w 1868306"/>
                <a:gd name="connsiteY8" fmla="*/ 1330821 h 1350999"/>
                <a:gd name="connsiteX9" fmla="*/ 3 w 1868306"/>
                <a:gd name="connsiteY9" fmla="*/ 668563 h 1350999"/>
                <a:gd name="connsiteX0" fmla="*/ 6 w 1868309"/>
                <a:gd name="connsiteY0" fmla="*/ 668563 h 1367962"/>
                <a:gd name="connsiteX1" fmla="*/ 903024 w 1868309"/>
                <a:gd name="connsiteY1" fmla="*/ 0 h 1367962"/>
                <a:gd name="connsiteX2" fmla="*/ 1868309 w 1868309"/>
                <a:gd name="connsiteY2" fmla="*/ 0 h 1367962"/>
                <a:gd name="connsiteX3" fmla="*/ 1868309 w 1868309"/>
                <a:gd name="connsiteY3" fmla="*/ 386082 h 1367962"/>
                <a:gd name="connsiteX4" fmla="*/ 897282 w 1868309"/>
                <a:gd name="connsiteY4" fmla="*/ 386082 h 1367962"/>
                <a:gd name="connsiteX5" fmla="*/ 897282 w 1868309"/>
                <a:gd name="connsiteY5" fmla="*/ 386072 h 1367962"/>
                <a:gd name="connsiteX6" fmla="*/ 384898 w 1868309"/>
                <a:gd name="connsiteY6" fmla="*/ 679770 h 1367962"/>
                <a:gd name="connsiteX7" fmla="*/ 388220 w 1868309"/>
                <a:gd name="connsiteY7" fmla="*/ 1112230 h 1367962"/>
                <a:gd name="connsiteX8" fmla="*/ 894657 w 1868309"/>
                <a:gd name="connsiteY8" fmla="*/ 1330821 h 1367962"/>
                <a:gd name="connsiteX9" fmla="*/ 6 w 1868309"/>
                <a:gd name="connsiteY9" fmla="*/ 668563 h 1367962"/>
                <a:gd name="connsiteX0" fmla="*/ 498 w 1868801"/>
                <a:gd name="connsiteY0" fmla="*/ 668563 h 1365568"/>
                <a:gd name="connsiteX1" fmla="*/ 903516 w 1868801"/>
                <a:gd name="connsiteY1" fmla="*/ 0 h 1365568"/>
                <a:gd name="connsiteX2" fmla="*/ 1868801 w 1868801"/>
                <a:gd name="connsiteY2" fmla="*/ 0 h 1365568"/>
                <a:gd name="connsiteX3" fmla="*/ 1868801 w 1868801"/>
                <a:gd name="connsiteY3" fmla="*/ 386082 h 1365568"/>
                <a:gd name="connsiteX4" fmla="*/ 897774 w 1868801"/>
                <a:gd name="connsiteY4" fmla="*/ 386082 h 1365568"/>
                <a:gd name="connsiteX5" fmla="*/ 897774 w 1868801"/>
                <a:gd name="connsiteY5" fmla="*/ 386072 h 1365568"/>
                <a:gd name="connsiteX6" fmla="*/ 385390 w 1868801"/>
                <a:gd name="connsiteY6" fmla="*/ 679770 h 1365568"/>
                <a:gd name="connsiteX7" fmla="*/ 388712 w 1868801"/>
                <a:gd name="connsiteY7" fmla="*/ 1112230 h 1365568"/>
                <a:gd name="connsiteX8" fmla="*/ 895149 w 1868801"/>
                <a:gd name="connsiteY8" fmla="*/ 1330821 h 1365568"/>
                <a:gd name="connsiteX9" fmla="*/ 498 w 1868801"/>
                <a:gd name="connsiteY9" fmla="*/ 668563 h 1365568"/>
                <a:gd name="connsiteX0" fmla="*/ 681 w 1868984"/>
                <a:gd name="connsiteY0" fmla="*/ 668563 h 1367232"/>
                <a:gd name="connsiteX1" fmla="*/ 903699 w 1868984"/>
                <a:gd name="connsiteY1" fmla="*/ 0 h 1367232"/>
                <a:gd name="connsiteX2" fmla="*/ 1868984 w 1868984"/>
                <a:gd name="connsiteY2" fmla="*/ 0 h 1367232"/>
                <a:gd name="connsiteX3" fmla="*/ 1868984 w 1868984"/>
                <a:gd name="connsiteY3" fmla="*/ 386082 h 1367232"/>
                <a:gd name="connsiteX4" fmla="*/ 897957 w 1868984"/>
                <a:gd name="connsiteY4" fmla="*/ 386082 h 1367232"/>
                <a:gd name="connsiteX5" fmla="*/ 897957 w 1868984"/>
                <a:gd name="connsiteY5" fmla="*/ 386072 h 1367232"/>
                <a:gd name="connsiteX6" fmla="*/ 385573 w 1868984"/>
                <a:gd name="connsiteY6" fmla="*/ 679770 h 1367232"/>
                <a:gd name="connsiteX7" fmla="*/ 388895 w 1868984"/>
                <a:gd name="connsiteY7" fmla="*/ 1112230 h 1367232"/>
                <a:gd name="connsiteX8" fmla="*/ 895332 w 1868984"/>
                <a:gd name="connsiteY8" fmla="*/ 1330821 h 1367232"/>
                <a:gd name="connsiteX9" fmla="*/ 681 w 1868984"/>
                <a:gd name="connsiteY9" fmla="*/ 668563 h 1367232"/>
                <a:gd name="connsiteX0" fmla="*/ 2927 w 1871230"/>
                <a:gd name="connsiteY0" fmla="*/ 668563 h 1368608"/>
                <a:gd name="connsiteX1" fmla="*/ 905945 w 1871230"/>
                <a:gd name="connsiteY1" fmla="*/ 0 h 1368608"/>
                <a:gd name="connsiteX2" fmla="*/ 1871230 w 1871230"/>
                <a:gd name="connsiteY2" fmla="*/ 0 h 1368608"/>
                <a:gd name="connsiteX3" fmla="*/ 1871230 w 1871230"/>
                <a:gd name="connsiteY3" fmla="*/ 386082 h 1368608"/>
                <a:gd name="connsiteX4" fmla="*/ 900203 w 1871230"/>
                <a:gd name="connsiteY4" fmla="*/ 386082 h 1368608"/>
                <a:gd name="connsiteX5" fmla="*/ 900203 w 1871230"/>
                <a:gd name="connsiteY5" fmla="*/ 386072 h 1368608"/>
                <a:gd name="connsiteX6" fmla="*/ 387819 w 1871230"/>
                <a:gd name="connsiteY6" fmla="*/ 679770 h 1368608"/>
                <a:gd name="connsiteX7" fmla="*/ 391141 w 1871230"/>
                <a:gd name="connsiteY7" fmla="*/ 1112230 h 1368608"/>
                <a:gd name="connsiteX8" fmla="*/ 897578 w 1871230"/>
                <a:gd name="connsiteY8" fmla="*/ 1330821 h 1368608"/>
                <a:gd name="connsiteX9" fmla="*/ 2927 w 1871230"/>
                <a:gd name="connsiteY9" fmla="*/ 668563 h 1368608"/>
                <a:gd name="connsiteX0" fmla="*/ 682 w 1868985"/>
                <a:gd name="connsiteY0" fmla="*/ 668563 h 1368828"/>
                <a:gd name="connsiteX1" fmla="*/ 903700 w 1868985"/>
                <a:gd name="connsiteY1" fmla="*/ 0 h 1368828"/>
                <a:gd name="connsiteX2" fmla="*/ 1868985 w 1868985"/>
                <a:gd name="connsiteY2" fmla="*/ 0 h 1368828"/>
                <a:gd name="connsiteX3" fmla="*/ 1868985 w 1868985"/>
                <a:gd name="connsiteY3" fmla="*/ 386082 h 1368828"/>
                <a:gd name="connsiteX4" fmla="*/ 897958 w 1868985"/>
                <a:gd name="connsiteY4" fmla="*/ 386082 h 1368828"/>
                <a:gd name="connsiteX5" fmla="*/ 897958 w 1868985"/>
                <a:gd name="connsiteY5" fmla="*/ 386072 h 1368828"/>
                <a:gd name="connsiteX6" fmla="*/ 385574 w 1868985"/>
                <a:gd name="connsiteY6" fmla="*/ 679770 h 1368828"/>
                <a:gd name="connsiteX7" fmla="*/ 388896 w 1868985"/>
                <a:gd name="connsiteY7" fmla="*/ 1112230 h 1368828"/>
                <a:gd name="connsiteX8" fmla="*/ 895333 w 1868985"/>
                <a:gd name="connsiteY8" fmla="*/ 1330821 h 1368828"/>
                <a:gd name="connsiteX9" fmla="*/ 682 w 1868985"/>
                <a:gd name="connsiteY9" fmla="*/ 668563 h 1368828"/>
                <a:gd name="connsiteX0" fmla="*/ 214 w 1868517"/>
                <a:gd name="connsiteY0" fmla="*/ 668563 h 1369051"/>
                <a:gd name="connsiteX1" fmla="*/ 903232 w 1868517"/>
                <a:gd name="connsiteY1" fmla="*/ 0 h 1369051"/>
                <a:gd name="connsiteX2" fmla="*/ 1868517 w 1868517"/>
                <a:gd name="connsiteY2" fmla="*/ 0 h 1369051"/>
                <a:gd name="connsiteX3" fmla="*/ 1868517 w 1868517"/>
                <a:gd name="connsiteY3" fmla="*/ 386082 h 1369051"/>
                <a:gd name="connsiteX4" fmla="*/ 897490 w 1868517"/>
                <a:gd name="connsiteY4" fmla="*/ 386082 h 1369051"/>
                <a:gd name="connsiteX5" fmla="*/ 897490 w 1868517"/>
                <a:gd name="connsiteY5" fmla="*/ 386072 h 1369051"/>
                <a:gd name="connsiteX6" fmla="*/ 385106 w 1868517"/>
                <a:gd name="connsiteY6" fmla="*/ 679770 h 1369051"/>
                <a:gd name="connsiteX7" fmla="*/ 388428 w 1868517"/>
                <a:gd name="connsiteY7" fmla="*/ 1112230 h 1369051"/>
                <a:gd name="connsiteX8" fmla="*/ 894865 w 1868517"/>
                <a:gd name="connsiteY8" fmla="*/ 1330821 h 1369051"/>
                <a:gd name="connsiteX9" fmla="*/ 214 w 1868517"/>
                <a:gd name="connsiteY9" fmla="*/ 668563 h 1369051"/>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7 w 1868310"/>
                <a:gd name="connsiteY0" fmla="*/ 668563 h 1377115"/>
                <a:gd name="connsiteX1" fmla="*/ 903025 w 1868310"/>
                <a:gd name="connsiteY1" fmla="*/ 0 h 1377115"/>
                <a:gd name="connsiteX2" fmla="*/ 1868310 w 1868310"/>
                <a:gd name="connsiteY2" fmla="*/ 0 h 1377115"/>
                <a:gd name="connsiteX3" fmla="*/ 1868310 w 1868310"/>
                <a:gd name="connsiteY3" fmla="*/ 386082 h 1377115"/>
                <a:gd name="connsiteX4" fmla="*/ 897283 w 1868310"/>
                <a:gd name="connsiteY4" fmla="*/ 386082 h 1377115"/>
                <a:gd name="connsiteX5" fmla="*/ 897283 w 1868310"/>
                <a:gd name="connsiteY5" fmla="*/ 386072 h 1377115"/>
                <a:gd name="connsiteX6" fmla="*/ 384899 w 1868310"/>
                <a:gd name="connsiteY6" fmla="*/ 679770 h 1377115"/>
                <a:gd name="connsiteX7" fmla="*/ 388221 w 1868310"/>
                <a:gd name="connsiteY7" fmla="*/ 1112230 h 1377115"/>
                <a:gd name="connsiteX8" fmla="*/ 894658 w 1868310"/>
                <a:gd name="connsiteY8" fmla="*/ 1340346 h 1377115"/>
                <a:gd name="connsiteX9" fmla="*/ 7 w 1868310"/>
                <a:gd name="connsiteY9" fmla="*/ 668563 h 1377115"/>
                <a:gd name="connsiteX0" fmla="*/ 14 w 1868317"/>
                <a:gd name="connsiteY0" fmla="*/ 668563 h 1369639"/>
                <a:gd name="connsiteX1" fmla="*/ 903032 w 1868317"/>
                <a:gd name="connsiteY1" fmla="*/ 0 h 1369639"/>
                <a:gd name="connsiteX2" fmla="*/ 1868317 w 1868317"/>
                <a:gd name="connsiteY2" fmla="*/ 0 h 1369639"/>
                <a:gd name="connsiteX3" fmla="*/ 1868317 w 1868317"/>
                <a:gd name="connsiteY3" fmla="*/ 386082 h 1369639"/>
                <a:gd name="connsiteX4" fmla="*/ 897290 w 1868317"/>
                <a:gd name="connsiteY4" fmla="*/ 386082 h 1369639"/>
                <a:gd name="connsiteX5" fmla="*/ 897290 w 1868317"/>
                <a:gd name="connsiteY5" fmla="*/ 386072 h 1369639"/>
                <a:gd name="connsiteX6" fmla="*/ 384906 w 1868317"/>
                <a:gd name="connsiteY6" fmla="*/ 679770 h 1369639"/>
                <a:gd name="connsiteX7" fmla="*/ 388228 w 1868317"/>
                <a:gd name="connsiteY7" fmla="*/ 1112230 h 1369639"/>
                <a:gd name="connsiteX8" fmla="*/ 894665 w 1868317"/>
                <a:gd name="connsiteY8" fmla="*/ 1340346 h 1369639"/>
                <a:gd name="connsiteX9" fmla="*/ 14 w 1868317"/>
                <a:gd name="connsiteY9" fmla="*/ 668563 h 1369639"/>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4916 w 1868327"/>
                <a:gd name="connsiteY6" fmla="*/ 679770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12230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79146 w 1868327"/>
                <a:gd name="connsiteY6" fmla="*/ 668232 h 1355790"/>
                <a:gd name="connsiteX7" fmla="*/ 388238 w 1868327"/>
                <a:gd name="connsiteY7" fmla="*/ 1123768 h 1355790"/>
                <a:gd name="connsiteX8" fmla="*/ 894675 w 1868327"/>
                <a:gd name="connsiteY8" fmla="*/ 1340346 h 1355790"/>
                <a:gd name="connsiteX9" fmla="*/ 24 w 1868327"/>
                <a:gd name="connsiteY9"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24 w 1868327"/>
                <a:gd name="connsiteY0" fmla="*/ 668563 h 1355790"/>
                <a:gd name="connsiteX1" fmla="*/ 903042 w 1868327"/>
                <a:gd name="connsiteY1" fmla="*/ 0 h 1355790"/>
                <a:gd name="connsiteX2" fmla="*/ 1868327 w 1868327"/>
                <a:gd name="connsiteY2" fmla="*/ 0 h 1355790"/>
                <a:gd name="connsiteX3" fmla="*/ 1868327 w 1868327"/>
                <a:gd name="connsiteY3" fmla="*/ 386082 h 1355790"/>
                <a:gd name="connsiteX4" fmla="*/ 897300 w 1868327"/>
                <a:gd name="connsiteY4" fmla="*/ 386082 h 1355790"/>
                <a:gd name="connsiteX5" fmla="*/ 897300 w 1868327"/>
                <a:gd name="connsiteY5" fmla="*/ 386072 h 1355790"/>
                <a:gd name="connsiteX6" fmla="*/ 388238 w 1868327"/>
                <a:gd name="connsiteY6" fmla="*/ 1123768 h 1355790"/>
                <a:gd name="connsiteX7" fmla="*/ 894675 w 1868327"/>
                <a:gd name="connsiteY7" fmla="*/ 1340346 h 1355790"/>
                <a:gd name="connsiteX8" fmla="*/ 24 w 1868327"/>
                <a:gd name="connsiteY8" fmla="*/ 668563 h 1355790"/>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75 w 1868327"/>
                <a:gd name="connsiteY0" fmla="*/ 1340346 h 1431786"/>
                <a:gd name="connsiteX1" fmla="*/ 24 w 1868327"/>
                <a:gd name="connsiteY1" fmla="*/ 668563 h 1431786"/>
                <a:gd name="connsiteX2" fmla="*/ 903042 w 1868327"/>
                <a:gd name="connsiteY2" fmla="*/ 0 h 1431786"/>
                <a:gd name="connsiteX3" fmla="*/ 1868327 w 1868327"/>
                <a:gd name="connsiteY3" fmla="*/ 0 h 1431786"/>
                <a:gd name="connsiteX4" fmla="*/ 1868327 w 1868327"/>
                <a:gd name="connsiteY4" fmla="*/ 386082 h 1431786"/>
                <a:gd name="connsiteX5" fmla="*/ 897300 w 1868327"/>
                <a:gd name="connsiteY5" fmla="*/ 386082 h 1431786"/>
                <a:gd name="connsiteX6" fmla="*/ 897300 w 1868327"/>
                <a:gd name="connsiteY6" fmla="*/ 386072 h 1431786"/>
                <a:gd name="connsiteX7" fmla="*/ 388238 w 1868327"/>
                <a:gd name="connsiteY7" fmla="*/ 1123768 h 1431786"/>
                <a:gd name="connsiteX8" fmla="*/ 986115 w 1868327"/>
                <a:gd name="connsiteY8" fmla="*/ 1431786 h 1431786"/>
                <a:gd name="connsiteX0" fmla="*/ 894657 w 1868309"/>
                <a:gd name="connsiteY0" fmla="*/ 1340346 h 1431786"/>
                <a:gd name="connsiteX1" fmla="*/ 6 w 1868309"/>
                <a:gd name="connsiteY1" fmla="*/ 668563 h 1431786"/>
                <a:gd name="connsiteX2" fmla="*/ 903024 w 1868309"/>
                <a:gd name="connsiteY2" fmla="*/ 0 h 1431786"/>
                <a:gd name="connsiteX3" fmla="*/ 1868309 w 1868309"/>
                <a:gd name="connsiteY3" fmla="*/ 0 h 1431786"/>
                <a:gd name="connsiteX4" fmla="*/ 1868309 w 1868309"/>
                <a:gd name="connsiteY4" fmla="*/ 386082 h 1431786"/>
                <a:gd name="connsiteX5" fmla="*/ 897282 w 1868309"/>
                <a:gd name="connsiteY5" fmla="*/ 386082 h 1431786"/>
                <a:gd name="connsiteX6" fmla="*/ 897282 w 1868309"/>
                <a:gd name="connsiteY6" fmla="*/ 386072 h 1431786"/>
                <a:gd name="connsiteX7" fmla="*/ 388220 w 1868309"/>
                <a:gd name="connsiteY7" fmla="*/ 1123768 h 1431786"/>
                <a:gd name="connsiteX8" fmla="*/ 986097 w 1868309"/>
                <a:gd name="connsiteY8" fmla="*/ 1431786 h 1431786"/>
                <a:gd name="connsiteX0" fmla="*/ 894657 w 1868309"/>
                <a:gd name="connsiteY0" fmla="*/ 1340346 h 1469285"/>
                <a:gd name="connsiteX1" fmla="*/ 6 w 1868309"/>
                <a:gd name="connsiteY1" fmla="*/ 668563 h 1469285"/>
                <a:gd name="connsiteX2" fmla="*/ 903024 w 1868309"/>
                <a:gd name="connsiteY2" fmla="*/ 0 h 1469285"/>
                <a:gd name="connsiteX3" fmla="*/ 1868309 w 1868309"/>
                <a:gd name="connsiteY3" fmla="*/ 0 h 1469285"/>
                <a:gd name="connsiteX4" fmla="*/ 1868309 w 1868309"/>
                <a:gd name="connsiteY4" fmla="*/ 386082 h 1469285"/>
                <a:gd name="connsiteX5" fmla="*/ 897282 w 1868309"/>
                <a:gd name="connsiteY5" fmla="*/ 386082 h 1469285"/>
                <a:gd name="connsiteX6" fmla="*/ 897282 w 1868309"/>
                <a:gd name="connsiteY6" fmla="*/ 386072 h 1469285"/>
                <a:gd name="connsiteX7" fmla="*/ 388220 w 1868309"/>
                <a:gd name="connsiteY7" fmla="*/ 1123768 h 1469285"/>
                <a:gd name="connsiteX8" fmla="*/ 778410 w 1868309"/>
                <a:gd name="connsiteY8" fmla="*/ 1469285 h 1469285"/>
                <a:gd name="connsiteX0" fmla="*/ 894657 w 1868309"/>
                <a:gd name="connsiteY0" fmla="*/ 1340346 h 1377909"/>
                <a:gd name="connsiteX1" fmla="*/ 6 w 1868309"/>
                <a:gd name="connsiteY1" fmla="*/ 668563 h 1377909"/>
                <a:gd name="connsiteX2" fmla="*/ 903024 w 1868309"/>
                <a:gd name="connsiteY2" fmla="*/ 0 h 1377909"/>
                <a:gd name="connsiteX3" fmla="*/ 1868309 w 1868309"/>
                <a:gd name="connsiteY3" fmla="*/ 0 h 1377909"/>
                <a:gd name="connsiteX4" fmla="*/ 1868309 w 1868309"/>
                <a:gd name="connsiteY4" fmla="*/ 386082 h 1377909"/>
                <a:gd name="connsiteX5" fmla="*/ 897282 w 1868309"/>
                <a:gd name="connsiteY5" fmla="*/ 386082 h 1377909"/>
                <a:gd name="connsiteX6" fmla="*/ 897282 w 1868309"/>
                <a:gd name="connsiteY6" fmla="*/ 386072 h 1377909"/>
                <a:gd name="connsiteX7" fmla="*/ 388220 w 1868309"/>
                <a:gd name="connsiteY7" fmla="*/ 1123768 h 1377909"/>
                <a:gd name="connsiteX8" fmla="*/ 660144 w 1868309"/>
                <a:gd name="connsiteY8" fmla="*/ 1327943 h 1377909"/>
                <a:gd name="connsiteX0" fmla="*/ 894657 w 1868309"/>
                <a:gd name="connsiteY0" fmla="*/ 1340346 h 1541399"/>
                <a:gd name="connsiteX1" fmla="*/ 6 w 1868309"/>
                <a:gd name="connsiteY1" fmla="*/ 668563 h 1541399"/>
                <a:gd name="connsiteX2" fmla="*/ 903024 w 1868309"/>
                <a:gd name="connsiteY2" fmla="*/ 0 h 1541399"/>
                <a:gd name="connsiteX3" fmla="*/ 1868309 w 1868309"/>
                <a:gd name="connsiteY3" fmla="*/ 0 h 1541399"/>
                <a:gd name="connsiteX4" fmla="*/ 1868309 w 1868309"/>
                <a:gd name="connsiteY4" fmla="*/ 386082 h 1541399"/>
                <a:gd name="connsiteX5" fmla="*/ 897282 w 1868309"/>
                <a:gd name="connsiteY5" fmla="*/ 386082 h 1541399"/>
                <a:gd name="connsiteX6" fmla="*/ 897282 w 1868309"/>
                <a:gd name="connsiteY6" fmla="*/ 386072 h 1541399"/>
                <a:gd name="connsiteX7" fmla="*/ 388220 w 1868309"/>
                <a:gd name="connsiteY7" fmla="*/ 1123768 h 1541399"/>
                <a:gd name="connsiteX8" fmla="*/ 530340 w 1868309"/>
                <a:gd name="connsiteY8" fmla="*/ 1541399 h 1541399"/>
                <a:gd name="connsiteX0" fmla="*/ 894657 w 1868309"/>
                <a:gd name="connsiteY0" fmla="*/ 1340346 h 1377909"/>
                <a:gd name="connsiteX1" fmla="*/ 6 w 1868309"/>
                <a:gd name="connsiteY1" fmla="*/ 668563 h 1377909"/>
                <a:gd name="connsiteX2" fmla="*/ 903024 w 1868309"/>
                <a:gd name="connsiteY2" fmla="*/ 0 h 1377909"/>
                <a:gd name="connsiteX3" fmla="*/ 1868309 w 1868309"/>
                <a:gd name="connsiteY3" fmla="*/ 0 h 1377909"/>
                <a:gd name="connsiteX4" fmla="*/ 1868309 w 1868309"/>
                <a:gd name="connsiteY4" fmla="*/ 386082 h 1377909"/>
                <a:gd name="connsiteX5" fmla="*/ 897282 w 1868309"/>
                <a:gd name="connsiteY5" fmla="*/ 386082 h 1377909"/>
                <a:gd name="connsiteX6" fmla="*/ 897282 w 1868309"/>
                <a:gd name="connsiteY6" fmla="*/ 386072 h 1377909"/>
                <a:gd name="connsiteX7" fmla="*/ 388220 w 1868309"/>
                <a:gd name="connsiteY7" fmla="*/ 1123768 h 1377909"/>
                <a:gd name="connsiteX0" fmla="*/ 894660 w 1868312"/>
                <a:gd name="connsiteY0" fmla="*/ 1340346 h 1371255"/>
                <a:gd name="connsiteX1" fmla="*/ 9 w 1868312"/>
                <a:gd name="connsiteY1" fmla="*/ 668563 h 1371255"/>
                <a:gd name="connsiteX2" fmla="*/ 903027 w 1868312"/>
                <a:gd name="connsiteY2" fmla="*/ 0 h 1371255"/>
                <a:gd name="connsiteX3" fmla="*/ 1868312 w 1868312"/>
                <a:gd name="connsiteY3" fmla="*/ 0 h 1371255"/>
                <a:gd name="connsiteX4" fmla="*/ 1868312 w 1868312"/>
                <a:gd name="connsiteY4" fmla="*/ 386082 h 1371255"/>
                <a:gd name="connsiteX5" fmla="*/ 897285 w 1868312"/>
                <a:gd name="connsiteY5" fmla="*/ 386082 h 1371255"/>
                <a:gd name="connsiteX6" fmla="*/ 897285 w 1868312"/>
                <a:gd name="connsiteY6" fmla="*/ 386072 h 1371255"/>
                <a:gd name="connsiteX7" fmla="*/ 388223 w 1868312"/>
                <a:gd name="connsiteY7" fmla="*/ 1123768 h 1371255"/>
                <a:gd name="connsiteX0" fmla="*/ 896353 w 1870005"/>
                <a:gd name="connsiteY0" fmla="*/ 1340346 h 1371592"/>
                <a:gd name="connsiteX1" fmla="*/ 1702 w 1870005"/>
                <a:gd name="connsiteY1" fmla="*/ 668563 h 1371592"/>
                <a:gd name="connsiteX2" fmla="*/ 904720 w 1870005"/>
                <a:gd name="connsiteY2" fmla="*/ 0 h 1371592"/>
                <a:gd name="connsiteX3" fmla="*/ 1870005 w 1870005"/>
                <a:gd name="connsiteY3" fmla="*/ 0 h 1371592"/>
                <a:gd name="connsiteX4" fmla="*/ 1870005 w 1870005"/>
                <a:gd name="connsiteY4" fmla="*/ 386082 h 1371592"/>
                <a:gd name="connsiteX5" fmla="*/ 898978 w 1870005"/>
                <a:gd name="connsiteY5" fmla="*/ 386082 h 1371592"/>
                <a:gd name="connsiteX6" fmla="*/ 898978 w 1870005"/>
                <a:gd name="connsiteY6" fmla="*/ 386072 h 1371592"/>
                <a:gd name="connsiteX7" fmla="*/ 389916 w 1870005"/>
                <a:gd name="connsiteY7" fmla="*/ 1123768 h 1371592"/>
                <a:gd name="connsiteX0" fmla="*/ 896353 w 1870005"/>
                <a:gd name="connsiteY0" fmla="*/ 1340346 h 1371592"/>
                <a:gd name="connsiteX1" fmla="*/ 1702 w 1870005"/>
                <a:gd name="connsiteY1" fmla="*/ 668563 h 1371592"/>
                <a:gd name="connsiteX2" fmla="*/ 904720 w 1870005"/>
                <a:gd name="connsiteY2" fmla="*/ 0 h 1371592"/>
                <a:gd name="connsiteX3" fmla="*/ 1870005 w 1870005"/>
                <a:gd name="connsiteY3" fmla="*/ 0 h 1371592"/>
                <a:gd name="connsiteX4" fmla="*/ 1870005 w 1870005"/>
                <a:gd name="connsiteY4" fmla="*/ 386082 h 1371592"/>
                <a:gd name="connsiteX5" fmla="*/ 898978 w 1870005"/>
                <a:gd name="connsiteY5" fmla="*/ 386082 h 1371592"/>
                <a:gd name="connsiteX6" fmla="*/ 898978 w 1870005"/>
                <a:gd name="connsiteY6" fmla="*/ 386072 h 1371592"/>
                <a:gd name="connsiteX7" fmla="*/ 389916 w 1870005"/>
                <a:gd name="connsiteY7" fmla="*/ 1123768 h 1371592"/>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661 w 1868313"/>
                <a:gd name="connsiteY0" fmla="*/ 1340346 h 1371255"/>
                <a:gd name="connsiteX1" fmla="*/ 10 w 1868313"/>
                <a:gd name="connsiteY1" fmla="*/ 668563 h 1371255"/>
                <a:gd name="connsiteX2" fmla="*/ 903028 w 1868313"/>
                <a:gd name="connsiteY2" fmla="*/ 0 h 1371255"/>
                <a:gd name="connsiteX3" fmla="*/ 1868313 w 1868313"/>
                <a:gd name="connsiteY3" fmla="*/ 0 h 1371255"/>
                <a:gd name="connsiteX4" fmla="*/ 1868313 w 1868313"/>
                <a:gd name="connsiteY4" fmla="*/ 386082 h 1371255"/>
                <a:gd name="connsiteX5" fmla="*/ 897286 w 1868313"/>
                <a:gd name="connsiteY5" fmla="*/ 386082 h 1371255"/>
                <a:gd name="connsiteX6" fmla="*/ 897286 w 1868313"/>
                <a:gd name="connsiteY6" fmla="*/ 386072 h 1371255"/>
                <a:gd name="connsiteX7" fmla="*/ 388224 w 1868313"/>
                <a:gd name="connsiteY7" fmla="*/ 1123768 h 1371255"/>
                <a:gd name="connsiteX8" fmla="*/ 894661 w 1868313"/>
                <a:gd name="connsiteY8" fmla="*/ 1340346 h 1371255"/>
                <a:gd name="connsiteX0" fmla="*/ 894733 w 1868385"/>
                <a:gd name="connsiteY0" fmla="*/ 1340346 h 1372288"/>
                <a:gd name="connsiteX1" fmla="*/ 82 w 1868385"/>
                <a:gd name="connsiteY1" fmla="*/ 668563 h 1372288"/>
                <a:gd name="connsiteX2" fmla="*/ 903100 w 1868385"/>
                <a:gd name="connsiteY2" fmla="*/ 0 h 1372288"/>
                <a:gd name="connsiteX3" fmla="*/ 1868385 w 1868385"/>
                <a:gd name="connsiteY3" fmla="*/ 0 h 1372288"/>
                <a:gd name="connsiteX4" fmla="*/ 1868385 w 1868385"/>
                <a:gd name="connsiteY4" fmla="*/ 386082 h 1372288"/>
                <a:gd name="connsiteX5" fmla="*/ 897358 w 1868385"/>
                <a:gd name="connsiteY5" fmla="*/ 386082 h 1372288"/>
                <a:gd name="connsiteX6" fmla="*/ 897358 w 1868385"/>
                <a:gd name="connsiteY6" fmla="*/ 386072 h 1372288"/>
                <a:gd name="connsiteX7" fmla="*/ 388296 w 1868385"/>
                <a:gd name="connsiteY7" fmla="*/ 1123768 h 1372288"/>
                <a:gd name="connsiteX8" fmla="*/ 894733 w 1868385"/>
                <a:gd name="connsiteY8" fmla="*/ 1340346 h 1372288"/>
                <a:gd name="connsiteX0" fmla="*/ 983560 w 1869106"/>
                <a:gd name="connsiteY0" fmla="*/ 1316533 h 1348272"/>
                <a:gd name="connsiteX1" fmla="*/ 803 w 1869106"/>
                <a:gd name="connsiteY1" fmla="*/ 668563 h 1348272"/>
                <a:gd name="connsiteX2" fmla="*/ 903821 w 1869106"/>
                <a:gd name="connsiteY2" fmla="*/ 0 h 1348272"/>
                <a:gd name="connsiteX3" fmla="*/ 1869106 w 1869106"/>
                <a:gd name="connsiteY3" fmla="*/ 0 h 1348272"/>
                <a:gd name="connsiteX4" fmla="*/ 1869106 w 1869106"/>
                <a:gd name="connsiteY4" fmla="*/ 386082 h 1348272"/>
                <a:gd name="connsiteX5" fmla="*/ 898079 w 1869106"/>
                <a:gd name="connsiteY5" fmla="*/ 386082 h 1348272"/>
                <a:gd name="connsiteX6" fmla="*/ 898079 w 1869106"/>
                <a:gd name="connsiteY6" fmla="*/ 386072 h 1348272"/>
                <a:gd name="connsiteX7" fmla="*/ 389017 w 1869106"/>
                <a:gd name="connsiteY7" fmla="*/ 1123768 h 1348272"/>
                <a:gd name="connsiteX8" fmla="*/ 983560 w 1869106"/>
                <a:gd name="connsiteY8" fmla="*/ 1316533 h 1348272"/>
                <a:gd name="connsiteX0" fmla="*/ 983560 w 1869106"/>
                <a:gd name="connsiteY0" fmla="*/ 1307008 h 1339091"/>
                <a:gd name="connsiteX1" fmla="*/ 803 w 1869106"/>
                <a:gd name="connsiteY1" fmla="*/ 668563 h 1339091"/>
                <a:gd name="connsiteX2" fmla="*/ 903821 w 1869106"/>
                <a:gd name="connsiteY2" fmla="*/ 0 h 1339091"/>
                <a:gd name="connsiteX3" fmla="*/ 1869106 w 1869106"/>
                <a:gd name="connsiteY3" fmla="*/ 0 h 1339091"/>
                <a:gd name="connsiteX4" fmla="*/ 1869106 w 1869106"/>
                <a:gd name="connsiteY4" fmla="*/ 386082 h 1339091"/>
                <a:gd name="connsiteX5" fmla="*/ 898079 w 1869106"/>
                <a:gd name="connsiteY5" fmla="*/ 386082 h 1339091"/>
                <a:gd name="connsiteX6" fmla="*/ 898079 w 1869106"/>
                <a:gd name="connsiteY6" fmla="*/ 386072 h 1339091"/>
                <a:gd name="connsiteX7" fmla="*/ 389017 w 1869106"/>
                <a:gd name="connsiteY7" fmla="*/ 1123768 h 1339091"/>
                <a:gd name="connsiteX8" fmla="*/ 983560 w 1869106"/>
                <a:gd name="connsiteY8" fmla="*/ 1307008 h 1339091"/>
                <a:gd name="connsiteX0" fmla="*/ 983560 w 1869106"/>
                <a:gd name="connsiteY0" fmla="*/ 1307008 h 1351063"/>
                <a:gd name="connsiteX1" fmla="*/ 803 w 1869106"/>
                <a:gd name="connsiteY1" fmla="*/ 668563 h 1351063"/>
                <a:gd name="connsiteX2" fmla="*/ 903821 w 1869106"/>
                <a:gd name="connsiteY2" fmla="*/ 0 h 1351063"/>
                <a:gd name="connsiteX3" fmla="*/ 1869106 w 1869106"/>
                <a:gd name="connsiteY3" fmla="*/ 0 h 1351063"/>
                <a:gd name="connsiteX4" fmla="*/ 1869106 w 1869106"/>
                <a:gd name="connsiteY4" fmla="*/ 386082 h 1351063"/>
                <a:gd name="connsiteX5" fmla="*/ 898079 w 1869106"/>
                <a:gd name="connsiteY5" fmla="*/ 386082 h 1351063"/>
                <a:gd name="connsiteX6" fmla="*/ 898079 w 1869106"/>
                <a:gd name="connsiteY6" fmla="*/ 386072 h 1351063"/>
                <a:gd name="connsiteX7" fmla="*/ 389017 w 1869106"/>
                <a:gd name="connsiteY7" fmla="*/ 1123768 h 1351063"/>
                <a:gd name="connsiteX8" fmla="*/ 983560 w 1869106"/>
                <a:gd name="connsiteY8" fmla="*/ 1307008 h 1351063"/>
                <a:gd name="connsiteX0" fmla="*/ 983560 w 1869106"/>
                <a:gd name="connsiteY0" fmla="*/ 1307008 h 1339091"/>
                <a:gd name="connsiteX1" fmla="*/ 803 w 1869106"/>
                <a:gd name="connsiteY1" fmla="*/ 668563 h 1339091"/>
                <a:gd name="connsiteX2" fmla="*/ 903821 w 1869106"/>
                <a:gd name="connsiteY2" fmla="*/ 0 h 1339091"/>
                <a:gd name="connsiteX3" fmla="*/ 1869106 w 1869106"/>
                <a:gd name="connsiteY3" fmla="*/ 0 h 1339091"/>
                <a:gd name="connsiteX4" fmla="*/ 1869106 w 1869106"/>
                <a:gd name="connsiteY4" fmla="*/ 386082 h 1339091"/>
                <a:gd name="connsiteX5" fmla="*/ 898079 w 1869106"/>
                <a:gd name="connsiteY5" fmla="*/ 386082 h 1339091"/>
                <a:gd name="connsiteX6" fmla="*/ 898079 w 1869106"/>
                <a:gd name="connsiteY6" fmla="*/ 386072 h 1339091"/>
                <a:gd name="connsiteX7" fmla="*/ 389017 w 1869106"/>
                <a:gd name="connsiteY7" fmla="*/ 1123768 h 1339091"/>
                <a:gd name="connsiteX8" fmla="*/ 983560 w 1869106"/>
                <a:gd name="connsiteY8" fmla="*/ 1307008 h 1339091"/>
                <a:gd name="connsiteX0" fmla="*/ 983560 w 1869106"/>
                <a:gd name="connsiteY0" fmla="*/ 1307008 h 1340385"/>
                <a:gd name="connsiteX1" fmla="*/ 803 w 1869106"/>
                <a:gd name="connsiteY1" fmla="*/ 668563 h 1340385"/>
                <a:gd name="connsiteX2" fmla="*/ 903821 w 1869106"/>
                <a:gd name="connsiteY2" fmla="*/ 0 h 1340385"/>
                <a:gd name="connsiteX3" fmla="*/ 1869106 w 1869106"/>
                <a:gd name="connsiteY3" fmla="*/ 0 h 1340385"/>
                <a:gd name="connsiteX4" fmla="*/ 1869106 w 1869106"/>
                <a:gd name="connsiteY4" fmla="*/ 386082 h 1340385"/>
                <a:gd name="connsiteX5" fmla="*/ 898079 w 1869106"/>
                <a:gd name="connsiteY5" fmla="*/ 386082 h 1340385"/>
                <a:gd name="connsiteX6" fmla="*/ 898079 w 1869106"/>
                <a:gd name="connsiteY6" fmla="*/ 386072 h 1340385"/>
                <a:gd name="connsiteX7" fmla="*/ 389017 w 1869106"/>
                <a:gd name="connsiteY7" fmla="*/ 1123768 h 1340385"/>
                <a:gd name="connsiteX8" fmla="*/ 983560 w 1869106"/>
                <a:gd name="connsiteY8" fmla="*/ 1307008 h 1340385"/>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4389"/>
                <a:gd name="connsiteX1" fmla="*/ 803 w 1869106"/>
                <a:gd name="connsiteY1" fmla="*/ 668563 h 1364389"/>
                <a:gd name="connsiteX2" fmla="*/ 903821 w 1869106"/>
                <a:gd name="connsiteY2" fmla="*/ 0 h 1364389"/>
                <a:gd name="connsiteX3" fmla="*/ 1869106 w 1869106"/>
                <a:gd name="connsiteY3" fmla="*/ 0 h 1364389"/>
                <a:gd name="connsiteX4" fmla="*/ 1869106 w 1869106"/>
                <a:gd name="connsiteY4" fmla="*/ 386082 h 1364389"/>
                <a:gd name="connsiteX5" fmla="*/ 898079 w 1869106"/>
                <a:gd name="connsiteY5" fmla="*/ 386082 h 1364389"/>
                <a:gd name="connsiteX6" fmla="*/ 898079 w 1869106"/>
                <a:gd name="connsiteY6" fmla="*/ 386072 h 1364389"/>
                <a:gd name="connsiteX7" fmla="*/ 389017 w 1869106"/>
                <a:gd name="connsiteY7" fmla="*/ 1123768 h 1364389"/>
                <a:gd name="connsiteX8" fmla="*/ 983560 w 1869106"/>
                <a:gd name="connsiteY8" fmla="*/ 1307008 h 1364389"/>
                <a:gd name="connsiteX0" fmla="*/ 983560 w 1869106"/>
                <a:gd name="connsiteY0" fmla="*/ 1307008 h 1369186"/>
                <a:gd name="connsiteX1" fmla="*/ 803 w 1869106"/>
                <a:gd name="connsiteY1" fmla="*/ 668563 h 1369186"/>
                <a:gd name="connsiteX2" fmla="*/ 903821 w 1869106"/>
                <a:gd name="connsiteY2" fmla="*/ 0 h 1369186"/>
                <a:gd name="connsiteX3" fmla="*/ 1869106 w 1869106"/>
                <a:gd name="connsiteY3" fmla="*/ 0 h 1369186"/>
                <a:gd name="connsiteX4" fmla="*/ 1869106 w 1869106"/>
                <a:gd name="connsiteY4" fmla="*/ 386082 h 1369186"/>
                <a:gd name="connsiteX5" fmla="*/ 898079 w 1869106"/>
                <a:gd name="connsiteY5" fmla="*/ 386082 h 1369186"/>
                <a:gd name="connsiteX6" fmla="*/ 898079 w 1869106"/>
                <a:gd name="connsiteY6" fmla="*/ 386072 h 1369186"/>
                <a:gd name="connsiteX7" fmla="*/ 389017 w 1869106"/>
                <a:gd name="connsiteY7" fmla="*/ 1123768 h 1369186"/>
                <a:gd name="connsiteX8" fmla="*/ 983560 w 1869106"/>
                <a:gd name="connsiteY8" fmla="*/ 1307008 h 1369186"/>
                <a:gd name="connsiteX0" fmla="*/ 983838 w 1869384"/>
                <a:gd name="connsiteY0" fmla="*/ 1307008 h 1373249"/>
                <a:gd name="connsiteX1" fmla="*/ 1081 w 1869384"/>
                <a:gd name="connsiteY1" fmla="*/ 668563 h 1373249"/>
                <a:gd name="connsiteX2" fmla="*/ 904099 w 1869384"/>
                <a:gd name="connsiteY2" fmla="*/ 0 h 1373249"/>
                <a:gd name="connsiteX3" fmla="*/ 1869384 w 1869384"/>
                <a:gd name="connsiteY3" fmla="*/ 0 h 1373249"/>
                <a:gd name="connsiteX4" fmla="*/ 1869384 w 1869384"/>
                <a:gd name="connsiteY4" fmla="*/ 386082 h 1373249"/>
                <a:gd name="connsiteX5" fmla="*/ 898357 w 1869384"/>
                <a:gd name="connsiteY5" fmla="*/ 386082 h 1373249"/>
                <a:gd name="connsiteX6" fmla="*/ 898357 w 1869384"/>
                <a:gd name="connsiteY6" fmla="*/ 386072 h 1373249"/>
                <a:gd name="connsiteX7" fmla="*/ 389295 w 1869384"/>
                <a:gd name="connsiteY7" fmla="*/ 1123768 h 1373249"/>
                <a:gd name="connsiteX8" fmla="*/ 983838 w 1869384"/>
                <a:gd name="connsiteY8" fmla="*/ 1307008 h 1373249"/>
                <a:gd name="connsiteX0" fmla="*/ 983838 w 1869384"/>
                <a:gd name="connsiteY0" fmla="*/ 1307008 h 1348483"/>
                <a:gd name="connsiteX1" fmla="*/ 1081 w 1869384"/>
                <a:gd name="connsiteY1" fmla="*/ 668563 h 1348483"/>
                <a:gd name="connsiteX2" fmla="*/ 904099 w 1869384"/>
                <a:gd name="connsiteY2" fmla="*/ 0 h 1348483"/>
                <a:gd name="connsiteX3" fmla="*/ 1869384 w 1869384"/>
                <a:gd name="connsiteY3" fmla="*/ 0 h 1348483"/>
                <a:gd name="connsiteX4" fmla="*/ 1869384 w 1869384"/>
                <a:gd name="connsiteY4" fmla="*/ 386082 h 1348483"/>
                <a:gd name="connsiteX5" fmla="*/ 898357 w 1869384"/>
                <a:gd name="connsiteY5" fmla="*/ 386082 h 1348483"/>
                <a:gd name="connsiteX6" fmla="*/ 898357 w 1869384"/>
                <a:gd name="connsiteY6" fmla="*/ 386072 h 1348483"/>
                <a:gd name="connsiteX7" fmla="*/ 389295 w 1869384"/>
                <a:gd name="connsiteY7" fmla="*/ 1123768 h 1348483"/>
                <a:gd name="connsiteX8" fmla="*/ 983838 w 1869384"/>
                <a:gd name="connsiteY8" fmla="*/ 1307008 h 1348483"/>
                <a:gd name="connsiteX0" fmla="*/ 983184 w 1868730"/>
                <a:gd name="connsiteY0" fmla="*/ 1307008 h 1348483"/>
                <a:gd name="connsiteX1" fmla="*/ 427 w 1868730"/>
                <a:gd name="connsiteY1" fmla="*/ 668563 h 1348483"/>
                <a:gd name="connsiteX2" fmla="*/ 903445 w 1868730"/>
                <a:gd name="connsiteY2" fmla="*/ 0 h 1348483"/>
                <a:gd name="connsiteX3" fmla="*/ 1868730 w 1868730"/>
                <a:gd name="connsiteY3" fmla="*/ 0 h 1348483"/>
                <a:gd name="connsiteX4" fmla="*/ 1868730 w 1868730"/>
                <a:gd name="connsiteY4" fmla="*/ 386082 h 1348483"/>
                <a:gd name="connsiteX5" fmla="*/ 897703 w 1868730"/>
                <a:gd name="connsiteY5" fmla="*/ 386082 h 1348483"/>
                <a:gd name="connsiteX6" fmla="*/ 897703 w 1868730"/>
                <a:gd name="connsiteY6" fmla="*/ 386072 h 1348483"/>
                <a:gd name="connsiteX7" fmla="*/ 388641 w 1868730"/>
                <a:gd name="connsiteY7" fmla="*/ 1123768 h 1348483"/>
                <a:gd name="connsiteX8" fmla="*/ 983184 w 1868730"/>
                <a:gd name="connsiteY8" fmla="*/ 1307008 h 1348483"/>
                <a:gd name="connsiteX0" fmla="*/ 990229 w 1875775"/>
                <a:gd name="connsiteY0" fmla="*/ 1307008 h 1348483"/>
                <a:gd name="connsiteX1" fmla="*/ 7472 w 1875775"/>
                <a:gd name="connsiteY1" fmla="*/ 668563 h 1348483"/>
                <a:gd name="connsiteX2" fmla="*/ 910490 w 1875775"/>
                <a:gd name="connsiteY2" fmla="*/ 0 h 1348483"/>
                <a:gd name="connsiteX3" fmla="*/ 1875775 w 1875775"/>
                <a:gd name="connsiteY3" fmla="*/ 0 h 1348483"/>
                <a:gd name="connsiteX4" fmla="*/ 1875775 w 1875775"/>
                <a:gd name="connsiteY4" fmla="*/ 386082 h 1348483"/>
                <a:gd name="connsiteX5" fmla="*/ 904748 w 1875775"/>
                <a:gd name="connsiteY5" fmla="*/ 386082 h 1348483"/>
                <a:gd name="connsiteX6" fmla="*/ 904748 w 1875775"/>
                <a:gd name="connsiteY6" fmla="*/ 386072 h 1348483"/>
                <a:gd name="connsiteX7" fmla="*/ 395686 w 1875775"/>
                <a:gd name="connsiteY7" fmla="*/ 1123768 h 1348483"/>
                <a:gd name="connsiteX8" fmla="*/ 990229 w 1875775"/>
                <a:gd name="connsiteY8" fmla="*/ 1307008 h 1348483"/>
                <a:gd name="connsiteX0" fmla="*/ 986178 w 1871724"/>
                <a:gd name="connsiteY0" fmla="*/ 1307008 h 1348483"/>
                <a:gd name="connsiteX1" fmla="*/ 3421 w 1871724"/>
                <a:gd name="connsiteY1" fmla="*/ 668563 h 1348483"/>
                <a:gd name="connsiteX2" fmla="*/ 906439 w 1871724"/>
                <a:gd name="connsiteY2" fmla="*/ 0 h 1348483"/>
                <a:gd name="connsiteX3" fmla="*/ 1871724 w 1871724"/>
                <a:gd name="connsiteY3" fmla="*/ 0 h 1348483"/>
                <a:gd name="connsiteX4" fmla="*/ 1871724 w 1871724"/>
                <a:gd name="connsiteY4" fmla="*/ 386082 h 1348483"/>
                <a:gd name="connsiteX5" fmla="*/ 900697 w 1871724"/>
                <a:gd name="connsiteY5" fmla="*/ 386082 h 1348483"/>
                <a:gd name="connsiteX6" fmla="*/ 900697 w 1871724"/>
                <a:gd name="connsiteY6" fmla="*/ 386072 h 1348483"/>
                <a:gd name="connsiteX7" fmla="*/ 391635 w 1871724"/>
                <a:gd name="connsiteY7" fmla="*/ 1123768 h 1348483"/>
                <a:gd name="connsiteX8" fmla="*/ 986178 w 1871724"/>
                <a:gd name="connsiteY8" fmla="*/ 1307008 h 1348483"/>
                <a:gd name="connsiteX0" fmla="*/ 982824 w 1868370"/>
                <a:gd name="connsiteY0" fmla="*/ 1307008 h 1348483"/>
                <a:gd name="connsiteX1" fmla="*/ 67 w 1868370"/>
                <a:gd name="connsiteY1" fmla="*/ 668563 h 1348483"/>
                <a:gd name="connsiteX2" fmla="*/ 903085 w 1868370"/>
                <a:gd name="connsiteY2" fmla="*/ 0 h 1348483"/>
                <a:gd name="connsiteX3" fmla="*/ 1868370 w 1868370"/>
                <a:gd name="connsiteY3" fmla="*/ 0 h 1348483"/>
                <a:gd name="connsiteX4" fmla="*/ 1868370 w 1868370"/>
                <a:gd name="connsiteY4" fmla="*/ 386082 h 1348483"/>
                <a:gd name="connsiteX5" fmla="*/ 897343 w 1868370"/>
                <a:gd name="connsiteY5" fmla="*/ 386082 h 1348483"/>
                <a:gd name="connsiteX6" fmla="*/ 897343 w 1868370"/>
                <a:gd name="connsiteY6" fmla="*/ 386072 h 1348483"/>
                <a:gd name="connsiteX7" fmla="*/ 388281 w 1868370"/>
                <a:gd name="connsiteY7" fmla="*/ 1123768 h 1348483"/>
                <a:gd name="connsiteX8" fmla="*/ 982824 w 1868370"/>
                <a:gd name="connsiteY8" fmla="*/ 1307008 h 1348483"/>
                <a:gd name="connsiteX0" fmla="*/ 982837 w 1868383"/>
                <a:gd name="connsiteY0" fmla="*/ 1307008 h 1363869"/>
                <a:gd name="connsiteX1" fmla="*/ 80 w 1868383"/>
                <a:gd name="connsiteY1" fmla="*/ 668563 h 1363869"/>
                <a:gd name="connsiteX2" fmla="*/ 903098 w 1868383"/>
                <a:gd name="connsiteY2" fmla="*/ 0 h 1363869"/>
                <a:gd name="connsiteX3" fmla="*/ 1868383 w 1868383"/>
                <a:gd name="connsiteY3" fmla="*/ 0 h 1363869"/>
                <a:gd name="connsiteX4" fmla="*/ 1868383 w 1868383"/>
                <a:gd name="connsiteY4" fmla="*/ 386082 h 1363869"/>
                <a:gd name="connsiteX5" fmla="*/ 897356 w 1868383"/>
                <a:gd name="connsiteY5" fmla="*/ 386082 h 1363869"/>
                <a:gd name="connsiteX6" fmla="*/ 897356 w 1868383"/>
                <a:gd name="connsiteY6" fmla="*/ 386072 h 1363869"/>
                <a:gd name="connsiteX7" fmla="*/ 388294 w 1868383"/>
                <a:gd name="connsiteY7" fmla="*/ 1123768 h 1363869"/>
                <a:gd name="connsiteX8" fmla="*/ 982837 w 1868383"/>
                <a:gd name="connsiteY8" fmla="*/ 1307008 h 1363869"/>
                <a:gd name="connsiteX0" fmla="*/ 982970 w 1868516"/>
                <a:gd name="connsiteY0" fmla="*/ 1307008 h 1357495"/>
                <a:gd name="connsiteX1" fmla="*/ 213 w 1868516"/>
                <a:gd name="connsiteY1" fmla="*/ 668563 h 1357495"/>
                <a:gd name="connsiteX2" fmla="*/ 903231 w 1868516"/>
                <a:gd name="connsiteY2" fmla="*/ 0 h 1357495"/>
                <a:gd name="connsiteX3" fmla="*/ 1868516 w 1868516"/>
                <a:gd name="connsiteY3" fmla="*/ 0 h 1357495"/>
                <a:gd name="connsiteX4" fmla="*/ 1868516 w 1868516"/>
                <a:gd name="connsiteY4" fmla="*/ 386082 h 1357495"/>
                <a:gd name="connsiteX5" fmla="*/ 897489 w 1868516"/>
                <a:gd name="connsiteY5" fmla="*/ 386082 h 1357495"/>
                <a:gd name="connsiteX6" fmla="*/ 897489 w 1868516"/>
                <a:gd name="connsiteY6" fmla="*/ 386072 h 1357495"/>
                <a:gd name="connsiteX7" fmla="*/ 388427 w 1868516"/>
                <a:gd name="connsiteY7" fmla="*/ 1123768 h 1357495"/>
                <a:gd name="connsiteX8" fmla="*/ 982970 w 1868516"/>
                <a:gd name="connsiteY8" fmla="*/ 1307008 h 1357495"/>
                <a:gd name="connsiteX0" fmla="*/ 982834 w 1868380"/>
                <a:gd name="connsiteY0" fmla="*/ 1307008 h 1357123"/>
                <a:gd name="connsiteX1" fmla="*/ 77 w 1868380"/>
                <a:gd name="connsiteY1" fmla="*/ 668563 h 1357123"/>
                <a:gd name="connsiteX2" fmla="*/ 903095 w 1868380"/>
                <a:gd name="connsiteY2" fmla="*/ 0 h 1357123"/>
                <a:gd name="connsiteX3" fmla="*/ 1868380 w 1868380"/>
                <a:gd name="connsiteY3" fmla="*/ 0 h 1357123"/>
                <a:gd name="connsiteX4" fmla="*/ 1868380 w 1868380"/>
                <a:gd name="connsiteY4" fmla="*/ 386082 h 1357123"/>
                <a:gd name="connsiteX5" fmla="*/ 897353 w 1868380"/>
                <a:gd name="connsiteY5" fmla="*/ 386082 h 1357123"/>
                <a:gd name="connsiteX6" fmla="*/ 897353 w 1868380"/>
                <a:gd name="connsiteY6" fmla="*/ 386072 h 1357123"/>
                <a:gd name="connsiteX7" fmla="*/ 388291 w 1868380"/>
                <a:gd name="connsiteY7" fmla="*/ 1123768 h 1357123"/>
                <a:gd name="connsiteX8" fmla="*/ 982834 w 1868380"/>
                <a:gd name="connsiteY8" fmla="*/ 1307008 h 1357123"/>
                <a:gd name="connsiteX0" fmla="*/ 982834 w 1868380"/>
                <a:gd name="connsiteY0" fmla="*/ 1307008 h 1364304"/>
                <a:gd name="connsiteX1" fmla="*/ 77 w 1868380"/>
                <a:gd name="connsiteY1" fmla="*/ 668563 h 1364304"/>
                <a:gd name="connsiteX2" fmla="*/ 903095 w 1868380"/>
                <a:gd name="connsiteY2" fmla="*/ 0 h 1364304"/>
                <a:gd name="connsiteX3" fmla="*/ 1868380 w 1868380"/>
                <a:gd name="connsiteY3" fmla="*/ 0 h 1364304"/>
                <a:gd name="connsiteX4" fmla="*/ 1868380 w 1868380"/>
                <a:gd name="connsiteY4" fmla="*/ 386082 h 1364304"/>
                <a:gd name="connsiteX5" fmla="*/ 897353 w 1868380"/>
                <a:gd name="connsiteY5" fmla="*/ 386082 h 1364304"/>
                <a:gd name="connsiteX6" fmla="*/ 897353 w 1868380"/>
                <a:gd name="connsiteY6" fmla="*/ 386072 h 1364304"/>
                <a:gd name="connsiteX7" fmla="*/ 388291 w 1868380"/>
                <a:gd name="connsiteY7" fmla="*/ 1123768 h 1364304"/>
                <a:gd name="connsiteX8" fmla="*/ 982834 w 1868380"/>
                <a:gd name="connsiteY8" fmla="*/ 1307008 h 1364304"/>
                <a:gd name="connsiteX0" fmla="*/ 982834 w 1868380"/>
                <a:gd name="connsiteY0" fmla="*/ 1307008 h 1366361"/>
                <a:gd name="connsiteX1" fmla="*/ 77 w 1868380"/>
                <a:gd name="connsiteY1" fmla="*/ 668563 h 1366361"/>
                <a:gd name="connsiteX2" fmla="*/ 903095 w 1868380"/>
                <a:gd name="connsiteY2" fmla="*/ 0 h 1366361"/>
                <a:gd name="connsiteX3" fmla="*/ 1868380 w 1868380"/>
                <a:gd name="connsiteY3" fmla="*/ 0 h 1366361"/>
                <a:gd name="connsiteX4" fmla="*/ 1868380 w 1868380"/>
                <a:gd name="connsiteY4" fmla="*/ 386082 h 1366361"/>
                <a:gd name="connsiteX5" fmla="*/ 897353 w 1868380"/>
                <a:gd name="connsiteY5" fmla="*/ 386082 h 1366361"/>
                <a:gd name="connsiteX6" fmla="*/ 897353 w 1868380"/>
                <a:gd name="connsiteY6" fmla="*/ 386072 h 1366361"/>
                <a:gd name="connsiteX7" fmla="*/ 388291 w 1868380"/>
                <a:gd name="connsiteY7" fmla="*/ 1123768 h 1366361"/>
                <a:gd name="connsiteX8" fmla="*/ 982834 w 1868380"/>
                <a:gd name="connsiteY8" fmla="*/ 1307008 h 136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8380" h="1366361">
                  <a:moveTo>
                    <a:pt x="982834" y="1307008"/>
                  </a:moveTo>
                  <a:cubicBezTo>
                    <a:pt x="732394" y="1440691"/>
                    <a:pt x="10007" y="1396043"/>
                    <a:pt x="77" y="668563"/>
                  </a:cubicBezTo>
                  <a:cubicBezTo>
                    <a:pt x="-3715" y="390780"/>
                    <a:pt x="132130" y="13795"/>
                    <a:pt x="903095" y="0"/>
                  </a:cubicBezTo>
                  <a:lnTo>
                    <a:pt x="1868380" y="0"/>
                  </a:lnTo>
                  <a:lnTo>
                    <a:pt x="1868380" y="386082"/>
                  </a:lnTo>
                  <a:lnTo>
                    <a:pt x="897353" y="386082"/>
                  </a:lnTo>
                  <a:lnTo>
                    <a:pt x="897353" y="386072"/>
                  </a:lnTo>
                  <a:cubicBezTo>
                    <a:pt x="339444" y="390754"/>
                    <a:pt x="248008" y="890628"/>
                    <a:pt x="388291" y="1123768"/>
                  </a:cubicBezTo>
                  <a:cubicBezTo>
                    <a:pt x="463286" y="1235204"/>
                    <a:pt x="661103" y="1435284"/>
                    <a:pt x="982834" y="130700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5" name="Isosceles Triangle 28">
              <a:extLst>
                <a:ext uri="{FF2B5EF4-FFF2-40B4-BE49-F238E27FC236}">
                  <a16:creationId xmlns:a16="http://schemas.microsoft.com/office/drawing/2014/main" id="{5593F5A3-2022-3D4B-B63C-D26F4295F21D}"/>
                </a:ext>
              </a:extLst>
            </p:cNvPr>
            <p:cNvSpPr/>
            <p:nvPr/>
          </p:nvSpPr>
          <p:spPr>
            <a:xfrm rot="16200000">
              <a:off x="2902343" y="4374045"/>
              <a:ext cx="535692" cy="64379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6" name="TextBox 35">
            <a:extLst>
              <a:ext uri="{FF2B5EF4-FFF2-40B4-BE49-F238E27FC236}">
                <a16:creationId xmlns:a16="http://schemas.microsoft.com/office/drawing/2014/main" id="{04DBAF7D-B3D0-2A4B-A67A-26530C184B68}"/>
              </a:ext>
            </a:extLst>
          </p:cNvPr>
          <p:cNvSpPr txBox="1"/>
          <p:nvPr/>
        </p:nvSpPr>
        <p:spPr>
          <a:xfrm>
            <a:off x="4763629" y="4554128"/>
            <a:ext cx="756309" cy="400110"/>
          </a:xfrm>
          <a:prstGeom prst="rect">
            <a:avLst/>
          </a:prstGeom>
          <a:noFill/>
        </p:spPr>
        <p:txBody>
          <a:bodyPr wrap="square" rtlCol="0">
            <a:spAutoFit/>
          </a:bodyPr>
          <a:lstStyle/>
          <a:p>
            <a:pPr algn="ctr"/>
            <a:r>
              <a:rPr lang="en-US" altLang="ko-KR" sz="2000" b="1">
                <a:solidFill>
                  <a:schemeClr val="bg1"/>
                </a:solidFill>
                <a:cs typeface="Arial" pitchFamily="34" charset="0"/>
              </a:rPr>
              <a:t>03</a:t>
            </a:r>
            <a:endParaRPr lang="ko-KR" altLang="en-US" sz="2000" b="1">
              <a:solidFill>
                <a:schemeClr val="bg1"/>
              </a:solidFill>
              <a:cs typeface="Arial" pitchFamily="34" charset="0"/>
            </a:endParaRPr>
          </a:p>
        </p:txBody>
      </p:sp>
      <p:sp>
        <p:nvSpPr>
          <p:cNvPr id="37" name="TextBox 36">
            <a:extLst>
              <a:ext uri="{FF2B5EF4-FFF2-40B4-BE49-F238E27FC236}">
                <a16:creationId xmlns:a16="http://schemas.microsoft.com/office/drawing/2014/main" id="{72DD3AFE-55E0-E547-9FF6-5188801A8107}"/>
              </a:ext>
            </a:extLst>
          </p:cNvPr>
          <p:cNvSpPr txBox="1"/>
          <p:nvPr/>
        </p:nvSpPr>
        <p:spPr>
          <a:xfrm>
            <a:off x="4372289" y="4954238"/>
            <a:ext cx="765296" cy="400110"/>
          </a:xfrm>
          <a:prstGeom prst="rect">
            <a:avLst/>
          </a:prstGeom>
          <a:noFill/>
        </p:spPr>
        <p:txBody>
          <a:bodyPr wrap="square" rtlCol="0">
            <a:spAutoFit/>
          </a:bodyPr>
          <a:lstStyle/>
          <a:p>
            <a:pPr algn="ctr"/>
            <a:r>
              <a:rPr lang="en-US" altLang="ko-KR" sz="2000" b="1">
                <a:solidFill>
                  <a:schemeClr val="bg1"/>
                </a:solidFill>
                <a:cs typeface="Arial" pitchFamily="34" charset="0"/>
              </a:rPr>
              <a:t>04</a:t>
            </a:r>
            <a:endParaRPr lang="ko-KR" altLang="en-US" sz="2000" b="1">
              <a:solidFill>
                <a:schemeClr val="bg1"/>
              </a:solidFill>
              <a:cs typeface="Arial" pitchFamily="34" charset="0"/>
            </a:endParaRPr>
          </a:p>
        </p:txBody>
      </p:sp>
      <p:sp>
        <p:nvSpPr>
          <p:cNvPr id="38" name="Rectangle 16">
            <a:extLst>
              <a:ext uri="{FF2B5EF4-FFF2-40B4-BE49-F238E27FC236}">
                <a16:creationId xmlns:a16="http://schemas.microsoft.com/office/drawing/2014/main" id="{CC83D64A-1F4D-E04E-8C73-56078ACA0BFB}"/>
              </a:ext>
            </a:extLst>
          </p:cNvPr>
          <p:cNvSpPr/>
          <p:nvPr/>
        </p:nvSpPr>
        <p:spPr>
          <a:xfrm rot="2700000">
            <a:off x="3588726" y="4413354"/>
            <a:ext cx="336306" cy="602934"/>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9" name="Rectangle 9">
            <a:extLst>
              <a:ext uri="{FF2B5EF4-FFF2-40B4-BE49-F238E27FC236}">
                <a16:creationId xmlns:a16="http://schemas.microsoft.com/office/drawing/2014/main" id="{62617675-EE11-9E4F-B275-92483BB7F671}"/>
              </a:ext>
            </a:extLst>
          </p:cNvPr>
          <p:cNvSpPr/>
          <p:nvPr/>
        </p:nvSpPr>
        <p:spPr>
          <a:xfrm>
            <a:off x="4163955" y="5556192"/>
            <a:ext cx="416668" cy="390039"/>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0" name="Rounded Rectangle 5">
            <a:extLst>
              <a:ext uri="{FF2B5EF4-FFF2-40B4-BE49-F238E27FC236}">
                <a16:creationId xmlns:a16="http://schemas.microsoft.com/office/drawing/2014/main" id="{36D5C8A1-8D38-F049-9161-EDB324D4C624}"/>
              </a:ext>
            </a:extLst>
          </p:cNvPr>
          <p:cNvSpPr/>
          <p:nvPr/>
        </p:nvSpPr>
        <p:spPr>
          <a:xfrm flipH="1">
            <a:off x="8151487" y="3195954"/>
            <a:ext cx="495356" cy="408639"/>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1" name="Round Same Side Corner Rectangle 11">
            <a:extLst>
              <a:ext uri="{FF2B5EF4-FFF2-40B4-BE49-F238E27FC236}">
                <a16:creationId xmlns:a16="http://schemas.microsoft.com/office/drawing/2014/main" id="{D869FD64-3968-284C-8DF9-A9C8FCA2E32C}"/>
              </a:ext>
            </a:extLst>
          </p:cNvPr>
          <p:cNvSpPr>
            <a:spLocks noChangeAspect="1"/>
          </p:cNvSpPr>
          <p:nvPr/>
        </p:nvSpPr>
        <p:spPr>
          <a:xfrm rot="9900000">
            <a:off x="7972301" y="2243960"/>
            <a:ext cx="500817" cy="425348"/>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52939242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FBAE7FBF-DBE4-DC4E-AA1D-05D71B0E27CC}"/>
              </a:ext>
            </a:extLst>
          </p:cNvPr>
          <p:cNvGraphicFramePr>
            <a:graphicFrameLocks noChangeAspect="1"/>
          </p:cNvGraphicFramePr>
          <p:nvPr>
            <p:custDataLst>
              <p:tags r:id="rId1"/>
            </p:custDataLst>
            <p:extLst>
              <p:ext uri="{D42A27DB-BD31-4B8C-83A1-F6EECF244321}">
                <p14:modId xmlns:p14="http://schemas.microsoft.com/office/powerpoint/2010/main" val="3165456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9" name="Object 38" hidden="1">
                        <a:extLst>
                          <a:ext uri="{FF2B5EF4-FFF2-40B4-BE49-F238E27FC236}">
                            <a16:creationId xmlns:a16="http://schemas.microsoft.com/office/drawing/2014/main" id="{FBAE7FBF-DBE4-DC4E-AA1D-05D71B0E27C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EEBD265-B4D2-7144-AE07-06FC7F41E12A}"/>
              </a:ext>
            </a:extLst>
          </p:cNvPr>
          <p:cNvSpPr>
            <a:spLocks noGrp="1"/>
          </p:cNvSpPr>
          <p:nvPr>
            <p:ph type="sldNum" sz="quarter" idx="4"/>
          </p:nvPr>
        </p:nvSpPr>
        <p:spPr/>
        <p:txBody>
          <a:bodyPr/>
          <a:lstStyle/>
          <a:p>
            <a:fld id="{3D966009-6E5A-4F8C-8CA7-E37AFBF5FB92}" type="slidenum">
              <a:rPr lang="en-US" smtClean="0"/>
              <a:t>125</a:t>
            </a:fld>
            <a:endParaRPr lang="en-US"/>
          </a:p>
        </p:txBody>
      </p:sp>
      <p:sp>
        <p:nvSpPr>
          <p:cNvPr id="3" name="Title 2">
            <a:extLst>
              <a:ext uri="{FF2B5EF4-FFF2-40B4-BE49-F238E27FC236}">
                <a16:creationId xmlns:a16="http://schemas.microsoft.com/office/drawing/2014/main" id="{827B3717-F112-BC4E-B175-0DD4B8F8A999}"/>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16AD0AC-441E-CE4C-BD1A-E9EF17606F7D}"/>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616A223-56A8-024F-8662-F78885F22AAF}"/>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D5CB72CD-11CB-0743-B9D5-C1F1F7B9FDA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76C88C4-3645-1A48-9AF0-3E773BCDA569}"/>
              </a:ext>
            </a:extLst>
          </p:cNvPr>
          <p:cNvSpPr>
            <a:spLocks noGrp="1"/>
          </p:cNvSpPr>
          <p:nvPr>
            <p:ph sz="quarter" idx="14"/>
          </p:nvPr>
        </p:nvSpPr>
        <p:spPr/>
        <p:txBody>
          <a:bodyPr/>
          <a:lstStyle/>
          <a:p>
            <a:endParaRPr lang="en-GB"/>
          </a:p>
        </p:txBody>
      </p:sp>
      <p:sp>
        <p:nvSpPr>
          <p:cNvPr id="9" name="Block Arc 8">
            <a:extLst>
              <a:ext uri="{FF2B5EF4-FFF2-40B4-BE49-F238E27FC236}">
                <a16:creationId xmlns:a16="http://schemas.microsoft.com/office/drawing/2014/main" id="{E23B15F7-E0C8-044B-BC57-2463C9CA5001}"/>
              </a:ext>
            </a:extLst>
          </p:cNvPr>
          <p:cNvSpPr/>
          <p:nvPr/>
        </p:nvSpPr>
        <p:spPr>
          <a:xfrm>
            <a:off x="5732370" y="2726020"/>
            <a:ext cx="2378214" cy="2378214"/>
          </a:xfrm>
          <a:prstGeom prst="blockArc">
            <a:avLst>
              <a:gd name="adj1" fmla="val 10800000"/>
              <a:gd name="adj2" fmla="val 0"/>
              <a:gd name="adj3" fmla="val 31042"/>
            </a:avLst>
          </a:prstGeom>
          <a:solidFill>
            <a:srgbClr val="3938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sp>
        <p:nvSpPr>
          <p:cNvPr id="10" name="Block Arc 9">
            <a:extLst>
              <a:ext uri="{FF2B5EF4-FFF2-40B4-BE49-F238E27FC236}">
                <a16:creationId xmlns:a16="http://schemas.microsoft.com/office/drawing/2014/main" id="{353CBE9D-8752-4B49-B33D-B29422DEF1E3}"/>
              </a:ext>
            </a:extLst>
          </p:cNvPr>
          <p:cNvSpPr/>
          <p:nvPr/>
        </p:nvSpPr>
        <p:spPr>
          <a:xfrm rot="10800000">
            <a:off x="4082374" y="2726020"/>
            <a:ext cx="2378214" cy="2378214"/>
          </a:xfrm>
          <a:prstGeom prst="blockArc">
            <a:avLst>
              <a:gd name="adj1" fmla="val 10800000"/>
              <a:gd name="adj2" fmla="val 0"/>
              <a:gd name="adj3" fmla="val 31042"/>
            </a:avLst>
          </a:prstGeom>
          <a:solidFill>
            <a:srgbClr val="3938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grpSp>
        <p:nvGrpSpPr>
          <p:cNvPr id="11" name="Group 10">
            <a:extLst>
              <a:ext uri="{FF2B5EF4-FFF2-40B4-BE49-F238E27FC236}">
                <a16:creationId xmlns:a16="http://schemas.microsoft.com/office/drawing/2014/main" id="{33A0D3DF-0215-F94A-8749-AC008D769EF9}"/>
              </a:ext>
            </a:extLst>
          </p:cNvPr>
          <p:cNvGrpSpPr/>
          <p:nvPr/>
        </p:nvGrpSpPr>
        <p:grpSpPr>
          <a:xfrm>
            <a:off x="6870358" y="4827372"/>
            <a:ext cx="4393805" cy="871880"/>
            <a:chOff x="-740680" y="1114177"/>
            <a:chExt cx="4125026" cy="871880"/>
          </a:xfrm>
        </p:grpSpPr>
        <p:sp>
          <p:nvSpPr>
            <p:cNvPr id="12" name="TextBox 11">
              <a:extLst>
                <a:ext uri="{FF2B5EF4-FFF2-40B4-BE49-F238E27FC236}">
                  <a16:creationId xmlns:a16="http://schemas.microsoft.com/office/drawing/2014/main" id="{6FFCAB3C-B09A-9C47-89E9-901C57A32251}"/>
                </a:ext>
              </a:extLst>
            </p:cNvPr>
            <p:cNvSpPr txBox="1"/>
            <p:nvPr/>
          </p:nvSpPr>
          <p:spPr>
            <a:xfrm>
              <a:off x="-740680" y="1114177"/>
              <a:ext cx="4125026"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3" name="TextBox 12">
              <a:extLst>
                <a:ext uri="{FF2B5EF4-FFF2-40B4-BE49-F238E27FC236}">
                  <a16:creationId xmlns:a16="http://schemas.microsoft.com/office/drawing/2014/main" id="{3557D0A8-B097-604E-9B43-DADBE07C81E6}"/>
                </a:ext>
              </a:extLst>
            </p:cNvPr>
            <p:cNvSpPr txBox="1"/>
            <p:nvPr/>
          </p:nvSpPr>
          <p:spPr>
            <a:xfrm>
              <a:off x="-725681" y="1339726"/>
              <a:ext cx="411002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r>
                <a:rPr lang="en-US" altLang="ko-KR" sz="1200">
                  <a:solidFill>
                    <a:schemeClr val="tx1">
                      <a:lumMod val="75000"/>
                      <a:lumOff val="25000"/>
                    </a:schemeClr>
                  </a:solidFill>
                </a:rPr>
                <a:t>Easy to change colors, photos and Text.</a:t>
              </a:r>
              <a:r>
                <a:rPr lang="ko-KR" altLang="en-US" sz="1200">
                  <a:solidFill>
                    <a:schemeClr val="tx1">
                      <a:lumMod val="75000"/>
                      <a:lumOff val="25000"/>
                    </a:schemeClr>
                  </a:solidFill>
                </a:rPr>
                <a:t> </a:t>
              </a:r>
              <a:endParaRPr lang="en-US" altLang="ko-KR" sz="1200">
                <a:solidFill>
                  <a:schemeClr val="tx1">
                    <a:lumMod val="75000"/>
                    <a:lumOff val="25000"/>
                  </a:schemeClr>
                </a:solidFill>
                <a:cs typeface="Arial" pitchFamily="34" charset="0"/>
              </a:endParaRPr>
            </a:p>
          </p:txBody>
        </p:sp>
      </p:grpSp>
      <p:grpSp>
        <p:nvGrpSpPr>
          <p:cNvPr id="14" name="Group 13">
            <a:extLst>
              <a:ext uri="{FF2B5EF4-FFF2-40B4-BE49-F238E27FC236}">
                <a16:creationId xmlns:a16="http://schemas.microsoft.com/office/drawing/2014/main" id="{A6762E09-FA90-284E-8EA4-7330CB2B60BF}"/>
              </a:ext>
            </a:extLst>
          </p:cNvPr>
          <p:cNvGrpSpPr/>
          <p:nvPr/>
        </p:nvGrpSpPr>
        <p:grpSpPr>
          <a:xfrm>
            <a:off x="912390" y="1878732"/>
            <a:ext cx="4392778" cy="871880"/>
            <a:chOff x="-740680" y="1114177"/>
            <a:chExt cx="4125026" cy="871880"/>
          </a:xfrm>
        </p:grpSpPr>
        <p:sp>
          <p:nvSpPr>
            <p:cNvPr id="15" name="TextBox 14">
              <a:extLst>
                <a:ext uri="{FF2B5EF4-FFF2-40B4-BE49-F238E27FC236}">
                  <a16:creationId xmlns:a16="http://schemas.microsoft.com/office/drawing/2014/main" id="{93B69823-7AAA-044D-96A8-ABF207152025}"/>
                </a:ext>
              </a:extLst>
            </p:cNvPr>
            <p:cNvSpPr txBox="1"/>
            <p:nvPr/>
          </p:nvSpPr>
          <p:spPr>
            <a:xfrm>
              <a:off x="-740680" y="1114177"/>
              <a:ext cx="4125026"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6" name="TextBox 15">
              <a:extLst>
                <a:ext uri="{FF2B5EF4-FFF2-40B4-BE49-F238E27FC236}">
                  <a16:creationId xmlns:a16="http://schemas.microsoft.com/office/drawing/2014/main" id="{426C2AF8-C43D-1640-BE57-C299349CF95D}"/>
                </a:ext>
              </a:extLst>
            </p:cNvPr>
            <p:cNvSpPr txBox="1"/>
            <p:nvPr/>
          </p:nvSpPr>
          <p:spPr>
            <a:xfrm>
              <a:off x="-725681" y="1339726"/>
              <a:ext cx="411002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r>
                <a:rPr lang="en-US" altLang="ko-KR" sz="1200">
                  <a:solidFill>
                    <a:schemeClr val="tx1">
                      <a:lumMod val="75000"/>
                      <a:lumOff val="25000"/>
                    </a:schemeClr>
                  </a:solidFill>
                </a:rPr>
                <a:t>Easy to change colors, photos and Text.</a:t>
              </a:r>
              <a:r>
                <a:rPr lang="ko-KR" altLang="en-US" sz="1200">
                  <a:solidFill>
                    <a:schemeClr val="tx1">
                      <a:lumMod val="75000"/>
                      <a:lumOff val="25000"/>
                    </a:schemeClr>
                  </a:solidFill>
                </a:rPr>
                <a:t> </a:t>
              </a:r>
              <a:endParaRPr lang="en-US" altLang="ko-KR" sz="1200">
                <a:solidFill>
                  <a:schemeClr val="tx1">
                    <a:lumMod val="75000"/>
                    <a:lumOff val="25000"/>
                  </a:schemeClr>
                </a:solidFill>
                <a:cs typeface="Arial" pitchFamily="34" charset="0"/>
              </a:endParaRPr>
            </a:p>
          </p:txBody>
        </p:sp>
      </p:grpSp>
      <p:sp>
        <p:nvSpPr>
          <p:cNvPr id="17" name="TextBox 16">
            <a:extLst>
              <a:ext uri="{FF2B5EF4-FFF2-40B4-BE49-F238E27FC236}">
                <a16:creationId xmlns:a16="http://schemas.microsoft.com/office/drawing/2014/main" id="{365CD140-6A2F-3C45-BBC4-4886BDF60BC7}"/>
              </a:ext>
            </a:extLst>
          </p:cNvPr>
          <p:cNvSpPr txBox="1"/>
          <p:nvPr/>
        </p:nvSpPr>
        <p:spPr>
          <a:xfrm>
            <a:off x="7553150" y="3377919"/>
            <a:ext cx="377047" cy="646331"/>
          </a:xfrm>
          <a:prstGeom prst="rect">
            <a:avLst/>
          </a:prstGeom>
          <a:noFill/>
        </p:spPr>
        <p:txBody>
          <a:bodyPr wrap="square" rtlCol="0" anchor="ctr">
            <a:spAutoFit/>
          </a:bodyPr>
          <a:lstStyle/>
          <a:p>
            <a:pPr algn="ctr"/>
            <a:r>
              <a:rPr lang="en-US" altLang="ko-KR" sz="3600" b="1">
                <a:solidFill>
                  <a:schemeClr val="bg1"/>
                </a:solidFill>
                <a:cs typeface="Arial" pitchFamily="34" charset="0"/>
              </a:rPr>
              <a:t>B</a:t>
            </a:r>
            <a:endParaRPr lang="ko-KR" altLang="en-US" sz="3600" b="1">
              <a:solidFill>
                <a:schemeClr val="bg1"/>
              </a:solidFill>
              <a:cs typeface="Arial" pitchFamily="34" charset="0"/>
            </a:endParaRPr>
          </a:p>
        </p:txBody>
      </p:sp>
      <p:sp>
        <p:nvSpPr>
          <p:cNvPr id="18" name="TextBox 17">
            <a:extLst>
              <a:ext uri="{FF2B5EF4-FFF2-40B4-BE49-F238E27FC236}">
                <a16:creationId xmlns:a16="http://schemas.microsoft.com/office/drawing/2014/main" id="{0986F82D-D2A8-574E-B506-05614D3A7459}"/>
              </a:ext>
            </a:extLst>
          </p:cNvPr>
          <p:cNvSpPr txBox="1"/>
          <p:nvPr/>
        </p:nvSpPr>
        <p:spPr>
          <a:xfrm>
            <a:off x="6134424" y="2951480"/>
            <a:ext cx="1715401" cy="307777"/>
          </a:xfrm>
          <a:prstGeom prst="rect">
            <a:avLst/>
          </a:prstGeom>
          <a:noFill/>
        </p:spPr>
        <p:txBody>
          <a:bodyPr wrap="square" rtlCol="0">
            <a:spAutoFit/>
          </a:bodyPr>
          <a:lstStyle/>
          <a:p>
            <a:pPr algn="ctr"/>
            <a:r>
              <a:rPr lang="en-US" altLang="ko-KR" sz="1400" b="1">
                <a:solidFill>
                  <a:schemeClr val="bg1"/>
                </a:solidFill>
                <a:cs typeface="Arial" pitchFamily="34" charset="0"/>
              </a:rPr>
              <a:t>Add Text</a:t>
            </a:r>
            <a:endParaRPr lang="ko-KR" altLang="en-US" sz="1400" b="1">
              <a:solidFill>
                <a:schemeClr val="bg1"/>
              </a:solidFill>
              <a:cs typeface="Arial" pitchFamily="34" charset="0"/>
            </a:endParaRPr>
          </a:p>
        </p:txBody>
      </p:sp>
      <p:grpSp>
        <p:nvGrpSpPr>
          <p:cNvPr id="19" name="Group 18">
            <a:extLst>
              <a:ext uri="{FF2B5EF4-FFF2-40B4-BE49-F238E27FC236}">
                <a16:creationId xmlns:a16="http://schemas.microsoft.com/office/drawing/2014/main" id="{254FC6CA-9F29-1A42-8177-698F4D961175}"/>
              </a:ext>
            </a:extLst>
          </p:cNvPr>
          <p:cNvGrpSpPr/>
          <p:nvPr/>
        </p:nvGrpSpPr>
        <p:grpSpPr>
          <a:xfrm>
            <a:off x="1068912" y="5050424"/>
            <a:ext cx="2671264" cy="579492"/>
            <a:chOff x="661588" y="5061430"/>
            <a:chExt cx="2671264" cy="579492"/>
          </a:xfrm>
        </p:grpSpPr>
        <p:sp>
          <p:nvSpPr>
            <p:cNvPr id="20" name="Chevron 43">
              <a:extLst>
                <a:ext uri="{FF2B5EF4-FFF2-40B4-BE49-F238E27FC236}">
                  <a16:creationId xmlns:a16="http://schemas.microsoft.com/office/drawing/2014/main" id="{3E3C8979-CA90-4B4F-83B4-AA0144410CB7}"/>
                </a:ext>
              </a:extLst>
            </p:cNvPr>
            <p:cNvSpPr/>
            <p:nvPr/>
          </p:nvSpPr>
          <p:spPr>
            <a:xfrm>
              <a:off x="661588" y="5073929"/>
              <a:ext cx="252000" cy="2520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a:solidFill>
                  <a:schemeClr val="tx1">
                    <a:lumMod val="75000"/>
                    <a:lumOff val="25000"/>
                  </a:schemeClr>
                </a:solidFill>
              </a:endParaRPr>
            </a:p>
          </p:txBody>
        </p:sp>
        <p:sp>
          <p:nvSpPr>
            <p:cNvPr id="21" name="TextBox 20">
              <a:extLst>
                <a:ext uri="{FF2B5EF4-FFF2-40B4-BE49-F238E27FC236}">
                  <a16:creationId xmlns:a16="http://schemas.microsoft.com/office/drawing/2014/main" id="{6AFA5327-B3D4-7144-8AA5-865B967DF35E}"/>
                </a:ext>
              </a:extLst>
            </p:cNvPr>
            <p:cNvSpPr txBox="1"/>
            <p:nvPr/>
          </p:nvSpPr>
          <p:spPr>
            <a:xfrm>
              <a:off x="913588" y="5061430"/>
              <a:ext cx="2419264" cy="276999"/>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Simple PowerPoint Presentation </a:t>
              </a:r>
              <a:endParaRPr lang="ko-KR" altLang="en-US" sz="1200">
                <a:solidFill>
                  <a:schemeClr val="tx1">
                    <a:lumMod val="75000"/>
                    <a:lumOff val="25000"/>
                  </a:schemeClr>
                </a:solidFill>
                <a:cs typeface="Arial" pitchFamily="34" charset="0"/>
              </a:endParaRPr>
            </a:p>
          </p:txBody>
        </p:sp>
        <p:sp>
          <p:nvSpPr>
            <p:cNvPr id="22" name="Chevron 45">
              <a:extLst>
                <a:ext uri="{FF2B5EF4-FFF2-40B4-BE49-F238E27FC236}">
                  <a16:creationId xmlns:a16="http://schemas.microsoft.com/office/drawing/2014/main" id="{DF16C5D7-0A36-CF4B-9DB8-900199CF2ADF}"/>
                </a:ext>
              </a:extLst>
            </p:cNvPr>
            <p:cNvSpPr/>
            <p:nvPr/>
          </p:nvSpPr>
          <p:spPr>
            <a:xfrm>
              <a:off x="661588" y="5376422"/>
              <a:ext cx="252000" cy="25200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a:solidFill>
                  <a:schemeClr val="tx1">
                    <a:lumMod val="75000"/>
                    <a:lumOff val="25000"/>
                  </a:schemeClr>
                </a:solidFill>
              </a:endParaRPr>
            </a:p>
          </p:txBody>
        </p:sp>
        <p:sp>
          <p:nvSpPr>
            <p:cNvPr id="23" name="TextBox 22">
              <a:extLst>
                <a:ext uri="{FF2B5EF4-FFF2-40B4-BE49-F238E27FC236}">
                  <a16:creationId xmlns:a16="http://schemas.microsoft.com/office/drawing/2014/main" id="{CFE9AD70-8263-234E-8B5E-E6045C621E16}"/>
                </a:ext>
              </a:extLst>
            </p:cNvPr>
            <p:cNvSpPr txBox="1"/>
            <p:nvPr/>
          </p:nvSpPr>
          <p:spPr>
            <a:xfrm>
              <a:off x="913588" y="5363923"/>
              <a:ext cx="2419264" cy="276999"/>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Simple PowerPoint Presentation </a:t>
              </a:r>
              <a:endParaRPr lang="ko-KR" altLang="en-US" sz="1200">
                <a:solidFill>
                  <a:schemeClr val="tx1">
                    <a:lumMod val="75000"/>
                    <a:lumOff val="25000"/>
                  </a:schemeClr>
                </a:solidFill>
                <a:cs typeface="Arial" pitchFamily="34" charset="0"/>
              </a:endParaRPr>
            </a:p>
          </p:txBody>
        </p:sp>
      </p:grpSp>
      <p:grpSp>
        <p:nvGrpSpPr>
          <p:cNvPr id="24" name="Group 23">
            <a:extLst>
              <a:ext uri="{FF2B5EF4-FFF2-40B4-BE49-F238E27FC236}">
                <a16:creationId xmlns:a16="http://schemas.microsoft.com/office/drawing/2014/main" id="{BE14286F-2FC6-3845-9CBF-782300AAC871}"/>
              </a:ext>
            </a:extLst>
          </p:cNvPr>
          <p:cNvGrpSpPr/>
          <p:nvPr/>
        </p:nvGrpSpPr>
        <p:grpSpPr>
          <a:xfrm>
            <a:off x="8599228" y="1878732"/>
            <a:ext cx="2671264" cy="579492"/>
            <a:chOff x="661588" y="5061430"/>
            <a:chExt cx="2671264" cy="579492"/>
          </a:xfrm>
        </p:grpSpPr>
        <p:sp>
          <p:nvSpPr>
            <p:cNvPr id="25" name="Chevron 48">
              <a:extLst>
                <a:ext uri="{FF2B5EF4-FFF2-40B4-BE49-F238E27FC236}">
                  <a16:creationId xmlns:a16="http://schemas.microsoft.com/office/drawing/2014/main" id="{9E8D4B7E-4728-7740-98EC-5FF7628D142B}"/>
                </a:ext>
              </a:extLst>
            </p:cNvPr>
            <p:cNvSpPr/>
            <p:nvPr/>
          </p:nvSpPr>
          <p:spPr>
            <a:xfrm>
              <a:off x="661588" y="5073929"/>
              <a:ext cx="252000" cy="252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a:solidFill>
                  <a:schemeClr val="tx1">
                    <a:lumMod val="75000"/>
                    <a:lumOff val="25000"/>
                  </a:schemeClr>
                </a:solidFill>
              </a:endParaRPr>
            </a:p>
          </p:txBody>
        </p:sp>
        <p:sp>
          <p:nvSpPr>
            <p:cNvPr id="26" name="TextBox 25">
              <a:extLst>
                <a:ext uri="{FF2B5EF4-FFF2-40B4-BE49-F238E27FC236}">
                  <a16:creationId xmlns:a16="http://schemas.microsoft.com/office/drawing/2014/main" id="{AA4215A5-05AA-824C-954E-7204297B3CD4}"/>
                </a:ext>
              </a:extLst>
            </p:cNvPr>
            <p:cNvSpPr txBox="1"/>
            <p:nvPr/>
          </p:nvSpPr>
          <p:spPr>
            <a:xfrm>
              <a:off x="913588" y="5061430"/>
              <a:ext cx="2419264" cy="276999"/>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Simple PowerPoint Presentation </a:t>
              </a:r>
              <a:endParaRPr lang="ko-KR" altLang="en-US" sz="1200">
                <a:solidFill>
                  <a:schemeClr val="tx1">
                    <a:lumMod val="75000"/>
                    <a:lumOff val="25000"/>
                  </a:schemeClr>
                </a:solidFill>
                <a:cs typeface="Arial" pitchFamily="34" charset="0"/>
              </a:endParaRPr>
            </a:p>
          </p:txBody>
        </p:sp>
        <p:sp>
          <p:nvSpPr>
            <p:cNvPr id="27" name="Chevron 50">
              <a:extLst>
                <a:ext uri="{FF2B5EF4-FFF2-40B4-BE49-F238E27FC236}">
                  <a16:creationId xmlns:a16="http://schemas.microsoft.com/office/drawing/2014/main" id="{13D8A3D2-7A65-1C43-BB56-E91038902AE9}"/>
                </a:ext>
              </a:extLst>
            </p:cNvPr>
            <p:cNvSpPr/>
            <p:nvPr/>
          </p:nvSpPr>
          <p:spPr>
            <a:xfrm>
              <a:off x="661588" y="5376422"/>
              <a:ext cx="252000" cy="252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200">
                <a:solidFill>
                  <a:schemeClr val="tx1">
                    <a:lumMod val="75000"/>
                    <a:lumOff val="25000"/>
                  </a:schemeClr>
                </a:solidFill>
              </a:endParaRPr>
            </a:p>
          </p:txBody>
        </p:sp>
        <p:sp>
          <p:nvSpPr>
            <p:cNvPr id="28" name="TextBox 27">
              <a:extLst>
                <a:ext uri="{FF2B5EF4-FFF2-40B4-BE49-F238E27FC236}">
                  <a16:creationId xmlns:a16="http://schemas.microsoft.com/office/drawing/2014/main" id="{55FF91AD-0C99-1D48-AFB4-EB01468B4C1F}"/>
                </a:ext>
              </a:extLst>
            </p:cNvPr>
            <p:cNvSpPr txBox="1"/>
            <p:nvPr/>
          </p:nvSpPr>
          <p:spPr>
            <a:xfrm>
              <a:off x="913588" y="5363923"/>
              <a:ext cx="2419264" cy="276999"/>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Simple PowerPoint Presentation </a:t>
              </a:r>
              <a:endParaRPr lang="ko-KR" altLang="en-US" sz="1200">
                <a:solidFill>
                  <a:schemeClr val="tx1">
                    <a:lumMod val="75000"/>
                    <a:lumOff val="25000"/>
                  </a:schemeClr>
                </a:solidFill>
                <a:cs typeface="Arial" pitchFamily="34" charset="0"/>
              </a:endParaRPr>
            </a:p>
          </p:txBody>
        </p:sp>
      </p:grpSp>
      <p:grpSp>
        <p:nvGrpSpPr>
          <p:cNvPr id="29" name="Group 28">
            <a:extLst>
              <a:ext uri="{FF2B5EF4-FFF2-40B4-BE49-F238E27FC236}">
                <a16:creationId xmlns:a16="http://schemas.microsoft.com/office/drawing/2014/main" id="{506A4D73-6C6C-4142-8F67-5C86BBCFBF28}"/>
              </a:ext>
            </a:extLst>
          </p:cNvPr>
          <p:cNvGrpSpPr/>
          <p:nvPr/>
        </p:nvGrpSpPr>
        <p:grpSpPr>
          <a:xfrm>
            <a:off x="4082370" y="2726020"/>
            <a:ext cx="4028214" cy="2378214"/>
            <a:chOff x="2558370" y="2706970"/>
            <a:chExt cx="4028214" cy="2378214"/>
          </a:xfrm>
        </p:grpSpPr>
        <p:sp>
          <p:nvSpPr>
            <p:cNvPr id="30" name="Block Arc 29">
              <a:extLst>
                <a:ext uri="{FF2B5EF4-FFF2-40B4-BE49-F238E27FC236}">
                  <a16:creationId xmlns:a16="http://schemas.microsoft.com/office/drawing/2014/main" id="{E8F91035-A61E-C343-B996-7DAA4E872D23}"/>
                </a:ext>
              </a:extLst>
            </p:cNvPr>
            <p:cNvSpPr/>
            <p:nvPr/>
          </p:nvSpPr>
          <p:spPr>
            <a:xfrm rot="10800000">
              <a:off x="4208370" y="2706970"/>
              <a:ext cx="2378214" cy="2378214"/>
            </a:xfrm>
            <a:prstGeom prst="blockArc">
              <a:avLst>
                <a:gd name="adj1" fmla="val 10800000"/>
                <a:gd name="adj2" fmla="val 0"/>
                <a:gd name="adj3" fmla="val 31042"/>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sp>
          <p:nvSpPr>
            <p:cNvPr id="31" name="Block Arc 30">
              <a:extLst>
                <a:ext uri="{FF2B5EF4-FFF2-40B4-BE49-F238E27FC236}">
                  <a16:creationId xmlns:a16="http://schemas.microsoft.com/office/drawing/2014/main" id="{CE257F86-3DC1-1647-8E26-5E5F28D7E438}"/>
                </a:ext>
              </a:extLst>
            </p:cNvPr>
            <p:cNvSpPr/>
            <p:nvPr/>
          </p:nvSpPr>
          <p:spPr>
            <a:xfrm>
              <a:off x="2558370" y="2706970"/>
              <a:ext cx="2378214" cy="2378214"/>
            </a:xfrm>
            <a:prstGeom prst="blockArc">
              <a:avLst>
                <a:gd name="adj1" fmla="val 10800000"/>
                <a:gd name="adj2" fmla="val 0"/>
                <a:gd name="adj3" fmla="val 31042"/>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sp>
          <p:nvSpPr>
            <p:cNvPr id="32" name="Isosceles Triangle 25">
              <a:extLst>
                <a:ext uri="{FF2B5EF4-FFF2-40B4-BE49-F238E27FC236}">
                  <a16:creationId xmlns:a16="http://schemas.microsoft.com/office/drawing/2014/main" id="{775C7863-43E9-024B-B9C6-9E21DA0AADB3}"/>
                </a:ext>
              </a:extLst>
            </p:cNvPr>
            <p:cNvSpPr/>
            <p:nvPr/>
          </p:nvSpPr>
          <p:spPr>
            <a:xfrm rot="10800000">
              <a:off x="2558371" y="3893049"/>
              <a:ext cx="737820" cy="363402"/>
            </a:xfrm>
            <a:prstGeom prst="triangl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grpSp>
      <p:sp>
        <p:nvSpPr>
          <p:cNvPr id="33" name="Isosceles Triangle 26">
            <a:extLst>
              <a:ext uri="{FF2B5EF4-FFF2-40B4-BE49-F238E27FC236}">
                <a16:creationId xmlns:a16="http://schemas.microsoft.com/office/drawing/2014/main" id="{9C064951-D72F-A04A-B61B-8EE2B5FC0FF4}"/>
              </a:ext>
            </a:extLst>
          </p:cNvPr>
          <p:cNvSpPr/>
          <p:nvPr/>
        </p:nvSpPr>
        <p:spPr>
          <a:xfrm rot="10800000">
            <a:off x="7372763" y="3908498"/>
            <a:ext cx="737820" cy="363402"/>
          </a:xfrm>
          <a:prstGeom prst="triangle">
            <a:avLst/>
          </a:prstGeom>
          <a:solidFill>
            <a:srgbClr val="39383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lumMod val="75000"/>
                  <a:lumOff val="25000"/>
                </a:schemeClr>
              </a:solidFill>
            </a:endParaRPr>
          </a:p>
        </p:txBody>
      </p:sp>
      <p:sp>
        <p:nvSpPr>
          <p:cNvPr id="34" name="TextBox 33">
            <a:extLst>
              <a:ext uri="{FF2B5EF4-FFF2-40B4-BE49-F238E27FC236}">
                <a16:creationId xmlns:a16="http://schemas.microsoft.com/office/drawing/2014/main" id="{EC4493C3-4C6C-F640-9E5B-F8D9D96D8B12}"/>
              </a:ext>
            </a:extLst>
          </p:cNvPr>
          <p:cNvSpPr txBox="1"/>
          <p:nvPr/>
        </p:nvSpPr>
        <p:spPr>
          <a:xfrm>
            <a:off x="4419023" y="2951480"/>
            <a:ext cx="1715401" cy="307777"/>
          </a:xfrm>
          <a:prstGeom prst="rect">
            <a:avLst/>
          </a:prstGeom>
          <a:noFill/>
        </p:spPr>
        <p:txBody>
          <a:bodyPr wrap="square" rtlCol="0">
            <a:spAutoFit/>
          </a:bodyPr>
          <a:lstStyle/>
          <a:p>
            <a:pPr algn="ctr"/>
            <a:r>
              <a:rPr lang="en-US" altLang="ko-KR" sz="1400" b="1">
                <a:solidFill>
                  <a:schemeClr val="bg1"/>
                </a:solidFill>
                <a:cs typeface="Arial" pitchFamily="34" charset="0"/>
              </a:rPr>
              <a:t>Add Text</a:t>
            </a:r>
            <a:endParaRPr lang="ko-KR" altLang="en-US" sz="1400" b="1">
              <a:solidFill>
                <a:schemeClr val="bg1"/>
              </a:solidFill>
              <a:cs typeface="Arial" pitchFamily="34" charset="0"/>
            </a:endParaRPr>
          </a:p>
        </p:txBody>
      </p:sp>
      <p:sp>
        <p:nvSpPr>
          <p:cNvPr id="35" name="TextBox 34">
            <a:extLst>
              <a:ext uri="{FF2B5EF4-FFF2-40B4-BE49-F238E27FC236}">
                <a16:creationId xmlns:a16="http://schemas.microsoft.com/office/drawing/2014/main" id="{E46DA343-A2CC-4343-9CA7-290CF3B42CAB}"/>
              </a:ext>
            </a:extLst>
          </p:cNvPr>
          <p:cNvSpPr txBox="1"/>
          <p:nvPr/>
        </p:nvSpPr>
        <p:spPr>
          <a:xfrm>
            <a:off x="4262758" y="3377919"/>
            <a:ext cx="377047" cy="646331"/>
          </a:xfrm>
          <a:prstGeom prst="rect">
            <a:avLst/>
          </a:prstGeom>
          <a:noFill/>
        </p:spPr>
        <p:txBody>
          <a:bodyPr wrap="square" rtlCol="0" anchor="ctr">
            <a:spAutoFit/>
          </a:bodyPr>
          <a:lstStyle/>
          <a:p>
            <a:pPr algn="ctr"/>
            <a:r>
              <a:rPr lang="en-US" altLang="ko-KR" sz="3600" b="1">
                <a:solidFill>
                  <a:schemeClr val="bg1"/>
                </a:solidFill>
                <a:cs typeface="Arial" pitchFamily="34" charset="0"/>
              </a:rPr>
              <a:t>A</a:t>
            </a:r>
            <a:endParaRPr lang="ko-KR" altLang="en-US" sz="3600" b="1">
              <a:solidFill>
                <a:schemeClr val="bg1"/>
              </a:solidFill>
              <a:cs typeface="Arial" pitchFamily="34" charset="0"/>
            </a:endParaRPr>
          </a:p>
        </p:txBody>
      </p:sp>
      <p:sp>
        <p:nvSpPr>
          <p:cNvPr id="36" name="Freeform 55">
            <a:extLst>
              <a:ext uri="{FF2B5EF4-FFF2-40B4-BE49-F238E27FC236}">
                <a16:creationId xmlns:a16="http://schemas.microsoft.com/office/drawing/2014/main" id="{78ACBB39-39D9-A54E-BF12-E494CAD39056}"/>
              </a:ext>
            </a:extLst>
          </p:cNvPr>
          <p:cNvSpPr/>
          <p:nvPr/>
        </p:nvSpPr>
        <p:spPr>
          <a:xfrm rot="2700000">
            <a:off x="5186148" y="3600441"/>
            <a:ext cx="257782" cy="631653"/>
          </a:xfrm>
          <a:custGeom>
            <a:avLst/>
            <a:gdLst/>
            <a:ahLst/>
            <a:cxnLst/>
            <a:rect l="l" t="t" r="r" b="b"/>
            <a:pathLst>
              <a:path w="1060423" h="2598393">
                <a:moveTo>
                  <a:pt x="511607" y="1989888"/>
                </a:moveTo>
                <a:cubicBezTo>
                  <a:pt x="421916" y="2038892"/>
                  <a:pt x="392123" y="2248491"/>
                  <a:pt x="577615" y="2379095"/>
                </a:cubicBezTo>
                <a:cubicBezTo>
                  <a:pt x="531205" y="2257454"/>
                  <a:pt x="562054" y="2197447"/>
                  <a:pt x="592034" y="2136572"/>
                </a:cubicBezTo>
                <a:cubicBezTo>
                  <a:pt x="592534" y="2167519"/>
                  <a:pt x="560915" y="2234057"/>
                  <a:pt x="638675" y="2272816"/>
                </a:cubicBezTo>
                <a:cubicBezTo>
                  <a:pt x="602283" y="2156226"/>
                  <a:pt x="756001" y="2119500"/>
                  <a:pt x="594605" y="1990756"/>
                </a:cubicBezTo>
                <a:cubicBezTo>
                  <a:pt x="828052" y="2024484"/>
                  <a:pt x="759407" y="2143283"/>
                  <a:pt x="814896" y="2262952"/>
                </a:cubicBezTo>
                <a:cubicBezTo>
                  <a:pt x="774295" y="2270013"/>
                  <a:pt x="715464" y="2161619"/>
                  <a:pt x="728685" y="2212952"/>
                </a:cubicBezTo>
                <a:cubicBezTo>
                  <a:pt x="798068" y="2415798"/>
                  <a:pt x="590532" y="2421590"/>
                  <a:pt x="656442" y="2598393"/>
                </a:cubicBezTo>
                <a:cubicBezTo>
                  <a:pt x="451592" y="2586815"/>
                  <a:pt x="511509" y="2396411"/>
                  <a:pt x="415171" y="2350110"/>
                </a:cubicBezTo>
                <a:cubicBezTo>
                  <a:pt x="389023" y="2345435"/>
                  <a:pt x="357666" y="2366802"/>
                  <a:pt x="415723" y="2461957"/>
                </a:cubicBezTo>
                <a:cubicBezTo>
                  <a:pt x="77590" y="2209980"/>
                  <a:pt x="314998" y="2004011"/>
                  <a:pt x="511607" y="1989888"/>
                </a:cubicBezTo>
                <a:close/>
                <a:moveTo>
                  <a:pt x="344786" y="1884983"/>
                </a:moveTo>
                <a:lnTo>
                  <a:pt x="722598" y="1884983"/>
                </a:lnTo>
                <a:cubicBezTo>
                  <a:pt x="716460" y="1906965"/>
                  <a:pt x="711917" y="1928321"/>
                  <a:pt x="707988" y="1948728"/>
                </a:cubicBezTo>
                <a:lnTo>
                  <a:pt x="357819" y="1948059"/>
                </a:lnTo>
                <a:close/>
                <a:moveTo>
                  <a:pt x="530212" y="651224"/>
                </a:moveTo>
                <a:cubicBezTo>
                  <a:pt x="585486" y="651224"/>
                  <a:pt x="630294" y="696033"/>
                  <a:pt x="630294" y="751307"/>
                </a:cubicBezTo>
                <a:cubicBezTo>
                  <a:pt x="630294" y="806581"/>
                  <a:pt x="585486" y="851389"/>
                  <a:pt x="530212" y="851389"/>
                </a:cubicBezTo>
                <a:cubicBezTo>
                  <a:pt x="474938" y="851389"/>
                  <a:pt x="430129" y="806581"/>
                  <a:pt x="430129" y="751307"/>
                </a:cubicBezTo>
                <a:cubicBezTo>
                  <a:pt x="430129" y="696033"/>
                  <a:pt x="474938" y="651224"/>
                  <a:pt x="530212" y="651224"/>
                </a:cubicBezTo>
                <a:close/>
                <a:moveTo>
                  <a:pt x="530212" y="551141"/>
                </a:moveTo>
                <a:cubicBezTo>
                  <a:pt x="419664" y="551141"/>
                  <a:pt x="330046" y="640759"/>
                  <a:pt x="330046" y="751307"/>
                </a:cubicBezTo>
                <a:cubicBezTo>
                  <a:pt x="330046" y="861855"/>
                  <a:pt x="419664" y="951472"/>
                  <a:pt x="530212" y="951472"/>
                </a:cubicBezTo>
                <a:cubicBezTo>
                  <a:pt x="640760" y="951472"/>
                  <a:pt x="730377" y="861855"/>
                  <a:pt x="730377" y="751307"/>
                </a:cubicBezTo>
                <a:cubicBezTo>
                  <a:pt x="730377" y="640759"/>
                  <a:pt x="640760" y="551141"/>
                  <a:pt x="530212" y="551141"/>
                </a:cubicBezTo>
                <a:close/>
                <a:moveTo>
                  <a:pt x="286245" y="353827"/>
                </a:moveTo>
                <a:cubicBezTo>
                  <a:pt x="438132" y="439406"/>
                  <a:pt x="623290" y="440561"/>
                  <a:pt x="776100" y="356932"/>
                </a:cubicBezTo>
                <a:cubicBezTo>
                  <a:pt x="941305" y="720175"/>
                  <a:pt x="898096" y="1115325"/>
                  <a:pt x="825241" y="1447764"/>
                </a:cubicBezTo>
                <a:lnTo>
                  <a:pt x="1060423" y="1673413"/>
                </a:lnTo>
                <a:lnTo>
                  <a:pt x="1021935" y="1978110"/>
                </a:lnTo>
                <a:lnTo>
                  <a:pt x="745125" y="1786699"/>
                </a:lnTo>
                <a:lnTo>
                  <a:pt x="734250" y="1834148"/>
                </a:lnTo>
                <a:lnTo>
                  <a:pt x="332991" y="1834148"/>
                </a:lnTo>
                <a:cubicBezTo>
                  <a:pt x="330005" y="1820736"/>
                  <a:pt x="326662" y="1807037"/>
                  <a:pt x="323192" y="1793020"/>
                </a:cubicBezTo>
                <a:lnTo>
                  <a:pt x="38489" y="1989888"/>
                </a:lnTo>
                <a:lnTo>
                  <a:pt x="0" y="1685191"/>
                </a:lnTo>
                <a:lnTo>
                  <a:pt x="237343" y="1457469"/>
                </a:lnTo>
                <a:lnTo>
                  <a:pt x="238009" y="1459571"/>
                </a:lnTo>
                <a:lnTo>
                  <a:pt x="242012" y="1446515"/>
                </a:lnTo>
                <a:cubicBezTo>
                  <a:pt x="171205" y="1115067"/>
                  <a:pt x="127758" y="714059"/>
                  <a:pt x="286245" y="353827"/>
                </a:cubicBezTo>
                <a:close/>
                <a:moveTo>
                  <a:pt x="527942" y="0"/>
                </a:moveTo>
                <a:cubicBezTo>
                  <a:pt x="622760" y="95693"/>
                  <a:pt x="695048" y="196745"/>
                  <a:pt x="748164" y="301374"/>
                </a:cubicBezTo>
                <a:cubicBezTo>
                  <a:pt x="612692" y="376844"/>
                  <a:pt x="447588" y="375495"/>
                  <a:pt x="312997" y="298024"/>
                </a:cubicBezTo>
                <a:cubicBezTo>
                  <a:pt x="364591" y="193505"/>
                  <a:pt x="435080" y="93397"/>
                  <a:pt x="52794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7" name="Rounded Rectangle 51">
            <a:extLst>
              <a:ext uri="{FF2B5EF4-FFF2-40B4-BE49-F238E27FC236}">
                <a16:creationId xmlns:a16="http://schemas.microsoft.com/office/drawing/2014/main" id="{9B1CF251-98F3-B24E-9648-94A589306BF9}"/>
              </a:ext>
            </a:extLst>
          </p:cNvPr>
          <p:cNvSpPr/>
          <p:nvPr/>
        </p:nvSpPr>
        <p:spPr>
          <a:xfrm rot="16200000" flipH="1">
            <a:off x="6672914" y="3692240"/>
            <a:ext cx="500257" cy="471122"/>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Tree>
    <p:extLst>
      <p:ext uri="{BB962C8B-B14F-4D97-AF65-F5344CB8AC3E}">
        <p14:creationId xmlns:p14="http://schemas.microsoft.com/office/powerpoint/2010/main" val="425238971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A0DD3D4B-B516-A644-8481-BA5433F49A02}"/>
              </a:ext>
            </a:extLst>
          </p:cNvPr>
          <p:cNvGraphicFramePr>
            <a:graphicFrameLocks noChangeAspect="1"/>
          </p:cNvGraphicFramePr>
          <p:nvPr>
            <p:custDataLst>
              <p:tags r:id="rId1"/>
            </p:custDataLst>
            <p:extLst>
              <p:ext uri="{D42A27DB-BD31-4B8C-83A1-F6EECF244321}">
                <p14:modId xmlns:p14="http://schemas.microsoft.com/office/powerpoint/2010/main" val="757286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5" name="Object 54" hidden="1">
                        <a:extLst>
                          <a:ext uri="{FF2B5EF4-FFF2-40B4-BE49-F238E27FC236}">
                            <a16:creationId xmlns:a16="http://schemas.microsoft.com/office/drawing/2014/main" id="{A0DD3D4B-B516-A644-8481-BA5433F49A0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E5204BB-54E8-1D42-B5AC-22B93F415ED8}"/>
              </a:ext>
            </a:extLst>
          </p:cNvPr>
          <p:cNvSpPr>
            <a:spLocks noGrp="1"/>
          </p:cNvSpPr>
          <p:nvPr>
            <p:ph type="sldNum" sz="quarter" idx="4"/>
          </p:nvPr>
        </p:nvSpPr>
        <p:spPr/>
        <p:txBody>
          <a:bodyPr/>
          <a:lstStyle/>
          <a:p>
            <a:fld id="{3D966009-6E5A-4F8C-8CA7-E37AFBF5FB92}" type="slidenum">
              <a:rPr lang="en-US" smtClean="0"/>
              <a:t>126</a:t>
            </a:fld>
            <a:endParaRPr lang="en-US"/>
          </a:p>
        </p:txBody>
      </p:sp>
      <p:sp>
        <p:nvSpPr>
          <p:cNvPr id="3" name="Title 2">
            <a:extLst>
              <a:ext uri="{FF2B5EF4-FFF2-40B4-BE49-F238E27FC236}">
                <a16:creationId xmlns:a16="http://schemas.microsoft.com/office/drawing/2014/main" id="{365FD84C-E8EB-2B4A-9DE3-29A44F41A9AB}"/>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BE11597F-0790-6844-BE9A-7B0247705E2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A3BDBE3-966F-124B-BEFB-1C6352E7A970}"/>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16F87B79-FE40-3040-8457-A002F2571985}"/>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36466EDF-34FA-5C40-9C06-7592E26BADC4}"/>
              </a:ext>
            </a:extLst>
          </p:cNvPr>
          <p:cNvSpPr>
            <a:spLocks noGrp="1"/>
          </p:cNvSpPr>
          <p:nvPr>
            <p:ph sz="quarter" idx="14"/>
          </p:nvPr>
        </p:nvSpPr>
        <p:spPr/>
        <p:txBody>
          <a:bodyPr/>
          <a:lstStyle/>
          <a:p>
            <a:endParaRPr lang="en-GB"/>
          </a:p>
        </p:txBody>
      </p:sp>
      <p:grpSp>
        <p:nvGrpSpPr>
          <p:cNvPr id="52" name="Group 51">
            <a:extLst>
              <a:ext uri="{FF2B5EF4-FFF2-40B4-BE49-F238E27FC236}">
                <a16:creationId xmlns:a16="http://schemas.microsoft.com/office/drawing/2014/main" id="{87D553A8-67F0-1A45-82D1-C675739CAA02}"/>
              </a:ext>
            </a:extLst>
          </p:cNvPr>
          <p:cNvGrpSpPr/>
          <p:nvPr/>
        </p:nvGrpSpPr>
        <p:grpSpPr>
          <a:xfrm>
            <a:off x="1348598" y="1988245"/>
            <a:ext cx="8322874" cy="3816424"/>
            <a:chOff x="1348598" y="1988245"/>
            <a:chExt cx="8322874" cy="3816424"/>
          </a:xfrm>
        </p:grpSpPr>
        <p:grpSp>
          <p:nvGrpSpPr>
            <p:cNvPr id="10" name="Group 9">
              <a:extLst>
                <a:ext uri="{FF2B5EF4-FFF2-40B4-BE49-F238E27FC236}">
                  <a16:creationId xmlns:a16="http://schemas.microsoft.com/office/drawing/2014/main" id="{6EC821ED-6791-D343-B242-F896C2DB5876}"/>
                </a:ext>
              </a:extLst>
            </p:cNvPr>
            <p:cNvGrpSpPr/>
            <p:nvPr/>
          </p:nvGrpSpPr>
          <p:grpSpPr>
            <a:xfrm>
              <a:off x="2705711" y="2269462"/>
              <a:ext cx="5607098" cy="3194490"/>
              <a:chOff x="2133254" y="1345849"/>
              <a:chExt cx="4297306" cy="2448272"/>
            </a:xfrm>
          </p:grpSpPr>
          <p:sp>
            <p:nvSpPr>
              <p:cNvPr id="11" name="Block Arc 10">
                <a:extLst>
                  <a:ext uri="{FF2B5EF4-FFF2-40B4-BE49-F238E27FC236}">
                    <a16:creationId xmlns:a16="http://schemas.microsoft.com/office/drawing/2014/main" id="{45B9FFDF-4CD5-9F42-A13D-CB9CD5744080}"/>
                  </a:ext>
                </a:extLst>
              </p:cNvPr>
              <p:cNvSpPr/>
              <p:nvPr/>
            </p:nvSpPr>
            <p:spPr>
              <a:xfrm rot="10800000">
                <a:off x="3982288" y="1345849"/>
                <a:ext cx="2448272" cy="2448272"/>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 name="Block Arc 11">
                <a:extLst>
                  <a:ext uri="{FF2B5EF4-FFF2-40B4-BE49-F238E27FC236}">
                    <a16:creationId xmlns:a16="http://schemas.microsoft.com/office/drawing/2014/main" id="{1C0E27FD-CD1E-364E-821F-701181488CF1}"/>
                  </a:ext>
                </a:extLst>
              </p:cNvPr>
              <p:cNvSpPr/>
              <p:nvPr/>
            </p:nvSpPr>
            <p:spPr>
              <a:xfrm>
                <a:off x="2133254" y="1345849"/>
                <a:ext cx="2448272" cy="2448272"/>
              </a:xfrm>
              <a:prstGeom prst="blockArc">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 name="Block Arc 12">
                <a:extLst>
                  <a:ext uri="{FF2B5EF4-FFF2-40B4-BE49-F238E27FC236}">
                    <a16:creationId xmlns:a16="http://schemas.microsoft.com/office/drawing/2014/main" id="{5E75FCD5-EF52-B142-A94F-8F469D72B5F5}"/>
                  </a:ext>
                </a:extLst>
              </p:cNvPr>
              <p:cNvSpPr/>
              <p:nvPr/>
            </p:nvSpPr>
            <p:spPr>
              <a:xfrm>
                <a:off x="3982288" y="1345849"/>
                <a:ext cx="2448272" cy="2448272"/>
              </a:xfrm>
              <a:prstGeom prst="blockArc">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Block Arc 13">
                <a:extLst>
                  <a:ext uri="{FF2B5EF4-FFF2-40B4-BE49-F238E27FC236}">
                    <a16:creationId xmlns:a16="http://schemas.microsoft.com/office/drawing/2014/main" id="{3EA253B0-7D21-D949-A8CA-5F7F68B472AB}"/>
                  </a:ext>
                </a:extLst>
              </p:cNvPr>
              <p:cNvSpPr/>
              <p:nvPr/>
            </p:nvSpPr>
            <p:spPr>
              <a:xfrm rot="10800000">
                <a:off x="2133254" y="1345849"/>
                <a:ext cx="2448272" cy="2448272"/>
              </a:xfrm>
              <a:prstGeom prst="blockArc">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 name="Right Triangle 14">
                <a:extLst>
                  <a:ext uri="{FF2B5EF4-FFF2-40B4-BE49-F238E27FC236}">
                    <a16:creationId xmlns:a16="http://schemas.microsoft.com/office/drawing/2014/main" id="{59DE7A48-308B-5C4C-94AE-852184C30171}"/>
                  </a:ext>
                </a:extLst>
              </p:cNvPr>
              <p:cNvSpPr/>
              <p:nvPr/>
            </p:nvSpPr>
            <p:spPr>
              <a:xfrm rot="18900000">
                <a:off x="2214517" y="2350180"/>
                <a:ext cx="428366" cy="434230"/>
              </a:xfrm>
              <a:prstGeom prst="r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Right Triangle 15">
                <a:extLst>
                  <a:ext uri="{FF2B5EF4-FFF2-40B4-BE49-F238E27FC236}">
                    <a16:creationId xmlns:a16="http://schemas.microsoft.com/office/drawing/2014/main" id="{2FC34B2B-9138-8E48-8774-005A71EE2B60}"/>
                  </a:ext>
                </a:extLst>
              </p:cNvPr>
              <p:cNvSpPr/>
              <p:nvPr/>
            </p:nvSpPr>
            <p:spPr>
              <a:xfrm rot="8100000">
                <a:off x="4062370" y="2354944"/>
                <a:ext cx="428366" cy="434230"/>
              </a:xfrm>
              <a:prstGeom prst="rtTriangl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Right Triangle 16">
                <a:extLst>
                  <a:ext uri="{FF2B5EF4-FFF2-40B4-BE49-F238E27FC236}">
                    <a16:creationId xmlns:a16="http://schemas.microsoft.com/office/drawing/2014/main" id="{4EB59E45-A6C5-FB43-B7B4-38B432B3251F}"/>
                  </a:ext>
                </a:extLst>
              </p:cNvPr>
              <p:cNvSpPr/>
              <p:nvPr/>
            </p:nvSpPr>
            <p:spPr>
              <a:xfrm rot="18900000">
                <a:off x="5911404" y="2350179"/>
                <a:ext cx="428366" cy="43423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18" name="TextBox 17">
              <a:extLst>
                <a:ext uri="{FF2B5EF4-FFF2-40B4-BE49-F238E27FC236}">
                  <a16:creationId xmlns:a16="http://schemas.microsoft.com/office/drawing/2014/main" id="{4B40A862-3E9A-2F41-8AD6-448D2200BA29}"/>
                </a:ext>
              </a:extLst>
            </p:cNvPr>
            <p:cNvSpPr txBox="1"/>
            <p:nvPr/>
          </p:nvSpPr>
          <p:spPr>
            <a:xfrm>
              <a:off x="2856206" y="3477594"/>
              <a:ext cx="470000" cy="400110"/>
            </a:xfrm>
            <a:prstGeom prst="rect">
              <a:avLst/>
            </a:prstGeom>
            <a:noFill/>
          </p:spPr>
          <p:txBody>
            <a:bodyPr wrap="none" rtlCol="0">
              <a:spAutoFit/>
            </a:bodyPr>
            <a:lstStyle/>
            <a:p>
              <a:pPr algn="r"/>
              <a:r>
                <a:rPr lang="en-US" altLang="ko-KR" sz="2000" b="1">
                  <a:solidFill>
                    <a:schemeClr val="bg1"/>
                  </a:solidFill>
                  <a:latin typeface="Arial" pitchFamily="34" charset="0"/>
                  <a:cs typeface="Arial" pitchFamily="34" charset="0"/>
                </a:rPr>
                <a:t>01</a:t>
              </a:r>
              <a:endParaRPr lang="ko-KR" altLang="en-US" sz="2000" b="1">
                <a:solidFill>
                  <a:schemeClr val="bg1"/>
                </a:solidFill>
                <a:latin typeface="Arial" pitchFamily="34" charset="0"/>
                <a:cs typeface="Arial" pitchFamily="34" charset="0"/>
              </a:endParaRPr>
            </a:p>
          </p:txBody>
        </p:sp>
        <p:sp>
          <p:nvSpPr>
            <p:cNvPr id="19" name="TextBox 18">
              <a:extLst>
                <a:ext uri="{FF2B5EF4-FFF2-40B4-BE49-F238E27FC236}">
                  <a16:creationId xmlns:a16="http://schemas.microsoft.com/office/drawing/2014/main" id="{141B7234-7F00-C141-9F54-726AA6B6977E}"/>
                </a:ext>
              </a:extLst>
            </p:cNvPr>
            <p:cNvSpPr txBox="1"/>
            <p:nvPr/>
          </p:nvSpPr>
          <p:spPr>
            <a:xfrm>
              <a:off x="5274260" y="3775179"/>
              <a:ext cx="470000" cy="400110"/>
            </a:xfrm>
            <a:prstGeom prst="rect">
              <a:avLst/>
            </a:prstGeom>
            <a:noFill/>
          </p:spPr>
          <p:txBody>
            <a:bodyPr wrap="none" rtlCol="0">
              <a:spAutoFit/>
            </a:bodyPr>
            <a:lstStyle/>
            <a:p>
              <a:pPr algn="r"/>
              <a:r>
                <a:rPr lang="en-US" altLang="ko-KR" sz="2000" b="1">
                  <a:solidFill>
                    <a:schemeClr val="bg1"/>
                  </a:solidFill>
                  <a:latin typeface="Arial" pitchFamily="34" charset="0"/>
                  <a:cs typeface="Arial" pitchFamily="34" charset="0"/>
                </a:rPr>
                <a:t>02</a:t>
              </a:r>
              <a:endParaRPr lang="ko-KR" altLang="en-US" sz="2000" b="1">
                <a:solidFill>
                  <a:schemeClr val="bg1"/>
                </a:solidFill>
                <a:latin typeface="Arial" pitchFamily="34" charset="0"/>
                <a:cs typeface="Arial" pitchFamily="34" charset="0"/>
              </a:endParaRPr>
            </a:p>
          </p:txBody>
        </p:sp>
        <p:sp>
          <p:nvSpPr>
            <p:cNvPr id="20" name="TextBox 19">
              <a:extLst>
                <a:ext uri="{FF2B5EF4-FFF2-40B4-BE49-F238E27FC236}">
                  <a16:creationId xmlns:a16="http://schemas.microsoft.com/office/drawing/2014/main" id="{4500F98F-AA01-A542-AA2B-7F4085313BEF}"/>
                </a:ext>
              </a:extLst>
            </p:cNvPr>
            <p:cNvSpPr txBox="1"/>
            <p:nvPr/>
          </p:nvSpPr>
          <p:spPr>
            <a:xfrm>
              <a:off x="7652072" y="3375069"/>
              <a:ext cx="470000" cy="400110"/>
            </a:xfrm>
            <a:prstGeom prst="rect">
              <a:avLst/>
            </a:prstGeom>
            <a:noFill/>
          </p:spPr>
          <p:txBody>
            <a:bodyPr wrap="none" rtlCol="0">
              <a:spAutoFit/>
            </a:bodyPr>
            <a:lstStyle/>
            <a:p>
              <a:pPr algn="r"/>
              <a:r>
                <a:rPr lang="en-US" altLang="ko-KR" sz="2000" b="1">
                  <a:solidFill>
                    <a:schemeClr val="bg1"/>
                  </a:solidFill>
                  <a:latin typeface="Arial" pitchFamily="34" charset="0"/>
                  <a:cs typeface="Arial" pitchFamily="34" charset="0"/>
                </a:rPr>
                <a:t>03</a:t>
              </a:r>
              <a:endParaRPr lang="ko-KR" altLang="en-US" sz="2000" b="1">
                <a:solidFill>
                  <a:schemeClr val="bg1"/>
                </a:solidFill>
                <a:latin typeface="Arial" pitchFamily="34" charset="0"/>
                <a:cs typeface="Arial" pitchFamily="34" charset="0"/>
              </a:endParaRPr>
            </a:p>
          </p:txBody>
        </p:sp>
        <p:sp>
          <p:nvSpPr>
            <p:cNvPr id="21" name="TextBox 20">
              <a:extLst>
                <a:ext uri="{FF2B5EF4-FFF2-40B4-BE49-F238E27FC236}">
                  <a16:creationId xmlns:a16="http://schemas.microsoft.com/office/drawing/2014/main" id="{6B9D91F9-4FB9-B94A-B383-74E5F63C819B}"/>
                </a:ext>
              </a:extLst>
            </p:cNvPr>
            <p:cNvSpPr txBox="1"/>
            <p:nvPr/>
          </p:nvSpPr>
          <p:spPr>
            <a:xfrm>
              <a:off x="7547791" y="4258056"/>
              <a:ext cx="470000" cy="400110"/>
            </a:xfrm>
            <a:prstGeom prst="rect">
              <a:avLst/>
            </a:prstGeom>
            <a:noFill/>
          </p:spPr>
          <p:txBody>
            <a:bodyPr wrap="none" rtlCol="0">
              <a:spAutoFit/>
            </a:bodyPr>
            <a:lstStyle/>
            <a:p>
              <a:pPr algn="r"/>
              <a:r>
                <a:rPr lang="en-US" altLang="ko-KR" sz="2000" b="1">
                  <a:solidFill>
                    <a:schemeClr val="bg1"/>
                  </a:solidFill>
                  <a:latin typeface="Arial" pitchFamily="34" charset="0"/>
                  <a:cs typeface="Arial" pitchFamily="34" charset="0"/>
                </a:rPr>
                <a:t>04</a:t>
              </a:r>
              <a:endParaRPr lang="ko-KR" altLang="en-US" sz="2000" b="1">
                <a:solidFill>
                  <a:schemeClr val="bg1"/>
                </a:solidFill>
                <a:latin typeface="Arial" pitchFamily="34" charset="0"/>
                <a:cs typeface="Arial" pitchFamily="34" charset="0"/>
              </a:endParaRPr>
            </a:p>
          </p:txBody>
        </p:sp>
        <p:sp>
          <p:nvSpPr>
            <p:cNvPr id="22" name="Block Arc 14">
              <a:extLst>
                <a:ext uri="{FF2B5EF4-FFF2-40B4-BE49-F238E27FC236}">
                  <a16:creationId xmlns:a16="http://schemas.microsoft.com/office/drawing/2014/main" id="{D56D1507-DE99-1F48-B6B7-26FFB02C059D}"/>
                </a:ext>
              </a:extLst>
            </p:cNvPr>
            <p:cNvSpPr/>
            <p:nvPr/>
          </p:nvSpPr>
          <p:spPr>
            <a:xfrm rot="16200000">
              <a:off x="3028566" y="3131494"/>
              <a:ext cx="297544" cy="29774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3" name="Rectangle 36">
              <a:extLst>
                <a:ext uri="{FF2B5EF4-FFF2-40B4-BE49-F238E27FC236}">
                  <a16:creationId xmlns:a16="http://schemas.microsoft.com/office/drawing/2014/main" id="{8152486E-C3A2-5545-BE41-BB661A2E18F8}"/>
                </a:ext>
              </a:extLst>
            </p:cNvPr>
            <p:cNvSpPr/>
            <p:nvPr/>
          </p:nvSpPr>
          <p:spPr>
            <a:xfrm>
              <a:off x="5253191" y="4261125"/>
              <a:ext cx="365579" cy="305595"/>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4" name="Rectangle 16">
              <a:extLst>
                <a:ext uri="{FF2B5EF4-FFF2-40B4-BE49-F238E27FC236}">
                  <a16:creationId xmlns:a16="http://schemas.microsoft.com/office/drawing/2014/main" id="{7E7CB0DF-A54E-0546-9649-E99475806C71}"/>
                </a:ext>
              </a:extLst>
            </p:cNvPr>
            <p:cNvSpPr/>
            <p:nvPr/>
          </p:nvSpPr>
          <p:spPr>
            <a:xfrm rot="2700000">
              <a:off x="7696629" y="2988785"/>
              <a:ext cx="210431" cy="400356"/>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Rounded Rectangle 27">
              <a:extLst>
                <a:ext uri="{FF2B5EF4-FFF2-40B4-BE49-F238E27FC236}">
                  <a16:creationId xmlns:a16="http://schemas.microsoft.com/office/drawing/2014/main" id="{4CE52681-ED1B-5D42-BFA8-6B075B8747D8}"/>
                </a:ext>
              </a:extLst>
            </p:cNvPr>
            <p:cNvSpPr/>
            <p:nvPr/>
          </p:nvSpPr>
          <p:spPr>
            <a:xfrm>
              <a:off x="7607268" y="4641105"/>
              <a:ext cx="288032" cy="221248"/>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26" name="Group 25">
              <a:extLst>
                <a:ext uri="{FF2B5EF4-FFF2-40B4-BE49-F238E27FC236}">
                  <a16:creationId xmlns:a16="http://schemas.microsoft.com/office/drawing/2014/main" id="{79D2F922-B1CF-1A43-8C15-0132DE431DBA}"/>
                </a:ext>
              </a:extLst>
            </p:cNvPr>
            <p:cNvGrpSpPr/>
            <p:nvPr/>
          </p:nvGrpSpPr>
          <p:grpSpPr>
            <a:xfrm>
              <a:off x="3516920" y="2415653"/>
              <a:ext cx="1793106" cy="673514"/>
              <a:chOff x="2113657" y="4283314"/>
              <a:chExt cx="3647460" cy="673514"/>
            </a:xfrm>
          </p:grpSpPr>
          <p:sp>
            <p:nvSpPr>
              <p:cNvPr id="27" name="TextBox 26">
                <a:extLst>
                  <a:ext uri="{FF2B5EF4-FFF2-40B4-BE49-F238E27FC236}">
                    <a16:creationId xmlns:a16="http://schemas.microsoft.com/office/drawing/2014/main" id="{0D47D40A-3D1A-7543-888F-B8277D8B7F2D}"/>
                  </a:ext>
                </a:extLst>
              </p:cNvPr>
              <p:cNvSpPr txBox="1"/>
              <p:nvPr/>
            </p:nvSpPr>
            <p:spPr>
              <a:xfrm>
                <a:off x="2113657" y="4495163"/>
                <a:ext cx="3647458" cy="461665"/>
              </a:xfrm>
              <a:prstGeom prst="rect">
                <a:avLst/>
              </a:prstGeom>
              <a:noFill/>
            </p:spPr>
            <p:txBody>
              <a:bodyPr wrap="square" rtlCol="0">
                <a:spAutoFit/>
              </a:bodyPr>
              <a:lstStyle/>
              <a:p>
                <a:pPr algn="ctr"/>
                <a:r>
                  <a:rPr lang="en-US" altLang="ko-KR" sz="1200">
                    <a:solidFill>
                      <a:schemeClr val="bg1"/>
                    </a:solidFill>
                    <a:latin typeface="Arial" pitchFamily="34" charset="0"/>
                    <a:cs typeface="Arial" pitchFamily="34" charset="0"/>
                  </a:rPr>
                  <a:t>Easy to change colors, photos and Text. </a:t>
                </a:r>
              </a:p>
            </p:txBody>
          </p:sp>
          <p:sp>
            <p:nvSpPr>
              <p:cNvPr id="28" name="TextBox 27">
                <a:extLst>
                  <a:ext uri="{FF2B5EF4-FFF2-40B4-BE49-F238E27FC236}">
                    <a16:creationId xmlns:a16="http://schemas.microsoft.com/office/drawing/2014/main" id="{DA805F41-CA5D-FC4A-993B-73D6F41E894F}"/>
                  </a:ext>
                </a:extLst>
              </p:cNvPr>
              <p:cNvSpPr txBox="1"/>
              <p:nvPr/>
            </p:nvSpPr>
            <p:spPr>
              <a:xfrm>
                <a:off x="2113658" y="4283314"/>
                <a:ext cx="3647459" cy="276999"/>
              </a:xfrm>
              <a:prstGeom prst="rect">
                <a:avLst/>
              </a:prstGeom>
              <a:noFill/>
            </p:spPr>
            <p:txBody>
              <a:bodyPr wrap="square" rtlCol="0">
                <a:spAutoFit/>
              </a:bodyPr>
              <a:lstStyle/>
              <a:p>
                <a:pPr algn="ctr"/>
                <a:r>
                  <a:rPr lang="en-US" altLang="ko-KR" sz="1200" b="1">
                    <a:solidFill>
                      <a:schemeClr val="bg1"/>
                    </a:solidFill>
                    <a:latin typeface="Arial" pitchFamily="34" charset="0"/>
                    <a:cs typeface="Arial" pitchFamily="34" charset="0"/>
                  </a:rPr>
                  <a:t>Your Text  Here</a:t>
                </a:r>
                <a:endParaRPr lang="ko-KR" altLang="en-US" sz="1200" b="1">
                  <a:solidFill>
                    <a:schemeClr val="bg1"/>
                  </a:solidFill>
                  <a:latin typeface="Arial" pitchFamily="34" charset="0"/>
                  <a:cs typeface="Arial" pitchFamily="34" charset="0"/>
                </a:endParaRPr>
              </a:p>
            </p:txBody>
          </p:sp>
        </p:grpSp>
        <p:grpSp>
          <p:nvGrpSpPr>
            <p:cNvPr id="29" name="Group 28">
              <a:extLst>
                <a:ext uri="{FF2B5EF4-FFF2-40B4-BE49-F238E27FC236}">
                  <a16:creationId xmlns:a16="http://schemas.microsoft.com/office/drawing/2014/main" id="{815F136A-CA49-3647-82D5-21CC09723FD9}"/>
                </a:ext>
              </a:extLst>
            </p:cNvPr>
            <p:cNvGrpSpPr/>
            <p:nvPr/>
          </p:nvGrpSpPr>
          <p:grpSpPr>
            <a:xfrm>
              <a:off x="5893383" y="2415653"/>
              <a:ext cx="1793106" cy="673514"/>
              <a:chOff x="2113657" y="4283314"/>
              <a:chExt cx="3647460" cy="673514"/>
            </a:xfrm>
          </p:grpSpPr>
          <p:sp>
            <p:nvSpPr>
              <p:cNvPr id="30" name="TextBox 29">
                <a:extLst>
                  <a:ext uri="{FF2B5EF4-FFF2-40B4-BE49-F238E27FC236}">
                    <a16:creationId xmlns:a16="http://schemas.microsoft.com/office/drawing/2014/main" id="{061FC863-5D1C-E04A-8E56-7A4DFE9BCB65}"/>
                  </a:ext>
                </a:extLst>
              </p:cNvPr>
              <p:cNvSpPr txBox="1"/>
              <p:nvPr/>
            </p:nvSpPr>
            <p:spPr>
              <a:xfrm>
                <a:off x="2113657" y="4495163"/>
                <a:ext cx="3647458" cy="461665"/>
              </a:xfrm>
              <a:prstGeom prst="rect">
                <a:avLst/>
              </a:prstGeom>
              <a:noFill/>
            </p:spPr>
            <p:txBody>
              <a:bodyPr wrap="square" rtlCol="0">
                <a:spAutoFit/>
              </a:bodyPr>
              <a:lstStyle/>
              <a:p>
                <a:pPr algn="ctr"/>
                <a:r>
                  <a:rPr lang="en-US" altLang="ko-KR" sz="1200">
                    <a:solidFill>
                      <a:schemeClr val="bg1"/>
                    </a:solidFill>
                    <a:latin typeface="Arial" pitchFamily="34" charset="0"/>
                    <a:cs typeface="Arial" pitchFamily="34" charset="0"/>
                  </a:rPr>
                  <a:t>Easy to change colors, photos and Text. </a:t>
                </a:r>
              </a:p>
            </p:txBody>
          </p:sp>
          <p:sp>
            <p:nvSpPr>
              <p:cNvPr id="31" name="TextBox 30">
                <a:extLst>
                  <a:ext uri="{FF2B5EF4-FFF2-40B4-BE49-F238E27FC236}">
                    <a16:creationId xmlns:a16="http://schemas.microsoft.com/office/drawing/2014/main" id="{40BE92BB-FA41-5B41-964A-D162EFFC79D9}"/>
                  </a:ext>
                </a:extLst>
              </p:cNvPr>
              <p:cNvSpPr txBox="1"/>
              <p:nvPr/>
            </p:nvSpPr>
            <p:spPr>
              <a:xfrm>
                <a:off x="2113658" y="4283314"/>
                <a:ext cx="3647459" cy="276999"/>
              </a:xfrm>
              <a:prstGeom prst="rect">
                <a:avLst/>
              </a:prstGeom>
              <a:noFill/>
            </p:spPr>
            <p:txBody>
              <a:bodyPr wrap="square" rtlCol="0">
                <a:spAutoFit/>
              </a:bodyPr>
              <a:lstStyle/>
              <a:p>
                <a:pPr algn="ctr"/>
                <a:r>
                  <a:rPr lang="en-US" altLang="ko-KR" sz="1200" b="1">
                    <a:solidFill>
                      <a:schemeClr val="bg1"/>
                    </a:solidFill>
                    <a:latin typeface="Arial" pitchFamily="34" charset="0"/>
                    <a:cs typeface="Arial" pitchFamily="34" charset="0"/>
                  </a:rPr>
                  <a:t>Your Text  Here</a:t>
                </a:r>
                <a:endParaRPr lang="ko-KR" altLang="en-US" sz="1200" b="1">
                  <a:solidFill>
                    <a:schemeClr val="bg1"/>
                  </a:solidFill>
                  <a:latin typeface="Arial" pitchFamily="34" charset="0"/>
                  <a:cs typeface="Arial" pitchFamily="34" charset="0"/>
                </a:endParaRPr>
              </a:p>
            </p:txBody>
          </p:sp>
        </p:grpSp>
        <p:grpSp>
          <p:nvGrpSpPr>
            <p:cNvPr id="32" name="Group 31">
              <a:extLst>
                <a:ext uri="{FF2B5EF4-FFF2-40B4-BE49-F238E27FC236}">
                  <a16:creationId xmlns:a16="http://schemas.microsoft.com/office/drawing/2014/main" id="{78A1BE89-BDBE-8342-96B3-2394D460DB5E}"/>
                </a:ext>
              </a:extLst>
            </p:cNvPr>
            <p:cNvGrpSpPr/>
            <p:nvPr/>
          </p:nvGrpSpPr>
          <p:grpSpPr>
            <a:xfrm>
              <a:off x="3516920" y="4684340"/>
              <a:ext cx="1793106" cy="673514"/>
              <a:chOff x="2113657" y="4283314"/>
              <a:chExt cx="3647460" cy="673514"/>
            </a:xfrm>
          </p:grpSpPr>
          <p:sp>
            <p:nvSpPr>
              <p:cNvPr id="33" name="TextBox 32">
                <a:extLst>
                  <a:ext uri="{FF2B5EF4-FFF2-40B4-BE49-F238E27FC236}">
                    <a16:creationId xmlns:a16="http://schemas.microsoft.com/office/drawing/2014/main" id="{079ED510-EB38-724E-81E7-CA6A9448F574}"/>
                  </a:ext>
                </a:extLst>
              </p:cNvPr>
              <p:cNvSpPr txBox="1"/>
              <p:nvPr/>
            </p:nvSpPr>
            <p:spPr>
              <a:xfrm>
                <a:off x="2113657" y="4495163"/>
                <a:ext cx="3647458" cy="461665"/>
              </a:xfrm>
              <a:prstGeom prst="rect">
                <a:avLst/>
              </a:prstGeom>
              <a:noFill/>
            </p:spPr>
            <p:txBody>
              <a:bodyPr wrap="square" rtlCol="0">
                <a:spAutoFit/>
              </a:bodyPr>
              <a:lstStyle/>
              <a:p>
                <a:pPr algn="ctr"/>
                <a:r>
                  <a:rPr lang="en-US" altLang="ko-KR" sz="1200">
                    <a:solidFill>
                      <a:schemeClr val="bg1"/>
                    </a:solidFill>
                    <a:latin typeface="Arial" pitchFamily="34" charset="0"/>
                    <a:cs typeface="Arial" pitchFamily="34" charset="0"/>
                  </a:rPr>
                  <a:t>Easy to change colors, photos and Text. </a:t>
                </a:r>
              </a:p>
            </p:txBody>
          </p:sp>
          <p:sp>
            <p:nvSpPr>
              <p:cNvPr id="34" name="TextBox 33">
                <a:extLst>
                  <a:ext uri="{FF2B5EF4-FFF2-40B4-BE49-F238E27FC236}">
                    <a16:creationId xmlns:a16="http://schemas.microsoft.com/office/drawing/2014/main" id="{C0DD60D6-FA30-1249-8619-BAFFE267807F}"/>
                  </a:ext>
                </a:extLst>
              </p:cNvPr>
              <p:cNvSpPr txBox="1"/>
              <p:nvPr/>
            </p:nvSpPr>
            <p:spPr>
              <a:xfrm>
                <a:off x="2113658" y="4283314"/>
                <a:ext cx="3647459" cy="276999"/>
              </a:xfrm>
              <a:prstGeom prst="rect">
                <a:avLst/>
              </a:prstGeom>
              <a:noFill/>
            </p:spPr>
            <p:txBody>
              <a:bodyPr wrap="square" rtlCol="0">
                <a:spAutoFit/>
              </a:bodyPr>
              <a:lstStyle/>
              <a:p>
                <a:pPr algn="ctr"/>
                <a:r>
                  <a:rPr lang="en-US" altLang="ko-KR" sz="1200" b="1">
                    <a:solidFill>
                      <a:schemeClr val="bg1"/>
                    </a:solidFill>
                    <a:latin typeface="Arial" pitchFamily="34" charset="0"/>
                    <a:cs typeface="Arial" pitchFamily="34" charset="0"/>
                  </a:rPr>
                  <a:t>Your Text  Here</a:t>
                </a:r>
                <a:endParaRPr lang="ko-KR" altLang="en-US" sz="1200" b="1">
                  <a:solidFill>
                    <a:schemeClr val="bg1"/>
                  </a:solidFill>
                  <a:latin typeface="Arial" pitchFamily="34" charset="0"/>
                  <a:cs typeface="Arial" pitchFamily="34" charset="0"/>
                </a:endParaRPr>
              </a:p>
            </p:txBody>
          </p:sp>
        </p:grpSp>
        <p:grpSp>
          <p:nvGrpSpPr>
            <p:cNvPr id="35" name="Group 34">
              <a:extLst>
                <a:ext uri="{FF2B5EF4-FFF2-40B4-BE49-F238E27FC236}">
                  <a16:creationId xmlns:a16="http://schemas.microsoft.com/office/drawing/2014/main" id="{39D967EE-EF80-DB45-B78D-29B482B63E9B}"/>
                </a:ext>
              </a:extLst>
            </p:cNvPr>
            <p:cNvGrpSpPr/>
            <p:nvPr/>
          </p:nvGrpSpPr>
          <p:grpSpPr>
            <a:xfrm>
              <a:off x="5893383" y="4632584"/>
              <a:ext cx="1793106" cy="673514"/>
              <a:chOff x="2113657" y="4283314"/>
              <a:chExt cx="3647460" cy="673514"/>
            </a:xfrm>
          </p:grpSpPr>
          <p:sp>
            <p:nvSpPr>
              <p:cNvPr id="36" name="TextBox 35">
                <a:extLst>
                  <a:ext uri="{FF2B5EF4-FFF2-40B4-BE49-F238E27FC236}">
                    <a16:creationId xmlns:a16="http://schemas.microsoft.com/office/drawing/2014/main" id="{5BDF9B65-79EF-ED45-A06E-AC560A784B20}"/>
                  </a:ext>
                </a:extLst>
              </p:cNvPr>
              <p:cNvSpPr txBox="1"/>
              <p:nvPr/>
            </p:nvSpPr>
            <p:spPr>
              <a:xfrm>
                <a:off x="2113657" y="4495163"/>
                <a:ext cx="3647458" cy="461665"/>
              </a:xfrm>
              <a:prstGeom prst="rect">
                <a:avLst/>
              </a:prstGeom>
              <a:noFill/>
            </p:spPr>
            <p:txBody>
              <a:bodyPr wrap="square" rtlCol="0">
                <a:spAutoFit/>
              </a:bodyPr>
              <a:lstStyle/>
              <a:p>
                <a:pPr algn="ctr"/>
                <a:r>
                  <a:rPr lang="en-US" altLang="ko-KR" sz="1200">
                    <a:solidFill>
                      <a:schemeClr val="bg1"/>
                    </a:solidFill>
                    <a:latin typeface="Arial" pitchFamily="34" charset="0"/>
                    <a:cs typeface="Arial" pitchFamily="34" charset="0"/>
                  </a:rPr>
                  <a:t>Easy to change colors, photos and Text. </a:t>
                </a:r>
              </a:p>
            </p:txBody>
          </p:sp>
          <p:sp>
            <p:nvSpPr>
              <p:cNvPr id="37" name="TextBox 36">
                <a:extLst>
                  <a:ext uri="{FF2B5EF4-FFF2-40B4-BE49-F238E27FC236}">
                    <a16:creationId xmlns:a16="http://schemas.microsoft.com/office/drawing/2014/main" id="{AE2BCA89-1ECA-C044-A9A8-E76EC1F9976D}"/>
                  </a:ext>
                </a:extLst>
              </p:cNvPr>
              <p:cNvSpPr txBox="1"/>
              <p:nvPr/>
            </p:nvSpPr>
            <p:spPr>
              <a:xfrm>
                <a:off x="2113658" y="4283314"/>
                <a:ext cx="3647459" cy="276999"/>
              </a:xfrm>
              <a:prstGeom prst="rect">
                <a:avLst/>
              </a:prstGeom>
              <a:noFill/>
            </p:spPr>
            <p:txBody>
              <a:bodyPr wrap="square" rtlCol="0">
                <a:spAutoFit/>
              </a:bodyPr>
              <a:lstStyle/>
              <a:p>
                <a:pPr algn="ctr"/>
                <a:r>
                  <a:rPr lang="en-US" altLang="ko-KR" sz="1200" b="1">
                    <a:solidFill>
                      <a:schemeClr val="bg1"/>
                    </a:solidFill>
                    <a:latin typeface="Arial" pitchFamily="34" charset="0"/>
                    <a:cs typeface="Arial" pitchFamily="34" charset="0"/>
                  </a:rPr>
                  <a:t>Your Text  Here</a:t>
                </a:r>
                <a:endParaRPr lang="ko-KR" altLang="en-US" sz="1200" b="1">
                  <a:solidFill>
                    <a:schemeClr val="bg1"/>
                  </a:solidFill>
                  <a:latin typeface="Arial" pitchFamily="34" charset="0"/>
                  <a:cs typeface="Arial" pitchFamily="34" charset="0"/>
                </a:endParaRPr>
              </a:p>
            </p:txBody>
          </p:sp>
        </p:grpSp>
        <p:sp>
          <p:nvSpPr>
            <p:cNvPr id="38" name="TextBox 37">
              <a:extLst>
                <a:ext uri="{FF2B5EF4-FFF2-40B4-BE49-F238E27FC236}">
                  <a16:creationId xmlns:a16="http://schemas.microsoft.com/office/drawing/2014/main" id="{CDE4E079-4F83-444D-87E3-DC9EA55662F7}"/>
                </a:ext>
              </a:extLst>
            </p:cNvPr>
            <p:cNvSpPr txBox="1"/>
            <p:nvPr/>
          </p:nvSpPr>
          <p:spPr>
            <a:xfrm>
              <a:off x="1348598" y="3395558"/>
              <a:ext cx="1080120" cy="923330"/>
            </a:xfrm>
            <a:prstGeom prst="rect">
              <a:avLst/>
            </a:prstGeom>
            <a:noFill/>
          </p:spPr>
          <p:txBody>
            <a:bodyPr wrap="square" rtlCol="0">
              <a:spAutoFit/>
            </a:bodyPr>
            <a:lstStyle/>
            <a:p>
              <a:r>
                <a:rPr lang="en-US" altLang="ko-KR" b="1">
                  <a:solidFill>
                    <a:schemeClr val="accent3">
                      <a:lumMod val="75000"/>
                    </a:schemeClr>
                  </a:solidFill>
                  <a:latin typeface="Arial" pitchFamily="34" charset="0"/>
                  <a:cs typeface="Arial" pitchFamily="34" charset="0"/>
                </a:rPr>
                <a:t>Your Text  Here</a:t>
              </a:r>
              <a:endParaRPr lang="ko-KR" altLang="en-US" b="1">
                <a:solidFill>
                  <a:schemeClr val="accent3">
                    <a:lumMod val="75000"/>
                  </a:schemeClr>
                </a:solidFill>
                <a:latin typeface="Arial" pitchFamily="34" charset="0"/>
                <a:cs typeface="Arial" pitchFamily="34" charset="0"/>
              </a:endParaRPr>
            </a:p>
          </p:txBody>
        </p:sp>
        <p:sp>
          <p:nvSpPr>
            <p:cNvPr id="39" name="TextBox 38">
              <a:extLst>
                <a:ext uri="{FF2B5EF4-FFF2-40B4-BE49-F238E27FC236}">
                  <a16:creationId xmlns:a16="http://schemas.microsoft.com/office/drawing/2014/main" id="{EE3329EA-8B95-684A-A012-075C4442EC33}"/>
                </a:ext>
              </a:extLst>
            </p:cNvPr>
            <p:cNvSpPr txBox="1"/>
            <p:nvPr/>
          </p:nvSpPr>
          <p:spPr>
            <a:xfrm>
              <a:off x="8591352" y="3429136"/>
              <a:ext cx="1080120" cy="923330"/>
            </a:xfrm>
            <a:prstGeom prst="rect">
              <a:avLst/>
            </a:prstGeom>
            <a:noFill/>
          </p:spPr>
          <p:txBody>
            <a:bodyPr wrap="square" rtlCol="0">
              <a:spAutoFit/>
            </a:bodyPr>
            <a:lstStyle/>
            <a:p>
              <a:pPr algn="r"/>
              <a:r>
                <a:rPr lang="en-US" altLang="ko-KR" b="1">
                  <a:solidFill>
                    <a:schemeClr val="accent3">
                      <a:lumMod val="75000"/>
                    </a:schemeClr>
                  </a:solidFill>
                  <a:latin typeface="Arial" pitchFamily="34" charset="0"/>
                  <a:cs typeface="Arial" pitchFamily="34" charset="0"/>
                </a:rPr>
                <a:t>Your Text  Here</a:t>
              </a:r>
              <a:endParaRPr lang="ko-KR" altLang="en-US" b="1">
                <a:solidFill>
                  <a:schemeClr val="accent3">
                    <a:lumMod val="75000"/>
                  </a:schemeClr>
                </a:solidFill>
                <a:latin typeface="Arial" pitchFamily="34" charset="0"/>
                <a:cs typeface="Arial" pitchFamily="34" charset="0"/>
              </a:endParaRPr>
            </a:p>
          </p:txBody>
        </p:sp>
        <p:grpSp>
          <p:nvGrpSpPr>
            <p:cNvPr id="40" name="Group 39">
              <a:extLst>
                <a:ext uri="{FF2B5EF4-FFF2-40B4-BE49-F238E27FC236}">
                  <a16:creationId xmlns:a16="http://schemas.microsoft.com/office/drawing/2014/main" id="{1D7E595F-2ECF-0B4B-AF71-E5D3E0A7B2AE}"/>
                </a:ext>
              </a:extLst>
            </p:cNvPr>
            <p:cNvGrpSpPr/>
            <p:nvPr/>
          </p:nvGrpSpPr>
          <p:grpSpPr>
            <a:xfrm>
              <a:off x="1348598" y="1988245"/>
              <a:ext cx="1926735" cy="863358"/>
              <a:chOff x="803640" y="3362835"/>
              <a:chExt cx="2059657" cy="863358"/>
            </a:xfrm>
          </p:grpSpPr>
          <p:sp>
            <p:nvSpPr>
              <p:cNvPr id="41" name="TextBox 40">
                <a:extLst>
                  <a:ext uri="{FF2B5EF4-FFF2-40B4-BE49-F238E27FC236}">
                    <a16:creationId xmlns:a16="http://schemas.microsoft.com/office/drawing/2014/main" id="{DA5FCF0C-8F68-3345-99F3-71FBF28B4E09}"/>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accent1">
                        <a:lumMod val="60000"/>
                        <a:lumOff val="40000"/>
                      </a:schemeClr>
                    </a:solidFill>
                    <a:latin typeface="Arial" pitchFamily="34" charset="0"/>
                    <a:cs typeface="Arial" pitchFamily="34" charset="0"/>
                  </a:rPr>
                  <a:t>You can simply impress your audience and add a unique zing. </a:t>
                </a:r>
                <a:endParaRPr lang="ko-KR" altLang="en-US" sz="1200">
                  <a:solidFill>
                    <a:schemeClr val="accent1">
                      <a:lumMod val="60000"/>
                      <a:lumOff val="40000"/>
                    </a:schemeClr>
                  </a:solidFill>
                  <a:latin typeface="Arial" pitchFamily="34" charset="0"/>
                  <a:cs typeface="Arial" pitchFamily="34" charset="0"/>
                </a:endParaRPr>
              </a:p>
            </p:txBody>
          </p:sp>
          <p:sp>
            <p:nvSpPr>
              <p:cNvPr id="42" name="TextBox 41">
                <a:extLst>
                  <a:ext uri="{FF2B5EF4-FFF2-40B4-BE49-F238E27FC236}">
                    <a16:creationId xmlns:a16="http://schemas.microsoft.com/office/drawing/2014/main" id="{2B691754-D4E1-2C4E-9AAB-95DB7504151C}"/>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1">
                        <a:lumMod val="60000"/>
                        <a:lumOff val="40000"/>
                      </a:schemeClr>
                    </a:solidFill>
                    <a:latin typeface="Arial" pitchFamily="34" charset="0"/>
                    <a:cs typeface="Arial" pitchFamily="34" charset="0"/>
                  </a:rPr>
                  <a:t>Your Text  Here</a:t>
                </a:r>
                <a:endParaRPr lang="ko-KR" altLang="en-US" sz="1200" b="1">
                  <a:solidFill>
                    <a:schemeClr val="accent1">
                      <a:lumMod val="60000"/>
                      <a:lumOff val="40000"/>
                    </a:schemeClr>
                  </a:solidFill>
                  <a:latin typeface="Arial" pitchFamily="34" charset="0"/>
                  <a:cs typeface="Arial" pitchFamily="34" charset="0"/>
                </a:endParaRPr>
              </a:p>
            </p:txBody>
          </p:sp>
        </p:grpSp>
        <p:grpSp>
          <p:nvGrpSpPr>
            <p:cNvPr id="43" name="Group 42">
              <a:extLst>
                <a:ext uri="{FF2B5EF4-FFF2-40B4-BE49-F238E27FC236}">
                  <a16:creationId xmlns:a16="http://schemas.microsoft.com/office/drawing/2014/main" id="{ED035148-BD42-294E-A6A2-CD03064BF5C1}"/>
                </a:ext>
              </a:extLst>
            </p:cNvPr>
            <p:cNvGrpSpPr/>
            <p:nvPr/>
          </p:nvGrpSpPr>
          <p:grpSpPr>
            <a:xfrm>
              <a:off x="1348598" y="4941311"/>
              <a:ext cx="1926735" cy="863358"/>
              <a:chOff x="803640" y="3362835"/>
              <a:chExt cx="2059657" cy="863358"/>
            </a:xfrm>
          </p:grpSpPr>
          <p:sp>
            <p:nvSpPr>
              <p:cNvPr id="44" name="TextBox 43">
                <a:extLst>
                  <a:ext uri="{FF2B5EF4-FFF2-40B4-BE49-F238E27FC236}">
                    <a16:creationId xmlns:a16="http://schemas.microsoft.com/office/drawing/2014/main" id="{E34C850B-C8E7-7348-8F1B-00943C260B43}"/>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accent4">
                        <a:lumMod val="50000"/>
                      </a:schemeClr>
                    </a:solidFill>
                    <a:latin typeface="Arial" pitchFamily="34" charset="0"/>
                    <a:cs typeface="Arial" pitchFamily="34" charset="0"/>
                  </a:rPr>
                  <a:t>You can simply impress your audience and add a unique zing. </a:t>
                </a:r>
                <a:endParaRPr lang="ko-KR" altLang="en-US" sz="1200">
                  <a:solidFill>
                    <a:schemeClr val="accent4">
                      <a:lumMod val="50000"/>
                    </a:schemeClr>
                  </a:solidFill>
                  <a:latin typeface="Arial" pitchFamily="34" charset="0"/>
                  <a:cs typeface="Arial" pitchFamily="34" charset="0"/>
                </a:endParaRPr>
              </a:p>
            </p:txBody>
          </p:sp>
          <p:sp>
            <p:nvSpPr>
              <p:cNvPr id="45" name="TextBox 44">
                <a:extLst>
                  <a:ext uri="{FF2B5EF4-FFF2-40B4-BE49-F238E27FC236}">
                    <a16:creationId xmlns:a16="http://schemas.microsoft.com/office/drawing/2014/main" id="{CC23D769-A2BB-8D41-BDD1-6715335C202D}"/>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4">
                        <a:lumMod val="50000"/>
                      </a:schemeClr>
                    </a:solidFill>
                    <a:latin typeface="Arial" pitchFamily="34" charset="0"/>
                    <a:cs typeface="Arial" pitchFamily="34" charset="0"/>
                  </a:rPr>
                  <a:t>Your Text  Here</a:t>
                </a:r>
                <a:endParaRPr lang="ko-KR" altLang="en-US" sz="1200" b="1">
                  <a:solidFill>
                    <a:schemeClr val="accent4">
                      <a:lumMod val="50000"/>
                    </a:schemeClr>
                  </a:solidFill>
                  <a:latin typeface="Arial" pitchFamily="34" charset="0"/>
                  <a:cs typeface="Arial" pitchFamily="34" charset="0"/>
                </a:endParaRPr>
              </a:p>
            </p:txBody>
          </p:sp>
        </p:grpSp>
        <p:grpSp>
          <p:nvGrpSpPr>
            <p:cNvPr id="46" name="Group 45">
              <a:extLst>
                <a:ext uri="{FF2B5EF4-FFF2-40B4-BE49-F238E27FC236}">
                  <a16:creationId xmlns:a16="http://schemas.microsoft.com/office/drawing/2014/main" id="{13E10057-3F43-7748-AFE5-BC41C1FE32A6}"/>
                </a:ext>
              </a:extLst>
            </p:cNvPr>
            <p:cNvGrpSpPr/>
            <p:nvPr/>
          </p:nvGrpSpPr>
          <p:grpSpPr>
            <a:xfrm>
              <a:off x="7744737" y="1988245"/>
              <a:ext cx="1926735" cy="863358"/>
              <a:chOff x="803640" y="3362835"/>
              <a:chExt cx="2059657" cy="863358"/>
            </a:xfrm>
          </p:grpSpPr>
          <p:sp>
            <p:nvSpPr>
              <p:cNvPr id="47" name="TextBox 46">
                <a:extLst>
                  <a:ext uri="{FF2B5EF4-FFF2-40B4-BE49-F238E27FC236}">
                    <a16:creationId xmlns:a16="http://schemas.microsoft.com/office/drawing/2014/main" id="{A5C1B8BB-EFF2-E146-BBED-CAAEB50C9FBE}"/>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accent3"/>
                    </a:solidFill>
                    <a:latin typeface="Arial" pitchFamily="34" charset="0"/>
                    <a:cs typeface="Arial" pitchFamily="34" charset="0"/>
                  </a:rPr>
                  <a:t>You can simply impress your audience and add a unique zing. </a:t>
                </a:r>
                <a:endParaRPr lang="ko-KR" altLang="en-US" sz="1200">
                  <a:solidFill>
                    <a:schemeClr val="accent3"/>
                  </a:solidFill>
                  <a:latin typeface="Arial" pitchFamily="34" charset="0"/>
                  <a:cs typeface="Arial" pitchFamily="34" charset="0"/>
                </a:endParaRPr>
              </a:p>
            </p:txBody>
          </p:sp>
          <p:sp>
            <p:nvSpPr>
              <p:cNvPr id="48" name="TextBox 47">
                <a:extLst>
                  <a:ext uri="{FF2B5EF4-FFF2-40B4-BE49-F238E27FC236}">
                    <a16:creationId xmlns:a16="http://schemas.microsoft.com/office/drawing/2014/main" id="{83594690-8BDD-F949-A633-B2FDF21A6D56}"/>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accent3"/>
                    </a:solidFill>
                    <a:latin typeface="Arial" pitchFamily="34" charset="0"/>
                    <a:cs typeface="Arial" pitchFamily="34" charset="0"/>
                  </a:rPr>
                  <a:t>Your Text  Here</a:t>
                </a:r>
                <a:endParaRPr lang="ko-KR" altLang="en-US" sz="1200" b="1">
                  <a:solidFill>
                    <a:schemeClr val="accent3"/>
                  </a:solidFill>
                  <a:latin typeface="Arial" pitchFamily="34" charset="0"/>
                  <a:cs typeface="Arial" pitchFamily="34" charset="0"/>
                </a:endParaRPr>
              </a:p>
            </p:txBody>
          </p:sp>
        </p:grpSp>
        <p:grpSp>
          <p:nvGrpSpPr>
            <p:cNvPr id="49" name="Group 48">
              <a:extLst>
                <a:ext uri="{FF2B5EF4-FFF2-40B4-BE49-F238E27FC236}">
                  <a16:creationId xmlns:a16="http://schemas.microsoft.com/office/drawing/2014/main" id="{EADF84D7-9197-794D-B296-D6B116CCF913}"/>
                </a:ext>
              </a:extLst>
            </p:cNvPr>
            <p:cNvGrpSpPr/>
            <p:nvPr/>
          </p:nvGrpSpPr>
          <p:grpSpPr>
            <a:xfrm>
              <a:off x="7744737" y="4941311"/>
              <a:ext cx="1926735" cy="863358"/>
              <a:chOff x="803640" y="3362835"/>
              <a:chExt cx="2059657" cy="863358"/>
            </a:xfrm>
          </p:grpSpPr>
          <p:sp>
            <p:nvSpPr>
              <p:cNvPr id="50" name="TextBox 49">
                <a:extLst>
                  <a:ext uri="{FF2B5EF4-FFF2-40B4-BE49-F238E27FC236}">
                    <a16:creationId xmlns:a16="http://schemas.microsoft.com/office/drawing/2014/main" id="{4F810C78-913A-4F46-8460-FAFA7706C8B8}"/>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accent2"/>
                    </a:solidFill>
                    <a:latin typeface="Arial" pitchFamily="34" charset="0"/>
                    <a:cs typeface="Arial" pitchFamily="34" charset="0"/>
                  </a:rPr>
                  <a:t>You can simply impress your audience and add a unique zing. </a:t>
                </a:r>
                <a:endParaRPr lang="ko-KR" altLang="en-US" sz="1200">
                  <a:solidFill>
                    <a:schemeClr val="accent2"/>
                  </a:solidFill>
                  <a:latin typeface="Arial" pitchFamily="34" charset="0"/>
                  <a:cs typeface="Arial" pitchFamily="34" charset="0"/>
                </a:endParaRPr>
              </a:p>
            </p:txBody>
          </p:sp>
          <p:sp>
            <p:nvSpPr>
              <p:cNvPr id="51" name="TextBox 50">
                <a:extLst>
                  <a:ext uri="{FF2B5EF4-FFF2-40B4-BE49-F238E27FC236}">
                    <a16:creationId xmlns:a16="http://schemas.microsoft.com/office/drawing/2014/main" id="{C8AE1A62-0719-2C4B-A86F-A44D44918D95}"/>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accent2"/>
                    </a:solidFill>
                    <a:latin typeface="Arial" pitchFamily="34" charset="0"/>
                    <a:cs typeface="Arial" pitchFamily="34" charset="0"/>
                  </a:rPr>
                  <a:t>Your Text  Here</a:t>
                </a:r>
                <a:endParaRPr lang="ko-KR" altLang="en-US" sz="1200" b="1">
                  <a:solidFill>
                    <a:schemeClr val="accent2"/>
                  </a:solidFill>
                  <a:latin typeface="Arial" pitchFamily="34" charset="0"/>
                  <a:cs typeface="Arial" pitchFamily="34" charset="0"/>
                </a:endParaRPr>
              </a:p>
            </p:txBody>
          </p:sp>
        </p:grpSp>
      </p:grpSp>
    </p:spTree>
    <p:extLst>
      <p:ext uri="{BB962C8B-B14F-4D97-AF65-F5344CB8AC3E}">
        <p14:creationId xmlns:p14="http://schemas.microsoft.com/office/powerpoint/2010/main" val="54431527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E0930E4E-D0C0-4648-BE39-17E6F36A7391}"/>
              </a:ext>
            </a:extLst>
          </p:cNvPr>
          <p:cNvGraphicFramePr>
            <a:graphicFrameLocks noChangeAspect="1"/>
          </p:cNvGraphicFramePr>
          <p:nvPr>
            <p:custDataLst>
              <p:tags r:id="rId1"/>
            </p:custDataLst>
            <p:extLst>
              <p:ext uri="{D42A27DB-BD31-4B8C-83A1-F6EECF244321}">
                <p14:modId xmlns:p14="http://schemas.microsoft.com/office/powerpoint/2010/main" val="1379311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2" name="Object 41" hidden="1">
                        <a:extLst>
                          <a:ext uri="{FF2B5EF4-FFF2-40B4-BE49-F238E27FC236}">
                            <a16:creationId xmlns:a16="http://schemas.microsoft.com/office/drawing/2014/main" id="{E0930E4E-D0C0-4648-BE39-17E6F36A73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8A9CA5E-B542-D343-984A-8F263CAE5CFF}"/>
              </a:ext>
            </a:extLst>
          </p:cNvPr>
          <p:cNvSpPr>
            <a:spLocks noGrp="1"/>
          </p:cNvSpPr>
          <p:nvPr>
            <p:ph type="sldNum" sz="quarter" idx="4"/>
          </p:nvPr>
        </p:nvSpPr>
        <p:spPr/>
        <p:txBody>
          <a:bodyPr/>
          <a:lstStyle/>
          <a:p>
            <a:fld id="{3D966009-6E5A-4F8C-8CA7-E37AFBF5FB92}" type="slidenum">
              <a:rPr lang="en-US" smtClean="0"/>
              <a:t>127</a:t>
            </a:fld>
            <a:endParaRPr lang="en-US"/>
          </a:p>
        </p:txBody>
      </p:sp>
      <p:sp>
        <p:nvSpPr>
          <p:cNvPr id="3" name="Title 2">
            <a:extLst>
              <a:ext uri="{FF2B5EF4-FFF2-40B4-BE49-F238E27FC236}">
                <a16:creationId xmlns:a16="http://schemas.microsoft.com/office/drawing/2014/main" id="{2CD79CBF-21CB-3B48-9933-1F52EB58C48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13C467E7-1866-7542-A841-218DC62E2D10}"/>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ED425F6A-C41C-7B49-9B2B-A7DC4DD28E8D}"/>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18EC29E-5F4B-F040-84EA-C5726D185FC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A9FE257-1A25-D14E-8541-828ED3A477DD}"/>
              </a:ext>
            </a:extLst>
          </p:cNvPr>
          <p:cNvSpPr>
            <a:spLocks noGrp="1"/>
          </p:cNvSpPr>
          <p:nvPr>
            <p:ph sz="quarter" idx="14"/>
          </p:nvPr>
        </p:nvSpPr>
        <p:spPr/>
        <p:txBody>
          <a:bodyPr/>
          <a:lstStyle/>
          <a:p>
            <a:endParaRPr lang="en-GB"/>
          </a:p>
        </p:txBody>
      </p:sp>
      <p:grpSp>
        <p:nvGrpSpPr>
          <p:cNvPr id="41" name="Group 40">
            <a:extLst>
              <a:ext uri="{FF2B5EF4-FFF2-40B4-BE49-F238E27FC236}">
                <a16:creationId xmlns:a16="http://schemas.microsoft.com/office/drawing/2014/main" id="{D3F4520E-4623-CB4A-A80B-331DAF075876}"/>
              </a:ext>
            </a:extLst>
          </p:cNvPr>
          <p:cNvGrpSpPr/>
          <p:nvPr/>
        </p:nvGrpSpPr>
        <p:grpSpPr>
          <a:xfrm>
            <a:off x="1706646" y="2112650"/>
            <a:ext cx="8314893" cy="3412877"/>
            <a:chOff x="380766" y="1264556"/>
            <a:chExt cx="8314893" cy="3412877"/>
          </a:xfrm>
        </p:grpSpPr>
        <p:sp>
          <p:nvSpPr>
            <p:cNvPr id="9" name="Block Arc 8">
              <a:extLst>
                <a:ext uri="{FF2B5EF4-FFF2-40B4-BE49-F238E27FC236}">
                  <a16:creationId xmlns:a16="http://schemas.microsoft.com/office/drawing/2014/main" id="{D1C6CB79-2516-6742-AFB3-9E4B0BA3FFD7}"/>
                </a:ext>
              </a:extLst>
            </p:cNvPr>
            <p:cNvSpPr/>
            <p:nvPr/>
          </p:nvSpPr>
          <p:spPr>
            <a:xfrm>
              <a:off x="2951990" y="1437416"/>
              <a:ext cx="3240017" cy="3240016"/>
            </a:xfrm>
            <a:prstGeom prst="blockArc">
              <a:avLst>
                <a:gd name="adj1" fmla="val 10800000"/>
                <a:gd name="adj2" fmla="val 16227627"/>
                <a:gd name="adj3" fmla="val 185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 name="Block Arc 9">
              <a:extLst>
                <a:ext uri="{FF2B5EF4-FFF2-40B4-BE49-F238E27FC236}">
                  <a16:creationId xmlns:a16="http://schemas.microsoft.com/office/drawing/2014/main" id="{B2374D87-518C-2E41-9AC7-339D66FCC17E}"/>
                </a:ext>
              </a:extLst>
            </p:cNvPr>
            <p:cNvSpPr/>
            <p:nvPr/>
          </p:nvSpPr>
          <p:spPr>
            <a:xfrm rot="5400000">
              <a:off x="2951990" y="1437416"/>
              <a:ext cx="3240016" cy="3240016"/>
            </a:xfrm>
            <a:prstGeom prst="blockArc">
              <a:avLst>
                <a:gd name="adj1" fmla="val 10800000"/>
                <a:gd name="adj2" fmla="val 16227627"/>
                <a:gd name="adj3" fmla="val 185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 name="Block Arc 10">
              <a:extLst>
                <a:ext uri="{FF2B5EF4-FFF2-40B4-BE49-F238E27FC236}">
                  <a16:creationId xmlns:a16="http://schemas.microsoft.com/office/drawing/2014/main" id="{89A2AFAA-1901-F64F-AD58-6A3055F96E57}"/>
                </a:ext>
              </a:extLst>
            </p:cNvPr>
            <p:cNvSpPr/>
            <p:nvPr/>
          </p:nvSpPr>
          <p:spPr>
            <a:xfrm rot="10800000">
              <a:off x="2951991" y="1437416"/>
              <a:ext cx="3240017" cy="3240016"/>
            </a:xfrm>
            <a:prstGeom prst="blockArc">
              <a:avLst>
                <a:gd name="adj1" fmla="val 10800000"/>
                <a:gd name="adj2" fmla="val 16227627"/>
                <a:gd name="adj3" fmla="val 1859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 name="Block Arc 11">
              <a:extLst>
                <a:ext uri="{FF2B5EF4-FFF2-40B4-BE49-F238E27FC236}">
                  <a16:creationId xmlns:a16="http://schemas.microsoft.com/office/drawing/2014/main" id="{7E2363FB-7143-0A45-9118-6F13ACEC36AE}"/>
                </a:ext>
              </a:extLst>
            </p:cNvPr>
            <p:cNvSpPr/>
            <p:nvPr/>
          </p:nvSpPr>
          <p:spPr>
            <a:xfrm rot="16200000">
              <a:off x="2951990" y="1437416"/>
              <a:ext cx="3240016" cy="3240017"/>
            </a:xfrm>
            <a:prstGeom prst="blockArc">
              <a:avLst>
                <a:gd name="adj1" fmla="val 10800000"/>
                <a:gd name="adj2" fmla="val 16227627"/>
                <a:gd name="adj3" fmla="val 1859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 name="Isosceles Triangle 8">
              <a:extLst>
                <a:ext uri="{FF2B5EF4-FFF2-40B4-BE49-F238E27FC236}">
                  <a16:creationId xmlns:a16="http://schemas.microsoft.com/office/drawing/2014/main" id="{71ED611A-8F4E-1840-92BE-67B2798E2EA9}"/>
                </a:ext>
              </a:extLst>
            </p:cNvPr>
            <p:cNvSpPr/>
            <p:nvPr/>
          </p:nvSpPr>
          <p:spPr>
            <a:xfrm rot="5400000">
              <a:off x="4303409" y="1500642"/>
              <a:ext cx="1018895" cy="54672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Isosceles Triangle 9">
              <a:extLst>
                <a:ext uri="{FF2B5EF4-FFF2-40B4-BE49-F238E27FC236}">
                  <a16:creationId xmlns:a16="http://schemas.microsoft.com/office/drawing/2014/main" id="{FDB09F5B-C572-AC40-993E-0F3956C577CA}"/>
                </a:ext>
              </a:extLst>
            </p:cNvPr>
            <p:cNvSpPr/>
            <p:nvPr/>
          </p:nvSpPr>
          <p:spPr>
            <a:xfrm rot="10800000">
              <a:off x="5404596" y="3056807"/>
              <a:ext cx="1018896" cy="54672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Isosceles Triangle 11">
              <a:extLst>
                <a:ext uri="{FF2B5EF4-FFF2-40B4-BE49-F238E27FC236}">
                  <a16:creationId xmlns:a16="http://schemas.microsoft.com/office/drawing/2014/main" id="{AB05BA97-D5E3-504D-994D-139EF2E6CD22}"/>
                </a:ext>
              </a:extLst>
            </p:cNvPr>
            <p:cNvSpPr/>
            <p:nvPr/>
          </p:nvSpPr>
          <p:spPr>
            <a:xfrm>
              <a:off x="2720507" y="2504794"/>
              <a:ext cx="1018896" cy="546724"/>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16" name="Group 15">
              <a:extLst>
                <a:ext uri="{FF2B5EF4-FFF2-40B4-BE49-F238E27FC236}">
                  <a16:creationId xmlns:a16="http://schemas.microsoft.com/office/drawing/2014/main" id="{2AC59BC4-26DA-3648-8978-6479931B13BF}"/>
                </a:ext>
              </a:extLst>
            </p:cNvPr>
            <p:cNvGrpSpPr/>
            <p:nvPr/>
          </p:nvGrpSpPr>
          <p:grpSpPr>
            <a:xfrm>
              <a:off x="380766" y="1774004"/>
              <a:ext cx="2539483" cy="863358"/>
              <a:chOff x="803640" y="3362835"/>
              <a:chExt cx="2059657" cy="863358"/>
            </a:xfrm>
          </p:grpSpPr>
          <p:sp>
            <p:nvSpPr>
              <p:cNvPr id="17" name="TextBox 16">
                <a:extLst>
                  <a:ext uri="{FF2B5EF4-FFF2-40B4-BE49-F238E27FC236}">
                    <a16:creationId xmlns:a16="http://schemas.microsoft.com/office/drawing/2014/main" id="{AD4A54AD-22DD-E84C-8894-05348EFCEE3A}"/>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accent3"/>
                    </a:solidFill>
                    <a:cs typeface="Arial" pitchFamily="34" charset="0"/>
                  </a:rPr>
                  <a:t>You can simply impress your audience and add a unique zing and appeal to your Presentations.   </a:t>
                </a:r>
                <a:endParaRPr lang="ko-KR" altLang="en-US" sz="1200">
                  <a:solidFill>
                    <a:schemeClr val="accent3"/>
                  </a:solidFill>
                  <a:cs typeface="Arial" pitchFamily="34" charset="0"/>
                </a:endParaRPr>
              </a:p>
            </p:txBody>
          </p:sp>
          <p:sp>
            <p:nvSpPr>
              <p:cNvPr id="18" name="TextBox 17">
                <a:extLst>
                  <a:ext uri="{FF2B5EF4-FFF2-40B4-BE49-F238E27FC236}">
                    <a16:creationId xmlns:a16="http://schemas.microsoft.com/office/drawing/2014/main" id="{B87CBFB7-B717-BF40-B321-20BDFF200ABB}"/>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accent3"/>
                    </a:solidFill>
                    <a:cs typeface="Arial" pitchFamily="34" charset="0"/>
                  </a:rPr>
                  <a:t>Your Text  Here</a:t>
                </a:r>
                <a:endParaRPr lang="ko-KR" altLang="en-US" sz="1200" b="1">
                  <a:solidFill>
                    <a:schemeClr val="accent3"/>
                  </a:solidFill>
                  <a:cs typeface="Arial" pitchFamily="34" charset="0"/>
                </a:endParaRPr>
              </a:p>
            </p:txBody>
          </p:sp>
        </p:grpSp>
        <p:grpSp>
          <p:nvGrpSpPr>
            <p:cNvPr id="19" name="Group 18">
              <a:extLst>
                <a:ext uri="{FF2B5EF4-FFF2-40B4-BE49-F238E27FC236}">
                  <a16:creationId xmlns:a16="http://schemas.microsoft.com/office/drawing/2014/main" id="{B4EF13BF-E7F8-0742-A6E0-85F051D4DD61}"/>
                </a:ext>
              </a:extLst>
            </p:cNvPr>
            <p:cNvGrpSpPr/>
            <p:nvPr/>
          </p:nvGrpSpPr>
          <p:grpSpPr>
            <a:xfrm>
              <a:off x="380766" y="3574204"/>
              <a:ext cx="2539483" cy="863358"/>
              <a:chOff x="803640" y="3362835"/>
              <a:chExt cx="2059657" cy="863358"/>
            </a:xfrm>
          </p:grpSpPr>
          <p:sp>
            <p:nvSpPr>
              <p:cNvPr id="20" name="TextBox 19">
                <a:extLst>
                  <a:ext uri="{FF2B5EF4-FFF2-40B4-BE49-F238E27FC236}">
                    <a16:creationId xmlns:a16="http://schemas.microsoft.com/office/drawing/2014/main" id="{FE254605-624A-1046-A943-3614FC2C3514}"/>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accent6">
                        <a:lumMod val="75000"/>
                      </a:schemeClr>
                    </a:solidFill>
                    <a:cs typeface="Arial" pitchFamily="34" charset="0"/>
                  </a:rPr>
                  <a:t>You can simply impress your audience and add a unique zing and appeal to your Presentations.   </a:t>
                </a:r>
                <a:endParaRPr lang="ko-KR" altLang="en-US" sz="1200">
                  <a:solidFill>
                    <a:schemeClr val="accent6">
                      <a:lumMod val="75000"/>
                    </a:schemeClr>
                  </a:solidFill>
                  <a:cs typeface="Arial" pitchFamily="34" charset="0"/>
                </a:endParaRPr>
              </a:p>
            </p:txBody>
          </p:sp>
          <p:sp>
            <p:nvSpPr>
              <p:cNvPr id="21" name="TextBox 20">
                <a:extLst>
                  <a:ext uri="{FF2B5EF4-FFF2-40B4-BE49-F238E27FC236}">
                    <a16:creationId xmlns:a16="http://schemas.microsoft.com/office/drawing/2014/main" id="{0CDDDFE8-312A-4848-A3BE-5651C4197289}"/>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accent6">
                        <a:lumMod val="75000"/>
                      </a:schemeClr>
                    </a:solidFill>
                    <a:cs typeface="Arial" pitchFamily="34" charset="0"/>
                  </a:rPr>
                  <a:t>Your Text  Here</a:t>
                </a:r>
                <a:endParaRPr lang="ko-KR" altLang="en-US" sz="1200" b="1">
                  <a:solidFill>
                    <a:schemeClr val="accent6">
                      <a:lumMod val="75000"/>
                    </a:schemeClr>
                  </a:solidFill>
                  <a:cs typeface="Arial" pitchFamily="34" charset="0"/>
                </a:endParaRPr>
              </a:p>
            </p:txBody>
          </p:sp>
        </p:grpSp>
        <p:grpSp>
          <p:nvGrpSpPr>
            <p:cNvPr id="22" name="Group 21">
              <a:extLst>
                <a:ext uri="{FF2B5EF4-FFF2-40B4-BE49-F238E27FC236}">
                  <a16:creationId xmlns:a16="http://schemas.microsoft.com/office/drawing/2014/main" id="{2937F31A-FAC5-7E41-BA8A-8DD51C13EE8B}"/>
                </a:ext>
              </a:extLst>
            </p:cNvPr>
            <p:cNvGrpSpPr/>
            <p:nvPr/>
          </p:nvGrpSpPr>
          <p:grpSpPr>
            <a:xfrm>
              <a:off x="6156176" y="1774004"/>
              <a:ext cx="2539483" cy="863358"/>
              <a:chOff x="803640" y="3362835"/>
              <a:chExt cx="2059657" cy="863358"/>
            </a:xfrm>
          </p:grpSpPr>
          <p:sp>
            <p:nvSpPr>
              <p:cNvPr id="23" name="TextBox 22">
                <a:extLst>
                  <a:ext uri="{FF2B5EF4-FFF2-40B4-BE49-F238E27FC236}">
                    <a16:creationId xmlns:a16="http://schemas.microsoft.com/office/drawing/2014/main" id="{660976BB-A0E7-2945-B311-3E409884260B}"/>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accent2"/>
                    </a:solidFill>
                    <a:cs typeface="Arial" pitchFamily="34" charset="0"/>
                  </a:rPr>
                  <a:t>You can simply impress your audience and add a unique zing and appeal to your Presentations.   </a:t>
                </a:r>
                <a:endParaRPr lang="ko-KR" altLang="en-US" sz="1200">
                  <a:solidFill>
                    <a:schemeClr val="accent2"/>
                  </a:solidFill>
                  <a:cs typeface="Arial" pitchFamily="34" charset="0"/>
                </a:endParaRPr>
              </a:p>
            </p:txBody>
          </p:sp>
          <p:sp>
            <p:nvSpPr>
              <p:cNvPr id="24" name="TextBox 23">
                <a:extLst>
                  <a:ext uri="{FF2B5EF4-FFF2-40B4-BE49-F238E27FC236}">
                    <a16:creationId xmlns:a16="http://schemas.microsoft.com/office/drawing/2014/main" id="{D4631DB4-8625-6D48-B763-0D3A5F8FDAD5}"/>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2"/>
                    </a:solidFill>
                    <a:cs typeface="Arial" pitchFamily="34" charset="0"/>
                  </a:rPr>
                  <a:t>Your Text  Here</a:t>
                </a:r>
                <a:endParaRPr lang="ko-KR" altLang="en-US" sz="1200" b="1">
                  <a:solidFill>
                    <a:schemeClr val="accent2"/>
                  </a:solidFill>
                  <a:cs typeface="Arial" pitchFamily="34" charset="0"/>
                </a:endParaRPr>
              </a:p>
            </p:txBody>
          </p:sp>
        </p:grpSp>
        <p:grpSp>
          <p:nvGrpSpPr>
            <p:cNvPr id="25" name="Group 24">
              <a:extLst>
                <a:ext uri="{FF2B5EF4-FFF2-40B4-BE49-F238E27FC236}">
                  <a16:creationId xmlns:a16="http://schemas.microsoft.com/office/drawing/2014/main" id="{0B2C9DC4-045B-964E-A806-62B587B9312E}"/>
                </a:ext>
              </a:extLst>
            </p:cNvPr>
            <p:cNvGrpSpPr/>
            <p:nvPr/>
          </p:nvGrpSpPr>
          <p:grpSpPr>
            <a:xfrm>
              <a:off x="6156176" y="3574204"/>
              <a:ext cx="2539483" cy="863358"/>
              <a:chOff x="803640" y="3362835"/>
              <a:chExt cx="2059657" cy="863358"/>
            </a:xfrm>
          </p:grpSpPr>
          <p:sp>
            <p:nvSpPr>
              <p:cNvPr id="26" name="TextBox 25">
                <a:extLst>
                  <a:ext uri="{FF2B5EF4-FFF2-40B4-BE49-F238E27FC236}">
                    <a16:creationId xmlns:a16="http://schemas.microsoft.com/office/drawing/2014/main" id="{43075E27-3ADF-3A41-A979-3326DC2520EE}"/>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accent1"/>
                    </a:solidFill>
                    <a:cs typeface="Arial" pitchFamily="34" charset="0"/>
                  </a:rPr>
                  <a:t>You can simply impress your audience and add a unique zing and appeal to your Presentations.   </a:t>
                </a:r>
                <a:endParaRPr lang="ko-KR" altLang="en-US" sz="1200">
                  <a:solidFill>
                    <a:schemeClr val="accent1"/>
                  </a:solidFill>
                  <a:cs typeface="Arial" pitchFamily="34" charset="0"/>
                </a:endParaRPr>
              </a:p>
            </p:txBody>
          </p:sp>
          <p:sp>
            <p:nvSpPr>
              <p:cNvPr id="27" name="TextBox 26">
                <a:extLst>
                  <a:ext uri="{FF2B5EF4-FFF2-40B4-BE49-F238E27FC236}">
                    <a16:creationId xmlns:a16="http://schemas.microsoft.com/office/drawing/2014/main" id="{87E819D4-3DB3-9246-A5E8-5553E49A1017}"/>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1"/>
                    </a:solidFill>
                    <a:cs typeface="Arial" pitchFamily="34" charset="0"/>
                  </a:rPr>
                  <a:t>Your Text  Here</a:t>
                </a:r>
                <a:endParaRPr lang="ko-KR" altLang="en-US" sz="1200" b="1">
                  <a:solidFill>
                    <a:schemeClr val="accent1"/>
                  </a:solidFill>
                  <a:cs typeface="Arial" pitchFamily="34" charset="0"/>
                </a:endParaRPr>
              </a:p>
            </p:txBody>
          </p:sp>
        </p:grpSp>
        <p:sp>
          <p:nvSpPr>
            <p:cNvPr id="28" name="Oval 27">
              <a:extLst>
                <a:ext uri="{FF2B5EF4-FFF2-40B4-BE49-F238E27FC236}">
                  <a16:creationId xmlns:a16="http://schemas.microsoft.com/office/drawing/2014/main" id="{C222006E-52A4-BE4C-BA05-0DA5201AEB11}"/>
                </a:ext>
              </a:extLst>
            </p:cNvPr>
            <p:cNvSpPr/>
            <p:nvPr/>
          </p:nvSpPr>
          <p:spPr>
            <a:xfrm>
              <a:off x="3131840" y="3538814"/>
              <a:ext cx="843587" cy="843587"/>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9" name="Oval 28">
              <a:extLst>
                <a:ext uri="{FF2B5EF4-FFF2-40B4-BE49-F238E27FC236}">
                  <a16:creationId xmlns:a16="http://schemas.microsoft.com/office/drawing/2014/main" id="{A2F7DA99-2F84-3D49-ABD4-605EAB3801E0}"/>
                </a:ext>
              </a:extLst>
            </p:cNvPr>
            <p:cNvSpPr/>
            <p:nvPr/>
          </p:nvSpPr>
          <p:spPr>
            <a:xfrm>
              <a:off x="3131840" y="1687729"/>
              <a:ext cx="843587" cy="843587"/>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0" name="Oval 29">
              <a:extLst>
                <a:ext uri="{FF2B5EF4-FFF2-40B4-BE49-F238E27FC236}">
                  <a16:creationId xmlns:a16="http://schemas.microsoft.com/office/drawing/2014/main" id="{8038351D-7C22-8D47-9590-910836CB06D0}"/>
                </a:ext>
              </a:extLst>
            </p:cNvPr>
            <p:cNvSpPr/>
            <p:nvPr/>
          </p:nvSpPr>
          <p:spPr>
            <a:xfrm>
              <a:off x="5148064" y="1687729"/>
              <a:ext cx="843587" cy="84358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1" name="Oval 30">
              <a:extLst>
                <a:ext uri="{FF2B5EF4-FFF2-40B4-BE49-F238E27FC236}">
                  <a16:creationId xmlns:a16="http://schemas.microsoft.com/office/drawing/2014/main" id="{FF5368C5-E396-D04D-9E9D-542658E5DE9D}"/>
                </a:ext>
              </a:extLst>
            </p:cNvPr>
            <p:cNvSpPr/>
            <p:nvPr/>
          </p:nvSpPr>
          <p:spPr>
            <a:xfrm>
              <a:off x="5148064" y="3538814"/>
              <a:ext cx="843587" cy="84358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2" name="Rectangle 9">
              <a:extLst>
                <a:ext uri="{FF2B5EF4-FFF2-40B4-BE49-F238E27FC236}">
                  <a16:creationId xmlns:a16="http://schemas.microsoft.com/office/drawing/2014/main" id="{5E181E0A-65BC-4A42-975F-A1701DD6E44A}"/>
                </a:ext>
              </a:extLst>
            </p:cNvPr>
            <p:cNvSpPr/>
            <p:nvPr/>
          </p:nvSpPr>
          <p:spPr>
            <a:xfrm>
              <a:off x="3405491" y="1950953"/>
              <a:ext cx="322655" cy="302034"/>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Rectangle 16">
              <a:extLst>
                <a:ext uri="{FF2B5EF4-FFF2-40B4-BE49-F238E27FC236}">
                  <a16:creationId xmlns:a16="http://schemas.microsoft.com/office/drawing/2014/main" id="{B2BF3C5E-610D-B042-A8EC-44561F8714E4}"/>
                </a:ext>
              </a:extLst>
            </p:cNvPr>
            <p:cNvSpPr/>
            <p:nvPr/>
          </p:nvSpPr>
          <p:spPr>
            <a:xfrm rot="2700000">
              <a:off x="5447632" y="3755569"/>
              <a:ext cx="244448" cy="438249"/>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Oval 21">
              <a:extLst>
                <a:ext uri="{FF2B5EF4-FFF2-40B4-BE49-F238E27FC236}">
                  <a16:creationId xmlns:a16="http://schemas.microsoft.com/office/drawing/2014/main" id="{8EAD8F49-1C95-7041-BAA5-C4ADE2673019}"/>
                </a:ext>
              </a:extLst>
            </p:cNvPr>
            <p:cNvSpPr>
              <a:spLocks noChangeAspect="1"/>
            </p:cNvSpPr>
            <p:nvPr/>
          </p:nvSpPr>
          <p:spPr>
            <a:xfrm>
              <a:off x="5404596" y="1920489"/>
              <a:ext cx="359957" cy="362963"/>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5" name="Rounded Rectangle 27">
              <a:extLst>
                <a:ext uri="{FF2B5EF4-FFF2-40B4-BE49-F238E27FC236}">
                  <a16:creationId xmlns:a16="http://schemas.microsoft.com/office/drawing/2014/main" id="{D2861BD4-8276-2847-95D5-8DB5845D788D}"/>
                </a:ext>
              </a:extLst>
            </p:cNvPr>
            <p:cNvSpPr/>
            <p:nvPr/>
          </p:nvSpPr>
          <p:spPr>
            <a:xfrm>
              <a:off x="3406044" y="3851203"/>
              <a:ext cx="295178" cy="226737"/>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6" name="Oval 21">
              <a:extLst>
                <a:ext uri="{FF2B5EF4-FFF2-40B4-BE49-F238E27FC236}">
                  <a16:creationId xmlns:a16="http://schemas.microsoft.com/office/drawing/2014/main" id="{39E88AAF-5E9C-E045-A9F9-F6CE8AABFECA}"/>
                </a:ext>
              </a:extLst>
            </p:cNvPr>
            <p:cNvSpPr>
              <a:spLocks noChangeAspect="1"/>
            </p:cNvSpPr>
            <p:nvPr/>
          </p:nvSpPr>
          <p:spPr>
            <a:xfrm>
              <a:off x="3963597" y="2438036"/>
              <a:ext cx="1216801" cy="1226963"/>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7" name="TextBox 36">
              <a:extLst>
                <a:ext uri="{FF2B5EF4-FFF2-40B4-BE49-F238E27FC236}">
                  <a16:creationId xmlns:a16="http://schemas.microsoft.com/office/drawing/2014/main" id="{827E24C8-082E-044D-B1FE-9403F14E098A}"/>
                </a:ext>
              </a:extLst>
            </p:cNvPr>
            <p:cNvSpPr txBox="1"/>
            <p:nvPr/>
          </p:nvSpPr>
          <p:spPr>
            <a:xfrm>
              <a:off x="4293683" y="1550843"/>
              <a:ext cx="470000" cy="400110"/>
            </a:xfrm>
            <a:prstGeom prst="rect">
              <a:avLst/>
            </a:prstGeom>
            <a:noFill/>
          </p:spPr>
          <p:txBody>
            <a:bodyPr wrap="none" rtlCol="0">
              <a:spAutoFit/>
            </a:bodyPr>
            <a:lstStyle/>
            <a:p>
              <a:pPr algn="r"/>
              <a:r>
                <a:rPr lang="en-US" altLang="ko-KR" sz="2000" b="1">
                  <a:solidFill>
                    <a:schemeClr val="bg1"/>
                  </a:solidFill>
                  <a:cs typeface="Arial" pitchFamily="34" charset="0"/>
                </a:rPr>
                <a:t>01</a:t>
              </a:r>
              <a:endParaRPr lang="ko-KR" altLang="en-US" sz="2000" b="1">
                <a:solidFill>
                  <a:schemeClr val="bg1"/>
                </a:solidFill>
                <a:cs typeface="Arial" pitchFamily="34" charset="0"/>
              </a:endParaRPr>
            </a:p>
          </p:txBody>
        </p:sp>
        <p:sp>
          <p:nvSpPr>
            <p:cNvPr id="38" name="TextBox 37">
              <a:extLst>
                <a:ext uri="{FF2B5EF4-FFF2-40B4-BE49-F238E27FC236}">
                  <a16:creationId xmlns:a16="http://schemas.microsoft.com/office/drawing/2014/main" id="{620DAC35-93DF-6141-B5C6-BB304177C1F6}"/>
                </a:ext>
              </a:extLst>
            </p:cNvPr>
            <p:cNvSpPr txBox="1"/>
            <p:nvPr/>
          </p:nvSpPr>
          <p:spPr>
            <a:xfrm>
              <a:off x="5671000" y="2857369"/>
              <a:ext cx="470000" cy="400110"/>
            </a:xfrm>
            <a:prstGeom prst="rect">
              <a:avLst/>
            </a:prstGeom>
            <a:noFill/>
          </p:spPr>
          <p:txBody>
            <a:bodyPr wrap="none" rtlCol="0">
              <a:spAutoFit/>
            </a:bodyPr>
            <a:lstStyle/>
            <a:p>
              <a:pPr algn="r"/>
              <a:r>
                <a:rPr lang="en-US" altLang="ko-KR" sz="2000" b="1">
                  <a:solidFill>
                    <a:schemeClr val="bg1"/>
                  </a:solidFill>
                  <a:cs typeface="Arial" pitchFamily="34" charset="0"/>
                </a:rPr>
                <a:t>02</a:t>
              </a:r>
              <a:endParaRPr lang="ko-KR" altLang="en-US" sz="2000" b="1">
                <a:solidFill>
                  <a:schemeClr val="bg1"/>
                </a:solidFill>
                <a:cs typeface="Arial" pitchFamily="34" charset="0"/>
              </a:endParaRPr>
            </a:p>
          </p:txBody>
        </p:sp>
        <p:sp>
          <p:nvSpPr>
            <p:cNvPr id="39" name="TextBox 38">
              <a:extLst>
                <a:ext uri="{FF2B5EF4-FFF2-40B4-BE49-F238E27FC236}">
                  <a16:creationId xmlns:a16="http://schemas.microsoft.com/office/drawing/2014/main" id="{0D81B482-E729-9F47-8271-DB813A23A90B}"/>
                </a:ext>
              </a:extLst>
            </p:cNvPr>
            <p:cNvSpPr txBox="1"/>
            <p:nvPr/>
          </p:nvSpPr>
          <p:spPr>
            <a:xfrm>
              <a:off x="4293683" y="4163895"/>
              <a:ext cx="470000" cy="400110"/>
            </a:xfrm>
            <a:prstGeom prst="rect">
              <a:avLst/>
            </a:prstGeom>
            <a:noFill/>
          </p:spPr>
          <p:txBody>
            <a:bodyPr wrap="none" rtlCol="0">
              <a:spAutoFit/>
            </a:bodyPr>
            <a:lstStyle/>
            <a:p>
              <a:pPr algn="r"/>
              <a:r>
                <a:rPr lang="en-US" altLang="ko-KR" sz="2000" b="1">
                  <a:solidFill>
                    <a:schemeClr val="bg1"/>
                  </a:solidFill>
                  <a:cs typeface="Arial" pitchFamily="34" charset="0"/>
                </a:rPr>
                <a:t>03</a:t>
              </a:r>
              <a:endParaRPr lang="ko-KR" altLang="en-US" sz="2000" b="1">
                <a:solidFill>
                  <a:schemeClr val="bg1"/>
                </a:solidFill>
                <a:cs typeface="Arial" pitchFamily="34" charset="0"/>
              </a:endParaRPr>
            </a:p>
          </p:txBody>
        </p:sp>
        <p:sp>
          <p:nvSpPr>
            <p:cNvPr id="40" name="TextBox 39">
              <a:extLst>
                <a:ext uri="{FF2B5EF4-FFF2-40B4-BE49-F238E27FC236}">
                  <a16:creationId xmlns:a16="http://schemas.microsoft.com/office/drawing/2014/main" id="{486F95F6-6538-004B-8577-1BCC781E8E80}"/>
                </a:ext>
              </a:extLst>
            </p:cNvPr>
            <p:cNvSpPr txBox="1"/>
            <p:nvPr/>
          </p:nvSpPr>
          <p:spPr>
            <a:xfrm>
              <a:off x="2994955" y="2851462"/>
              <a:ext cx="470000" cy="400110"/>
            </a:xfrm>
            <a:prstGeom prst="rect">
              <a:avLst/>
            </a:prstGeom>
            <a:noFill/>
          </p:spPr>
          <p:txBody>
            <a:bodyPr wrap="none" rtlCol="0">
              <a:spAutoFit/>
            </a:bodyPr>
            <a:lstStyle/>
            <a:p>
              <a:pPr algn="r"/>
              <a:r>
                <a:rPr lang="en-US" altLang="ko-KR" sz="2000" b="1">
                  <a:solidFill>
                    <a:schemeClr val="bg1"/>
                  </a:solidFill>
                  <a:cs typeface="Arial" pitchFamily="34" charset="0"/>
                </a:rPr>
                <a:t>04</a:t>
              </a:r>
              <a:endParaRPr lang="ko-KR" altLang="en-US" sz="2000" b="1">
                <a:solidFill>
                  <a:schemeClr val="bg1"/>
                </a:solidFill>
                <a:cs typeface="Arial" pitchFamily="34" charset="0"/>
              </a:endParaRPr>
            </a:p>
          </p:txBody>
        </p:sp>
      </p:grpSp>
    </p:spTree>
    <p:extLst>
      <p:ext uri="{BB962C8B-B14F-4D97-AF65-F5344CB8AC3E}">
        <p14:creationId xmlns:p14="http://schemas.microsoft.com/office/powerpoint/2010/main" val="38334086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CE4F57-3E32-3B41-AA54-D92DF42E1B7E}"/>
              </a:ext>
            </a:extLst>
          </p:cNvPr>
          <p:cNvSpPr>
            <a:spLocks noGrp="1"/>
          </p:cNvSpPr>
          <p:nvPr>
            <p:ph type="sldNum" sz="quarter" idx="4"/>
          </p:nvPr>
        </p:nvSpPr>
        <p:spPr/>
        <p:txBody>
          <a:bodyPr/>
          <a:lstStyle/>
          <a:p>
            <a:fld id="{3D966009-6E5A-4F8C-8CA7-E37AFBF5FB92}" type="slidenum">
              <a:rPr lang="en-US" smtClean="0"/>
              <a:t>128</a:t>
            </a:fld>
            <a:endParaRPr lang="en-US"/>
          </a:p>
        </p:txBody>
      </p:sp>
      <p:sp>
        <p:nvSpPr>
          <p:cNvPr id="3" name="Title 2">
            <a:extLst>
              <a:ext uri="{FF2B5EF4-FFF2-40B4-BE49-F238E27FC236}">
                <a16:creationId xmlns:a16="http://schemas.microsoft.com/office/drawing/2014/main" id="{4B2F56AE-E680-D24E-B01B-EC9CE7B3A356}"/>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1B2C7107-5C2E-0748-A657-0D008DE4F1E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C42E43A6-A7E8-B94E-BC1E-D9F0BA24A2F4}"/>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4EEFDA2F-6746-3744-A5FE-53B7228E5EB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3AD69FB-6F49-D94F-8DA6-4EDE44FF5E3F}"/>
              </a:ext>
            </a:extLst>
          </p:cNvPr>
          <p:cNvSpPr>
            <a:spLocks noGrp="1"/>
          </p:cNvSpPr>
          <p:nvPr>
            <p:ph sz="quarter" idx="14"/>
          </p:nvPr>
        </p:nvSpPr>
        <p:spPr/>
        <p:txBody>
          <a:bodyPr/>
          <a:lstStyle/>
          <a:p>
            <a:endParaRPr lang="en-GB"/>
          </a:p>
        </p:txBody>
      </p:sp>
      <p:grpSp>
        <p:nvGrpSpPr>
          <p:cNvPr id="9" name="Group 6">
            <a:extLst>
              <a:ext uri="{FF2B5EF4-FFF2-40B4-BE49-F238E27FC236}">
                <a16:creationId xmlns:a16="http://schemas.microsoft.com/office/drawing/2014/main" id="{52CC472A-B223-0F48-B493-FDDD28431514}"/>
              </a:ext>
            </a:extLst>
          </p:cNvPr>
          <p:cNvGrpSpPr/>
          <p:nvPr/>
        </p:nvGrpSpPr>
        <p:grpSpPr>
          <a:xfrm>
            <a:off x="8404604" y="2781022"/>
            <a:ext cx="2911650" cy="959038"/>
            <a:chOff x="6976472" y="3212976"/>
            <a:chExt cx="2175465" cy="959038"/>
          </a:xfrm>
        </p:grpSpPr>
        <p:sp>
          <p:nvSpPr>
            <p:cNvPr id="10" name="TextBox 9">
              <a:extLst>
                <a:ext uri="{FF2B5EF4-FFF2-40B4-BE49-F238E27FC236}">
                  <a16:creationId xmlns:a16="http://schemas.microsoft.com/office/drawing/2014/main" id="{9A437EB7-ADA2-D649-B13E-79F1728F5B7B}"/>
                </a:ext>
              </a:extLst>
            </p:cNvPr>
            <p:cNvSpPr txBox="1"/>
            <p:nvPr/>
          </p:nvSpPr>
          <p:spPr>
            <a:xfrm>
              <a:off x="6976472" y="3212976"/>
              <a:ext cx="217546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1" name="TextBox 10">
              <a:extLst>
                <a:ext uri="{FF2B5EF4-FFF2-40B4-BE49-F238E27FC236}">
                  <a16:creationId xmlns:a16="http://schemas.microsoft.com/office/drawing/2014/main" id="{6CA256A5-F96C-7349-AB84-82125B54D210}"/>
                </a:ext>
              </a:extLst>
            </p:cNvPr>
            <p:cNvSpPr txBox="1"/>
            <p:nvPr/>
          </p:nvSpPr>
          <p:spPr>
            <a:xfrm>
              <a:off x="6976473" y="3525683"/>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12" name="Group 3">
            <a:extLst>
              <a:ext uri="{FF2B5EF4-FFF2-40B4-BE49-F238E27FC236}">
                <a16:creationId xmlns:a16="http://schemas.microsoft.com/office/drawing/2014/main" id="{7B0E92FD-CC2A-3740-897D-C0A1904F87FE}"/>
              </a:ext>
            </a:extLst>
          </p:cNvPr>
          <p:cNvGrpSpPr/>
          <p:nvPr/>
        </p:nvGrpSpPr>
        <p:grpSpPr>
          <a:xfrm>
            <a:off x="785212" y="4011742"/>
            <a:ext cx="2911651" cy="959038"/>
            <a:chOff x="-2604" y="3201033"/>
            <a:chExt cx="2175465" cy="959038"/>
          </a:xfrm>
        </p:grpSpPr>
        <p:sp>
          <p:nvSpPr>
            <p:cNvPr id="13" name="TextBox 12">
              <a:extLst>
                <a:ext uri="{FF2B5EF4-FFF2-40B4-BE49-F238E27FC236}">
                  <a16:creationId xmlns:a16="http://schemas.microsoft.com/office/drawing/2014/main" id="{7F9FDE71-72DC-7D43-99B8-BA50AE7AB711}"/>
                </a:ext>
              </a:extLst>
            </p:cNvPr>
            <p:cNvSpPr txBox="1"/>
            <p:nvPr/>
          </p:nvSpPr>
          <p:spPr>
            <a:xfrm>
              <a:off x="-2604" y="3201033"/>
              <a:ext cx="2175465"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4" name="TextBox 13">
              <a:extLst>
                <a:ext uri="{FF2B5EF4-FFF2-40B4-BE49-F238E27FC236}">
                  <a16:creationId xmlns:a16="http://schemas.microsoft.com/office/drawing/2014/main" id="{DC15FCE9-6AC3-404B-A508-A8420799EE7A}"/>
                </a:ext>
              </a:extLst>
            </p:cNvPr>
            <p:cNvSpPr txBox="1"/>
            <p:nvPr/>
          </p:nvSpPr>
          <p:spPr>
            <a:xfrm>
              <a:off x="-2603" y="3513740"/>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15" name="Group 7">
            <a:extLst>
              <a:ext uri="{FF2B5EF4-FFF2-40B4-BE49-F238E27FC236}">
                <a16:creationId xmlns:a16="http://schemas.microsoft.com/office/drawing/2014/main" id="{578A7397-8758-C74F-8235-64FC2D52781F}"/>
              </a:ext>
            </a:extLst>
          </p:cNvPr>
          <p:cNvGrpSpPr/>
          <p:nvPr/>
        </p:nvGrpSpPr>
        <p:grpSpPr>
          <a:xfrm>
            <a:off x="7521279" y="1550304"/>
            <a:ext cx="2911650" cy="959036"/>
            <a:chOff x="6310076" y="1490145"/>
            <a:chExt cx="2175465" cy="959036"/>
          </a:xfrm>
        </p:grpSpPr>
        <p:sp>
          <p:nvSpPr>
            <p:cNvPr id="16" name="TextBox 15">
              <a:extLst>
                <a:ext uri="{FF2B5EF4-FFF2-40B4-BE49-F238E27FC236}">
                  <a16:creationId xmlns:a16="http://schemas.microsoft.com/office/drawing/2014/main" id="{C3B96AAE-EF7C-1940-B5A2-E63D1CB81E23}"/>
                </a:ext>
              </a:extLst>
            </p:cNvPr>
            <p:cNvSpPr txBox="1"/>
            <p:nvPr/>
          </p:nvSpPr>
          <p:spPr>
            <a:xfrm>
              <a:off x="6310076" y="1490145"/>
              <a:ext cx="217546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7" name="TextBox 16">
              <a:extLst>
                <a:ext uri="{FF2B5EF4-FFF2-40B4-BE49-F238E27FC236}">
                  <a16:creationId xmlns:a16="http://schemas.microsoft.com/office/drawing/2014/main" id="{C606E7E9-253B-CE4C-9DB3-5B843F7E0E68}"/>
                </a:ext>
              </a:extLst>
            </p:cNvPr>
            <p:cNvSpPr txBox="1"/>
            <p:nvPr/>
          </p:nvSpPr>
          <p:spPr>
            <a:xfrm>
              <a:off x="6310077" y="1802850"/>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18" name="Group 5">
            <a:extLst>
              <a:ext uri="{FF2B5EF4-FFF2-40B4-BE49-F238E27FC236}">
                <a16:creationId xmlns:a16="http://schemas.microsoft.com/office/drawing/2014/main" id="{0AA9EE69-0E94-BA41-94FC-7FAFDF2ACAE4}"/>
              </a:ext>
            </a:extLst>
          </p:cNvPr>
          <p:cNvGrpSpPr/>
          <p:nvPr/>
        </p:nvGrpSpPr>
        <p:grpSpPr>
          <a:xfrm>
            <a:off x="7521279" y="5242463"/>
            <a:ext cx="2911650" cy="959038"/>
            <a:chOff x="6369928" y="4901747"/>
            <a:chExt cx="2175465" cy="959038"/>
          </a:xfrm>
        </p:grpSpPr>
        <p:sp>
          <p:nvSpPr>
            <p:cNvPr id="19" name="TextBox 18">
              <a:extLst>
                <a:ext uri="{FF2B5EF4-FFF2-40B4-BE49-F238E27FC236}">
                  <a16:creationId xmlns:a16="http://schemas.microsoft.com/office/drawing/2014/main" id="{B97AD419-EE94-F54F-89A8-52CA95641D22}"/>
                </a:ext>
              </a:extLst>
            </p:cNvPr>
            <p:cNvSpPr txBox="1"/>
            <p:nvPr/>
          </p:nvSpPr>
          <p:spPr>
            <a:xfrm>
              <a:off x="6369928" y="4901747"/>
              <a:ext cx="217546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0" name="TextBox 19">
              <a:extLst>
                <a:ext uri="{FF2B5EF4-FFF2-40B4-BE49-F238E27FC236}">
                  <a16:creationId xmlns:a16="http://schemas.microsoft.com/office/drawing/2014/main" id="{4A09A326-2A26-054D-9EEC-28873D088560}"/>
                </a:ext>
              </a:extLst>
            </p:cNvPr>
            <p:cNvSpPr txBox="1"/>
            <p:nvPr/>
          </p:nvSpPr>
          <p:spPr>
            <a:xfrm>
              <a:off x="6369929" y="5214454"/>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21" name="Group 2">
            <a:extLst>
              <a:ext uri="{FF2B5EF4-FFF2-40B4-BE49-F238E27FC236}">
                <a16:creationId xmlns:a16="http://schemas.microsoft.com/office/drawing/2014/main" id="{0AC8F067-9DF8-664D-8066-99CD768B2E1A}"/>
              </a:ext>
            </a:extLst>
          </p:cNvPr>
          <p:cNvGrpSpPr/>
          <p:nvPr/>
        </p:nvGrpSpPr>
        <p:grpSpPr>
          <a:xfrm>
            <a:off x="1581269" y="1550304"/>
            <a:ext cx="2911651" cy="959036"/>
            <a:chOff x="680500" y="1484784"/>
            <a:chExt cx="2175465" cy="959036"/>
          </a:xfrm>
        </p:grpSpPr>
        <p:sp>
          <p:nvSpPr>
            <p:cNvPr id="22" name="TextBox 21">
              <a:extLst>
                <a:ext uri="{FF2B5EF4-FFF2-40B4-BE49-F238E27FC236}">
                  <a16:creationId xmlns:a16="http://schemas.microsoft.com/office/drawing/2014/main" id="{44946ED9-4CA4-F545-BDA2-D5EE1716B91D}"/>
                </a:ext>
              </a:extLst>
            </p:cNvPr>
            <p:cNvSpPr txBox="1"/>
            <p:nvPr/>
          </p:nvSpPr>
          <p:spPr>
            <a:xfrm>
              <a:off x="680500" y="1484784"/>
              <a:ext cx="2175465"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3" name="TextBox 22">
              <a:extLst>
                <a:ext uri="{FF2B5EF4-FFF2-40B4-BE49-F238E27FC236}">
                  <a16:creationId xmlns:a16="http://schemas.microsoft.com/office/drawing/2014/main" id="{2117C40E-8E18-2B47-B866-1D256C9E7E25}"/>
                </a:ext>
              </a:extLst>
            </p:cNvPr>
            <p:cNvSpPr txBox="1"/>
            <p:nvPr/>
          </p:nvSpPr>
          <p:spPr>
            <a:xfrm>
              <a:off x="680501" y="1797489"/>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24" name="Group 4">
            <a:extLst>
              <a:ext uri="{FF2B5EF4-FFF2-40B4-BE49-F238E27FC236}">
                <a16:creationId xmlns:a16="http://schemas.microsoft.com/office/drawing/2014/main" id="{B681B59F-92D4-8747-B3F5-D468715A119A}"/>
              </a:ext>
            </a:extLst>
          </p:cNvPr>
          <p:cNvGrpSpPr/>
          <p:nvPr/>
        </p:nvGrpSpPr>
        <p:grpSpPr>
          <a:xfrm>
            <a:off x="1581269" y="5242463"/>
            <a:ext cx="2911651" cy="959038"/>
            <a:chOff x="740351" y="4896385"/>
            <a:chExt cx="2175465" cy="959038"/>
          </a:xfrm>
        </p:grpSpPr>
        <p:sp>
          <p:nvSpPr>
            <p:cNvPr id="25" name="TextBox 24">
              <a:extLst>
                <a:ext uri="{FF2B5EF4-FFF2-40B4-BE49-F238E27FC236}">
                  <a16:creationId xmlns:a16="http://schemas.microsoft.com/office/drawing/2014/main" id="{12ABEABE-FF4A-844B-A2EB-1A90C6A2A4A5}"/>
                </a:ext>
              </a:extLst>
            </p:cNvPr>
            <p:cNvSpPr txBox="1"/>
            <p:nvPr/>
          </p:nvSpPr>
          <p:spPr>
            <a:xfrm>
              <a:off x="740351" y="4896385"/>
              <a:ext cx="2175465"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6" name="TextBox 25">
              <a:extLst>
                <a:ext uri="{FF2B5EF4-FFF2-40B4-BE49-F238E27FC236}">
                  <a16:creationId xmlns:a16="http://schemas.microsoft.com/office/drawing/2014/main" id="{13F87063-2263-1543-8982-0050A515BE2E}"/>
                </a:ext>
              </a:extLst>
            </p:cNvPr>
            <p:cNvSpPr txBox="1"/>
            <p:nvPr/>
          </p:nvSpPr>
          <p:spPr>
            <a:xfrm>
              <a:off x="740352" y="5209092"/>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sp>
        <p:nvSpPr>
          <p:cNvPr id="27" name="Oval 54">
            <a:extLst>
              <a:ext uri="{FF2B5EF4-FFF2-40B4-BE49-F238E27FC236}">
                <a16:creationId xmlns:a16="http://schemas.microsoft.com/office/drawing/2014/main" id="{9179444C-7E8A-C24F-9E4A-1890C5DF46F4}"/>
              </a:ext>
            </a:extLst>
          </p:cNvPr>
          <p:cNvSpPr/>
          <p:nvPr/>
        </p:nvSpPr>
        <p:spPr>
          <a:xfrm>
            <a:off x="6157514" y="1894169"/>
            <a:ext cx="1075283" cy="1075283"/>
          </a:xfrm>
          <a:prstGeom prst="ellipse">
            <a:avLst/>
          </a:prstGeom>
          <a:solidFill>
            <a:schemeClr val="accent4"/>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8" name="Oval 55">
            <a:extLst>
              <a:ext uri="{FF2B5EF4-FFF2-40B4-BE49-F238E27FC236}">
                <a16:creationId xmlns:a16="http://schemas.microsoft.com/office/drawing/2014/main" id="{438DDE56-AC9C-C247-BC8D-4147361967B4}"/>
              </a:ext>
            </a:extLst>
          </p:cNvPr>
          <p:cNvSpPr/>
          <p:nvPr/>
        </p:nvSpPr>
        <p:spPr>
          <a:xfrm>
            <a:off x="7035567" y="3970097"/>
            <a:ext cx="1075283" cy="1075283"/>
          </a:xfrm>
          <a:prstGeom prst="ellipse">
            <a:avLst/>
          </a:prstGeom>
          <a:solidFill>
            <a:schemeClr val="accent3"/>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Oval 56">
            <a:extLst>
              <a:ext uri="{FF2B5EF4-FFF2-40B4-BE49-F238E27FC236}">
                <a16:creationId xmlns:a16="http://schemas.microsoft.com/office/drawing/2014/main" id="{AA28ADD6-30A6-EE42-9AC3-D6698FC18C2D}"/>
              </a:ext>
            </a:extLst>
          </p:cNvPr>
          <p:cNvSpPr/>
          <p:nvPr/>
        </p:nvSpPr>
        <p:spPr>
          <a:xfrm>
            <a:off x="6157514" y="4830191"/>
            <a:ext cx="1075283" cy="1075283"/>
          </a:xfrm>
          <a:prstGeom prst="ellipse">
            <a:avLst/>
          </a:prstGeom>
          <a:solidFill>
            <a:schemeClr val="accent2"/>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Oval 57">
            <a:extLst>
              <a:ext uri="{FF2B5EF4-FFF2-40B4-BE49-F238E27FC236}">
                <a16:creationId xmlns:a16="http://schemas.microsoft.com/office/drawing/2014/main" id="{CC7210EB-D069-F747-89A4-6E084DA2247C}"/>
              </a:ext>
            </a:extLst>
          </p:cNvPr>
          <p:cNvSpPr/>
          <p:nvPr/>
        </p:nvSpPr>
        <p:spPr>
          <a:xfrm>
            <a:off x="4933360" y="4830191"/>
            <a:ext cx="1075283" cy="1075283"/>
          </a:xfrm>
          <a:prstGeom prst="ellipse">
            <a:avLst/>
          </a:prstGeom>
          <a:solidFill>
            <a:schemeClr val="accent4"/>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Oval 58">
            <a:extLst>
              <a:ext uri="{FF2B5EF4-FFF2-40B4-BE49-F238E27FC236}">
                <a16:creationId xmlns:a16="http://schemas.microsoft.com/office/drawing/2014/main" id="{14943613-D506-D746-986E-F3873BA0E4A3}"/>
              </a:ext>
            </a:extLst>
          </p:cNvPr>
          <p:cNvSpPr/>
          <p:nvPr/>
        </p:nvSpPr>
        <p:spPr>
          <a:xfrm>
            <a:off x="4053214" y="2831436"/>
            <a:ext cx="1075283" cy="1075283"/>
          </a:xfrm>
          <a:prstGeom prst="ellipse">
            <a:avLst/>
          </a:prstGeom>
          <a:solidFill>
            <a:schemeClr val="accent3"/>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 name="Oval 59">
            <a:extLst>
              <a:ext uri="{FF2B5EF4-FFF2-40B4-BE49-F238E27FC236}">
                <a16:creationId xmlns:a16="http://schemas.microsoft.com/office/drawing/2014/main" id="{37C8BEEA-BF8B-5C42-AE86-F2BA8680ABCC}"/>
              </a:ext>
            </a:extLst>
          </p:cNvPr>
          <p:cNvSpPr/>
          <p:nvPr/>
        </p:nvSpPr>
        <p:spPr>
          <a:xfrm>
            <a:off x="4933360" y="1894169"/>
            <a:ext cx="1075283" cy="1075283"/>
          </a:xfrm>
          <a:prstGeom prst="ellipse">
            <a:avLst/>
          </a:prstGeom>
          <a:solidFill>
            <a:schemeClr val="accent2"/>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Rectangle 130">
            <a:extLst>
              <a:ext uri="{FF2B5EF4-FFF2-40B4-BE49-F238E27FC236}">
                <a16:creationId xmlns:a16="http://schemas.microsoft.com/office/drawing/2014/main" id="{D719BE03-5D06-5746-83CA-2236F3154638}"/>
              </a:ext>
            </a:extLst>
          </p:cNvPr>
          <p:cNvSpPr/>
          <p:nvPr/>
        </p:nvSpPr>
        <p:spPr>
          <a:xfrm>
            <a:off x="4389567" y="3166875"/>
            <a:ext cx="402577" cy="404405"/>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4" name="Freeform 18">
            <a:extLst>
              <a:ext uri="{FF2B5EF4-FFF2-40B4-BE49-F238E27FC236}">
                <a16:creationId xmlns:a16="http://schemas.microsoft.com/office/drawing/2014/main" id="{F143BF60-6533-F54B-8B31-3BA896165422}"/>
              </a:ext>
            </a:extLst>
          </p:cNvPr>
          <p:cNvSpPr/>
          <p:nvPr/>
        </p:nvSpPr>
        <p:spPr>
          <a:xfrm>
            <a:off x="5226567" y="5170556"/>
            <a:ext cx="488868" cy="394553"/>
          </a:xfrm>
          <a:custGeom>
            <a:avLst/>
            <a:gdLst/>
            <a:ahLst/>
            <a:cxnLst/>
            <a:rect l="l" t="t" r="r" b="b"/>
            <a:pathLst>
              <a:path w="3307788" h="2669631">
                <a:moveTo>
                  <a:pt x="2793832" y="1478391"/>
                </a:moveTo>
                <a:cubicBezTo>
                  <a:pt x="2772990" y="1635402"/>
                  <a:pt x="2717678" y="1784517"/>
                  <a:pt x="2633007" y="1915952"/>
                </a:cubicBezTo>
                <a:cubicBezTo>
                  <a:pt x="2695386" y="1951862"/>
                  <a:pt x="2772768" y="1955673"/>
                  <a:pt x="2841607" y="1924185"/>
                </a:cubicBezTo>
                <a:cubicBezTo>
                  <a:pt x="2943442" y="1877605"/>
                  <a:pt x="2999062" y="1766364"/>
                  <a:pt x="2975226" y="1656948"/>
                </a:cubicBezTo>
                <a:cubicBezTo>
                  <a:pt x="2955176" y="1564911"/>
                  <a:pt x="2883463" y="1495086"/>
                  <a:pt x="2793832" y="1478391"/>
                </a:cubicBezTo>
                <a:close/>
                <a:moveTo>
                  <a:pt x="2807611" y="1247700"/>
                </a:moveTo>
                <a:lnTo>
                  <a:pt x="2807472" y="1256060"/>
                </a:lnTo>
                <a:cubicBezTo>
                  <a:pt x="2994195" y="1281771"/>
                  <a:pt x="3148201" y="1421768"/>
                  <a:pt x="3189276" y="1610317"/>
                </a:cubicBezTo>
                <a:cubicBezTo>
                  <a:pt x="3235041" y="1820393"/>
                  <a:pt x="3128252" y="2033972"/>
                  <a:pt x="2932732" y="2123406"/>
                </a:cubicBezTo>
                <a:cubicBezTo>
                  <a:pt x="2789297" y="2189015"/>
                  <a:pt x="2626543" y="2174805"/>
                  <a:pt x="2499470" y="2094044"/>
                </a:cubicBezTo>
                <a:cubicBezTo>
                  <a:pt x="2427194" y="2172627"/>
                  <a:pt x="2343030" y="2241391"/>
                  <a:pt x="2248861" y="2297980"/>
                </a:cubicBezTo>
                <a:cubicBezTo>
                  <a:pt x="2178351" y="2340352"/>
                  <a:pt x="2104446" y="2374567"/>
                  <a:pt x="2027600" y="2398134"/>
                </a:cubicBezTo>
                <a:lnTo>
                  <a:pt x="3307788" y="2397615"/>
                </a:lnTo>
                <a:cubicBezTo>
                  <a:pt x="3265361" y="2549905"/>
                  <a:pt x="2537441" y="2669620"/>
                  <a:pt x="1653814" y="2669631"/>
                </a:cubicBezTo>
                <a:cubicBezTo>
                  <a:pt x="773102" y="2669642"/>
                  <a:pt x="46417" y="2550707"/>
                  <a:pt x="0" y="2398955"/>
                </a:cubicBezTo>
                <a:lnTo>
                  <a:pt x="1280678" y="2398436"/>
                </a:lnTo>
                <a:cubicBezTo>
                  <a:pt x="1203764" y="2374915"/>
                  <a:pt x="1129786" y="2340732"/>
                  <a:pt x="1059201" y="2298380"/>
                </a:cubicBezTo>
                <a:cubicBezTo>
                  <a:pt x="693039" y="2078675"/>
                  <a:pt x="477900" y="1674935"/>
                  <a:pt x="499745" y="1248476"/>
                </a:cubicBezTo>
                <a:close/>
                <a:moveTo>
                  <a:pt x="1331611" y="201752"/>
                </a:moveTo>
                <a:cubicBezTo>
                  <a:pt x="1206335" y="290902"/>
                  <a:pt x="1124761" y="308382"/>
                  <a:pt x="1132336" y="435988"/>
                </a:cubicBezTo>
                <a:cubicBezTo>
                  <a:pt x="1160888" y="640507"/>
                  <a:pt x="1527973" y="617783"/>
                  <a:pt x="1498839" y="840365"/>
                </a:cubicBezTo>
                <a:cubicBezTo>
                  <a:pt x="1455138" y="960979"/>
                  <a:pt x="1395705" y="987199"/>
                  <a:pt x="1213910" y="1052459"/>
                </a:cubicBezTo>
                <a:cubicBezTo>
                  <a:pt x="1331028" y="972050"/>
                  <a:pt x="1364241" y="921357"/>
                  <a:pt x="1360745" y="809484"/>
                </a:cubicBezTo>
                <a:cubicBezTo>
                  <a:pt x="1360746" y="646916"/>
                  <a:pt x="1111360" y="626523"/>
                  <a:pt x="1020462" y="495421"/>
                </a:cubicBezTo>
                <a:cubicBezTo>
                  <a:pt x="941218" y="374224"/>
                  <a:pt x="1061250" y="280996"/>
                  <a:pt x="1331611" y="201752"/>
                </a:cubicBezTo>
                <a:close/>
                <a:moveTo>
                  <a:pt x="2164365" y="80223"/>
                </a:moveTo>
                <a:cubicBezTo>
                  <a:pt x="2021192" y="182108"/>
                  <a:pt x="1927964" y="202086"/>
                  <a:pt x="1936621" y="347922"/>
                </a:cubicBezTo>
                <a:cubicBezTo>
                  <a:pt x="1969252" y="581657"/>
                  <a:pt x="2388778" y="555687"/>
                  <a:pt x="2355482" y="810066"/>
                </a:cubicBezTo>
                <a:cubicBezTo>
                  <a:pt x="2305538" y="947910"/>
                  <a:pt x="2237615" y="977876"/>
                  <a:pt x="2029849" y="1052459"/>
                </a:cubicBezTo>
                <a:cubicBezTo>
                  <a:pt x="2163698" y="960563"/>
                  <a:pt x="2201656" y="902628"/>
                  <a:pt x="2197660" y="774773"/>
                </a:cubicBezTo>
                <a:cubicBezTo>
                  <a:pt x="2197661" y="588982"/>
                  <a:pt x="1912649" y="565676"/>
                  <a:pt x="1808765" y="415844"/>
                </a:cubicBezTo>
                <a:cubicBezTo>
                  <a:pt x="1718201" y="277334"/>
                  <a:pt x="1855380" y="170787"/>
                  <a:pt x="2164365" y="80223"/>
                </a:cubicBezTo>
                <a:close/>
                <a:moveTo>
                  <a:pt x="1754169" y="0"/>
                </a:moveTo>
                <a:cubicBezTo>
                  <a:pt x="1583512" y="121444"/>
                  <a:pt x="1472387" y="145257"/>
                  <a:pt x="1482706" y="319088"/>
                </a:cubicBezTo>
                <a:cubicBezTo>
                  <a:pt x="1521601" y="597693"/>
                  <a:pt x="2021663" y="566738"/>
                  <a:pt x="1981975" y="869950"/>
                </a:cubicBezTo>
                <a:cubicBezTo>
                  <a:pt x="1922443" y="1034256"/>
                  <a:pt x="1841481" y="1069974"/>
                  <a:pt x="1593831" y="1158875"/>
                </a:cubicBezTo>
                <a:cubicBezTo>
                  <a:pt x="1753374" y="1049338"/>
                  <a:pt x="1798619" y="980281"/>
                  <a:pt x="1793856" y="827882"/>
                </a:cubicBezTo>
                <a:cubicBezTo>
                  <a:pt x="1793857" y="606424"/>
                  <a:pt x="1454132" y="578644"/>
                  <a:pt x="1330306" y="400050"/>
                </a:cubicBezTo>
                <a:cubicBezTo>
                  <a:pt x="1222356" y="234950"/>
                  <a:pt x="1385869" y="107950"/>
                  <a:pt x="175416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5" name="Rounded Rectangle 7">
            <a:extLst>
              <a:ext uri="{FF2B5EF4-FFF2-40B4-BE49-F238E27FC236}">
                <a16:creationId xmlns:a16="http://schemas.microsoft.com/office/drawing/2014/main" id="{4FC167E0-5614-BC45-917D-23B5BB716468}"/>
              </a:ext>
            </a:extLst>
          </p:cNvPr>
          <p:cNvSpPr/>
          <p:nvPr/>
        </p:nvSpPr>
        <p:spPr>
          <a:xfrm>
            <a:off x="6493760" y="2258009"/>
            <a:ext cx="402790" cy="347603"/>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6" name="Block Arc 10">
            <a:extLst>
              <a:ext uri="{FF2B5EF4-FFF2-40B4-BE49-F238E27FC236}">
                <a16:creationId xmlns:a16="http://schemas.microsoft.com/office/drawing/2014/main" id="{D03A2610-8948-8C47-B418-D6B4912D1C9D}"/>
              </a:ext>
            </a:extLst>
          </p:cNvPr>
          <p:cNvSpPr/>
          <p:nvPr/>
        </p:nvSpPr>
        <p:spPr>
          <a:xfrm>
            <a:off x="7326446" y="4340595"/>
            <a:ext cx="493524" cy="334287"/>
          </a:xfrm>
          <a:custGeom>
            <a:avLst/>
            <a:gdLst/>
            <a:ahLst/>
            <a:cxnLst/>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7" name="Round Same Side Corner Rectangle 36">
            <a:extLst>
              <a:ext uri="{FF2B5EF4-FFF2-40B4-BE49-F238E27FC236}">
                <a16:creationId xmlns:a16="http://schemas.microsoft.com/office/drawing/2014/main" id="{457D1993-DD09-C24A-B04B-EFE06F962773}"/>
              </a:ext>
            </a:extLst>
          </p:cNvPr>
          <p:cNvSpPr>
            <a:spLocks noChangeAspect="1"/>
          </p:cNvSpPr>
          <p:nvPr/>
        </p:nvSpPr>
        <p:spPr>
          <a:xfrm>
            <a:off x="6468699" y="5188792"/>
            <a:ext cx="452912" cy="358080"/>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8" name="Rounded Rectangle 5">
            <a:extLst>
              <a:ext uri="{FF2B5EF4-FFF2-40B4-BE49-F238E27FC236}">
                <a16:creationId xmlns:a16="http://schemas.microsoft.com/office/drawing/2014/main" id="{7C785690-98A5-9440-ABD4-8301014D137F}"/>
              </a:ext>
            </a:extLst>
          </p:cNvPr>
          <p:cNvSpPr/>
          <p:nvPr/>
        </p:nvSpPr>
        <p:spPr>
          <a:xfrm flipH="1">
            <a:off x="5250512" y="2249920"/>
            <a:ext cx="440978" cy="363780"/>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9" name="Oval 56">
            <a:extLst>
              <a:ext uri="{FF2B5EF4-FFF2-40B4-BE49-F238E27FC236}">
                <a16:creationId xmlns:a16="http://schemas.microsoft.com/office/drawing/2014/main" id="{A303E441-44D9-924B-8525-6825C0A6417F}"/>
              </a:ext>
            </a:extLst>
          </p:cNvPr>
          <p:cNvSpPr/>
          <p:nvPr/>
        </p:nvSpPr>
        <p:spPr>
          <a:xfrm>
            <a:off x="7035567" y="2831436"/>
            <a:ext cx="1075283" cy="1075283"/>
          </a:xfrm>
          <a:prstGeom prst="ellipse">
            <a:avLst/>
          </a:prstGeom>
          <a:solidFill>
            <a:schemeClr val="accent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Oval 59">
            <a:extLst>
              <a:ext uri="{FF2B5EF4-FFF2-40B4-BE49-F238E27FC236}">
                <a16:creationId xmlns:a16="http://schemas.microsoft.com/office/drawing/2014/main" id="{B2F0D3F7-7F54-0D4D-B82D-84C8A312CAB4}"/>
              </a:ext>
            </a:extLst>
          </p:cNvPr>
          <p:cNvSpPr/>
          <p:nvPr/>
        </p:nvSpPr>
        <p:spPr>
          <a:xfrm>
            <a:off x="4053214" y="3970097"/>
            <a:ext cx="1075283" cy="1075283"/>
          </a:xfrm>
          <a:prstGeom prst="ellipse">
            <a:avLst/>
          </a:prstGeom>
          <a:solidFill>
            <a:schemeClr val="accent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Round Same Side Corner Rectangle 11">
            <a:extLst>
              <a:ext uri="{FF2B5EF4-FFF2-40B4-BE49-F238E27FC236}">
                <a16:creationId xmlns:a16="http://schemas.microsoft.com/office/drawing/2014/main" id="{E3555939-2BB3-3043-A36A-235F3E053FDE}"/>
              </a:ext>
            </a:extLst>
          </p:cNvPr>
          <p:cNvSpPr>
            <a:spLocks noChangeAspect="1"/>
          </p:cNvSpPr>
          <p:nvPr/>
        </p:nvSpPr>
        <p:spPr>
          <a:xfrm rot="9900000">
            <a:off x="7343476" y="3173964"/>
            <a:ext cx="459464" cy="3902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2" name="Oval 21">
            <a:extLst>
              <a:ext uri="{FF2B5EF4-FFF2-40B4-BE49-F238E27FC236}">
                <a16:creationId xmlns:a16="http://schemas.microsoft.com/office/drawing/2014/main" id="{5AE79BAA-7391-154E-B052-0EC7704C5C25}"/>
              </a:ext>
            </a:extLst>
          </p:cNvPr>
          <p:cNvSpPr>
            <a:spLocks noChangeAspect="1"/>
          </p:cNvSpPr>
          <p:nvPr/>
        </p:nvSpPr>
        <p:spPr>
          <a:xfrm>
            <a:off x="4369300" y="4284333"/>
            <a:ext cx="443110" cy="446810"/>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3" name="Oval 61">
            <a:extLst>
              <a:ext uri="{FF2B5EF4-FFF2-40B4-BE49-F238E27FC236}">
                <a16:creationId xmlns:a16="http://schemas.microsoft.com/office/drawing/2014/main" id="{3951D406-71B9-BD43-AB3B-71D335146DBB}"/>
              </a:ext>
            </a:extLst>
          </p:cNvPr>
          <p:cNvSpPr/>
          <p:nvPr/>
        </p:nvSpPr>
        <p:spPr>
          <a:xfrm>
            <a:off x="4983016" y="2801630"/>
            <a:ext cx="2225967" cy="2225967"/>
          </a:xfrm>
          <a:prstGeom prst="ellipse">
            <a:avLst/>
          </a:prstGeom>
          <a:solidFill>
            <a:schemeClr val="bg1"/>
          </a:solidFill>
          <a:ln w="1143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4" name="Rectangle 9">
            <a:extLst>
              <a:ext uri="{FF2B5EF4-FFF2-40B4-BE49-F238E27FC236}">
                <a16:creationId xmlns:a16="http://schemas.microsoft.com/office/drawing/2014/main" id="{462B334B-A88D-DE41-B64D-DB5FEB80455D}"/>
              </a:ext>
            </a:extLst>
          </p:cNvPr>
          <p:cNvSpPr/>
          <p:nvPr/>
        </p:nvSpPr>
        <p:spPr>
          <a:xfrm>
            <a:off x="5756798" y="3199612"/>
            <a:ext cx="678403" cy="677301"/>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nvGrpSpPr>
          <p:cNvPr id="45" name="Group 5">
            <a:extLst>
              <a:ext uri="{FF2B5EF4-FFF2-40B4-BE49-F238E27FC236}">
                <a16:creationId xmlns:a16="http://schemas.microsoft.com/office/drawing/2014/main" id="{18EB7C6D-BF75-BE4C-9EAB-05EA6F522197}"/>
              </a:ext>
            </a:extLst>
          </p:cNvPr>
          <p:cNvGrpSpPr/>
          <p:nvPr/>
        </p:nvGrpSpPr>
        <p:grpSpPr>
          <a:xfrm>
            <a:off x="8404604" y="4011742"/>
            <a:ext cx="2911650" cy="959038"/>
            <a:chOff x="6369928" y="4901747"/>
            <a:chExt cx="2175465" cy="959038"/>
          </a:xfrm>
        </p:grpSpPr>
        <p:sp>
          <p:nvSpPr>
            <p:cNvPr id="46" name="TextBox 45">
              <a:extLst>
                <a:ext uri="{FF2B5EF4-FFF2-40B4-BE49-F238E27FC236}">
                  <a16:creationId xmlns:a16="http://schemas.microsoft.com/office/drawing/2014/main" id="{3B23E8FB-8066-B44E-938B-2517A64A0985}"/>
                </a:ext>
              </a:extLst>
            </p:cNvPr>
            <p:cNvSpPr txBox="1"/>
            <p:nvPr/>
          </p:nvSpPr>
          <p:spPr>
            <a:xfrm>
              <a:off x="6369928" y="4901747"/>
              <a:ext cx="217546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47" name="TextBox 46">
              <a:extLst>
                <a:ext uri="{FF2B5EF4-FFF2-40B4-BE49-F238E27FC236}">
                  <a16:creationId xmlns:a16="http://schemas.microsoft.com/office/drawing/2014/main" id="{14CAEDA3-0CF3-ED43-B52D-238CDE927D3E}"/>
                </a:ext>
              </a:extLst>
            </p:cNvPr>
            <p:cNvSpPr txBox="1"/>
            <p:nvPr/>
          </p:nvSpPr>
          <p:spPr>
            <a:xfrm>
              <a:off x="6369929" y="5214454"/>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grpSp>
        <p:nvGrpSpPr>
          <p:cNvPr id="48" name="Group 3">
            <a:extLst>
              <a:ext uri="{FF2B5EF4-FFF2-40B4-BE49-F238E27FC236}">
                <a16:creationId xmlns:a16="http://schemas.microsoft.com/office/drawing/2014/main" id="{699C6A82-CCAA-2E4D-9686-32545CDC5C27}"/>
              </a:ext>
            </a:extLst>
          </p:cNvPr>
          <p:cNvGrpSpPr/>
          <p:nvPr/>
        </p:nvGrpSpPr>
        <p:grpSpPr>
          <a:xfrm>
            <a:off x="785212" y="2781022"/>
            <a:ext cx="2911651" cy="959038"/>
            <a:chOff x="-2604" y="3201033"/>
            <a:chExt cx="2175465" cy="959038"/>
          </a:xfrm>
        </p:grpSpPr>
        <p:sp>
          <p:nvSpPr>
            <p:cNvPr id="49" name="TextBox 48">
              <a:extLst>
                <a:ext uri="{FF2B5EF4-FFF2-40B4-BE49-F238E27FC236}">
                  <a16:creationId xmlns:a16="http://schemas.microsoft.com/office/drawing/2014/main" id="{065D3FFE-7FF9-6644-80C8-9363CF0BD57B}"/>
                </a:ext>
              </a:extLst>
            </p:cNvPr>
            <p:cNvSpPr txBox="1"/>
            <p:nvPr/>
          </p:nvSpPr>
          <p:spPr>
            <a:xfrm>
              <a:off x="-2604" y="3201033"/>
              <a:ext cx="2175465"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50" name="TextBox 49">
              <a:extLst>
                <a:ext uri="{FF2B5EF4-FFF2-40B4-BE49-F238E27FC236}">
                  <a16:creationId xmlns:a16="http://schemas.microsoft.com/office/drawing/2014/main" id="{16C438B1-AA10-5342-AB44-C3D7C59E7921}"/>
                </a:ext>
              </a:extLst>
            </p:cNvPr>
            <p:cNvSpPr txBox="1"/>
            <p:nvPr/>
          </p:nvSpPr>
          <p:spPr>
            <a:xfrm>
              <a:off x="-2603" y="3513740"/>
              <a:ext cx="21754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endParaRPr lang="ko-KR" altLang="en-US" sz="1200">
                <a:solidFill>
                  <a:schemeClr val="tx1">
                    <a:lumMod val="75000"/>
                    <a:lumOff val="25000"/>
                  </a:schemeClr>
                </a:solidFill>
                <a:cs typeface="Arial" pitchFamily="34" charset="0"/>
              </a:endParaRPr>
            </a:p>
          </p:txBody>
        </p:sp>
      </p:grpSp>
      <p:sp>
        <p:nvSpPr>
          <p:cNvPr id="51" name="TextBox 50">
            <a:extLst>
              <a:ext uri="{FF2B5EF4-FFF2-40B4-BE49-F238E27FC236}">
                <a16:creationId xmlns:a16="http://schemas.microsoft.com/office/drawing/2014/main" id="{3EDF2F3E-B5B3-9C4D-98AC-D8D69E1C9864}"/>
              </a:ext>
            </a:extLst>
          </p:cNvPr>
          <p:cNvSpPr txBox="1"/>
          <p:nvPr/>
        </p:nvSpPr>
        <p:spPr>
          <a:xfrm>
            <a:off x="5491802" y="4090409"/>
            <a:ext cx="1208394" cy="338554"/>
          </a:xfrm>
          <a:prstGeom prst="rect">
            <a:avLst/>
          </a:prstGeom>
          <a:noFill/>
        </p:spPr>
        <p:txBody>
          <a:bodyPr wrap="square" rtlCol="0">
            <a:spAutoFit/>
          </a:bodyPr>
          <a:lstStyle/>
          <a:p>
            <a:pPr algn="ctr"/>
            <a:r>
              <a:rPr lang="en-US" altLang="ko-KR" sz="1600" b="1">
                <a:solidFill>
                  <a:schemeClr val="tx1">
                    <a:lumMod val="75000"/>
                    <a:lumOff val="25000"/>
                  </a:schemeClr>
                </a:solidFill>
                <a:cs typeface="Arial" pitchFamily="34" charset="0"/>
              </a:rPr>
              <a:t>Text  Here</a:t>
            </a:r>
            <a:endParaRPr lang="ko-KR" altLang="en-US" sz="1600" b="1">
              <a:solidFill>
                <a:schemeClr val="tx1">
                  <a:lumMod val="75000"/>
                  <a:lumOff val="25000"/>
                </a:schemeClr>
              </a:solidFill>
              <a:cs typeface="Arial" pitchFamily="34" charset="0"/>
            </a:endParaRPr>
          </a:p>
        </p:txBody>
      </p:sp>
    </p:spTree>
    <p:extLst>
      <p:ext uri="{BB962C8B-B14F-4D97-AF65-F5344CB8AC3E}">
        <p14:creationId xmlns:p14="http://schemas.microsoft.com/office/powerpoint/2010/main" val="249006955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3BEF765F-4B63-F84A-BED7-262A5DF71B8E}"/>
              </a:ext>
            </a:extLst>
          </p:cNvPr>
          <p:cNvGraphicFramePr>
            <a:graphicFrameLocks noChangeAspect="1"/>
          </p:cNvGraphicFramePr>
          <p:nvPr>
            <p:custDataLst>
              <p:tags r:id="rId1"/>
            </p:custDataLst>
            <p:extLst>
              <p:ext uri="{D42A27DB-BD31-4B8C-83A1-F6EECF244321}">
                <p14:modId xmlns:p14="http://schemas.microsoft.com/office/powerpoint/2010/main" val="3098286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1" name="Object 50" hidden="1">
                        <a:extLst>
                          <a:ext uri="{FF2B5EF4-FFF2-40B4-BE49-F238E27FC236}">
                            <a16:creationId xmlns:a16="http://schemas.microsoft.com/office/drawing/2014/main" id="{3BEF765F-4B63-F84A-BED7-262A5DF71B8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FE476E9-29B5-FC43-8396-34365449C6BF}"/>
              </a:ext>
            </a:extLst>
          </p:cNvPr>
          <p:cNvSpPr>
            <a:spLocks noGrp="1"/>
          </p:cNvSpPr>
          <p:nvPr>
            <p:ph type="sldNum" sz="quarter" idx="4"/>
          </p:nvPr>
        </p:nvSpPr>
        <p:spPr/>
        <p:txBody>
          <a:bodyPr/>
          <a:lstStyle/>
          <a:p>
            <a:fld id="{3D966009-6E5A-4F8C-8CA7-E37AFBF5FB92}" type="slidenum">
              <a:rPr lang="en-US" smtClean="0"/>
              <a:t>129</a:t>
            </a:fld>
            <a:endParaRPr lang="en-US"/>
          </a:p>
        </p:txBody>
      </p:sp>
      <p:sp>
        <p:nvSpPr>
          <p:cNvPr id="3" name="Title 2">
            <a:extLst>
              <a:ext uri="{FF2B5EF4-FFF2-40B4-BE49-F238E27FC236}">
                <a16:creationId xmlns:a16="http://schemas.microsoft.com/office/drawing/2014/main" id="{D73ED3DE-E423-9C49-9AE8-0E66444E3616}"/>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7E8B197-AAAF-6D4B-B768-2CBA40EEE53A}"/>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6EAD6EB3-E8A0-454E-BC34-C039004CD6A5}"/>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368D99BD-3770-BE46-8D30-74D5B1517902}"/>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CF0ED69-3B5C-DB43-B634-A6B786581862}"/>
              </a:ext>
            </a:extLst>
          </p:cNvPr>
          <p:cNvSpPr>
            <a:spLocks noGrp="1"/>
          </p:cNvSpPr>
          <p:nvPr>
            <p:ph sz="quarter" idx="14"/>
          </p:nvPr>
        </p:nvSpPr>
        <p:spPr/>
        <p:txBody>
          <a:bodyPr/>
          <a:lstStyle/>
          <a:p>
            <a:endParaRPr lang="en-GB"/>
          </a:p>
        </p:txBody>
      </p:sp>
      <p:sp>
        <p:nvSpPr>
          <p:cNvPr id="9" name="Oval 8">
            <a:extLst>
              <a:ext uri="{FF2B5EF4-FFF2-40B4-BE49-F238E27FC236}">
                <a16:creationId xmlns:a16="http://schemas.microsoft.com/office/drawing/2014/main" id="{5E388287-E8BF-1D47-BFBA-44214628A2D5}"/>
              </a:ext>
            </a:extLst>
          </p:cNvPr>
          <p:cNvSpPr/>
          <p:nvPr/>
        </p:nvSpPr>
        <p:spPr>
          <a:xfrm>
            <a:off x="7884283" y="3508545"/>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0" name="Oval 9">
            <a:extLst>
              <a:ext uri="{FF2B5EF4-FFF2-40B4-BE49-F238E27FC236}">
                <a16:creationId xmlns:a16="http://schemas.microsoft.com/office/drawing/2014/main" id="{8C6A6DD0-681C-294C-B46B-38043F439239}"/>
              </a:ext>
            </a:extLst>
          </p:cNvPr>
          <p:cNvSpPr/>
          <p:nvPr/>
        </p:nvSpPr>
        <p:spPr>
          <a:xfrm>
            <a:off x="7026797" y="1807130"/>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TextBox 10">
            <a:extLst>
              <a:ext uri="{FF2B5EF4-FFF2-40B4-BE49-F238E27FC236}">
                <a16:creationId xmlns:a16="http://schemas.microsoft.com/office/drawing/2014/main" id="{D28B7B2C-5A44-7D47-A9B7-01B407DCAF54}"/>
              </a:ext>
            </a:extLst>
          </p:cNvPr>
          <p:cNvSpPr txBox="1"/>
          <p:nvPr/>
        </p:nvSpPr>
        <p:spPr>
          <a:xfrm>
            <a:off x="7051952" y="2125832"/>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A</a:t>
            </a:r>
            <a:endParaRPr lang="ko-KR" altLang="en-US" sz="1200" b="1">
              <a:solidFill>
                <a:schemeClr val="bg1"/>
              </a:solidFill>
              <a:cs typeface="Arial" pitchFamily="34" charset="0"/>
            </a:endParaRPr>
          </a:p>
        </p:txBody>
      </p:sp>
      <p:sp>
        <p:nvSpPr>
          <p:cNvPr id="12" name="TextBox 11">
            <a:extLst>
              <a:ext uri="{FF2B5EF4-FFF2-40B4-BE49-F238E27FC236}">
                <a16:creationId xmlns:a16="http://schemas.microsoft.com/office/drawing/2014/main" id="{86614781-9137-D445-BD3A-F836E4C22412}"/>
              </a:ext>
            </a:extLst>
          </p:cNvPr>
          <p:cNvSpPr txBox="1"/>
          <p:nvPr/>
        </p:nvSpPr>
        <p:spPr>
          <a:xfrm>
            <a:off x="7909437" y="3818653"/>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B</a:t>
            </a:r>
            <a:endParaRPr lang="ko-KR" altLang="en-US" sz="1200" b="1">
              <a:solidFill>
                <a:schemeClr val="bg1"/>
              </a:solidFill>
              <a:cs typeface="Arial" pitchFamily="34" charset="0"/>
            </a:endParaRPr>
          </a:p>
        </p:txBody>
      </p:sp>
      <p:sp>
        <p:nvSpPr>
          <p:cNvPr id="13" name="Oval 12">
            <a:extLst>
              <a:ext uri="{FF2B5EF4-FFF2-40B4-BE49-F238E27FC236}">
                <a16:creationId xmlns:a16="http://schemas.microsoft.com/office/drawing/2014/main" id="{1296A8BA-8FA7-824B-9AAF-8DFFF8D884D9}"/>
              </a:ext>
            </a:extLst>
          </p:cNvPr>
          <p:cNvSpPr/>
          <p:nvPr/>
        </p:nvSpPr>
        <p:spPr>
          <a:xfrm>
            <a:off x="4171281" y="1807130"/>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4" name="Oval 13">
            <a:extLst>
              <a:ext uri="{FF2B5EF4-FFF2-40B4-BE49-F238E27FC236}">
                <a16:creationId xmlns:a16="http://schemas.microsoft.com/office/drawing/2014/main" id="{2D08E229-7108-2C4F-92D5-71A8A2B3D891}"/>
              </a:ext>
            </a:extLst>
          </p:cNvPr>
          <p:cNvSpPr/>
          <p:nvPr/>
        </p:nvSpPr>
        <p:spPr>
          <a:xfrm>
            <a:off x="3451762" y="3496890"/>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 name="Oval 14">
            <a:extLst>
              <a:ext uri="{FF2B5EF4-FFF2-40B4-BE49-F238E27FC236}">
                <a16:creationId xmlns:a16="http://schemas.microsoft.com/office/drawing/2014/main" id="{953CD41E-2CB5-BD45-A539-707F2CEE5FEB}"/>
              </a:ext>
            </a:extLst>
          </p:cNvPr>
          <p:cNvSpPr/>
          <p:nvPr/>
        </p:nvSpPr>
        <p:spPr>
          <a:xfrm>
            <a:off x="4171281" y="510848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 name="Oval 15">
            <a:extLst>
              <a:ext uri="{FF2B5EF4-FFF2-40B4-BE49-F238E27FC236}">
                <a16:creationId xmlns:a16="http://schemas.microsoft.com/office/drawing/2014/main" id="{C2441A59-59B3-AD4A-92F5-B01472A12BFC}"/>
              </a:ext>
            </a:extLst>
          </p:cNvPr>
          <p:cNvSpPr/>
          <p:nvPr/>
        </p:nvSpPr>
        <p:spPr>
          <a:xfrm>
            <a:off x="7026797" y="5108489"/>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7" name="Pie 14">
            <a:extLst>
              <a:ext uri="{FF2B5EF4-FFF2-40B4-BE49-F238E27FC236}">
                <a16:creationId xmlns:a16="http://schemas.microsoft.com/office/drawing/2014/main" id="{6B600C1B-A3DC-A24B-BE9E-ABE3D7BDBE86}"/>
              </a:ext>
            </a:extLst>
          </p:cNvPr>
          <p:cNvSpPr/>
          <p:nvPr/>
        </p:nvSpPr>
        <p:spPr>
          <a:xfrm rot="10800000">
            <a:off x="5774255" y="3241909"/>
            <a:ext cx="1430440" cy="1430440"/>
          </a:xfrm>
          <a:prstGeom prst="pie">
            <a:avLst>
              <a:gd name="adj1" fmla="val 0"/>
              <a:gd name="adj2" fmla="val 180480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Pie 15">
            <a:extLst>
              <a:ext uri="{FF2B5EF4-FFF2-40B4-BE49-F238E27FC236}">
                <a16:creationId xmlns:a16="http://schemas.microsoft.com/office/drawing/2014/main" id="{E6770726-2EDD-2741-B006-D4EB31E30850}"/>
              </a:ext>
            </a:extLst>
          </p:cNvPr>
          <p:cNvSpPr/>
          <p:nvPr/>
        </p:nvSpPr>
        <p:spPr>
          <a:xfrm>
            <a:off x="5059017" y="3241893"/>
            <a:ext cx="1430456" cy="1430521"/>
          </a:xfrm>
          <a:custGeom>
            <a:avLst/>
            <a:gdLst>
              <a:gd name="connsiteX0" fmla="*/ 1430440 w 1430440"/>
              <a:gd name="connsiteY0" fmla="*/ 715220 h 1430440"/>
              <a:gd name="connsiteX1" fmla="*/ 901155 w 1430440"/>
              <a:gd name="connsiteY1" fmla="*/ 1405849 h 1430440"/>
              <a:gd name="connsiteX2" fmla="*/ 96675 w 1430440"/>
              <a:gd name="connsiteY2" fmla="*/ 1074305 h 1430440"/>
              <a:gd name="connsiteX3" fmla="*/ 207679 w 1430440"/>
              <a:gd name="connsiteY3" fmla="*/ 211294 h 1430440"/>
              <a:gd name="connsiteX4" fmla="*/ 1069875 w 1430440"/>
              <a:gd name="connsiteY4" fmla="*/ 94125 h 1430440"/>
              <a:gd name="connsiteX5" fmla="*/ 715220 w 1430440"/>
              <a:gd name="connsiteY5" fmla="*/ 715220 h 1430440"/>
              <a:gd name="connsiteX6" fmla="*/ 1430440 w 1430440"/>
              <a:gd name="connsiteY6" fmla="*/ 715220 h 1430440"/>
              <a:gd name="connsiteX0" fmla="*/ 1430456 w 1430456"/>
              <a:gd name="connsiteY0" fmla="*/ 715237 h 1430521"/>
              <a:gd name="connsiteX1" fmla="*/ 901171 w 1430456"/>
              <a:gd name="connsiteY1" fmla="*/ 1405866 h 1430521"/>
              <a:gd name="connsiteX2" fmla="*/ 96691 w 1430456"/>
              <a:gd name="connsiteY2" fmla="*/ 1074322 h 1430521"/>
              <a:gd name="connsiteX3" fmla="*/ 207695 w 1430456"/>
              <a:gd name="connsiteY3" fmla="*/ 211311 h 1430521"/>
              <a:gd name="connsiteX4" fmla="*/ 1069891 w 1430456"/>
              <a:gd name="connsiteY4" fmla="*/ 94142 h 1430521"/>
              <a:gd name="connsiteX5" fmla="*/ 715236 w 1430456"/>
              <a:gd name="connsiteY5" fmla="*/ 715237 h 1430521"/>
              <a:gd name="connsiteX6" fmla="*/ 1430456 w 1430456"/>
              <a:gd name="connsiteY6" fmla="*/ 715237 h 1430521"/>
              <a:gd name="connsiteX0" fmla="*/ 1430456 w 1430456"/>
              <a:gd name="connsiteY0" fmla="*/ 715237 h 1430521"/>
              <a:gd name="connsiteX1" fmla="*/ 901171 w 1430456"/>
              <a:gd name="connsiteY1" fmla="*/ 1405866 h 1430521"/>
              <a:gd name="connsiteX2" fmla="*/ 96691 w 1430456"/>
              <a:gd name="connsiteY2" fmla="*/ 1074322 h 1430521"/>
              <a:gd name="connsiteX3" fmla="*/ 207695 w 1430456"/>
              <a:gd name="connsiteY3" fmla="*/ 211311 h 1430521"/>
              <a:gd name="connsiteX4" fmla="*/ 1069891 w 1430456"/>
              <a:gd name="connsiteY4" fmla="*/ 94142 h 1430521"/>
              <a:gd name="connsiteX5" fmla="*/ 715236 w 1430456"/>
              <a:gd name="connsiteY5" fmla="*/ 715237 h 1430521"/>
              <a:gd name="connsiteX6" fmla="*/ 1430456 w 1430456"/>
              <a:gd name="connsiteY6" fmla="*/ 715237 h 1430521"/>
              <a:gd name="connsiteX0" fmla="*/ 1430456 w 1430456"/>
              <a:gd name="connsiteY0" fmla="*/ 715237 h 1430521"/>
              <a:gd name="connsiteX1" fmla="*/ 901171 w 1430456"/>
              <a:gd name="connsiteY1" fmla="*/ 1405866 h 1430521"/>
              <a:gd name="connsiteX2" fmla="*/ 96691 w 1430456"/>
              <a:gd name="connsiteY2" fmla="*/ 1074322 h 1430521"/>
              <a:gd name="connsiteX3" fmla="*/ 207695 w 1430456"/>
              <a:gd name="connsiteY3" fmla="*/ 211311 h 1430521"/>
              <a:gd name="connsiteX4" fmla="*/ 1069891 w 1430456"/>
              <a:gd name="connsiteY4" fmla="*/ 94142 h 1430521"/>
              <a:gd name="connsiteX5" fmla="*/ 715236 w 1430456"/>
              <a:gd name="connsiteY5" fmla="*/ 715237 h 1430521"/>
              <a:gd name="connsiteX6" fmla="*/ 1430456 w 1430456"/>
              <a:gd name="connsiteY6" fmla="*/ 715237 h 1430521"/>
              <a:gd name="connsiteX0" fmla="*/ 1430456 w 1430456"/>
              <a:gd name="connsiteY0" fmla="*/ 715237 h 1430521"/>
              <a:gd name="connsiteX1" fmla="*/ 901171 w 1430456"/>
              <a:gd name="connsiteY1" fmla="*/ 1405866 h 1430521"/>
              <a:gd name="connsiteX2" fmla="*/ 96691 w 1430456"/>
              <a:gd name="connsiteY2" fmla="*/ 1074322 h 1430521"/>
              <a:gd name="connsiteX3" fmla="*/ 207695 w 1430456"/>
              <a:gd name="connsiteY3" fmla="*/ 211311 h 1430521"/>
              <a:gd name="connsiteX4" fmla="*/ 1069891 w 1430456"/>
              <a:gd name="connsiteY4" fmla="*/ 94142 h 1430521"/>
              <a:gd name="connsiteX5" fmla="*/ 715236 w 1430456"/>
              <a:gd name="connsiteY5" fmla="*/ 715237 h 1430521"/>
              <a:gd name="connsiteX6" fmla="*/ 1430456 w 1430456"/>
              <a:gd name="connsiteY6" fmla="*/ 715237 h 1430521"/>
              <a:gd name="connsiteX0" fmla="*/ 1430456 w 1430456"/>
              <a:gd name="connsiteY0" fmla="*/ 715237 h 1430521"/>
              <a:gd name="connsiteX1" fmla="*/ 901171 w 1430456"/>
              <a:gd name="connsiteY1" fmla="*/ 1405866 h 1430521"/>
              <a:gd name="connsiteX2" fmla="*/ 96691 w 1430456"/>
              <a:gd name="connsiteY2" fmla="*/ 1074322 h 1430521"/>
              <a:gd name="connsiteX3" fmla="*/ 207695 w 1430456"/>
              <a:gd name="connsiteY3" fmla="*/ 211311 h 1430521"/>
              <a:gd name="connsiteX4" fmla="*/ 1069891 w 1430456"/>
              <a:gd name="connsiteY4" fmla="*/ 94142 h 1430521"/>
              <a:gd name="connsiteX5" fmla="*/ 715236 w 1430456"/>
              <a:gd name="connsiteY5" fmla="*/ 715237 h 1430521"/>
              <a:gd name="connsiteX6" fmla="*/ 1430456 w 1430456"/>
              <a:gd name="connsiteY6" fmla="*/ 715237 h 143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0456" h="1430521">
                <a:moveTo>
                  <a:pt x="1430456" y="715237"/>
                </a:moveTo>
                <a:cubicBezTo>
                  <a:pt x="1430456" y="1038633"/>
                  <a:pt x="1213448" y="1321793"/>
                  <a:pt x="901171" y="1405866"/>
                </a:cubicBezTo>
                <a:cubicBezTo>
                  <a:pt x="588894" y="1489939"/>
                  <a:pt x="259055" y="1354005"/>
                  <a:pt x="96691" y="1074322"/>
                </a:cubicBezTo>
                <a:cubicBezTo>
                  <a:pt x="-65674" y="794639"/>
                  <a:pt x="-20162" y="440802"/>
                  <a:pt x="207695" y="211311"/>
                </a:cubicBezTo>
                <a:cubicBezTo>
                  <a:pt x="435552" y="-18180"/>
                  <a:pt x="789055" y="-66220"/>
                  <a:pt x="1069891" y="94142"/>
                </a:cubicBezTo>
                <a:cubicBezTo>
                  <a:pt x="749268" y="310698"/>
                  <a:pt x="726297" y="584404"/>
                  <a:pt x="715236" y="715237"/>
                </a:cubicBezTo>
                <a:lnTo>
                  <a:pt x="1430456" y="71523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9" name="직사각형 113">
            <a:extLst>
              <a:ext uri="{FF2B5EF4-FFF2-40B4-BE49-F238E27FC236}">
                <a16:creationId xmlns:a16="http://schemas.microsoft.com/office/drawing/2014/main" id="{73419DF9-3B19-904C-B912-D567A675AC96}"/>
              </a:ext>
            </a:extLst>
          </p:cNvPr>
          <p:cNvSpPr>
            <a:spLocks noChangeArrowheads="1"/>
          </p:cNvSpPr>
          <p:nvPr/>
        </p:nvSpPr>
        <p:spPr bwMode="auto">
          <a:xfrm>
            <a:off x="5539203" y="2619590"/>
            <a:ext cx="1170747" cy="338554"/>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1600" b="1">
                <a:solidFill>
                  <a:schemeClr val="accent2"/>
                </a:solidFill>
                <a:cs typeface="Arial" charset="0"/>
              </a:rPr>
              <a:t>Text Here</a:t>
            </a:r>
            <a:endParaRPr lang="ko-KR" altLang="en-US" sz="1600">
              <a:solidFill>
                <a:schemeClr val="accent2"/>
              </a:solidFill>
            </a:endParaRPr>
          </a:p>
        </p:txBody>
      </p:sp>
      <p:sp>
        <p:nvSpPr>
          <p:cNvPr id="20" name="직사각형 113">
            <a:extLst>
              <a:ext uri="{FF2B5EF4-FFF2-40B4-BE49-F238E27FC236}">
                <a16:creationId xmlns:a16="http://schemas.microsoft.com/office/drawing/2014/main" id="{42E0FF5B-7489-D745-8935-94411D3AC4EB}"/>
              </a:ext>
            </a:extLst>
          </p:cNvPr>
          <p:cNvSpPr>
            <a:spLocks noChangeArrowheads="1"/>
          </p:cNvSpPr>
          <p:nvPr/>
        </p:nvSpPr>
        <p:spPr bwMode="auto">
          <a:xfrm>
            <a:off x="5482052" y="4950692"/>
            <a:ext cx="1231768" cy="36933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b="1">
                <a:solidFill>
                  <a:schemeClr val="accent3"/>
                </a:solidFill>
                <a:cs typeface="Arial" charset="0"/>
              </a:rPr>
              <a:t>Text Here</a:t>
            </a:r>
            <a:endParaRPr lang="ko-KR" altLang="en-US">
              <a:solidFill>
                <a:schemeClr val="accent3"/>
              </a:solidFill>
            </a:endParaRPr>
          </a:p>
        </p:txBody>
      </p:sp>
      <p:sp>
        <p:nvSpPr>
          <p:cNvPr id="21" name="TextBox 20">
            <a:extLst>
              <a:ext uri="{FF2B5EF4-FFF2-40B4-BE49-F238E27FC236}">
                <a16:creationId xmlns:a16="http://schemas.microsoft.com/office/drawing/2014/main" id="{7A221C2B-E775-4244-9F9A-F72CA344B169}"/>
              </a:ext>
            </a:extLst>
          </p:cNvPr>
          <p:cNvSpPr txBox="1"/>
          <p:nvPr/>
        </p:nvSpPr>
        <p:spPr>
          <a:xfrm>
            <a:off x="7051952" y="5427191"/>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C</a:t>
            </a:r>
            <a:endParaRPr lang="ko-KR" altLang="en-US" sz="1200" b="1">
              <a:solidFill>
                <a:schemeClr val="bg1"/>
              </a:solidFill>
              <a:cs typeface="Arial" pitchFamily="34" charset="0"/>
            </a:endParaRPr>
          </a:p>
        </p:txBody>
      </p:sp>
      <p:sp>
        <p:nvSpPr>
          <p:cNvPr id="22" name="TextBox 21">
            <a:extLst>
              <a:ext uri="{FF2B5EF4-FFF2-40B4-BE49-F238E27FC236}">
                <a16:creationId xmlns:a16="http://schemas.microsoft.com/office/drawing/2014/main" id="{BDBE0FDC-626A-4542-80E9-267965324CD0}"/>
              </a:ext>
            </a:extLst>
          </p:cNvPr>
          <p:cNvSpPr txBox="1"/>
          <p:nvPr/>
        </p:nvSpPr>
        <p:spPr>
          <a:xfrm>
            <a:off x="4200849" y="5427191"/>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F</a:t>
            </a:r>
            <a:endParaRPr lang="ko-KR" altLang="en-US" sz="1200" b="1">
              <a:solidFill>
                <a:schemeClr val="bg1"/>
              </a:solidFill>
              <a:cs typeface="Arial" pitchFamily="34" charset="0"/>
            </a:endParaRPr>
          </a:p>
        </p:txBody>
      </p:sp>
      <p:sp>
        <p:nvSpPr>
          <p:cNvPr id="23" name="TextBox 22">
            <a:extLst>
              <a:ext uri="{FF2B5EF4-FFF2-40B4-BE49-F238E27FC236}">
                <a16:creationId xmlns:a16="http://schemas.microsoft.com/office/drawing/2014/main" id="{A18CE887-87BF-FE49-9787-BC0D5C659A2B}"/>
              </a:ext>
            </a:extLst>
          </p:cNvPr>
          <p:cNvSpPr txBox="1"/>
          <p:nvPr/>
        </p:nvSpPr>
        <p:spPr>
          <a:xfrm>
            <a:off x="3476916" y="3815593"/>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E</a:t>
            </a:r>
            <a:endParaRPr lang="ko-KR" altLang="en-US" sz="1200" b="1">
              <a:solidFill>
                <a:schemeClr val="bg1"/>
              </a:solidFill>
              <a:cs typeface="Arial" pitchFamily="34" charset="0"/>
            </a:endParaRPr>
          </a:p>
        </p:txBody>
      </p:sp>
      <p:sp>
        <p:nvSpPr>
          <p:cNvPr id="24" name="TextBox 23">
            <a:extLst>
              <a:ext uri="{FF2B5EF4-FFF2-40B4-BE49-F238E27FC236}">
                <a16:creationId xmlns:a16="http://schemas.microsoft.com/office/drawing/2014/main" id="{EAE5ABF2-8E63-284D-87AD-D8472B7E855A}"/>
              </a:ext>
            </a:extLst>
          </p:cNvPr>
          <p:cNvSpPr txBox="1"/>
          <p:nvPr/>
        </p:nvSpPr>
        <p:spPr>
          <a:xfrm>
            <a:off x="4200849" y="2125832"/>
            <a:ext cx="864095" cy="276999"/>
          </a:xfrm>
          <a:prstGeom prst="rect">
            <a:avLst/>
          </a:prstGeom>
          <a:noFill/>
        </p:spPr>
        <p:txBody>
          <a:bodyPr wrap="square" rtlCol="0">
            <a:spAutoFit/>
          </a:bodyPr>
          <a:lstStyle/>
          <a:p>
            <a:pPr algn="ctr"/>
            <a:r>
              <a:rPr lang="en-US" altLang="ko-KR" sz="1200" b="1">
                <a:solidFill>
                  <a:schemeClr val="bg1"/>
                </a:solidFill>
                <a:cs typeface="Arial" pitchFamily="34" charset="0"/>
              </a:rPr>
              <a:t>Option D</a:t>
            </a:r>
            <a:endParaRPr lang="ko-KR" altLang="en-US" sz="1200" b="1">
              <a:solidFill>
                <a:schemeClr val="bg1"/>
              </a:solidFill>
              <a:cs typeface="Arial" pitchFamily="34" charset="0"/>
            </a:endParaRPr>
          </a:p>
        </p:txBody>
      </p:sp>
      <p:cxnSp>
        <p:nvCxnSpPr>
          <p:cNvPr id="25" name="Straight Arrow Connector 24">
            <a:extLst>
              <a:ext uri="{FF2B5EF4-FFF2-40B4-BE49-F238E27FC236}">
                <a16:creationId xmlns:a16="http://schemas.microsoft.com/office/drawing/2014/main" id="{4855C40F-6ADB-924D-BBBB-561168A5DE0F}"/>
              </a:ext>
            </a:extLst>
          </p:cNvPr>
          <p:cNvCxnSpPr>
            <a:cxnSpLocks/>
          </p:cNvCxnSpPr>
          <p:nvPr/>
        </p:nvCxnSpPr>
        <p:spPr>
          <a:xfrm flipH="1" flipV="1">
            <a:off x="5029783" y="2659135"/>
            <a:ext cx="405233" cy="648000"/>
          </a:xfrm>
          <a:prstGeom prst="straightConnector1">
            <a:avLst/>
          </a:prstGeom>
          <a:ln w="25400">
            <a:solidFill>
              <a:schemeClr val="accent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2AA31CE-4F15-C748-B457-4F5016BCBF98}"/>
              </a:ext>
            </a:extLst>
          </p:cNvPr>
          <p:cNvCxnSpPr/>
          <p:nvPr/>
        </p:nvCxnSpPr>
        <p:spPr>
          <a:xfrm flipH="1">
            <a:off x="4409815" y="3954090"/>
            <a:ext cx="648000" cy="2"/>
          </a:xfrm>
          <a:prstGeom prst="straightConnector1">
            <a:avLst/>
          </a:prstGeom>
          <a:ln w="25400">
            <a:solidFill>
              <a:schemeClr val="accent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EC1A21F-5B1B-D542-BAC0-C9340C0EBBF4}"/>
              </a:ext>
            </a:extLst>
          </p:cNvPr>
          <p:cNvCxnSpPr/>
          <p:nvPr/>
        </p:nvCxnSpPr>
        <p:spPr>
          <a:xfrm flipH="1">
            <a:off x="5054313" y="4600003"/>
            <a:ext cx="405235" cy="648000"/>
          </a:xfrm>
          <a:prstGeom prst="straightConnector1">
            <a:avLst/>
          </a:prstGeom>
          <a:ln w="25400">
            <a:solidFill>
              <a:schemeClr val="accent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9287A22-6838-5749-BCB2-7EAA7C7C5393}"/>
              </a:ext>
            </a:extLst>
          </p:cNvPr>
          <p:cNvCxnSpPr>
            <a:cxnSpLocks/>
          </p:cNvCxnSpPr>
          <p:nvPr/>
        </p:nvCxnSpPr>
        <p:spPr>
          <a:xfrm flipV="1">
            <a:off x="6819168" y="2657720"/>
            <a:ext cx="338080" cy="648000"/>
          </a:xfrm>
          <a:prstGeom prst="straightConnector1">
            <a:avLst/>
          </a:prstGeom>
          <a:ln w="25400">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B165EAE-8814-7245-9B30-9C7B8687F0D3}"/>
              </a:ext>
            </a:extLst>
          </p:cNvPr>
          <p:cNvCxnSpPr/>
          <p:nvPr/>
        </p:nvCxnSpPr>
        <p:spPr>
          <a:xfrm>
            <a:off x="7184135" y="3956794"/>
            <a:ext cx="648000" cy="2"/>
          </a:xfrm>
          <a:prstGeom prst="straightConnector1">
            <a:avLst/>
          </a:prstGeom>
          <a:ln w="25400">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B1CA89F-2AA8-0044-8F49-981D2B8F20DC}"/>
              </a:ext>
            </a:extLst>
          </p:cNvPr>
          <p:cNvCxnSpPr/>
          <p:nvPr/>
        </p:nvCxnSpPr>
        <p:spPr>
          <a:xfrm>
            <a:off x="6709950" y="4584153"/>
            <a:ext cx="360587" cy="648000"/>
          </a:xfrm>
          <a:prstGeom prst="straightConnector1">
            <a:avLst/>
          </a:prstGeom>
          <a:ln w="25400">
            <a:solidFill>
              <a:schemeClr val="accent3"/>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7544AB6-3FF6-1B4D-80EB-C48E6F9C719B}"/>
              </a:ext>
            </a:extLst>
          </p:cNvPr>
          <p:cNvGrpSpPr/>
          <p:nvPr/>
        </p:nvGrpSpPr>
        <p:grpSpPr>
          <a:xfrm>
            <a:off x="8089743" y="1802665"/>
            <a:ext cx="2357003" cy="923330"/>
            <a:chOff x="2551705" y="4283314"/>
            <a:chExt cx="2357003" cy="923330"/>
          </a:xfrm>
        </p:grpSpPr>
        <p:sp>
          <p:nvSpPr>
            <p:cNvPr id="32" name="TextBox 31">
              <a:extLst>
                <a:ext uri="{FF2B5EF4-FFF2-40B4-BE49-F238E27FC236}">
                  <a16:creationId xmlns:a16="http://schemas.microsoft.com/office/drawing/2014/main" id="{5E0931B0-E1A7-DF4A-87F1-F2FD9DA8C660}"/>
                </a:ext>
              </a:extLst>
            </p:cNvPr>
            <p:cNvSpPr txBox="1"/>
            <p:nvPr/>
          </p:nvSpPr>
          <p:spPr>
            <a:xfrm>
              <a:off x="2551706" y="4560313"/>
              <a:ext cx="235700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I hope and I believe that this Template will your Time, Money and Reputation</a:t>
              </a:r>
              <a:endParaRPr lang="ko-KR" altLang="en-US" sz="1200">
                <a:solidFill>
                  <a:schemeClr val="tx1">
                    <a:lumMod val="75000"/>
                    <a:lumOff val="25000"/>
                  </a:schemeClr>
                </a:solidFill>
                <a:cs typeface="Arial" pitchFamily="34" charset="0"/>
              </a:endParaRPr>
            </a:p>
          </p:txBody>
        </p:sp>
        <p:sp>
          <p:nvSpPr>
            <p:cNvPr id="33" name="TextBox 32">
              <a:extLst>
                <a:ext uri="{FF2B5EF4-FFF2-40B4-BE49-F238E27FC236}">
                  <a16:creationId xmlns:a16="http://schemas.microsoft.com/office/drawing/2014/main" id="{630BCD4F-D143-8045-A643-1C08A33532F3}"/>
                </a:ext>
              </a:extLst>
            </p:cNvPr>
            <p:cNvSpPr txBox="1"/>
            <p:nvPr/>
          </p:nvSpPr>
          <p:spPr>
            <a:xfrm>
              <a:off x="2551705" y="4283314"/>
              <a:ext cx="2336966" cy="307777"/>
            </a:xfrm>
            <a:prstGeom prst="rect">
              <a:avLst/>
            </a:prstGeom>
            <a:noFill/>
          </p:spPr>
          <p:txBody>
            <a:bodyPr wrap="square" rtlCol="0">
              <a:spAutoFit/>
            </a:bodyPr>
            <a:lstStyle/>
            <a:p>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grpSp>
        <p:nvGrpSpPr>
          <p:cNvPr id="34" name="Group 33">
            <a:extLst>
              <a:ext uri="{FF2B5EF4-FFF2-40B4-BE49-F238E27FC236}">
                <a16:creationId xmlns:a16="http://schemas.microsoft.com/office/drawing/2014/main" id="{1A7C11CF-4D8A-5440-B269-398C65024502}"/>
              </a:ext>
            </a:extLst>
          </p:cNvPr>
          <p:cNvGrpSpPr/>
          <p:nvPr/>
        </p:nvGrpSpPr>
        <p:grpSpPr>
          <a:xfrm>
            <a:off x="8978814" y="3474372"/>
            <a:ext cx="2336966" cy="923330"/>
            <a:chOff x="2551705" y="4283314"/>
            <a:chExt cx="2357003" cy="923330"/>
          </a:xfrm>
        </p:grpSpPr>
        <p:sp>
          <p:nvSpPr>
            <p:cNvPr id="35" name="TextBox 34">
              <a:extLst>
                <a:ext uri="{FF2B5EF4-FFF2-40B4-BE49-F238E27FC236}">
                  <a16:creationId xmlns:a16="http://schemas.microsoft.com/office/drawing/2014/main" id="{798FC5D9-E917-3742-A8BC-8E60BA7C3D70}"/>
                </a:ext>
              </a:extLst>
            </p:cNvPr>
            <p:cNvSpPr txBox="1"/>
            <p:nvPr/>
          </p:nvSpPr>
          <p:spPr>
            <a:xfrm>
              <a:off x="2551707" y="4560313"/>
              <a:ext cx="2357001"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I hope and I believe that this Template will your Time, Money and Reputation.</a:t>
              </a:r>
              <a:endParaRPr lang="ko-KR" altLang="en-US" sz="1200">
                <a:solidFill>
                  <a:schemeClr val="tx1">
                    <a:lumMod val="75000"/>
                    <a:lumOff val="25000"/>
                  </a:schemeClr>
                </a:solidFill>
                <a:cs typeface="Arial" pitchFamily="34" charset="0"/>
              </a:endParaRPr>
            </a:p>
          </p:txBody>
        </p:sp>
        <p:sp>
          <p:nvSpPr>
            <p:cNvPr id="36" name="TextBox 35">
              <a:extLst>
                <a:ext uri="{FF2B5EF4-FFF2-40B4-BE49-F238E27FC236}">
                  <a16:creationId xmlns:a16="http://schemas.microsoft.com/office/drawing/2014/main" id="{0D1FB46C-3CD0-0640-8C9D-6C8F1C883B8A}"/>
                </a:ext>
              </a:extLst>
            </p:cNvPr>
            <p:cNvSpPr txBox="1"/>
            <p:nvPr/>
          </p:nvSpPr>
          <p:spPr>
            <a:xfrm>
              <a:off x="2551705" y="4283314"/>
              <a:ext cx="2336966" cy="307777"/>
            </a:xfrm>
            <a:prstGeom prst="rect">
              <a:avLst/>
            </a:prstGeom>
            <a:noFill/>
          </p:spPr>
          <p:txBody>
            <a:bodyPr wrap="square" rtlCol="0">
              <a:spAutoFit/>
            </a:bodyPr>
            <a:lstStyle/>
            <a:p>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grpSp>
        <p:nvGrpSpPr>
          <p:cNvPr id="37" name="Group 36">
            <a:extLst>
              <a:ext uri="{FF2B5EF4-FFF2-40B4-BE49-F238E27FC236}">
                <a16:creationId xmlns:a16="http://schemas.microsoft.com/office/drawing/2014/main" id="{DF9AFCFA-8019-1743-8CE7-724A1BAA5098}"/>
              </a:ext>
            </a:extLst>
          </p:cNvPr>
          <p:cNvGrpSpPr/>
          <p:nvPr/>
        </p:nvGrpSpPr>
        <p:grpSpPr>
          <a:xfrm>
            <a:off x="8089743" y="5104024"/>
            <a:ext cx="2357003" cy="923330"/>
            <a:chOff x="2551705" y="4283314"/>
            <a:chExt cx="2357003" cy="923330"/>
          </a:xfrm>
        </p:grpSpPr>
        <p:sp>
          <p:nvSpPr>
            <p:cNvPr id="38" name="TextBox 37">
              <a:extLst>
                <a:ext uri="{FF2B5EF4-FFF2-40B4-BE49-F238E27FC236}">
                  <a16:creationId xmlns:a16="http://schemas.microsoft.com/office/drawing/2014/main" id="{B65B01AF-BA63-0544-B49F-BCAC88F4065E}"/>
                </a:ext>
              </a:extLst>
            </p:cNvPr>
            <p:cNvSpPr txBox="1"/>
            <p:nvPr/>
          </p:nvSpPr>
          <p:spPr>
            <a:xfrm>
              <a:off x="2551706" y="4560313"/>
              <a:ext cx="235700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I hope and I believe that this Template will your Time, Money and Reputation</a:t>
              </a:r>
              <a:endParaRPr lang="ko-KR" altLang="en-US" sz="1200">
                <a:solidFill>
                  <a:schemeClr val="tx1">
                    <a:lumMod val="75000"/>
                    <a:lumOff val="25000"/>
                  </a:schemeClr>
                </a:solidFill>
                <a:cs typeface="Arial" pitchFamily="34" charset="0"/>
              </a:endParaRPr>
            </a:p>
          </p:txBody>
        </p:sp>
        <p:sp>
          <p:nvSpPr>
            <p:cNvPr id="39" name="TextBox 38">
              <a:extLst>
                <a:ext uri="{FF2B5EF4-FFF2-40B4-BE49-F238E27FC236}">
                  <a16:creationId xmlns:a16="http://schemas.microsoft.com/office/drawing/2014/main" id="{0FD24A63-AC9F-424A-9C3B-D4BF30C39B54}"/>
                </a:ext>
              </a:extLst>
            </p:cNvPr>
            <p:cNvSpPr txBox="1"/>
            <p:nvPr/>
          </p:nvSpPr>
          <p:spPr>
            <a:xfrm>
              <a:off x="2551705" y="4283314"/>
              <a:ext cx="2336966" cy="307777"/>
            </a:xfrm>
            <a:prstGeom prst="rect">
              <a:avLst/>
            </a:prstGeom>
            <a:noFill/>
          </p:spPr>
          <p:txBody>
            <a:bodyPr wrap="square" rtlCol="0">
              <a:spAutoFit/>
            </a:bodyPr>
            <a:lstStyle/>
            <a:p>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grpSp>
        <p:nvGrpSpPr>
          <p:cNvPr id="40" name="Group 39">
            <a:extLst>
              <a:ext uri="{FF2B5EF4-FFF2-40B4-BE49-F238E27FC236}">
                <a16:creationId xmlns:a16="http://schemas.microsoft.com/office/drawing/2014/main" id="{D59B8A4F-0AB1-EE47-A300-666FF364B0D5}"/>
              </a:ext>
            </a:extLst>
          </p:cNvPr>
          <p:cNvGrpSpPr/>
          <p:nvPr/>
        </p:nvGrpSpPr>
        <p:grpSpPr>
          <a:xfrm>
            <a:off x="1670714" y="1802665"/>
            <a:ext cx="2357003" cy="923330"/>
            <a:chOff x="2551705" y="4283314"/>
            <a:chExt cx="2357003" cy="923330"/>
          </a:xfrm>
        </p:grpSpPr>
        <p:sp>
          <p:nvSpPr>
            <p:cNvPr id="41" name="TextBox 40">
              <a:extLst>
                <a:ext uri="{FF2B5EF4-FFF2-40B4-BE49-F238E27FC236}">
                  <a16:creationId xmlns:a16="http://schemas.microsoft.com/office/drawing/2014/main" id="{EEE2D79A-BC8D-B04C-9DD8-A032AD0AE615}"/>
                </a:ext>
              </a:extLst>
            </p:cNvPr>
            <p:cNvSpPr txBox="1"/>
            <p:nvPr/>
          </p:nvSpPr>
          <p:spPr>
            <a:xfrm>
              <a:off x="2551706" y="4560313"/>
              <a:ext cx="2357002"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I hope and I believe that this Template will your Time, Money and Reputation</a:t>
              </a:r>
              <a:endParaRPr lang="ko-KR" altLang="en-US" sz="1200">
                <a:solidFill>
                  <a:schemeClr val="tx1">
                    <a:lumMod val="75000"/>
                    <a:lumOff val="25000"/>
                  </a:schemeClr>
                </a:solidFill>
                <a:cs typeface="Arial" pitchFamily="34" charset="0"/>
              </a:endParaRPr>
            </a:p>
          </p:txBody>
        </p:sp>
        <p:sp>
          <p:nvSpPr>
            <p:cNvPr id="42" name="TextBox 41">
              <a:extLst>
                <a:ext uri="{FF2B5EF4-FFF2-40B4-BE49-F238E27FC236}">
                  <a16:creationId xmlns:a16="http://schemas.microsoft.com/office/drawing/2014/main" id="{CF0F12C2-3104-D14E-A4E6-C5A3186BB4A1}"/>
                </a:ext>
              </a:extLst>
            </p:cNvPr>
            <p:cNvSpPr txBox="1"/>
            <p:nvPr/>
          </p:nvSpPr>
          <p:spPr>
            <a:xfrm>
              <a:off x="2551705" y="4283314"/>
              <a:ext cx="2336966" cy="307777"/>
            </a:xfrm>
            <a:prstGeom prst="rect">
              <a:avLst/>
            </a:prstGeom>
            <a:noFill/>
          </p:spPr>
          <p:txBody>
            <a:bodyPr wrap="square" rtlCol="0">
              <a:spAutoFit/>
            </a:bodyPr>
            <a:lstStyle/>
            <a:p>
              <a:pPr algn="r"/>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grpSp>
        <p:nvGrpSpPr>
          <p:cNvPr id="43" name="Group 42">
            <a:extLst>
              <a:ext uri="{FF2B5EF4-FFF2-40B4-BE49-F238E27FC236}">
                <a16:creationId xmlns:a16="http://schemas.microsoft.com/office/drawing/2014/main" id="{88D3032E-EEC4-1046-9484-C7DFEF1EFF50}"/>
              </a:ext>
            </a:extLst>
          </p:cNvPr>
          <p:cNvGrpSpPr/>
          <p:nvPr/>
        </p:nvGrpSpPr>
        <p:grpSpPr>
          <a:xfrm>
            <a:off x="948838" y="3482999"/>
            <a:ext cx="2336966" cy="923330"/>
            <a:chOff x="2551705" y="4283314"/>
            <a:chExt cx="2357003" cy="923330"/>
          </a:xfrm>
        </p:grpSpPr>
        <p:sp>
          <p:nvSpPr>
            <p:cNvPr id="44" name="TextBox 43">
              <a:extLst>
                <a:ext uri="{FF2B5EF4-FFF2-40B4-BE49-F238E27FC236}">
                  <a16:creationId xmlns:a16="http://schemas.microsoft.com/office/drawing/2014/main" id="{7875BD87-69A9-004C-8977-5321A38AA093}"/>
                </a:ext>
              </a:extLst>
            </p:cNvPr>
            <p:cNvSpPr txBox="1"/>
            <p:nvPr/>
          </p:nvSpPr>
          <p:spPr>
            <a:xfrm>
              <a:off x="2551707" y="4560313"/>
              <a:ext cx="235700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I hope and I believe that this Template will your Time, Money and Reputation. </a:t>
              </a:r>
              <a:endParaRPr lang="ko-KR" altLang="en-US" sz="1200">
                <a:solidFill>
                  <a:schemeClr val="tx1">
                    <a:lumMod val="75000"/>
                    <a:lumOff val="25000"/>
                  </a:schemeClr>
                </a:solidFill>
                <a:cs typeface="Arial" pitchFamily="34" charset="0"/>
              </a:endParaRPr>
            </a:p>
          </p:txBody>
        </p:sp>
        <p:sp>
          <p:nvSpPr>
            <p:cNvPr id="45" name="TextBox 44">
              <a:extLst>
                <a:ext uri="{FF2B5EF4-FFF2-40B4-BE49-F238E27FC236}">
                  <a16:creationId xmlns:a16="http://schemas.microsoft.com/office/drawing/2014/main" id="{90551044-D0AA-2147-A3D6-AC28BC22F921}"/>
                </a:ext>
              </a:extLst>
            </p:cNvPr>
            <p:cNvSpPr txBox="1"/>
            <p:nvPr/>
          </p:nvSpPr>
          <p:spPr>
            <a:xfrm>
              <a:off x="2551705" y="4283314"/>
              <a:ext cx="2336966" cy="307777"/>
            </a:xfrm>
            <a:prstGeom prst="rect">
              <a:avLst/>
            </a:prstGeom>
            <a:noFill/>
          </p:spPr>
          <p:txBody>
            <a:bodyPr wrap="square" rtlCol="0">
              <a:spAutoFit/>
            </a:bodyPr>
            <a:lstStyle/>
            <a:p>
              <a:pPr algn="r"/>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grpSp>
        <p:nvGrpSpPr>
          <p:cNvPr id="46" name="Group 45">
            <a:extLst>
              <a:ext uri="{FF2B5EF4-FFF2-40B4-BE49-F238E27FC236}">
                <a16:creationId xmlns:a16="http://schemas.microsoft.com/office/drawing/2014/main" id="{43CDFFA6-62D2-E045-A455-E8E503F45863}"/>
              </a:ext>
            </a:extLst>
          </p:cNvPr>
          <p:cNvGrpSpPr/>
          <p:nvPr/>
        </p:nvGrpSpPr>
        <p:grpSpPr>
          <a:xfrm>
            <a:off x="1670714" y="5104024"/>
            <a:ext cx="2357003" cy="923330"/>
            <a:chOff x="2551705" y="4283314"/>
            <a:chExt cx="2357003" cy="923330"/>
          </a:xfrm>
        </p:grpSpPr>
        <p:sp>
          <p:nvSpPr>
            <p:cNvPr id="47" name="TextBox 46">
              <a:extLst>
                <a:ext uri="{FF2B5EF4-FFF2-40B4-BE49-F238E27FC236}">
                  <a16:creationId xmlns:a16="http://schemas.microsoft.com/office/drawing/2014/main" id="{5D4C00D2-EDB1-D446-AB70-EC8D4C7D53B8}"/>
                </a:ext>
              </a:extLst>
            </p:cNvPr>
            <p:cNvSpPr txBox="1"/>
            <p:nvPr/>
          </p:nvSpPr>
          <p:spPr>
            <a:xfrm>
              <a:off x="2551706" y="4560313"/>
              <a:ext cx="2357002"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I hope and I believe that this Template will your Time, Money and Reputation</a:t>
              </a:r>
              <a:endParaRPr lang="ko-KR" altLang="en-US" sz="1200">
                <a:solidFill>
                  <a:schemeClr val="tx1">
                    <a:lumMod val="75000"/>
                    <a:lumOff val="25000"/>
                  </a:schemeClr>
                </a:solidFill>
                <a:cs typeface="Arial" pitchFamily="34" charset="0"/>
              </a:endParaRPr>
            </a:p>
          </p:txBody>
        </p:sp>
        <p:sp>
          <p:nvSpPr>
            <p:cNvPr id="48" name="TextBox 47">
              <a:extLst>
                <a:ext uri="{FF2B5EF4-FFF2-40B4-BE49-F238E27FC236}">
                  <a16:creationId xmlns:a16="http://schemas.microsoft.com/office/drawing/2014/main" id="{B93F773B-E94B-F845-9168-811E0FE5B252}"/>
                </a:ext>
              </a:extLst>
            </p:cNvPr>
            <p:cNvSpPr txBox="1"/>
            <p:nvPr/>
          </p:nvSpPr>
          <p:spPr>
            <a:xfrm>
              <a:off x="2551705" y="4283314"/>
              <a:ext cx="2336966" cy="307777"/>
            </a:xfrm>
            <a:prstGeom prst="rect">
              <a:avLst/>
            </a:prstGeom>
            <a:noFill/>
          </p:spPr>
          <p:txBody>
            <a:bodyPr wrap="square" rtlCol="0">
              <a:spAutoFit/>
            </a:bodyPr>
            <a:lstStyle/>
            <a:p>
              <a:pPr algn="r"/>
              <a:r>
                <a:rPr lang="en-US" altLang="ko-KR" sz="1400">
                  <a:solidFill>
                    <a:schemeClr val="tx1">
                      <a:lumMod val="75000"/>
                      <a:lumOff val="25000"/>
                    </a:schemeClr>
                  </a:solidFill>
                  <a:cs typeface="Arial" pitchFamily="34" charset="0"/>
                </a:rPr>
                <a:t>Your Text Here</a:t>
              </a:r>
              <a:endParaRPr lang="ko-KR" altLang="en-US" sz="1400">
                <a:solidFill>
                  <a:schemeClr val="tx1">
                    <a:lumMod val="75000"/>
                    <a:lumOff val="25000"/>
                  </a:schemeClr>
                </a:solidFill>
                <a:cs typeface="Arial" pitchFamily="34" charset="0"/>
              </a:endParaRPr>
            </a:p>
          </p:txBody>
        </p:sp>
      </p:grpSp>
      <p:sp>
        <p:nvSpPr>
          <p:cNvPr id="49" name="Rectangle 9">
            <a:extLst>
              <a:ext uri="{FF2B5EF4-FFF2-40B4-BE49-F238E27FC236}">
                <a16:creationId xmlns:a16="http://schemas.microsoft.com/office/drawing/2014/main" id="{DECA4740-3914-3C4B-B243-DFF59D4F0031}"/>
              </a:ext>
            </a:extLst>
          </p:cNvPr>
          <p:cNvSpPr/>
          <p:nvPr/>
        </p:nvSpPr>
        <p:spPr>
          <a:xfrm>
            <a:off x="5772135" y="4111250"/>
            <a:ext cx="329463" cy="308407"/>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0" name="Rounded Rectangle 5">
            <a:extLst>
              <a:ext uri="{FF2B5EF4-FFF2-40B4-BE49-F238E27FC236}">
                <a16:creationId xmlns:a16="http://schemas.microsoft.com/office/drawing/2014/main" id="{8285C7F9-772F-544C-A7A2-9CAE479D8D17}"/>
              </a:ext>
            </a:extLst>
          </p:cNvPr>
          <p:cNvSpPr/>
          <p:nvPr/>
        </p:nvSpPr>
        <p:spPr>
          <a:xfrm flipH="1">
            <a:off x="6134092" y="3496890"/>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893287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2" name="RBContent58">
            <a:extLst>
              <a:ext uri="{FF2B5EF4-FFF2-40B4-BE49-F238E27FC236}">
                <a16:creationId xmlns:a16="http://schemas.microsoft.com/office/drawing/2014/main" id="{B177A0E2-7A82-4E52-8599-26A5DCB6D23B}"/>
              </a:ext>
            </a:extLst>
          </p:cNvPr>
          <p:cNvSpPr txBox="1">
            <a:spLocks/>
          </p:cNvSpPr>
          <p:nvPr/>
        </p:nvSpPr>
        <p:spPr>
          <a:xfrm>
            <a:off x="365681" y="2488728"/>
            <a:ext cx="10382401" cy="2944396"/>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p:txBody>
      </p:sp>
      <p:sp>
        <p:nvSpPr>
          <p:cNvPr id="16" name="RBContent58">
            <a:extLst>
              <a:ext uri="{FF2B5EF4-FFF2-40B4-BE49-F238E27FC236}">
                <a16:creationId xmlns:a16="http://schemas.microsoft.com/office/drawing/2014/main" id="{F45DE46A-D23B-400C-9CB4-538C1C582E5F}"/>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17" name="RBContent58">
            <a:extLst>
              <a:ext uri="{FF2B5EF4-FFF2-40B4-BE49-F238E27FC236}">
                <a16:creationId xmlns:a16="http://schemas.microsoft.com/office/drawing/2014/main" id="{F4C01876-7753-4292-B54C-44BFF4455793}"/>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8" name="RBContent58">
            <a:extLst>
              <a:ext uri="{FF2B5EF4-FFF2-40B4-BE49-F238E27FC236}">
                <a16:creationId xmlns:a16="http://schemas.microsoft.com/office/drawing/2014/main" id="{D168B6A0-82E0-47C1-880F-F802A89BCC02}"/>
              </a:ext>
            </a:extLst>
          </p:cNvPr>
          <p:cNvSpPr txBox="1">
            <a:spLocks/>
          </p:cNvSpPr>
          <p:nvPr/>
        </p:nvSpPr>
        <p:spPr>
          <a:xfrm>
            <a:off x="11195403" y="2488728"/>
            <a:ext cx="630914" cy="2944396"/>
          </a:xfrm>
          <a:prstGeom prst="rect">
            <a:avLst/>
          </a:prstGeom>
          <a:noFill/>
          <a:ln w="9525">
            <a:noFill/>
          </a:ln>
        </p:spPr>
        <p:txBody>
          <a:bodyPr vert="horz" wrap="square" lIns="0" tIns="0" rIns="0" bIns="0" rtlCol="0">
            <a:spAutoFit/>
          </a:bodyPr>
          <a:lstStyle/>
          <a:p>
            <a:pPr algn="r">
              <a:spcAft>
                <a:spcPts val="2000"/>
              </a:spcAft>
            </a:pPr>
            <a:r>
              <a:rPr lang="en-GB"/>
              <a:t>1</a:t>
            </a:r>
          </a:p>
          <a:p>
            <a:pPr algn="r">
              <a:spcAft>
                <a:spcPts val="2000"/>
              </a:spcAft>
            </a:pPr>
            <a:r>
              <a:rPr lang="en-GB"/>
              <a:t>2</a:t>
            </a:r>
          </a:p>
          <a:p>
            <a:pPr algn="r">
              <a:spcAft>
                <a:spcPts val="2000"/>
              </a:spcAft>
            </a:pPr>
            <a:r>
              <a:rPr lang="en-GB"/>
              <a:t>3</a:t>
            </a:r>
          </a:p>
          <a:p>
            <a:pPr algn="r">
              <a:spcAft>
                <a:spcPts val="2000"/>
              </a:spcAft>
            </a:pPr>
            <a:r>
              <a:rPr lang="en-GB"/>
              <a:t>4</a:t>
            </a:r>
          </a:p>
          <a:p>
            <a:pPr algn="r">
              <a:spcAft>
                <a:spcPts val="2000"/>
              </a:spcAft>
            </a:pPr>
            <a:r>
              <a:rPr lang="en-GB"/>
              <a:t>5</a:t>
            </a:r>
          </a:p>
          <a:p>
            <a:pPr algn="r">
              <a:spcAft>
                <a:spcPts val="2000"/>
              </a:spcAft>
            </a:pPr>
            <a:r>
              <a:rPr lang="en-GB"/>
              <a:t>6</a:t>
            </a:r>
          </a:p>
        </p:txBody>
      </p:sp>
    </p:spTree>
    <p:extLst>
      <p:ext uri="{BB962C8B-B14F-4D97-AF65-F5344CB8AC3E}">
        <p14:creationId xmlns:p14="http://schemas.microsoft.com/office/powerpoint/2010/main" val="424758459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a:extLst>
              <a:ext uri="{FF2B5EF4-FFF2-40B4-BE49-F238E27FC236}">
                <a16:creationId xmlns:a16="http://schemas.microsoft.com/office/drawing/2014/main" id="{06C196F1-359F-C34D-8E63-4006415FF0F6}"/>
              </a:ext>
            </a:extLst>
          </p:cNvPr>
          <p:cNvGraphicFramePr>
            <a:graphicFrameLocks noChangeAspect="1"/>
          </p:cNvGraphicFramePr>
          <p:nvPr>
            <p:custDataLst>
              <p:tags r:id="rId1"/>
            </p:custDataLst>
            <p:extLst>
              <p:ext uri="{D42A27DB-BD31-4B8C-83A1-F6EECF244321}">
                <p14:modId xmlns:p14="http://schemas.microsoft.com/office/powerpoint/2010/main" val="138186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0" name="Object 89" hidden="1">
                        <a:extLst>
                          <a:ext uri="{FF2B5EF4-FFF2-40B4-BE49-F238E27FC236}">
                            <a16:creationId xmlns:a16="http://schemas.microsoft.com/office/drawing/2014/main" id="{06C196F1-359F-C34D-8E63-4006415FF0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67E9D77-1A00-3148-8B6F-62935A43CA18}"/>
              </a:ext>
            </a:extLst>
          </p:cNvPr>
          <p:cNvSpPr>
            <a:spLocks noGrp="1"/>
          </p:cNvSpPr>
          <p:nvPr>
            <p:ph type="sldNum" sz="quarter" idx="4"/>
          </p:nvPr>
        </p:nvSpPr>
        <p:spPr/>
        <p:txBody>
          <a:bodyPr/>
          <a:lstStyle/>
          <a:p>
            <a:fld id="{3D966009-6E5A-4F8C-8CA7-E37AFBF5FB92}" type="slidenum">
              <a:rPr lang="en-US" smtClean="0"/>
              <a:t>130</a:t>
            </a:fld>
            <a:endParaRPr lang="en-US"/>
          </a:p>
        </p:txBody>
      </p:sp>
      <p:sp>
        <p:nvSpPr>
          <p:cNvPr id="3" name="Title 2">
            <a:extLst>
              <a:ext uri="{FF2B5EF4-FFF2-40B4-BE49-F238E27FC236}">
                <a16:creationId xmlns:a16="http://schemas.microsoft.com/office/drawing/2014/main" id="{8B41F98B-86B9-8842-B5BB-0EEB84AE8A49}"/>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ECCCAF8-9ED8-E345-ADDB-13B4E137B1FB}"/>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9433D0CA-1DA6-3748-A96D-5FB6FD181E58}"/>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CF33289-253F-C24F-8384-E5039F59156A}"/>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2E6E125E-FFFD-5143-8A26-448A780B1360}"/>
              </a:ext>
            </a:extLst>
          </p:cNvPr>
          <p:cNvSpPr>
            <a:spLocks noGrp="1"/>
          </p:cNvSpPr>
          <p:nvPr>
            <p:ph sz="quarter" idx="14"/>
          </p:nvPr>
        </p:nvSpPr>
        <p:spPr/>
        <p:txBody>
          <a:bodyPr/>
          <a:lstStyle/>
          <a:p>
            <a:endParaRPr lang="en-GB"/>
          </a:p>
        </p:txBody>
      </p:sp>
      <p:grpSp>
        <p:nvGrpSpPr>
          <p:cNvPr id="89" name="Group 88">
            <a:extLst>
              <a:ext uri="{FF2B5EF4-FFF2-40B4-BE49-F238E27FC236}">
                <a16:creationId xmlns:a16="http://schemas.microsoft.com/office/drawing/2014/main" id="{27C9DDF6-9A9F-5645-A45A-D97447D903A0}"/>
              </a:ext>
            </a:extLst>
          </p:cNvPr>
          <p:cNvGrpSpPr/>
          <p:nvPr/>
        </p:nvGrpSpPr>
        <p:grpSpPr>
          <a:xfrm>
            <a:off x="870239" y="1712531"/>
            <a:ext cx="10435569" cy="4383585"/>
            <a:chOff x="870239" y="1966531"/>
            <a:chExt cx="10435569" cy="4383585"/>
          </a:xfrm>
        </p:grpSpPr>
        <p:grpSp>
          <p:nvGrpSpPr>
            <p:cNvPr id="49" name="Group 48">
              <a:extLst>
                <a:ext uri="{FF2B5EF4-FFF2-40B4-BE49-F238E27FC236}">
                  <a16:creationId xmlns:a16="http://schemas.microsoft.com/office/drawing/2014/main" id="{85A38F10-8F76-F94D-9FFF-B74B2F236717}"/>
                </a:ext>
              </a:extLst>
            </p:cNvPr>
            <p:cNvGrpSpPr/>
            <p:nvPr/>
          </p:nvGrpSpPr>
          <p:grpSpPr>
            <a:xfrm>
              <a:off x="3745437" y="2090332"/>
              <a:ext cx="4688763" cy="4223442"/>
              <a:chOff x="2221435" y="2017070"/>
              <a:chExt cx="4688763" cy="4223442"/>
            </a:xfrm>
          </p:grpSpPr>
          <p:cxnSp>
            <p:nvCxnSpPr>
              <p:cNvPr id="50" name="Straight Connector 49">
                <a:extLst>
                  <a:ext uri="{FF2B5EF4-FFF2-40B4-BE49-F238E27FC236}">
                    <a16:creationId xmlns:a16="http://schemas.microsoft.com/office/drawing/2014/main" id="{AB5806A4-4692-8042-828C-F46717E05A85}"/>
                  </a:ext>
                </a:extLst>
              </p:cNvPr>
              <p:cNvCxnSpPr>
                <a:cxnSpLocks/>
                <a:stCxn id="66" idx="4"/>
              </p:cNvCxnSpPr>
              <p:nvPr/>
            </p:nvCxnSpPr>
            <p:spPr>
              <a:xfrm flipH="1">
                <a:off x="4572000" y="2741103"/>
                <a:ext cx="227858" cy="126416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0529FB-DAD2-334C-B94A-6F1609A36FA2}"/>
                  </a:ext>
                </a:extLst>
              </p:cNvPr>
              <p:cNvCxnSpPr>
                <a:cxnSpLocks/>
                <a:stCxn id="63" idx="2"/>
              </p:cNvCxnSpPr>
              <p:nvPr/>
            </p:nvCxnSpPr>
            <p:spPr>
              <a:xfrm flipH="1">
                <a:off x="4572001" y="3624297"/>
                <a:ext cx="1601680" cy="344763"/>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3885CD-01BE-8745-896A-D3FFD436BF3E}"/>
                  </a:ext>
                </a:extLst>
              </p:cNvPr>
              <p:cNvCxnSpPr>
                <a:cxnSpLocks/>
                <a:stCxn id="59" idx="3"/>
              </p:cNvCxnSpPr>
              <p:nvPr/>
            </p:nvCxnSpPr>
            <p:spPr>
              <a:xfrm flipH="1">
                <a:off x="4618455" y="2877547"/>
                <a:ext cx="1431266" cy="1171356"/>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638881B-B3B2-5A45-BBF0-D05D7F7FB830}"/>
                  </a:ext>
                </a:extLst>
              </p:cNvPr>
              <p:cNvCxnSpPr>
                <a:cxnSpLocks/>
                <a:stCxn id="60" idx="5"/>
              </p:cNvCxnSpPr>
              <p:nvPr/>
            </p:nvCxnSpPr>
            <p:spPr>
              <a:xfrm>
                <a:off x="3298583" y="3181194"/>
                <a:ext cx="1273416" cy="824069"/>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40EBE96-9E61-154B-BA97-E2801DBE8A21}"/>
                  </a:ext>
                </a:extLst>
              </p:cNvPr>
              <p:cNvCxnSpPr>
                <a:cxnSpLocks/>
                <a:stCxn id="61" idx="7"/>
              </p:cNvCxnSpPr>
              <p:nvPr/>
            </p:nvCxnSpPr>
            <p:spPr>
              <a:xfrm flipV="1">
                <a:off x="3143375" y="4164475"/>
                <a:ext cx="1189906" cy="1010902"/>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C13F4CF-110A-BD46-BF70-A65343528C33}"/>
                  </a:ext>
                </a:extLst>
              </p:cNvPr>
              <p:cNvCxnSpPr>
                <a:cxnSpLocks/>
                <a:endCxn id="64" idx="6"/>
              </p:cNvCxnSpPr>
              <p:nvPr/>
            </p:nvCxnSpPr>
            <p:spPr>
              <a:xfrm flipH="1">
                <a:off x="3277508" y="4005263"/>
                <a:ext cx="1294492" cy="18091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0E2F664-93DB-874E-8328-861883946EBF}"/>
                  </a:ext>
                </a:extLst>
              </p:cNvPr>
              <p:cNvCxnSpPr>
                <a:cxnSpLocks/>
                <a:endCxn id="65" idx="0"/>
              </p:cNvCxnSpPr>
              <p:nvPr/>
            </p:nvCxnSpPr>
            <p:spPr>
              <a:xfrm flipH="1">
                <a:off x="4303051" y="3958146"/>
                <a:ext cx="267928" cy="1816287"/>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C1D8B32-0FBE-B242-ABC7-A5D78EA5A6E5}"/>
                  </a:ext>
                </a:extLst>
              </p:cNvPr>
              <p:cNvCxnSpPr>
                <a:cxnSpLocks/>
                <a:endCxn id="62" idx="1"/>
              </p:cNvCxnSpPr>
              <p:nvPr/>
            </p:nvCxnSpPr>
            <p:spPr>
              <a:xfrm>
                <a:off x="4572000" y="4005263"/>
                <a:ext cx="926239" cy="77900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E6770F3-0DAD-8546-B049-2D826CF5A7E7}"/>
                  </a:ext>
                </a:extLst>
              </p:cNvPr>
              <p:cNvSpPr/>
              <p:nvPr/>
            </p:nvSpPr>
            <p:spPr>
              <a:xfrm>
                <a:off x="3671899" y="3068960"/>
                <a:ext cx="1800200" cy="18002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59" name="Oval 58">
                <a:extLst>
                  <a:ext uri="{FF2B5EF4-FFF2-40B4-BE49-F238E27FC236}">
                    <a16:creationId xmlns:a16="http://schemas.microsoft.com/office/drawing/2014/main" id="{90152DB9-7834-9A46-B8D7-6429AC55602D}"/>
                  </a:ext>
                </a:extLst>
              </p:cNvPr>
              <p:cNvSpPr/>
              <p:nvPr/>
            </p:nvSpPr>
            <p:spPr>
              <a:xfrm>
                <a:off x="5902086" y="2017070"/>
                <a:ext cx="1008112" cy="1008112"/>
              </a:xfrm>
              <a:prstGeom prst="ellipse">
                <a:avLst/>
              </a:prstGeom>
              <a:solidFill>
                <a:schemeClr val="accent4">
                  <a:lumMod val="9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0" name="Oval 59">
                <a:extLst>
                  <a:ext uri="{FF2B5EF4-FFF2-40B4-BE49-F238E27FC236}">
                    <a16:creationId xmlns:a16="http://schemas.microsoft.com/office/drawing/2014/main" id="{64D5763E-5430-F04A-96C7-5E8C0D170F26}"/>
                  </a:ext>
                </a:extLst>
              </p:cNvPr>
              <p:cNvSpPr/>
              <p:nvPr/>
            </p:nvSpPr>
            <p:spPr>
              <a:xfrm>
                <a:off x="2506080" y="2388691"/>
                <a:ext cx="928475" cy="928475"/>
              </a:xfrm>
              <a:prstGeom prst="ellipse">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1" name="Oval 60">
                <a:extLst>
                  <a:ext uri="{FF2B5EF4-FFF2-40B4-BE49-F238E27FC236}">
                    <a16:creationId xmlns:a16="http://schemas.microsoft.com/office/drawing/2014/main" id="{051D214A-59B7-BD49-AC89-7BAF11D4605E}"/>
                  </a:ext>
                </a:extLst>
              </p:cNvPr>
              <p:cNvSpPr/>
              <p:nvPr/>
            </p:nvSpPr>
            <p:spPr>
              <a:xfrm>
                <a:off x="2221435" y="5017197"/>
                <a:ext cx="1080120" cy="1080120"/>
              </a:xfrm>
              <a:prstGeom prst="ellipse">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2" name="Oval 61">
                <a:extLst>
                  <a:ext uri="{FF2B5EF4-FFF2-40B4-BE49-F238E27FC236}">
                    <a16:creationId xmlns:a16="http://schemas.microsoft.com/office/drawing/2014/main" id="{11D08A78-5A16-B343-89EC-600A9B67C52E}"/>
                  </a:ext>
                </a:extLst>
              </p:cNvPr>
              <p:cNvSpPr/>
              <p:nvPr/>
            </p:nvSpPr>
            <p:spPr>
              <a:xfrm>
                <a:off x="5373413" y="4659437"/>
                <a:ext cx="852363" cy="852363"/>
              </a:xfrm>
              <a:prstGeom prst="ellipse">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3" name="Oval 62">
                <a:extLst>
                  <a:ext uri="{FF2B5EF4-FFF2-40B4-BE49-F238E27FC236}">
                    <a16:creationId xmlns:a16="http://schemas.microsoft.com/office/drawing/2014/main" id="{25DAC592-02AA-E042-AE4F-5BEEC5D2ED48}"/>
                  </a:ext>
                </a:extLst>
              </p:cNvPr>
              <p:cNvSpPr/>
              <p:nvPr/>
            </p:nvSpPr>
            <p:spPr>
              <a:xfrm>
                <a:off x="6173681" y="3345951"/>
                <a:ext cx="556692" cy="55669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4" name="Oval 63">
                <a:extLst>
                  <a:ext uri="{FF2B5EF4-FFF2-40B4-BE49-F238E27FC236}">
                    <a16:creationId xmlns:a16="http://schemas.microsoft.com/office/drawing/2014/main" id="{BD130CBF-0958-264E-933F-90CB0BDDE929}"/>
                  </a:ext>
                </a:extLst>
              </p:cNvPr>
              <p:cNvSpPr/>
              <p:nvPr/>
            </p:nvSpPr>
            <p:spPr>
              <a:xfrm>
                <a:off x="2633381" y="3864109"/>
                <a:ext cx="644127" cy="64412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5" name="Oval 64">
                <a:extLst>
                  <a:ext uri="{FF2B5EF4-FFF2-40B4-BE49-F238E27FC236}">
                    <a16:creationId xmlns:a16="http://schemas.microsoft.com/office/drawing/2014/main" id="{980A6E7F-F157-514B-B5CA-90A6D92760C4}"/>
                  </a:ext>
                </a:extLst>
              </p:cNvPr>
              <p:cNvSpPr/>
              <p:nvPr/>
            </p:nvSpPr>
            <p:spPr>
              <a:xfrm>
                <a:off x="4070011" y="5774433"/>
                <a:ext cx="466079" cy="46607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6" name="Oval 65">
                <a:extLst>
                  <a:ext uri="{FF2B5EF4-FFF2-40B4-BE49-F238E27FC236}">
                    <a16:creationId xmlns:a16="http://schemas.microsoft.com/office/drawing/2014/main" id="{A0795B0F-CFD2-4048-B73B-8F3A20C18F18}"/>
                  </a:ext>
                </a:extLst>
              </p:cNvPr>
              <p:cNvSpPr/>
              <p:nvPr/>
            </p:nvSpPr>
            <p:spPr>
              <a:xfrm>
                <a:off x="4584206" y="2309799"/>
                <a:ext cx="431304" cy="43130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67" name="Group 66">
              <a:extLst>
                <a:ext uri="{FF2B5EF4-FFF2-40B4-BE49-F238E27FC236}">
                  <a16:creationId xmlns:a16="http://schemas.microsoft.com/office/drawing/2014/main" id="{2C3F9F80-1633-7344-A4C7-40CA875D51E7}"/>
                </a:ext>
              </a:extLst>
            </p:cNvPr>
            <p:cNvGrpSpPr/>
            <p:nvPr/>
          </p:nvGrpSpPr>
          <p:grpSpPr>
            <a:xfrm>
              <a:off x="8533808" y="1966531"/>
              <a:ext cx="2772000" cy="1315889"/>
              <a:chOff x="539552" y="2708920"/>
              <a:chExt cx="1872208" cy="1315889"/>
            </a:xfrm>
          </p:grpSpPr>
          <p:sp>
            <p:nvSpPr>
              <p:cNvPr id="68" name="Rounded Rectangle 93">
                <a:extLst>
                  <a:ext uri="{FF2B5EF4-FFF2-40B4-BE49-F238E27FC236}">
                    <a16:creationId xmlns:a16="http://schemas.microsoft.com/office/drawing/2014/main" id="{F8B11840-1F7D-E94A-B76C-CFF17DF1426B}"/>
                  </a:ext>
                </a:extLst>
              </p:cNvPr>
              <p:cNvSpPr/>
              <p:nvPr/>
            </p:nvSpPr>
            <p:spPr>
              <a:xfrm>
                <a:off x="611560" y="2708920"/>
                <a:ext cx="1728192" cy="379785"/>
              </a:xfrm>
              <a:prstGeom prst="roundRect">
                <a:avLst>
                  <a:gd name="adj" fmla="val 50000"/>
                </a:avLst>
              </a:prstGeom>
              <a:solidFill>
                <a:schemeClr val="accent4">
                  <a:lumMod val="90000"/>
                </a:schemeClr>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9" name="TextBox 68">
                <a:extLst>
                  <a:ext uri="{FF2B5EF4-FFF2-40B4-BE49-F238E27FC236}">
                    <a16:creationId xmlns:a16="http://schemas.microsoft.com/office/drawing/2014/main" id="{CDBDCFC9-CF54-E64E-BEC2-8D4745FF9BEB}"/>
                  </a:ext>
                </a:extLst>
              </p:cNvPr>
              <p:cNvSpPr txBox="1"/>
              <p:nvPr/>
            </p:nvSpPr>
            <p:spPr>
              <a:xfrm>
                <a:off x="539552" y="3193812"/>
                <a:ext cx="1872208" cy="830997"/>
              </a:xfrm>
              <a:prstGeom prst="rect">
                <a:avLst/>
              </a:prstGeom>
              <a:noFill/>
            </p:spPr>
            <p:txBody>
              <a:bodyPr wrap="square" rtlCol="0">
                <a:spAutoFit/>
              </a:bodyPr>
              <a:lstStyle/>
              <a:p>
                <a:r>
                  <a:rPr lang="en-US" altLang="ko-KR" sz="1200">
                    <a:solidFill>
                      <a:schemeClr val="tx1">
                        <a:lumMod val="75000"/>
                        <a:lumOff val="25000"/>
                      </a:schemeClr>
                    </a:solidFill>
                    <a:latin typeface="Arial" pitchFamily="34" charset="0"/>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r>
                  <a:rPr lang="en-US" altLang="ko-KR" sz="1200">
                    <a:solidFill>
                      <a:schemeClr val="tx1">
                        <a:lumMod val="75000"/>
                        <a:lumOff val="25000"/>
                      </a:schemeClr>
                    </a:solidFill>
                    <a:latin typeface="Arial" pitchFamily="34" charset="0"/>
                    <a:cs typeface="Arial" pitchFamily="34" charset="0"/>
                  </a:rPr>
                  <a:t> </a:t>
                </a:r>
              </a:p>
            </p:txBody>
          </p:sp>
          <p:sp>
            <p:nvSpPr>
              <p:cNvPr id="70" name="TextBox 69">
                <a:extLst>
                  <a:ext uri="{FF2B5EF4-FFF2-40B4-BE49-F238E27FC236}">
                    <a16:creationId xmlns:a16="http://schemas.microsoft.com/office/drawing/2014/main" id="{68E6432A-2355-6048-AF0F-801453AD0213}"/>
                  </a:ext>
                </a:extLst>
              </p:cNvPr>
              <p:cNvSpPr txBox="1"/>
              <p:nvPr/>
            </p:nvSpPr>
            <p:spPr>
              <a:xfrm>
                <a:off x="665833" y="2744923"/>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grpSp>
        <p:grpSp>
          <p:nvGrpSpPr>
            <p:cNvPr id="71" name="Group 70">
              <a:extLst>
                <a:ext uri="{FF2B5EF4-FFF2-40B4-BE49-F238E27FC236}">
                  <a16:creationId xmlns:a16="http://schemas.microsoft.com/office/drawing/2014/main" id="{D77A2EA8-8E62-9C40-BC56-B512492AF218}"/>
                </a:ext>
              </a:extLst>
            </p:cNvPr>
            <p:cNvGrpSpPr/>
            <p:nvPr/>
          </p:nvGrpSpPr>
          <p:grpSpPr>
            <a:xfrm>
              <a:off x="7856138" y="4537663"/>
              <a:ext cx="2772000" cy="1315889"/>
              <a:chOff x="539552" y="2708920"/>
              <a:chExt cx="1872208" cy="1315889"/>
            </a:xfrm>
          </p:grpSpPr>
          <p:sp>
            <p:nvSpPr>
              <p:cNvPr id="72" name="Rounded Rectangle 97">
                <a:extLst>
                  <a:ext uri="{FF2B5EF4-FFF2-40B4-BE49-F238E27FC236}">
                    <a16:creationId xmlns:a16="http://schemas.microsoft.com/office/drawing/2014/main" id="{D9DB3B61-D397-B14B-916E-74B44CD8F24E}"/>
                  </a:ext>
                </a:extLst>
              </p:cNvPr>
              <p:cNvSpPr/>
              <p:nvPr/>
            </p:nvSpPr>
            <p:spPr>
              <a:xfrm>
                <a:off x="611560" y="2708920"/>
                <a:ext cx="1728192" cy="379785"/>
              </a:xfrm>
              <a:prstGeom prst="roundRect">
                <a:avLst>
                  <a:gd name="adj" fmla="val 50000"/>
                </a:avLst>
              </a:pr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3" name="TextBox 72">
                <a:extLst>
                  <a:ext uri="{FF2B5EF4-FFF2-40B4-BE49-F238E27FC236}">
                    <a16:creationId xmlns:a16="http://schemas.microsoft.com/office/drawing/2014/main" id="{EE1DF02C-262E-6940-97F1-24A5D8EC0272}"/>
                  </a:ext>
                </a:extLst>
              </p:cNvPr>
              <p:cNvSpPr txBox="1"/>
              <p:nvPr/>
            </p:nvSpPr>
            <p:spPr>
              <a:xfrm>
                <a:off x="539552" y="3193812"/>
                <a:ext cx="1872208" cy="830997"/>
              </a:xfrm>
              <a:prstGeom prst="rect">
                <a:avLst/>
              </a:prstGeom>
              <a:noFill/>
            </p:spPr>
            <p:txBody>
              <a:bodyPr wrap="square" rtlCol="0">
                <a:spAutoFit/>
              </a:bodyPr>
              <a:lstStyle/>
              <a:p>
                <a:r>
                  <a:rPr lang="en-US" altLang="ko-KR" sz="1200">
                    <a:solidFill>
                      <a:schemeClr val="tx1">
                        <a:lumMod val="75000"/>
                        <a:lumOff val="25000"/>
                      </a:schemeClr>
                    </a:solidFill>
                    <a:latin typeface="Arial" pitchFamily="34" charset="0"/>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r>
                  <a:rPr lang="en-US" altLang="ko-KR" sz="1200">
                    <a:solidFill>
                      <a:schemeClr val="tx1">
                        <a:lumMod val="75000"/>
                        <a:lumOff val="25000"/>
                      </a:schemeClr>
                    </a:solidFill>
                    <a:latin typeface="Arial" pitchFamily="34" charset="0"/>
                    <a:cs typeface="Arial" pitchFamily="34" charset="0"/>
                  </a:rPr>
                  <a:t> </a:t>
                </a:r>
              </a:p>
            </p:txBody>
          </p:sp>
          <p:sp>
            <p:nvSpPr>
              <p:cNvPr id="74" name="TextBox 73">
                <a:extLst>
                  <a:ext uri="{FF2B5EF4-FFF2-40B4-BE49-F238E27FC236}">
                    <a16:creationId xmlns:a16="http://schemas.microsoft.com/office/drawing/2014/main" id="{BCA8D80E-3E45-474B-A0C3-0B1CC29F3E2D}"/>
                  </a:ext>
                </a:extLst>
              </p:cNvPr>
              <p:cNvSpPr txBox="1"/>
              <p:nvPr/>
            </p:nvSpPr>
            <p:spPr>
              <a:xfrm>
                <a:off x="665833" y="2744923"/>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grpSp>
        <p:grpSp>
          <p:nvGrpSpPr>
            <p:cNvPr id="75" name="Group 74">
              <a:extLst>
                <a:ext uri="{FF2B5EF4-FFF2-40B4-BE49-F238E27FC236}">
                  <a16:creationId xmlns:a16="http://schemas.microsoft.com/office/drawing/2014/main" id="{5D924A7F-86DB-FB44-ADDB-6D3AC68FA953}"/>
                </a:ext>
              </a:extLst>
            </p:cNvPr>
            <p:cNvGrpSpPr/>
            <p:nvPr/>
          </p:nvGrpSpPr>
          <p:grpSpPr>
            <a:xfrm>
              <a:off x="870239" y="5034227"/>
              <a:ext cx="2772000" cy="1315889"/>
              <a:chOff x="539552" y="2708920"/>
              <a:chExt cx="1872208" cy="1315889"/>
            </a:xfrm>
          </p:grpSpPr>
          <p:sp>
            <p:nvSpPr>
              <p:cNvPr id="76" name="Rounded Rectangle 101">
                <a:extLst>
                  <a:ext uri="{FF2B5EF4-FFF2-40B4-BE49-F238E27FC236}">
                    <a16:creationId xmlns:a16="http://schemas.microsoft.com/office/drawing/2014/main" id="{E7175633-4050-BB4C-9575-13A2E029364B}"/>
                  </a:ext>
                </a:extLst>
              </p:cNvPr>
              <p:cNvSpPr/>
              <p:nvPr/>
            </p:nvSpPr>
            <p:spPr>
              <a:xfrm>
                <a:off x="611560" y="2708920"/>
                <a:ext cx="1728192" cy="379785"/>
              </a:xfrm>
              <a:prstGeom prst="roundRect">
                <a:avLst>
                  <a:gd name="adj" fmla="val 50000"/>
                </a:avLst>
              </a:pr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7" name="TextBox 76">
                <a:extLst>
                  <a:ext uri="{FF2B5EF4-FFF2-40B4-BE49-F238E27FC236}">
                    <a16:creationId xmlns:a16="http://schemas.microsoft.com/office/drawing/2014/main" id="{74FBFAB9-390C-0344-9678-27DB537079D1}"/>
                  </a:ext>
                </a:extLst>
              </p:cNvPr>
              <p:cNvSpPr txBox="1"/>
              <p:nvPr/>
            </p:nvSpPr>
            <p:spPr>
              <a:xfrm>
                <a:off x="539552" y="3193812"/>
                <a:ext cx="1872208" cy="830997"/>
              </a:xfrm>
              <a:prstGeom prst="rect">
                <a:avLst/>
              </a:prstGeom>
              <a:noFill/>
            </p:spPr>
            <p:txBody>
              <a:bodyPr wrap="square" rtlCol="0">
                <a:spAutoFit/>
              </a:bodyPr>
              <a:lstStyle/>
              <a:p>
                <a:r>
                  <a:rPr lang="en-US" altLang="ko-KR" sz="1200">
                    <a:solidFill>
                      <a:schemeClr val="tx1">
                        <a:lumMod val="75000"/>
                        <a:lumOff val="25000"/>
                      </a:schemeClr>
                    </a:solidFill>
                    <a:latin typeface="Arial" pitchFamily="34" charset="0"/>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r>
                  <a:rPr lang="en-US" altLang="ko-KR" sz="1200">
                    <a:solidFill>
                      <a:schemeClr val="tx1">
                        <a:lumMod val="75000"/>
                        <a:lumOff val="25000"/>
                      </a:schemeClr>
                    </a:solidFill>
                    <a:latin typeface="Arial" pitchFamily="34" charset="0"/>
                    <a:cs typeface="Arial" pitchFamily="34" charset="0"/>
                  </a:rPr>
                  <a:t> </a:t>
                </a:r>
              </a:p>
            </p:txBody>
          </p:sp>
          <p:sp>
            <p:nvSpPr>
              <p:cNvPr id="78" name="TextBox 77">
                <a:extLst>
                  <a:ext uri="{FF2B5EF4-FFF2-40B4-BE49-F238E27FC236}">
                    <a16:creationId xmlns:a16="http://schemas.microsoft.com/office/drawing/2014/main" id="{52BAFB3E-43DF-5D4F-9B47-ED8E70F85C1D}"/>
                  </a:ext>
                </a:extLst>
              </p:cNvPr>
              <p:cNvSpPr txBox="1"/>
              <p:nvPr/>
            </p:nvSpPr>
            <p:spPr>
              <a:xfrm>
                <a:off x="665833" y="2744923"/>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grpSp>
        <p:grpSp>
          <p:nvGrpSpPr>
            <p:cNvPr id="79" name="Group 78">
              <a:extLst>
                <a:ext uri="{FF2B5EF4-FFF2-40B4-BE49-F238E27FC236}">
                  <a16:creationId xmlns:a16="http://schemas.microsoft.com/office/drawing/2014/main" id="{814260EC-1E85-B04E-A37C-1AC84DE6EADB}"/>
                </a:ext>
              </a:extLst>
            </p:cNvPr>
            <p:cNvGrpSpPr/>
            <p:nvPr/>
          </p:nvGrpSpPr>
          <p:grpSpPr>
            <a:xfrm>
              <a:off x="1142119" y="2244009"/>
              <a:ext cx="2772000" cy="1315889"/>
              <a:chOff x="539552" y="2708920"/>
              <a:chExt cx="1872208" cy="1315889"/>
            </a:xfrm>
          </p:grpSpPr>
          <p:sp>
            <p:nvSpPr>
              <p:cNvPr id="80" name="Rounded Rectangle 105">
                <a:extLst>
                  <a:ext uri="{FF2B5EF4-FFF2-40B4-BE49-F238E27FC236}">
                    <a16:creationId xmlns:a16="http://schemas.microsoft.com/office/drawing/2014/main" id="{95CB90EE-5933-6442-A1FA-0645766F9822}"/>
                  </a:ext>
                </a:extLst>
              </p:cNvPr>
              <p:cNvSpPr/>
              <p:nvPr/>
            </p:nvSpPr>
            <p:spPr>
              <a:xfrm>
                <a:off x="611560" y="2708920"/>
                <a:ext cx="1728192" cy="379785"/>
              </a:xfrm>
              <a:prstGeom prst="roundRect">
                <a:avLst>
                  <a:gd name="adj" fmla="val 50000"/>
                </a:avLst>
              </a:prstGeom>
              <a:solidFill>
                <a:schemeClr val="accent3"/>
              </a:solid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1" name="TextBox 80">
                <a:extLst>
                  <a:ext uri="{FF2B5EF4-FFF2-40B4-BE49-F238E27FC236}">
                    <a16:creationId xmlns:a16="http://schemas.microsoft.com/office/drawing/2014/main" id="{F71F692F-0708-544E-A520-1D2A403DFF19}"/>
                  </a:ext>
                </a:extLst>
              </p:cNvPr>
              <p:cNvSpPr txBox="1"/>
              <p:nvPr/>
            </p:nvSpPr>
            <p:spPr>
              <a:xfrm>
                <a:off x="539552" y="3193812"/>
                <a:ext cx="1872208" cy="830997"/>
              </a:xfrm>
              <a:prstGeom prst="rect">
                <a:avLst/>
              </a:prstGeom>
              <a:noFill/>
            </p:spPr>
            <p:txBody>
              <a:bodyPr wrap="square" rtlCol="0">
                <a:spAutoFit/>
              </a:bodyPr>
              <a:lstStyle/>
              <a:p>
                <a:r>
                  <a:rPr lang="en-US" altLang="ko-KR" sz="1200">
                    <a:solidFill>
                      <a:schemeClr val="tx1">
                        <a:lumMod val="75000"/>
                        <a:lumOff val="25000"/>
                      </a:schemeClr>
                    </a:solidFill>
                    <a:latin typeface="Arial" pitchFamily="34" charset="0"/>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r>
                  <a:rPr lang="en-US" altLang="ko-KR" sz="1200">
                    <a:solidFill>
                      <a:schemeClr val="tx1">
                        <a:lumMod val="75000"/>
                        <a:lumOff val="25000"/>
                      </a:schemeClr>
                    </a:solidFill>
                    <a:latin typeface="Arial" pitchFamily="34" charset="0"/>
                    <a:cs typeface="Arial" pitchFamily="34" charset="0"/>
                  </a:rPr>
                  <a:t> </a:t>
                </a:r>
              </a:p>
            </p:txBody>
          </p:sp>
          <p:sp>
            <p:nvSpPr>
              <p:cNvPr id="82" name="TextBox 81">
                <a:extLst>
                  <a:ext uri="{FF2B5EF4-FFF2-40B4-BE49-F238E27FC236}">
                    <a16:creationId xmlns:a16="http://schemas.microsoft.com/office/drawing/2014/main" id="{F018DABB-4F88-B94D-9357-4F8E5CE52B56}"/>
                  </a:ext>
                </a:extLst>
              </p:cNvPr>
              <p:cNvSpPr txBox="1"/>
              <p:nvPr/>
            </p:nvSpPr>
            <p:spPr>
              <a:xfrm>
                <a:off x="665833" y="2744923"/>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grpSp>
        <p:sp>
          <p:nvSpPr>
            <p:cNvPr id="83" name="TextBox 82">
              <a:extLst>
                <a:ext uri="{FF2B5EF4-FFF2-40B4-BE49-F238E27FC236}">
                  <a16:creationId xmlns:a16="http://schemas.microsoft.com/office/drawing/2014/main" id="{DFE0591C-9FB1-844F-9F3C-A91BC992B5A7}"/>
                </a:ext>
              </a:extLst>
            </p:cNvPr>
            <p:cNvSpPr txBox="1"/>
            <p:nvPr/>
          </p:nvSpPr>
          <p:spPr>
            <a:xfrm>
              <a:off x="5284304" y="4259436"/>
              <a:ext cx="1619647" cy="307777"/>
            </a:xfrm>
            <a:prstGeom prst="rect">
              <a:avLst/>
            </a:prstGeom>
            <a:noFill/>
          </p:spPr>
          <p:txBody>
            <a:bodyPr wrap="square" rtlCol="0">
              <a:spAutoFit/>
            </a:bodyPr>
            <a:lstStyle/>
            <a:p>
              <a:pPr algn="ctr"/>
              <a:r>
                <a:rPr lang="en-US" altLang="ko-KR" sz="1400" b="1">
                  <a:solidFill>
                    <a:schemeClr val="bg1"/>
                  </a:solidFill>
                  <a:cs typeface="Arial" pitchFamily="34" charset="0"/>
                </a:rPr>
                <a:t>Contents Title</a:t>
              </a:r>
              <a:endParaRPr lang="ko-KR" altLang="en-US" sz="1400" b="1">
                <a:solidFill>
                  <a:schemeClr val="bg1"/>
                </a:solidFill>
                <a:cs typeface="Arial" pitchFamily="34" charset="0"/>
              </a:endParaRPr>
            </a:p>
          </p:txBody>
        </p:sp>
        <p:sp>
          <p:nvSpPr>
            <p:cNvPr id="84" name="Rectangle 16">
              <a:extLst>
                <a:ext uri="{FF2B5EF4-FFF2-40B4-BE49-F238E27FC236}">
                  <a16:creationId xmlns:a16="http://schemas.microsoft.com/office/drawing/2014/main" id="{6DD59E28-994F-E543-B7C7-5FE287AE6BC4}"/>
                </a:ext>
              </a:extLst>
            </p:cNvPr>
            <p:cNvSpPr/>
            <p:nvPr/>
          </p:nvSpPr>
          <p:spPr>
            <a:xfrm rot="2700000">
              <a:off x="4388397" y="2687818"/>
              <a:ext cx="265920" cy="47674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85" name="Rectangle 36">
              <a:extLst>
                <a:ext uri="{FF2B5EF4-FFF2-40B4-BE49-F238E27FC236}">
                  <a16:creationId xmlns:a16="http://schemas.microsoft.com/office/drawing/2014/main" id="{A234AE00-5779-264E-937D-CFAED373DA24}"/>
                </a:ext>
              </a:extLst>
            </p:cNvPr>
            <p:cNvSpPr/>
            <p:nvPr/>
          </p:nvSpPr>
          <p:spPr>
            <a:xfrm>
              <a:off x="4078706" y="5467778"/>
              <a:ext cx="389370" cy="325482"/>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86" name="Round Same Side Corner Rectangle 36">
              <a:extLst>
                <a:ext uri="{FF2B5EF4-FFF2-40B4-BE49-F238E27FC236}">
                  <a16:creationId xmlns:a16="http://schemas.microsoft.com/office/drawing/2014/main" id="{B1F248D4-D7B6-A343-846C-2C381D464836}"/>
                </a:ext>
              </a:extLst>
            </p:cNvPr>
            <p:cNvSpPr>
              <a:spLocks noChangeAspect="1"/>
            </p:cNvSpPr>
            <p:nvPr/>
          </p:nvSpPr>
          <p:spPr>
            <a:xfrm>
              <a:off x="7732143" y="2426263"/>
              <a:ext cx="396000" cy="31308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87" name="Oval 21">
              <a:extLst>
                <a:ext uri="{FF2B5EF4-FFF2-40B4-BE49-F238E27FC236}">
                  <a16:creationId xmlns:a16="http://schemas.microsoft.com/office/drawing/2014/main" id="{C0110CFE-F482-1C45-A51E-29853D426493}"/>
                </a:ext>
              </a:extLst>
            </p:cNvPr>
            <p:cNvSpPr>
              <a:spLocks noChangeAspect="1"/>
            </p:cNvSpPr>
            <p:nvPr/>
          </p:nvSpPr>
          <p:spPr>
            <a:xfrm>
              <a:off x="7132643" y="4983778"/>
              <a:ext cx="381905" cy="385094"/>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88" name="Left Arrow 1">
              <a:extLst>
                <a:ext uri="{FF2B5EF4-FFF2-40B4-BE49-F238E27FC236}">
                  <a16:creationId xmlns:a16="http://schemas.microsoft.com/office/drawing/2014/main" id="{6AC4A255-5158-1948-83E0-3CA6FA600B17}"/>
                </a:ext>
              </a:extLst>
            </p:cNvPr>
            <p:cNvSpPr>
              <a:spLocks noChangeAspect="1"/>
            </p:cNvSpPr>
            <p:nvPr/>
          </p:nvSpPr>
          <p:spPr>
            <a:xfrm>
              <a:off x="5731070" y="3415926"/>
              <a:ext cx="726114" cy="706734"/>
            </a:xfrm>
            <a:custGeom>
              <a:avLst/>
              <a:gdLst/>
              <a:ahLst/>
              <a:cxnLst/>
              <a:rect l="l" t="t" r="r" b="b"/>
              <a:pathLst>
                <a:path w="3306630" h="3218379">
                  <a:moveTo>
                    <a:pt x="0" y="2085651"/>
                  </a:moveTo>
                  <a:cubicBezTo>
                    <a:pt x="253919" y="2342528"/>
                    <a:pt x="881542" y="2297196"/>
                    <a:pt x="1388167" y="2271654"/>
                  </a:cubicBezTo>
                  <a:lnTo>
                    <a:pt x="1417952" y="2988872"/>
                  </a:lnTo>
                  <a:lnTo>
                    <a:pt x="717647" y="2950294"/>
                  </a:lnTo>
                  <a:cubicBezTo>
                    <a:pt x="467617" y="2928101"/>
                    <a:pt x="217417" y="2555860"/>
                    <a:pt x="0" y="2085651"/>
                  </a:cubicBezTo>
                  <a:close/>
                  <a:moveTo>
                    <a:pt x="1969797" y="2019847"/>
                  </a:moveTo>
                  <a:lnTo>
                    <a:pt x="1969797" y="2274913"/>
                  </a:lnTo>
                  <a:lnTo>
                    <a:pt x="2657809" y="2274913"/>
                  </a:lnTo>
                  <a:cubicBezTo>
                    <a:pt x="2787205" y="2599270"/>
                    <a:pt x="2968360" y="2923626"/>
                    <a:pt x="2675062" y="2954686"/>
                  </a:cubicBezTo>
                  <a:lnTo>
                    <a:pt x="1969797" y="2963313"/>
                  </a:lnTo>
                  <a:lnTo>
                    <a:pt x="1969797" y="3218379"/>
                  </a:lnTo>
                  <a:lnTo>
                    <a:pt x="1429598" y="2619113"/>
                  </a:lnTo>
                  <a:close/>
                  <a:moveTo>
                    <a:pt x="2961009" y="1275432"/>
                  </a:moveTo>
                  <a:lnTo>
                    <a:pt x="3277752" y="1901203"/>
                  </a:lnTo>
                  <a:cubicBezTo>
                    <a:pt x="3383548" y="2128832"/>
                    <a:pt x="3186278" y="2531632"/>
                    <a:pt x="2887773" y="2955026"/>
                  </a:cubicBezTo>
                  <a:cubicBezTo>
                    <a:pt x="2983276" y="2606687"/>
                    <a:pt x="2630206" y="2085815"/>
                    <a:pt x="2354773" y="1659836"/>
                  </a:cubicBezTo>
                  <a:close/>
                  <a:moveTo>
                    <a:pt x="1019997" y="990789"/>
                  </a:moveTo>
                  <a:lnTo>
                    <a:pt x="1268877" y="1758248"/>
                  </a:lnTo>
                  <a:lnTo>
                    <a:pt x="1047983" y="1630715"/>
                  </a:lnTo>
                  <a:lnTo>
                    <a:pt x="703977" y="2226552"/>
                  </a:lnTo>
                  <a:cubicBezTo>
                    <a:pt x="358378" y="2176433"/>
                    <a:pt x="-13100" y="2171140"/>
                    <a:pt x="106650" y="1901606"/>
                  </a:cubicBezTo>
                  <a:lnTo>
                    <a:pt x="451811" y="1286515"/>
                  </a:lnTo>
                  <a:lnTo>
                    <a:pt x="230918" y="1158982"/>
                  </a:lnTo>
                  <a:close/>
                  <a:moveTo>
                    <a:pt x="2174825" y="119764"/>
                  </a:moveTo>
                  <a:cubicBezTo>
                    <a:pt x="2220451" y="119103"/>
                    <a:pt x="2264887" y="143875"/>
                    <a:pt x="2308274" y="203493"/>
                  </a:cubicBezTo>
                  <a:lnTo>
                    <a:pt x="2668377" y="809957"/>
                  </a:lnTo>
                  <a:lnTo>
                    <a:pt x="2889271" y="682424"/>
                  </a:lnTo>
                  <a:lnTo>
                    <a:pt x="2640391" y="1449883"/>
                  </a:lnTo>
                  <a:lnTo>
                    <a:pt x="1851312" y="1281690"/>
                  </a:lnTo>
                  <a:lnTo>
                    <a:pt x="2072206" y="1154157"/>
                  </a:lnTo>
                  <a:lnTo>
                    <a:pt x="1728200" y="558321"/>
                  </a:lnTo>
                  <a:cubicBezTo>
                    <a:pt x="1890352" y="352642"/>
                    <a:pt x="2037947" y="121750"/>
                    <a:pt x="2174825" y="119764"/>
                  </a:cubicBezTo>
                  <a:close/>
                  <a:moveTo>
                    <a:pt x="1831774" y="30"/>
                  </a:moveTo>
                  <a:cubicBezTo>
                    <a:pt x="1948530" y="539"/>
                    <a:pt x="2073232" y="7407"/>
                    <a:pt x="2202212" y="19111"/>
                  </a:cubicBezTo>
                  <a:cubicBezTo>
                    <a:pt x="1852790" y="110572"/>
                    <a:pt x="1578238" y="676776"/>
                    <a:pt x="1347045" y="1128297"/>
                  </a:cubicBezTo>
                  <a:lnTo>
                    <a:pt x="711024" y="795483"/>
                  </a:lnTo>
                  <a:lnTo>
                    <a:pt x="1094586" y="208291"/>
                  </a:lnTo>
                  <a:cubicBezTo>
                    <a:pt x="1202761" y="54213"/>
                    <a:pt x="1481508" y="-1496"/>
                    <a:pt x="1831774" y="3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208710669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3DC7EBB5-C04E-F148-B028-54CF2BE80238}"/>
              </a:ext>
            </a:extLst>
          </p:cNvPr>
          <p:cNvGraphicFramePr>
            <a:graphicFrameLocks noChangeAspect="1"/>
          </p:cNvGraphicFramePr>
          <p:nvPr>
            <p:custDataLst>
              <p:tags r:id="rId1"/>
            </p:custDataLst>
            <p:extLst>
              <p:ext uri="{D42A27DB-BD31-4B8C-83A1-F6EECF244321}">
                <p14:modId xmlns:p14="http://schemas.microsoft.com/office/powerpoint/2010/main" val="390773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24" name="Object 23" hidden="1">
                        <a:extLst>
                          <a:ext uri="{FF2B5EF4-FFF2-40B4-BE49-F238E27FC236}">
                            <a16:creationId xmlns:a16="http://schemas.microsoft.com/office/drawing/2014/main" id="{3DC7EBB5-C04E-F148-B028-54CF2BE8023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F3165A2-8E6A-7B4B-A402-8E75F39C5423}"/>
              </a:ext>
            </a:extLst>
          </p:cNvPr>
          <p:cNvSpPr>
            <a:spLocks noGrp="1"/>
          </p:cNvSpPr>
          <p:nvPr>
            <p:ph type="sldNum" sz="quarter" idx="4"/>
          </p:nvPr>
        </p:nvSpPr>
        <p:spPr/>
        <p:txBody>
          <a:bodyPr/>
          <a:lstStyle/>
          <a:p>
            <a:fld id="{3D966009-6E5A-4F8C-8CA7-E37AFBF5FB92}" type="slidenum">
              <a:rPr lang="en-US" smtClean="0"/>
              <a:t>131</a:t>
            </a:fld>
            <a:endParaRPr lang="en-US"/>
          </a:p>
        </p:txBody>
      </p:sp>
      <p:sp>
        <p:nvSpPr>
          <p:cNvPr id="3" name="Title 2">
            <a:extLst>
              <a:ext uri="{FF2B5EF4-FFF2-40B4-BE49-F238E27FC236}">
                <a16:creationId xmlns:a16="http://schemas.microsoft.com/office/drawing/2014/main" id="{AB9F24AE-8DB8-FB42-9973-E1F093DEEF3C}"/>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2ACF41A-94E8-3141-860E-D75D1561005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794BACA-78DB-3342-B609-BC3A1320BE1A}"/>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99D310B-401E-9944-830B-34686DBA10A9}"/>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0D0A760A-5333-6043-B1C2-06FFEBE692CA}"/>
              </a:ext>
            </a:extLst>
          </p:cNvPr>
          <p:cNvSpPr>
            <a:spLocks noGrp="1"/>
          </p:cNvSpPr>
          <p:nvPr>
            <p:ph sz="quarter" idx="14"/>
          </p:nvPr>
        </p:nvSpPr>
        <p:spPr/>
        <p:txBody>
          <a:bodyPr/>
          <a:lstStyle/>
          <a:p>
            <a:endParaRPr lang="en-GB"/>
          </a:p>
        </p:txBody>
      </p:sp>
      <p:grpSp>
        <p:nvGrpSpPr>
          <p:cNvPr id="23" name="Group 22">
            <a:extLst>
              <a:ext uri="{FF2B5EF4-FFF2-40B4-BE49-F238E27FC236}">
                <a16:creationId xmlns:a16="http://schemas.microsoft.com/office/drawing/2014/main" id="{7E421C1B-4FFB-7C4E-9AA4-8B4F48E3FF8C}"/>
              </a:ext>
            </a:extLst>
          </p:cNvPr>
          <p:cNvGrpSpPr/>
          <p:nvPr/>
        </p:nvGrpSpPr>
        <p:grpSpPr>
          <a:xfrm>
            <a:off x="386792" y="1609912"/>
            <a:ext cx="4214167" cy="4351699"/>
            <a:chOff x="386792" y="1609912"/>
            <a:chExt cx="4214167" cy="4351699"/>
          </a:xfrm>
        </p:grpSpPr>
        <p:cxnSp>
          <p:nvCxnSpPr>
            <p:cNvPr id="9" name="Straight Arrow Connector 8">
              <a:extLst>
                <a:ext uri="{FF2B5EF4-FFF2-40B4-BE49-F238E27FC236}">
                  <a16:creationId xmlns:a16="http://schemas.microsoft.com/office/drawing/2014/main" id="{50C8DFAA-5729-FC4E-9265-4543F8579295}"/>
                </a:ext>
              </a:extLst>
            </p:cNvPr>
            <p:cNvCxnSpPr>
              <a:cxnSpLocks/>
              <a:stCxn id="13" idx="6"/>
              <a:endCxn id="14" idx="3"/>
            </p:cNvCxnSpPr>
            <p:nvPr/>
          </p:nvCxnSpPr>
          <p:spPr>
            <a:xfrm flipV="1">
              <a:off x="1708982" y="2352985"/>
              <a:ext cx="1322442" cy="1439318"/>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234FF87-614C-AF42-8510-9FE3266C456E}"/>
                </a:ext>
              </a:extLst>
            </p:cNvPr>
            <p:cNvCxnSpPr>
              <a:cxnSpLocks/>
              <a:stCxn id="13" idx="6"/>
              <a:endCxn id="17" idx="2"/>
            </p:cNvCxnSpPr>
            <p:nvPr/>
          </p:nvCxnSpPr>
          <p:spPr>
            <a:xfrm flipV="1">
              <a:off x="1708982" y="3205572"/>
              <a:ext cx="2021413" cy="586731"/>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AE7CE16A-E885-9944-977E-CBA14C83ACC9}"/>
                </a:ext>
              </a:extLst>
            </p:cNvPr>
            <p:cNvCxnSpPr>
              <a:cxnSpLocks/>
              <a:stCxn id="13" idx="6"/>
              <a:endCxn id="15" idx="2"/>
            </p:cNvCxnSpPr>
            <p:nvPr/>
          </p:nvCxnSpPr>
          <p:spPr>
            <a:xfrm>
              <a:off x="1708982" y="3792303"/>
              <a:ext cx="2021413" cy="573647"/>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0CDEC8E-2E32-994B-B33F-483368F0A9CF}"/>
                </a:ext>
              </a:extLst>
            </p:cNvPr>
            <p:cNvCxnSpPr>
              <a:cxnSpLocks/>
              <a:stCxn id="13" idx="6"/>
              <a:endCxn id="16" idx="1"/>
            </p:cNvCxnSpPr>
            <p:nvPr/>
          </p:nvCxnSpPr>
          <p:spPr>
            <a:xfrm>
              <a:off x="1708982" y="3792303"/>
              <a:ext cx="1322442" cy="1426235"/>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5C72FAD6-F034-9349-936B-E0A5D327285C}"/>
                </a:ext>
              </a:extLst>
            </p:cNvPr>
            <p:cNvSpPr/>
            <p:nvPr/>
          </p:nvSpPr>
          <p:spPr>
            <a:xfrm>
              <a:off x="386792" y="3131208"/>
              <a:ext cx="1322190" cy="13221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4" name="Oval 13">
              <a:extLst>
                <a:ext uri="{FF2B5EF4-FFF2-40B4-BE49-F238E27FC236}">
                  <a16:creationId xmlns:a16="http://schemas.microsoft.com/office/drawing/2014/main" id="{19A47F7A-B83A-A94B-9A58-4D11FDEC291D}"/>
                </a:ext>
              </a:extLst>
            </p:cNvPr>
            <p:cNvSpPr/>
            <p:nvPr/>
          </p:nvSpPr>
          <p:spPr>
            <a:xfrm>
              <a:off x="2903933" y="1609912"/>
              <a:ext cx="870564" cy="87056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cs typeface="Arial" pitchFamily="34" charset="0"/>
              </a:endParaRPr>
            </a:p>
          </p:txBody>
        </p:sp>
        <p:sp>
          <p:nvSpPr>
            <p:cNvPr id="15" name="Oval 14">
              <a:extLst>
                <a:ext uri="{FF2B5EF4-FFF2-40B4-BE49-F238E27FC236}">
                  <a16:creationId xmlns:a16="http://schemas.microsoft.com/office/drawing/2014/main" id="{F7726D7E-2969-E146-9B09-F3D22152D959}"/>
                </a:ext>
              </a:extLst>
            </p:cNvPr>
            <p:cNvSpPr/>
            <p:nvPr/>
          </p:nvSpPr>
          <p:spPr>
            <a:xfrm>
              <a:off x="3730395" y="3930668"/>
              <a:ext cx="870564" cy="870564"/>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cs typeface="Arial" pitchFamily="34" charset="0"/>
              </a:endParaRPr>
            </a:p>
          </p:txBody>
        </p:sp>
        <p:sp>
          <p:nvSpPr>
            <p:cNvPr id="16" name="Oval 15">
              <a:extLst>
                <a:ext uri="{FF2B5EF4-FFF2-40B4-BE49-F238E27FC236}">
                  <a16:creationId xmlns:a16="http://schemas.microsoft.com/office/drawing/2014/main" id="{BE2FE3DA-BB80-5240-8D3A-144A055A05AB}"/>
                </a:ext>
              </a:extLst>
            </p:cNvPr>
            <p:cNvSpPr/>
            <p:nvPr/>
          </p:nvSpPr>
          <p:spPr>
            <a:xfrm>
              <a:off x="2903933" y="5091047"/>
              <a:ext cx="870564" cy="87056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cs typeface="Arial" pitchFamily="34" charset="0"/>
              </a:endParaRPr>
            </a:p>
          </p:txBody>
        </p:sp>
        <p:sp>
          <p:nvSpPr>
            <p:cNvPr id="17" name="Oval 16">
              <a:extLst>
                <a:ext uri="{FF2B5EF4-FFF2-40B4-BE49-F238E27FC236}">
                  <a16:creationId xmlns:a16="http://schemas.microsoft.com/office/drawing/2014/main" id="{214D45E8-A504-7143-8F63-9346ADF70128}"/>
                </a:ext>
              </a:extLst>
            </p:cNvPr>
            <p:cNvSpPr/>
            <p:nvPr/>
          </p:nvSpPr>
          <p:spPr>
            <a:xfrm>
              <a:off x="3730395" y="2770290"/>
              <a:ext cx="870564" cy="87056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b="1">
                <a:cs typeface="Arial" pitchFamily="34" charset="0"/>
              </a:endParaRPr>
            </a:p>
          </p:txBody>
        </p:sp>
        <p:sp>
          <p:nvSpPr>
            <p:cNvPr id="18" name="Block Arc 14">
              <a:extLst>
                <a:ext uri="{FF2B5EF4-FFF2-40B4-BE49-F238E27FC236}">
                  <a16:creationId xmlns:a16="http://schemas.microsoft.com/office/drawing/2014/main" id="{FAE6D3E5-4166-7840-AE9A-1B62B900CE27}"/>
                </a:ext>
              </a:extLst>
            </p:cNvPr>
            <p:cNvSpPr/>
            <p:nvPr/>
          </p:nvSpPr>
          <p:spPr>
            <a:xfrm rot="16200000">
              <a:off x="755429" y="3490167"/>
              <a:ext cx="603871" cy="604268"/>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19" name="Isosceles Triangle 51">
              <a:extLst>
                <a:ext uri="{FF2B5EF4-FFF2-40B4-BE49-F238E27FC236}">
                  <a16:creationId xmlns:a16="http://schemas.microsoft.com/office/drawing/2014/main" id="{77A41240-6574-774A-AF4F-F20916EE8DBF}"/>
                </a:ext>
              </a:extLst>
            </p:cNvPr>
            <p:cNvSpPr/>
            <p:nvPr/>
          </p:nvSpPr>
          <p:spPr>
            <a:xfrm>
              <a:off x="3156056" y="1920346"/>
              <a:ext cx="333042" cy="244221"/>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0" name="Rounded Rectangle 6">
              <a:extLst>
                <a:ext uri="{FF2B5EF4-FFF2-40B4-BE49-F238E27FC236}">
                  <a16:creationId xmlns:a16="http://schemas.microsoft.com/office/drawing/2014/main" id="{575B4B15-BC7B-4742-A998-DE1F42C88AF0}"/>
                </a:ext>
              </a:extLst>
            </p:cNvPr>
            <p:cNvSpPr/>
            <p:nvPr/>
          </p:nvSpPr>
          <p:spPr>
            <a:xfrm>
              <a:off x="3997762" y="3037674"/>
              <a:ext cx="345998" cy="351772"/>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1" name="Teardrop 1">
              <a:extLst>
                <a:ext uri="{FF2B5EF4-FFF2-40B4-BE49-F238E27FC236}">
                  <a16:creationId xmlns:a16="http://schemas.microsoft.com/office/drawing/2014/main" id="{AEA4B8AD-3792-AB4F-81D7-D4708049C82A}"/>
                </a:ext>
              </a:extLst>
            </p:cNvPr>
            <p:cNvSpPr/>
            <p:nvPr/>
          </p:nvSpPr>
          <p:spPr>
            <a:xfrm rot="18805991">
              <a:off x="4001102" y="4179484"/>
              <a:ext cx="376862" cy="37293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22" name="Rounded Rectangle 27">
              <a:extLst>
                <a:ext uri="{FF2B5EF4-FFF2-40B4-BE49-F238E27FC236}">
                  <a16:creationId xmlns:a16="http://schemas.microsoft.com/office/drawing/2014/main" id="{1DFD68A1-B180-4443-95D3-9A99049F5CAC}"/>
                </a:ext>
              </a:extLst>
            </p:cNvPr>
            <p:cNvSpPr/>
            <p:nvPr/>
          </p:nvSpPr>
          <p:spPr>
            <a:xfrm>
              <a:off x="3166017" y="5393290"/>
              <a:ext cx="346396" cy="26607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28000701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425BC4-5904-5749-9D49-0CC681C1877C}"/>
              </a:ext>
            </a:extLst>
          </p:cNvPr>
          <p:cNvSpPr>
            <a:spLocks noGrp="1"/>
          </p:cNvSpPr>
          <p:nvPr>
            <p:ph type="sldNum" sz="quarter" idx="4"/>
          </p:nvPr>
        </p:nvSpPr>
        <p:spPr/>
        <p:txBody>
          <a:bodyPr/>
          <a:lstStyle/>
          <a:p>
            <a:fld id="{3D966009-6E5A-4F8C-8CA7-E37AFBF5FB92}" type="slidenum">
              <a:rPr lang="en-US" smtClean="0"/>
              <a:t>132</a:t>
            </a:fld>
            <a:endParaRPr lang="en-US"/>
          </a:p>
        </p:txBody>
      </p:sp>
      <p:sp>
        <p:nvSpPr>
          <p:cNvPr id="3" name="Title 2">
            <a:extLst>
              <a:ext uri="{FF2B5EF4-FFF2-40B4-BE49-F238E27FC236}">
                <a16:creationId xmlns:a16="http://schemas.microsoft.com/office/drawing/2014/main" id="{9CD47BC0-76F1-1641-8DE9-C9BC3BD07FEA}"/>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39035F8-128C-4746-8A2D-CD914EDD415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8652BF8-FB85-AB42-8DBC-9D94DF451840}"/>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BBC7466B-879C-6C4D-8712-A7437971DC71}"/>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21ECBB5B-09D8-774E-A936-4634065DC55A}"/>
              </a:ext>
            </a:extLst>
          </p:cNvPr>
          <p:cNvSpPr>
            <a:spLocks noGrp="1"/>
          </p:cNvSpPr>
          <p:nvPr>
            <p:ph sz="quarter" idx="14"/>
          </p:nvPr>
        </p:nvSpPr>
        <p:spPr/>
        <p:txBody>
          <a:bodyPr/>
          <a:lstStyle/>
          <a:p>
            <a:endParaRPr lang="en-GB"/>
          </a:p>
        </p:txBody>
      </p:sp>
      <p:grpSp>
        <p:nvGrpSpPr>
          <p:cNvPr id="44" name="Group 43">
            <a:extLst>
              <a:ext uri="{FF2B5EF4-FFF2-40B4-BE49-F238E27FC236}">
                <a16:creationId xmlns:a16="http://schemas.microsoft.com/office/drawing/2014/main" id="{30910722-0CAA-B941-98FB-F1C788308E23}"/>
              </a:ext>
            </a:extLst>
          </p:cNvPr>
          <p:cNvGrpSpPr/>
          <p:nvPr/>
        </p:nvGrpSpPr>
        <p:grpSpPr>
          <a:xfrm>
            <a:off x="637034" y="1996138"/>
            <a:ext cx="8064896" cy="3415702"/>
            <a:chOff x="683568" y="1236117"/>
            <a:chExt cx="8064896" cy="3415702"/>
          </a:xfrm>
        </p:grpSpPr>
        <p:sp>
          <p:nvSpPr>
            <p:cNvPr id="9" name="TextBox 8">
              <a:extLst>
                <a:ext uri="{FF2B5EF4-FFF2-40B4-BE49-F238E27FC236}">
                  <a16:creationId xmlns:a16="http://schemas.microsoft.com/office/drawing/2014/main" id="{65A2D2AF-5DDB-6443-B436-A2831CBB611A}"/>
                </a:ext>
              </a:extLst>
            </p:cNvPr>
            <p:cNvSpPr txBox="1"/>
            <p:nvPr/>
          </p:nvSpPr>
          <p:spPr>
            <a:xfrm flipH="1">
              <a:off x="3320693" y="1254698"/>
              <a:ext cx="1437972"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sp>
          <p:nvSpPr>
            <p:cNvPr id="10" name="TextBox 9">
              <a:extLst>
                <a:ext uri="{FF2B5EF4-FFF2-40B4-BE49-F238E27FC236}">
                  <a16:creationId xmlns:a16="http://schemas.microsoft.com/office/drawing/2014/main" id="{8FD3B4BD-AA8E-6041-B918-57471B8B8FD0}"/>
                </a:ext>
              </a:extLst>
            </p:cNvPr>
            <p:cNvSpPr txBox="1"/>
            <p:nvPr/>
          </p:nvSpPr>
          <p:spPr>
            <a:xfrm flipH="1">
              <a:off x="4910998" y="1963596"/>
              <a:ext cx="1437972"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sp>
          <p:nvSpPr>
            <p:cNvPr id="11" name="TextBox 10">
              <a:extLst>
                <a:ext uri="{FF2B5EF4-FFF2-40B4-BE49-F238E27FC236}">
                  <a16:creationId xmlns:a16="http://schemas.microsoft.com/office/drawing/2014/main" id="{1A10625C-E166-3E40-B937-AF74F7646F55}"/>
                </a:ext>
              </a:extLst>
            </p:cNvPr>
            <p:cNvSpPr txBox="1"/>
            <p:nvPr/>
          </p:nvSpPr>
          <p:spPr>
            <a:xfrm flipH="1">
              <a:off x="4195575" y="2587198"/>
              <a:ext cx="1437972"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sp>
          <p:nvSpPr>
            <p:cNvPr id="12" name="TextBox 11">
              <a:extLst>
                <a:ext uri="{FF2B5EF4-FFF2-40B4-BE49-F238E27FC236}">
                  <a16:creationId xmlns:a16="http://schemas.microsoft.com/office/drawing/2014/main" id="{ECC8D036-2796-8D48-8B9E-9C94C38DA92C}"/>
                </a:ext>
              </a:extLst>
            </p:cNvPr>
            <p:cNvSpPr txBox="1"/>
            <p:nvPr/>
          </p:nvSpPr>
          <p:spPr>
            <a:xfrm flipH="1">
              <a:off x="4646196" y="3286576"/>
              <a:ext cx="1437972"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sp>
          <p:nvSpPr>
            <p:cNvPr id="13" name="TextBox 12">
              <a:extLst>
                <a:ext uri="{FF2B5EF4-FFF2-40B4-BE49-F238E27FC236}">
                  <a16:creationId xmlns:a16="http://schemas.microsoft.com/office/drawing/2014/main" id="{E04764A9-DAA2-AB4A-95E0-5D9336F3BCF3}"/>
                </a:ext>
              </a:extLst>
            </p:cNvPr>
            <p:cNvSpPr txBox="1"/>
            <p:nvPr/>
          </p:nvSpPr>
          <p:spPr>
            <a:xfrm flipH="1">
              <a:off x="2946538" y="4319975"/>
              <a:ext cx="1437972"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nvGrpSpPr>
            <p:cNvPr id="14" name="Group 13">
              <a:extLst>
                <a:ext uri="{FF2B5EF4-FFF2-40B4-BE49-F238E27FC236}">
                  <a16:creationId xmlns:a16="http://schemas.microsoft.com/office/drawing/2014/main" id="{0B843A90-3B8D-324E-A63E-CD58896C20FE}"/>
                </a:ext>
              </a:extLst>
            </p:cNvPr>
            <p:cNvGrpSpPr/>
            <p:nvPr/>
          </p:nvGrpSpPr>
          <p:grpSpPr>
            <a:xfrm>
              <a:off x="2157816" y="1236117"/>
              <a:ext cx="5222496" cy="3402413"/>
              <a:chOff x="2157816" y="1243151"/>
              <a:chExt cx="5222496" cy="3402413"/>
            </a:xfrm>
          </p:grpSpPr>
          <p:sp>
            <p:nvSpPr>
              <p:cNvPr id="15" name="Oval 14">
                <a:extLst>
                  <a:ext uri="{FF2B5EF4-FFF2-40B4-BE49-F238E27FC236}">
                    <a16:creationId xmlns:a16="http://schemas.microsoft.com/office/drawing/2014/main" id="{48B9434A-EB90-8F43-A9F6-151A98957FB0}"/>
                  </a:ext>
                </a:extLst>
              </p:cNvPr>
              <p:cNvSpPr/>
              <p:nvPr/>
            </p:nvSpPr>
            <p:spPr>
              <a:xfrm flipH="1">
                <a:off x="4777812" y="1243151"/>
                <a:ext cx="720080" cy="72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6" name="Oval 15">
                <a:extLst>
                  <a:ext uri="{FF2B5EF4-FFF2-40B4-BE49-F238E27FC236}">
                    <a16:creationId xmlns:a16="http://schemas.microsoft.com/office/drawing/2014/main" id="{B26EED03-A1D8-5049-8A4A-064F97DF6F78}"/>
                  </a:ext>
                </a:extLst>
              </p:cNvPr>
              <p:cNvSpPr/>
              <p:nvPr/>
            </p:nvSpPr>
            <p:spPr>
              <a:xfrm flipH="1">
                <a:off x="6361988" y="1913734"/>
                <a:ext cx="720080" cy="72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Oval 16">
                <a:extLst>
                  <a:ext uri="{FF2B5EF4-FFF2-40B4-BE49-F238E27FC236}">
                    <a16:creationId xmlns:a16="http://schemas.microsoft.com/office/drawing/2014/main" id="{9877AC97-D4E4-D849-B014-239AC4BB4CD6}"/>
                  </a:ext>
                </a:extLst>
              </p:cNvPr>
              <p:cNvSpPr/>
              <p:nvPr/>
            </p:nvSpPr>
            <p:spPr>
              <a:xfrm flipH="1">
                <a:off x="5641908" y="2566496"/>
                <a:ext cx="720080" cy="72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8" name="Oval 17">
                <a:extLst>
                  <a:ext uri="{FF2B5EF4-FFF2-40B4-BE49-F238E27FC236}">
                    <a16:creationId xmlns:a16="http://schemas.microsoft.com/office/drawing/2014/main" id="{9BE1E300-52CC-8A4B-BD92-DAF086716DAD}"/>
                  </a:ext>
                </a:extLst>
              </p:cNvPr>
              <p:cNvSpPr/>
              <p:nvPr/>
            </p:nvSpPr>
            <p:spPr>
              <a:xfrm flipH="1">
                <a:off x="6660232" y="3254900"/>
                <a:ext cx="720080" cy="72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9" name="Oval 18">
                <a:extLst>
                  <a:ext uri="{FF2B5EF4-FFF2-40B4-BE49-F238E27FC236}">
                    <a16:creationId xmlns:a16="http://schemas.microsoft.com/office/drawing/2014/main" id="{98972FFB-8569-BB47-B19F-2FAE3975068F}"/>
                  </a:ext>
                </a:extLst>
              </p:cNvPr>
              <p:cNvSpPr/>
              <p:nvPr/>
            </p:nvSpPr>
            <p:spPr>
              <a:xfrm flipH="1">
                <a:off x="4416313" y="3925484"/>
                <a:ext cx="720080" cy="72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cxnSp>
            <p:nvCxnSpPr>
              <p:cNvPr id="20" name="Elbow Connector 19">
                <a:extLst>
                  <a:ext uri="{FF2B5EF4-FFF2-40B4-BE49-F238E27FC236}">
                    <a16:creationId xmlns:a16="http://schemas.microsoft.com/office/drawing/2014/main" id="{F57FBC98-3869-344E-BE87-82722B201F94}"/>
                  </a:ext>
                </a:extLst>
              </p:cNvPr>
              <p:cNvCxnSpPr/>
              <p:nvPr/>
            </p:nvCxnSpPr>
            <p:spPr>
              <a:xfrm rot="10800000" flipH="1">
                <a:off x="2165768" y="1597906"/>
                <a:ext cx="2612044" cy="956481"/>
              </a:xfrm>
              <a:prstGeom prst="bentConnector3">
                <a:avLst/>
              </a:prstGeom>
              <a:ln w="635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A147A030-EB7B-8D42-B9D7-D9DF6A3C1A12}"/>
                  </a:ext>
                </a:extLst>
              </p:cNvPr>
              <p:cNvCxnSpPr>
                <a:endCxn id="16" idx="6"/>
              </p:cNvCxnSpPr>
              <p:nvPr/>
            </p:nvCxnSpPr>
            <p:spPr>
              <a:xfrm rot="10800000" flipH="1">
                <a:off x="2157816" y="2273775"/>
                <a:ext cx="4204171" cy="476729"/>
              </a:xfrm>
              <a:prstGeom prst="bentConnector3">
                <a:avLst>
                  <a:gd name="adj1" fmla="val 50000"/>
                </a:avLst>
              </a:prstGeom>
              <a:ln w="635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4982211-95B3-CE47-84D5-9B49070AC0AD}"/>
                  </a:ext>
                </a:extLst>
              </p:cNvPr>
              <p:cNvCxnSpPr>
                <a:cxnSpLocks/>
                <a:endCxn id="17" idx="6"/>
              </p:cNvCxnSpPr>
              <p:nvPr/>
            </p:nvCxnSpPr>
            <p:spPr>
              <a:xfrm flipV="1">
                <a:off x="2173719" y="2926536"/>
                <a:ext cx="3468189" cy="17577"/>
              </a:xfrm>
              <a:prstGeom prst="straightConnector1">
                <a:avLst/>
              </a:prstGeom>
              <a:ln w="635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7143ABC1-629F-E944-94AD-10A0A82E95FD}"/>
                  </a:ext>
                </a:extLst>
              </p:cNvPr>
              <p:cNvCxnSpPr>
                <a:endCxn id="18" idx="6"/>
              </p:cNvCxnSpPr>
              <p:nvPr/>
            </p:nvCxnSpPr>
            <p:spPr>
              <a:xfrm>
                <a:off x="2173719" y="3132166"/>
                <a:ext cx="4486513" cy="482774"/>
              </a:xfrm>
              <a:prstGeom prst="bentConnector3">
                <a:avLst>
                  <a:gd name="adj1" fmla="val 55191"/>
                </a:avLst>
              </a:prstGeom>
              <a:ln w="635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4D08027F-267A-2743-9D7A-11ABD35578FE}"/>
                  </a:ext>
                </a:extLst>
              </p:cNvPr>
              <p:cNvCxnSpPr/>
              <p:nvPr/>
            </p:nvCxnSpPr>
            <p:spPr>
              <a:xfrm rot="10800000" flipH="1" flipV="1">
                <a:off x="2176909" y="3336112"/>
                <a:ext cx="2239404" cy="981127"/>
              </a:xfrm>
              <a:prstGeom prst="bentConnector3">
                <a:avLst/>
              </a:prstGeom>
              <a:ln w="635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6F84BFB-E1D2-CF42-9457-A998E4D0316A}"/>
                  </a:ext>
                </a:extLst>
              </p:cNvPr>
              <p:cNvCxnSpPr/>
              <p:nvPr/>
            </p:nvCxnSpPr>
            <p:spPr>
              <a:xfrm flipH="1">
                <a:off x="2171338" y="2522293"/>
                <a:ext cx="5571" cy="848838"/>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6" name="Heart 17">
              <a:extLst>
                <a:ext uri="{FF2B5EF4-FFF2-40B4-BE49-F238E27FC236}">
                  <a16:creationId xmlns:a16="http://schemas.microsoft.com/office/drawing/2014/main" id="{126CBD3F-AA2F-D740-AC39-7365868E2E59}"/>
                </a:ext>
              </a:extLst>
            </p:cNvPr>
            <p:cNvSpPr/>
            <p:nvPr/>
          </p:nvSpPr>
          <p:spPr>
            <a:xfrm>
              <a:off x="4607635" y="4154365"/>
              <a:ext cx="336563" cy="329987"/>
            </a:xfrm>
            <a:custGeom>
              <a:avLst/>
              <a:gdLst/>
              <a:ahLst/>
              <a:cxnLst/>
              <a:rect l="l" t="t" r="r" b="b"/>
              <a:pathLst>
                <a:path w="3263621" h="3199863">
                  <a:moveTo>
                    <a:pt x="1896188" y="786599"/>
                  </a:moveTo>
                  <a:cubicBezTo>
                    <a:pt x="1878938" y="786251"/>
                    <a:pt x="1861335" y="789280"/>
                    <a:pt x="1844305" y="796082"/>
                  </a:cubicBezTo>
                  <a:cubicBezTo>
                    <a:pt x="1792333" y="816839"/>
                    <a:pt x="1760707" y="866742"/>
                    <a:pt x="1761231" y="919486"/>
                  </a:cubicBezTo>
                  <a:lnTo>
                    <a:pt x="1573886" y="1618665"/>
                  </a:lnTo>
                  <a:lnTo>
                    <a:pt x="1438574" y="1113672"/>
                  </a:lnTo>
                  <a:cubicBezTo>
                    <a:pt x="1424335" y="1060531"/>
                    <a:pt x="1379808" y="1023594"/>
                    <a:pt x="1328543" y="1016456"/>
                  </a:cubicBezTo>
                  <a:cubicBezTo>
                    <a:pt x="1320071" y="1015276"/>
                    <a:pt x="1311415" y="1014911"/>
                    <a:pt x="1302836" y="1018067"/>
                  </a:cubicBezTo>
                  <a:lnTo>
                    <a:pt x="1300556" y="1017667"/>
                  </a:lnTo>
                  <a:cubicBezTo>
                    <a:pt x="1298914" y="1017711"/>
                    <a:pt x="1297275" y="1017786"/>
                    <a:pt x="1295680" y="1018515"/>
                  </a:cubicBezTo>
                  <a:lnTo>
                    <a:pt x="1275904" y="1019755"/>
                  </a:lnTo>
                  <a:cubicBezTo>
                    <a:pt x="1273459" y="1020410"/>
                    <a:pt x="1271049" y="1021129"/>
                    <a:pt x="1269080" y="1023145"/>
                  </a:cubicBezTo>
                  <a:cubicBezTo>
                    <a:pt x="1229892" y="1033156"/>
                    <a:pt x="1196286" y="1061513"/>
                    <a:pt x="1180414" y="1102068"/>
                  </a:cubicBezTo>
                  <a:lnTo>
                    <a:pt x="902406" y="1812437"/>
                  </a:lnTo>
                  <a:lnTo>
                    <a:pt x="612897" y="1812437"/>
                  </a:lnTo>
                  <a:cubicBezTo>
                    <a:pt x="539543" y="1812437"/>
                    <a:pt x="480078" y="1871902"/>
                    <a:pt x="480078" y="1945256"/>
                  </a:cubicBezTo>
                  <a:cubicBezTo>
                    <a:pt x="480078" y="2018610"/>
                    <a:pt x="539543" y="2078075"/>
                    <a:pt x="612897" y="2078075"/>
                  </a:cubicBezTo>
                  <a:lnTo>
                    <a:pt x="966673" y="2078075"/>
                  </a:lnTo>
                  <a:cubicBezTo>
                    <a:pt x="1008666" y="2088839"/>
                    <a:pt x="1051924" y="2075535"/>
                    <a:pt x="1081835" y="2045978"/>
                  </a:cubicBezTo>
                  <a:cubicBezTo>
                    <a:pt x="1105846" y="2028294"/>
                    <a:pt x="1122213" y="2001701"/>
                    <a:pt x="1125659" y="1970866"/>
                  </a:cubicBezTo>
                  <a:lnTo>
                    <a:pt x="1284498" y="1565001"/>
                  </a:lnTo>
                  <a:lnTo>
                    <a:pt x="1443089" y="2156868"/>
                  </a:lnTo>
                  <a:cubicBezTo>
                    <a:pt x="1455914" y="2204733"/>
                    <a:pt x="1493311" y="2239452"/>
                    <a:pt x="1538593" y="2249086"/>
                  </a:cubicBezTo>
                  <a:lnTo>
                    <a:pt x="1542015" y="2250785"/>
                  </a:lnTo>
                  <a:cubicBezTo>
                    <a:pt x="1542604" y="2250943"/>
                    <a:pt x="1543193" y="2251097"/>
                    <a:pt x="1543870" y="2250902"/>
                  </a:cubicBezTo>
                  <a:cubicBezTo>
                    <a:pt x="1553422" y="2254514"/>
                    <a:pt x="1563610" y="2255524"/>
                    <a:pt x="1573886" y="2252783"/>
                  </a:cubicBezTo>
                  <a:cubicBezTo>
                    <a:pt x="1584162" y="2255524"/>
                    <a:pt x="1594351" y="2254515"/>
                    <a:pt x="1603903" y="2250901"/>
                  </a:cubicBezTo>
                  <a:lnTo>
                    <a:pt x="1605758" y="2250785"/>
                  </a:lnTo>
                  <a:cubicBezTo>
                    <a:pt x="1606974" y="2250459"/>
                    <a:pt x="1608181" y="2250118"/>
                    <a:pt x="1609178" y="2249086"/>
                  </a:cubicBezTo>
                  <a:cubicBezTo>
                    <a:pt x="1654461" y="2239453"/>
                    <a:pt x="1691859" y="2204734"/>
                    <a:pt x="1704684" y="2156868"/>
                  </a:cubicBezTo>
                  <a:lnTo>
                    <a:pt x="1921541" y="1347547"/>
                  </a:lnTo>
                  <a:lnTo>
                    <a:pt x="2181705" y="1998928"/>
                  </a:lnTo>
                  <a:cubicBezTo>
                    <a:pt x="2205326" y="2058070"/>
                    <a:pt x="2266689" y="2090865"/>
                    <a:pt x="2326593" y="2078075"/>
                  </a:cubicBezTo>
                  <a:lnTo>
                    <a:pt x="2671200" y="2078075"/>
                  </a:lnTo>
                  <a:cubicBezTo>
                    <a:pt x="2744554" y="2078075"/>
                    <a:pt x="2804019" y="2018610"/>
                    <a:pt x="2804019" y="1945256"/>
                  </a:cubicBezTo>
                  <a:cubicBezTo>
                    <a:pt x="2804019" y="1871902"/>
                    <a:pt x="2744554" y="1812437"/>
                    <a:pt x="2671200" y="1812437"/>
                  </a:cubicBezTo>
                  <a:lnTo>
                    <a:pt x="2393261" y="1812437"/>
                  </a:lnTo>
                  <a:lnTo>
                    <a:pt x="2016914" y="870162"/>
                  </a:lnTo>
                  <a:cubicBezTo>
                    <a:pt x="1996508" y="819071"/>
                    <a:pt x="1947937" y="787642"/>
                    <a:pt x="1896188" y="786599"/>
                  </a:cubicBezTo>
                  <a:close/>
                  <a:moveTo>
                    <a:pt x="773454" y="106"/>
                  </a:moveTo>
                  <a:cubicBezTo>
                    <a:pt x="1097282" y="5742"/>
                    <a:pt x="1441967" y="238301"/>
                    <a:pt x="1631811" y="769863"/>
                  </a:cubicBezTo>
                  <a:cubicBezTo>
                    <a:pt x="2306811" y="-1120137"/>
                    <a:pt x="4939311" y="769863"/>
                    <a:pt x="1631811" y="3199863"/>
                  </a:cubicBezTo>
                  <a:cubicBezTo>
                    <a:pt x="-745455" y="1453301"/>
                    <a:pt x="-54107" y="-14297"/>
                    <a:pt x="773454" y="1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27" name="Chord 32">
              <a:extLst>
                <a:ext uri="{FF2B5EF4-FFF2-40B4-BE49-F238E27FC236}">
                  <a16:creationId xmlns:a16="http://schemas.microsoft.com/office/drawing/2014/main" id="{CE53930E-C9E4-394C-8F22-1E268E1CDB20}"/>
                </a:ext>
              </a:extLst>
            </p:cNvPr>
            <p:cNvSpPr/>
            <p:nvPr/>
          </p:nvSpPr>
          <p:spPr>
            <a:xfrm>
              <a:off x="6867630" y="3449342"/>
              <a:ext cx="334127" cy="331196"/>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28" name="Teardrop 9">
              <a:extLst>
                <a:ext uri="{FF2B5EF4-FFF2-40B4-BE49-F238E27FC236}">
                  <a16:creationId xmlns:a16="http://schemas.microsoft.com/office/drawing/2014/main" id="{23D34C3A-3CD2-ED4D-A680-A35D344DA413}"/>
                </a:ext>
              </a:extLst>
            </p:cNvPr>
            <p:cNvSpPr/>
            <p:nvPr/>
          </p:nvSpPr>
          <p:spPr>
            <a:xfrm rot="18900000">
              <a:off x="5827121" y="2786355"/>
              <a:ext cx="353202" cy="301448"/>
            </a:xfrm>
            <a:custGeom>
              <a:avLst/>
              <a:gdLst/>
              <a:ahLst/>
              <a:cxnLst/>
              <a:rect l="l" t="t" r="r" b="b"/>
              <a:pathLst>
                <a:path w="3552042" h="3031575">
                  <a:moveTo>
                    <a:pt x="1499560" y="1284945"/>
                  </a:moveTo>
                  <a:lnTo>
                    <a:pt x="1272419" y="1057805"/>
                  </a:lnTo>
                  <a:lnTo>
                    <a:pt x="1054631" y="1275593"/>
                  </a:lnTo>
                  <a:lnTo>
                    <a:pt x="836843" y="1057805"/>
                  </a:lnTo>
                  <a:lnTo>
                    <a:pt x="609703" y="1284945"/>
                  </a:lnTo>
                  <a:lnTo>
                    <a:pt x="827491" y="1502733"/>
                  </a:lnTo>
                  <a:lnTo>
                    <a:pt x="609703" y="1720522"/>
                  </a:lnTo>
                  <a:lnTo>
                    <a:pt x="836843" y="1947662"/>
                  </a:lnTo>
                  <a:lnTo>
                    <a:pt x="1054631" y="1729874"/>
                  </a:lnTo>
                  <a:lnTo>
                    <a:pt x="1272419" y="1947662"/>
                  </a:lnTo>
                  <a:lnTo>
                    <a:pt x="1499560" y="1720522"/>
                  </a:lnTo>
                  <a:lnTo>
                    <a:pt x="1281771" y="1502733"/>
                  </a:lnTo>
                  <a:close/>
                  <a:moveTo>
                    <a:pt x="3552042" y="1021270"/>
                  </a:moveTo>
                  <a:cubicBezTo>
                    <a:pt x="3346428" y="1488389"/>
                    <a:pt x="3240687" y="1885112"/>
                    <a:pt x="3146822" y="2229032"/>
                  </a:cubicBezTo>
                  <a:cubicBezTo>
                    <a:pt x="3047091" y="2666397"/>
                    <a:pt x="2787512" y="3031575"/>
                    <a:pt x="2344279" y="3031575"/>
                  </a:cubicBezTo>
                  <a:cubicBezTo>
                    <a:pt x="1991740" y="3031575"/>
                    <a:pt x="1692293" y="2804263"/>
                    <a:pt x="1587926" y="2487045"/>
                  </a:cubicBezTo>
                  <a:cubicBezTo>
                    <a:pt x="1859795" y="2308350"/>
                    <a:pt x="2033031" y="1980125"/>
                    <a:pt x="2117061" y="1611614"/>
                  </a:cubicBezTo>
                  <a:cubicBezTo>
                    <a:pt x="2127904" y="1571883"/>
                    <a:pt x="2138872" y="1531598"/>
                    <a:pt x="2150086" y="1490753"/>
                  </a:cubicBezTo>
                  <a:cubicBezTo>
                    <a:pt x="2212338" y="1465032"/>
                    <a:pt x="2277652" y="1444164"/>
                    <a:pt x="2344279" y="1426490"/>
                  </a:cubicBezTo>
                  <a:cubicBezTo>
                    <a:pt x="2764465" y="1315024"/>
                    <a:pt x="3073190" y="1226884"/>
                    <a:pt x="3552042" y="1021270"/>
                  </a:cubicBezTo>
                  <a:close/>
                  <a:moveTo>
                    <a:pt x="2557365" y="0"/>
                  </a:moveTo>
                  <a:cubicBezTo>
                    <a:pt x="2295797" y="594236"/>
                    <a:pt x="2161281" y="1098917"/>
                    <a:pt x="2041873" y="1536428"/>
                  </a:cubicBezTo>
                  <a:cubicBezTo>
                    <a:pt x="1915003" y="2092812"/>
                    <a:pt x="1584785" y="2557364"/>
                    <a:pt x="1020937" y="2557364"/>
                  </a:cubicBezTo>
                  <a:cubicBezTo>
                    <a:pt x="457089" y="2557364"/>
                    <a:pt x="0" y="2100276"/>
                    <a:pt x="0" y="1536428"/>
                  </a:cubicBezTo>
                  <a:cubicBezTo>
                    <a:pt x="0" y="972580"/>
                    <a:pt x="475939" y="660066"/>
                    <a:pt x="1020937" y="515492"/>
                  </a:cubicBezTo>
                  <a:cubicBezTo>
                    <a:pt x="1555467" y="373694"/>
                    <a:pt x="1948204" y="261568"/>
                    <a:pt x="255736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29" name="Donut 22">
              <a:extLst>
                <a:ext uri="{FF2B5EF4-FFF2-40B4-BE49-F238E27FC236}">
                  <a16:creationId xmlns:a16="http://schemas.microsoft.com/office/drawing/2014/main" id="{A7230222-F0A7-0A42-B00C-34B955D74153}"/>
                </a:ext>
              </a:extLst>
            </p:cNvPr>
            <p:cNvSpPr>
              <a:spLocks noChangeAspect="1"/>
            </p:cNvSpPr>
            <p:nvPr/>
          </p:nvSpPr>
          <p:spPr>
            <a:xfrm>
              <a:off x="6493682" y="2156816"/>
              <a:ext cx="456692" cy="233918"/>
            </a:xfrm>
            <a:custGeom>
              <a:avLst/>
              <a:gdLst/>
              <a:ahLst/>
              <a:cxnLst/>
              <a:rect l="l" t="t" r="r" b="b"/>
              <a:pathLst>
                <a:path w="3372524" h="1727404">
                  <a:moveTo>
                    <a:pt x="1758003" y="666958"/>
                  </a:moveTo>
                  <a:cubicBezTo>
                    <a:pt x="1703684" y="666958"/>
                    <a:pt x="1659649" y="710993"/>
                    <a:pt x="1659649" y="765312"/>
                  </a:cubicBezTo>
                  <a:cubicBezTo>
                    <a:pt x="1659649" y="819631"/>
                    <a:pt x="1703684" y="863666"/>
                    <a:pt x="1758003" y="863666"/>
                  </a:cubicBezTo>
                  <a:cubicBezTo>
                    <a:pt x="1812322" y="863666"/>
                    <a:pt x="1856357" y="819631"/>
                    <a:pt x="1856357" y="765312"/>
                  </a:cubicBezTo>
                  <a:cubicBezTo>
                    <a:pt x="1856357" y="710993"/>
                    <a:pt x="1812322" y="666958"/>
                    <a:pt x="1758003" y="666958"/>
                  </a:cubicBezTo>
                  <a:close/>
                  <a:moveTo>
                    <a:pt x="1686261" y="586208"/>
                  </a:moveTo>
                  <a:cubicBezTo>
                    <a:pt x="1849880" y="586208"/>
                    <a:pt x="1982519" y="718847"/>
                    <a:pt x="1982519" y="882466"/>
                  </a:cubicBezTo>
                  <a:cubicBezTo>
                    <a:pt x="1982519" y="1046085"/>
                    <a:pt x="1849880" y="1178724"/>
                    <a:pt x="1686261" y="1178724"/>
                  </a:cubicBezTo>
                  <a:cubicBezTo>
                    <a:pt x="1522642" y="1178724"/>
                    <a:pt x="1390003" y="1046085"/>
                    <a:pt x="1390003" y="882466"/>
                  </a:cubicBezTo>
                  <a:cubicBezTo>
                    <a:pt x="1390003" y="718847"/>
                    <a:pt x="1522642" y="586208"/>
                    <a:pt x="1686261" y="586208"/>
                  </a:cubicBezTo>
                  <a:close/>
                  <a:moveTo>
                    <a:pt x="1686262" y="448985"/>
                  </a:moveTo>
                  <a:cubicBezTo>
                    <a:pt x="1446857" y="448985"/>
                    <a:pt x="1252780" y="643062"/>
                    <a:pt x="1252780" y="882467"/>
                  </a:cubicBezTo>
                  <a:cubicBezTo>
                    <a:pt x="1252780" y="1121872"/>
                    <a:pt x="1446857" y="1315949"/>
                    <a:pt x="1686262" y="1315949"/>
                  </a:cubicBezTo>
                  <a:cubicBezTo>
                    <a:pt x="1925667" y="1315949"/>
                    <a:pt x="2119744" y="1121872"/>
                    <a:pt x="2119744" y="882467"/>
                  </a:cubicBezTo>
                  <a:cubicBezTo>
                    <a:pt x="2119744" y="643062"/>
                    <a:pt x="1925667" y="448985"/>
                    <a:pt x="1686262" y="448985"/>
                  </a:cubicBezTo>
                  <a:close/>
                  <a:moveTo>
                    <a:pt x="1893261" y="271274"/>
                  </a:moveTo>
                  <a:cubicBezTo>
                    <a:pt x="2150128" y="355123"/>
                    <a:pt x="2334334" y="597283"/>
                    <a:pt x="2334334" y="882467"/>
                  </a:cubicBezTo>
                  <a:cubicBezTo>
                    <a:pt x="2334334" y="1103921"/>
                    <a:pt x="2223259" y="1299432"/>
                    <a:pt x="2053457" y="1415856"/>
                  </a:cubicBezTo>
                  <a:cubicBezTo>
                    <a:pt x="2494577" y="1286853"/>
                    <a:pt x="2931337" y="1005905"/>
                    <a:pt x="2940842" y="882353"/>
                  </a:cubicBezTo>
                  <a:lnTo>
                    <a:pt x="2946401" y="882364"/>
                  </a:lnTo>
                  <a:lnTo>
                    <a:pt x="2943679" y="877137"/>
                  </a:lnTo>
                  <a:lnTo>
                    <a:pt x="2946401" y="872130"/>
                  </a:lnTo>
                  <a:lnTo>
                    <a:pt x="2941077" y="872141"/>
                  </a:lnTo>
                  <a:cubicBezTo>
                    <a:pt x="2875996" y="732702"/>
                    <a:pt x="2369865" y="377972"/>
                    <a:pt x="1893261" y="271274"/>
                  </a:cubicBezTo>
                  <a:close/>
                  <a:moveTo>
                    <a:pt x="1525754" y="256843"/>
                  </a:moveTo>
                  <a:cubicBezTo>
                    <a:pt x="984953" y="339274"/>
                    <a:pt x="426123" y="752145"/>
                    <a:pt x="426123" y="877021"/>
                  </a:cubicBezTo>
                  <a:lnTo>
                    <a:pt x="426123" y="877247"/>
                  </a:lnTo>
                  <a:cubicBezTo>
                    <a:pt x="439083" y="984175"/>
                    <a:pt x="877625" y="1311577"/>
                    <a:pt x="1355183" y="1436828"/>
                  </a:cubicBezTo>
                  <a:cubicBezTo>
                    <a:pt x="1164798" y="1325758"/>
                    <a:pt x="1038190" y="1118898"/>
                    <a:pt x="1038190" y="882467"/>
                  </a:cubicBezTo>
                  <a:cubicBezTo>
                    <a:pt x="1038190" y="580157"/>
                    <a:pt x="1245184" y="326193"/>
                    <a:pt x="1525754" y="256843"/>
                  </a:cubicBezTo>
                  <a:close/>
                  <a:moveTo>
                    <a:pt x="1682713" y="0"/>
                  </a:moveTo>
                  <a:cubicBezTo>
                    <a:pt x="2385858" y="36225"/>
                    <a:pt x="3265322" y="653066"/>
                    <a:pt x="3365400" y="875412"/>
                  </a:cubicBezTo>
                  <a:lnTo>
                    <a:pt x="3372524" y="875397"/>
                  </a:lnTo>
                  <a:lnTo>
                    <a:pt x="3368881" y="882344"/>
                  </a:lnTo>
                  <a:lnTo>
                    <a:pt x="3372524" y="889597"/>
                  </a:lnTo>
                  <a:lnTo>
                    <a:pt x="3365086" y="889581"/>
                  </a:lnTo>
                  <a:cubicBezTo>
                    <a:pt x="3348713" y="1110249"/>
                    <a:pt x="2385134" y="1692746"/>
                    <a:pt x="1682713" y="1727404"/>
                  </a:cubicBezTo>
                  <a:cubicBezTo>
                    <a:pt x="901706" y="1708470"/>
                    <a:pt x="21301" y="1064732"/>
                    <a:pt x="0" y="882497"/>
                  </a:cubicBezTo>
                  <a:lnTo>
                    <a:pt x="0" y="882184"/>
                  </a:lnTo>
                  <a:cubicBezTo>
                    <a:pt x="0" y="691908"/>
                    <a:pt x="901706" y="19770"/>
                    <a:pt x="168271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30" name="Rounded Rectangle 40">
              <a:extLst>
                <a:ext uri="{FF2B5EF4-FFF2-40B4-BE49-F238E27FC236}">
                  <a16:creationId xmlns:a16="http://schemas.microsoft.com/office/drawing/2014/main" id="{286EF6F6-27C4-9C4B-A215-511E86699F95}"/>
                </a:ext>
              </a:extLst>
            </p:cNvPr>
            <p:cNvSpPr/>
            <p:nvPr/>
          </p:nvSpPr>
          <p:spPr>
            <a:xfrm rot="2942052">
              <a:off x="4998625" y="1426319"/>
              <a:ext cx="332514" cy="353744"/>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31" name="TextBox 30">
              <a:extLst>
                <a:ext uri="{FF2B5EF4-FFF2-40B4-BE49-F238E27FC236}">
                  <a16:creationId xmlns:a16="http://schemas.microsoft.com/office/drawing/2014/main" id="{F2CAFCE6-9D71-2140-9E02-DE55DCD7318F}"/>
                </a:ext>
              </a:extLst>
            </p:cNvPr>
            <p:cNvSpPr txBox="1"/>
            <p:nvPr/>
          </p:nvSpPr>
          <p:spPr>
            <a:xfrm>
              <a:off x="5652120" y="1367319"/>
              <a:ext cx="259228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32" name="TextBox 31">
              <a:extLst>
                <a:ext uri="{FF2B5EF4-FFF2-40B4-BE49-F238E27FC236}">
                  <a16:creationId xmlns:a16="http://schemas.microsoft.com/office/drawing/2014/main" id="{F8B07250-0A40-5242-8174-47C9A0A65848}"/>
                </a:ext>
              </a:extLst>
            </p:cNvPr>
            <p:cNvSpPr txBox="1"/>
            <p:nvPr/>
          </p:nvSpPr>
          <p:spPr>
            <a:xfrm>
              <a:off x="6493682" y="2656327"/>
              <a:ext cx="172132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33" name="TextBox 32">
              <a:extLst>
                <a:ext uri="{FF2B5EF4-FFF2-40B4-BE49-F238E27FC236}">
                  <a16:creationId xmlns:a16="http://schemas.microsoft.com/office/drawing/2014/main" id="{86570B5E-1CBD-254F-883D-3A6C17E95BAC}"/>
                </a:ext>
              </a:extLst>
            </p:cNvPr>
            <p:cNvSpPr txBox="1"/>
            <p:nvPr/>
          </p:nvSpPr>
          <p:spPr>
            <a:xfrm>
              <a:off x="7422673" y="3302658"/>
              <a:ext cx="1325791" cy="1015663"/>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34" name="TextBox 33">
              <a:extLst>
                <a:ext uri="{FF2B5EF4-FFF2-40B4-BE49-F238E27FC236}">
                  <a16:creationId xmlns:a16="http://schemas.microsoft.com/office/drawing/2014/main" id="{71D00BDE-FD51-2246-BCEE-25088BA02F2C}"/>
                </a:ext>
              </a:extLst>
            </p:cNvPr>
            <p:cNvSpPr txBox="1"/>
            <p:nvPr/>
          </p:nvSpPr>
          <p:spPr>
            <a:xfrm>
              <a:off x="5164882" y="4005488"/>
              <a:ext cx="172132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grpSp>
          <p:nvGrpSpPr>
            <p:cNvPr id="35" name="그룹 31">
              <a:extLst>
                <a:ext uri="{FF2B5EF4-FFF2-40B4-BE49-F238E27FC236}">
                  <a16:creationId xmlns:a16="http://schemas.microsoft.com/office/drawing/2014/main" id="{E0AF4786-AA3D-234B-B4F0-13FB2CA03FAB}"/>
                </a:ext>
              </a:extLst>
            </p:cNvPr>
            <p:cNvGrpSpPr/>
            <p:nvPr/>
          </p:nvGrpSpPr>
          <p:grpSpPr>
            <a:xfrm>
              <a:off x="683568" y="2056954"/>
              <a:ext cx="1804186" cy="1763238"/>
              <a:chOff x="683568" y="2065093"/>
              <a:chExt cx="1804186" cy="1763238"/>
            </a:xfrm>
          </p:grpSpPr>
          <p:grpSp>
            <p:nvGrpSpPr>
              <p:cNvPr id="36" name="Group 35">
                <a:extLst>
                  <a:ext uri="{FF2B5EF4-FFF2-40B4-BE49-F238E27FC236}">
                    <a16:creationId xmlns:a16="http://schemas.microsoft.com/office/drawing/2014/main" id="{D8CCEF20-A969-4D47-B84A-90001A0144F3}"/>
                  </a:ext>
                </a:extLst>
              </p:cNvPr>
              <p:cNvGrpSpPr/>
              <p:nvPr/>
            </p:nvGrpSpPr>
            <p:grpSpPr>
              <a:xfrm>
                <a:off x="683568" y="2458764"/>
                <a:ext cx="1060484" cy="914400"/>
                <a:chOff x="1227899" y="2469336"/>
                <a:chExt cx="1060484" cy="914400"/>
              </a:xfrm>
              <a:solidFill>
                <a:schemeClr val="accent2"/>
              </a:solidFill>
            </p:grpSpPr>
            <p:sp>
              <p:nvSpPr>
                <p:cNvPr id="40" name="Block Arc 39">
                  <a:extLst>
                    <a:ext uri="{FF2B5EF4-FFF2-40B4-BE49-F238E27FC236}">
                      <a16:creationId xmlns:a16="http://schemas.microsoft.com/office/drawing/2014/main" id="{7A621A6C-EA74-3045-A45C-9A91D97301D2}"/>
                    </a:ext>
                  </a:extLst>
                </p:cNvPr>
                <p:cNvSpPr/>
                <p:nvPr/>
              </p:nvSpPr>
              <p:spPr>
                <a:xfrm rot="5400000">
                  <a:off x="1373983" y="2469336"/>
                  <a:ext cx="914400" cy="914400"/>
                </a:xfrm>
                <a:prstGeom prst="blockArc">
                  <a:avLst>
                    <a:gd name="adj1" fmla="val 6474722"/>
                    <a:gd name="adj2" fmla="val 4193157"/>
                    <a:gd name="adj3" fmla="val 754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41" name="Oval 40">
                  <a:extLst>
                    <a:ext uri="{FF2B5EF4-FFF2-40B4-BE49-F238E27FC236}">
                      <a16:creationId xmlns:a16="http://schemas.microsoft.com/office/drawing/2014/main" id="{27173BB1-A5C2-9546-8F9E-7DC8B72B3C16}"/>
                    </a:ext>
                  </a:extLst>
                </p:cNvPr>
                <p:cNvSpPr/>
                <p:nvPr/>
              </p:nvSpPr>
              <p:spPr>
                <a:xfrm>
                  <a:off x="1507664" y="2603017"/>
                  <a:ext cx="647038" cy="64703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2" name="Round Same Side Corner Rectangle 41">
                  <a:extLst>
                    <a:ext uri="{FF2B5EF4-FFF2-40B4-BE49-F238E27FC236}">
                      <a16:creationId xmlns:a16="http://schemas.microsoft.com/office/drawing/2014/main" id="{2CA86757-9F78-4546-919E-3FB02895EF83}"/>
                    </a:ext>
                  </a:extLst>
                </p:cNvPr>
                <p:cNvSpPr/>
                <p:nvPr/>
              </p:nvSpPr>
              <p:spPr>
                <a:xfrm rot="5400000">
                  <a:off x="1369935" y="2857287"/>
                  <a:ext cx="275456" cy="138499"/>
                </a:xfrm>
                <a:prstGeom prst="round2SameRect">
                  <a:avLst>
                    <a:gd name="adj1" fmla="val 35748"/>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3" name="Block Arc 42">
                  <a:extLst>
                    <a:ext uri="{FF2B5EF4-FFF2-40B4-BE49-F238E27FC236}">
                      <a16:creationId xmlns:a16="http://schemas.microsoft.com/office/drawing/2014/main" id="{E6A21374-8A98-6743-BBC4-7EB4BC5D717A}"/>
                    </a:ext>
                  </a:extLst>
                </p:cNvPr>
                <p:cNvSpPr/>
                <p:nvPr/>
              </p:nvSpPr>
              <p:spPr>
                <a:xfrm rot="16200000">
                  <a:off x="1227899" y="2608029"/>
                  <a:ext cx="618823" cy="618823"/>
                </a:xfrm>
                <a:prstGeom prst="blockArc">
                  <a:avLst>
                    <a:gd name="adj1" fmla="val 11567405"/>
                    <a:gd name="adj2" fmla="val 21143927"/>
                    <a:gd name="adj3" fmla="val 124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sp>
            <p:nvSpPr>
              <p:cNvPr id="37" name="Block Arc 36">
                <a:extLst>
                  <a:ext uri="{FF2B5EF4-FFF2-40B4-BE49-F238E27FC236}">
                    <a16:creationId xmlns:a16="http://schemas.microsoft.com/office/drawing/2014/main" id="{D95A53DF-B5A1-304F-8DF0-16213D0EFFC7}"/>
                  </a:ext>
                </a:extLst>
              </p:cNvPr>
              <p:cNvSpPr/>
              <p:nvPr/>
            </p:nvSpPr>
            <p:spPr>
              <a:xfrm>
                <a:off x="1573354" y="2065093"/>
                <a:ext cx="914400" cy="914400"/>
              </a:xfrm>
              <a:prstGeom prst="blockArc">
                <a:avLst>
                  <a:gd name="adj1" fmla="val 5374151"/>
                  <a:gd name="adj2" fmla="val 8746665"/>
                  <a:gd name="adj3" fmla="val 68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8" name="Block Arc 37">
                <a:extLst>
                  <a:ext uri="{FF2B5EF4-FFF2-40B4-BE49-F238E27FC236}">
                    <a16:creationId xmlns:a16="http://schemas.microsoft.com/office/drawing/2014/main" id="{D586CB23-4FFC-A84E-A92E-68AB87DA0D72}"/>
                  </a:ext>
                </a:extLst>
              </p:cNvPr>
              <p:cNvSpPr/>
              <p:nvPr/>
            </p:nvSpPr>
            <p:spPr>
              <a:xfrm flipV="1">
                <a:off x="1539105" y="2913931"/>
                <a:ext cx="914400" cy="914400"/>
              </a:xfrm>
              <a:prstGeom prst="blockArc">
                <a:avLst>
                  <a:gd name="adj1" fmla="val 5374151"/>
                  <a:gd name="adj2" fmla="val 8888301"/>
                  <a:gd name="adj3" fmla="val 729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9" name="직사각형 30">
                <a:extLst>
                  <a:ext uri="{FF2B5EF4-FFF2-40B4-BE49-F238E27FC236}">
                    <a16:creationId xmlns:a16="http://schemas.microsoft.com/office/drawing/2014/main" id="{AD4C061A-DB6A-144E-92B7-22C55B36091B}"/>
                  </a:ext>
                </a:extLst>
              </p:cNvPr>
              <p:cNvSpPr/>
              <p:nvPr/>
            </p:nvSpPr>
            <p:spPr>
              <a:xfrm>
                <a:off x="1995707" y="2917875"/>
                <a:ext cx="180000" cy="64331"/>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Tree>
    <p:extLst>
      <p:ext uri="{BB962C8B-B14F-4D97-AF65-F5344CB8AC3E}">
        <p14:creationId xmlns:p14="http://schemas.microsoft.com/office/powerpoint/2010/main" val="250791897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6D6846-83A4-0341-AF12-918C28E8E358}"/>
              </a:ext>
            </a:extLst>
          </p:cNvPr>
          <p:cNvSpPr>
            <a:spLocks noGrp="1"/>
          </p:cNvSpPr>
          <p:nvPr>
            <p:ph type="sldNum" sz="quarter" idx="4"/>
          </p:nvPr>
        </p:nvSpPr>
        <p:spPr/>
        <p:txBody>
          <a:bodyPr/>
          <a:lstStyle/>
          <a:p>
            <a:fld id="{3D966009-6E5A-4F8C-8CA7-E37AFBF5FB92}" type="slidenum">
              <a:rPr lang="en-US" smtClean="0"/>
              <a:t>133</a:t>
            </a:fld>
            <a:endParaRPr lang="en-US"/>
          </a:p>
        </p:txBody>
      </p:sp>
      <p:sp>
        <p:nvSpPr>
          <p:cNvPr id="3" name="Title 2">
            <a:extLst>
              <a:ext uri="{FF2B5EF4-FFF2-40B4-BE49-F238E27FC236}">
                <a16:creationId xmlns:a16="http://schemas.microsoft.com/office/drawing/2014/main" id="{1FA63DCE-05E0-E94B-ABBD-860D7106B805}"/>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2D7A4B9-B3A3-2E4E-85FC-364B46A55907}"/>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416CA7D-AA5A-334E-9C73-7F7F01F2CF99}"/>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ABA7ED0-9943-1C47-8F18-A9DA3B366F85}"/>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A9EBCC9-083F-3D4C-9125-716B905B0C6A}"/>
              </a:ext>
            </a:extLst>
          </p:cNvPr>
          <p:cNvSpPr>
            <a:spLocks noGrp="1"/>
          </p:cNvSpPr>
          <p:nvPr>
            <p:ph sz="quarter" idx="14"/>
          </p:nvPr>
        </p:nvSpPr>
        <p:spPr/>
        <p:txBody>
          <a:bodyPr/>
          <a:lstStyle/>
          <a:p>
            <a:endParaRPr lang="en-GB"/>
          </a:p>
        </p:txBody>
      </p:sp>
      <p:grpSp>
        <p:nvGrpSpPr>
          <p:cNvPr id="9" name="Group 25">
            <a:extLst>
              <a:ext uri="{FF2B5EF4-FFF2-40B4-BE49-F238E27FC236}">
                <a16:creationId xmlns:a16="http://schemas.microsoft.com/office/drawing/2014/main" id="{36D724FB-3AB7-574F-9363-96D911C9E20E}"/>
              </a:ext>
            </a:extLst>
          </p:cNvPr>
          <p:cNvGrpSpPr/>
          <p:nvPr/>
        </p:nvGrpSpPr>
        <p:grpSpPr>
          <a:xfrm>
            <a:off x="4880714" y="1901015"/>
            <a:ext cx="2464138" cy="3943066"/>
            <a:chOff x="4722461" y="1907611"/>
            <a:chExt cx="2138040" cy="3421250"/>
          </a:xfrm>
        </p:grpSpPr>
        <p:grpSp>
          <p:nvGrpSpPr>
            <p:cNvPr id="10" name="Group 23">
              <a:extLst>
                <a:ext uri="{FF2B5EF4-FFF2-40B4-BE49-F238E27FC236}">
                  <a16:creationId xmlns:a16="http://schemas.microsoft.com/office/drawing/2014/main" id="{A73E73FC-7864-884D-81BA-D7353959442C}"/>
                </a:ext>
              </a:extLst>
            </p:cNvPr>
            <p:cNvGrpSpPr/>
            <p:nvPr/>
          </p:nvGrpSpPr>
          <p:grpSpPr>
            <a:xfrm>
              <a:off x="4722461" y="2154570"/>
              <a:ext cx="1410284" cy="2457710"/>
              <a:chOff x="4764849" y="1896442"/>
              <a:chExt cx="1630399" cy="2841304"/>
            </a:xfrm>
          </p:grpSpPr>
          <p:sp>
            <p:nvSpPr>
              <p:cNvPr id="14" name="Rectangle 15">
                <a:extLst>
                  <a:ext uri="{FF2B5EF4-FFF2-40B4-BE49-F238E27FC236}">
                    <a16:creationId xmlns:a16="http://schemas.microsoft.com/office/drawing/2014/main" id="{C726E9C4-B3B1-E746-BA2B-5186A8203D03}"/>
                  </a:ext>
                </a:extLst>
              </p:cNvPr>
              <p:cNvSpPr/>
              <p:nvPr/>
            </p:nvSpPr>
            <p:spPr>
              <a:xfrm rot="2633242">
                <a:off x="5392926" y="3840524"/>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5" name="Group 88">
                <a:extLst>
                  <a:ext uri="{FF2B5EF4-FFF2-40B4-BE49-F238E27FC236}">
                    <a16:creationId xmlns:a16="http://schemas.microsoft.com/office/drawing/2014/main" id="{5C171902-1B17-E940-A4E3-2D28E3B43793}"/>
                  </a:ext>
                </a:extLst>
              </p:cNvPr>
              <p:cNvGrpSpPr/>
              <p:nvPr/>
            </p:nvGrpSpPr>
            <p:grpSpPr>
              <a:xfrm rot="5400000">
                <a:off x="4707913" y="1953378"/>
                <a:ext cx="1744272" cy="1630399"/>
                <a:chOff x="2827731" y="1829193"/>
                <a:chExt cx="1744272" cy="1630399"/>
              </a:xfrm>
            </p:grpSpPr>
            <p:sp>
              <p:nvSpPr>
                <p:cNvPr id="16" name="Rectangle 15">
                  <a:extLst>
                    <a:ext uri="{FF2B5EF4-FFF2-40B4-BE49-F238E27FC236}">
                      <a16:creationId xmlns:a16="http://schemas.microsoft.com/office/drawing/2014/main" id="{6B462DA2-7ED9-E246-8C94-FF44EC0D0EB6}"/>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Rectangle 15">
                  <a:extLst>
                    <a:ext uri="{FF2B5EF4-FFF2-40B4-BE49-F238E27FC236}">
                      <a16:creationId xmlns:a16="http://schemas.microsoft.com/office/drawing/2014/main" id="{3BDB1CE6-CA97-DB45-9972-440FA50A4171}"/>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11" name="Oval 97">
              <a:extLst>
                <a:ext uri="{FF2B5EF4-FFF2-40B4-BE49-F238E27FC236}">
                  <a16:creationId xmlns:a16="http://schemas.microsoft.com/office/drawing/2014/main" id="{75A89F12-2B08-3149-8A98-054FC257CC9A}"/>
                </a:ext>
              </a:extLst>
            </p:cNvPr>
            <p:cNvSpPr/>
            <p:nvPr/>
          </p:nvSpPr>
          <p:spPr>
            <a:xfrm>
              <a:off x="5686583" y="4708442"/>
              <a:ext cx="620419" cy="6204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Oval 98">
              <a:extLst>
                <a:ext uri="{FF2B5EF4-FFF2-40B4-BE49-F238E27FC236}">
                  <a16:creationId xmlns:a16="http://schemas.microsoft.com/office/drawing/2014/main" id="{CE48C6F8-CE55-DE43-91FB-5FF52128BFC3}"/>
                </a:ext>
              </a:extLst>
            </p:cNvPr>
            <p:cNvSpPr/>
            <p:nvPr/>
          </p:nvSpPr>
          <p:spPr>
            <a:xfrm>
              <a:off x="6240082" y="3275308"/>
              <a:ext cx="620419" cy="6204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Oval 99">
              <a:extLst>
                <a:ext uri="{FF2B5EF4-FFF2-40B4-BE49-F238E27FC236}">
                  <a16:creationId xmlns:a16="http://schemas.microsoft.com/office/drawing/2014/main" id="{CE393914-2845-7343-AFEC-D8D0142E5F5F}"/>
                </a:ext>
              </a:extLst>
            </p:cNvPr>
            <p:cNvSpPr/>
            <p:nvPr/>
          </p:nvSpPr>
          <p:spPr>
            <a:xfrm>
              <a:off x="5577548" y="1907611"/>
              <a:ext cx="620419" cy="6204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8" name="Isosceles Triangle 8">
            <a:extLst>
              <a:ext uri="{FF2B5EF4-FFF2-40B4-BE49-F238E27FC236}">
                <a16:creationId xmlns:a16="http://schemas.microsoft.com/office/drawing/2014/main" id="{C4E29E0A-D48A-884D-87A0-2C5A5E3D087D}"/>
              </a:ext>
            </a:extLst>
          </p:cNvPr>
          <p:cNvSpPr/>
          <p:nvPr/>
        </p:nvSpPr>
        <p:spPr>
          <a:xfrm rot="16200000">
            <a:off x="6868938" y="3674347"/>
            <a:ext cx="265227" cy="316221"/>
          </a:xfrm>
          <a:custGeom>
            <a:avLst/>
            <a:gdLst/>
            <a:ahLst/>
            <a:cxnLst/>
            <a:rect l="l" t="t" r="r" b="b"/>
            <a:pathLst>
              <a:path w="2708011" h="3228660">
                <a:moveTo>
                  <a:pt x="1895121" y="2005092"/>
                </a:moveTo>
                <a:cubicBezTo>
                  <a:pt x="1769067" y="2196199"/>
                  <a:pt x="1559641" y="2315968"/>
                  <a:pt x="1331007" y="2327705"/>
                </a:cubicBezTo>
                <a:cubicBezTo>
                  <a:pt x="1102373" y="2339443"/>
                  <a:pt x="881783" y="2241749"/>
                  <a:pt x="736821" y="2064556"/>
                </a:cubicBezTo>
                <a:lnTo>
                  <a:pt x="885891" y="1942602"/>
                </a:lnTo>
                <a:cubicBezTo>
                  <a:pt x="992076" y="2072396"/>
                  <a:pt x="1153658" y="2143956"/>
                  <a:pt x="1321132" y="2135359"/>
                </a:cubicBezTo>
                <a:cubicBezTo>
                  <a:pt x="1488607" y="2126761"/>
                  <a:pt x="1642011" y="2039030"/>
                  <a:pt x="1734346" y="1899045"/>
                </a:cubicBezTo>
                <a:close/>
                <a:moveTo>
                  <a:pt x="2315256" y="2179725"/>
                </a:moveTo>
                <a:cubicBezTo>
                  <a:pt x="2124977" y="2519973"/>
                  <a:pt x="1777729" y="2743099"/>
                  <a:pt x="1389179" y="2774782"/>
                </a:cubicBezTo>
                <a:cubicBezTo>
                  <a:pt x="1000629" y="2806465"/>
                  <a:pt x="621821" y="2642541"/>
                  <a:pt x="378934" y="2337614"/>
                </a:cubicBezTo>
                <a:lnTo>
                  <a:pt x="519502" y="2225645"/>
                </a:lnTo>
                <a:cubicBezTo>
                  <a:pt x="725082" y="2483736"/>
                  <a:pt x="1045705" y="2622480"/>
                  <a:pt x="1374574" y="2595664"/>
                </a:cubicBezTo>
                <a:cubicBezTo>
                  <a:pt x="1703443" y="2568848"/>
                  <a:pt x="1997353" y="2379994"/>
                  <a:pt x="2158406" y="2092008"/>
                </a:cubicBezTo>
                <a:close/>
                <a:moveTo>
                  <a:pt x="2315941" y="1615003"/>
                </a:moveTo>
                <a:lnTo>
                  <a:pt x="272242" y="1615003"/>
                </a:lnTo>
                <a:lnTo>
                  <a:pt x="872561" y="666216"/>
                </a:lnTo>
                <a:lnTo>
                  <a:pt x="872561" y="219906"/>
                </a:lnTo>
                <a:cubicBezTo>
                  <a:pt x="872561" y="98674"/>
                  <a:pt x="970839" y="396"/>
                  <a:pt x="1092071" y="396"/>
                </a:cubicBezTo>
                <a:lnTo>
                  <a:pt x="1293841" y="396"/>
                </a:lnTo>
                <a:lnTo>
                  <a:pt x="1294092" y="0"/>
                </a:lnTo>
                <a:lnTo>
                  <a:pt x="1294343" y="396"/>
                </a:lnTo>
                <a:lnTo>
                  <a:pt x="1470231" y="396"/>
                </a:lnTo>
                <a:cubicBezTo>
                  <a:pt x="1591463" y="396"/>
                  <a:pt x="1689741" y="98674"/>
                  <a:pt x="1689741" y="219906"/>
                </a:cubicBezTo>
                <a:lnTo>
                  <a:pt x="1689741" y="625313"/>
                </a:lnTo>
                <a:close/>
                <a:moveTo>
                  <a:pt x="2708011" y="2399368"/>
                </a:moveTo>
                <a:cubicBezTo>
                  <a:pt x="2440740" y="2877288"/>
                  <a:pt x="1950128" y="3187847"/>
                  <a:pt x="1403807" y="3224932"/>
                </a:cubicBezTo>
                <a:cubicBezTo>
                  <a:pt x="857486" y="3262017"/>
                  <a:pt x="329406" y="3020609"/>
                  <a:pt x="0" y="2583191"/>
                </a:cubicBezTo>
                <a:lnTo>
                  <a:pt x="143153" y="2475389"/>
                </a:lnTo>
                <a:cubicBezTo>
                  <a:pt x="436120" y="2864419"/>
                  <a:pt x="905784" y="3079123"/>
                  <a:pt x="1391671" y="3046140"/>
                </a:cubicBezTo>
                <a:cubicBezTo>
                  <a:pt x="1877558" y="3013157"/>
                  <a:pt x="2313899" y="2736952"/>
                  <a:pt x="2551604" y="231189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19" name="Oval 7">
            <a:extLst>
              <a:ext uri="{FF2B5EF4-FFF2-40B4-BE49-F238E27FC236}">
                <a16:creationId xmlns:a16="http://schemas.microsoft.com/office/drawing/2014/main" id="{9F642AED-D1E4-7849-AA90-56B0515E6183}"/>
              </a:ext>
            </a:extLst>
          </p:cNvPr>
          <p:cNvSpPr/>
          <p:nvPr/>
        </p:nvSpPr>
        <p:spPr>
          <a:xfrm>
            <a:off x="6201531" y="5370580"/>
            <a:ext cx="281290" cy="281290"/>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0" name="Rounded Rectangle 7">
            <a:extLst>
              <a:ext uri="{FF2B5EF4-FFF2-40B4-BE49-F238E27FC236}">
                <a16:creationId xmlns:a16="http://schemas.microsoft.com/office/drawing/2014/main" id="{B03AA11D-70D4-E743-A3E1-A56500E727EC}"/>
              </a:ext>
            </a:extLst>
          </p:cNvPr>
          <p:cNvSpPr>
            <a:spLocks noChangeAspect="1"/>
          </p:cNvSpPr>
          <p:nvPr/>
        </p:nvSpPr>
        <p:spPr>
          <a:xfrm>
            <a:off x="6099953" y="2099406"/>
            <a:ext cx="288000" cy="248540"/>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nvGrpSpPr>
          <p:cNvPr id="21" name="Group 103">
            <a:extLst>
              <a:ext uri="{FF2B5EF4-FFF2-40B4-BE49-F238E27FC236}">
                <a16:creationId xmlns:a16="http://schemas.microsoft.com/office/drawing/2014/main" id="{5A7CB03B-CCE1-5645-851D-7EE13ECABC80}"/>
              </a:ext>
            </a:extLst>
          </p:cNvPr>
          <p:cNvGrpSpPr/>
          <p:nvPr/>
        </p:nvGrpSpPr>
        <p:grpSpPr>
          <a:xfrm>
            <a:off x="6843441" y="1837532"/>
            <a:ext cx="4211028" cy="842012"/>
            <a:chOff x="4965551" y="1783849"/>
            <a:chExt cx="1780587" cy="842012"/>
          </a:xfrm>
        </p:grpSpPr>
        <p:sp>
          <p:nvSpPr>
            <p:cNvPr id="22" name="TextBox 21">
              <a:extLst>
                <a:ext uri="{FF2B5EF4-FFF2-40B4-BE49-F238E27FC236}">
                  <a16:creationId xmlns:a16="http://schemas.microsoft.com/office/drawing/2014/main" id="{1ECC279F-DC7E-5346-BC48-B3119BA4C246}"/>
                </a:ext>
              </a:extLst>
            </p:cNvPr>
            <p:cNvSpPr txBox="1"/>
            <p:nvPr/>
          </p:nvSpPr>
          <p:spPr>
            <a:xfrm>
              <a:off x="4965551" y="1979530"/>
              <a:ext cx="178058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a:t>
              </a:r>
              <a:r>
                <a:rPr lang="ko-KR" altLang="en-US" sz="1200">
                  <a:solidFill>
                    <a:schemeClr val="tx1">
                      <a:lumMod val="75000"/>
                      <a:lumOff val="25000"/>
                    </a:schemeClr>
                  </a:solidFill>
                  <a:cs typeface="Arial" pitchFamily="34" charset="0"/>
                </a:rPr>
                <a:t>  </a:t>
              </a:r>
            </a:p>
          </p:txBody>
        </p:sp>
        <p:sp>
          <p:nvSpPr>
            <p:cNvPr id="23" name="TextBox 22">
              <a:extLst>
                <a:ext uri="{FF2B5EF4-FFF2-40B4-BE49-F238E27FC236}">
                  <a16:creationId xmlns:a16="http://schemas.microsoft.com/office/drawing/2014/main" id="{A4C5F3F8-3CBB-A442-BA05-F56FC6E0B0C3}"/>
                </a:ext>
              </a:extLst>
            </p:cNvPr>
            <p:cNvSpPr txBox="1"/>
            <p:nvPr/>
          </p:nvSpPr>
          <p:spPr>
            <a:xfrm>
              <a:off x="4965551" y="1783849"/>
              <a:ext cx="1780587" cy="276999"/>
            </a:xfrm>
            <a:prstGeom prst="rect">
              <a:avLst/>
            </a:prstGeom>
            <a:noFill/>
          </p:spPr>
          <p:txBody>
            <a:bodyPr wrap="square" rtlCol="0">
              <a:spAutoFit/>
            </a:bodyPr>
            <a:lstStyle/>
            <a:p>
              <a:r>
                <a:rPr lang="en-US" altLang="ko-KR" sz="1200" b="1">
                  <a:cs typeface="Arial" pitchFamily="34" charset="0"/>
                </a:rPr>
                <a:t>Contents Title</a:t>
              </a:r>
              <a:endParaRPr lang="ko-KR" altLang="en-US" sz="1200" b="1">
                <a:cs typeface="Arial" pitchFamily="34" charset="0"/>
              </a:endParaRPr>
            </a:p>
          </p:txBody>
        </p:sp>
      </p:grpSp>
      <p:grpSp>
        <p:nvGrpSpPr>
          <p:cNvPr id="24" name="Group 106">
            <a:extLst>
              <a:ext uri="{FF2B5EF4-FFF2-40B4-BE49-F238E27FC236}">
                <a16:creationId xmlns:a16="http://schemas.microsoft.com/office/drawing/2014/main" id="{5D475BF4-0069-C74C-80C2-25C962A42CEA}"/>
              </a:ext>
            </a:extLst>
          </p:cNvPr>
          <p:cNvGrpSpPr/>
          <p:nvPr/>
        </p:nvGrpSpPr>
        <p:grpSpPr>
          <a:xfrm>
            <a:off x="7544524" y="3451541"/>
            <a:ext cx="4211028" cy="842012"/>
            <a:chOff x="4965551" y="1783849"/>
            <a:chExt cx="1780587" cy="842012"/>
          </a:xfrm>
        </p:grpSpPr>
        <p:sp>
          <p:nvSpPr>
            <p:cNvPr id="25" name="TextBox 24">
              <a:extLst>
                <a:ext uri="{FF2B5EF4-FFF2-40B4-BE49-F238E27FC236}">
                  <a16:creationId xmlns:a16="http://schemas.microsoft.com/office/drawing/2014/main" id="{F5952505-30F0-9C4A-A098-957069EA47D5}"/>
                </a:ext>
              </a:extLst>
            </p:cNvPr>
            <p:cNvSpPr txBox="1"/>
            <p:nvPr/>
          </p:nvSpPr>
          <p:spPr>
            <a:xfrm>
              <a:off x="4965551" y="1979530"/>
              <a:ext cx="178058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a:t>
              </a:r>
              <a:r>
                <a:rPr lang="ko-KR" altLang="en-US" sz="1200">
                  <a:solidFill>
                    <a:schemeClr val="tx1">
                      <a:lumMod val="75000"/>
                      <a:lumOff val="25000"/>
                    </a:schemeClr>
                  </a:solidFill>
                  <a:cs typeface="Arial" pitchFamily="34" charset="0"/>
                </a:rPr>
                <a:t>  </a:t>
              </a:r>
            </a:p>
          </p:txBody>
        </p:sp>
        <p:sp>
          <p:nvSpPr>
            <p:cNvPr id="26" name="TextBox 25">
              <a:extLst>
                <a:ext uri="{FF2B5EF4-FFF2-40B4-BE49-F238E27FC236}">
                  <a16:creationId xmlns:a16="http://schemas.microsoft.com/office/drawing/2014/main" id="{01484009-03E0-224B-982D-65C672F5677D}"/>
                </a:ext>
              </a:extLst>
            </p:cNvPr>
            <p:cNvSpPr txBox="1"/>
            <p:nvPr/>
          </p:nvSpPr>
          <p:spPr>
            <a:xfrm>
              <a:off x="4965551" y="1783849"/>
              <a:ext cx="1780587" cy="276999"/>
            </a:xfrm>
            <a:prstGeom prst="rect">
              <a:avLst/>
            </a:prstGeom>
            <a:noFill/>
          </p:spPr>
          <p:txBody>
            <a:bodyPr wrap="square" rtlCol="0">
              <a:spAutoFit/>
            </a:bodyPr>
            <a:lstStyle/>
            <a:p>
              <a:r>
                <a:rPr lang="en-US" altLang="ko-KR" sz="1200" b="1">
                  <a:cs typeface="Arial" pitchFamily="34" charset="0"/>
                </a:rPr>
                <a:t>Contents Title</a:t>
              </a:r>
              <a:endParaRPr lang="ko-KR" altLang="en-US" sz="1200" b="1">
                <a:cs typeface="Arial" pitchFamily="34" charset="0"/>
              </a:endParaRPr>
            </a:p>
          </p:txBody>
        </p:sp>
      </p:grpSp>
      <p:grpSp>
        <p:nvGrpSpPr>
          <p:cNvPr id="27" name="Group 118">
            <a:extLst>
              <a:ext uri="{FF2B5EF4-FFF2-40B4-BE49-F238E27FC236}">
                <a16:creationId xmlns:a16="http://schemas.microsoft.com/office/drawing/2014/main" id="{F68C4BB1-0EBB-1745-91E8-8EFAF4E7023A}"/>
              </a:ext>
            </a:extLst>
          </p:cNvPr>
          <p:cNvGrpSpPr/>
          <p:nvPr/>
        </p:nvGrpSpPr>
        <p:grpSpPr>
          <a:xfrm>
            <a:off x="6916578" y="5065551"/>
            <a:ext cx="4211028" cy="842012"/>
            <a:chOff x="4965551" y="1783849"/>
            <a:chExt cx="1780587" cy="842012"/>
          </a:xfrm>
        </p:grpSpPr>
        <p:sp>
          <p:nvSpPr>
            <p:cNvPr id="28" name="TextBox 27">
              <a:extLst>
                <a:ext uri="{FF2B5EF4-FFF2-40B4-BE49-F238E27FC236}">
                  <a16:creationId xmlns:a16="http://schemas.microsoft.com/office/drawing/2014/main" id="{3C7C72CF-CC5E-5E45-98BA-A487FD321B9A}"/>
                </a:ext>
              </a:extLst>
            </p:cNvPr>
            <p:cNvSpPr txBox="1"/>
            <p:nvPr/>
          </p:nvSpPr>
          <p:spPr>
            <a:xfrm>
              <a:off x="4965551" y="1979530"/>
              <a:ext cx="178058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a:t>
              </a:r>
              <a:r>
                <a:rPr lang="ko-KR" altLang="en-US" sz="1200">
                  <a:solidFill>
                    <a:schemeClr val="tx1">
                      <a:lumMod val="75000"/>
                      <a:lumOff val="25000"/>
                    </a:schemeClr>
                  </a:solidFill>
                  <a:cs typeface="Arial" pitchFamily="34" charset="0"/>
                </a:rPr>
                <a:t>  </a:t>
              </a:r>
            </a:p>
          </p:txBody>
        </p:sp>
        <p:sp>
          <p:nvSpPr>
            <p:cNvPr id="29" name="TextBox 28">
              <a:extLst>
                <a:ext uri="{FF2B5EF4-FFF2-40B4-BE49-F238E27FC236}">
                  <a16:creationId xmlns:a16="http://schemas.microsoft.com/office/drawing/2014/main" id="{DF958050-421A-2541-9C17-8501772FC321}"/>
                </a:ext>
              </a:extLst>
            </p:cNvPr>
            <p:cNvSpPr txBox="1"/>
            <p:nvPr/>
          </p:nvSpPr>
          <p:spPr>
            <a:xfrm>
              <a:off x="4965551" y="1783849"/>
              <a:ext cx="1780587" cy="276999"/>
            </a:xfrm>
            <a:prstGeom prst="rect">
              <a:avLst/>
            </a:prstGeom>
            <a:noFill/>
          </p:spPr>
          <p:txBody>
            <a:bodyPr wrap="square" rtlCol="0">
              <a:spAutoFit/>
            </a:bodyPr>
            <a:lstStyle/>
            <a:p>
              <a:r>
                <a:rPr lang="en-US" altLang="ko-KR" sz="1200" b="1">
                  <a:cs typeface="Arial" pitchFamily="34" charset="0"/>
                </a:rPr>
                <a:t>Contents Title</a:t>
              </a:r>
              <a:endParaRPr lang="ko-KR" altLang="en-US" sz="1200" b="1">
                <a:cs typeface="Arial" pitchFamily="34" charset="0"/>
              </a:endParaRPr>
            </a:p>
          </p:txBody>
        </p:sp>
      </p:grpSp>
    </p:spTree>
    <p:extLst>
      <p:ext uri="{BB962C8B-B14F-4D97-AF65-F5344CB8AC3E}">
        <p14:creationId xmlns:p14="http://schemas.microsoft.com/office/powerpoint/2010/main" val="56100125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5459DE-B46F-B94F-A520-D565CE120C3F}"/>
              </a:ext>
            </a:extLst>
          </p:cNvPr>
          <p:cNvGraphicFramePr>
            <a:graphicFrameLocks noChangeAspect="1"/>
          </p:cNvGraphicFramePr>
          <p:nvPr>
            <p:custDataLst>
              <p:tags r:id="rId1"/>
            </p:custDataLst>
            <p:extLst>
              <p:ext uri="{D42A27DB-BD31-4B8C-83A1-F6EECF244321}">
                <p14:modId xmlns:p14="http://schemas.microsoft.com/office/powerpoint/2010/main" val="2500567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325459DE-B46F-B94F-A520-D565CE120C3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F127D11-6CAD-BE40-B39D-F21CA53FA308}"/>
              </a:ext>
            </a:extLst>
          </p:cNvPr>
          <p:cNvSpPr>
            <a:spLocks noGrp="1"/>
          </p:cNvSpPr>
          <p:nvPr>
            <p:ph type="sldNum" sz="quarter" idx="4"/>
          </p:nvPr>
        </p:nvSpPr>
        <p:spPr/>
        <p:txBody>
          <a:bodyPr/>
          <a:lstStyle/>
          <a:p>
            <a:fld id="{3D966009-6E5A-4F8C-8CA7-E37AFBF5FB92}" type="slidenum">
              <a:rPr lang="en-US" smtClean="0"/>
              <a:t>134</a:t>
            </a:fld>
            <a:endParaRPr lang="en-US"/>
          </a:p>
        </p:txBody>
      </p:sp>
      <p:sp>
        <p:nvSpPr>
          <p:cNvPr id="3" name="Title 2">
            <a:extLst>
              <a:ext uri="{FF2B5EF4-FFF2-40B4-BE49-F238E27FC236}">
                <a16:creationId xmlns:a16="http://schemas.microsoft.com/office/drawing/2014/main" id="{15CAEEEA-A427-744F-A6BC-D0DB3D4EE222}"/>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93BB795E-EE31-AC41-ABAA-F0F72D7A7480}"/>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1869EF15-A9A3-A044-96AF-6A58F5684A24}"/>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F4656305-E6AC-604B-B5E0-5892F501647D}"/>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36A31A10-68BC-8E49-9404-CA0A5B3A5F94}"/>
              </a:ext>
            </a:extLst>
          </p:cNvPr>
          <p:cNvSpPr>
            <a:spLocks noGrp="1"/>
          </p:cNvSpPr>
          <p:nvPr>
            <p:ph sz="quarter" idx="14"/>
          </p:nvPr>
        </p:nvSpPr>
        <p:spPr/>
        <p:txBody>
          <a:bodyPr/>
          <a:lstStyle/>
          <a:p>
            <a:endParaRPr lang="de-DE"/>
          </a:p>
        </p:txBody>
      </p:sp>
      <p:grpSp>
        <p:nvGrpSpPr>
          <p:cNvPr id="235" name="Group 234">
            <a:extLst>
              <a:ext uri="{FF2B5EF4-FFF2-40B4-BE49-F238E27FC236}">
                <a16:creationId xmlns:a16="http://schemas.microsoft.com/office/drawing/2014/main" id="{D488D28A-1393-FC42-9E7D-9CACF181EAE1}"/>
              </a:ext>
            </a:extLst>
          </p:cNvPr>
          <p:cNvGrpSpPr>
            <a:grpSpLocks noChangeAspect="1"/>
          </p:cNvGrpSpPr>
          <p:nvPr/>
        </p:nvGrpSpPr>
        <p:grpSpPr>
          <a:xfrm>
            <a:off x="1001999" y="1658833"/>
            <a:ext cx="10188000" cy="4327904"/>
            <a:chOff x="852687" y="1440373"/>
            <a:chExt cx="10486216" cy="4454588"/>
          </a:xfrm>
        </p:grpSpPr>
        <p:sp>
          <p:nvSpPr>
            <p:cNvPr id="179" name="Oval 178">
              <a:extLst>
                <a:ext uri="{FF2B5EF4-FFF2-40B4-BE49-F238E27FC236}">
                  <a16:creationId xmlns:a16="http://schemas.microsoft.com/office/drawing/2014/main" id="{CC7588DE-C7C7-604A-85E0-C1D9A31B0D53}"/>
                </a:ext>
              </a:extLst>
            </p:cNvPr>
            <p:cNvSpPr/>
            <p:nvPr/>
          </p:nvSpPr>
          <p:spPr>
            <a:xfrm>
              <a:off x="5249079" y="2794143"/>
              <a:ext cx="1695716" cy="1695717"/>
            </a:xfrm>
            <a:prstGeom prst="ellipse">
              <a:avLst/>
            </a:prstGeom>
            <a:solidFill>
              <a:srgbClr val="024049"/>
            </a:solidFill>
            <a:ln w="19050" cap="flat" cmpd="sng" algn="ctr">
              <a:gradFill>
                <a:gsLst>
                  <a:gs pos="0">
                    <a:sysClr val="window" lastClr="FFFFFF"/>
                  </a:gs>
                  <a:gs pos="50000">
                    <a:sysClr val="window" lastClr="FFFFFF">
                      <a:alpha val="65000"/>
                    </a:sysClr>
                  </a:gs>
                  <a:gs pos="100000">
                    <a:sysClr val="window" lastClr="FFFFFF">
                      <a:alpha val="0"/>
                    </a:sysClr>
                  </a:gs>
                </a:gsLst>
                <a:lin ang="7200000" scaled="0"/>
              </a:gradFill>
              <a:prstDash val="solid"/>
              <a:miter lim="800000"/>
            </a:ln>
            <a:effectLst>
              <a:outerShdw blurRad="25400" dist="12700" dir="8100000" algn="tr" rotWithShape="0">
                <a:prstClr val="black">
                  <a:alpha val="23000"/>
                </a:prstClr>
              </a:outerShdw>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180" name="Group 179">
              <a:extLst>
                <a:ext uri="{FF2B5EF4-FFF2-40B4-BE49-F238E27FC236}">
                  <a16:creationId xmlns:a16="http://schemas.microsoft.com/office/drawing/2014/main" id="{2B08769D-92A4-B34D-B5D6-0B26074B57ED}"/>
                </a:ext>
              </a:extLst>
            </p:cNvPr>
            <p:cNvGrpSpPr/>
            <p:nvPr/>
          </p:nvGrpSpPr>
          <p:grpSpPr>
            <a:xfrm>
              <a:off x="4718220" y="2226257"/>
              <a:ext cx="1369195" cy="1279809"/>
              <a:chOff x="2827731" y="1829193"/>
              <a:chExt cx="1744272" cy="1630399"/>
            </a:xfrm>
          </p:grpSpPr>
          <p:sp>
            <p:nvSpPr>
              <p:cNvPr id="181" name="Rectangle 15">
                <a:extLst>
                  <a:ext uri="{FF2B5EF4-FFF2-40B4-BE49-F238E27FC236}">
                    <a16:creationId xmlns:a16="http://schemas.microsoft.com/office/drawing/2014/main" id="{1DA956AD-4108-064A-97A6-073CC9F67CE9}"/>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82" name="Rectangle 15">
                <a:extLst>
                  <a:ext uri="{FF2B5EF4-FFF2-40B4-BE49-F238E27FC236}">
                    <a16:creationId xmlns:a16="http://schemas.microsoft.com/office/drawing/2014/main" id="{AE1EEFCD-E3D5-EB44-BD2D-7EF07EA970CD}"/>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183" name="Rectangle 15">
              <a:extLst>
                <a:ext uri="{FF2B5EF4-FFF2-40B4-BE49-F238E27FC236}">
                  <a16:creationId xmlns:a16="http://schemas.microsoft.com/office/drawing/2014/main" id="{A7541D36-603E-B343-9FBC-D91A48FF70E0}"/>
                </a:ext>
              </a:extLst>
            </p:cNvPr>
            <p:cNvSpPr/>
            <p:nvPr/>
          </p:nvSpPr>
          <p:spPr>
            <a:xfrm rot="10800000">
              <a:off x="4671062" y="3648240"/>
              <a:ext cx="729682" cy="704290"/>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84" name="Rectangle 15">
              <a:extLst>
                <a:ext uri="{FF2B5EF4-FFF2-40B4-BE49-F238E27FC236}">
                  <a16:creationId xmlns:a16="http://schemas.microsoft.com/office/drawing/2014/main" id="{E388307B-C091-C748-8C91-7EF1BD2509B8}"/>
                </a:ext>
              </a:extLst>
            </p:cNvPr>
            <p:cNvSpPr/>
            <p:nvPr/>
          </p:nvSpPr>
          <p:spPr>
            <a:xfrm rot="8033242">
              <a:off x="5233885" y="4300449"/>
              <a:ext cx="729683" cy="704289"/>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185" name="Group 184">
              <a:extLst>
                <a:ext uri="{FF2B5EF4-FFF2-40B4-BE49-F238E27FC236}">
                  <a16:creationId xmlns:a16="http://schemas.microsoft.com/office/drawing/2014/main" id="{E56E7B1F-C835-8341-ACD1-F6C7D984836D}"/>
                </a:ext>
              </a:extLst>
            </p:cNvPr>
            <p:cNvGrpSpPr/>
            <p:nvPr/>
          </p:nvGrpSpPr>
          <p:grpSpPr>
            <a:xfrm rot="10800000">
              <a:off x="6092300" y="3805085"/>
              <a:ext cx="1369195" cy="1279809"/>
              <a:chOff x="2827731" y="1829193"/>
              <a:chExt cx="1744272" cy="1630399"/>
            </a:xfrm>
          </p:grpSpPr>
          <p:sp>
            <p:nvSpPr>
              <p:cNvPr id="186" name="Rectangle 15">
                <a:extLst>
                  <a:ext uri="{FF2B5EF4-FFF2-40B4-BE49-F238E27FC236}">
                    <a16:creationId xmlns:a16="http://schemas.microsoft.com/office/drawing/2014/main" id="{CBA3544B-ED45-8342-BDC8-11C8D1AD5D99}"/>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87" name="Rectangle 15">
                <a:extLst>
                  <a:ext uri="{FF2B5EF4-FFF2-40B4-BE49-F238E27FC236}">
                    <a16:creationId xmlns:a16="http://schemas.microsoft.com/office/drawing/2014/main" id="{C6B015A9-EA32-1740-A1BE-8A80DA10F90C}"/>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188" name="Group 187">
              <a:extLst>
                <a:ext uri="{FF2B5EF4-FFF2-40B4-BE49-F238E27FC236}">
                  <a16:creationId xmlns:a16="http://schemas.microsoft.com/office/drawing/2014/main" id="{E03F3549-292A-064D-836D-C526695CAC88}"/>
                </a:ext>
              </a:extLst>
            </p:cNvPr>
            <p:cNvGrpSpPr/>
            <p:nvPr/>
          </p:nvGrpSpPr>
          <p:grpSpPr>
            <a:xfrm rot="5400000">
              <a:off x="6194099" y="2323738"/>
              <a:ext cx="1369196" cy="1279809"/>
              <a:chOff x="2827731" y="1829193"/>
              <a:chExt cx="1744272" cy="1630399"/>
            </a:xfrm>
          </p:grpSpPr>
          <p:sp>
            <p:nvSpPr>
              <p:cNvPr id="189" name="Rectangle 15">
                <a:extLst>
                  <a:ext uri="{FF2B5EF4-FFF2-40B4-BE49-F238E27FC236}">
                    <a16:creationId xmlns:a16="http://schemas.microsoft.com/office/drawing/2014/main" id="{F30C94E8-7C5A-D346-9E57-9137DA34CDA3}"/>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0" name="Rectangle 15">
                <a:extLst>
                  <a:ext uri="{FF2B5EF4-FFF2-40B4-BE49-F238E27FC236}">
                    <a16:creationId xmlns:a16="http://schemas.microsoft.com/office/drawing/2014/main" id="{E76A1563-5C44-3347-83A2-BEA44EE0D23D}"/>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191" name="Oval 190">
              <a:extLst>
                <a:ext uri="{FF2B5EF4-FFF2-40B4-BE49-F238E27FC236}">
                  <a16:creationId xmlns:a16="http://schemas.microsoft.com/office/drawing/2014/main" id="{1506A3B1-B1D0-BF4E-87A1-1CE405B84E91}"/>
                </a:ext>
              </a:extLst>
            </p:cNvPr>
            <p:cNvSpPr/>
            <p:nvPr/>
          </p:nvSpPr>
          <p:spPr>
            <a:xfrm>
              <a:off x="5735269" y="1610689"/>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2" name="Oval 191">
              <a:extLst>
                <a:ext uri="{FF2B5EF4-FFF2-40B4-BE49-F238E27FC236}">
                  <a16:creationId xmlns:a16="http://schemas.microsoft.com/office/drawing/2014/main" id="{2CF0AE18-D349-704F-93D0-9FC8D5435C3F}"/>
                </a:ext>
              </a:extLst>
            </p:cNvPr>
            <p:cNvSpPr/>
            <p:nvPr/>
          </p:nvSpPr>
          <p:spPr>
            <a:xfrm>
              <a:off x="4503719" y="2155500"/>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3" name="Oval 192">
              <a:extLst>
                <a:ext uri="{FF2B5EF4-FFF2-40B4-BE49-F238E27FC236}">
                  <a16:creationId xmlns:a16="http://schemas.microsoft.com/office/drawing/2014/main" id="{4169EF2A-3752-E54B-8A09-D8A87AA7A92E}"/>
                </a:ext>
              </a:extLst>
            </p:cNvPr>
            <p:cNvSpPr/>
            <p:nvPr/>
          </p:nvSpPr>
          <p:spPr>
            <a:xfrm>
              <a:off x="4012977" y="3437365"/>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4" name="Oval 193">
              <a:extLst>
                <a:ext uri="{FF2B5EF4-FFF2-40B4-BE49-F238E27FC236}">
                  <a16:creationId xmlns:a16="http://schemas.microsoft.com/office/drawing/2014/main" id="{A0F8CB1F-A1FA-8044-A59E-FAD95BD1EEF4}"/>
                </a:ext>
              </a:extLst>
            </p:cNvPr>
            <p:cNvSpPr/>
            <p:nvPr/>
          </p:nvSpPr>
          <p:spPr>
            <a:xfrm>
              <a:off x="4615743" y="4672590"/>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5" name="Oval 194">
              <a:extLst>
                <a:ext uri="{FF2B5EF4-FFF2-40B4-BE49-F238E27FC236}">
                  <a16:creationId xmlns:a16="http://schemas.microsoft.com/office/drawing/2014/main" id="{87650DF5-9A12-B140-8722-F01C6AF39A53}"/>
                </a:ext>
              </a:extLst>
            </p:cNvPr>
            <p:cNvSpPr/>
            <p:nvPr/>
          </p:nvSpPr>
          <p:spPr>
            <a:xfrm>
              <a:off x="5881424" y="5142372"/>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6" name="Oval 195">
              <a:extLst>
                <a:ext uri="{FF2B5EF4-FFF2-40B4-BE49-F238E27FC236}">
                  <a16:creationId xmlns:a16="http://schemas.microsoft.com/office/drawing/2014/main" id="{3BBD2C66-AD4C-B043-970D-46767CE94E68}"/>
                </a:ext>
              </a:extLst>
            </p:cNvPr>
            <p:cNvSpPr/>
            <p:nvPr/>
          </p:nvSpPr>
          <p:spPr>
            <a:xfrm>
              <a:off x="7113715" y="4596640"/>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7" name="Oval 196">
              <a:extLst>
                <a:ext uri="{FF2B5EF4-FFF2-40B4-BE49-F238E27FC236}">
                  <a16:creationId xmlns:a16="http://schemas.microsoft.com/office/drawing/2014/main" id="{249D414B-3ED4-4B4E-A8EB-CEB495ADF6F9}"/>
                </a:ext>
              </a:extLst>
            </p:cNvPr>
            <p:cNvSpPr/>
            <p:nvPr/>
          </p:nvSpPr>
          <p:spPr>
            <a:xfrm>
              <a:off x="7616006" y="3296096"/>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98" name="Oval 197">
              <a:extLst>
                <a:ext uri="{FF2B5EF4-FFF2-40B4-BE49-F238E27FC236}">
                  <a16:creationId xmlns:a16="http://schemas.microsoft.com/office/drawing/2014/main" id="{8E0DF8F4-1868-5E46-A2F2-B8AD4EF0CC30}"/>
                </a:ext>
              </a:extLst>
            </p:cNvPr>
            <p:cNvSpPr/>
            <p:nvPr/>
          </p:nvSpPr>
          <p:spPr>
            <a:xfrm>
              <a:off x="7014768" y="2054934"/>
              <a:ext cx="563019" cy="563019"/>
            </a:xfrm>
            <a:prstGeom prst="ellipse">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199" name="Group 198">
              <a:extLst>
                <a:ext uri="{FF2B5EF4-FFF2-40B4-BE49-F238E27FC236}">
                  <a16:creationId xmlns:a16="http://schemas.microsoft.com/office/drawing/2014/main" id="{D0117CC7-1183-BE40-98D4-41965D65A015}"/>
                </a:ext>
              </a:extLst>
            </p:cNvPr>
            <p:cNvGrpSpPr/>
            <p:nvPr/>
          </p:nvGrpSpPr>
          <p:grpSpPr>
            <a:xfrm>
              <a:off x="6616996" y="5237615"/>
              <a:ext cx="2966597" cy="657346"/>
              <a:chOff x="4965551" y="1783849"/>
              <a:chExt cx="1780587" cy="657346"/>
            </a:xfrm>
          </p:grpSpPr>
          <p:sp>
            <p:nvSpPr>
              <p:cNvPr id="200" name="TextBox 199">
                <a:extLst>
                  <a:ext uri="{FF2B5EF4-FFF2-40B4-BE49-F238E27FC236}">
                    <a16:creationId xmlns:a16="http://schemas.microsoft.com/office/drawing/2014/main" id="{26F12640-ECD7-714D-8D16-2C1F4EE5AB31}"/>
                  </a:ext>
                </a:extLst>
              </p:cNvPr>
              <p:cNvSpPr txBox="1"/>
              <p:nvPr/>
            </p:nvSpPr>
            <p:spPr>
              <a:xfrm>
                <a:off x="4965551" y="1979530"/>
                <a:ext cx="1780587" cy="461665"/>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01" name="TextBox 200">
                <a:extLst>
                  <a:ext uri="{FF2B5EF4-FFF2-40B4-BE49-F238E27FC236}">
                    <a16:creationId xmlns:a16="http://schemas.microsoft.com/office/drawing/2014/main" id="{B0A5B5C9-2727-394A-BD17-91290F3F83C2}"/>
                  </a:ext>
                </a:extLst>
              </p:cNvPr>
              <p:cNvSpPr txBox="1"/>
              <p:nvPr/>
            </p:nvSpPr>
            <p:spPr>
              <a:xfrm>
                <a:off x="4965551" y="1783849"/>
                <a:ext cx="1780587" cy="276999"/>
              </a:xfrm>
              <a:prstGeom prst="rect">
                <a:avLst/>
              </a:prstGeom>
              <a:noFill/>
            </p:spPr>
            <p:txBody>
              <a:bodyPr wrap="square" rtlCol="0">
                <a:spAutoFit/>
              </a:bodyPr>
              <a:lstStyle/>
              <a:p>
                <a:pP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02" name="Group 201">
              <a:extLst>
                <a:ext uri="{FF2B5EF4-FFF2-40B4-BE49-F238E27FC236}">
                  <a16:creationId xmlns:a16="http://schemas.microsoft.com/office/drawing/2014/main" id="{54EDD981-079B-D345-9294-D7E4AE522195}"/>
                </a:ext>
              </a:extLst>
            </p:cNvPr>
            <p:cNvGrpSpPr/>
            <p:nvPr/>
          </p:nvGrpSpPr>
          <p:grpSpPr>
            <a:xfrm>
              <a:off x="7758952" y="1974408"/>
              <a:ext cx="2966597" cy="657346"/>
              <a:chOff x="4965551" y="1783849"/>
              <a:chExt cx="1780587" cy="657346"/>
            </a:xfrm>
          </p:grpSpPr>
          <p:sp>
            <p:nvSpPr>
              <p:cNvPr id="203" name="TextBox 202">
                <a:extLst>
                  <a:ext uri="{FF2B5EF4-FFF2-40B4-BE49-F238E27FC236}">
                    <a16:creationId xmlns:a16="http://schemas.microsoft.com/office/drawing/2014/main" id="{31FBA8A9-D737-A64C-B009-042313556A84}"/>
                  </a:ext>
                </a:extLst>
              </p:cNvPr>
              <p:cNvSpPr txBox="1"/>
              <p:nvPr/>
            </p:nvSpPr>
            <p:spPr>
              <a:xfrm>
                <a:off x="4965551" y="1979530"/>
                <a:ext cx="1780587" cy="461665"/>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04" name="TextBox 203">
                <a:extLst>
                  <a:ext uri="{FF2B5EF4-FFF2-40B4-BE49-F238E27FC236}">
                    <a16:creationId xmlns:a16="http://schemas.microsoft.com/office/drawing/2014/main" id="{CB4A69DF-F96A-1C4D-A8AC-E4829D482C69}"/>
                  </a:ext>
                </a:extLst>
              </p:cNvPr>
              <p:cNvSpPr txBox="1"/>
              <p:nvPr/>
            </p:nvSpPr>
            <p:spPr>
              <a:xfrm>
                <a:off x="4965551" y="1783849"/>
                <a:ext cx="1780587" cy="276999"/>
              </a:xfrm>
              <a:prstGeom prst="rect">
                <a:avLst/>
              </a:prstGeom>
              <a:noFill/>
            </p:spPr>
            <p:txBody>
              <a:bodyPr wrap="square" rtlCol="0">
                <a:spAutoFit/>
              </a:bodyPr>
              <a:lstStyle/>
              <a:p>
                <a:pP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05" name="Group 204">
              <a:extLst>
                <a:ext uri="{FF2B5EF4-FFF2-40B4-BE49-F238E27FC236}">
                  <a16:creationId xmlns:a16="http://schemas.microsoft.com/office/drawing/2014/main" id="{CE1B052E-BBE3-874D-8B70-00D84B5B5ACB}"/>
                </a:ext>
              </a:extLst>
            </p:cNvPr>
            <p:cNvGrpSpPr/>
            <p:nvPr/>
          </p:nvGrpSpPr>
          <p:grpSpPr>
            <a:xfrm>
              <a:off x="8372306" y="3244069"/>
              <a:ext cx="2966597" cy="657346"/>
              <a:chOff x="4965551" y="1783849"/>
              <a:chExt cx="1780587" cy="657346"/>
            </a:xfrm>
          </p:grpSpPr>
          <p:sp>
            <p:nvSpPr>
              <p:cNvPr id="206" name="TextBox 205">
                <a:extLst>
                  <a:ext uri="{FF2B5EF4-FFF2-40B4-BE49-F238E27FC236}">
                    <a16:creationId xmlns:a16="http://schemas.microsoft.com/office/drawing/2014/main" id="{B7496857-331F-2E4F-BC73-ED04DE9196BD}"/>
                  </a:ext>
                </a:extLst>
              </p:cNvPr>
              <p:cNvSpPr txBox="1"/>
              <p:nvPr/>
            </p:nvSpPr>
            <p:spPr>
              <a:xfrm>
                <a:off x="4965551" y="1979530"/>
                <a:ext cx="1780587" cy="461665"/>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07" name="TextBox 206">
                <a:extLst>
                  <a:ext uri="{FF2B5EF4-FFF2-40B4-BE49-F238E27FC236}">
                    <a16:creationId xmlns:a16="http://schemas.microsoft.com/office/drawing/2014/main" id="{0EB0A85E-3E17-A848-8A21-6E5EF85B7E76}"/>
                  </a:ext>
                </a:extLst>
              </p:cNvPr>
              <p:cNvSpPr txBox="1"/>
              <p:nvPr/>
            </p:nvSpPr>
            <p:spPr>
              <a:xfrm>
                <a:off x="4965551" y="1783849"/>
                <a:ext cx="1780587" cy="276999"/>
              </a:xfrm>
              <a:prstGeom prst="rect">
                <a:avLst/>
              </a:prstGeom>
              <a:noFill/>
            </p:spPr>
            <p:txBody>
              <a:bodyPr wrap="square" rtlCol="0">
                <a:spAutoFit/>
              </a:bodyPr>
              <a:lstStyle/>
              <a:p>
                <a:pP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08" name="Group 207">
              <a:extLst>
                <a:ext uri="{FF2B5EF4-FFF2-40B4-BE49-F238E27FC236}">
                  <a16:creationId xmlns:a16="http://schemas.microsoft.com/office/drawing/2014/main" id="{B55FC932-8F96-EC44-89A3-38E6F0FBAA90}"/>
                </a:ext>
              </a:extLst>
            </p:cNvPr>
            <p:cNvGrpSpPr/>
            <p:nvPr/>
          </p:nvGrpSpPr>
          <p:grpSpPr>
            <a:xfrm>
              <a:off x="7849287" y="4549477"/>
              <a:ext cx="2966597" cy="657346"/>
              <a:chOff x="4965551" y="1783849"/>
              <a:chExt cx="1780587" cy="657346"/>
            </a:xfrm>
          </p:grpSpPr>
          <p:sp>
            <p:nvSpPr>
              <p:cNvPr id="209" name="TextBox 208">
                <a:extLst>
                  <a:ext uri="{FF2B5EF4-FFF2-40B4-BE49-F238E27FC236}">
                    <a16:creationId xmlns:a16="http://schemas.microsoft.com/office/drawing/2014/main" id="{FE135BF7-2A6D-4544-BD61-960020EE459D}"/>
                  </a:ext>
                </a:extLst>
              </p:cNvPr>
              <p:cNvSpPr txBox="1"/>
              <p:nvPr/>
            </p:nvSpPr>
            <p:spPr>
              <a:xfrm>
                <a:off x="4965551" y="1979530"/>
                <a:ext cx="1780587" cy="461665"/>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10" name="TextBox 209">
                <a:extLst>
                  <a:ext uri="{FF2B5EF4-FFF2-40B4-BE49-F238E27FC236}">
                    <a16:creationId xmlns:a16="http://schemas.microsoft.com/office/drawing/2014/main" id="{2B0B74F3-BFA3-AC46-9CA1-33E4D9AA4BB9}"/>
                  </a:ext>
                </a:extLst>
              </p:cNvPr>
              <p:cNvSpPr txBox="1"/>
              <p:nvPr/>
            </p:nvSpPr>
            <p:spPr>
              <a:xfrm>
                <a:off x="4965551" y="1783849"/>
                <a:ext cx="1780587" cy="276999"/>
              </a:xfrm>
              <a:prstGeom prst="rect">
                <a:avLst/>
              </a:prstGeom>
              <a:noFill/>
            </p:spPr>
            <p:txBody>
              <a:bodyPr wrap="square" rtlCol="0">
                <a:spAutoFit/>
              </a:bodyPr>
              <a:lstStyle/>
              <a:p>
                <a:pP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11" name="Group 210">
              <a:extLst>
                <a:ext uri="{FF2B5EF4-FFF2-40B4-BE49-F238E27FC236}">
                  <a16:creationId xmlns:a16="http://schemas.microsoft.com/office/drawing/2014/main" id="{D8E33F17-D729-234B-9216-E5CA54D0C5DF}"/>
                </a:ext>
              </a:extLst>
            </p:cNvPr>
            <p:cNvGrpSpPr/>
            <p:nvPr/>
          </p:nvGrpSpPr>
          <p:grpSpPr>
            <a:xfrm>
              <a:off x="2582978" y="1440373"/>
              <a:ext cx="2983091" cy="657346"/>
              <a:chOff x="4965551" y="1783849"/>
              <a:chExt cx="1780587" cy="657346"/>
            </a:xfrm>
          </p:grpSpPr>
          <p:sp>
            <p:nvSpPr>
              <p:cNvPr id="212" name="TextBox 211">
                <a:extLst>
                  <a:ext uri="{FF2B5EF4-FFF2-40B4-BE49-F238E27FC236}">
                    <a16:creationId xmlns:a16="http://schemas.microsoft.com/office/drawing/2014/main" id="{C2E8692A-7ADE-AB4A-9336-A0AD45217B23}"/>
                  </a:ext>
                </a:extLst>
              </p:cNvPr>
              <p:cNvSpPr txBox="1"/>
              <p:nvPr/>
            </p:nvSpPr>
            <p:spPr>
              <a:xfrm>
                <a:off x="4965551" y="1979530"/>
                <a:ext cx="1780587" cy="461665"/>
              </a:xfrm>
              <a:prstGeom prst="rect">
                <a:avLst/>
              </a:prstGeom>
              <a:noFill/>
            </p:spPr>
            <p:txBody>
              <a:bodyPr wrap="square" rtlCol="0">
                <a:spAutoFit/>
              </a:bodyPr>
              <a:lstStyle/>
              <a:p>
                <a:pPr algn="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13" name="TextBox 212">
                <a:extLst>
                  <a:ext uri="{FF2B5EF4-FFF2-40B4-BE49-F238E27FC236}">
                    <a16:creationId xmlns:a16="http://schemas.microsoft.com/office/drawing/2014/main" id="{2ACE0E46-3EED-024F-9995-EA19B778DE7B}"/>
                  </a:ext>
                </a:extLst>
              </p:cNvPr>
              <p:cNvSpPr txBox="1"/>
              <p:nvPr/>
            </p:nvSpPr>
            <p:spPr>
              <a:xfrm>
                <a:off x="4965551" y="1783849"/>
                <a:ext cx="1780587" cy="276999"/>
              </a:xfrm>
              <a:prstGeom prst="rect">
                <a:avLst/>
              </a:prstGeom>
              <a:noFill/>
            </p:spPr>
            <p:txBody>
              <a:bodyPr wrap="square" rtlCol="0">
                <a:spAutoFit/>
              </a:bodyPr>
              <a:lstStyle/>
              <a:p>
                <a:pPr algn="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14" name="Group 213">
              <a:extLst>
                <a:ext uri="{FF2B5EF4-FFF2-40B4-BE49-F238E27FC236}">
                  <a16:creationId xmlns:a16="http://schemas.microsoft.com/office/drawing/2014/main" id="{42BA0CB9-D530-6446-AB48-D6B996643E1F}"/>
                </a:ext>
              </a:extLst>
            </p:cNvPr>
            <p:cNvGrpSpPr/>
            <p:nvPr/>
          </p:nvGrpSpPr>
          <p:grpSpPr>
            <a:xfrm>
              <a:off x="1356856" y="2085415"/>
              <a:ext cx="2983091" cy="657346"/>
              <a:chOff x="4965551" y="1783849"/>
              <a:chExt cx="1780587" cy="657346"/>
            </a:xfrm>
          </p:grpSpPr>
          <p:sp>
            <p:nvSpPr>
              <p:cNvPr id="215" name="TextBox 214">
                <a:extLst>
                  <a:ext uri="{FF2B5EF4-FFF2-40B4-BE49-F238E27FC236}">
                    <a16:creationId xmlns:a16="http://schemas.microsoft.com/office/drawing/2014/main" id="{9C7D5498-F67F-B54F-86D0-BF19340161B2}"/>
                  </a:ext>
                </a:extLst>
              </p:cNvPr>
              <p:cNvSpPr txBox="1"/>
              <p:nvPr/>
            </p:nvSpPr>
            <p:spPr>
              <a:xfrm>
                <a:off x="4965551" y="1979530"/>
                <a:ext cx="1780587" cy="461665"/>
              </a:xfrm>
              <a:prstGeom prst="rect">
                <a:avLst/>
              </a:prstGeom>
              <a:noFill/>
            </p:spPr>
            <p:txBody>
              <a:bodyPr wrap="square" rtlCol="0">
                <a:spAutoFit/>
              </a:bodyPr>
              <a:lstStyle/>
              <a:p>
                <a:pPr algn="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16" name="TextBox 215">
                <a:extLst>
                  <a:ext uri="{FF2B5EF4-FFF2-40B4-BE49-F238E27FC236}">
                    <a16:creationId xmlns:a16="http://schemas.microsoft.com/office/drawing/2014/main" id="{86184AAE-547B-3E44-B0B5-C4738339888B}"/>
                  </a:ext>
                </a:extLst>
              </p:cNvPr>
              <p:cNvSpPr txBox="1"/>
              <p:nvPr/>
            </p:nvSpPr>
            <p:spPr>
              <a:xfrm>
                <a:off x="4965551" y="1783849"/>
                <a:ext cx="1780587" cy="276999"/>
              </a:xfrm>
              <a:prstGeom prst="rect">
                <a:avLst/>
              </a:prstGeom>
              <a:noFill/>
            </p:spPr>
            <p:txBody>
              <a:bodyPr wrap="square" rtlCol="0">
                <a:spAutoFit/>
              </a:bodyPr>
              <a:lstStyle/>
              <a:p>
                <a:pPr algn="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17" name="Group 216">
              <a:extLst>
                <a:ext uri="{FF2B5EF4-FFF2-40B4-BE49-F238E27FC236}">
                  <a16:creationId xmlns:a16="http://schemas.microsoft.com/office/drawing/2014/main" id="{8115C15E-44D2-0247-A314-31209BD2FE91}"/>
                </a:ext>
              </a:extLst>
            </p:cNvPr>
            <p:cNvGrpSpPr/>
            <p:nvPr/>
          </p:nvGrpSpPr>
          <p:grpSpPr>
            <a:xfrm>
              <a:off x="852687" y="3390202"/>
              <a:ext cx="2983091" cy="657346"/>
              <a:chOff x="4965551" y="1783849"/>
              <a:chExt cx="1780587" cy="657346"/>
            </a:xfrm>
          </p:grpSpPr>
          <p:sp>
            <p:nvSpPr>
              <p:cNvPr id="218" name="TextBox 217">
                <a:extLst>
                  <a:ext uri="{FF2B5EF4-FFF2-40B4-BE49-F238E27FC236}">
                    <a16:creationId xmlns:a16="http://schemas.microsoft.com/office/drawing/2014/main" id="{70A815FB-B344-624A-9BAA-AE32820F7137}"/>
                  </a:ext>
                </a:extLst>
              </p:cNvPr>
              <p:cNvSpPr txBox="1"/>
              <p:nvPr/>
            </p:nvSpPr>
            <p:spPr>
              <a:xfrm>
                <a:off x="4965551" y="1979530"/>
                <a:ext cx="1780587" cy="461665"/>
              </a:xfrm>
              <a:prstGeom prst="rect">
                <a:avLst/>
              </a:prstGeom>
              <a:noFill/>
            </p:spPr>
            <p:txBody>
              <a:bodyPr wrap="square" rtlCol="0">
                <a:spAutoFit/>
              </a:bodyPr>
              <a:lstStyle/>
              <a:p>
                <a:pPr algn="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19" name="TextBox 218">
                <a:extLst>
                  <a:ext uri="{FF2B5EF4-FFF2-40B4-BE49-F238E27FC236}">
                    <a16:creationId xmlns:a16="http://schemas.microsoft.com/office/drawing/2014/main" id="{BB69B5B3-DC80-C146-93AE-425F09098D34}"/>
                  </a:ext>
                </a:extLst>
              </p:cNvPr>
              <p:cNvSpPr txBox="1"/>
              <p:nvPr/>
            </p:nvSpPr>
            <p:spPr>
              <a:xfrm>
                <a:off x="4965551" y="1783849"/>
                <a:ext cx="1780587" cy="276999"/>
              </a:xfrm>
              <a:prstGeom prst="rect">
                <a:avLst/>
              </a:prstGeom>
              <a:noFill/>
            </p:spPr>
            <p:txBody>
              <a:bodyPr wrap="square" rtlCol="0">
                <a:spAutoFit/>
              </a:bodyPr>
              <a:lstStyle/>
              <a:p>
                <a:pPr algn="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20" name="Group 219">
              <a:extLst>
                <a:ext uri="{FF2B5EF4-FFF2-40B4-BE49-F238E27FC236}">
                  <a16:creationId xmlns:a16="http://schemas.microsoft.com/office/drawing/2014/main" id="{798E087A-A74B-3A4F-BC40-1E16F501FF3D}"/>
                </a:ext>
              </a:extLst>
            </p:cNvPr>
            <p:cNvGrpSpPr/>
            <p:nvPr/>
          </p:nvGrpSpPr>
          <p:grpSpPr>
            <a:xfrm>
              <a:off x="1454005" y="4622911"/>
              <a:ext cx="2983091" cy="657346"/>
              <a:chOff x="4965551" y="1783849"/>
              <a:chExt cx="1780587" cy="657346"/>
            </a:xfrm>
          </p:grpSpPr>
          <p:sp>
            <p:nvSpPr>
              <p:cNvPr id="221" name="TextBox 220">
                <a:extLst>
                  <a:ext uri="{FF2B5EF4-FFF2-40B4-BE49-F238E27FC236}">
                    <a16:creationId xmlns:a16="http://schemas.microsoft.com/office/drawing/2014/main" id="{86773E87-1533-9B40-AF1E-46C6F94EA6B3}"/>
                  </a:ext>
                </a:extLst>
              </p:cNvPr>
              <p:cNvSpPr txBox="1"/>
              <p:nvPr/>
            </p:nvSpPr>
            <p:spPr>
              <a:xfrm>
                <a:off x="4965551" y="1979530"/>
                <a:ext cx="1780587" cy="461665"/>
              </a:xfrm>
              <a:prstGeom prst="rect">
                <a:avLst/>
              </a:prstGeom>
              <a:noFill/>
            </p:spPr>
            <p:txBody>
              <a:bodyPr wrap="square" rtlCol="0">
                <a:spAutoFit/>
              </a:bodyPr>
              <a:lstStyle/>
              <a:p>
                <a:pPr algn="r" defTabSz="914286"/>
                <a:r>
                  <a:rPr lang="en-US" altLang="ko-KR" sz="1200">
                    <a:solidFill>
                      <a:prstClr val="black">
                        <a:lumMod val="75000"/>
                        <a:lumOff val="25000"/>
                      </a:prstClr>
                    </a:solidFill>
                    <a:ea typeface="Arial Unicode MS"/>
                    <a:cs typeface="Arial" pitchFamily="34" charset="0"/>
                  </a:rPr>
                  <a:t>Get a modern PowerPoint  Presentation that is beautifully designed. </a:t>
                </a:r>
                <a:endParaRPr lang="ko-KR" altLang="en-US" sz="1200">
                  <a:solidFill>
                    <a:prstClr val="black">
                      <a:lumMod val="75000"/>
                      <a:lumOff val="25000"/>
                    </a:prstClr>
                  </a:solidFill>
                  <a:ea typeface="Arial Unicode MS"/>
                  <a:cs typeface="Arial" pitchFamily="34" charset="0"/>
                </a:endParaRPr>
              </a:p>
            </p:txBody>
          </p:sp>
          <p:sp>
            <p:nvSpPr>
              <p:cNvPr id="222" name="TextBox 221">
                <a:extLst>
                  <a:ext uri="{FF2B5EF4-FFF2-40B4-BE49-F238E27FC236}">
                    <a16:creationId xmlns:a16="http://schemas.microsoft.com/office/drawing/2014/main" id="{B0E58C1E-950C-324D-8277-20019B615743}"/>
                  </a:ext>
                </a:extLst>
              </p:cNvPr>
              <p:cNvSpPr txBox="1"/>
              <p:nvPr/>
            </p:nvSpPr>
            <p:spPr>
              <a:xfrm>
                <a:off x="4965551" y="1783849"/>
                <a:ext cx="1780587" cy="276999"/>
              </a:xfrm>
              <a:prstGeom prst="rect">
                <a:avLst/>
              </a:prstGeom>
              <a:noFill/>
            </p:spPr>
            <p:txBody>
              <a:bodyPr wrap="square" rtlCol="0">
                <a:spAutoFit/>
              </a:bodyPr>
              <a:lstStyle/>
              <a:p>
                <a:pPr algn="r" defTabSz="914286"/>
                <a:r>
                  <a:rPr lang="en-US" altLang="ko-KR" sz="1200" b="1">
                    <a:solidFill>
                      <a:prstClr val="black">
                        <a:lumMod val="75000"/>
                        <a:lumOff val="25000"/>
                      </a:prstClr>
                    </a:solidFill>
                    <a:ea typeface="Arial Unicode MS"/>
                    <a:cs typeface="Arial" pitchFamily="34" charset="0"/>
                  </a:rPr>
                  <a:t>Contents Title</a:t>
                </a:r>
                <a:endParaRPr lang="ko-KR" altLang="en-US" sz="1200" b="1">
                  <a:solidFill>
                    <a:prstClr val="black">
                      <a:lumMod val="75000"/>
                      <a:lumOff val="25000"/>
                    </a:prstClr>
                  </a:solidFill>
                  <a:ea typeface="Arial Unicode MS"/>
                  <a:cs typeface="Arial" pitchFamily="34" charset="0"/>
                </a:endParaRPr>
              </a:p>
            </p:txBody>
          </p:sp>
        </p:grpSp>
        <p:grpSp>
          <p:nvGrpSpPr>
            <p:cNvPr id="223" name="Group 222">
              <a:extLst>
                <a:ext uri="{FF2B5EF4-FFF2-40B4-BE49-F238E27FC236}">
                  <a16:creationId xmlns:a16="http://schemas.microsoft.com/office/drawing/2014/main" id="{0214B8FD-3E6A-1046-A134-61862D8F7FE4}"/>
                </a:ext>
              </a:extLst>
            </p:cNvPr>
            <p:cNvGrpSpPr/>
            <p:nvPr/>
          </p:nvGrpSpPr>
          <p:grpSpPr>
            <a:xfrm>
              <a:off x="5374406" y="3572740"/>
              <a:ext cx="1435898" cy="860931"/>
              <a:chOff x="4965551" y="1783849"/>
              <a:chExt cx="1780587" cy="860931"/>
            </a:xfrm>
          </p:grpSpPr>
          <p:sp>
            <p:nvSpPr>
              <p:cNvPr id="224" name="TextBox 223">
                <a:extLst>
                  <a:ext uri="{FF2B5EF4-FFF2-40B4-BE49-F238E27FC236}">
                    <a16:creationId xmlns:a16="http://schemas.microsoft.com/office/drawing/2014/main" id="{2FDB4641-5878-EF4C-B114-85BC52990CDA}"/>
                  </a:ext>
                </a:extLst>
              </p:cNvPr>
              <p:cNvSpPr txBox="1"/>
              <p:nvPr/>
            </p:nvSpPr>
            <p:spPr>
              <a:xfrm>
                <a:off x="4965551" y="1979530"/>
                <a:ext cx="1780587" cy="665250"/>
              </a:xfrm>
              <a:prstGeom prst="rect">
                <a:avLst/>
              </a:prstGeom>
              <a:noFill/>
            </p:spPr>
            <p:txBody>
              <a:bodyPr wrap="square" rtlCol="0">
                <a:spAutoFit/>
              </a:bodyPr>
              <a:lstStyle/>
              <a:p>
                <a:pPr algn="ctr" defTabSz="914286"/>
                <a:r>
                  <a:rPr lang="en-US" altLang="ko-KR" sz="1200">
                    <a:solidFill>
                      <a:schemeClr val="bg1"/>
                    </a:solidFill>
                    <a:ea typeface="Arial Unicode MS"/>
                    <a:cs typeface="Arial" pitchFamily="34" charset="0"/>
                  </a:rPr>
                  <a:t>You </a:t>
                </a:r>
                <a:r>
                  <a:rPr lang="en-US" altLang="ko-KR" sz="1200" err="1">
                    <a:solidFill>
                      <a:schemeClr val="bg1"/>
                    </a:solidFill>
                    <a:ea typeface="Arial Unicode MS"/>
                    <a:cs typeface="Arial" pitchFamily="34" charset="0"/>
                  </a:rPr>
                  <a:t>cn</a:t>
                </a:r>
                <a:r>
                  <a:rPr lang="en-US" altLang="ko-KR" sz="1200">
                    <a:solidFill>
                      <a:schemeClr val="bg1"/>
                    </a:solidFill>
                    <a:ea typeface="Arial Unicode MS"/>
                    <a:cs typeface="Arial" pitchFamily="34" charset="0"/>
                  </a:rPr>
                  <a:t> simply impress your audience. </a:t>
                </a:r>
                <a:endParaRPr lang="ko-KR" altLang="en-US" sz="1200">
                  <a:solidFill>
                    <a:schemeClr val="bg1"/>
                  </a:solidFill>
                  <a:ea typeface="Arial Unicode MS"/>
                  <a:cs typeface="Arial" pitchFamily="34" charset="0"/>
                </a:endParaRPr>
              </a:p>
            </p:txBody>
          </p:sp>
          <p:sp>
            <p:nvSpPr>
              <p:cNvPr id="225" name="TextBox 224">
                <a:extLst>
                  <a:ext uri="{FF2B5EF4-FFF2-40B4-BE49-F238E27FC236}">
                    <a16:creationId xmlns:a16="http://schemas.microsoft.com/office/drawing/2014/main" id="{AEB80190-F1B1-BF44-A0C2-08A8BF04BA04}"/>
                  </a:ext>
                </a:extLst>
              </p:cNvPr>
              <p:cNvSpPr txBox="1"/>
              <p:nvPr/>
            </p:nvSpPr>
            <p:spPr>
              <a:xfrm>
                <a:off x="4965551" y="1783849"/>
                <a:ext cx="1780587" cy="285107"/>
              </a:xfrm>
              <a:prstGeom prst="rect">
                <a:avLst/>
              </a:prstGeom>
              <a:noFill/>
            </p:spPr>
            <p:txBody>
              <a:bodyPr wrap="square" rtlCol="0">
                <a:spAutoFit/>
              </a:bodyPr>
              <a:lstStyle/>
              <a:p>
                <a:pPr algn="ctr" defTabSz="914286"/>
                <a:r>
                  <a:rPr lang="en-US" altLang="ko-KR" sz="1200" b="1">
                    <a:solidFill>
                      <a:schemeClr val="bg1"/>
                    </a:solidFill>
                    <a:ea typeface="Arial Unicode MS"/>
                    <a:cs typeface="Arial" pitchFamily="34" charset="0"/>
                  </a:rPr>
                  <a:t>Contents Title</a:t>
                </a:r>
                <a:endParaRPr lang="ko-KR" altLang="en-US" sz="1200" b="1">
                  <a:solidFill>
                    <a:schemeClr val="bg1"/>
                  </a:solidFill>
                  <a:ea typeface="Arial Unicode MS"/>
                  <a:cs typeface="Arial" pitchFamily="34" charset="0"/>
                </a:endParaRPr>
              </a:p>
            </p:txBody>
          </p:sp>
        </p:grpSp>
        <p:sp>
          <p:nvSpPr>
            <p:cNvPr id="227" name="Parallelogram 30">
              <a:extLst>
                <a:ext uri="{FF2B5EF4-FFF2-40B4-BE49-F238E27FC236}">
                  <a16:creationId xmlns:a16="http://schemas.microsoft.com/office/drawing/2014/main" id="{DB64F9A1-F5A4-434B-9C45-FF9C05939414}"/>
                </a:ext>
              </a:extLst>
            </p:cNvPr>
            <p:cNvSpPr/>
            <p:nvPr/>
          </p:nvSpPr>
          <p:spPr>
            <a:xfrm flipH="1">
              <a:off x="4752602" y="4836040"/>
              <a:ext cx="273822" cy="274499"/>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28" name="Isosceles Triangle 8">
              <a:extLst>
                <a:ext uri="{FF2B5EF4-FFF2-40B4-BE49-F238E27FC236}">
                  <a16:creationId xmlns:a16="http://schemas.microsoft.com/office/drawing/2014/main" id="{0274D528-587D-884C-828C-890F9D38A95C}"/>
                </a:ext>
              </a:extLst>
            </p:cNvPr>
            <p:cNvSpPr/>
            <p:nvPr/>
          </p:nvSpPr>
          <p:spPr>
            <a:xfrm rot="16200000">
              <a:off x="7771942" y="3420624"/>
              <a:ext cx="265227" cy="316221"/>
            </a:xfrm>
            <a:custGeom>
              <a:avLst/>
              <a:gdLst/>
              <a:ahLst/>
              <a:cxnLst/>
              <a:rect l="l" t="t" r="r" b="b"/>
              <a:pathLst>
                <a:path w="2708011" h="3228660">
                  <a:moveTo>
                    <a:pt x="1895121" y="2005092"/>
                  </a:moveTo>
                  <a:cubicBezTo>
                    <a:pt x="1769067" y="2196199"/>
                    <a:pt x="1559641" y="2315968"/>
                    <a:pt x="1331007" y="2327705"/>
                  </a:cubicBezTo>
                  <a:cubicBezTo>
                    <a:pt x="1102373" y="2339443"/>
                    <a:pt x="881783" y="2241749"/>
                    <a:pt x="736821" y="2064556"/>
                  </a:cubicBezTo>
                  <a:lnTo>
                    <a:pt x="885891" y="1942602"/>
                  </a:lnTo>
                  <a:cubicBezTo>
                    <a:pt x="992076" y="2072396"/>
                    <a:pt x="1153658" y="2143956"/>
                    <a:pt x="1321132" y="2135359"/>
                  </a:cubicBezTo>
                  <a:cubicBezTo>
                    <a:pt x="1488607" y="2126761"/>
                    <a:pt x="1642011" y="2039030"/>
                    <a:pt x="1734346" y="1899045"/>
                  </a:cubicBezTo>
                  <a:close/>
                  <a:moveTo>
                    <a:pt x="2315256" y="2179725"/>
                  </a:moveTo>
                  <a:cubicBezTo>
                    <a:pt x="2124977" y="2519973"/>
                    <a:pt x="1777729" y="2743099"/>
                    <a:pt x="1389179" y="2774782"/>
                  </a:cubicBezTo>
                  <a:cubicBezTo>
                    <a:pt x="1000629" y="2806465"/>
                    <a:pt x="621821" y="2642541"/>
                    <a:pt x="378934" y="2337614"/>
                  </a:cubicBezTo>
                  <a:lnTo>
                    <a:pt x="519502" y="2225645"/>
                  </a:lnTo>
                  <a:cubicBezTo>
                    <a:pt x="725082" y="2483736"/>
                    <a:pt x="1045705" y="2622480"/>
                    <a:pt x="1374574" y="2595664"/>
                  </a:cubicBezTo>
                  <a:cubicBezTo>
                    <a:pt x="1703443" y="2568848"/>
                    <a:pt x="1997353" y="2379994"/>
                    <a:pt x="2158406" y="2092008"/>
                  </a:cubicBezTo>
                  <a:close/>
                  <a:moveTo>
                    <a:pt x="2315941" y="1615003"/>
                  </a:moveTo>
                  <a:lnTo>
                    <a:pt x="272242" y="1615003"/>
                  </a:lnTo>
                  <a:lnTo>
                    <a:pt x="872561" y="666216"/>
                  </a:lnTo>
                  <a:lnTo>
                    <a:pt x="872561" y="219906"/>
                  </a:lnTo>
                  <a:cubicBezTo>
                    <a:pt x="872561" y="98674"/>
                    <a:pt x="970839" y="396"/>
                    <a:pt x="1092071" y="396"/>
                  </a:cubicBezTo>
                  <a:lnTo>
                    <a:pt x="1293841" y="396"/>
                  </a:lnTo>
                  <a:lnTo>
                    <a:pt x="1294092" y="0"/>
                  </a:lnTo>
                  <a:lnTo>
                    <a:pt x="1294343" y="396"/>
                  </a:lnTo>
                  <a:lnTo>
                    <a:pt x="1470231" y="396"/>
                  </a:lnTo>
                  <a:cubicBezTo>
                    <a:pt x="1591463" y="396"/>
                    <a:pt x="1689741" y="98674"/>
                    <a:pt x="1689741" y="219906"/>
                  </a:cubicBezTo>
                  <a:lnTo>
                    <a:pt x="1689741" y="625313"/>
                  </a:lnTo>
                  <a:close/>
                  <a:moveTo>
                    <a:pt x="2708011" y="2399368"/>
                  </a:moveTo>
                  <a:cubicBezTo>
                    <a:pt x="2440740" y="2877288"/>
                    <a:pt x="1950128" y="3187847"/>
                    <a:pt x="1403807" y="3224932"/>
                  </a:cubicBezTo>
                  <a:cubicBezTo>
                    <a:pt x="857486" y="3262017"/>
                    <a:pt x="329406" y="3020609"/>
                    <a:pt x="0" y="2583191"/>
                  </a:cubicBezTo>
                  <a:lnTo>
                    <a:pt x="143153" y="2475389"/>
                  </a:lnTo>
                  <a:cubicBezTo>
                    <a:pt x="436120" y="2864419"/>
                    <a:pt x="905784" y="3079123"/>
                    <a:pt x="1391671" y="3046140"/>
                  </a:cubicBezTo>
                  <a:cubicBezTo>
                    <a:pt x="1877558" y="3013157"/>
                    <a:pt x="2313899" y="2736952"/>
                    <a:pt x="2551604" y="2311899"/>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29" name="Oval 7">
              <a:extLst>
                <a:ext uri="{FF2B5EF4-FFF2-40B4-BE49-F238E27FC236}">
                  <a16:creationId xmlns:a16="http://schemas.microsoft.com/office/drawing/2014/main" id="{418C244A-22A1-A341-A59B-8F5BC8F787A2}"/>
                </a:ext>
              </a:extLst>
            </p:cNvPr>
            <p:cNvSpPr/>
            <p:nvPr/>
          </p:nvSpPr>
          <p:spPr>
            <a:xfrm>
              <a:off x="7262728" y="4739636"/>
              <a:ext cx="281290" cy="281290"/>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0" name="Round Same Side Corner Rectangle 11">
              <a:extLst>
                <a:ext uri="{FF2B5EF4-FFF2-40B4-BE49-F238E27FC236}">
                  <a16:creationId xmlns:a16="http://schemas.microsoft.com/office/drawing/2014/main" id="{AE0D4CDC-5176-4549-BE64-48EEE2DDE841}"/>
                </a:ext>
              </a:extLst>
            </p:cNvPr>
            <p:cNvSpPr>
              <a:spLocks noChangeAspect="1"/>
            </p:cNvSpPr>
            <p:nvPr/>
          </p:nvSpPr>
          <p:spPr>
            <a:xfrm rot="9900000">
              <a:off x="4658758" y="2316534"/>
              <a:ext cx="308325" cy="261863"/>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1" name="Rounded Rectangle 27">
              <a:extLst>
                <a:ext uri="{FF2B5EF4-FFF2-40B4-BE49-F238E27FC236}">
                  <a16:creationId xmlns:a16="http://schemas.microsoft.com/office/drawing/2014/main" id="{3ED73FE2-7E62-4346-B625-815B268AC493}"/>
                </a:ext>
              </a:extLst>
            </p:cNvPr>
            <p:cNvSpPr/>
            <p:nvPr/>
          </p:nvSpPr>
          <p:spPr>
            <a:xfrm>
              <a:off x="5887135" y="1767238"/>
              <a:ext cx="269704" cy="20716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2" name="Donut 24">
              <a:extLst>
                <a:ext uri="{FF2B5EF4-FFF2-40B4-BE49-F238E27FC236}">
                  <a16:creationId xmlns:a16="http://schemas.microsoft.com/office/drawing/2014/main" id="{9CD580DA-FA6B-D842-A218-D81400387C47}"/>
                </a:ext>
              </a:extLst>
            </p:cNvPr>
            <p:cNvSpPr/>
            <p:nvPr/>
          </p:nvSpPr>
          <p:spPr>
            <a:xfrm>
              <a:off x="6015036" y="5265926"/>
              <a:ext cx="307715" cy="310220"/>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233" name="Oval 21">
              <a:extLst>
                <a:ext uri="{FF2B5EF4-FFF2-40B4-BE49-F238E27FC236}">
                  <a16:creationId xmlns:a16="http://schemas.microsoft.com/office/drawing/2014/main" id="{29EE7946-DE10-2647-A683-38430EFE5F00}"/>
                </a:ext>
              </a:extLst>
            </p:cNvPr>
            <p:cNvSpPr>
              <a:spLocks noChangeAspect="1"/>
            </p:cNvSpPr>
            <p:nvPr/>
          </p:nvSpPr>
          <p:spPr>
            <a:xfrm>
              <a:off x="4136205" y="3572741"/>
              <a:ext cx="297351" cy="299833"/>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234" name="Rounded Rectangle 7">
              <a:extLst>
                <a:ext uri="{FF2B5EF4-FFF2-40B4-BE49-F238E27FC236}">
                  <a16:creationId xmlns:a16="http://schemas.microsoft.com/office/drawing/2014/main" id="{F7343D88-3613-3941-930B-57229AC359BC}"/>
                </a:ext>
              </a:extLst>
            </p:cNvPr>
            <p:cNvSpPr>
              <a:spLocks noChangeAspect="1"/>
            </p:cNvSpPr>
            <p:nvPr/>
          </p:nvSpPr>
          <p:spPr>
            <a:xfrm>
              <a:off x="7171771" y="2187355"/>
              <a:ext cx="288000" cy="248540"/>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grpSp>
    </p:spTree>
    <p:extLst>
      <p:ext uri="{BB962C8B-B14F-4D97-AF65-F5344CB8AC3E}">
        <p14:creationId xmlns:p14="http://schemas.microsoft.com/office/powerpoint/2010/main" val="398347248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B9FEBD-D822-9D47-9DAE-2A0A70D15185}"/>
              </a:ext>
            </a:extLst>
          </p:cNvPr>
          <p:cNvSpPr>
            <a:spLocks noGrp="1"/>
          </p:cNvSpPr>
          <p:nvPr>
            <p:ph type="sldNum" sz="quarter" idx="4"/>
          </p:nvPr>
        </p:nvSpPr>
        <p:spPr/>
        <p:txBody>
          <a:bodyPr/>
          <a:lstStyle/>
          <a:p>
            <a:fld id="{3D966009-6E5A-4F8C-8CA7-E37AFBF5FB92}" type="slidenum">
              <a:rPr lang="en-US" smtClean="0"/>
              <a:t>135</a:t>
            </a:fld>
            <a:endParaRPr lang="en-US"/>
          </a:p>
        </p:txBody>
      </p:sp>
      <p:sp>
        <p:nvSpPr>
          <p:cNvPr id="3" name="Title 2">
            <a:extLst>
              <a:ext uri="{FF2B5EF4-FFF2-40B4-BE49-F238E27FC236}">
                <a16:creationId xmlns:a16="http://schemas.microsoft.com/office/drawing/2014/main" id="{D9BEB47F-94D8-2B4E-B157-E880F0526B06}"/>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CA2A4BF-B4BF-FB47-852D-9DACE86304D6}"/>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7D3F197-7715-9949-846C-E5A88AA2931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7244C672-6684-F445-9797-72DC9EFF185C}"/>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232E9F0E-6E99-774F-B5E4-381A9451F36E}"/>
              </a:ext>
            </a:extLst>
          </p:cNvPr>
          <p:cNvSpPr>
            <a:spLocks noGrp="1"/>
          </p:cNvSpPr>
          <p:nvPr>
            <p:ph sz="quarter" idx="14"/>
          </p:nvPr>
        </p:nvSpPr>
        <p:spPr/>
        <p:txBody>
          <a:bodyPr/>
          <a:lstStyle/>
          <a:p>
            <a:endParaRPr lang="en-GB"/>
          </a:p>
        </p:txBody>
      </p:sp>
      <p:grpSp>
        <p:nvGrpSpPr>
          <p:cNvPr id="49" name="Group 48">
            <a:extLst>
              <a:ext uri="{FF2B5EF4-FFF2-40B4-BE49-F238E27FC236}">
                <a16:creationId xmlns:a16="http://schemas.microsoft.com/office/drawing/2014/main" id="{609E156A-2697-3245-8C31-51756F3EEF50}"/>
              </a:ext>
            </a:extLst>
          </p:cNvPr>
          <p:cNvGrpSpPr/>
          <p:nvPr/>
        </p:nvGrpSpPr>
        <p:grpSpPr>
          <a:xfrm>
            <a:off x="1836356" y="2072664"/>
            <a:ext cx="7656473" cy="3210721"/>
            <a:chOff x="1836356" y="2072664"/>
            <a:chExt cx="7656473" cy="3210721"/>
          </a:xfrm>
        </p:grpSpPr>
        <p:grpSp>
          <p:nvGrpSpPr>
            <p:cNvPr id="9" name="Group 8">
              <a:extLst>
                <a:ext uri="{FF2B5EF4-FFF2-40B4-BE49-F238E27FC236}">
                  <a16:creationId xmlns:a16="http://schemas.microsoft.com/office/drawing/2014/main" id="{4D23F67E-4844-EE40-888E-01101DD105A9}"/>
                </a:ext>
              </a:extLst>
            </p:cNvPr>
            <p:cNvGrpSpPr/>
            <p:nvPr/>
          </p:nvGrpSpPr>
          <p:grpSpPr>
            <a:xfrm>
              <a:off x="4868007" y="2619089"/>
              <a:ext cx="835293" cy="720080"/>
              <a:chOff x="3496214" y="1275606"/>
              <a:chExt cx="1060704" cy="914400"/>
            </a:xfrm>
          </p:grpSpPr>
          <p:sp>
            <p:nvSpPr>
              <p:cNvPr id="10" name="Hexagon 9">
                <a:extLst>
                  <a:ext uri="{FF2B5EF4-FFF2-40B4-BE49-F238E27FC236}">
                    <a16:creationId xmlns:a16="http://schemas.microsoft.com/office/drawing/2014/main" id="{59DA0BD5-FEDF-9B4B-AD3A-20BD03721C0D}"/>
                  </a:ext>
                </a:extLst>
              </p:cNvPr>
              <p:cNvSpPr/>
              <p:nvPr/>
            </p:nvSpPr>
            <p:spPr>
              <a:xfrm>
                <a:off x="3496214" y="1275606"/>
                <a:ext cx="1060704" cy="914400"/>
              </a:xfrm>
              <a:prstGeom prst="hexagon">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 name="Hexagon 10">
                <a:extLst>
                  <a:ext uri="{FF2B5EF4-FFF2-40B4-BE49-F238E27FC236}">
                    <a16:creationId xmlns:a16="http://schemas.microsoft.com/office/drawing/2014/main" id="{40F5EC2E-DDA4-6241-8202-D6F8D00B6617}"/>
                  </a:ext>
                </a:extLst>
              </p:cNvPr>
              <p:cNvSpPr/>
              <p:nvPr/>
            </p:nvSpPr>
            <p:spPr>
              <a:xfrm>
                <a:off x="3594518" y="1360351"/>
                <a:ext cx="864096" cy="744910"/>
              </a:xfrm>
              <a:prstGeom prst="hexagon">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2" name="Group 11">
              <a:extLst>
                <a:ext uri="{FF2B5EF4-FFF2-40B4-BE49-F238E27FC236}">
                  <a16:creationId xmlns:a16="http://schemas.microsoft.com/office/drawing/2014/main" id="{913A4B6C-E996-374E-BA17-83516658AD30}"/>
                </a:ext>
              </a:extLst>
            </p:cNvPr>
            <p:cNvGrpSpPr/>
            <p:nvPr/>
          </p:nvGrpSpPr>
          <p:grpSpPr>
            <a:xfrm>
              <a:off x="5625885" y="3105143"/>
              <a:ext cx="835293" cy="720080"/>
              <a:chOff x="3496214" y="1275606"/>
              <a:chExt cx="1060704" cy="914400"/>
            </a:xfrm>
          </p:grpSpPr>
          <p:sp>
            <p:nvSpPr>
              <p:cNvPr id="13" name="Hexagon 12">
                <a:extLst>
                  <a:ext uri="{FF2B5EF4-FFF2-40B4-BE49-F238E27FC236}">
                    <a16:creationId xmlns:a16="http://schemas.microsoft.com/office/drawing/2014/main" id="{C311C42B-5B50-564F-9220-CF1D7A6B54BA}"/>
                  </a:ext>
                </a:extLst>
              </p:cNvPr>
              <p:cNvSpPr/>
              <p:nvPr/>
            </p:nvSpPr>
            <p:spPr>
              <a:xfrm>
                <a:off x="3496214" y="1275606"/>
                <a:ext cx="1060704" cy="914400"/>
              </a:xfrm>
              <a:prstGeom prst="hexagon">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Hexagon 13">
                <a:extLst>
                  <a:ext uri="{FF2B5EF4-FFF2-40B4-BE49-F238E27FC236}">
                    <a16:creationId xmlns:a16="http://schemas.microsoft.com/office/drawing/2014/main" id="{CE0B6A77-9DE9-9649-AC48-1E6044D2A4CF}"/>
                  </a:ext>
                </a:extLst>
              </p:cNvPr>
              <p:cNvSpPr/>
              <p:nvPr/>
            </p:nvSpPr>
            <p:spPr>
              <a:xfrm>
                <a:off x="3594518" y="1360351"/>
                <a:ext cx="864096" cy="744910"/>
              </a:xfrm>
              <a:prstGeom prst="hexagon">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5" name="Group 14">
              <a:extLst>
                <a:ext uri="{FF2B5EF4-FFF2-40B4-BE49-F238E27FC236}">
                  <a16:creationId xmlns:a16="http://schemas.microsoft.com/office/drawing/2014/main" id="{FA9413F2-3D94-A548-94EB-0CC53A946E51}"/>
                </a:ext>
              </a:extLst>
            </p:cNvPr>
            <p:cNvGrpSpPr/>
            <p:nvPr/>
          </p:nvGrpSpPr>
          <p:grpSpPr>
            <a:xfrm>
              <a:off x="4868007" y="3591197"/>
              <a:ext cx="835293" cy="720080"/>
              <a:chOff x="3496214" y="1275606"/>
              <a:chExt cx="1060704" cy="914400"/>
            </a:xfrm>
          </p:grpSpPr>
          <p:sp>
            <p:nvSpPr>
              <p:cNvPr id="16" name="Hexagon 15">
                <a:extLst>
                  <a:ext uri="{FF2B5EF4-FFF2-40B4-BE49-F238E27FC236}">
                    <a16:creationId xmlns:a16="http://schemas.microsoft.com/office/drawing/2014/main" id="{83FA8200-5D65-9042-95C6-CE4B9949DA95}"/>
                  </a:ext>
                </a:extLst>
              </p:cNvPr>
              <p:cNvSpPr/>
              <p:nvPr/>
            </p:nvSpPr>
            <p:spPr>
              <a:xfrm>
                <a:off x="3496214" y="1275606"/>
                <a:ext cx="1060704" cy="914400"/>
              </a:xfrm>
              <a:prstGeom prst="hexagon">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7" name="Hexagon 16">
                <a:extLst>
                  <a:ext uri="{FF2B5EF4-FFF2-40B4-BE49-F238E27FC236}">
                    <a16:creationId xmlns:a16="http://schemas.microsoft.com/office/drawing/2014/main" id="{483ABE9A-D299-9C4F-92CC-017E9C2D3182}"/>
                  </a:ext>
                </a:extLst>
              </p:cNvPr>
              <p:cNvSpPr/>
              <p:nvPr/>
            </p:nvSpPr>
            <p:spPr>
              <a:xfrm>
                <a:off x="3594518" y="1360351"/>
                <a:ext cx="864096" cy="744910"/>
              </a:xfrm>
              <a:prstGeom prst="hexagon">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8" name="Group 17">
              <a:extLst>
                <a:ext uri="{FF2B5EF4-FFF2-40B4-BE49-F238E27FC236}">
                  <a16:creationId xmlns:a16="http://schemas.microsoft.com/office/drawing/2014/main" id="{2D1F17F8-0E2D-7C4D-B55D-3E6A217808F9}"/>
                </a:ext>
              </a:extLst>
            </p:cNvPr>
            <p:cNvGrpSpPr/>
            <p:nvPr/>
          </p:nvGrpSpPr>
          <p:grpSpPr>
            <a:xfrm>
              <a:off x="4868007" y="4563305"/>
              <a:ext cx="835293" cy="720080"/>
              <a:chOff x="3496214" y="1275606"/>
              <a:chExt cx="1060704" cy="914400"/>
            </a:xfrm>
          </p:grpSpPr>
          <p:sp>
            <p:nvSpPr>
              <p:cNvPr id="19" name="Hexagon 18">
                <a:extLst>
                  <a:ext uri="{FF2B5EF4-FFF2-40B4-BE49-F238E27FC236}">
                    <a16:creationId xmlns:a16="http://schemas.microsoft.com/office/drawing/2014/main" id="{123CACB0-B510-9D4A-AA23-2D24AE658FF3}"/>
                  </a:ext>
                </a:extLst>
              </p:cNvPr>
              <p:cNvSpPr/>
              <p:nvPr/>
            </p:nvSpPr>
            <p:spPr>
              <a:xfrm>
                <a:off x="3496214" y="1275606"/>
                <a:ext cx="1060704" cy="914400"/>
              </a:xfrm>
              <a:prstGeom prst="hexagon">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0" name="Hexagon 19">
                <a:extLst>
                  <a:ext uri="{FF2B5EF4-FFF2-40B4-BE49-F238E27FC236}">
                    <a16:creationId xmlns:a16="http://schemas.microsoft.com/office/drawing/2014/main" id="{820D657E-FBA8-0C42-BE80-08E4BB49D5B7}"/>
                  </a:ext>
                </a:extLst>
              </p:cNvPr>
              <p:cNvSpPr/>
              <p:nvPr/>
            </p:nvSpPr>
            <p:spPr>
              <a:xfrm>
                <a:off x="3594518" y="1360351"/>
                <a:ext cx="864096" cy="744910"/>
              </a:xfrm>
              <a:prstGeom prst="hexagon">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21" name="Group 20">
              <a:extLst>
                <a:ext uri="{FF2B5EF4-FFF2-40B4-BE49-F238E27FC236}">
                  <a16:creationId xmlns:a16="http://schemas.microsoft.com/office/drawing/2014/main" id="{BEB52B53-EF5C-AF4A-81B3-B756A93BDFB7}"/>
                </a:ext>
              </a:extLst>
            </p:cNvPr>
            <p:cNvGrpSpPr/>
            <p:nvPr/>
          </p:nvGrpSpPr>
          <p:grpSpPr>
            <a:xfrm>
              <a:off x="5625885" y="4077251"/>
              <a:ext cx="835293" cy="720080"/>
              <a:chOff x="3496214" y="1275606"/>
              <a:chExt cx="1060704" cy="914400"/>
            </a:xfrm>
          </p:grpSpPr>
          <p:sp>
            <p:nvSpPr>
              <p:cNvPr id="22" name="Hexagon 21">
                <a:extLst>
                  <a:ext uri="{FF2B5EF4-FFF2-40B4-BE49-F238E27FC236}">
                    <a16:creationId xmlns:a16="http://schemas.microsoft.com/office/drawing/2014/main" id="{714ED10A-975D-F84C-86F6-09AF12A7369F}"/>
                  </a:ext>
                </a:extLst>
              </p:cNvPr>
              <p:cNvSpPr/>
              <p:nvPr/>
            </p:nvSpPr>
            <p:spPr>
              <a:xfrm>
                <a:off x="3496214" y="1275606"/>
                <a:ext cx="1060704" cy="914400"/>
              </a:xfrm>
              <a:prstGeom prst="hexagon">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3" name="Hexagon 22">
                <a:extLst>
                  <a:ext uri="{FF2B5EF4-FFF2-40B4-BE49-F238E27FC236}">
                    <a16:creationId xmlns:a16="http://schemas.microsoft.com/office/drawing/2014/main" id="{8CD4DE29-8F58-AC44-BB72-8122BEAF8FBD}"/>
                  </a:ext>
                </a:extLst>
              </p:cNvPr>
              <p:cNvSpPr/>
              <p:nvPr/>
            </p:nvSpPr>
            <p:spPr>
              <a:xfrm>
                <a:off x="3594518" y="1360351"/>
                <a:ext cx="864096" cy="744910"/>
              </a:xfrm>
              <a:prstGeom prst="hexagon">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cxnSp>
          <p:nvCxnSpPr>
            <p:cNvPr id="24" name="Straight Arrow Connector 23">
              <a:extLst>
                <a:ext uri="{FF2B5EF4-FFF2-40B4-BE49-F238E27FC236}">
                  <a16:creationId xmlns:a16="http://schemas.microsoft.com/office/drawing/2014/main" id="{376A420F-D2C8-2943-BF6C-4853FA78236C}"/>
                </a:ext>
              </a:extLst>
            </p:cNvPr>
            <p:cNvCxnSpPr/>
            <p:nvPr/>
          </p:nvCxnSpPr>
          <p:spPr>
            <a:xfrm>
              <a:off x="6461178" y="3465183"/>
              <a:ext cx="3031651" cy="0"/>
            </a:xfrm>
            <a:prstGeom prst="straightConnector1">
              <a:avLst/>
            </a:prstGeom>
            <a:ln w="25400">
              <a:solidFill>
                <a:schemeClr val="tx1">
                  <a:lumMod val="75000"/>
                  <a:lumOff val="2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9C22F84-710E-734E-AE8D-310CD8AEA043}"/>
                </a:ext>
              </a:extLst>
            </p:cNvPr>
            <p:cNvCxnSpPr/>
            <p:nvPr/>
          </p:nvCxnSpPr>
          <p:spPr>
            <a:xfrm>
              <a:off x="6461178" y="4437291"/>
              <a:ext cx="3031651" cy="0"/>
            </a:xfrm>
            <a:prstGeom prst="straightConnector1">
              <a:avLst/>
            </a:prstGeom>
            <a:ln w="25400">
              <a:solidFill>
                <a:schemeClr val="tx1">
                  <a:lumMod val="75000"/>
                  <a:lumOff val="2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A1AECDE-CC26-DF45-822F-256276B1466C}"/>
                </a:ext>
              </a:extLst>
            </p:cNvPr>
            <p:cNvCxnSpPr/>
            <p:nvPr/>
          </p:nvCxnSpPr>
          <p:spPr>
            <a:xfrm flipH="1">
              <a:off x="1836356" y="2979129"/>
              <a:ext cx="3031651" cy="0"/>
            </a:xfrm>
            <a:prstGeom prst="straightConnector1">
              <a:avLst/>
            </a:prstGeom>
            <a:ln w="25400">
              <a:solidFill>
                <a:schemeClr val="tx1">
                  <a:lumMod val="75000"/>
                  <a:lumOff val="2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9BBB34B-C7B8-3540-AF20-7ACDD76E4B4B}"/>
                </a:ext>
              </a:extLst>
            </p:cNvPr>
            <p:cNvCxnSpPr/>
            <p:nvPr/>
          </p:nvCxnSpPr>
          <p:spPr>
            <a:xfrm flipH="1">
              <a:off x="1836356" y="3951237"/>
              <a:ext cx="3031651" cy="0"/>
            </a:xfrm>
            <a:prstGeom prst="straightConnector1">
              <a:avLst/>
            </a:prstGeom>
            <a:ln w="25400">
              <a:solidFill>
                <a:schemeClr val="tx1">
                  <a:lumMod val="75000"/>
                  <a:lumOff val="25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F4FCCC7-3F5F-EF45-8905-344FA0C72F8D}"/>
                </a:ext>
              </a:extLst>
            </p:cNvPr>
            <p:cNvCxnSpPr/>
            <p:nvPr/>
          </p:nvCxnSpPr>
          <p:spPr>
            <a:xfrm flipH="1">
              <a:off x="1836356" y="4923345"/>
              <a:ext cx="3031651" cy="0"/>
            </a:xfrm>
            <a:prstGeom prst="straightConnector1">
              <a:avLst/>
            </a:prstGeom>
            <a:ln w="25400">
              <a:solidFill>
                <a:schemeClr val="tx1">
                  <a:lumMod val="75000"/>
                  <a:lumOff val="25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29" name="Block Arc 14">
              <a:extLst>
                <a:ext uri="{FF2B5EF4-FFF2-40B4-BE49-F238E27FC236}">
                  <a16:creationId xmlns:a16="http://schemas.microsoft.com/office/drawing/2014/main" id="{B21F1C0C-4EB7-9A4D-9F94-5B40F6152B81}"/>
                </a:ext>
              </a:extLst>
            </p:cNvPr>
            <p:cNvSpPr/>
            <p:nvPr/>
          </p:nvSpPr>
          <p:spPr>
            <a:xfrm rot="16200000">
              <a:off x="5118947" y="2803814"/>
              <a:ext cx="333413" cy="33363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0" name="Rectangle 36">
              <a:extLst>
                <a:ext uri="{FF2B5EF4-FFF2-40B4-BE49-F238E27FC236}">
                  <a16:creationId xmlns:a16="http://schemas.microsoft.com/office/drawing/2014/main" id="{4C6DE52E-28D7-864F-AF82-288103E9FAB8}"/>
                </a:ext>
              </a:extLst>
            </p:cNvPr>
            <p:cNvSpPr/>
            <p:nvPr/>
          </p:nvSpPr>
          <p:spPr>
            <a:xfrm>
              <a:off x="5133770" y="3823806"/>
              <a:ext cx="303765" cy="253924"/>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1" name="Teardrop 6">
              <a:extLst>
                <a:ext uri="{FF2B5EF4-FFF2-40B4-BE49-F238E27FC236}">
                  <a16:creationId xmlns:a16="http://schemas.microsoft.com/office/drawing/2014/main" id="{EA1F91D7-2630-6E4B-917A-F6AB899A42FA}"/>
                </a:ext>
              </a:extLst>
            </p:cNvPr>
            <p:cNvSpPr/>
            <p:nvPr/>
          </p:nvSpPr>
          <p:spPr>
            <a:xfrm rot="8100000">
              <a:off x="5892495" y="3315643"/>
              <a:ext cx="293279" cy="293280"/>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2" name="Rectangle 16">
              <a:extLst>
                <a:ext uri="{FF2B5EF4-FFF2-40B4-BE49-F238E27FC236}">
                  <a16:creationId xmlns:a16="http://schemas.microsoft.com/office/drawing/2014/main" id="{CB2422DD-2EBB-5249-B954-25315733A609}"/>
                </a:ext>
              </a:extLst>
            </p:cNvPr>
            <p:cNvSpPr/>
            <p:nvPr/>
          </p:nvSpPr>
          <p:spPr>
            <a:xfrm rot="2700000">
              <a:off x="5942114" y="4213640"/>
              <a:ext cx="223629" cy="42546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Rounded Rectangle 27">
              <a:extLst>
                <a:ext uri="{FF2B5EF4-FFF2-40B4-BE49-F238E27FC236}">
                  <a16:creationId xmlns:a16="http://schemas.microsoft.com/office/drawing/2014/main" id="{5CA6A861-877E-5C46-BBAD-4B6AB44B04D4}"/>
                </a:ext>
              </a:extLst>
            </p:cNvPr>
            <p:cNvSpPr/>
            <p:nvPr/>
          </p:nvSpPr>
          <p:spPr>
            <a:xfrm>
              <a:off x="5121117" y="4789645"/>
              <a:ext cx="329069" cy="25276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34" name="Group 33">
              <a:extLst>
                <a:ext uri="{FF2B5EF4-FFF2-40B4-BE49-F238E27FC236}">
                  <a16:creationId xmlns:a16="http://schemas.microsoft.com/office/drawing/2014/main" id="{E495D4A0-695D-6B42-9545-F8BD299050A0}"/>
                </a:ext>
              </a:extLst>
            </p:cNvPr>
            <p:cNvGrpSpPr/>
            <p:nvPr/>
          </p:nvGrpSpPr>
          <p:grpSpPr>
            <a:xfrm>
              <a:off x="2077982" y="2072664"/>
              <a:ext cx="2592288" cy="863358"/>
              <a:chOff x="803640" y="3362835"/>
              <a:chExt cx="2059657" cy="863358"/>
            </a:xfrm>
          </p:grpSpPr>
          <p:sp>
            <p:nvSpPr>
              <p:cNvPr id="35" name="TextBox 34">
                <a:extLst>
                  <a:ext uri="{FF2B5EF4-FFF2-40B4-BE49-F238E27FC236}">
                    <a16:creationId xmlns:a16="http://schemas.microsoft.com/office/drawing/2014/main" id="{3759F2EC-1FA9-9942-A9CF-203F8E2F11CC}"/>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6" name="TextBox 35">
                <a:extLst>
                  <a:ext uri="{FF2B5EF4-FFF2-40B4-BE49-F238E27FC236}">
                    <a16:creationId xmlns:a16="http://schemas.microsoft.com/office/drawing/2014/main" id="{A82BDA3B-71A5-C343-A46E-0A3E01A27754}"/>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37" name="Group 36">
              <a:extLst>
                <a:ext uri="{FF2B5EF4-FFF2-40B4-BE49-F238E27FC236}">
                  <a16:creationId xmlns:a16="http://schemas.microsoft.com/office/drawing/2014/main" id="{89FBD2AD-2B88-E441-B065-7BD735B20DBE}"/>
                </a:ext>
              </a:extLst>
            </p:cNvPr>
            <p:cNvGrpSpPr/>
            <p:nvPr/>
          </p:nvGrpSpPr>
          <p:grpSpPr>
            <a:xfrm>
              <a:off x="2077982" y="3058620"/>
              <a:ext cx="2592288" cy="863358"/>
              <a:chOff x="803640" y="3362835"/>
              <a:chExt cx="2059657" cy="863358"/>
            </a:xfrm>
          </p:grpSpPr>
          <p:sp>
            <p:nvSpPr>
              <p:cNvPr id="38" name="TextBox 37">
                <a:extLst>
                  <a:ext uri="{FF2B5EF4-FFF2-40B4-BE49-F238E27FC236}">
                    <a16:creationId xmlns:a16="http://schemas.microsoft.com/office/drawing/2014/main" id="{2DF41485-8503-B74A-A765-A808E1355E88}"/>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9" name="TextBox 38">
                <a:extLst>
                  <a:ext uri="{FF2B5EF4-FFF2-40B4-BE49-F238E27FC236}">
                    <a16:creationId xmlns:a16="http://schemas.microsoft.com/office/drawing/2014/main" id="{27A0F0A1-0D0D-9B41-8792-4968CFD6AF85}"/>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40" name="Group 39">
              <a:extLst>
                <a:ext uri="{FF2B5EF4-FFF2-40B4-BE49-F238E27FC236}">
                  <a16:creationId xmlns:a16="http://schemas.microsoft.com/office/drawing/2014/main" id="{0009D20B-B598-C94E-936E-A61F268DF584}"/>
                </a:ext>
              </a:extLst>
            </p:cNvPr>
            <p:cNvGrpSpPr/>
            <p:nvPr/>
          </p:nvGrpSpPr>
          <p:grpSpPr>
            <a:xfrm>
              <a:off x="2077982" y="4044574"/>
              <a:ext cx="2592288" cy="863358"/>
              <a:chOff x="803640" y="3362835"/>
              <a:chExt cx="2059657" cy="863358"/>
            </a:xfrm>
          </p:grpSpPr>
          <p:sp>
            <p:nvSpPr>
              <p:cNvPr id="41" name="TextBox 40">
                <a:extLst>
                  <a:ext uri="{FF2B5EF4-FFF2-40B4-BE49-F238E27FC236}">
                    <a16:creationId xmlns:a16="http://schemas.microsoft.com/office/drawing/2014/main" id="{E70BE828-B3A0-7A41-8D69-D7923494343B}"/>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42" name="TextBox 41">
                <a:extLst>
                  <a:ext uri="{FF2B5EF4-FFF2-40B4-BE49-F238E27FC236}">
                    <a16:creationId xmlns:a16="http://schemas.microsoft.com/office/drawing/2014/main" id="{7333E7E3-E53E-FC40-BD1C-E213D02913AC}"/>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43" name="Group 42">
              <a:extLst>
                <a:ext uri="{FF2B5EF4-FFF2-40B4-BE49-F238E27FC236}">
                  <a16:creationId xmlns:a16="http://schemas.microsoft.com/office/drawing/2014/main" id="{7313200A-21C1-C548-B3A8-5C616E6A2CE6}"/>
                </a:ext>
              </a:extLst>
            </p:cNvPr>
            <p:cNvGrpSpPr/>
            <p:nvPr/>
          </p:nvGrpSpPr>
          <p:grpSpPr>
            <a:xfrm>
              <a:off x="6684517" y="2565642"/>
              <a:ext cx="2592288" cy="863358"/>
              <a:chOff x="803640" y="3362835"/>
              <a:chExt cx="2059657" cy="863358"/>
            </a:xfrm>
          </p:grpSpPr>
          <p:sp>
            <p:nvSpPr>
              <p:cNvPr id="44" name="TextBox 43">
                <a:extLst>
                  <a:ext uri="{FF2B5EF4-FFF2-40B4-BE49-F238E27FC236}">
                    <a16:creationId xmlns:a16="http://schemas.microsoft.com/office/drawing/2014/main" id="{8217C7B4-53F7-8940-8A6B-F7CFDBB2DC1D}"/>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45" name="TextBox 44">
                <a:extLst>
                  <a:ext uri="{FF2B5EF4-FFF2-40B4-BE49-F238E27FC236}">
                    <a16:creationId xmlns:a16="http://schemas.microsoft.com/office/drawing/2014/main" id="{D471EA73-4CBA-474F-9C98-83448662C705}"/>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46" name="Group 45">
              <a:extLst>
                <a:ext uri="{FF2B5EF4-FFF2-40B4-BE49-F238E27FC236}">
                  <a16:creationId xmlns:a16="http://schemas.microsoft.com/office/drawing/2014/main" id="{AB5B1FC2-AAA1-454A-8396-248501A1BCBF}"/>
                </a:ext>
              </a:extLst>
            </p:cNvPr>
            <p:cNvGrpSpPr/>
            <p:nvPr/>
          </p:nvGrpSpPr>
          <p:grpSpPr>
            <a:xfrm>
              <a:off x="6684517" y="3551598"/>
              <a:ext cx="2592288" cy="863358"/>
              <a:chOff x="803640" y="3362835"/>
              <a:chExt cx="2059657" cy="863358"/>
            </a:xfrm>
          </p:grpSpPr>
          <p:sp>
            <p:nvSpPr>
              <p:cNvPr id="47" name="TextBox 46">
                <a:extLst>
                  <a:ext uri="{FF2B5EF4-FFF2-40B4-BE49-F238E27FC236}">
                    <a16:creationId xmlns:a16="http://schemas.microsoft.com/office/drawing/2014/main" id="{611A9BCD-0707-9F42-ACB7-B9E630A8D690}"/>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48" name="TextBox 47">
                <a:extLst>
                  <a:ext uri="{FF2B5EF4-FFF2-40B4-BE49-F238E27FC236}">
                    <a16:creationId xmlns:a16="http://schemas.microsoft.com/office/drawing/2014/main" id="{AFDF9BC6-BEC2-FA4C-8F1E-44FB3D11C516}"/>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15765560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 name="Object 105" hidden="1">
            <a:extLst>
              <a:ext uri="{FF2B5EF4-FFF2-40B4-BE49-F238E27FC236}">
                <a16:creationId xmlns:a16="http://schemas.microsoft.com/office/drawing/2014/main" id="{8DE978A1-B280-1A44-9E6D-3A3A81081788}"/>
              </a:ext>
            </a:extLst>
          </p:cNvPr>
          <p:cNvGraphicFramePr>
            <a:graphicFrameLocks noChangeAspect="1"/>
          </p:cNvGraphicFramePr>
          <p:nvPr>
            <p:custDataLst>
              <p:tags r:id="rId1"/>
            </p:custDataLst>
            <p:extLst>
              <p:ext uri="{D42A27DB-BD31-4B8C-83A1-F6EECF244321}">
                <p14:modId xmlns:p14="http://schemas.microsoft.com/office/powerpoint/2010/main" val="277479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06" name="Object 105" hidden="1">
                        <a:extLst>
                          <a:ext uri="{FF2B5EF4-FFF2-40B4-BE49-F238E27FC236}">
                            <a16:creationId xmlns:a16="http://schemas.microsoft.com/office/drawing/2014/main" id="{8DE978A1-B280-1A44-9E6D-3A3A8108178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D0C0244-6EE4-854B-81EB-C20D873F57BA}"/>
              </a:ext>
            </a:extLst>
          </p:cNvPr>
          <p:cNvSpPr>
            <a:spLocks noGrp="1"/>
          </p:cNvSpPr>
          <p:nvPr>
            <p:ph type="sldNum" sz="quarter" idx="4"/>
          </p:nvPr>
        </p:nvSpPr>
        <p:spPr/>
        <p:txBody>
          <a:bodyPr/>
          <a:lstStyle/>
          <a:p>
            <a:fld id="{3D966009-6E5A-4F8C-8CA7-E37AFBF5FB92}" type="slidenum">
              <a:rPr lang="en-US" smtClean="0"/>
              <a:t>136</a:t>
            </a:fld>
            <a:endParaRPr lang="en-US"/>
          </a:p>
        </p:txBody>
      </p:sp>
      <p:sp>
        <p:nvSpPr>
          <p:cNvPr id="3" name="Title 2">
            <a:extLst>
              <a:ext uri="{FF2B5EF4-FFF2-40B4-BE49-F238E27FC236}">
                <a16:creationId xmlns:a16="http://schemas.microsoft.com/office/drawing/2014/main" id="{31AD4845-E304-184A-A50C-95ECACC8E039}"/>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84A79658-C7CB-6F44-BFD6-31FE61C6A0AD}"/>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53AEFDEE-1C66-2F4E-9BD2-F02DD95824A9}"/>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3D9074C-C7C2-0B44-B5A1-438DCACE41B5}"/>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F138E9D-42FA-724C-9E68-64994CD7AC0D}"/>
              </a:ext>
            </a:extLst>
          </p:cNvPr>
          <p:cNvSpPr>
            <a:spLocks noGrp="1"/>
          </p:cNvSpPr>
          <p:nvPr>
            <p:ph sz="quarter" idx="14"/>
          </p:nvPr>
        </p:nvSpPr>
        <p:spPr/>
        <p:txBody>
          <a:bodyPr/>
          <a:lstStyle/>
          <a:p>
            <a:endParaRPr lang="en-GB"/>
          </a:p>
        </p:txBody>
      </p:sp>
      <p:grpSp>
        <p:nvGrpSpPr>
          <p:cNvPr id="105" name="Group 104">
            <a:extLst>
              <a:ext uri="{FF2B5EF4-FFF2-40B4-BE49-F238E27FC236}">
                <a16:creationId xmlns:a16="http://schemas.microsoft.com/office/drawing/2014/main" id="{08ADF50D-52E9-B340-8BD3-2D6D27F40CE9}"/>
              </a:ext>
            </a:extLst>
          </p:cNvPr>
          <p:cNvGrpSpPr>
            <a:grpSpLocks noChangeAspect="1"/>
          </p:cNvGrpSpPr>
          <p:nvPr/>
        </p:nvGrpSpPr>
        <p:grpSpPr>
          <a:xfrm>
            <a:off x="1081211" y="1716195"/>
            <a:ext cx="9681500" cy="4169383"/>
            <a:chOff x="674811" y="1550868"/>
            <a:chExt cx="10552966" cy="4544684"/>
          </a:xfrm>
        </p:grpSpPr>
        <p:grpSp>
          <p:nvGrpSpPr>
            <p:cNvPr id="57" name="Group 56">
              <a:extLst>
                <a:ext uri="{FF2B5EF4-FFF2-40B4-BE49-F238E27FC236}">
                  <a16:creationId xmlns:a16="http://schemas.microsoft.com/office/drawing/2014/main" id="{66DECD99-9CC4-9141-A043-5E221C683220}"/>
                </a:ext>
              </a:extLst>
            </p:cNvPr>
            <p:cNvGrpSpPr/>
            <p:nvPr/>
          </p:nvGrpSpPr>
          <p:grpSpPr>
            <a:xfrm rot="16200000">
              <a:off x="3968855" y="4506512"/>
              <a:ext cx="1645920" cy="1482562"/>
              <a:chOff x="971600" y="1733231"/>
              <a:chExt cx="1620000" cy="1440000"/>
            </a:xfrm>
          </p:grpSpPr>
          <p:sp>
            <p:nvSpPr>
              <p:cNvPr id="58" name="Hexagon 57">
                <a:extLst>
                  <a:ext uri="{FF2B5EF4-FFF2-40B4-BE49-F238E27FC236}">
                    <a16:creationId xmlns:a16="http://schemas.microsoft.com/office/drawing/2014/main" id="{8B2BD078-282E-B546-AFB8-D847104C6992}"/>
                  </a:ext>
                </a:extLst>
              </p:cNvPr>
              <p:cNvSpPr/>
              <p:nvPr/>
            </p:nvSpPr>
            <p:spPr>
              <a:xfrm>
                <a:off x="971600" y="1733231"/>
                <a:ext cx="1620000" cy="1440000"/>
              </a:xfrm>
              <a:prstGeom prst="hexagon">
                <a:avLst/>
              </a:prstGeom>
              <a:no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9" name="Hexagon 58">
                <a:extLst>
                  <a:ext uri="{FF2B5EF4-FFF2-40B4-BE49-F238E27FC236}">
                    <a16:creationId xmlns:a16="http://schemas.microsoft.com/office/drawing/2014/main" id="{D5AA2C65-8942-0A42-8FE6-8C479CBDBA49}"/>
                  </a:ext>
                </a:extLst>
              </p:cNvPr>
              <p:cNvSpPr/>
              <p:nvPr/>
            </p:nvSpPr>
            <p:spPr>
              <a:xfrm>
                <a:off x="1061600" y="1805231"/>
                <a:ext cx="1440000" cy="1296000"/>
              </a:xfrm>
              <a:prstGeom prst="hexagon">
                <a:avLst/>
              </a:prstGeom>
              <a:solidFill>
                <a:schemeClr val="accent5"/>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60" name="Group 59">
              <a:extLst>
                <a:ext uri="{FF2B5EF4-FFF2-40B4-BE49-F238E27FC236}">
                  <a16:creationId xmlns:a16="http://schemas.microsoft.com/office/drawing/2014/main" id="{6F5EBD42-8FB2-D840-907C-A580B1848E1A}"/>
                </a:ext>
              </a:extLst>
            </p:cNvPr>
            <p:cNvGrpSpPr/>
            <p:nvPr/>
          </p:nvGrpSpPr>
          <p:grpSpPr>
            <a:xfrm>
              <a:off x="4014575" y="4816244"/>
              <a:ext cx="1554480" cy="874720"/>
              <a:chOff x="3233964" y="1911289"/>
              <a:chExt cx="1410044" cy="921886"/>
            </a:xfrm>
          </p:grpSpPr>
          <p:sp>
            <p:nvSpPr>
              <p:cNvPr id="61" name="TextBox 60">
                <a:extLst>
                  <a:ext uri="{FF2B5EF4-FFF2-40B4-BE49-F238E27FC236}">
                    <a16:creationId xmlns:a16="http://schemas.microsoft.com/office/drawing/2014/main" id="{94C7EA36-0477-7C47-9812-F49B2E638380}"/>
                  </a:ext>
                </a:extLst>
              </p:cNvPr>
              <p:cNvSpPr txBox="1"/>
              <p:nvPr/>
            </p:nvSpPr>
            <p:spPr>
              <a:xfrm>
                <a:off x="3233964" y="1911289"/>
                <a:ext cx="1400519" cy="315130"/>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62" name="TextBox 61">
                <a:extLst>
                  <a:ext uri="{FF2B5EF4-FFF2-40B4-BE49-F238E27FC236}">
                    <a16:creationId xmlns:a16="http://schemas.microsoft.com/office/drawing/2014/main" id="{E1D199D7-79FB-F148-9922-620AA6F24A46}"/>
                  </a:ext>
                </a:extLst>
              </p:cNvPr>
              <p:cNvSpPr txBox="1"/>
              <p:nvPr/>
            </p:nvSpPr>
            <p:spPr>
              <a:xfrm>
                <a:off x="3243489" y="2171403"/>
                <a:ext cx="1400519" cy="661772"/>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grpSp>
          <p:nvGrpSpPr>
            <p:cNvPr id="63" name="Group 62">
              <a:extLst>
                <a:ext uri="{FF2B5EF4-FFF2-40B4-BE49-F238E27FC236}">
                  <a16:creationId xmlns:a16="http://schemas.microsoft.com/office/drawing/2014/main" id="{0043BEA3-4CE9-7548-BA9B-FBE5377E206C}"/>
                </a:ext>
              </a:extLst>
            </p:cNvPr>
            <p:cNvGrpSpPr/>
            <p:nvPr/>
          </p:nvGrpSpPr>
          <p:grpSpPr>
            <a:xfrm rot="16200000">
              <a:off x="3162572" y="3078135"/>
              <a:ext cx="1645920" cy="1504727"/>
              <a:chOff x="971600" y="1733232"/>
              <a:chExt cx="1620000" cy="1440000"/>
            </a:xfrm>
          </p:grpSpPr>
          <p:sp>
            <p:nvSpPr>
              <p:cNvPr id="64" name="Hexagon 63">
                <a:extLst>
                  <a:ext uri="{FF2B5EF4-FFF2-40B4-BE49-F238E27FC236}">
                    <a16:creationId xmlns:a16="http://schemas.microsoft.com/office/drawing/2014/main" id="{3A687D0F-6CAC-E343-9692-C0908A46AE7B}"/>
                  </a:ext>
                </a:extLst>
              </p:cNvPr>
              <p:cNvSpPr/>
              <p:nvPr/>
            </p:nvSpPr>
            <p:spPr>
              <a:xfrm>
                <a:off x="971600" y="1733232"/>
                <a:ext cx="1620000" cy="1440000"/>
              </a:xfrm>
              <a:prstGeom prst="hexagon">
                <a:avLst/>
              </a:prstGeom>
              <a:no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5" name="Hexagon 64">
                <a:extLst>
                  <a:ext uri="{FF2B5EF4-FFF2-40B4-BE49-F238E27FC236}">
                    <a16:creationId xmlns:a16="http://schemas.microsoft.com/office/drawing/2014/main" id="{0C970CE5-DB33-7E46-A19C-B701E5CE3ECB}"/>
                  </a:ext>
                </a:extLst>
              </p:cNvPr>
              <p:cNvSpPr/>
              <p:nvPr/>
            </p:nvSpPr>
            <p:spPr>
              <a:xfrm>
                <a:off x="1061600" y="1805231"/>
                <a:ext cx="1440000" cy="1296000"/>
              </a:xfrm>
              <a:prstGeom prst="hexagon">
                <a:avLst/>
              </a:prstGeom>
              <a:solidFill>
                <a:schemeClr val="accent6"/>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66" name="Group 65">
              <a:extLst>
                <a:ext uri="{FF2B5EF4-FFF2-40B4-BE49-F238E27FC236}">
                  <a16:creationId xmlns:a16="http://schemas.microsoft.com/office/drawing/2014/main" id="{0E50E911-0C01-AF40-9E5B-327CDBF08FD6}"/>
                </a:ext>
              </a:extLst>
            </p:cNvPr>
            <p:cNvGrpSpPr/>
            <p:nvPr/>
          </p:nvGrpSpPr>
          <p:grpSpPr>
            <a:xfrm>
              <a:off x="3241388" y="3393452"/>
              <a:ext cx="1498434" cy="880616"/>
              <a:chOff x="3238726" y="1911289"/>
              <a:chExt cx="1400519" cy="906445"/>
            </a:xfrm>
          </p:grpSpPr>
          <p:sp>
            <p:nvSpPr>
              <p:cNvPr id="67" name="TextBox 66">
                <a:extLst>
                  <a:ext uri="{FF2B5EF4-FFF2-40B4-BE49-F238E27FC236}">
                    <a16:creationId xmlns:a16="http://schemas.microsoft.com/office/drawing/2014/main" id="{89F5BC1D-9FE5-4C4F-ACF7-C11D94F3FB8A}"/>
                  </a:ext>
                </a:extLst>
              </p:cNvPr>
              <p:cNvSpPr txBox="1"/>
              <p:nvPr/>
            </p:nvSpPr>
            <p:spPr>
              <a:xfrm>
                <a:off x="3238726" y="1911289"/>
                <a:ext cx="1400519" cy="307777"/>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68" name="TextBox 67">
                <a:extLst>
                  <a:ext uri="{FF2B5EF4-FFF2-40B4-BE49-F238E27FC236}">
                    <a16:creationId xmlns:a16="http://schemas.microsoft.com/office/drawing/2014/main" id="{8CE3EFB7-F51B-9C47-9B93-C8476B74F9DA}"/>
                  </a:ext>
                </a:extLst>
              </p:cNvPr>
              <p:cNvSpPr txBox="1"/>
              <p:nvPr/>
            </p:nvSpPr>
            <p:spPr>
              <a:xfrm>
                <a:off x="3238726" y="2171403"/>
                <a:ext cx="1400519" cy="646331"/>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grpSp>
          <p:nvGrpSpPr>
            <p:cNvPr id="69" name="Group 68">
              <a:extLst>
                <a:ext uri="{FF2B5EF4-FFF2-40B4-BE49-F238E27FC236}">
                  <a16:creationId xmlns:a16="http://schemas.microsoft.com/office/drawing/2014/main" id="{8BC840B1-E301-514C-A9BE-C3EC8841099C}"/>
                </a:ext>
              </a:extLst>
            </p:cNvPr>
            <p:cNvGrpSpPr/>
            <p:nvPr/>
          </p:nvGrpSpPr>
          <p:grpSpPr>
            <a:xfrm rot="16200000">
              <a:off x="2318804" y="4495430"/>
              <a:ext cx="1645920" cy="1504727"/>
              <a:chOff x="971600" y="1733231"/>
              <a:chExt cx="1620000" cy="1440000"/>
            </a:xfrm>
          </p:grpSpPr>
          <p:sp>
            <p:nvSpPr>
              <p:cNvPr id="70" name="Hexagon 69">
                <a:extLst>
                  <a:ext uri="{FF2B5EF4-FFF2-40B4-BE49-F238E27FC236}">
                    <a16:creationId xmlns:a16="http://schemas.microsoft.com/office/drawing/2014/main" id="{3EA4BD82-8EFA-244B-B58C-2F7584D0C75B}"/>
                  </a:ext>
                </a:extLst>
              </p:cNvPr>
              <p:cNvSpPr/>
              <p:nvPr/>
            </p:nvSpPr>
            <p:spPr>
              <a:xfrm>
                <a:off x="971600" y="1733231"/>
                <a:ext cx="1620000" cy="1440000"/>
              </a:xfrm>
              <a:prstGeom prst="hexagon">
                <a:avLst/>
              </a:prstGeom>
              <a:noFill/>
              <a:ln w="63500">
                <a:solidFill>
                  <a:schemeClr val="accent4">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1" name="Hexagon 70">
                <a:extLst>
                  <a:ext uri="{FF2B5EF4-FFF2-40B4-BE49-F238E27FC236}">
                    <a16:creationId xmlns:a16="http://schemas.microsoft.com/office/drawing/2014/main" id="{8D74BC56-17EF-DD48-9BFA-C8124598496E}"/>
                  </a:ext>
                </a:extLst>
              </p:cNvPr>
              <p:cNvSpPr/>
              <p:nvPr/>
            </p:nvSpPr>
            <p:spPr>
              <a:xfrm>
                <a:off x="1061600" y="1805231"/>
                <a:ext cx="1440000" cy="1296000"/>
              </a:xfrm>
              <a:prstGeom prst="hexagon">
                <a:avLst/>
              </a:prstGeom>
              <a:solidFill>
                <a:schemeClr val="accent4">
                  <a:lumMod val="9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72" name="Group 71">
              <a:extLst>
                <a:ext uri="{FF2B5EF4-FFF2-40B4-BE49-F238E27FC236}">
                  <a16:creationId xmlns:a16="http://schemas.microsoft.com/office/drawing/2014/main" id="{6F770E58-F508-4241-B0F3-52DC00048A73}"/>
                </a:ext>
              </a:extLst>
            </p:cNvPr>
            <p:cNvGrpSpPr/>
            <p:nvPr/>
          </p:nvGrpSpPr>
          <p:grpSpPr>
            <a:xfrm>
              <a:off x="2367620" y="4810348"/>
              <a:ext cx="1508625" cy="880616"/>
              <a:chOff x="3233964" y="1911289"/>
              <a:chExt cx="1410044" cy="906445"/>
            </a:xfrm>
          </p:grpSpPr>
          <p:sp>
            <p:nvSpPr>
              <p:cNvPr id="73" name="TextBox 72">
                <a:extLst>
                  <a:ext uri="{FF2B5EF4-FFF2-40B4-BE49-F238E27FC236}">
                    <a16:creationId xmlns:a16="http://schemas.microsoft.com/office/drawing/2014/main" id="{AD191FCE-6434-9A4A-BC87-B12737D2EB16}"/>
                  </a:ext>
                </a:extLst>
              </p:cNvPr>
              <p:cNvSpPr txBox="1"/>
              <p:nvPr/>
            </p:nvSpPr>
            <p:spPr>
              <a:xfrm>
                <a:off x="3233964" y="1911289"/>
                <a:ext cx="1400519" cy="307777"/>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74" name="TextBox 73">
                <a:extLst>
                  <a:ext uri="{FF2B5EF4-FFF2-40B4-BE49-F238E27FC236}">
                    <a16:creationId xmlns:a16="http://schemas.microsoft.com/office/drawing/2014/main" id="{BBF56E47-50B5-0646-B4F2-E08C8EFAFE7A}"/>
                  </a:ext>
                </a:extLst>
              </p:cNvPr>
              <p:cNvSpPr txBox="1"/>
              <p:nvPr/>
            </p:nvSpPr>
            <p:spPr>
              <a:xfrm>
                <a:off x="3243489" y="2171403"/>
                <a:ext cx="1400519" cy="646331"/>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grpSp>
          <p:nvGrpSpPr>
            <p:cNvPr id="75" name="Group 74">
              <a:extLst>
                <a:ext uri="{FF2B5EF4-FFF2-40B4-BE49-F238E27FC236}">
                  <a16:creationId xmlns:a16="http://schemas.microsoft.com/office/drawing/2014/main" id="{E45B0CA7-28DE-9A4E-BF9B-CD20A541414A}"/>
                </a:ext>
              </a:extLst>
            </p:cNvPr>
            <p:cNvGrpSpPr/>
            <p:nvPr/>
          </p:nvGrpSpPr>
          <p:grpSpPr>
            <a:xfrm rot="16200000">
              <a:off x="629091" y="4472562"/>
              <a:ext cx="1645920" cy="1550464"/>
              <a:chOff x="971600" y="1733231"/>
              <a:chExt cx="1620000" cy="1440000"/>
            </a:xfrm>
          </p:grpSpPr>
          <p:sp>
            <p:nvSpPr>
              <p:cNvPr id="76" name="Hexagon 75">
                <a:extLst>
                  <a:ext uri="{FF2B5EF4-FFF2-40B4-BE49-F238E27FC236}">
                    <a16:creationId xmlns:a16="http://schemas.microsoft.com/office/drawing/2014/main" id="{755AF6DE-B620-954E-82C0-E821B74585AC}"/>
                  </a:ext>
                </a:extLst>
              </p:cNvPr>
              <p:cNvSpPr/>
              <p:nvPr/>
            </p:nvSpPr>
            <p:spPr>
              <a:xfrm>
                <a:off x="971600" y="1733231"/>
                <a:ext cx="1620000" cy="1440000"/>
              </a:xfrm>
              <a:prstGeom prst="hexagon">
                <a:avLst/>
              </a:prstGeom>
              <a:no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7" name="Hexagon 76">
                <a:extLst>
                  <a:ext uri="{FF2B5EF4-FFF2-40B4-BE49-F238E27FC236}">
                    <a16:creationId xmlns:a16="http://schemas.microsoft.com/office/drawing/2014/main" id="{E53A566E-6F41-2A46-9B5A-4B3C8104C468}"/>
                  </a:ext>
                </a:extLst>
              </p:cNvPr>
              <p:cNvSpPr/>
              <p:nvPr/>
            </p:nvSpPr>
            <p:spPr>
              <a:xfrm>
                <a:off x="1061600" y="1805231"/>
                <a:ext cx="1440000" cy="1296000"/>
              </a:xfrm>
              <a:prstGeom prst="hexagon">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78" name="Group 77">
              <a:extLst>
                <a:ext uri="{FF2B5EF4-FFF2-40B4-BE49-F238E27FC236}">
                  <a16:creationId xmlns:a16="http://schemas.microsoft.com/office/drawing/2014/main" id="{676DDFE6-10F8-6F41-92F8-FEE3B8936411}"/>
                </a:ext>
              </a:extLst>
            </p:cNvPr>
            <p:cNvGrpSpPr/>
            <p:nvPr/>
          </p:nvGrpSpPr>
          <p:grpSpPr>
            <a:xfrm>
              <a:off x="674811" y="4810348"/>
              <a:ext cx="1554480" cy="880616"/>
              <a:chOff x="3233964" y="1911289"/>
              <a:chExt cx="1410044" cy="906445"/>
            </a:xfrm>
          </p:grpSpPr>
          <p:sp>
            <p:nvSpPr>
              <p:cNvPr id="79" name="TextBox 78">
                <a:extLst>
                  <a:ext uri="{FF2B5EF4-FFF2-40B4-BE49-F238E27FC236}">
                    <a16:creationId xmlns:a16="http://schemas.microsoft.com/office/drawing/2014/main" id="{817E5A03-C31F-6E41-9DA1-F397A636C154}"/>
                  </a:ext>
                </a:extLst>
              </p:cNvPr>
              <p:cNvSpPr txBox="1"/>
              <p:nvPr/>
            </p:nvSpPr>
            <p:spPr>
              <a:xfrm>
                <a:off x="3233964" y="1911289"/>
                <a:ext cx="1400519" cy="307777"/>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80" name="TextBox 79">
                <a:extLst>
                  <a:ext uri="{FF2B5EF4-FFF2-40B4-BE49-F238E27FC236}">
                    <a16:creationId xmlns:a16="http://schemas.microsoft.com/office/drawing/2014/main" id="{1E5E9548-9D66-6C4B-8F34-FAEE06D7B1BE}"/>
                  </a:ext>
                </a:extLst>
              </p:cNvPr>
              <p:cNvSpPr txBox="1"/>
              <p:nvPr/>
            </p:nvSpPr>
            <p:spPr>
              <a:xfrm>
                <a:off x="3243489" y="2171403"/>
                <a:ext cx="1400519" cy="646331"/>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grpSp>
          <p:nvGrpSpPr>
            <p:cNvPr id="81" name="Group 80">
              <a:extLst>
                <a:ext uri="{FF2B5EF4-FFF2-40B4-BE49-F238E27FC236}">
                  <a16:creationId xmlns:a16="http://schemas.microsoft.com/office/drawing/2014/main" id="{67430330-80E2-C149-995F-C2FD1646BEA4}"/>
                </a:ext>
              </a:extLst>
            </p:cNvPr>
            <p:cNvGrpSpPr/>
            <p:nvPr/>
          </p:nvGrpSpPr>
          <p:grpSpPr>
            <a:xfrm rot="16200000">
              <a:off x="1477142" y="3058528"/>
              <a:ext cx="1645920" cy="1550464"/>
              <a:chOff x="971600" y="1733231"/>
              <a:chExt cx="1620000" cy="1440000"/>
            </a:xfrm>
          </p:grpSpPr>
          <p:sp>
            <p:nvSpPr>
              <p:cNvPr id="82" name="Hexagon 81">
                <a:extLst>
                  <a:ext uri="{FF2B5EF4-FFF2-40B4-BE49-F238E27FC236}">
                    <a16:creationId xmlns:a16="http://schemas.microsoft.com/office/drawing/2014/main" id="{4660D7BD-07C5-D640-8528-2A5A5ECB2C82}"/>
                  </a:ext>
                </a:extLst>
              </p:cNvPr>
              <p:cNvSpPr/>
              <p:nvPr/>
            </p:nvSpPr>
            <p:spPr>
              <a:xfrm>
                <a:off x="971600" y="1733231"/>
                <a:ext cx="1620000" cy="1440000"/>
              </a:xfrm>
              <a:prstGeom prst="hexagon">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3" name="Hexagon 82">
                <a:extLst>
                  <a:ext uri="{FF2B5EF4-FFF2-40B4-BE49-F238E27FC236}">
                    <a16:creationId xmlns:a16="http://schemas.microsoft.com/office/drawing/2014/main" id="{79070D89-880C-F345-8DE2-626873CA76C0}"/>
                  </a:ext>
                </a:extLst>
              </p:cNvPr>
              <p:cNvSpPr/>
              <p:nvPr/>
            </p:nvSpPr>
            <p:spPr>
              <a:xfrm>
                <a:off x="1061600" y="1805231"/>
                <a:ext cx="1440000" cy="1296000"/>
              </a:xfrm>
              <a:prstGeom prst="hexagon">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84" name="Group 83">
              <a:extLst>
                <a:ext uri="{FF2B5EF4-FFF2-40B4-BE49-F238E27FC236}">
                  <a16:creationId xmlns:a16="http://schemas.microsoft.com/office/drawing/2014/main" id="{D09B1018-1461-7E4A-B30B-6CC441F3B1A3}"/>
                </a:ext>
              </a:extLst>
            </p:cNvPr>
            <p:cNvGrpSpPr/>
            <p:nvPr/>
          </p:nvGrpSpPr>
          <p:grpSpPr>
            <a:xfrm>
              <a:off x="1522862" y="3393452"/>
              <a:ext cx="1554480" cy="880616"/>
              <a:chOff x="3233964" y="1911289"/>
              <a:chExt cx="1410044" cy="906445"/>
            </a:xfrm>
          </p:grpSpPr>
          <p:sp>
            <p:nvSpPr>
              <p:cNvPr id="85" name="TextBox 84">
                <a:extLst>
                  <a:ext uri="{FF2B5EF4-FFF2-40B4-BE49-F238E27FC236}">
                    <a16:creationId xmlns:a16="http://schemas.microsoft.com/office/drawing/2014/main" id="{4664067E-841E-CD42-BA2A-1B16067AB29A}"/>
                  </a:ext>
                </a:extLst>
              </p:cNvPr>
              <p:cNvSpPr txBox="1"/>
              <p:nvPr/>
            </p:nvSpPr>
            <p:spPr>
              <a:xfrm>
                <a:off x="3233964" y="1911289"/>
                <a:ext cx="1400519" cy="307777"/>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86" name="TextBox 85">
                <a:extLst>
                  <a:ext uri="{FF2B5EF4-FFF2-40B4-BE49-F238E27FC236}">
                    <a16:creationId xmlns:a16="http://schemas.microsoft.com/office/drawing/2014/main" id="{657D5EC2-7893-754A-BE4E-549354AB3626}"/>
                  </a:ext>
                </a:extLst>
              </p:cNvPr>
              <p:cNvSpPr txBox="1"/>
              <p:nvPr/>
            </p:nvSpPr>
            <p:spPr>
              <a:xfrm>
                <a:off x="3243489" y="2171403"/>
                <a:ext cx="1400519" cy="646331"/>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grpSp>
          <p:nvGrpSpPr>
            <p:cNvPr id="87" name="Group 86">
              <a:extLst>
                <a:ext uri="{FF2B5EF4-FFF2-40B4-BE49-F238E27FC236}">
                  <a16:creationId xmlns:a16="http://schemas.microsoft.com/office/drawing/2014/main" id="{295164FA-2F3F-734E-B810-4F803D4AB903}"/>
                </a:ext>
              </a:extLst>
            </p:cNvPr>
            <p:cNvGrpSpPr/>
            <p:nvPr/>
          </p:nvGrpSpPr>
          <p:grpSpPr>
            <a:xfrm rot="16200000">
              <a:off x="2331724" y="1598596"/>
              <a:ext cx="1645920" cy="1550464"/>
              <a:chOff x="971600" y="1733231"/>
              <a:chExt cx="1620000" cy="1440000"/>
            </a:xfrm>
          </p:grpSpPr>
          <p:sp>
            <p:nvSpPr>
              <p:cNvPr id="88" name="Hexagon 87">
                <a:extLst>
                  <a:ext uri="{FF2B5EF4-FFF2-40B4-BE49-F238E27FC236}">
                    <a16:creationId xmlns:a16="http://schemas.microsoft.com/office/drawing/2014/main" id="{4F6EFC7C-1A2D-B142-A7BC-1DFF060089B6}"/>
                  </a:ext>
                </a:extLst>
              </p:cNvPr>
              <p:cNvSpPr/>
              <p:nvPr/>
            </p:nvSpPr>
            <p:spPr>
              <a:xfrm>
                <a:off x="971600" y="1733231"/>
                <a:ext cx="1620000" cy="1440000"/>
              </a:xfrm>
              <a:prstGeom prst="hexagon">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9" name="Hexagon 88">
                <a:extLst>
                  <a:ext uri="{FF2B5EF4-FFF2-40B4-BE49-F238E27FC236}">
                    <a16:creationId xmlns:a16="http://schemas.microsoft.com/office/drawing/2014/main" id="{8B840DA6-0EDC-7844-96F5-1E11AA3F574D}"/>
                  </a:ext>
                </a:extLst>
              </p:cNvPr>
              <p:cNvSpPr/>
              <p:nvPr/>
            </p:nvSpPr>
            <p:spPr>
              <a:xfrm>
                <a:off x="1061600" y="1805231"/>
                <a:ext cx="1440000" cy="1296000"/>
              </a:xfrm>
              <a:prstGeom prst="hexagon">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90" name="Group 89">
              <a:extLst>
                <a:ext uri="{FF2B5EF4-FFF2-40B4-BE49-F238E27FC236}">
                  <a16:creationId xmlns:a16="http://schemas.microsoft.com/office/drawing/2014/main" id="{354BE99D-AE67-814F-AE2E-351A500A3B98}"/>
                </a:ext>
              </a:extLst>
            </p:cNvPr>
            <p:cNvGrpSpPr/>
            <p:nvPr/>
          </p:nvGrpSpPr>
          <p:grpSpPr>
            <a:xfrm>
              <a:off x="2377444" y="1933520"/>
              <a:ext cx="1554480" cy="880616"/>
              <a:chOff x="3233964" y="1911289"/>
              <a:chExt cx="1410044" cy="906445"/>
            </a:xfrm>
          </p:grpSpPr>
          <p:sp>
            <p:nvSpPr>
              <p:cNvPr id="91" name="TextBox 90">
                <a:extLst>
                  <a:ext uri="{FF2B5EF4-FFF2-40B4-BE49-F238E27FC236}">
                    <a16:creationId xmlns:a16="http://schemas.microsoft.com/office/drawing/2014/main" id="{B39C290E-A3CF-6B41-82E3-51DD46565C61}"/>
                  </a:ext>
                </a:extLst>
              </p:cNvPr>
              <p:cNvSpPr txBox="1"/>
              <p:nvPr/>
            </p:nvSpPr>
            <p:spPr>
              <a:xfrm>
                <a:off x="3233964" y="1911289"/>
                <a:ext cx="1400519" cy="307777"/>
              </a:xfrm>
              <a:prstGeom prst="rect">
                <a:avLst/>
              </a:prstGeom>
              <a:noFill/>
            </p:spPr>
            <p:txBody>
              <a:bodyPr wrap="square" rtlCol="0">
                <a:spAutoFit/>
              </a:bodyPr>
              <a:lstStyle/>
              <a:p>
                <a:pPr algn="ctr"/>
                <a:r>
                  <a:rPr lang="en-US" altLang="ko-KR" sz="1400" b="1">
                    <a:solidFill>
                      <a:schemeClr val="bg1"/>
                    </a:solidFill>
                    <a:cs typeface="Arial" pitchFamily="34" charset="0"/>
                  </a:rPr>
                  <a:t>Text Here</a:t>
                </a:r>
                <a:endParaRPr lang="ko-KR" altLang="en-US" sz="1400" b="1">
                  <a:solidFill>
                    <a:schemeClr val="bg1"/>
                  </a:solidFill>
                  <a:cs typeface="Arial" pitchFamily="34" charset="0"/>
                </a:endParaRPr>
              </a:p>
            </p:txBody>
          </p:sp>
          <p:sp>
            <p:nvSpPr>
              <p:cNvPr id="92" name="TextBox 91">
                <a:extLst>
                  <a:ext uri="{FF2B5EF4-FFF2-40B4-BE49-F238E27FC236}">
                    <a16:creationId xmlns:a16="http://schemas.microsoft.com/office/drawing/2014/main" id="{2D4D3D4C-DC6B-A340-A682-E3B31229A339}"/>
                  </a:ext>
                </a:extLst>
              </p:cNvPr>
              <p:cNvSpPr txBox="1"/>
              <p:nvPr/>
            </p:nvSpPr>
            <p:spPr>
              <a:xfrm>
                <a:off x="3243489" y="2171403"/>
                <a:ext cx="1400519" cy="646331"/>
              </a:xfrm>
              <a:prstGeom prst="rect">
                <a:avLst/>
              </a:prstGeom>
              <a:noFill/>
            </p:spPr>
            <p:txBody>
              <a:bodyPr wrap="square" rtlCol="0">
                <a:spAutoFit/>
              </a:bodyPr>
              <a:lstStyle/>
              <a:p>
                <a:pPr algn="ctr"/>
                <a:r>
                  <a:rPr lang="en-US" altLang="ko-KR" sz="1200">
                    <a:solidFill>
                      <a:schemeClr val="bg1"/>
                    </a:solidFill>
                    <a:cs typeface="Arial" pitchFamily="34" charset="0"/>
                  </a:rPr>
                  <a:t>Easy to change colors, photos and Text.</a:t>
                </a:r>
              </a:p>
            </p:txBody>
          </p:sp>
        </p:grpSp>
        <p:sp>
          <p:nvSpPr>
            <p:cNvPr id="93" name="Rounded Rectangle 40">
              <a:extLst>
                <a:ext uri="{FF2B5EF4-FFF2-40B4-BE49-F238E27FC236}">
                  <a16:creationId xmlns:a16="http://schemas.microsoft.com/office/drawing/2014/main" id="{2618A7FE-B17B-954B-828F-5A509DB01462}"/>
                </a:ext>
              </a:extLst>
            </p:cNvPr>
            <p:cNvSpPr/>
            <p:nvPr/>
          </p:nvSpPr>
          <p:spPr>
            <a:xfrm>
              <a:off x="6050337" y="1777156"/>
              <a:ext cx="5177440" cy="1009440"/>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94" name="Rounded Rectangle 41">
              <a:extLst>
                <a:ext uri="{FF2B5EF4-FFF2-40B4-BE49-F238E27FC236}">
                  <a16:creationId xmlns:a16="http://schemas.microsoft.com/office/drawing/2014/main" id="{0FB367F8-F0D5-6C4A-BC5B-E2DDC31BE2F8}"/>
                </a:ext>
              </a:extLst>
            </p:cNvPr>
            <p:cNvSpPr/>
            <p:nvPr/>
          </p:nvSpPr>
          <p:spPr>
            <a:xfrm>
              <a:off x="6050337" y="2980642"/>
              <a:ext cx="5177440" cy="1313934"/>
            </a:xfrm>
            <a:prstGeom prst="round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95" name="Rounded Rectangle 42">
              <a:extLst>
                <a:ext uri="{FF2B5EF4-FFF2-40B4-BE49-F238E27FC236}">
                  <a16:creationId xmlns:a16="http://schemas.microsoft.com/office/drawing/2014/main" id="{627D7656-B2DB-C74A-90BD-02870646F861}"/>
                </a:ext>
              </a:extLst>
            </p:cNvPr>
            <p:cNvSpPr/>
            <p:nvPr/>
          </p:nvSpPr>
          <p:spPr>
            <a:xfrm>
              <a:off x="6050337" y="4488621"/>
              <a:ext cx="5177440" cy="1606931"/>
            </a:xfrm>
            <a:prstGeom prst="round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nvGrpSpPr>
            <p:cNvPr id="96" name="Group 95">
              <a:extLst>
                <a:ext uri="{FF2B5EF4-FFF2-40B4-BE49-F238E27FC236}">
                  <a16:creationId xmlns:a16="http://schemas.microsoft.com/office/drawing/2014/main" id="{A4A73A4A-97BE-794B-BC42-7E078AD71EBD}"/>
                </a:ext>
              </a:extLst>
            </p:cNvPr>
            <p:cNvGrpSpPr/>
            <p:nvPr/>
          </p:nvGrpSpPr>
          <p:grpSpPr>
            <a:xfrm>
              <a:off x="6293074" y="1900992"/>
              <a:ext cx="4802819" cy="823328"/>
              <a:chOff x="3233964" y="1954419"/>
              <a:chExt cx="1400519" cy="823328"/>
            </a:xfrm>
          </p:grpSpPr>
          <p:sp>
            <p:nvSpPr>
              <p:cNvPr id="97" name="TextBox 96">
                <a:extLst>
                  <a:ext uri="{FF2B5EF4-FFF2-40B4-BE49-F238E27FC236}">
                    <a16:creationId xmlns:a16="http://schemas.microsoft.com/office/drawing/2014/main" id="{B6FBF863-8586-1A4C-8396-BAD3766E8F2F}"/>
                  </a:ext>
                </a:extLst>
              </p:cNvPr>
              <p:cNvSpPr txBox="1"/>
              <p:nvPr/>
            </p:nvSpPr>
            <p:spPr>
              <a:xfrm>
                <a:off x="3233964" y="1954419"/>
                <a:ext cx="1400472" cy="307777"/>
              </a:xfrm>
              <a:prstGeom prst="rect">
                <a:avLst/>
              </a:prstGeom>
              <a:noFill/>
              <a:ln>
                <a:noFill/>
              </a:ln>
            </p:spPr>
            <p:txBody>
              <a:bodyPr wrap="square" rtlCol="0">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98" name="TextBox 97">
                <a:extLst>
                  <a:ext uri="{FF2B5EF4-FFF2-40B4-BE49-F238E27FC236}">
                    <a16:creationId xmlns:a16="http://schemas.microsoft.com/office/drawing/2014/main" id="{B075DC47-4DD5-2146-803A-825BE45A723E}"/>
                  </a:ext>
                </a:extLst>
              </p:cNvPr>
              <p:cNvSpPr txBox="1"/>
              <p:nvPr/>
            </p:nvSpPr>
            <p:spPr>
              <a:xfrm>
                <a:off x="3233964" y="2254527"/>
                <a:ext cx="1400519" cy="523220"/>
              </a:xfrm>
              <a:prstGeom prst="rect">
                <a:avLst/>
              </a:prstGeom>
              <a:noFill/>
              <a:ln>
                <a:noFill/>
              </a:ln>
            </p:spPr>
            <p:txBody>
              <a:bodyPr wrap="square" rtlCol="0">
                <a:spAutoFit/>
              </a:bodyPr>
              <a:lstStyle/>
              <a:p>
                <a:r>
                  <a:rPr lang="en-US" altLang="ko-KR" sz="1400">
                    <a:solidFill>
                      <a:schemeClr val="tx1">
                        <a:lumMod val="75000"/>
                        <a:lumOff val="25000"/>
                      </a:schemeClr>
                    </a:solidFill>
                    <a:cs typeface="Arial" pitchFamily="34" charset="0"/>
                  </a:rPr>
                  <a:t>You can simply impress your audience and add a unique zing and appeal to your Presentations. </a:t>
                </a:r>
              </a:p>
            </p:txBody>
          </p:sp>
        </p:grpSp>
        <p:grpSp>
          <p:nvGrpSpPr>
            <p:cNvPr id="99" name="Group 98">
              <a:extLst>
                <a:ext uri="{FF2B5EF4-FFF2-40B4-BE49-F238E27FC236}">
                  <a16:creationId xmlns:a16="http://schemas.microsoft.com/office/drawing/2014/main" id="{23732560-ED00-A44A-B774-CB1C38CB6AE9}"/>
                </a:ext>
              </a:extLst>
            </p:cNvPr>
            <p:cNvGrpSpPr/>
            <p:nvPr/>
          </p:nvGrpSpPr>
          <p:grpSpPr>
            <a:xfrm>
              <a:off x="6293074" y="3160155"/>
              <a:ext cx="4802658" cy="954913"/>
              <a:chOff x="6533673" y="3357955"/>
              <a:chExt cx="2150471" cy="954913"/>
            </a:xfrm>
          </p:grpSpPr>
          <p:sp>
            <p:nvSpPr>
              <p:cNvPr id="100" name="TextBox 99">
                <a:extLst>
                  <a:ext uri="{FF2B5EF4-FFF2-40B4-BE49-F238E27FC236}">
                    <a16:creationId xmlns:a16="http://schemas.microsoft.com/office/drawing/2014/main" id="{54187264-995A-AB49-A337-AF1EEADA15F7}"/>
                  </a:ext>
                </a:extLst>
              </p:cNvPr>
              <p:cNvSpPr txBox="1"/>
              <p:nvPr/>
            </p:nvSpPr>
            <p:spPr>
              <a:xfrm>
                <a:off x="6533673" y="3666537"/>
                <a:ext cx="2150471"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Get a modern PowerPoint  Presentation that is beautifully designed. </a:t>
                </a:r>
              </a:p>
            </p:txBody>
          </p:sp>
          <p:sp>
            <p:nvSpPr>
              <p:cNvPr id="101" name="TextBox 100">
                <a:extLst>
                  <a:ext uri="{FF2B5EF4-FFF2-40B4-BE49-F238E27FC236}">
                    <a16:creationId xmlns:a16="http://schemas.microsoft.com/office/drawing/2014/main" id="{9BDF00C4-CA0A-D347-9061-F531B49DCB97}"/>
                  </a:ext>
                </a:extLst>
              </p:cNvPr>
              <p:cNvSpPr txBox="1"/>
              <p:nvPr/>
            </p:nvSpPr>
            <p:spPr>
              <a:xfrm>
                <a:off x="6533673" y="3357955"/>
                <a:ext cx="2150471" cy="276999"/>
              </a:xfrm>
              <a:prstGeom prst="rect">
                <a:avLst/>
              </a:prstGeom>
              <a:noFill/>
            </p:spPr>
            <p:txBody>
              <a:bodyPr wrap="square" rtlCol="0">
                <a:spAutoFit/>
              </a:bodyPr>
              <a:lstStyle/>
              <a:p>
                <a:r>
                  <a:rPr lang="en-US" altLang="ko-KR" b="1">
                    <a:solidFill>
                      <a:schemeClr val="tx1">
                        <a:lumMod val="75000"/>
                        <a:lumOff val="25000"/>
                      </a:schemeClr>
                    </a:solidFill>
                    <a:cs typeface="Arial" pitchFamily="34" charset="0"/>
                  </a:rPr>
                  <a:t>Content  Here</a:t>
                </a:r>
                <a:endParaRPr lang="ko-KR" altLang="en-US" b="1">
                  <a:solidFill>
                    <a:schemeClr val="tx1">
                      <a:lumMod val="75000"/>
                      <a:lumOff val="25000"/>
                    </a:schemeClr>
                  </a:solidFill>
                  <a:cs typeface="Arial" pitchFamily="34" charset="0"/>
                </a:endParaRPr>
              </a:p>
            </p:txBody>
          </p:sp>
        </p:grpSp>
        <p:grpSp>
          <p:nvGrpSpPr>
            <p:cNvPr id="102" name="Group 101">
              <a:extLst>
                <a:ext uri="{FF2B5EF4-FFF2-40B4-BE49-F238E27FC236}">
                  <a16:creationId xmlns:a16="http://schemas.microsoft.com/office/drawing/2014/main" id="{CDDD6ACA-CB6B-4B46-8B70-DB2109E0216A}"/>
                </a:ext>
              </a:extLst>
            </p:cNvPr>
            <p:cNvGrpSpPr/>
            <p:nvPr/>
          </p:nvGrpSpPr>
          <p:grpSpPr>
            <a:xfrm>
              <a:off x="6293074" y="4643819"/>
              <a:ext cx="4802658" cy="1296537"/>
              <a:chOff x="6533673" y="3357955"/>
              <a:chExt cx="2150471" cy="1296537"/>
            </a:xfrm>
          </p:grpSpPr>
          <p:sp>
            <p:nvSpPr>
              <p:cNvPr id="103" name="TextBox 102">
                <a:extLst>
                  <a:ext uri="{FF2B5EF4-FFF2-40B4-BE49-F238E27FC236}">
                    <a16:creationId xmlns:a16="http://schemas.microsoft.com/office/drawing/2014/main" id="{FB7EEFA1-5998-A34F-A3E7-4E3BEB075EF5}"/>
                  </a:ext>
                </a:extLst>
              </p:cNvPr>
              <p:cNvSpPr txBox="1"/>
              <p:nvPr/>
            </p:nvSpPr>
            <p:spPr>
              <a:xfrm>
                <a:off x="6533673" y="3638829"/>
                <a:ext cx="2150471" cy="1015663"/>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Get a modern PowerPoint  Presentation that is beautifully designed. Easy to change colors, photos and Text.  I hope and I believe that this Template will your Time, Money and Reputation. </a:t>
                </a:r>
              </a:p>
            </p:txBody>
          </p:sp>
          <p:sp>
            <p:nvSpPr>
              <p:cNvPr id="104" name="TextBox 103">
                <a:extLst>
                  <a:ext uri="{FF2B5EF4-FFF2-40B4-BE49-F238E27FC236}">
                    <a16:creationId xmlns:a16="http://schemas.microsoft.com/office/drawing/2014/main" id="{13655F35-4FE1-BF49-9FB2-53CA5DA2672B}"/>
                  </a:ext>
                </a:extLst>
              </p:cNvPr>
              <p:cNvSpPr txBox="1"/>
              <p:nvPr/>
            </p:nvSpPr>
            <p:spPr>
              <a:xfrm>
                <a:off x="6533673" y="3357955"/>
                <a:ext cx="2150471" cy="276999"/>
              </a:xfrm>
              <a:prstGeom prst="rect">
                <a:avLst/>
              </a:prstGeom>
              <a:noFill/>
            </p:spPr>
            <p:txBody>
              <a:bodyPr wrap="square" rtlCol="0">
                <a:spAutoFit/>
              </a:bodyPr>
              <a:lstStyle/>
              <a:p>
                <a:r>
                  <a:rPr lang="en-US" altLang="ko-KR" b="1">
                    <a:solidFill>
                      <a:schemeClr val="tx1">
                        <a:lumMod val="75000"/>
                        <a:lumOff val="25000"/>
                      </a:schemeClr>
                    </a:solidFill>
                    <a:cs typeface="Arial" pitchFamily="34" charset="0"/>
                  </a:rPr>
                  <a:t>Content  Here</a:t>
                </a:r>
                <a:endParaRPr lang="ko-KR" altLang="en-US" b="1">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382126414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879192-62C5-CA4F-8438-C8EC88560BED}"/>
              </a:ext>
            </a:extLst>
          </p:cNvPr>
          <p:cNvGraphicFramePr>
            <a:graphicFrameLocks noChangeAspect="1"/>
          </p:cNvGraphicFramePr>
          <p:nvPr>
            <p:custDataLst>
              <p:tags r:id="rId1"/>
            </p:custDataLst>
            <p:extLst>
              <p:ext uri="{D42A27DB-BD31-4B8C-83A1-F6EECF244321}">
                <p14:modId xmlns:p14="http://schemas.microsoft.com/office/powerpoint/2010/main" val="883257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9A879192-62C5-CA4F-8438-C8EC88560BE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5C86EF6-F7F2-F04B-AE09-7B48949CD1B2}"/>
              </a:ext>
            </a:extLst>
          </p:cNvPr>
          <p:cNvSpPr>
            <a:spLocks noGrp="1"/>
          </p:cNvSpPr>
          <p:nvPr>
            <p:ph type="sldNum" sz="quarter" idx="4"/>
          </p:nvPr>
        </p:nvSpPr>
        <p:spPr/>
        <p:txBody>
          <a:bodyPr/>
          <a:lstStyle/>
          <a:p>
            <a:fld id="{3D966009-6E5A-4F8C-8CA7-E37AFBF5FB92}" type="slidenum">
              <a:rPr lang="en-US" smtClean="0"/>
              <a:t>137</a:t>
            </a:fld>
            <a:endParaRPr lang="en-US"/>
          </a:p>
        </p:txBody>
      </p:sp>
      <p:sp>
        <p:nvSpPr>
          <p:cNvPr id="3" name="Title 2">
            <a:extLst>
              <a:ext uri="{FF2B5EF4-FFF2-40B4-BE49-F238E27FC236}">
                <a16:creationId xmlns:a16="http://schemas.microsoft.com/office/drawing/2014/main" id="{00840608-09DF-F845-A714-67F5DD7F4665}"/>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FFC22C50-9F0E-474F-AD96-F30270E041FD}"/>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40F1D89C-C2DA-9C41-AB1C-1136EFC649A9}"/>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2FE37DF9-9589-E54D-B529-1BFE1BDAB77C}"/>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5BD79FAF-E063-B045-81C3-DB55288CE683}"/>
              </a:ext>
            </a:extLst>
          </p:cNvPr>
          <p:cNvSpPr>
            <a:spLocks noGrp="1"/>
          </p:cNvSpPr>
          <p:nvPr>
            <p:ph sz="quarter" idx="14"/>
          </p:nvPr>
        </p:nvSpPr>
        <p:spPr/>
        <p:txBody>
          <a:bodyPr/>
          <a:lstStyle/>
          <a:p>
            <a:endParaRPr lang="de-DE"/>
          </a:p>
        </p:txBody>
      </p:sp>
      <p:grpSp>
        <p:nvGrpSpPr>
          <p:cNvPr id="157" name="Group 156">
            <a:extLst>
              <a:ext uri="{FF2B5EF4-FFF2-40B4-BE49-F238E27FC236}">
                <a16:creationId xmlns:a16="http://schemas.microsoft.com/office/drawing/2014/main" id="{DA180E8B-73E0-404D-9B32-7AA1A3AC1E6F}"/>
              </a:ext>
            </a:extLst>
          </p:cNvPr>
          <p:cNvGrpSpPr/>
          <p:nvPr/>
        </p:nvGrpSpPr>
        <p:grpSpPr>
          <a:xfrm>
            <a:off x="371475" y="1696317"/>
            <a:ext cx="11183216" cy="4217121"/>
            <a:chOff x="557033" y="1486561"/>
            <a:chExt cx="7957926" cy="2937889"/>
          </a:xfrm>
        </p:grpSpPr>
        <p:grpSp>
          <p:nvGrpSpPr>
            <p:cNvPr id="158" name="Group 157">
              <a:extLst>
                <a:ext uri="{FF2B5EF4-FFF2-40B4-BE49-F238E27FC236}">
                  <a16:creationId xmlns:a16="http://schemas.microsoft.com/office/drawing/2014/main" id="{579F1B28-F472-F34A-84C1-771209172095}"/>
                </a:ext>
              </a:extLst>
            </p:cNvPr>
            <p:cNvGrpSpPr/>
            <p:nvPr/>
          </p:nvGrpSpPr>
          <p:grpSpPr>
            <a:xfrm>
              <a:off x="3419872" y="1486561"/>
              <a:ext cx="1060704" cy="1429526"/>
              <a:chOff x="4041649" y="1707654"/>
              <a:chExt cx="1060704" cy="1429526"/>
            </a:xfrm>
          </p:grpSpPr>
          <p:sp>
            <p:nvSpPr>
              <p:cNvPr id="206" name="Isosceles Triangle 2">
                <a:extLst>
                  <a:ext uri="{FF2B5EF4-FFF2-40B4-BE49-F238E27FC236}">
                    <a16:creationId xmlns:a16="http://schemas.microsoft.com/office/drawing/2014/main" id="{9F71B7C7-DAA8-4348-8CDA-B609BC8C36D9}"/>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207" name="Hexagon 206">
                <a:extLst>
                  <a:ext uri="{FF2B5EF4-FFF2-40B4-BE49-F238E27FC236}">
                    <a16:creationId xmlns:a16="http://schemas.microsoft.com/office/drawing/2014/main" id="{28F6722A-BB03-8A42-AC51-10C5AD828FDA}"/>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sp>
          <p:nvSpPr>
            <p:cNvPr id="159" name="Hexagon 158">
              <a:extLst>
                <a:ext uri="{FF2B5EF4-FFF2-40B4-BE49-F238E27FC236}">
                  <a16:creationId xmlns:a16="http://schemas.microsoft.com/office/drawing/2014/main" id="{C2B12661-85D5-F749-AB2D-436A247257BD}"/>
                </a:ext>
              </a:extLst>
            </p:cNvPr>
            <p:cNvSpPr/>
            <p:nvPr/>
          </p:nvSpPr>
          <p:spPr>
            <a:xfrm>
              <a:off x="4000804" y="2499742"/>
              <a:ext cx="1098501" cy="955723"/>
            </a:xfrm>
            <a:prstGeom prst="hexagon">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nvGrpSpPr>
            <p:cNvPr id="160" name="Group 159">
              <a:extLst>
                <a:ext uri="{FF2B5EF4-FFF2-40B4-BE49-F238E27FC236}">
                  <a16:creationId xmlns:a16="http://schemas.microsoft.com/office/drawing/2014/main" id="{7991378E-219C-8447-987A-436873F8B9E1}"/>
                </a:ext>
              </a:extLst>
            </p:cNvPr>
            <p:cNvGrpSpPr/>
            <p:nvPr/>
          </p:nvGrpSpPr>
          <p:grpSpPr>
            <a:xfrm rot="3600000">
              <a:off x="4379315" y="1384644"/>
              <a:ext cx="1060704" cy="1429526"/>
              <a:chOff x="4041649" y="1707654"/>
              <a:chExt cx="1060704" cy="1429526"/>
            </a:xfrm>
          </p:grpSpPr>
          <p:sp>
            <p:nvSpPr>
              <p:cNvPr id="204" name="Isosceles Triangle 2">
                <a:extLst>
                  <a:ext uri="{FF2B5EF4-FFF2-40B4-BE49-F238E27FC236}">
                    <a16:creationId xmlns:a16="http://schemas.microsoft.com/office/drawing/2014/main" id="{C6F5DB95-EBB1-CD40-BD96-A55A73A844EA}"/>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205" name="Hexagon 204">
                <a:extLst>
                  <a:ext uri="{FF2B5EF4-FFF2-40B4-BE49-F238E27FC236}">
                    <a16:creationId xmlns:a16="http://schemas.microsoft.com/office/drawing/2014/main" id="{AA1FC5A5-BB89-E34C-ACCC-BB4C936180BF}"/>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grpSp>
          <p:nvGrpSpPr>
            <p:cNvPr id="161" name="Group 160">
              <a:extLst>
                <a:ext uri="{FF2B5EF4-FFF2-40B4-BE49-F238E27FC236}">
                  <a16:creationId xmlns:a16="http://schemas.microsoft.com/office/drawing/2014/main" id="{DB190DAB-52ED-3B4C-ABC4-7DDE2414E590}"/>
                </a:ext>
              </a:extLst>
            </p:cNvPr>
            <p:cNvGrpSpPr/>
            <p:nvPr/>
          </p:nvGrpSpPr>
          <p:grpSpPr>
            <a:xfrm rot="7084136">
              <a:off x="5012118" y="2130682"/>
              <a:ext cx="1060704" cy="1429526"/>
              <a:chOff x="4041649" y="1707654"/>
              <a:chExt cx="1060704" cy="1429526"/>
            </a:xfrm>
          </p:grpSpPr>
          <p:sp>
            <p:nvSpPr>
              <p:cNvPr id="202" name="Isosceles Triangle 2">
                <a:extLst>
                  <a:ext uri="{FF2B5EF4-FFF2-40B4-BE49-F238E27FC236}">
                    <a16:creationId xmlns:a16="http://schemas.microsoft.com/office/drawing/2014/main" id="{E0C3D373-1715-F744-A96B-7E394AA90574}"/>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203" name="Hexagon 202">
                <a:extLst>
                  <a:ext uri="{FF2B5EF4-FFF2-40B4-BE49-F238E27FC236}">
                    <a16:creationId xmlns:a16="http://schemas.microsoft.com/office/drawing/2014/main" id="{2C71E3C9-182A-714E-9576-59C6470EF4DE}"/>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grpSp>
          <p:nvGrpSpPr>
            <p:cNvPr id="162" name="Group 161">
              <a:extLst>
                <a:ext uri="{FF2B5EF4-FFF2-40B4-BE49-F238E27FC236}">
                  <a16:creationId xmlns:a16="http://schemas.microsoft.com/office/drawing/2014/main" id="{414726EC-A7E9-6C49-B906-3D1B2AEF23FD}"/>
                </a:ext>
              </a:extLst>
            </p:cNvPr>
            <p:cNvGrpSpPr/>
            <p:nvPr/>
          </p:nvGrpSpPr>
          <p:grpSpPr>
            <a:xfrm rot="10800000">
              <a:off x="4620373" y="2994924"/>
              <a:ext cx="1060704" cy="1429526"/>
              <a:chOff x="4041649" y="1707654"/>
              <a:chExt cx="1060704" cy="1429526"/>
            </a:xfrm>
          </p:grpSpPr>
          <p:sp>
            <p:nvSpPr>
              <p:cNvPr id="200" name="Isosceles Triangle 2">
                <a:extLst>
                  <a:ext uri="{FF2B5EF4-FFF2-40B4-BE49-F238E27FC236}">
                    <a16:creationId xmlns:a16="http://schemas.microsoft.com/office/drawing/2014/main" id="{50D1C449-B3E8-5448-8482-EC6BF5D10F94}"/>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201" name="Hexagon 200">
                <a:extLst>
                  <a:ext uri="{FF2B5EF4-FFF2-40B4-BE49-F238E27FC236}">
                    <a16:creationId xmlns:a16="http://schemas.microsoft.com/office/drawing/2014/main" id="{02812710-D1C8-554B-8865-F9E1EF77F84D}"/>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grpSp>
          <p:nvGrpSpPr>
            <p:cNvPr id="163" name="Group 162">
              <a:extLst>
                <a:ext uri="{FF2B5EF4-FFF2-40B4-BE49-F238E27FC236}">
                  <a16:creationId xmlns:a16="http://schemas.microsoft.com/office/drawing/2014/main" id="{962F85D5-284E-6044-BD55-27A6C39CF4EE}"/>
                </a:ext>
              </a:extLst>
            </p:cNvPr>
            <p:cNvGrpSpPr/>
            <p:nvPr/>
          </p:nvGrpSpPr>
          <p:grpSpPr>
            <a:xfrm rot="14480428">
              <a:off x="3651116" y="3135508"/>
              <a:ext cx="1060704" cy="1429526"/>
              <a:chOff x="4041649" y="1707654"/>
              <a:chExt cx="1060704" cy="1429526"/>
            </a:xfrm>
          </p:grpSpPr>
          <p:sp>
            <p:nvSpPr>
              <p:cNvPr id="198" name="Isosceles Triangle 2">
                <a:extLst>
                  <a:ext uri="{FF2B5EF4-FFF2-40B4-BE49-F238E27FC236}">
                    <a16:creationId xmlns:a16="http://schemas.microsoft.com/office/drawing/2014/main" id="{4FC33391-C6F6-9940-930C-B13E40C680B0}"/>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99" name="Hexagon 198">
                <a:extLst>
                  <a:ext uri="{FF2B5EF4-FFF2-40B4-BE49-F238E27FC236}">
                    <a16:creationId xmlns:a16="http://schemas.microsoft.com/office/drawing/2014/main" id="{E196F5C5-72E9-CB49-A866-6AFDAFAA454D}"/>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grpSp>
          <p:nvGrpSpPr>
            <p:cNvPr id="164" name="Group 163">
              <a:extLst>
                <a:ext uri="{FF2B5EF4-FFF2-40B4-BE49-F238E27FC236}">
                  <a16:creationId xmlns:a16="http://schemas.microsoft.com/office/drawing/2014/main" id="{5DBB5C27-75E3-8842-AD0F-0B762D8B46EA}"/>
                </a:ext>
              </a:extLst>
            </p:cNvPr>
            <p:cNvGrpSpPr/>
            <p:nvPr/>
          </p:nvGrpSpPr>
          <p:grpSpPr>
            <a:xfrm rot="18000000">
              <a:off x="3001225" y="2344498"/>
              <a:ext cx="1060704" cy="1429526"/>
              <a:chOff x="4041649" y="1707654"/>
              <a:chExt cx="1060704" cy="1429526"/>
            </a:xfrm>
          </p:grpSpPr>
          <p:sp>
            <p:nvSpPr>
              <p:cNvPr id="196" name="Isosceles Triangle 2">
                <a:extLst>
                  <a:ext uri="{FF2B5EF4-FFF2-40B4-BE49-F238E27FC236}">
                    <a16:creationId xmlns:a16="http://schemas.microsoft.com/office/drawing/2014/main" id="{93F9366E-D34E-4E40-9C09-553A86F71709}"/>
                  </a:ext>
                </a:extLst>
              </p:cNvPr>
              <p:cNvSpPr/>
              <p:nvPr/>
            </p:nvSpPr>
            <p:spPr>
              <a:xfrm rot="10800000">
                <a:off x="4041649" y="1707654"/>
                <a:ext cx="1060704" cy="1429526"/>
              </a:xfrm>
              <a:custGeom>
                <a:avLst/>
                <a:gdLst>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0747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0747 h 1584176"/>
                  <a:gd name="connsiteX8" fmla="*/ 831087 w 1060704"/>
                  <a:gd name="connsiteY8" fmla="*/ 669776 h 1584176"/>
                  <a:gd name="connsiteX9" fmla="*/ 832104 w 1060704"/>
                  <a:gd name="connsiteY9" fmla="*/ 669776 h 1584176"/>
                  <a:gd name="connsiteX10" fmla="*/ 1060704 w 1060704"/>
                  <a:gd name="connsiteY10" fmla="*/ 1126976 h 1584176"/>
                  <a:gd name="connsiteX11" fmla="*/ 832104 w 1060704"/>
                  <a:gd name="connsiteY11"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53603 h 1584176"/>
                  <a:gd name="connsiteX7" fmla="*/ 831087 w 1060704"/>
                  <a:gd name="connsiteY7" fmla="*/ 669776 h 1584176"/>
                  <a:gd name="connsiteX8" fmla="*/ 832104 w 1060704"/>
                  <a:gd name="connsiteY8" fmla="*/ 669776 h 1584176"/>
                  <a:gd name="connsiteX9" fmla="*/ 1060704 w 1060704"/>
                  <a:gd name="connsiteY9" fmla="*/ 1126976 h 1584176"/>
                  <a:gd name="connsiteX10" fmla="*/ 832104 w 1060704"/>
                  <a:gd name="connsiteY10"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832104 w 1060704"/>
                  <a:gd name="connsiteY7" fmla="*/ 669776 h 1584176"/>
                  <a:gd name="connsiteX8" fmla="*/ 1060704 w 1060704"/>
                  <a:gd name="connsiteY8" fmla="*/ 1126976 h 1584176"/>
                  <a:gd name="connsiteX9" fmla="*/ 832104 w 1060704"/>
                  <a:gd name="connsiteY9"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831087 w 1060704"/>
                  <a:gd name="connsiteY6" fmla="*/ 669776 h 1584176"/>
                  <a:gd name="connsiteX7" fmla="*/ 1060704 w 1060704"/>
                  <a:gd name="connsiteY7" fmla="*/ 1126976 h 1584176"/>
                  <a:gd name="connsiteX8" fmla="*/ 832104 w 1060704"/>
                  <a:gd name="connsiteY8"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226249 w 1060704"/>
                  <a:gd name="connsiteY4" fmla="*/ 669776 h 1584176"/>
                  <a:gd name="connsiteX5" fmla="*/ 531051 w 1060704"/>
                  <a:gd name="connsiteY5" fmla="*/ 0 h 1584176"/>
                  <a:gd name="connsiteX6" fmla="*/ 1060704 w 1060704"/>
                  <a:gd name="connsiteY6" fmla="*/ 1126976 h 1584176"/>
                  <a:gd name="connsiteX7" fmla="*/ 832104 w 1060704"/>
                  <a:gd name="connsiteY7"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228600 w 1060704"/>
                  <a:gd name="connsiteY3" fmla="*/ 669776 h 1584176"/>
                  <a:gd name="connsiteX4" fmla="*/ 531051 w 1060704"/>
                  <a:gd name="connsiteY4" fmla="*/ 0 h 1584176"/>
                  <a:gd name="connsiteX5" fmla="*/ 1060704 w 1060704"/>
                  <a:gd name="connsiteY5" fmla="*/ 1126976 h 1584176"/>
                  <a:gd name="connsiteX6" fmla="*/ 832104 w 1060704"/>
                  <a:gd name="connsiteY6" fmla="*/ 1584176 h 1584176"/>
                  <a:gd name="connsiteX0" fmla="*/ 832104 w 1060704"/>
                  <a:gd name="connsiteY0" fmla="*/ 1584176 h 1584176"/>
                  <a:gd name="connsiteX1" fmla="*/ 228600 w 1060704"/>
                  <a:gd name="connsiteY1" fmla="*/ 1584176 h 1584176"/>
                  <a:gd name="connsiteX2" fmla="*/ 0 w 1060704"/>
                  <a:gd name="connsiteY2" fmla="*/ 1126976 h 1584176"/>
                  <a:gd name="connsiteX3" fmla="*/ 531051 w 1060704"/>
                  <a:gd name="connsiteY3" fmla="*/ 0 h 1584176"/>
                  <a:gd name="connsiteX4" fmla="*/ 1060704 w 1060704"/>
                  <a:gd name="connsiteY4" fmla="*/ 1126976 h 1584176"/>
                  <a:gd name="connsiteX5" fmla="*/ 832104 w 1060704"/>
                  <a:gd name="connsiteY5" fmla="*/ 1584176 h 1584176"/>
                  <a:gd name="connsiteX0" fmla="*/ 832104 w 1060704"/>
                  <a:gd name="connsiteY0" fmla="*/ 1553220 h 1553220"/>
                  <a:gd name="connsiteX1" fmla="*/ 228600 w 1060704"/>
                  <a:gd name="connsiteY1" fmla="*/ 1553220 h 1553220"/>
                  <a:gd name="connsiteX2" fmla="*/ 0 w 1060704"/>
                  <a:gd name="connsiteY2" fmla="*/ 1096020 h 1553220"/>
                  <a:gd name="connsiteX3" fmla="*/ 523907 w 1060704"/>
                  <a:gd name="connsiteY3" fmla="*/ 0 h 1553220"/>
                  <a:gd name="connsiteX4" fmla="*/ 1060704 w 1060704"/>
                  <a:gd name="connsiteY4" fmla="*/ 1096020 h 1553220"/>
                  <a:gd name="connsiteX5" fmla="*/ 832104 w 1060704"/>
                  <a:gd name="connsiteY5" fmla="*/ 1553220 h 1553220"/>
                  <a:gd name="connsiteX0" fmla="*/ 832104 w 1060704"/>
                  <a:gd name="connsiteY0" fmla="*/ 1522263 h 1522263"/>
                  <a:gd name="connsiteX1" fmla="*/ 228600 w 1060704"/>
                  <a:gd name="connsiteY1" fmla="*/ 1522263 h 1522263"/>
                  <a:gd name="connsiteX2" fmla="*/ 0 w 1060704"/>
                  <a:gd name="connsiteY2" fmla="*/ 1065063 h 1522263"/>
                  <a:gd name="connsiteX3" fmla="*/ 519144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2263 h 1522263"/>
                  <a:gd name="connsiteX1" fmla="*/ 228600 w 1060704"/>
                  <a:gd name="connsiteY1" fmla="*/ 1522263 h 1522263"/>
                  <a:gd name="connsiteX2" fmla="*/ 0 w 1060704"/>
                  <a:gd name="connsiteY2" fmla="*/ 1065063 h 1522263"/>
                  <a:gd name="connsiteX3" fmla="*/ 533432 w 1060704"/>
                  <a:gd name="connsiteY3" fmla="*/ 0 h 1522263"/>
                  <a:gd name="connsiteX4" fmla="*/ 1060704 w 1060704"/>
                  <a:gd name="connsiteY4" fmla="*/ 1065063 h 1522263"/>
                  <a:gd name="connsiteX5" fmla="*/ 832104 w 1060704"/>
                  <a:gd name="connsiteY5" fmla="*/ 1522263 h 1522263"/>
                  <a:gd name="connsiteX0" fmla="*/ 832104 w 1060704"/>
                  <a:gd name="connsiteY0" fmla="*/ 1524644 h 1524644"/>
                  <a:gd name="connsiteX1" fmla="*/ 228600 w 1060704"/>
                  <a:gd name="connsiteY1" fmla="*/ 1524644 h 1524644"/>
                  <a:gd name="connsiteX2" fmla="*/ 0 w 1060704"/>
                  <a:gd name="connsiteY2" fmla="*/ 1067444 h 1524644"/>
                  <a:gd name="connsiteX3" fmla="*/ 526288 w 1060704"/>
                  <a:gd name="connsiteY3" fmla="*/ 0 h 1524644"/>
                  <a:gd name="connsiteX4" fmla="*/ 1060704 w 1060704"/>
                  <a:gd name="connsiteY4" fmla="*/ 1067444 h 1524644"/>
                  <a:gd name="connsiteX5" fmla="*/ 832104 w 1060704"/>
                  <a:gd name="connsiteY5" fmla="*/ 1524644 h 1524644"/>
                  <a:gd name="connsiteX0" fmla="*/ 832104 w 1060704"/>
                  <a:gd name="connsiteY0" fmla="*/ 1517309 h 1517309"/>
                  <a:gd name="connsiteX1" fmla="*/ 228600 w 1060704"/>
                  <a:gd name="connsiteY1" fmla="*/ 1517309 h 1517309"/>
                  <a:gd name="connsiteX2" fmla="*/ 0 w 1060704"/>
                  <a:gd name="connsiteY2" fmla="*/ 1060109 h 1517309"/>
                  <a:gd name="connsiteX3" fmla="*/ 528733 w 1060704"/>
                  <a:gd name="connsiteY3" fmla="*/ 0 h 1517309"/>
                  <a:gd name="connsiteX4" fmla="*/ 1060704 w 1060704"/>
                  <a:gd name="connsiteY4" fmla="*/ 1060109 h 1517309"/>
                  <a:gd name="connsiteX5" fmla="*/ 832104 w 1060704"/>
                  <a:gd name="connsiteY5" fmla="*/ 1517309 h 1517309"/>
                  <a:gd name="connsiteX0" fmla="*/ 832104 w 1060704"/>
                  <a:gd name="connsiteY0" fmla="*/ 1422211 h 1422211"/>
                  <a:gd name="connsiteX1" fmla="*/ 228600 w 1060704"/>
                  <a:gd name="connsiteY1" fmla="*/ 1422211 h 1422211"/>
                  <a:gd name="connsiteX2" fmla="*/ 0 w 1060704"/>
                  <a:gd name="connsiteY2" fmla="*/ 965011 h 1422211"/>
                  <a:gd name="connsiteX3" fmla="*/ 543363 w 1060704"/>
                  <a:gd name="connsiteY3" fmla="*/ 0 h 1422211"/>
                  <a:gd name="connsiteX4" fmla="*/ 1060704 w 1060704"/>
                  <a:gd name="connsiteY4" fmla="*/ 965011 h 1422211"/>
                  <a:gd name="connsiteX5" fmla="*/ 832104 w 1060704"/>
                  <a:gd name="connsiteY5" fmla="*/ 1422211 h 1422211"/>
                  <a:gd name="connsiteX0" fmla="*/ 832104 w 1060704"/>
                  <a:gd name="connsiteY0" fmla="*/ 1429526 h 1429526"/>
                  <a:gd name="connsiteX1" fmla="*/ 228600 w 1060704"/>
                  <a:gd name="connsiteY1" fmla="*/ 1429526 h 1429526"/>
                  <a:gd name="connsiteX2" fmla="*/ 0 w 1060704"/>
                  <a:gd name="connsiteY2" fmla="*/ 972326 h 1429526"/>
                  <a:gd name="connsiteX3" fmla="*/ 543363 w 1060704"/>
                  <a:gd name="connsiteY3" fmla="*/ 0 h 1429526"/>
                  <a:gd name="connsiteX4" fmla="*/ 1060704 w 1060704"/>
                  <a:gd name="connsiteY4" fmla="*/ 972326 h 1429526"/>
                  <a:gd name="connsiteX5" fmla="*/ 832104 w 1060704"/>
                  <a:gd name="connsiteY5" fmla="*/ 1429526 h 14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0704" h="1429526">
                    <a:moveTo>
                      <a:pt x="832104" y="1429526"/>
                    </a:moveTo>
                    <a:lnTo>
                      <a:pt x="228600" y="1429526"/>
                    </a:lnTo>
                    <a:lnTo>
                      <a:pt x="0" y="972326"/>
                    </a:lnTo>
                    <a:lnTo>
                      <a:pt x="543363" y="0"/>
                    </a:lnTo>
                    <a:lnTo>
                      <a:pt x="1060704" y="972326"/>
                    </a:lnTo>
                    <a:lnTo>
                      <a:pt x="832104" y="142952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97" name="Hexagon 196">
                <a:extLst>
                  <a:ext uri="{FF2B5EF4-FFF2-40B4-BE49-F238E27FC236}">
                    <a16:creationId xmlns:a16="http://schemas.microsoft.com/office/drawing/2014/main" id="{007C041A-9176-5849-8C95-1F70E5C4399A}"/>
                  </a:ext>
                </a:extLst>
              </p:cNvPr>
              <p:cNvSpPr/>
              <p:nvPr/>
            </p:nvSpPr>
            <p:spPr>
              <a:xfrm>
                <a:off x="4115403" y="1760695"/>
                <a:ext cx="913197" cy="79450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sp>
          <p:nvSpPr>
            <p:cNvPr id="165" name="Block Arc 14">
              <a:extLst>
                <a:ext uri="{FF2B5EF4-FFF2-40B4-BE49-F238E27FC236}">
                  <a16:creationId xmlns:a16="http://schemas.microsoft.com/office/drawing/2014/main" id="{10061529-9E39-2643-AFE5-10C77341051D}"/>
                </a:ext>
              </a:extLst>
            </p:cNvPr>
            <p:cNvSpPr/>
            <p:nvPr/>
          </p:nvSpPr>
          <p:spPr>
            <a:xfrm rot="16200000">
              <a:off x="4236956" y="2664298"/>
              <a:ext cx="626197" cy="626608"/>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66" name="TextBox 165">
              <a:extLst>
                <a:ext uri="{FF2B5EF4-FFF2-40B4-BE49-F238E27FC236}">
                  <a16:creationId xmlns:a16="http://schemas.microsoft.com/office/drawing/2014/main" id="{0CD6C8F1-6544-F546-9B34-8700B4DF42DB}"/>
                </a:ext>
              </a:extLst>
            </p:cNvPr>
            <p:cNvSpPr txBox="1"/>
            <p:nvPr/>
          </p:nvSpPr>
          <p:spPr>
            <a:xfrm>
              <a:off x="3845610" y="1955740"/>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1</a:t>
              </a:r>
              <a:endParaRPr lang="ko-KR" altLang="en-US" sz="2000" b="1">
                <a:solidFill>
                  <a:schemeClr val="tx1">
                    <a:lumMod val="75000"/>
                    <a:lumOff val="25000"/>
                  </a:schemeClr>
                </a:solidFill>
                <a:cs typeface="Arial" pitchFamily="34" charset="0"/>
              </a:endParaRPr>
            </a:p>
          </p:txBody>
        </p:sp>
        <p:sp>
          <p:nvSpPr>
            <p:cNvPr id="167" name="TextBox 166">
              <a:extLst>
                <a:ext uri="{FF2B5EF4-FFF2-40B4-BE49-F238E27FC236}">
                  <a16:creationId xmlns:a16="http://schemas.microsoft.com/office/drawing/2014/main" id="{800107C4-7BD0-D142-A3D3-D2FDDB93254A}"/>
                </a:ext>
              </a:extLst>
            </p:cNvPr>
            <p:cNvSpPr txBox="1"/>
            <p:nvPr/>
          </p:nvSpPr>
          <p:spPr>
            <a:xfrm>
              <a:off x="4999452" y="1979962"/>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2</a:t>
              </a:r>
              <a:endParaRPr lang="ko-KR" altLang="en-US" sz="2000" b="1">
                <a:solidFill>
                  <a:schemeClr val="tx1">
                    <a:lumMod val="75000"/>
                    <a:lumOff val="25000"/>
                  </a:schemeClr>
                </a:solidFill>
                <a:cs typeface="Arial" pitchFamily="34" charset="0"/>
              </a:endParaRPr>
            </a:p>
          </p:txBody>
        </p:sp>
        <p:sp>
          <p:nvSpPr>
            <p:cNvPr id="168" name="TextBox 167">
              <a:extLst>
                <a:ext uri="{FF2B5EF4-FFF2-40B4-BE49-F238E27FC236}">
                  <a16:creationId xmlns:a16="http://schemas.microsoft.com/office/drawing/2014/main" id="{9B4D791C-0CBA-4244-9C8D-0C2643F31F2D}"/>
                </a:ext>
              </a:extLst>
            </p:cNvPr>
            <p:cNvSpPr txBox="1"/>
            <p:nvPr/>
          </p:nvSpPr>
          <p:spPr>
            <a:xfrm>
              <a:off x="5657504" y="3002058"/>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3</a:t>
              </a:r>
              <a:endParaRPr lang="ko-KR" altLang="en-US" sz="2000" b="1">
                <a:solidFill>
                  <a:schemeClr val="tx1">
                    <a:lumMod val="75000"/>
                    <a:lumOff val="25000"/>
                  </a:schemeClr>
                </a:solidFill>
                <a:cs typeface="Arial" pitchFamily="34" charset="0"/>
              </a:endParaRPr>
            </a:p>
          </p:txBody>
        </p:sp>
        <p:sp>
          <p:nvSpPr>
            <p:cNvPr id="169" name="TextBox 168">
              <a:extLst>
                <a:ext uri="{FF2B5EF4-FFF2-40B4-BE49-F238E27FC236}">
                  <a16:creationId xmlns:a16="http://schemas.microsoft.com/office/drawing/2014/main" id="{239F9448-B719-5A4C-B60D-A4B44AFCC7D1}"/>
                </a:ext>
              </a:extLst>
            </p:cNvPr>
            <p:cNvSpPr txBox="1"/>
            <p:nvPr/>
          </p:nvSpPr>
          <p:spPr>
            <a:xfrm>
              <a:off x="5044475" y="3977905"/>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4</a:t>
              </a:r>
              <a:endParaRPr lang="ko-KR" altLang="en-US" sz="2000" b="1">
                <a:solidFill>
                  <a:schemeClr val="tx1">
                    <a:lumMod val="75000"/>
                    <a:lumOff val="25000"/>
                  </a:schemeClr>
                </a:solidFill>
                <a:cs typeface="Arial" pitchFamily="34" charset="0"/>
              </a:endParaRPr>
            </a:p>
          </p:txBody>
        </p:sp>
        <p:sp>
          <p:nvSpPr>
            <p:cNvPr id="170" name="TextBox 169">
              <a:extLst>
                <a:ext uri="{FF2B5EF4-FFF2-40B4-BE49-F238E27FC236}">
                  <a16:creationId xmlns:a16="http://schemas.microsoft.com/office/drawing/2014/main" id="{7CD0097A-3205-7647-8A16-EB13C07628DB}"/>
                </a:ext>
              </a:extLst>
            </p:cNvPr>
            <p:cNvSpPr txBox="1"/>
            <p:nvPr/>
          </p:nvSpPr>
          <p:spPr>
            <a:xfrm>
              <a:off x="3816922" y="4024340"/>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5</a:t>
              </a:r>
              <a:endParaRPr lang="ko-KR" altLang="en-US" sz="2000" b="1">
                <a:solidFill>
                  <a:schemeClr val="tx1">
                    <a:lumMod val="75000"/>
                    <a:lumOff val="25000"/>
                  </a:schemeClr>
                </a:solidFill>
                <a:cs typeface="Arial" pitchFamily="34" charset="0"/>
              </a:endParaRPr>
            </a:p>
          </p:txBody>
        </p:sp>
        <p:sp>
          <p:nvSpPr>
            <p:cNvPr id="171" name="TextBox 170">
              <a:extLst>
                <a:ext uri="{FF2B5EF4-FFF2-40B4-BE49-F238E27FC236}">
                  <a16:creationId xmlns:a16="http://schemas.microsoft.com/office/drawing/2014/main" id="{1B062CD6-16BC-3E47-9F62-20DA9316A0A6}"/>
                </a:ext>
              </a:extLst>
            </p:cNvPr>
            <p:cNvSpPr txBox="1"/>
            <p:nvPr/>
          </p:nvSpPr>
          <p:spPr>
            <a:xfrm>
              <a:off x="3146830" y="2969887"/>
              <a:ext cx="470000" cy="400110"/>
            </a:xfrm>
            <a:prstGeom prst="rect">
              <a:avLst/>
            </a:prstGeom>
            <a:noFill/>
          </p:spPr>
          <p:txBody>
            <a:bodyPr wrap="none" rtlCol="0">
              <a:spAutoFit/>
            </a:bodyPr>
            <a:lstStyle/>
            <a:p>
              <a:pPr algn="r"/>
              <a:r>
                <a:rPr lang="en-US" altLang="ko-KR" sz="2000" b="1">
                  <a:solidFill>
                    <a:schemeClr val="tx1">
                      <a:lumMod val="75000"/>
                      <a:lumOff val="25000"/>
                    </a:schemeClr>
                  </a:solidFill>
                  <a:cs typeface="Arial" pitchFamily="34" charset="0"/>
                </a:rPr>
                <a:t>06</a:t>
              </a:r>
              <a:endParaRPr lang="ko-KR" altLang="en-US" sz="2000" b="1">
                <a:solidFill>
                  <a:schemeClr val="tx1">
                    <a:lumMod val="75000"/>
                    <a:lumOff val="25000"/>
                  </a:schemeClr>
                </a:solidFill>
                <a:cs typeface="Arial" pitchFamily="34" charset="0"/>
              </a:endParaRPr>
            </a:p>
          </p:txBody>
        </p:sp>
        <p:sp>
          <p:nvSpPr>
            <p:cNvPr id="172" name="TextBox 171">
              <a:extLst>
                <a:ext uri="{FF2B5EF4-FFF2-40B4-BE49-F238E27FC236}">
                  <a16:creationId xmlns:a16="http://schemas.microsoft.com/office/drawing/2014/main" id="{6E54C201-3F00-944E-900C-9A20F3EEFE40}"/>
                </a:ext>
              </a:extLst>
            </p:cNvPr>
            <p:cNvSpPr txBox="1"/>
            <p:nvPr/>
          </p:nvSpPr>
          <p:spPr>
            <a:xfrm>
              <a:off x="3463700" y="1702963"/>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sp>
          <p:nvSpPr>
            <p:cNvPr id="173" name="TextBox 172">
              <a:extLst>
                <a:ext uri="{FF2B5EF4-FFF2-40B4-BE49-F238E27FC236}">
                  <a16:creationId xmlns:a16="http://schemas.microsoft.com/office/drawing/2014/main" id="{A8DDCD62-2F81-AB42-827A-27F290937405}"/>
                </a:ext>
              </a:extLst>
            </p:cNvPr>
            <p:cNvSpPr txBox="1"/>
            <p:nvPr/>
          </p:nvSpPr>
          <p:spPr>
            <a:xfrm>
              <a:off x="4662227" y="1702963"/>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sp>
          <p:nvSpPr>
            <p:cNvPr id="174" name="TextBox 173">
              <a:extLst>
                <a:ext uri="{FF2B5EF4-FFF2-40B4-BE49-F238E27FC236}">
                  <a16:creationId xmlns:a16="http://schemas.microsoft.com/office/drawing/2014/main" id="{144C845D-B0AD-0240-A079-C340F1C9CC00}"/>
                </a:ext>
              </a:extLst>
            </p:cNvPr>
            <p:cNvSpPr txBox="1"/>
            <p:nvPr/>
          </p:nvSpPr>
          <p:spPr>
            <a:xfrm>
              <a:off x="5307322" y="2788526"/>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sp>
          <p:nvSpPr>
            <p:cNvPr id="175" name="TextBox 174">
              <a:extLst>
                <a:ext uri="{FF2B5EF4-FFF2-40B4-BE49-F238E27FC236}">
                  <a16:creationId xmlns:a16="http://schemas.microsoft.com/office/drawing/2014/main" id="{8F7E46AA-766E-4F4A-9F47-7406D97FF6CB}"/>
                </a:ext>
              </a:extLst>
            </p:cNvPr>
            <p:cNvSpPr txBox="1"/>
            <p:nvPr/>
          </p:nvSpPr>
          <p:spPr>
            <a:xfrm>
              <a:off x="4634275" y="3711771"/>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sp>
          <p:nvSpPr>
            <p:cNvPr id="176" name="TextBox 175">
              <a:extLst>
                <a:ext uri="{FF2B5EF4-FFF2-40B4-BE49-F238E27FC236}">
                  <a16:creationId xmlns:a16="http://schemas.microsoft.com/office/drawing/2014/main" id="{28141FB6-CC96-B44F-8740-BD029D0C90CF}"/>
                </a:ext>
              </a:extLst>
            </p:cNvPr>
            <p:cNvSpPr txBox="1"/>
            <p:nvPr/>
          </p:nvSpPr>
          <p:spPr>
            <a:xfrm>
              <a:off x="3424953" y="3711771"/>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sp>
          <p:nvSpPr>
            <p:cNvPr id="177" name="TextBox 176">
              <a:extLst>
                <a:ext uri="{FF2B5EF4-FFF2-40B4-BE49-F238E27FC236}">
                  <a16:creationId xmlns:a16="http://schemas.microsoft.com/office/drawing/2014/main" id="{2787E506-03CE-894A-AC69-5F499B2B2EC9}"/>
                </a:ext>
              </a:extLst>
            </p:cNvPr>
            <p:cNvSpPr txBox="1"/>
            <p:nvPr/>
          </p:nvSpPr>
          <p:spPr>
            <a:xfrm>
              <a:off x="2813391" y="2665384"/>
              <a:ext cx="973048"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Content</a:t>
              </a:r>
              <a:endParaRPr lang="ko-KR" altLang="en-US" sz="1200" b="1">
                <a:solidFill>
                  <a:schemeClr val="tx1">
                    <a:lumMod val="75000"/>
                    <a:lumOff val="25000"/>
                  </a:schemeClr>
                </a:solidFill>
                <a:cs typeface="Arial" pitchFamily="34" charset="0"/>
              </a:endParaRPr>
            </a:p>
          </p:txBody>
        </p:sp>
        <p:grpSp>
          <p:nvGrpSpPr>
            <p:cNvPr id="178" name="Group 177">
              <a:extLst>
                <a:ext uri="{FF2B5EF4-FFF2-40B4-BE49-F238E27FC236}">
                  <a16:creationId xmlns:a16="http://schemas.microsoft.com/office/drawing/2014/main" id="{2F06E2F2-E644-1C45-AE3F-DF5968C85604}"/>
                </a:ext>
              </a:extLst>
            </p:cNvPr>
            <p:cNvGrpSpPr/>
            <p:nvPr/>
          </p:nvGrpSpPr>
          <p:grpSpPr>
            <a:xfrm>
              <a:off x="971600" y="1505175"/>
              <a:ext cx="1926735" cy="863358"/>
              <a:chOff x="803640" y="3362835"/>
              <a:chExt cx="2059657" cy="863358"/>
            </a:xfrm>
          </p:grpSpPr>
          <p:sp>
            <p:nvSpPr>
              <p:cNvPr id="194" name="TextBox 193">
                <a:extLst>
                  <a:ext uri="{FF2B5EF4-FFF2-40B4-BE49-F238E27FC236}">
                    <a16:creationId xmlns:a16="http://schemas.microsoft.com/office/drawing/2014/main" id="{E1336C5C-655A-C94D-B296-84E6B1F0839C}"/>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95" name="TextBox 194">
                <a:extLst>
                  <a:ext uri="{FF2B5EF4-FFF2-40B4-BE49-F238E27FC236}">
                    <a16:creationId xmlns:a16="http://schemas.microsoft.com/office/drawing/2014/main" id="{6BE59C2C-E47A-4C48-81FF-FBDA1F8B7287}"/>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79" name="Group 178">
              <a:extLst>
                <a:ext uri="{FF2B5EF4-FFF2-40B4-BE49-F238E27FC236}">
                  <a16:creationId xmlns:a16="http://schemas.microsoft.com/office/drawing/2014/main" id="{9A069C37-7BA1-704C-B8B3-29F4B423DEBF}"/>
                </a:ext>
              </a:extLst>
            </p:cNvPr>
            <p:cNvGrpSpPr/>
            <p:nvPr/>
          </p:nvGrpSpPr>
          <p:grpSpPr>
            <a:xfrm>
              <a:off x="557033" y="2523826"/>
              <a:ext cx="1926735" cy="863358"/>
              <a:chOff x="803640" y="3362835"/>
              <a:chExt cx="2059657" cy="863358"/>
            </a:xfrm>
          </p:grpSpPr>
          <p:sp>
            <p:nvSpPr>
              <p:cNvPr id="192" name="TextBox 191">
                <a:extLst>
                  <a:ext uri="{FF2B5EF4-FFF2-40B4-BE49-F238E27FC236}">
                    <a16:creationId xmlns:a16="http://schemas.microsoft.com/office/drawing/2014/main" id="{6B331CBC-04D2-0B41-95DC-A87EBB846249}"/>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93" name="TextBox 192">
                <a:extLst>
                  <a:ext uri="{FF2B5EF4-FFF2-40B4-BE49-F238E27FC236}">
                    <a16:creationId xmlns:a16="http://schemas.microsoft.com/office/drawing/2014/main" id="{07D142F2-B9F6-F049-A404-71BD1BDC448E}"/>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80" name="Group 179">
              <a:extLst>
                <a:ext uri="{FF2B5EF4-FFF2-40B4-BE49-F238E27FC236}">
                  <a16:creationId xmlns:a16="http://schemas.microsoft.com/office/drawing/2014/main" id="{20429FDF-7803-5046-847A-6E43A34DA6C4}"/>
                </a:ext>
              </a:extLst>
            </p:cNvPr>
            <p:cNvGrpSpPr/>
            <p:nvPr/>
          </p:nvGrpSpPr>
          <p:grpSpPr>
            <a:xfrm>
              <a:off x="1115615" y="3542478"/>
              <a:ext cx="1926735" cy="863358"/>
              <a:chOff x="803640" y="3362835"/>
              <a:chExt cx="2059657" cy="863358"/>
            </a:xfrm>
          </p:grpSpPr>
          <p:sp>
            <p:nvSpPr>
              <p:cNvPr id="190" name="TextBox 189">
                <a:extLst>
                  <a:ext uri="{FF2B5EF4-FFF2-40B4-BE49-F238E27FC236}">
                    <a16:creationId xmlns:a16="http://schemas.microsoft.com/office/drawing/2014/main" id="{E476EB78-87B0-2F46-BCE8-6F73766F356C}"/>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91" name="TextBox 190">
                <a:extLst>
                  <a:ext uri="{FF2B5EF4-FFF2-40B4-BE49-F238E27FC236}">
                    <a16:creationId xmlns:a16="http://schemas.microsoft.com/office/drawing/2014/main" id="{1DD8C944-0F85-D340-9069-957CEB81F8B8}"/>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81" name="Group 180">
              <a:extLst>
                <a:ext uri="{FF2B5EF4-FFF2-40B4-BE49-F238E27FC236}">
                  <a16:creationId xmlns:a16="http://schemas.microsoft.com/office/drawing/2014/main" id="{D72B7FB7-FCEF-9342-96A2-88E0952C9938}"/>
                </a:ext>
              </a:extLst>
            </p:cNvPr>
            <p:cNvGrpSpPr/>
            <p:nvPr/>
          </p:nvGrpSpPr>
          <p:grpSpPr>
            <a:xfrm>
              <a:off x="5940152" y="1505175"/>
              <a:ext cx="1926735" cy="863358"/>
              <a:chOff x="803640" y="3362835"/>
              <a:chExt cx="2059657" cy="863358"/>
            </a:xfrm>
          </p:grpSpPr>
          <p:sp>
            <p:nvSpPr>
              <p:cNvPr id="188" name="TextBox 187">
                <a:extLst>
                  <a:ext uri="{FF2B5EF4-FFF2-40B4-BE49-F238E27FC236}">
                    <a16:creationId xmlns:a16="http://schemas.microsoft.com/office/drawing/2014/main" id="{B8742348-BC62-0145-8E18-E8E3B044CDD2}"/>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89" name="TextBox 188">
                <a:extLst>
                  <a:ext uri="{FF2B5EF4-FFF2-40B4-BE49-F238E27FC236}">
                    <a16:creationId xmlns:a16="http://schemas.microsoft.com/office/drawing/2014/main" id="{D3CF9D58-2D3E-C04F-8948-3BD1D9076322}"/>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82" name="Group 181">
              <a:extLst>
                <a:ext uri="{FF2B5EF4-FFF2-40B4-BE49-F238E27FC236}">
                  <a16:creationId xmlns:a16="http://schemas.microsoft.com/office/drawing/2014/main" id="{9859D4F1-43C4-9D4A-82C3-A55127C5671B}"/>
                </a:ext>
              </a:extLst>
            </p:cNvPr>
            <p:cNvGrpSpPr/>
            <p:nvPr/>
          </p:nvGrpSpPr>
          <p:grpSpPr>
            <a:xfrm>
              <a:off x="6588224" y="2523826"/>
              <a:ext cx="1926735" cy="863358"/>
              <a:chOff x="803640" y="3362835"/>
              <a:chExt cx="2059657" cy="863358"/>
            </a:xfrm>
          </p:grpSpPr>
          <p:sp>
            <p:nvSpPr>
              <p:cNvPr id="186" name="TextBox 185">
                <a:extLst>
                  <a:ext uri="{FF2B5EF4-FFF2-40B4-BE49-F238E27FC236}">
                    <a16:creationId xmlns:a16="http://schemas.microsoft.com/office/drawing/2014/main" id="{DB30261A-1D67-AD4A-9E43-811D5680AAA3}"/>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87" name="TextBox 186">
                <a:extLst>
                  <a:ext uri="{FF2B5EF4-FFF2-40B4-BE49-F238E27FC236}">
                    <a16:creationId xmlns:a16="http://schemas.microsoft.com/office/drawing/2014/main" id="{CE25BA17-A7B7-9045-A1FE-643B5A9F7859}"/>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183" name="Group 182">
              <a:extLst>
                <a:ext uri="{FF2B5EF4-FFF2-40B4-BE49-F238E27FC236}">
                  <a16:creationId xmlns:a16="http://schemas.microsoft.com/office/drawing/2014/main" id="{8AAEBA1E-3C34-F140-8C7C-3F085678D78A}"/>
                </a:ext>
              </a:extLst>
            </p:cNvPr>
            <p:cNvGrpSpPr/>
            <p:nvPr/>
          </p:nvGrpSpPr>
          <p:grpSpPr>
            <a:xfrm>
              <a:off x="6084168" y="3542478"/>
              <a:ext cx="1926735" cy="863358"/>
              <a:chOff x="803640" y="3362835"/>
              <a:chExt cx="2059657" cy="863358"/>
            </a:xfrm>
          </p:grpSpPr>
          <p:sp>
            <p:nvSpPr>
              <p:cNvPr id="184" name="TextBox 183">
                <a:extLst>
                  <a:ext uri="{FF2B5EF4-FFF2-40B4-BE49-F238E27FC236}">
                    <a16:creationId xmlns:a16="http://schemas.microsoft.com/office/drawing/2014/main" id="{CB4EEB5B-CAE9-484E-B5E9-A486BDB2EDED}"/>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sp>
            <p:nvSpPr>
              <p:cNvPr id="185" name="TextBox 184">
                <a:extLst>
                  <a:ext uri="{FF2B5EF4-FFF2-40B4-BE49-F238E27FC236}">
                    <a16:creationId xmlns:a16="http://schemas.microsoft.com/office/drawing/2014/main" id="{6458CEC0-F807-BF4B-B31F-2EA33303E7E3}"/>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288544016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370A26-53F3-9E4E-AF1E-AB96A3FA5DAE}"/>
              </a:ext>
            </a:extLst>
          </p:cNvPr>
          <p:cNvSpPr>
            <a:spLocks noGrp="1"/>
          </p:cNvSpPr>
          <p:nvPr>
            <p:ph type="sldNum" sz="quarter" idx="4"/>
          </p:nvPr>
        </p:nvSpPr>
        <p:spPr/>
        <p:txBody>
          <a:bodyPr/>
          <a:lstStyle/>
          <a:p>
            <a:fld id="{3D966009-6E5A-4F8C-8CA7-E37AFBF5FB92}" type="slidenum">
              <a:rPr lang="en-US" smtClean="0"/>
              <a:t>138</a:t>
            </a:fld>
            <a:endParaRPr lang="en-US"/>
          </a:p>
        </p:txBody>
      </p:sp>
      <p:sp>
        <p:nvSpPr>
          <p:cNvPr id="3" name="Title 2">
            <a:extLst>
              <a:ext uri="{FF2B5EF4-FFF2-40B4-BE49-F238E27FC236}">
                <a16:creationId xmlns:a16="http://schemas.microsoft.com/office/drawing/2014/main" id="{EA49508B-DA1D-2347-A7A4-CBC7038746FC}"/>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39462653-2F34-3F45-A341-38D860EA601E}"/>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4433A93B-C15C-7248-8EC8-5725A0B945C1}"/>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02C07301-0224-8A48-81B7-459077168695}"/>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6DAC0B27-056E-2848-B2E6-5407EEBC8ECE}"/>
              </a:ext>
            </a:extLst>
          </p:cNvPr>
          <p:cNvSpPr>
            <a:spLocks noGrp="1"/>
          </p:cNvSpPr>
          <p:nvPr>
            <p:ph sz="quarter" idx="14"/>
          </p:nvPr>
        </p:nvSpPr>
        <p:spPr/>
        <p:txBody>
          <a:bodyPr/>
          <a:lstStyle/>
          <a:p>
            <a:endParaRPr lang="en-GB"/>
          </a:p>
        </p:txBody>
      </p:sp>
      <p:grpSp>
        <p:nvGrpSpPr>
          <p:cNvPr id="46" name="Group 45">
            <a:extLst>
              <a:ext uri="{FF2B5EF4-FFF2-40B4-BE49-F238E27FC236}">
                <a16:creationId xmlns:a16="http://schemas.microsoft.com/office/drawing/2014/main" id="{402A965D-D6DE-2840-A046-12C1BB068DCC}"/>
              </a:ext>
            </a:extLst>
          </p:cNvPr>
          <p:cNvGrpSpPr/>
          <p:nvPr/>
        </p:nvGrpSpPr>
        <p:grpSpPr>
          <a:xfrm>
            <a:off x="1426833" y="2237542"/>
            <a:ext cx="8878449" cy="3163093"/>
            <a:chOff x="1426833" y="2237542"/>
            <a:chExt cx="8878449" cy="3163093"/>
          </a:xfrm>
        </p:grpSpPr>
        <p:grpSp>
          <p:nvGrpSpPr>
            <p:cNvPr id="9" name="Group 8">
              <a:extLst>
                <a:ext uri="{FF2B5EF4-FFF2-40B4-BE49-F238E27FC236}">
                  <a16:creationId xmlns:a16="http://schemas.microsoft.com/office/drawing/2014/main" id="{48E78341-3416-2348-BC53-DBACF84FB2F0}"/>
                </a:ext>
              </a:extLst>
            </p:cNvPr>
            <p:cNvGrpSpPr/>
            <p:nvPr/>
          </p:nvGrpSpPr>
          <p:grpSpPr>
            <a:xfrm>
              <a:off x="7130095" y="4743603"/>
              <a:ext cx="3048455" cy="657032"/>
              <a:chOff x="2551705" y="4283314"/>
              <a:chExt cx="2357003" cy="657032"/>
            </a:xfrm>
          </p:grpSpPr>
          <p:sp>
            <p:nvSpPr>
              <p:cNvPr id="10" name="TextBox 9">
                <a:extLst>
                  <a:ext uri="{FF2B5EF4-FFF2-40B4-BE49-F238E27FC236}">
                    <a16:creationId xmlns:a16="http://schemas.microsoft.com/office/drawing/2014/main" id="{492DBE79-F15F-524A-890E-BC263109F8F0}"/>
                  </a:ext>
                </a:extLst>
              </p:cNvPr>
              <p:cNvSpPr txBox="1"/>
              <p:nvPr/>
            </p:nvSpPr>
            <p:spPr>
              <a:xfrm>
                <a:off x="2551706" y="4478681"/>
                <a:ext cx="2357002" cy="461665"/>
              </a:xfrm>
              <a:prstGeom prst="rect">
                <a:avLst/>
              </a:prstGeom>
              <a:noFill/>
            </p:spPr>
            <p:txBody>
              <a:bodyPr wrap="square" rtlCol="0" anchor="ctr">
                <a:spAutoFit/>
              </a:bodyPr>
              <a:lstStyle/>
              <a:p>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11" name="TextBox 10">
                <a:extLst>
                  <a:ext uri="{FF2B5EF4-FFF2-40B4-BE49-F238E27FC236}">
                    <a16:creationId xmlns:a16="http://schemas.microsoft.com/office/drawing/2014/main" id="{88F394DC-FFF0-F746-9FEA-0E2AFEC41924}"/>
                  </a:ext>
                </a:extLst>
              </p:cNvPr>
              <p:cNvSpPr txBox="1"/>
              <p:nvPr/>
            </p:nvSpPr>
            <p:spPr>
              <a:xfrm>
                <a:off x="2551705" y="4283314"/>
                <a:ext cx="2336966" cy="276999"/>
              </a:xfrm>
              <a:prstGeom prst="rect">
                <a:avLst/>
              </a:prstGeom>
              <a:noFill/>
            </p:spPr>
            <p:txBody>
              <a:bodyPr wrap="square" rtlCol="0" anchor="ctr">
                <a:spAutoFit/>
              </a:bodyPr>
              <a:lstStyle/>
              <a:p>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12" name="Group 11">
              <a:extLst>
                <a:ext uri="{FF2B5EF4-FFF2-40B4-BE49-F238E27FC236}">
                  <a16:creationId xmlns:a16="http://schemas.microsoft.com/office/drawing/2014/main" id="{DE987DE7-114B-D748-97CB-942C29F46D17}"/>
                </a:ext>
              </a:extLst>
            </p:cNvPr>
            <p:cNvGrpSpPr/>
            <p:nvPr/>
          </p:nvGrpSpPr>
          <p:grpSpPr>
            <a:xfrm>
              <a:off x="7256827" y="3970076"/>
              <a:ext cx="3048455" cy="657032"/>
              <a:chOff x="2551705" y="4283314"/>
              <a:chExt cx="2357003" cy="657032"/>
            </a:xfrm>
          </p:grpSpPr>
          <p:sp>
            <p:nvSpPr>
              <p:cNvPr id="13" name="TextBox 12">
                <a:extLst>
                  <a:ext uri="{FF2B5EF4-FFF2-40B4-BE49-F238E27FC236}">
                    <a16:creationId xmlns:a16="http://schemas.microsoft.com/office/drawing/2014/main" id="{8655DF71-0F38-7540-8436-D933FFF6ED08}"/>
                  </a:ext>
                </a:extLst>
              </p:cNvPr>
              <p:cNvSpPr txBox="1"/>
              <p:nvPr/>
            </p:nvSpPr>
            <p:spPr>
              <a:xfrm>
                <a:off x="2551706" y="4478681"/>
                <a:ext cx="2357002" cy="461665"/>
              </a:xfrm>
              <a:prstGeom prst="rect">
                <a:avLst/>
              </a:prstGeom>
              <a:noFill/>
            </p:spPr>
            <p:txBody>
              <a:bodyPr wrap="square" rtlCol="0" anchor="ctr">
                <a:spAutoFit/>
              </a:bodyPr>
              <a:lstStyle/>
              <a:p>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14" name="TextBox 13">
                <a:extLst>
                  <a:ext uri="{FF2B5EF4-FFF2-40B4-BE49-F238E27FC236}">
                    <a16:creationId xmlns:a16="http://schemas.microsoft.com/office/drawing/2014/main" id="{A6D1A26B-4086-6642-A96D-7EE1DB67F430}"/>
                  </a:ext>
                </a:extLst>
              </p:cNvPr>
              <p:cNvSpPr txBox="1"/>
              <p:nvPr/>
            </p:nvSpPr>
            <p:spPr>
              <a:xfrm>
                <a:off x="2551705" y="4283314"/>
                <a:ext cx="2336966" cy="276999"/>
              </a:xfrm>
              <a:prstGeom prst="rect">
                <a:avLst/>
              </a:prstGeom>
              <a:noFill/>
            </p:spPr>
            <p:txBody>
              <a:bodyPr wrap="square" rtlCol="0" anchor="ctr">
                <a:spAutoFit/>
              </a:bodyPr>
              <a:lstStyle/>
              <a:p>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15" name="Group 14">
              <a:extLst>
                <a:ext uri="{FF2B5EF4-FFF2-40B4-BE49-F238E27FC236}">
                  <a16:creationId xmlns:a16="http://schemas.microsoft.com/office/drawing/2014/main" id="{181BFBD3-252D-AF4A-8341-6D7540E17FF7}"/>
                </a:ext>
              </a:extLst>
            </p:cNvPr>
            <p:cNvGrpSpPr/>
            <p:nvPr/>
          </p:nvGrpSpPr>
          <p:grpSpPr>
            <a:xfrm>
              <a:off x="7256827" y="3196549"/>
              <a:ext cx="3048455" cy="657032"/>
              <a:chOff x="2551705" y="4283314"/>
              <a:chExt cx="2357003" cy="657032"/>
            </a:xfrm>
          </p:grpSpPr>
          <p:sp>
            <p:nvSpPr>
              <p:cNvPr id="16" name="TextBox 15">
                <a:extLst>
                  <a:ext uri="{FF2B5EF4-FFF2-40B4-BE49-F238E27FC236}">
                    <a16:creationId xmlns:a16="http://schemas.microsoft.com/office/drawing/2014/main" id="{E778DD8D-B8CF-E745-8E41-B328C3FF883C}"/>
                  </a:ext>
                </a:extLst>
              </p:cNvPr>
              <p:cNvSpPr txBox="1"/>
              <p:nvPr/>
            </p:nvSpPr>
            <p:spPr>
              <a:xfrm>
                <a:off x="2551706" y="4478681"/>
                <a:ext cx="2357002" cy="461665"/>
              </a:xfrm>
              <a:prstGeom prst="rect">
                <a:avLst/>
              </a:prstGeom>
              <a:noFill/>
            </p:spPr>
            <p:txBody>
              <a:bodyPr wrap="square" rtlCol="0" anchor="ctr">
                <a:spAutoFit/>
              </a:bodyPr>
              <a:lstStyle/>
              <a:p>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17" name="TextBox 16">
                <a:extLst>
                  <a:ext uri="{FF2B5EF4-FFF2-40B4-BE49-F238E27FC236}">
                    <a16:creationId xmlns:a16="http://schemas.microsoft.com/office/drawing/2014/main" id="{09EED96C-A8D2-E344-96C2-5AB8883678C4}"/>
                  </a:ext>
                </a:extLst>
              </p:cNvPr>
              <p:cNvSpPr txBox="1"/>
              <p:nvPr/>
            </p:nvSpPr>
            <p:spPr>
              <a:xfrm>
                <a:off x="2551705" y="4283314"/>
                <a:ext cx="2336966" cy="276999"/>
              </a:xfrm>
              <a:prstGeom prst="rect">
                <a:avLst/>
              </a:prstGeom>
              <a:noFill/>
            </p:spPr>
            <p:txBody>
              <a:bodyPr wrap="square" rtlCol="0" anchor="ctr">
                <a:spAutoFit/>
              </a:bodyPr>
              <a:lstStyle/>
              <a:p>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18" name="Group 17">
              <a:extLst>
                <a:ext uri="{FF2B5EF4-FFF2-40B4-BE49-F238E27FC236}">
                  <a16:creationId xmlns:a16="http://schemas.microsoft.com/office/drawing/2014/main" id="{AD44EAEE-049D-7A48-9646-28BD7500CB7F}"/>
                </a:ext>
              </a:extLst>
            </p:cNvPr>
            <p:cNvGrpSpPr/>
            <p:nvPr/>
          </p:nvGrpSpPr>
          <p:grpSpPr>
            <a:xfrm>
              <a:off x="6816903" y="2423022"/>
              <a:ext cx="3048455" cy="657032"/>
              <a:chOff x="2551705" y="4283314"/>
              <a:chExt cx="2357003" cy="657032"/>
            </a:xfrm>
          </p:grpSpPr>
          <p:sp>
            <p:nvSpPr>
              <p:cNvPr id="19" name="TextBox 18">
                <a:extLst>
                  <a:ext uri="{FF2B5EF4-FFF2-40B4-BE49-F238E27FC236}">
                    <a16:creationId xmlns:a16="http://schemas.microsoft.com/office/drawing/2014/main" id="{AF9563F9-043D-8C4A-AF56-3CCE1B5011DD}"/>
                  </a:ext>
                </a:extLst>
              </p:cNvPr>
              <p:cNvSpPr txBox="1"/>
              <p:nvPr/>
            </p:nvSpPr>
            <p:spPr>
              <a:xfrm>
                <a:off x="2551706" y="4478681"/>
                <a:ext cx="2357002" cy="461665"/>
              </a:xfrm>
              <a:prstGeom prst="rect">
                <a:avLst/>
              </a:prstGeom>
              <a:noFill/>
            </p:spPr>
            <p:txBody>
              <a:bodyPr wrap="square" rtlCol="0" anchor="ctr">
                <a:spAutoFit/>
              </a:bodyPr>
              <a:lstStyle/>
              <a:p>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20" name="TextBox 19">
                <a:extLst>
                  <a:ext uri="{FF2B5EF4-FFF2-40B4-BE49-F238E27FC236}">
                    <a16:creationId xmlns:a16="http://schemas.microsoft.com/office/drawing/2014/main" id="{22F5C77B-3A32-334F-873B-831C7C6FD546}"/>
                  </a:ext>
                </a:extLst>
              </p:cNvPr>
              <p:cNvSpPr txBox="1"/>
              <p:nvPr/>
            </p:nvSpPr>
            <p:spPr>
              <a:xfrm>
                <a:off x="2551705" y="4283314"/>
                <a:ext cx="2336966" cy="276999"/>
              </a:xfrm>
              <a:prstGeom prst="rect">
                <a:avLst/>
              </a:prstGeom>
              <a:noFill/>
            </p:spPr>
            <p:txBody>
              <a:bodyPr wrap="square" rtlCol="0" anchor="ctr">
                <a:spAutoFit/>
              </a:bodyPr>
              <a:lstStyle/>
              <a:p>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21" name="Group 20">
              <a:extLst>
                <a:ext uri="{FF2B5EF4-FFF2-40B4-BE49-F238E27FC236}">
                  <a16:creationId xmlns:a16="http://schemas.microsoft.com/office/drawing/2014/main" id="{6E10157A-1714-F74B-B713-6BBDA4BB05B9}"/>
                </a:ext>
              </a:extLst>
            </p:cNvPr>
            <p:cNvGrpSpPr/>
            <p:nvPr/>
          </p:nvGrpSpPr>
          <p:grpSpPr>
            <a:xfrm>
              <a:off x="4474698" y="2237542"/>
              <a:ext cx="2616849" cy="3027685"/>
              <a:chOff x="2939601" y="1312886"/>
              <a:chExt cx="2616849" cy="3027685"/>
            </a:xfrm>
            <a:solidFill>
              <a:srgbClr val="E46C0A"/>
            </a:solidFill>
          </p:grpSpPr>
          <p:sp>
            <p:nvSpPr>
              <p:cNvPr id="22" name="Oval 21">
                <a:extLst>
                  <a:ext uri="{FF2B5EF4-FFF2-40B4-BE49-F238E27FC236}">
                    <a16:creationId xmlns:a16="http://schemas.microsoft.com/office/drawing/2014/main" id="{4BD3A5E3-FBA9-6A45-B136-ABAB5ADF2E94}"/>
                  </a:ext>
                </a:extLst>
              </p:cNvPr>
              <p:cNvSpPr/>
              <p:nvPr/>
            </p:nvSpPr>
            <p:spPr>
              <a:xfrm>
                <a:off x="4330233" y="3651871"/>
                <a:ext cx="688701" cy="6887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3" name="Oval 22">
                <a:extLst>
                  <a:ext uri="{FF2B5EF4-FFF2-40B4-BE49-F238E27FC236}">
                    <a16:creationId xmlns:a16="http://schemas.microsoft.com/office/drawing/2014/main" id="{224F04DC-244B-2146-97BE-77698F8F2905}"/>
                  </a:ext>
                </a:extLst>
              </p:cNvPr>
              <p:cNvSpPr/>
              <p:nvPr/>
            </p:nvSpPr>
            <p:spPr>
              <a:xfrm>
                <a:off x="4168102" y="1312886"/>
                <a:ext cx="1027469" cy="10274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4" name="Oval 23">
                <a:extLst>
                  <a:ext uri="{FF2B5EF4-FFF2-40B4-BE49-F238E27FC236}">
                    <a16:creationId xmlns:a16="http://schemas.microsoft.com/office/drawing/2014/main" id="{07273D33-FD6B-AB4C-95E3-BE43A3DA45AE}"/>
                  </a:ext>
                </a:extLst>
              </p:cNvPr>
              <p:cNvSpPr/>
              <p:nvPr/>
            </p:nvSpPr>
            <p:spPr>
              <a:xfrm>
                <a:off x="3216521" y="1675966"/>
                <a:ext cx="958864" cy="9588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5" name="Oval 24">
                <a:extLst>
                  <a:ext uri="{FF2B5EF4-FFF2-40B4-BE49-F238E27FC236}">
                    <a16:creationId xmlns:a16="http://schemas.microsoft.com/office/drawing/2014/main" id="{6EDE1B1D-47D0-4B49-A0E5-00CE10E5F14E}"/>
                  </a:ext>
                </a:extLst>
              </p:cNvPr>
              <p:cNvSpPr/>
              <p:nvPr/>
            </p:nvSpPr>
            <p:spPr>
              <a:xfrm>
                <a:off x="2939601" y="2624795"/>
                <a:ext cx="890374" cy="8903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6" name="Oval 25">
                <a:extLst>
                  <a:ext uri="{FF2B5EF4-FFF2-40B4-BE49-F238E27FC236}">
                    <a16:creationId xmlns:a16="http://schemas.microsoft.com/office/drawing/2014/main" id="{469D4190-F455-E148-A59B-4CF0AD2AB5D4}"/>
                  </a:ext>
                </a:extLst>
              </p:cNvPr>
              <p:cNvSpPr/>
              <p:nvPr/>
            </p:nvSpPr>
            <p:spPr>
              <a:xfrm>
                <a:off x="3419336" y="3450476"/>
                <a:ext cx="821884" cy="8218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7" name="Oval 26">
                <a:extLst>
                  <a:ext uri="{FF2B5EF4-FFF2-40B4-BE49-F238E27FC236}">
                    <a16:creationId xmlns:a16="http://schemas.microsoft.com/office/drawing/2014/main" id="{9A31BD81-1500-1D46-BDD9-2FDC012A4A61}"/>
                  </a:ext>
                </a:extLst>
              </p:cNvPr>
              <p:cNvSpPr/>
              <p:nvPr/>
            </p:nvSpPr>
            <p:spPr>
              <a:xfrm>
                <a:off x="4939355" y="3291830"/>
                <a:ext cx="617095" cy="6170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8" name="Oval 27">
                <a:extLst>
                  <a:ext uri="{FF2B5EF4-FFF2-40B4-BE49-F238E27FC236}">
                    <a16:creationId xmlns:a16="http://schemas.microsoft.com/office/drawing/2014/main" id="{FF3F5443-FE8A-3A44-AE16-7BDAA88ABAE5}"/>
                  </a:ext>
                </a:extLst>
              </p:cNvPr>
              <p:cNvSpPr/>
              <p:nvPr/>
            </p:nvSpPr>
            <p:spPr>
              <a:xfrm>
                <a:off x="4989419" y="2708451"/>
                <a:ext cx="518942" cy="5189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9" name="Group 28">
              <a:extLst>
                <a:ext uri="{FF2B5EF4-FFF2-40B4-BE49-F238E27FC236}">
                  <a16:creationId xmlns:a16="http://schemas.microsoft.com/office/drawing/2014/main" id="{D084FB2D-41D1-054A-9A5C-0D32E8F8949C}"/>
                </a:ext>
              </a:extLst>
            </p:cNvPr>
            <p:cNvGrpSpPr/>
            <p:nvPr/>
          </p:nvGrpSpPr>
          <p:grpSpPr>
            <a:xfrm>
              <a:off x="1808818" y="4454455"/>
              <a:ext cx="3048455" cy="657032"/>
              <a:chOff x="2551705" y="4283314"/>
              <a:chExt cx="2357003" cy="657032"/>
            </a:xfrm>
          </p:grpSpPr>
          <p:sp>
            <p:nvSpPr>
              <p:cNvPr id="30" name="TextBox 29">
                <a:extLst>
                  <a:ext uri="{FF2B5EF4-FFF2-40B4-BE49-F238E27FC236}">
                    <a16:creationId xmlns:a16="http://schemas.microsoft.com/office/drawing/2014/main" id="{787F4E55-F569-074E-839B-23A4B4653C35}"/>
                  </a:ext>
                </a:extLst>
              </p:cNvPr>
              <p:cNvSpPr txBox="1"/>
              <p:nvPr/>
            </p:nvSpPr>
            <p:spPr>
              <a:xfrm>
                <a:off x="2551706" y="4478681"/>
                <a:ext cx="2357002" cy="461665"/>
              </a:xfrm>
              <a:prstGeom prst="rect">
                <a:avLst/>
              </a:prstGeom>
              <a:noFill/>
            </p:spPr>
            <p:txBody>
              <a:bodyPr wrap="square" rtlCol="0" anchor="ctr">
                <a:spAutoFit/>
              </a:bodyPr>
              <a:lstStyle/>
              <a:p>
                <a:pPr algn="r"/>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31" name="TextBox 30">
                <a:extLst>
                  <a:ext uri="{FF2B5EF4-FFF2-40B4-BE49-F238E27FC236}">
                    <a16:creationId xmlns:a16="http://schemas.microsoft.com/office/drawing/2014/main" id="{3083AE8F-5ED0-4E46-8189-8AFF935D69ED}"/>
                  </a:ext>
                </a:extLst>
              </p:cNvPr>
              <p:cNvSpPr txBox="1"/>
              <p:nvPr/>
            </p:nvSpPr>
            <p:spPr>
              <a:xfrm>
                <a:off x="2551705" y="4283314"/>
                <a:ext cx="2336966" cy="276999"/>
              </a:xfrm>
              <a:prstGeom prst="rect">
                <a:avLst/>
              </a:prstGeom>
              <a:noFill/>
            </p:spPr>
            <p:txBody>
              <a:bodyPr wrap="square" rtlCol="0" anchor="ctr">
                <a:spAutoFit/>
              </a:bodyPr>
              <a:lstStyle/>
              <a:p>
                <a:pPr algn="r"/>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32" name="Group 31">
              <a:extLst>
                <a:ext uri="{FF2B5EF4-FFF2-40B4-BE49-F238E27FC236}">
                  <a16:creationId xmlns:a16="http://schemas.microsoft.com/office/drawing/2014/main" id="{C6813E91-3686-6947-9BF9-7053F85BEDB6}"/>
                </a:ext>
              </a:extLst>
            </p:cNvPr>
            <p:cNvGrpSpPr/>
            <p:nvPr/>
          </p:nvGrpSpPr>
          <p:grpSpPr>
            <a:xfrm>
              <a:off x="1426833" y="3621934"/>
              <a:ext cx="2963993" cy="657032"/>
              <a:chOff x="2551705" y="4283314"/>
              <a:chExt cx="2357003" cy="657032"/>
            </a:xfrm>
          </p:grpSpPr>
          <p:sp>
            <p:nvSpPr>
              <p:cNvPr id="33" name="TextBox 32">
                <a:extLst>
                  <a:ext uri="{FF2B5EF4-FFF2-40B4-BE49-F238E27FC236}">
                    <a16:creationId xmlns:a16="http://schemas.microsoft.com/office/drawing/2014/main" id="{6D2645AF-5B6E-B944-96B7-3ED71DCD8953}"/>
                  </a:ext>
                </a:extLst>
              </p:cNvPr>
              <p:cNvSpPr txBox="1"/>
              <p:nvPr/>
            </p:nvSpPr>
            <p:spPr>
              <a:xfrm>
                <a:off x="2551706" y="4478681"/>
                <a:ext cx="2357002" cy="461665"/>
              </a:xfrm>
              <a:prstGeom prst="rect">
                <a:avLst/>
              </a:prstGeom>
              <a:noFill/>
            </p:spPr>
            <p:txBody>
              <a:bodyPr wrap="square" rtlCol="0" anchor="ctr">
                <a:spAutoFit/>
              </a:bodyPr>
              <a:lstStyle/>
              <a:p>
                <a:pPr algn="r"/>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34" name="TextBox 33">
                <a:extLst>
                  <a:ext uri="{FF2B5EF4-FFF2-40B4-BE49-F238E27FC236}">
                    <a16:creationId xmlns:a16="http://schemas.microsoft.com/office/drawing/2014/main" id="{A239D77A-3AC7-9141-84F8-17C838A07BFD}"/>
                  </a:ext>
                </a:extLst>
              </p:cNvPr>
              <p:cNvSpPr txBox="1"/>
              <p:nvPr/>
            </p:nvSpPr>
            <p:spPr>
              <a:xfrm>
                <a:off x="2551705" y="4283314"/>
                <a:ext cx="2336966" cy="276999"/>
              </a:xfrm>
              <a:prstGeom prst="rect">
                <a:avLst/>
              </a:prstGeom>
              <a:noFill/>
            </p:spPr>
            <p:txBody>
              <a:bodyPr wrap="square" rtlCol="0" anchor="ctr">
                <a:spAutoFit/>
              </a:bodyPr>
              <a:lstStyle/>
              <a:p>
                <a:pPr algn="r"/>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grpSp>
          <p:nvGrpSpPr>
            <p:cNvPr id="35" name="Group 34">
              <a:extLst>
                <a:ext uri="{FF2B5EF4-FFF2-40B4-BE49-F238E27FC236}">
                  <a16:creationId xmlns:a16="http://schemas.microsoft.com/office/drawing/2014/main" id="{E30585EA-1C02-924F-93D8-9683E1A53741}"/>
                </a:ext>
              </a:extLst>
            </p:cNvPr>
            <p:cNvGrpSpPr/>
            <p:nvPr/>
          </p:nvGrpSpPr>
          <p:grpSpPr>
            <a:xfrm>
              <a:off x="1669105" y="2789413"/>
              <a:ext cx="3048455" cy="657032"/>
              <a:chOff x="2551705" y="4283314"/>
              <a:chExt cx="2357003" cy="657032"/>
            </a:xfrm>
          </p:grpSpPr>
          <p:sp>
            <p:nvSpPr>
              <p:cNvPr id="36" name="TextBox 35">
                <a:extLst>
                  <a:ext uri="{FF2B5EF4-FFF2-40B4-BE49-F238E27FC236}">
                    <a16:creationId xmlns:a16="http://schemas.microsoft.com/office/drawing/2014/main" id="{5EA984FA-7CA3-0442-9FF9-E2E2A7589E3D}"/>
                  </a:ext>
                </a:extLst>
              </p:cNvPr>
              <p:cNvSpPr txBox="1"/>
              <p:nvPr/>
            </p:nvSpPr>
            <p:spPr>
              <a:xfrm>
                <a:off x="2551706" y="4478681"/>
                <a:ext cx="2357002" cy="461665"/>
              </a:xfrm>
              <a:prstGeom prst="rect">
                <a:avLst/>
              </a:prstGeom>
              <a:noFill/>
            </p:spPr>
            <p:txBody>
              <a:bodyPr wrap="square" rtlCol="0" anchor="ctr">
                <a:spAutoFit/>
              </a:bodyPr>
              <a:lstStyle/>
              <a:p>
                <a:pPr algn="r"/>
                <a:r>
                  <a:rPr lang="en-US" altLang="ko-KR" sz="1200">
                    <a:solidFill>
                      <a:schemeClr val="tx1">
                        <a:lumMod val="65000"/>
                        <a:lumOff val="35000"/>
                      </a:schemeClr>
                    </a:solidFill>
                    <a:cs typeface="Arial" pitchFamily="34" charset="0"/>
                  </a:rPr>
                  <a:t>You can simply impress your audience and add a unique zing.</a:t>
                </a:r>
                <a:endParaRPr lang="ko-KR" altLang="en-US" sz="1200">
                  <a:solidFill>
                    <a:schemeClr val="tx1">
                      <a:lumMod val="65000"/>
                      <a:lumOff val="35000"/>
                    </a:schemeClr>
                  </a:solidFill>
                  <a:cs typeface="Arial" pitchFamily="34" charset="0"/>
                </a:endParaRPr>
              </a:p>
            </p:txBody>
          </p:sp>
          <p:sp>
            <p:nvSpPr>
              <p:cNvPr id="37" name="TextBox 36">
                <a:extLst>
                  <a:ext uri="{FF2B5EF4-FFF2-40B4-BE49-F238E27FC236}">
                    <a16:creationId xmlns:a16="http://schemas.microsoft.com/office/drawing/2014/main" id="{6845F9F2-2D3E-2349-8A3D-0DB8DC1962D9}"/>
                  </a:ext>
                </a:extLst>
              </p:cNvPr>
              <p:cNvSpPr txBox="1"/>
              <p:nvPr/>
            </p:nvSpPr>
            <p:spPr>
              <a:xfrm>
                <a:off x="2551705" y="4283314"/>
                <a:ext cx="2336966" cy="276999"/>
              </a:xfrm>
              <a:prstGeom prst="rect">
                <a:avLst/>
              </a:prstGeom>
              <a:noFill/>
            </p:spPr>
            <p:txBody>
              <a:bodyPr wrap="square" rtlCol="0" anchor="ctr">
                <a:spAutoFit/>
              </a:bodyPr>
              <a:lstStyle/>
              <a:p>
                <a:pPr algn="r"/>
                <a:r>
                  <a:rPr lang="en-US" altLang="ko-KR" sz="1200" b="1">
                    <a:solidFill>
                      <a:schemeClr val="tx1">
                        <a:lumMod val="65000"/>
                        <a:lumOff val="35000"/>
                      </a:schemeClr>
                    </a:solidFill>
                    <a:cs typeface="Arial" pitchFamily="34" charset="0"/>
                  </a:rPr>
                  <a:t>Your Text Here</a:t>
                </a:r>
                <a:endParaRPr lang="ko-KR" altLang="en-US" sz="1200" b="1">
                  <a:solidFill>
                    <a:schemeClr val="tx1">
                      <a:lumMod val="65000"/>
                      <a:lumOff val="35000"/>
                    </a:schemeClr>
                  </a:solidFill>
                  <a:cs typeface="Arial" pitchFamily="34" charset="0"/>
                </a:endParaRPr>
              </a:p>
            </p:txBody>
          </p:sp>
        </p:grpSp>
        <p:sp>
          <p:nvSpPr>
            <p:cNvPr id="38" name="Block Arc 14">
              <a:extLst>
                <a:ext uri="{FF2B5EF4-FFF2-40B4-BE49-F238E27FC236}">
                  <a16:creationId xmlns:a16="http://schemas.microsoft.com/office/drawing/2014/main" id="{B5C4508A-17A9-7D40-B53E-0A698CE29994}"/>
                </a:ext>
              </a:extLst>
            </p:cNvPr>
            <p:cNvSpPr/>
            <p:nvPr/>
          </p:nvSpPr>
          <p:spPr>
            <a:xfrm rot="16200000">
              <a:off x="5672816" y="3625843"/>
              <a:ext cx="584277" cy="584662"/>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9" name="Rounded Rectangle 27">
              <a:extLst>
                <a:ext uri="{FF2B5EF4-FFF2-40B4-BE49-F238E27FC236}">
                  <a16:creationId xmlns:a16="http://schemas.microsoft.com/office/drawing/2014/main" id="{26B584D4-B964-8D4D-9DF4-57E4DA310BC1}"/>
                </a:ext>
              </a:extLst>
            </p:cNvPr>
            <p:cNvSpPr/>
            <p:nvPr/>
          </p:nvSpPr>
          <p:spPr>
            <a:xfrm>
              <a:off x="6676109" y="3808179"/>
              <a:ext cx="233219" cy="179144"/>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0" name="Rectangle 9">
              <a:extLst>
                <a:ext uri="{FF2B5EF4-FFF2-40B4-BE49-F238E27FC236}">
                  <a16:creationId xmlns:a16="http://schemas.microsoft.com/office/drawing/2014/main" id="{41E3DDA8-9938-F346-8166-5F03A35A8F56}"/>
                </a:ext>
              </a:extLst>
            </p:cNvPr>
            <p:cNvSpPr/>
            <p:nvPr/>
          </p:nvSpPr>
          <p:spPr>
            <a:xfrm>
              <a:off x="5055509" y="2915733"/>
              <a:ext cx="351081" cy="328642"/>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Rounded Rectangle 7">
              <a:extLst>
                <a:ext uri="{FF2B5EF4-FFF2-40B4-BE49-F238E27FC236}">
                  <a16:creationId xmlns:a16="http://schemas.microsoft.com/office/drawing/2014/main" id="{5E6DCF91-D691-3846-B124-320813D2DE70}"/>
                </a:ext>
              </a:extLst>
            </p:cNvPr>
            <p:cNvSpPr/>
            <p:nvPr/>
          </p:nvSpPr>
          <p:spPr>
            <a:xfrm>
              <a:off x="6676109" y="4408705"/>
              <a:ext cx="269592" cy="232655"/>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2" name="Round Same Side Corner Rectangle 36">
              <a:extLst>
                <a:ext uri="{FF2B5EF4-FFF2-40B4-BE49-F238E27FC236}">
                  <a16:creationId xmlns:a16="http://schemas.microsoft.com/office/drawing/2014/main" id="{F282EBD2-CDB8-EA4B-8CD7-FBED0265A807}"/>
                </a:ext>
              </a:extLst>
            </p:cNvPr>
            <p:cNvSpPr/>
            <p:nvPr/>
          </p:nvSpPr>
          <p:spPr>
            <a:xfrm>
              <a:off x="6058354" y="4819329"/>
              <a:ext cx="302651" cy="239281"/>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3" name="Oval 7">
              <a:extLst>
                <a:ext uri="{FF2B5EF4-FFF2-40B4-BE49-F238E27FC236}">
                  <a16:creationId xmlns:a16="http://schemas.microsoft.com/office/drawing/2014/main" id="{8DC5C314-BD11-234C-B1B0-4A18CEC39744}"/>
                </a:ext>
              </a:extLst>
            </p:cNvPr>
            <p:cNvSpPr/>
            <p:nvPr/>
          </p:nvSpPr>
          <p:spPr>
            <a:xfrm>
              <a:off x="6006714" y="2541057"/>
              <a:ext cx="420437" cy="420437"/>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4" name="Rectangle 30">
              <a:extLst>
                <a:ext uri="{FF2B5EF4-FFF2-40B4-BE49-F238E27FC236}">
                  <a16:creationId xmlns:a16="http://schemas.microsoft.com/office/drawing/2014/main" id="{4F859EC2-1BFA-304C-874A-82998F3FC38C}"/>
                </a:ext>
              </a:extLst>
            </p:cNvPr>
            <p:cNvSpPr/>
            <p:nvPr/>
          </p:nvSpPr>
          <p:spPr>
            <a:xfrm>
              <a:off x="5196009" y="4624453"/>
              <a:ext cx="294841" cy="29398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5" name="Rectangle 9">
              <a:extLst>
                <a:ext uri="{FF2B5EF4-FFF2-40B4-BE49-F238E27FC236}">
                  <a16:creationId xmlns:a16="http://schemas.microsoft.com/office/drawing/2014/main" id="{9C80D3B8-25BD-5346-967B-43737C77C9B7}"/>
                </a:ext>
              </a:extLst>
            </p:cNvPr>
            <p:cNvSpPr/>
            <p:nvPr/>
          </p:nvSpPr>
          <p:spPr>
            <a:xfrm>
              <a:off x="4749900" y="3816735"/>
              <a:ext cx="329824" cy="329288"/>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Tree>
    <p:extLst>
      <p:ext uri="{BB962C8B-B14F-4D97-AF65-F5344CB8AC3E}">
        <p14:creationId xmlns:p14="http://schemas.microsoft.com/office/powerpoint/2010/main" val="375540241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CBB4B7-3F5E-054C-A0C6-1FB3C7E1D8B7}"/>
              </a:ext>
            </a:extLst>
          </p:cNvPr>
          <p:cNvGraphicFramePr>
            <a:graphicFrameLocks noChangeAspect="1"/>
          </p:cNvGraphicFramePr>
          <p:nvPr>
            <p:custDataLst>
              <p:tags r:id="rId1"/>
            </p:custDataLst>
            <p:extLst>
              <p:ext uri="{D42A27DB-BD31-4B8C-83A1-F6EECF244321}">
                <p14:modId xmlns:p14="http://schemas.microsoft.com/office/powerpoint/2010/main" val="3302388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80CBB4B7-3F5E-054C-A0C6-1FB3C7E1D8B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B3B388B-CDB7-E446-BC86-D9CB071AF231}"/>
              </a:ext>
            </a:extLst>
          </p:cNvPr>
          <p:cNvSpPr>
            <a:spLocks noGrp="1"/>
          </p:cNvSpPr>
          <p:nvPr>
            <p:ph type="sldNum" sz="quarter" idx="4"/>
          </p:nvPr>
        </p:nvSpPr>
        <p:spPr/>
        <p:txBody>
          <a:bodyPr/>
          <a:lstStyle/>
          <a:p>
            <a:fld id="{3D966009-6E5A-4F8C-8CA7-E37AFBF5FB92}" type="slidenum">
              <a:rPr lang="en-US" smtClean="0"/>
              <a:t>139</a:t>
            </a:fld>
            <a:endParaRPr lang="en-US"/>
          </a:p>
        </p:txBody>
      </p:sp>
      <p:sp>
        <p:nvSpPr>
          <p:cNvPr id="3" name="Title 2">
            <a:extLst>
              <a:ext uri="{FF2B5EF4-FFF2-40B4-BE49-F238E27FC236}">
                <a16:creationId xmlns:a16="http://schemas.microsoft.com/office/drawing/2014/main" id="{54626BBC-0900-2342-80D2-1FA54E264A5C}"/>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EDFA9DC1-A12C-B240-A15C-C2786A6B7665}"/>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9BD4B85E-5200-924C-8525-6F15A6984A20}"/>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92A8A236-7294-5E4A-9071-9E249D684E07}"/>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F138F830-B752-3649-9730-90DFB40FA22B}"/>
              </a:ext>
            </a:extLst>
          </p:cNvPr>
          <p:cNvSpPr>
            <a:spLocks noGrp="1"/>
          </p:cNvSpPr>
          <p:nvPr>
            <p:ph sz="quarter" idx="14"/>
          </p:nvPr>
        </p:nvSpPr>
        <p:spPr/>
        <p:txBody>
          <a:bodyPr/>
          <a:lstStyle/>
          <a:p>
            <a:endParaRPr lang="de-DE"/>
          </a:p>
        </p:txBody>
      </p:sp>
      <p:grpSp>
        <p:nvGrpSpPr>
          <p:cNvPr id="79" name="Group 78">
            <a:extLst>
              <a:ext uri="{FF2B5EF4-FFF2-40B4-BE49-F238E27FC236}">
                <a16:creationId xmlns:a16="http://schemas.microsoft.com/office/drawing/2014/main" id="{9B323608-9E2C-5C44-9844-E6771D84C294}"/>
              </a:ext>
            </a:extLst>
          </p:cNvPr>
          <p:cNvGrpSpPr>
            <a:grpSpLocks noChangeAspect="1"/>
          </p:cNvGrpSpPr>
          <p:nvPr/>
        </p:nvGrpSpPr>
        <p:grpSpPr>
          <a:xfrm>
            <a:off x="1074683" y="1727125"/>
            <a:ext cx="10042634" cy="4248000"/>
            <a:chOff x="1877487" y="1784493"/>
            <a:chExt cx="8427795" cy="3564928"/>
          </a:xfrm>
        </p:grpSpPr>
        <p:sp>
          <p:nvSpPr>
            <p:cNvPr id="44" name="Oval 43">
              <a:extLst>
                <a:ext uri="{FF2B5EF4-FFF2-40B4-BE49-F238E27FC236}">
                  <a16:creationId xmlns:a16="http://schemas.microsoft.com/office/drawing/2014/main" id="{B65E5862-96C4-4943-8FAE-295E4A491B34}"/>
                </a:ext>
              </a:extLst>
            </p:cNvPr>
            <p:cNvSpPr/>
            <p:nvPr/>
          </p:nvSpPr>
          <p:spPr>
            <a:xfrm>
              <a:off x="4486370" y="1974639"/>
              <a:ext cx="3237359" cy="3237359"/>
            </a:xfrm>
            <a:prstGeom prst="ellipse">
              <a:avLst/>
            </a:prstGeom>
            <a:solidFill>
              <a:sysClr val="window" lastClr="FFFFFF"/>
            </a:solidFill>
            <a:ln w="50800" cap="flat" cmpd="sng" algn="ctr">
              <a:solidFill>
                <a:srgbClr val="333657"/>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65000"/>
                    <a:lumOff val="35000"/>
                  </a:prstClr>
                </a:solidFill>
                <a:effectLst/>
                <a:uLnTx/>
                <a:uFillTx/>
                <a:latin typeface="Arial"/>
                <a:ea typeface="Arial Unicode MS"/>
                <a:cs typeface="+mn-cs"/>
              </a:endParaRPr>
            </a:p>
          </p:txBody>
        </p:sp>
        <p:grpSp>
          <p:nvGrpSpPr>
            <p:cNvPr id="45" name="Group 44">
              <a:extLst>
                <a:ext uri="{FF2B5EF4-FFF2-40B4-BE49-F238E27FC236}">
                  <a16:creationId xmlns:a16="http://schemas.microsoft.com/office/drawing/2014/main" id="{9105AF90-0AC7-4C42-9611-1DDD9F98846B}"/>
                </a:ext>
              </a:extLst>
            </p:cNvPr>
            <p:cNvGrpSpPr/>
            <p:nvPr/>
          </p:nvGrpSpPr>
          <p:grpSpPr>
            <a:xfrm>
              <a:off x="5362749" y="2827109"/>
              <a:ext cx="1493952" cy="1493952"/>
              <a:chOff x="7092280" y="2517710"/>
              <a:chExt cx="971680" cy="971680"/>
            </a:xfrm>
          </p:grpSpPr>
          <p:sp>
            <p:nvSpPr>
              <p:cNvPr id="46" name="Oval 45">
                <a:extLst>
                  <a:ext uri="{FF2B5EF4-FFF2-40B4-BE49-F238E27FC236}">
                    <a16:creationId xmlns:a16="http://schemas.microsoft.com/office/drawing/2014/main" id="{A4C9B845-EA12-344E-BB67-0D62D3C64D56}"/>
                  </a:ext>
                </a:extLst>
              </p:cNvPr>
              <p:cNvSpPr/>
              <p:nvPr/>
            </p:nvSpPr>
            <p:spPr>
              <a:xfrm>
                <a:off x="7092280" y="2517710"/>
                <a:ext cx="971680" cy="971680"/>
              </a:xfrm>
              <a:prstGeom prst="ellipse">
                <a:avLst/>
              </a:prstGeom>
              <a:solidFill>
                <a:sysClr val="window" lastClr="FFFFFF"/>
              </a:solidFill>
              <a:ln w="50800" cap="flat" cmpd="sng" algn="ctr">
                <a:solidFill>
                  <a:schemeClr val="bg1">
                    <a:lumMod val="50000"/>
                  </a:schemeClr>
                </a:solid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prstClr val="black">
                      <a:lumMod val="65000"/>
                      <a:lumOff val="35000"/>
                    </a:prstClr>
                  </a:solidFill>
                  <a:effectLst/>
                  <a:uLnTx/>
                  <a:uFillTx/>
                  <a:latin typeface="Arial"/>
                  <a:ea typeface="Arial Unicode MS"/>
                  <a:cs typeface="+mn-cs"/>
                </a:endParaRPr>
              </a:p>
            </p:txBody>
          </p:sp>
          <p:sp>
            <p:nvSpPr>
              <p:cNvPr id="47" name="Oval 46">
                <a:extLst>
                  <a:ext uri="{FF2B5EF4-FFF2-40B4-BE49-F238E27FC236}">
                    <a16:creationId xmlns:a16="http://schemas.microsoft.com/office/drawing/2014/main" id="{DBE0EB36-7C0A-C84A-9283-B7BDAE366C06}"/>
                  </a:ext>
                </a:extLst>
              </p:cNvPr>
              <p:cNvSpPr/>
              <p:nvPr/>
            </p:nvSpPr>
            <p:spPr>
              <a:xfrm>
                <a:off x="7170399" y="2595829"/>
                <a:ext cx="815441" cy="815441"/>
              </a:xfrm>
              <a:prstGeom prst="ellipse">
                <a:avLst/>
              </a:prstGeom>
              <a:solidFill>
                <a:schemeClr val="bg1">
                  <a:lumMod val="50000"/>
                </a:schemeClr>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48" name="Block Arc 14">
              <a:extLst>
                <a:ext uri="{FF2B5EF4-FFF2-40B4-BE49-F238E27FC236}">
                  <a16:creationId xmlns:a16="http://schemas.microsoft.com/office/drawing/2014/main" id="{62DDA71C-983E-5645-85EC-157D207D8C31}"/>
                </a:ext>
              </a:extLst>
            </p:cNvPr>
            <p:cNvSpPr/>
            <p:nvPr/>
          </p:nvSpPr>
          <p:spPr>
            <a:xfrm rot="16200000">
              <a:off x="5713586" y="3174782"/>
              <a:ext cx="798080" cy="798606"/>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ea typeface="Arial Unicode MS"/>
                <a:cs typeface="+mn-cs"/>
              </a:endParaRPr>
            </a:p>
          </p:txBody>
        </p:sp>
        <p:sp>
          <p:nvSpPr>
            <p:cNvPr id="49" name="Oval 48">
              <a:extLst>
                <a:ext uri="{FF2B5EF4-FFF2-40B4-BE49-F238E27FC236}">
                  <a16:creationId xmlns:a16="http://schemas.microsoft.com/office/drawing/2014/main" id="{8D67695B-31BF-FC4C-933D-187199C4C962}"/>
                </a:ext>
              </a:extLst>
            </p:cNvPr>
            <p:cNvSpPr/>
            <p:nvPr/>
          </p:nvSpPr>
          <p:spPr>
            <a:xfrm>
              <a:off x="6730901" y="4541049"/>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0" name="Oval 49">
              <a:extLst>
                <a:ext uri="{FF2B5EF4-FFF2-40B4-BE49-F238E27FC236}">
                  <a16:creationId xmlns:a16="http://schemas.microsoft.com/office/drawing/2014/main" id="{F84ADAEC-C640-8846-A0C7-080CD2110AF6}"/>
                </a:ext>
              </a:extLst>
            </p:cNvPr>
            <p:cNvSpPr/>
            <p:nvPr/>
          </p:nvSpPr>
          <p:spPr>
            <a:xfrm>
              <a:off x="4813351" y="4541049"/>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1" name="Oval 50">
              <a:extLst>
                <a:ext uri="{FF2B5EF4-FFF2-40B4-BE49-F238E27FC236}">
                  <a16:creationId xmlns:a16="http://schemas.microsoft.com/office/drawing/2014/main" id="{11191758-8B43-584B-B87C-E6E18E5AB4A1}"/>
                </a:ext>
              </a:extLst>
            </p:cNvPr>
            <p:cNvSpPr/>
            <p:nvPr/>
          </p:nvSpPr>
          <p:spPr>
            <a:xfrm>
              <a:off x="4109735" y="3222234"/>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2" name="Oval 51">
              <a:extLst>
                <a:ext uri="{FF2B5EF4-FFF2-40B4-BE49-F238E27FC236}">
                  <a16:creationId xmlns:a16="http://schemas.microsoft.com/office/drawing/2014/main" id="{8F78111C-3700-4941-8296-296324DD4EA6}"/>
                </a:ext>
              </a:extLst>
            </p:cNvPr>
            <p:cNvSpPr/>
            <p:nvPr/>
          </p:nvSpPr>
          <p:spPr>
            <a:xfrm>
              <a:off x="4813351" y="1903419"/>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3" name="Oval 52">
              <a:extLst>
                <a:ext uri="{FF2B5EF4-FFF2-40B4-BE49-F238E27FC236}">
                  <a16:creationId xmlns:a16="http://schemas.microsoft.com/office/drawing/2014/main" id="{15EB2511-E396-4443-B85D-DDD782348750}"/>
                </a:ext>
              </a:extLst>
            </p:cNvPr>
            <p:cNvSpPr/>
            <p:nvPr/>
          </p:nvSpPr>
          <p:spPr>
            <a:xfrm>
              <a:off x="6730901" y="1903419"/>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4" name="Oval 53">
              <a:extLst>
                <a:ext uri="{FF2B5EF4-FFF2-40B4-BE49-F238E27FC236}">
                  <a16:creationId xmlns:a16="http://schemas.microsoft.com/office/drawing/2014/main" id="{953A3FFD-04BA-784D-AE0F-1335897487BB}"/>
                </a:ext>
              </a:extLst>
            </p:cNvPr>
            <p:cNvSpPr/>
            <p:nvPr/>
          </p:nvSpPr>
          <p:spPr>
            <a:xfrm>
              <a:off x="7422103" y="3222234"/>
              <a:ext cx="693414" cy="693414"/>
            </a:xfrm>
            <a:prstGeom prst="ellipse">
              <a:avLst/>
            </a:prstGeom>
            <a:solidFill>
              <a:srgbClr val="8D8EA7"/>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5" name="Oval 21">
              <a:extLst>
                <a:ext uri="{FF2B5EF4-FFF2-40B4-BE49-F238E27FC236}">
                  <a16:creationId xmlns:a16="http://schemas.microsoft.com/office/drawing/2014/main" id="{85269774-D2CA-234A-AEDC-CBD054EC5302}"/>
                </a:ext>
              </a:extLst>
            </p:cNvPr>
            <p:cNvSpPr>
              <a:spLocks noChangeAspect="1"/>
            </p:cNvSpPr>
            <p:nvPr/>
          </p:nvSpPr>
          <p:spPr>
            <a:xfrm>
              <a:off x="4950135" y="2039044"/>
              <a:ext cx="418667" cy="422164"/>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6" name="Rounded Rectangle 27">
              <a:extLst>
                <a:ext uri="{FF2B5EF4-FFF2-40B4-BE49-F238E27FC236}">
                  <a16:creationId xmlns:a16="http://schemas.microsoft.com/office/drawing/2014/main" id="{51BB8C28-57F8-9C4B-BF3E-F31EDC81094E}"/>
                </a:ext>
              </a:extLst>
            </p:cNvPr>
            <p:cNvSpPr/>
            <p:nvPr/>
          </p:nvSpPr>
          <p:spPr>
            <a:xfrm>
              <a:off x="4950758" y="4726986"/>
              <a:ext cx="418599" cy="32154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7" name="Rounded Rectangle 7">
              <a:extLst>
                <a:ext uri="{FF2B5EF4-FFF2-40B4-BE49-F238E27FC236}">
                  <a16:creationId xmlns:a16="http://schemas.microsoft.com/office/drawing/2014/main" id="{7A852808-7C47-B84C-8260-2E52A365E3F0}"/>
                </a:ext>
              </a:extLst>
            </p:cNvPr>
            <p:cNvSpPr/>
            <p:nvPr/>
          </p:nvSpPr>
          <p:spPr>
            <a:xfrm>
              <a:off x="4258990" y="3398542"/>
              <a:ext cx="394904" cy="340797"/>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8" name="Rectangle 9">
              <a:extLst>
                <a:ext uri="{FF2B5EF4-FFF2-40B4-BE49-F238E27FC236}">
                  <a16:creationId xmlns:a16="http://schemas.microsoft.com/office/drawing/2014/main" id="{E8F6F861-EEFB-6D48-96AD-0973ACECDCB7}"/>
                </a:ext>
              </a:extLst>
            </p:cNvPr>
            <p:cNvSpPr/>
            <p:nvPr/>
          </p:nvSpPr>
          <p:spPr>
            <a:xfrm>
              <a:off x="7580718" y="3392870"/>
              <a:ext cx="376185" cy="352142"/>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59" name="Rounded Rectangle 7">
              <a:extLst>
                <a:ext uri="{FF2B5EF4-FFF2-40B4-BE49-F238E27FC236}">
                  <a16:creationId xmlns:a16="http://schemas.microsoft.com/office/drawing/2014/main" id="{6E8280E4-1593-4940-A34D-3D6584CF7714}"/>
                </a:ext>
              </a:extLst>
            </p:cNvPr>
            <p:cNvSpPr/>
            <p:nvPr/>
          </p:nvSpPr>
          <p:spPr>
            <a:xfrm>
              <a:off x="6962238" y="4688098"/>
              <a:ext cx="230741" cy="399316"/>
            </a:xfrm>
            <a:custGeom>
              <a:avLst/>
              <a:gdLst/>
              <a:ahLst/>
              <a:cxnLst/>
              <a:rect l="l" t="t" r="r" b="b"/>
              <a:pathLst>
                <a:path w="1872208" h="3240000">
                  <a:moveTo>
                    <a:pt x="936104" y="2852499"/>
                  </a:moveTo>
                  <a:cubicBezTo>
                    <a:pt x="861605" y="2852499"/>
                    <a:pt x="801211" y="2912893"/>
                    <a:pt x="801211" y="2987392"/>
                  </a:cubicBezTo>
                  <a:cubicBezTo>
                    <a:pt x="801211" y="3061891"/>
                    <a:pt x="861605" y="3122285"/>
                    <a:pt x="936104" y="3122285"/>
                  </a:cubicBezTo>
                  <a:cubicBezTo>
                    <a:pt x="1010603" y="3122285"/>
                    <a:pt x="1070997" y="3061891"/>
                    <a:pt x="1070997" y="2987392"/>
                  </a:cubicBezTo>
                  <a:cubicBezTo>
                    <a:pt x="1070997" y="2912893"/>
                    <a:pt x="1010603" y="2852499"/>
                    <a:pt x="936104" y="2852499"/>
                  </a:cubicBezTo>
                  <a:close/>
                  <a:moveTo>
                    <a:pt x="144016" y="323096"/>
                  </a:moveTo>
                  <a:lnTo>
                    <a:pt x="144016" y="2699360"/>
                  </a:lnTo>
                  <a:lnTo>
                    <a:pt x="1728192" y="2699360"/>
                  </a:lnTo>
                  <a:lnTo>
                    <a:pt x="1728192" y="323096"/>
                  </a:lnTo>
                  <a:close/>
                  <a:moveTo>
                    <a:pt x="720104" y="107072"/>
                  </a:moveTo>
                  <a:cubicBezTo>
                    <a:pt x="690281" y="107072"/>
                    <a:pt x="666104" y="131249"/>
                    <a:pt x="666104" y="161072"/>
                  </a:cubicBezTo>
                  <a:cubicBezTo>
                    <a:pt x="666104" y="190895"/>
                    <a:pt x="690281" y="215072"/>
                    <a:pt x="720104" y="215072"/>
                  </a:cubicBezTo>
                  <a:lnTo>
                    <a:pt x="1152104" y="215072"/>
                  </a:lnTo>
                  <a:cubicBezTo>
                    <a:pt x="1181927" y="215072"/>
                    <a:pt x="1206104" y="190895"/>
                    <a:pt x="1206104" y="161072"/>
                  </a:cubicBezTo>
                  <a:cubicBezTo>
                    <a:pt x="1206104" y="131249"/>
                    <a:pt x="1181927" y="107072"/>
                    <a:pt x="1152104" y="107072"/>
                  </a:cubicBezTo>
                  <a:close/>
                  <a:moveTo>
                    <a:pt x="312041" y="0"/>
                  </a:moveTo>
                  <a:lnTo>
                    <a:pt x="1560167" y="0"/>
                  </a:lnTo>
                  <a:cubicBezTo>
                    <a:pt x="1732502" y="0"/>
                    <a:pt x="1872208" y="139706"/>
                    <a:pt x="1872208" y="312041"/>
                  </a:cubicBezTo>
                  <a:lnTo>
                    <a:pt x="1872208" y="2927959"/>
                  </a:lnTo>
                  <a:cubicBezTo>
                    <a:pt x="1872208" y="3100294"/>
                    <a:pt x="1732502" y="3240000"/>
                    <a:pt x="1560167" y="3240000"/>
                  </a:cubicBezTo>
                  <a:lnTo>
                    <a:pt x="312041" y="3240000"/>
                  </a:lnTo>
                  <a:cubicBezTo>
                    <a:pt x="139706" y="3240000"/>
                    <a:pt x="0" y="3100294"/>
                    <a:pt x="0" y="2927959"/>
                  </a:cubicBezTo>
                  <a:lnTo>
                    <a:pt x="0" y="312041"/>
                  </a:lnTo>
                  <a:cubicBezTo>
                    <a:pt x="0" y="139706"/>
                    <a:pt x="139706" y="0"/>
                    <a:pt x="312041" y="0"/>
                  </a:cubicBezTo>
                  <a:close/>
                </a:path>
              </a:pathLst>
            </a:cu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60" name="Group 59">
              <a:extLst>
                <a:ext uri="{FF2B5EF4-FFF2-40B4-BE49-F238E27FC236}">
                  <a16:creationId xmlns:a16="http://schemas.microsoft.com/office/drawing/2014/main" id="{9EFADD1C-E154-E349-BE28-81F9BC798417}"/>
                </a:ext>
              </a:extLst>
            </p:cNvPr>
            <p:cNvGrpSpPr/>
            <p:nvPr/>
          </p:nvGrpSpPr>
          <p:grpSpPr>
            <a:xfrm>
              <a:off x="2562803" y="1788461"/>
              <a:ext cx="2091091" cy="923330"/>
              <a:chOff x="2113657" y="4283314"/>
              <a:chExt cx="2120135" cy="923330"/>
            </a:xfrm>
          </p:grpSpPr>
          <p:sp>
            <p:nvSpPr>
              <p:cNvPr id="61" name="TextBox 60">
                <a:extLst>
                  <a:ext uri="{FF2B5EF4-FFF2-40B4-BE49-F238E27FC236}">
                    <a16:creationId xmlns:a16="http://schemas.microsoft.com/office/drawing/2014/main" id="{97D807B2-1B8D-CE44-8CBD-EC427E8E0691}"/>
                  </a:ext>
                </a:extLst>
              </p:cNvPr>
              <p:cNvSpPr txBox="1"/>
              <p:nvPr/>
            </p:nvSpPr>
            <p:spPr>
              <a:xfrm>
                <a:off x="2113657" y="4560313"/>
                <a:ext cx="2120134" cy="646331"/>
              </a:xfrm>
              <a:prstGeom prst="rect">
                <a:avLst/>
              </a:prstGeom>
              <a:noFill/>
            </p:spPr>
            <p:txBody>
              <a:bodyPr wrap="square" rtlCol="0">
                <a:spAutoFit/>
              </a:bodyPr>
              <a:lstStyle/>
              <a:p>
                <a:pPr algn="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62" name="TextBox 61">
                <a:extLst>
                  <a:ext uri="{FF2B5EF4-FFF2-40B4-BE49-F238E27FC236}">
                    <a16:creationId xmlns:a16="http://schemas.microsoft.com/office/drawing/2014/main" id="{659442B8-80F5-F64C-AE59-96DDF5B58B2D}"/>
                  </a:ext>
                </a:extLst>
              </p:cNvPr>
              <p:cNvSpPr txBox="1"/>
              <p:nvPr/>
            </p:nvSpPr>
            <p:spPr>
              <a:xfrm>
                <a:off x="2113658" y="4283314"/>
                <a:ext cx="2120134" cy="276999"/>
              </a:xfrm>
              <a:prstGeom prst="rect">
                <a:avLst/>
              </a:prstGeom>
              <a:noFill/>
            </p:spPr>
            <p:txBody>
              <a:bodyPr wrap="square" rtlCol="0">
                <a:spAutoFit/>
              </a:bodyPr>
              <a:lstStyle/>
              <a:p>
                <a:pPr algn="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grpSp>
          <p:nvGrpSpPr>
            <p:cNvPr id="63" name="Group 62">
              <a:extLst>
                <a:ext uri="{FF2B5EF4-FFF2-40B4-BE49-F238E27FC236}">
                  <a16:creationId xmlns:a16="http://schemas.microsoft.com/office/drawing/2014/main" id="{7C410DFF-E899-754D-8918-5A5355C0B64A}"/>
                </a:ext>
              </a:extLst>
            </p:cNvPr>
            <p:cNvGrpSpPr/>
            <p:nvPr/>
          </p:nvGrpSpPr>
          <p:grpSpPr>
            <a:xfrm>
              <a:off x="1877487" y="3119289"/>
              <a:ext cx="2091091" cy="923330"/>
              <a:chOff x="2113657" y="4283314"/>
              <a:chExt cx="2120135" cy="923330"/>
            </a:xfrm>
          </p:grpSpPr>
          <p:sp>
            <p:nvSpPr>
              <p:cNvPr id="64" name="TextBox 63">
                <a:extLst>
                  <a:ext uri="{FF2B5EF4-FFF2-40B4-BE49-F238E27FC236}">
                    <a16:creationId xmlns:a16="http://schemas.microsoft.com/office/drawing/2014/main" id="{DABBB38A-A6A9-7F4F-8A0F-962A1466104B}"/>
                  </a:ext>
                </a:extLst>
              </p:cNvPr>
              <p:cNvSpPr txBox="1"/>
              <p:nvPr/>
            </p:nvSpPr>
            <p:spPr>
              <a:xfrm>
                <a:off x="2113657" y="4560313"/>
                <a:ext cx="2120134" cy="646331"/>
              </a:xfrm>
              <a:prstGeom prst="rect">
                <a:avLst/>
              </a:prstGeom>
              <a:noFill/>
            </p:spPr>
            <p:txBody>
              <a:bodyPr wrap="square" rtlCol="0">
                <a:spAutoFit/>
              </a:bodyPr>
              <a:lstStyle/>
              <a:p>
                <a:pPr algn="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65" name="TextBox 64">
                <a:extLst>
                  <a:ext uri="{FF2B5EF4-FFF2-40B4-BE49-F238E27FC236}">
                    <a16:creationId xmlns:a16="http://schemas.microsoft.com/office/drawing/2014/main" id="{B6071F04-D98D-5141-BFCC-DD3BE7068CC9}"/>
                  </a:ext>
                </a:extLst>
              </p:cNvPr>
              <p:cNvSpPr txBox="1"/>
              <p:nvPr/>
            </p:nvSpPr>
            <p:spPr>
              <a:xfrm>
                <a:off x="2113658" y="4283314"/>
                <a:ext cx="2120134" cy="276999"/>
              </a:xfrm>
              <a:prstGeom prst="rect">
                <a:avLst/>
              </a:prstGeom>
              <a:noFill/>
            </p:spPr>
            <p:txBody>
              <a:bodyPr wrap="square" rtlCol="0">
                <a:spAutoFit/>
              </a:bodyPr>
              <a:lstStyle/>
              <a:p>
                <a:pPr algn="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grpSp>
          <p:nvGrpSpPr>
            <p:cNvPr id="66" name="Group 65">
              <a:extLst>
                <a:ext uri="{FF2B5EF4-FFF2-40B4-BE49-F238E27FC236}">
                  <a16:creationId xmlns:a16="http://schemas.microsoft.com/office/drawing/2014/main" id="{22EFB192-D99E-9543-B7DD-5F99A853C8F5}"/>
                </a:ext>
              </a:extLst>
            </p:cNvPr>
            <p:cNvGrpSpPr/>
            <p:nvPr/>
          </p:nvGrpSpPr>
          <p:grpSpPr>
            <a:xfrm>
              <a:off x="2562803" y="4426091"/>
              <a:ext cx="2091091" cy="923330"/>
              <a:chOff x="2113657" y="4283314"/>
              <a:chExt cx="2120135" cy="923330"/>
            </a:xfrm>
          </p:grpSpPr>
          <p:sp>
            <p:nvSpPr>
              <p:cNvPr id="67" name="TextBox 66">
                <a:extLst>
                  <a:ext uri="{FF2B5EF4-FFF2-40B4-BE49-F238E27FC236}">
                    <a16:creationId xmlns:a16="http://schemas.microsoft.com/office/drawing/2014/main" id="{BED723D0-DF23-B84E-BD9A-4C0411144C1E}"/>
                  </a:ext>
                </a:extLst>
              </p:cNvPr>
              <p:cNvSpPr txBox="1"/>
              <p:nvPr/>
            </p:nvSpPr>
            <p:spPr>
              <a:xfrm>
                <a:off x="2113657" y="4560313"/>
                <a:ext cx="2120134" cy="646331"/>
              </a:xfrm>
              <a:prstGeom prst="rect">
                <a:avLst/>
              </a:prstGeom>
              <a:noFill/>
            </p:spPr>
            <p:txBody>
              <a:bodyPr wrap="square" rtlCol="0">
                <a:spAutoFit/>
              </a:bodyPr>
              <a:lstStyle/>
              <a:p>
                <a:pPr algn="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68" name="TextBox 67">
                <a:extLst>
                  <a:ext uri="{FF2B5EF4-FFF2-40B4-BE49-F238E27FC236}">
                    <a16:creationId xmlns:a16="http://schemas.microsoft.com/office/drawing/2014/main" id="{1B8E534F-37B8-284D-8F31-7746DD7A8A64}"/>
                  </a:ext>
                </a:extLst>
              </p:cNvPr>
              <p:cNvSpPr txBox="1"/>
              <p:nvPr/>
            </p:nvSpPr>
            <p:spPr>
              <a:xfrm>
                <a:off x="2113658" y="4283314"/>
                <a:ext cx="2120134" cy="276999"/>
              </a:xfrm>
              <a:prstGeom prst="rect">
                <a:avLst/>
              </a:prstGeom>
              <a:noFill/>
            </p:spPr>
            <p:txBody>
              <a:bodyPr wrap="square" rtlCol="0">
                <a:spAutoFit/>
              </a:bodyPr>
              <a:lstStyle/>
              <a:p>
                <a:pPr algn="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grpSp>
          <p:nvGrpSpPr>
            <p:cNvPr id="69" name="Group 68">
              <a:extLst>
                <a:ext uri="{FF2B5EF4-FFF2-40B4-BE49-F238E27FC236}">
                  <a16:creationId xmlns:a16="http://schemas.microsoft.com/office/drawing/2014/main" id="{E96D8410-6B67-0944-9C23-785DC729B4DB}"/>
                </a:ext>
              </a:extLst>
            </p:cNvPr>
            <p:cNvGrpSpPr/>
            <p:nvPr/>
          </p:nvGrpSpPr>
          <p:grpSpPr>
            <a:xfrm>
              <a:off x="7675371" y="1784493"/>
              <a:ext cx="2091091" cy="923330"/>
              <a:chOff x="2113657" y="4283314"/>
              <a:chExt cx="2120135" cy="923330"/>
            </a:xfrm>
          </p:grpSpPr>
          <p:sp>
            <p:nvSpPr>
              <p:cNvPr id="70" name="TextBox 69">
                <a:extLst>
                  <a:ext uri="{FF2B5EF4-FFF2-40B4-BE49-F238E27FC236}">
                    <a16:creationId xmlns:a16="http://schemas.microsoft.com/office/drawing/2014/main" id="{B65803BC-AFC5-AB4B-825E-4A04E9DD9C4B}"/>
                  </a:ext>
                </a:extLst>
              </p:cNvPr>
              <p:cNvSpPr txBox="1"/>
              <p:nvPr/>
            </p:nvSpPr>
            <p:spPr>
              <a:xfrm>
                <a:off x="2113657" y="4560313"/>
                <a:ext cx="2120134" cy="646331"/>
              </a:xfrm>
              <a:prstGeom prst="rect">
                <a:avLst/>
              </a:prstGeom>
              <a:noFill/>
            </p:spPr>
            <p:txBody>
              <a:bodyPr wrap="square" rtlCol="0">
                <a:spAutoFit/>
              </a:bodyPr>
              <a:lstStyle/>
              <a:p>
                <a:pP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71" name="TextBox 70">
                <a:extLst>
                  <a:ext uri="{FF2B5EF4-FFF2-40B4-BE49-F238E27FC236}">
                    <a16:creationId xmlns:a16="http://schemas.microsoft.com/office/drawing/2014/main" id="{1316B071-CB7B-7844-8967-4D5F0EC0FE0D}"/>
                  </a:ext>
                </a:extLst>
              </p:cNvPr>
              <p:cNvSpPr txBox="1"/>
              <p:nvPr/>
            </p:nvSpPr>
            <p:spPr>
              <a:xfrm>
                <a:off x="2113658" y="4283314"/>
                <a:ext cx="2120134" cy="276999"/>
              </a:xfrm>
              <a:prstGeom prst="rect">
                <a:avLst/>
              </a:prstGeom>
              <a:noFill/>
            </p:spPr>
            <p:txBody>
              <a:bodyPr wrap="square" rtlCol="0">
                <a:spAutoFit/>
              </a:bodyPr>
              <a:lstStyle/>
              <a:p>
                <a:pP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grpSp>
          <p:nvGrpSpPr>
            <p:cNvPr id="72" name="Group 71">
              <a:extLst>
                <a:ext uri="{FF2B5EF4-FFF2-40B4-BE49-F238E27FC236}">
                  <a16:creationId xmlns:a16="http://schemas.microsoft.com/office/drawing/2014/main" id="{342739CE-2381-8841-A54D-3B5A599D90ED}"/>
                </a:ext>
              </a:extLst>
            </p:cNvPr>
            <p:cNvGrpSpPr/>
            <p:nvPr/>
          </p:nvGrpSpPr>
          <p:grpSpPr>
            <a:xfrm>
              <a:off x="8214191" y="3115321"/>
              <a:ext cx="2091091" cy="923330"/>
              <a:chOff x="2113657" y="4283314"/>
              <a:chExt cx="2120135" cy="923330"/>
            </a:xfrm>
          </p:grpSpPr>
          <p:sp>
            <p:nvSpPr>
              <p:cNvPr id="73" name="TextBox 72">
                <a:extLst>
                  <a:ext uri="{FF2B5EF4-FFF2-40B4-BE49-F238E27FC236}">
                    <a16:creationId xmlns:a16="http://schemas.microsoft.com/office/drawing/2014/main" id="{AAAD621C-801C-CF4E-A508-8B0029EDC97F}"/>
                  </a:ext>
                </a:extLst>
              </p:cNvPr>
              <p:cNvSpPr txBox="1"/>
              <p:nvPr/>
            </p:nvSpPr>
            <p:spPr>
              <a:xfrm>
                <a:off x="2113657" y="4560313"/>
                <a:ext cx="2120134" cy="646331"/>
              </a:xfrm>
              <a:prstGeom prst="rect">
                <a:avLst/>
              </a:prstGeom>
              <a:noFill/>
            </p:spPr>
            <p:txBody>
              <a:bodyPr wrap="square" rtlCol="0">
                <a:spAutoFit/>
              </a:bodyPr>
              <a:lstStyle/>
              <a:p>
                <a:pP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74" name="TextBox 73">
                <a:extLst>
                  <a:ext uri="{FF2B5EF4-FFF2-40B4-BE49-F238E27FC236}">
                    <a16:creationId xmlns:a16="http://schemas.microsoft.com/office/drawing/2014/main" id="{F2F2FE86-E298-5747-811B-04E329025E8C}"/>
                  </a:ext>
                </a:extLst>
              </p:cNvPr>
              <p:cNvSpPr txBox="1"/>
              <p:nvPr/>
            </p:nvSpPr>
            <p:spPr>
              <a:xfrm>
                <a:off x="2113658" y="4283314"/>
                <a:ext cx="2120134" cy="276999"/>
              </a:xfrm>
              <a:prstGeom prst="rect">
                <a:avLst/>
              </a:prstGeom>
              <a:noFill/>
            </p:spPr>
            <p:txBody>
              <a:bodyPr wrap="square" rtlCol="0">
                <a:spAutoFit/>
              </a:bodyPr>
              <a:lstStyle/>
              <a:p>
                <a:pP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grpSp>
          <p:nvGrpSpPr>
            <p:cNvPr id="75" name="Group 74">
              <a:extLst>
                <a:ext uri="{FF2B5EF4-FFF2-40B4-BE49-F238E27FC236}">
                  <a16:creationId xmlns:a16="http://schemas.microsoft.com/office/drawing/2014/main" id="{C12793B3-4D4C-CD47-9AAC-EAB106AF783A}"/>
                </a:ext>
              </a:extLst>
            </p:cNvPr>
            <p:cNvGrpSpPr/>
            <p:nvPr/>
          </p:nvGrpSpPr>
          <p:grpSpPr>
            <a:xfrm>
              <a:off x="7675371" y="4422123"/>
              <a:ext cx="2091091" cy="923330"/>
              <a:chOff x="2113657" y="4283314"/>
              <a:chExt cx="2120135" cy="923330"/>
            </a:xfrm>
          </p:grpSpPr>
          <p:sp>
            <p:nvSpPr>
              <p:cNvPr id="76" name="TextBox 75">
                <a:extLst>
                  <a:ext uri="{FF2B5EF4-FFF2-40B4-BE49-F238E27FC236}">
                    <a16:creationId xmlns:a16="http://schemas.microsoft.com/office/drawing/2014/main" id="{5B225E6A-FDC0-9F4B-805A-352056ACDB19}"/>
                  </a:ext>
                </a:extLst>
              </p:cNvPr>
              <p:cNvSpPr txBox="1"/>
              <p:nvPr/>
            </p:nvSpPr>
            <p:spPr>
              <a:xfrm>
                <a:off x="2113657" y="4560313"/>
                <a:ext cx="2120134" cy="646331"/>
              </a:xfrm>
              <a:prstGeom prst="rect">
                <a:avLst/>
              </a:prstGeom>
              <a:noFill/>
            </p:spPr>
            <p:txBody>
              <a:bodyPr wrap="square" rtlCol="0">
                <a:spAutoFit/>
              </a:bodyPr>
              <a:lstStyle/>
              <a:p>
                <a:pPr latinLnBrk="1"/>
                <a:r>
                  <a:rPr lang="en-US" altLang="ko-KR" sz="1200">
                    <a:solidFill>
                      <a:prstClr val="black">
                        <a:lumMod val="75000"/>
                        <a:lumOff val="25000"/>
                      </a:prstClr>
                    </a:solidFill>
                    <a:ea typeface="Arial Unicode MS"/>
                    <a:cs typeface="Arial" pitchFamily="34" charset="0"/>
                  </a:rPr>
                  <a:t>You can simply impress your audience and add a unique zing.    </a:t>
                </a:r>
                <a:endParaRPr lang="ko-KR" altLang="en-US" sz="1200">
                  <a:solidFill>
                    <a:prstClr val="black">
                      <a:lumMod val="75000"/>
                      <a:lumOff val="25000"/>
                    </a:prstClr>
                  </a:solidFill>
                  <a:ea typeface="Arial Unicode MS"/>
                  <a:cs typeface="Arial" pitchFamily="34" charset="0"/>
                </a:endParaRPr>
              </a:p>
            </p:txBody>
          </p:sp>
          <p:sp>
            <p:nvSpPr>
              <p:cNvPr id="77" name="TextBox 76">
                <a:extLst>
                  <a:ext uri="{FF2B5EF4-FFF2-40B4-BE49-F238E27FC236}">
                    <a16:creationId xmlns:a16="http://schemas.microsoft.com/office/drawing/2014/main" id="{6A51AB34-7132-7245-9DED-A9E23C3A0A9B}"/>
                  </a:ext>
                </a:extLst>
              </p:cNvPr>
              <p:cNvSpPr txBox="1"/>
              <p:nvPr/>
            </p:nvSpPr>
            <p:spPr>
              <a:xfrm>
                <a:off x="2113658" y="4283314"/>
                <a:ext cx="2120134" cy="276999"/>
              </a:xfrm>
              <a:prstGeom prst="rect">
                <a:avLst/>
              </a:prstGeom>
              <a:noFill/>
            </p:spPr>
            <p:txBody>
              <a:bodyPr wrap="square" rtlCol="0">
                <a:spAutoFit/>
              </a:bodyPr>
              <a:lstStyle/>
              <a:p>
                <a:pPr latinLnBrk="1"/>
                <a:r>
                  <a:rPr lang="en-US" altLang="ko-KR" sz="1200" b="1">
                    <a:solidFill>
                      <a:prstClr val="black">
                        <a:lumMod val="75000"/>
                        <a:lumOff val="25000"/>
                      </a:prstClr>
                    </a:solidFill>
                    <a:ea typeface="Arial Unicode MS"/>
                    <a:cs typeface="Arial" pitchFamily="34" charset="0"/>
                  </a:rPr>
                  <a:t>Your Text  Here</a:t>
                </a:r>
                <a:endParaRPr lang="ko-KR" altLang="en-US" sz="1200" b="1">
                  <a:solidFill>
                    <a:prstClr val="black">
                      <a:lumMod val="75000"/>
                      <a:lumOff val="25000"/>
                    </a:prstClr>
                  </a:solidFill>
                  <a:ea typeface="Arial Unicode MS"/>
                  <a:cs typeface="Arial" pitchFamily="34" charset="0"/>
                </a:endParaRPr>
              </a:p>
            </p:txBody>
          </p:sp>
        </p:grpSp>
        <p:sp>
          <p:nvSpPr>
            <p:cNvPr id="78" name="Rectangle 23">
              <a:extLst>
                <a:ext uri="{FF2B5EF4-FFF2-40B4-BE49-F238E27FC236}">
                  <a16:creationId xmlns:a16="http://schemas.microsoft.com/office/drawing/2014/main" id="{9CD4BEEF-B710-AE41-9D0F-BD7B8DCFCD5B}"/>
                </a:ext>
              </a:extLst>
            </p:cNvPr>
            <p:cNvSpPr/>
            <p:nvPr/>
          </p:nvSpPr>
          <p:spPr>
            <a:xfrm>
              <a:off x="6854449" y="2107405"/>
              <a:ext cx="446317" cy="262535"/>
            </a:xfrm>
            <a:custGeom>
              <a:avLst/>
              <a:gdLst/>
              <a:ahLst/>
              <a:cxnLst/>
              <a:rect l="l" t="t" r="r" b="b"/>
              <a:pathLst>
                <a:path w="4529836" h="2664566">
                  <a:moveTo>
                    <a:pt x="1861969" y="0"/>
                  </a:moveTo>
                  <a:cubicBezTo>
                    <a:pt x="2177122" y="0"/>
                    <a:pt x="2455874" y="155855"/>
                    <a:pt x="2611443" y="404565"/>
                  </a:cubicBezTo>
                  <a:cubicBezTo>
                    <a:pt x="2709453" y="315054"/>
                    <a:pt x="2840684" y="266178"/>
                    <a:pt x="2983336" y="266178"/>
                  </a:cubicBezTo>
                  <a:cubicBezTo>
                    <a:pt x="3293144" y="266178"/>
                    <a:pt x="3549108" y="496718"/>
                    <a:pt x="3578241" y="797044"/>
                  </a:cubicBezTo>
                  <a:cubicBezTo>
                    <a:pt x="3583592" y="793823"/>
                    <a:pt x="3589010" y="793774"/>
                    <a:pt x="3594440" y="793774"/>
                  </a:cubicBezTo>
                  <a:cubicBezTo>
                    <a:pt x="4111042" y="793774"/>
                    <a:pt x="4529836" y="1212568"/>
                    <a:pt x="4529836" y="1729170"/>
                  </a:cubicBezTo>
                  <a:cubicBezTo>
                    <a:pt x="4529836" y="2216938"/>
                    <a:pt x="4156487" y="2617512"/>
                    <a:pt x="3679930" y="2660249"/>
                  </a:cubicBezTo>
                  <a:lnTo>
                    <a:pt x="3679930" y="2664566"/>
                  </a:lnTo>
                  <a:lnTo>
                    <a:pt x="3594440" y="2664566"/>
                  </a:lnTo>
                  <a:lnTo>
                    <a:pt x="1043912" y="2664566"/>
                  </a:lnTo>
                  <a:lnTo>
                    <a:pt x="1043912" y="2657589"/>
                  </a:lnTo>
                  <a:cubicBezTo>
                    <a:pt x="1008374" y="2662448"/>
                    <a:pt x="972132" y="2664566"/>
                    <a:pt x="935396" y="2664566"/>
                  </a:cubicBezTo>
                  <a:cubicBezTo>
                    <a:pt x="418794" y="2664566"/>
                    <a:pt x="0" y="2245772"/>
                    <a:pt x="0" y="1729170"/>
                  </a:cubicBezTo>
                  <a:cubicBezTo>
                    <a:pt x="0" y="1212568"/>
                    <a:pt x="418794" y="793774"/>
                    <a:pt x="935396" y="793774"/>
                  </a:cubicBezTo>
                  <a:lnTo>
                    <a:pt x="954395" y="797612"/>
                  </a:lnTo>
                  <a:cubicBezTo>
                    <a:pt x="1004779" y="344999"/>
                    <a:pt x="1393085" y="0"/>
                    <a:pt x="1861969" y="0"/>
                  </a:cubicBezTo>
                  <a:close/>
                </a:path>
              </a:pathLst>
            </a:custGeom>
            <a:solidFill>
              <a:sysClr val="window" lastClr="FFFFFF"/>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spTree>
    <p:extLst>
      <p:ext uri="{BB962C8B-B14F-4D97-AF65-F5344CB8AC3E}">
        <p14:creationId xmlns:p14="http://schemas.microsoft.com/office/powerpoint/2010/main" val="22342138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dirty="0"/>
              <a:t>Lorem ipsum </a:t>
            </a:r>
            <a:r>
              <a:rPr lang="en-GB" dirty="0" err="1"/>
              <a:t>dolor</a:t>
            </a:r>
            <a:r>
              <a:rPr lang="en-GB" dirty="0"/>
              <a:t> sit </a:t>
            </a:r>
            <a:r>
              <a:rPr lang="en-GB" dirty="0" err="1"/>
              <a:t>amet</a:t>
            </a:r>
            <a:r>
              <a:rPr lang="en-GB" dirty="0"/>
              <a:t>, </a:t>
            </a:r>
            <a:r>
              <a:rPr lang="en-GB" dirty="0" err="1"/>
              <a:t>consetetur</a:t>
            </a:r>
            <a:r>
              <a:rPr lang="en-GB" dirty="0"/>
              <a:t> </a:t>
            </a:r>
            <a:r>
              <a:rPr lang="en-GB" dirty="0" err="1"/>
              <a:t>sadipscing</a:t>
            </a:r>
            <a:r>
              <a:rPr lang="en-GB" dirty="0"/>
              <a:t> </a:t>
            </a:r>
            <a:r>
              <a:rPr lang="en-GB" dirty="0" err="1"/>
              <a:t>elitr</a:t>
            </a:r>
            <a:r>
              <a:rPr lang="en-GB" dirty="0"/>
              <a:t>, </a:t>
            </a:r>
            <a:r>
              <a:rPr lang="en-GB" dirty="0" err="1"/>
              <a:t>sed</a:t>
            </a:r>
            <a:r>
              <a:rPr lang="en-GB" dirty="0"/>
              <a:t> </a:t>
            </a:r>
            <a:r>
              <a:rPr lang="en-GB" dirty="0" err="1"/>
              <a:t>diam</a:t>
            </a:r>
            <a:r>
              <a:rPr lang="en-GB" dirty="0"/>
              <a:t> </a:t>
            </a:r>
            <a:r>
              <a:rPr lang="en-GB" dirty="0" err="1"/>
              <a:t>nonumy</a:t>
            </a:r>
            <a:r>
              <a:rPr lang="en-GB" dirty="0"/>
              <a:t> </a:t>
            </a:r>
            <a:r>
              <a:rPr lang="en-GB" dirty="0" err="1"/>
              <a:t>eirmod</a:t>
            </a:r>
            <a:r>
              <a:rPr lang="en-GB" dirty="0"/>
              <a:t> </a:t>
            </a:r>
            <a:r>
              <a:rPr lang="en-GB" dirty="0" err="1"/>
              <a:t>tempor</a:t>
            </a:r>
            <a:r>
              <a:rPr lang="en-GB" dirty="0"/>
              <a:t> </a:t>
            </a:r>
            <a:r>
              <a:rPr lang="en-GB" dirty="0" err="1"/>
              <a:t>invidunt</a:t>
            </a:r>
            <a:r>
              <a:rPr lang="en-GB" dirty="0"/>
              <a:t> </a:t>
            </a:r>
            <a:r>
              <a:rPr lang="en-GB" dirty="0" err="1"/>
              <a:t>ut</a:t>
            </a:r>
            <a:r>
              <a:rPr lang="en-GB" dirty="0"/>
              <a:t> </a:t>
            </a:r>
            <a:r>
              <a:rPr lang="en-GB" dirty="0" err="1"/>
              <a:t>labore</a:t>
            </a:r>
            <a:r>
              <a:rPr lang="en-GB" dirty="0"/>
              <a:t>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dirty="0"/>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3184943" y="1986669"/>
            <a:ext cx="4956739" cy="170508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even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p:txBody>
      </p:sp>
      <p:sp>
        <p:nvSpPr>
          <p:cNvPr id="79" name="Rectangle 78">
            <a:extLst>
              <a:ext uri="{FF2B5EF4-FFF2-40B4-BE49-F238E27FC236}">
                <a16:creationId xmlns:a16="http://schemas.microsoft.com/office/drawing/2014/main" id="{0B167CCD-B821-4A23-9FA7-556FD079928B}"/>
              </a:ext>
            </a:extLst>
          </p:cNvPr>
          <p:cNvSpPr/>
          <p:nvPr/>
        </p:nvSpPr>
        <p:spPr>
          <a:xfrm>
            <a:off x="891273" y="198666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3897029"/>
            <a:ext cx="7776000"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891273" y="4175547"/>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4102307"/>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3184943" y="4175547"/>
            <a:ext cx="4956739" cy="170508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even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kern="0">
                <a:solidFill>
                  <a:srgbClr val="000000"/>
                </a:solidFill>
                <a:latin typeface="Arial" panose="020B0604020202020204" pitchFamily="34" charset="0"/>
                <a:cs typeface="Arial" panose="020B0604020202020204" pitchFamily="34" charset="0"/>
              </a:rPr>
              <a:t>…</a:t>
            </a:r>
          </a:p>
        </p:txBody>
      </p:sp>
      <p:sp>
        <p:nvSpPr>
          <p:cNvPr id="11" name="Rectangle 10">
            <a:extLst>
              <a:ext uri="{FF2B5EF4-FFF2-40B4-BE49-F238E27FC236}">
                <a16:creationId xmlns:a16="http://schemas.microsoft.com/office/drawing/2014/main" id="{9FD7097F-5451-492F-AD01-AF13FE2B5CCA}"/>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Optional space for an image]</a:t>
            </a:r>
          </a:p>
        </p:txBody>
      </p:sp>
      <p:sp>
        <p:nvSpPr>
          <p:cNvPr id="17" name="Content Placeholder 14">
            <a:extLst>
              <a:ext uri="{FF2B5EF4-FFF2-40B4-BE49-F238E27FC236}">
                <a16:creationId xmlns:a16="http://schemas.microsoft.com/office/drawing/2014/main" id="{80E9F4B8-0F36-43A4-B764-908CF463BBD1}"/>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246214071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A01D7B-C0DB-0941-A949-9AC314A71E7F}"/>
              </a:ext>
            </a:extLst>
          </p:cNvPr>
          <p:cNvSpPr>
            <a:spLocks noGrp="1"/>
          </p:cNvSpPr>
          <p:nvPr>
            <p:ph type="sldNum" sz="quarter" idx="4"/>
          </p:nvPr>
        </p:nvSpPr>
        <p:spPr/>
        <p:txBody>
          <a:bodyPr/>
          <a:lstStyle/>
          <a:p>
            <a:fld id="{3D966009-6E5A-4F8C-8CA7-E37AFBF5FB92}" type="slidenum">
              <a:rPr lang="en-US" smtClean="0"/>
              <a:t>140</a:t>
            </a:fld>
            <a:endParaRPr lang="en-US"/>
          </a:p>
        </p:txBody>
      </p:sp>
      <p:sp>
        <p:nvSpPr>
          <p:cNvPr id="3" name="Title 2">
            <a:extLst>
              <a:ext uri="{FF2B5EF4-FFF2-40B4-BE49-F238E27FC236}">
                <a16:creationId xmlns:a16="http://schemas.microsoft.com/office/drawing/2014/main" id="{385DB1D7-43F6-9140-93C5-662E0C579D38}"/>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A1E05AA6-BA8A-BD4F-96F4-5E9C999A4AC6}"/>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4CDF63E-EC80-4941-8329-19F0E1F7C247}"/>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D414C588-6622-514A-9556-400ED7E05AA7}"/>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B5801CA9-A90A-554A-8F7F-1B58D2815D65}"/>
              </a:ext>
            </a:extLst>
          </p:cNvPr>
          <p:cNvSpPr>
            <a:spLocks noGrp="1"/>
          </p:cNvSpPr>
          <p:nvPr>
            <p:ph sz="quarter" idx="14"/>
          </p:nvPr>
        </p:nvSpPr>
        <p:spPr/>
        <p:txBody>
          <a:bodyPr/>
          <a:lstStyle/>
          <a:p>
            <a:endParaRPr lang="en-GB"/>
          </a:p>
        </p:txBody>
      </p:sp>
      <p:grpSp>
        <p:nvGrpSpPr>
          <p:cNvPr id="51" name="Group 50">
            <a:extLst>
              <a:ext uri="{FF2B5EF4-FFF2-40B4-BE49-F238E27FC236}">
                <a16:creationId xmlns:a16="http://schemas.microsoft.com/office/drawing/2014/main" id="{3DF67C7F-E232-0D4D-9D4D-39534E0DC2BF}"/>
              </a:ext>
            </a:extLst>
          </p:cNvPr>
          <p:cNvGrpSpPr/>
          <p:nvPr/>
        </p:nvGrpSpPr>
        <p:grpSpPr>
          <a:xfrm>
            <a:off x="800101" y="1865096"/>
            <a:ext cx="10392507" cy="4151807"/>
            <a:chOff x="800101" y="1865096"/>
            <a:chExt cx="10392507" cy="4151807"/>
          </a:xfrm>
        </p:grpSpPr>
        <p:grpSp>
          <p:nvGrpSpPr>
            <p:cNvPr id="9" name="Group 8">
              <a:extLst>
                <a:ext uri="{FF2B5EF4-FFF2-40B4-BE49-F238E27FC236}">
                  <a16:creationId xmlns:a16="http://schemas.microsoft.com/office/drawing/2014/main" id="{D6D19B77-3351-EE40-B4BD-D14054FDC5B7}"/>
                </a:ext>
              </a:extLst>
            </p:cNvPr>
            <p:cNvGrpSpPr/>
            <p:nvPr/>
          </p:nvGrpSpPr>
          <p:grpSpPr>
            <a:xfrm>
              <a:off x="7945073" y="1876403"/>
              <a:ext cx="2667246" cy="899034"/>
              <a:chOff x="6640877" y="1844824"/>
              <a:chExt cx="1891564" cy="899034"/>
            </a:xfrm>
          </p:grpSpPr>
          <p:sp>
            <p:nvSpPr>
              <p:cNvPr id="10" name="TextBox 9">
                <a:extLst>
                  <a:ext uri="{FF2B5EF4-FFF2-40B4-BE49-F238E27FC236}">
                    <a16:creationId xmlns:a16="http://schemas.microsoft.com/office/drawing/2014/main" id="{8FF84348-4739-BC4A-B042-B50F6363FC66}"/>
                  </a:ext>
                </a:extLst>
              </p:cNvPr>
              <p:cNvSpPr txBox="1"/>
              <p:nvPr/>
            </p:nvSpPr>
            <p:spPr>
              <a:xfrm>
                <a:off x="6640877" y="2097527"/>
                <a:ext cx="18915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11" name="TextBox 10">
                <a:extLst>
                  <a:ext uri="{FF2B5EF4-FFF2-40B4-BE49-F238E27FC236}">
                    <a16:creationId xmlns:a16="http://schemas.microsoft.com/office/drawing/2014/main" id="{9172D99F-04D0-E041-B1DD-4FFCA59ED37D}"/>
                  </a:ext>
                </a:extLst>
              </p:cNvPr>
              <p:cNvSpPr txBox="1"/>
              <p:nvPr/>
            </p:nvSpPr>
            <p:spPr>
              <a:xfrm>
                <a:off x="6640877" y="1844824"/>
                <a:ext cx="1891564" cy="307777"/>
              </a:xfrm>
              <a:prstGeom prst="rect">
                <a:avLst/>
              </a:prstGeom>
              <a:noFill/>
              <a:ln w="3175">
                <a:noFill/>
              </a:ln>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12" name="Group 9">
              <a:extLst>
                <a:ext uri="{FF2B5EF4-FFF2-40B4-BE49-F238E27FC236}">
                  <a16:creationId xmlns:a16="http://schemas.microsoft.com/office/drawing/2014/main" id="{1A638A0C-36E6-9942-AEC8-3938826841C5}"/>
                </a:ext>
              </a:extLst>
            </p:cNvPr>
            <p:cNvGrpSpPr/>
            <p:nvPr/>
          </p:nvGrpSpPr>
          <p:grpSpPr>
            <a:xfrm>
              <a:off x="8771763" y="3494272"/>
              <a:ext cx="2420845" cy="899035"/>
              <a:chOff x="7274140" y="3362389"/>
              <a:chExt cx="1690348" cy="899035"/>
            </a:xfrm>
          </p:grpSpPr>
          <p:sp>
            <p:nvSpPr>
              <p:cNvPr id="13" name="TextBox 12">
                <a:extLst>
                  <a:ext uri="{FF2B5EF4-FFF2-40B4-BE49-F238E27FC236}">
                    <a16:creationId xmlns:a16="http://schemas.microsoft.com/office/drawing/2014/main" id="{6D317507-381F-EB47-B458-9D181B5C49AA}"/>
                  </a:ext>
                </a:extLst>
              </p:cNvPr>
              <p:cNvSpPr txBox="1"/>
              <p:nvPr/>
            </p:nvSpPr>
            <p:spPr>
              <a:xfrm>
                <a:off x="7274140" y="3615093"/>
                <a:ext cx="169034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14" name="TextBox 13">
                <a:extLst>
                  <a:ext uri="{FF2B5EF4-FFF2-40B4-BE49-F238E27FC236}">
                    <a16:creationId xmlns:a16="http://schemas.microsoft.com/office/drawing/2014/main" id="{8B4DDABE-15CC-2D48-9D16-F2F1485CF8B8}"/>
                  </a:ext>
                </a:extLst>
              </p:cNvPr>
              <p:cNvSpPr txBox="1"/>
              <p:nvPr/>
            </p:nvSpPr>
            <p:spPr>
              <a:xfrm>
                <a:off x="7274140" y="3362389"/>
                <a:ext cx="1690348" cy="307777"/>
              </a:xfrm>
              <a:prstGeom prst="rect">
                <a:avLst/>
              </a:prstGeom>
              <a:noFill/>
              <a:ln w="3175">
                <a:noFill/>
              </a:ln>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15" name="Group 10">
              <a:extLst>
                <a:ext uri="{FF2B5EF4-FFF2-40B4-BE49-F238E27FC236}">
                  <a16:creationId xmlns:a16="http://schemas.microsoft.com/office/drawing/2014/main" id="{24BF58DA-5027-C64E-9B22-BC0CF0E998B7}"/>
                </a:ext>
              </a:extLst>
            </p:cNvPr>
            <p:cNvGrpSpPr/>
            <p:nvPr/>
          </p:nvGrpSpPr>
          <p:grpSpPr>
            <a:xfrm>
              <a:off x="7945073" y="5106560"/>
              <a:ext cx="2667246" cy="899036"/>
              <a:chOff x="6640876" y="5231578"/>
              <a:chExt cx="1891564" cy="899036"/>
            </a:xfrm>
          </p:grpSpPr>
          <p:sp>
            <p:nvSpPr>
              <p:cNvPr id="16" name="TextBox 15">
                <a:extLst>
                  <a:ext uri="{FF2B5EF4-FFF2-40B4-BE49-F238E27FC236}">
                    <a16:creationId xmlns:a16="http://schemas.microsoft.com/office/drawing/2014/main" id="{F6C548A2-317B-6A4C-84D3-08CE46A8F1BA}"/>
                  </a:ext>
                </a:extLst>
              </p:cNvPr>
              <p:cNvSpPr txBox="1"/>
              <p:nvPr/>
            </p:nvSpPr>
            <p:spPr>
              <a:xfrm>
                <a:off x="6640876" y="5484283"/>
                <a:ext cx="1891564"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17" name="TextBox 16">
                <a:extLst>
                  <a:ext uri="{FF2B5EF4-FFF2-40B4-BE49-F238E27FC236}">
                    <a16:creationId xmlns:a16="http://schemas.microsoft.com/office/drawing/2014/main" id="{F9797DF3-8EF6-3345-A614-7C1BFACC9F15}"/>
                  </a:ext>
                </a:extLst>
              </p:cNvPr>
              <p:cNvSpPr txBox="1"/>
              <p:nvPr/>
            </p:nvSpPr>
            <p:spPr>
              <a:xfrm>
                <a:off x="6640876" y="5231578"/>
                <a:ext cx="1891564" cy="307777"/>
              </a:xfrm>
              <a:prstGeom prst="rect">
                <a:avLst/>
              </a:prstGeom>
              <a:noFill/>
              <a:ln w="3175">
                <a:noFill/>
              </a:ln>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18" name="Group 2">
              <a:extLst>
                <a:ext uri="{FF2B5EF4-FFF2-40B4-BE49-F238E27FC236}">
                  <a16:creationId xmlns:a16="http://schemas.microsoft.com/office/drawing/2014/main" id="{0F1D0F5B-9279-2741-B2E2-82E372ACA20F}"/>
                </a:ext>
              </a:extLst>
            </p:cNvPr>
            <p:cNvGrpSpPr/>
            <p:nvPr/>
          </p:nvGrpSpPr>
          <p:grpSpPr>
            <a:xfrm>
              <a:off x="1652015" y="1876403"/>
              <a:ext cx="2523848" cy="899034"/>
              <a:chOff x="1043608" y="1848404"/>
              <a:chExt cx="1609193" cy="899034"/>
            </a:xfrm>
          </p:grpSpPr>
          <p:sp>
            <p:nvSpPr>
              <p:cNvPr id="19" name="TextBox 18">
                <a:extLst>
                  <a:ext uri="{FF2B5EF4-FFF2-40B4-BE49-F238E27FC236}">
                    <a16:creationId xmlns:a16="http://schemas.microsoft.com/office/drawing/2014/main" id="{C3A878A9-D469-5C44-B01E-D0CD3E82E317}"/>
                  </a:ext>
                </a:extLst>
              </p:cNvPr>
              <p:cNvSpPr txBox="1"/>
              <p:nvPr/>
            </p:nvSpPr>
            <p:spPr>
              <a:xfrm>
                <a:off x="1043608" y="2101107"/>
                <a:ext cx="1609193"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0" name="TextBox 19">
                <a:extLst>
                  <a:ext uri="{FF2B5EF4-FFF2-40B4-BE49-F238E27FC236}">
                    <a16:creationId xmlns:a16="http://schemas.microsoft.com/office/drawing/2014/main" id="{B03DAC0F-7421-CC42-B6D2-BC56FB552F1F}"/>
                  </a:ext>
                </a:extLst>
              </p:cNvPr>
              <p:cNvSpPr txBox="1"/>
              <p:nvPr/>
            </p:nvSpPr>
            <p:spPr>
              <a:xfrm>
                <a:off x="1043608" y="1848404"/>
                <a:ext cx="1609193" cy="307777"/>
              </a:xfrm>
              <a:prstGeom prst="rect">
                <a:avLst/>
              </a:prstGeom>
              <a:noFill/>
              <a:ln w="3175">
                <a:noFill/>
              </a:ln>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21" name="Group 5">
              <a:extLst>
                <a:ext uri="{FF2B5EF4-FFF2-40B4-BE49-F238E27FC236}">
                  <a16:creationId xmlns:a16="http://schemas.microsoft.com/office/drawing/2014/main" id="{578533FD-4B4D-9E4A-9DB3-8EA3B9057141}"/>
                </a:ext>
              </a:extLst>
            </p:cNvPr>
            <p:cNvGrpSpPr/>
            <p:nvPr/>
          </p:nvGrpSpPr>
          <p:grpSpPr>
            <a:xfrm>
              <a:off x="800101" y="3494272"/>
              <a:ext cx="2461213" cy="899035"/>
              <a:chOff x="388747" y="3288564"/>
              <a:chExt cx="1374941" cy="899035"/>
            </a:xfrm>
          </p:grpSpPr>
          <p:sp>
            <p:nvSpPr>
              <p:cNvPr id="22" name="TextBox 21">
                <a:extLst>
                  <a:ext uri="{FF2B5EF4-FFF2-40B4-BE49-F238E27FC236}">
                    <a16:creationId xmlns:a16="http://schemas.microsoft.com/office/drawing/2014/main" id="{2547F3A1-00C0-A643-88E7-FFCA7080144B}"/>
                  </a:ext>
                </a:extLst>
              </p:cNvPr>
              <p:cNvSpPr txBox="1"/>
              <p:nvPr/>
            </p:nvSpPr>
            <p:spPr>
              <a:xfrm>
                <a:off x="388747" y="3541268"/>
                <a:ext cx="137494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3" name="TextBox 22">
                <a:extLst>
                  <a:ext uri="{FF2B5EF4-FFF2-40B4-BE49-F238E27FC236}">
                    <a16:creationId xmlns:a16="http://schemas.microsoft.com/office/drawing/2014/main" id="{0378612F-9817-A04E-8E2A-D3BC0BE9712E}"/>
                  </a:ext>
                </a:extLst>
              </p:cNvPr>
              <p:cNvSpPr txBox="1"/>
              <p:nvPr/>
            </p:nvSpPr>
            <p:spPr>
              <a:xfrm>
                <a:off x="388747" y="3288564"/>
                <a:ext cx="1374941" cy="307777"/>
              </a:xfrm>
              <a:prstGeom prst="rect">
                <a:avLst/>
              </a:prstGeom>
              <a:noFill/>
              <a:ln w="3175">
                <a:noFill/>
              </a:ln>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24" name="Group 6">
              <a:extLst>
                <a:ext uri="{FF2B5EF4-FFF2-40B4-BE49-F238E27FC236}">
                  <a16:creationId xmlns:a16="http://schemas.microsoft.com/office/drawing/2014/main" id="{5D09CD0E-59F7-454A-9A9B-29C73B23F81C}"/>
                </a:ext>
              </a:extLst>
            </p:cNvPr>
            <p:cNvGrpSpPr/>
            <p:nvPr/>
          </p:nvGrpSpPr>
          <p:grpSpPr>
            <a:xfrm>
              <a:off x="1635519" y="5106560"/>
              <a:ext cx="2523848" cy="899036"/>
              <a:chOff x="971600" y="5301206"/>
              <a:chExt cx="1609193" cy="899036"/>
            </a:xfrm>
          </p:grpSpPr>
          <p:sp>
            <p:nvSpPr>
              <p:cNvPr id="25" name="TextBox 24">
                <a:extLst>
                  <a:ext uri="{FF2B5EF4-FFF2-40B4-BE49-F238E27FC236}">
                    <a16:creationId xmlns:a16="http://schemas.microsoft.com/office/drawing/2014/main" id="{BC9C7B1E-DEA3-BF45-AE29-4550B626E7F7}"/>
                  </a:ext>
                </a:extLst>
              </p:cNvPr>
              <p:cNvSpPr txBox="1"/>
              <p:nvPr/>
            </p:nvSpPr>
            <p:spPr>
              <a:xfrm>
                <a:off x="971600" y="5553911"/>
                <a:ext cx="1609193"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6" name="TextBox 25">
                <a:extLst>
                  <a:ext uri="{FF2B5EF4-FFF2-40B4-BE49-F238E27FC236}">
                    <a16:creationId xmlns:a16="http://schemas.microsoft.com/office/drawing/2014/main" id="{1F26C5B4-9B4A-AA4C-926F-BDA99943DE5B}"/>
                  </a:ext>
                </a:extLst>
              </p:cNvPr>
              <p:cNvSpPr txBox="1"/>
              <p:nvPr/>
            </p:nvSpPr>
            <p:spPr>
              <a:xfrm>
                <a:off x="971600" y="5301206"/>
                <a:ext cx="1609193" cy="307777"/>
              </a:xfrm>
              <a:prstGeom prst="rect">
                <a:avLst/>
              </a:prstGeom>
              <a:noFill/>
              <a:ln w="3175">
                <a:noFill/>
              </a:ln>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27" name="Group 51">
              <a:extLst>
                <a:ext uri="{FF2B5EF4-FFF2-40B4-BE49-F238E27FC236}">
                  <a16:creationId xmlns:a16="http://schemas.microsoft.com/office/drawing/2014/main" id="{949D4CCC-0029-9C44-A9B4-865554055E15}"/>
                </a:ext>
              </a:extLst>
            </p:cNvPr>
            <p:cNvGrpSpPr/>
            <p:nvPr/>
          </p:nvGrpSpPr>
          <p:grpSpPr>
            <a:xfrm>
              <a:off x="3449495" y="1865096"/>
              <a:ext cx="5222675" cy="4151807"/>
              <a:chOff x="2483768" y="1378094"/>
              <a:chExt cx="4104457" cy="3243788"/>
            </a:xfrm>
          </p:grpSpPr>
          <p:cxnSp>
            <p:nvCxnSpPr>
              <p:cNvPr id="28" name="Straight Connector 7">
                <a:extLst>
                  <a:ext uri="{FF2B5EF4-FFF2-40B4-BE49-F238E27FC236}">
                    <a16:creationId xmlns:a16="http://schemas.microsoft.com/office/drawing/2014/main" id="{A67F7A9F-084E-0346-B3E4-6C3E66895F01}"/>
                  </a:ext>
                </a:extLst>
              </p:cNvPr>
              <p:cNvCxnSpPr/>
              <p:nvPr/>
            </p:nvCxnSpPr>
            <p:spPr>
              <a:xfrm flipV="1">
                <a:off x="4572000" y="2139702"/>
                <a:ext cx="648072" cy="858572"/>
              </a:xfrm>
              <a:prstGeom prst="line">
                <a:avLst/>
              </a:prstGeom>
              <a:ln w="19050">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31">
                <a:extLst>
                  <a:ext uri="{FF2B5EF4-FFF2-40B4-BE49-F238E27FC236}">
                    <a16:creationId xmlns:a16="http://schemas.microsoft.com/office/drawing/2014/main" id="{82DA2378-6B46-2B45-9A97-87E1386882B8}"/>
                  </a:ext>
                </a:extLst>
              </p:cNvPr>
              <p:cNvCxnSpPr/>
              <p:nvPr/>
            </p:nvCxnSpPr>
            <p:spPr>
              <a:xfrm flipV="1">
                <a:off x="4572000" y="2998274"/>
                <a:ext cx="1152128" cy="5276"/>
              </a:xfrm>
              <a:prstGeom prst="line">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Connector 34">
                <a:extLst>
                  <a:ext uri="{FF2B5EF4-FFF2-40B4-BE49-F238E27FC236}">
                    <a16:creationId xmlns:a16="http://schemas.microsoft.com/office/drawing/2014/main" id="{2CE47239-282D-2D4B-9FB7-B0CCE4DE574B}"/>
                  </a:ext>
                </a:extLst>
              </p:cNvPr>
              <p:cNvCxnSpPr/>
              <p:nvPr/>
            </p:nvCxnSpPr>
            <p:spPr>
              <a:xfrm>
                <a:off x="4572000" y="3001702"/>
                <a:ext cx="648072" cy="900100"/>
              </a:xfrm>
              <a:prstGeom prst="line">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Connector 37">
                <a:extLst>
                  <a:ext uri="{FF2B5EF4-FFF2-40B4-BE49-F238E27FC236}">
                    <a16:creationId xmlns:a16="http://schemas.microsoft.com/office/drawing/2014/main" id="{9986BCAD-4F39-1B46-9D70-D8A6BE91891E}"/>
                  </a:ext>
                </a:extLst>
              </p:cNvPr>
              <p:cNvCxnSpPr/>
              <p:nvPr/>
            </p:nvCxnSpPr>
            <p:spPr>
              <a:xfrm flipH="1" flipV="1">
                <a:off x="3893820" y="2139702"/>
                <a:ext cx="678180" cy="863848"/>
              </a:xfrm>
              <a:prstGeom prst="line">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Connector 48">
                <a:extLst>
                  <a:ext uri="{FF2B5EF4-FFF2-40B4-BE49-F238E27FC236}">
                    <a16:creationId xmlns:a16="http://schemas.microsoft.com/office/drawing/2014/main" id="{14766795-CCDC-894A-810A-7EDA957D0853}"/>
                  </a:ext>
                </a:extLst>
              </p:cNvPr>
              <p:cNvCxnSpPr/>
              <p:nvPr/>
            </p:nvCxnSpPr>
            <p:spPr>
              <a:xfrm flipH="1">
                <a:off x="3419872" y="3001702"/>
                <a:ext cx="1152128" cy="0"/>
              </a:xfrm>
              <a:prstGeom prst="line">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49">
                <a:extLst>
                  <a:ext uri="{FF2B5EF4-FFF2-40B4-BE49-F238E27FC236}">
                    <a16:creationId xmlns:a16="http://schemas.microsoft.com/office/drawing/2014/main" id="{08069A32-1574-8541-B8A0-CAB4857DC16C}"/>
                  </a:ext>
                </a:extLst>
              </p:cNvPr>
              <p:cNvCxnSpPr/>
              <p:nvPr/>
            </p:nvCxnSpPr>
            <p:spPr>
              <a:xfrm flipH="1">
                <a:off x="3893820" y="3003550"/>
                <a:ext cx="678180" cy="859790"/>
              </a:xfrm>
              <a:prstGeom prst="line">
                <a:avLst/>
              </a:prstGeom>
              <a:ln w="1905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34" name="Oval 16">
                <a:extLst>
                  <a:ext uri="{FF2B5EF4-FFF2-40B4-BE49-F238E27FC236}">
                    <a16:creationId xmlns:a16="http://schemas.microsoft.com/office/drawing/2014/main" id="{29D5B7FB-592F-DB44-87EB-6393D80E269C}"/>
                  </a:ext>
                </a:extLst>
              </p:cNvPr>
              <p:cNvSpPr/>
              <p:nvPr/>
            </p:nvSpPr>
            <p:spPr>
              <a:xfrm>
                <a:off x="3840480" y="2266754"/>
                <a:ext cx="1463040" cy="146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nvGrpSpPr>
              <p:cNvPr id="35" name="Group 4">
                <a:extLst>
                  <a:ext uri="{FF2B5EF4-FFF2-40B4-BE49-F238E27FC236}">
                    <a16:creationId xmlns:a16="http://schemas.microsoft.com/office/drawing/2014/main" id="{92A0909D-FEAB-5840-A603-30B1DE6086E9}"/>
                  </a:ext>
                </a:extLst>
              </p:cNvPr>
              <p:cNvGrpSpPr/>
              <p:nvPr/>
            </p:nvGrpSpPr>
            <p:grpSpPr>
              <a:xfrm>
                <a:off x="5148065" y="1378094"/>
                <a:ext cx="1440160" cy="3240360"/>
                <a:chOff x="5292077" y="1378094"/>
                <a:chExt cx="1440156" cy="3240358"/>
              </a:xfrm>
            </p:grpSpPr>
            <p:sp>
              <p:nvSpPr>
                <p:cNvPr id="40" name="Oval 17">
                  <a:extLst>
                    <a:ext uri="{FF2B5EF4-FFF2-40B4-BE49-F238E27FC236}">
                      <a16:creationId xmlns:a16="http://schemas.microsoft.com/office/drawing/2014/main" id="{7C480957-1CFC-A940-AC29-1B045B36794C}"/>
                    </a:ext>
                  </a:extLst>
                </p:cNvPr>
                <p:cNvSpPr/>
                <p:nvPr/>
              </p:nvSpPr>
              <p:spPr>
                <a:xfrm>
                  <a:off x="6012153" y="2638233"/>
                  <a:ext cx="720080" cy="720080"/>
                </a:xfrm>
                <a:prstGeom prst="ellipse">
                  <a:avLst/>
                </a:prstGeom>
                <a:no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41" name="Oval 18">
                  <a:extLst>
                    <a:ext uri="{FF2B5EF4-FFF2-40B4-BE49-F238E27FC236}">
                      <a16:creationId xmlns:a16="http://schemas.microsoft.com/office/drawing/2014/main" id="{B70CA1F5-4B29-C446-B0D0-36510FE50658}"/>
                    </a:ext>
                  </a:extLst>
                </p:cNvPr>
                <p:cNvSpPr/>
                <p:nvPr/>
              </p:nvSpPr>
              <p:spPr>
                <a:xfrm>
                  <a:off x="5292077" y="3898372"/>
                  <a:ext cx="720080" cy="720080"/>
                </a:xfrm>
                <a:prstGeom prst="ellipse">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42" name="Oval 19">
                  <a:extLst>
                    <a:ext uri="{FF2B5EF4-FFF2-40B4-BE49-F238E27FC236}">
                      <a16:creationId xmlns:a16="http://schemas.microsoft.com/office/drawing/2014/main" id="{BC5BE0B0-ADB4-694B-BDCA-0D66566827B3}"/>
                    </a:ext>
                  </a:extLst>
                </p:cNvPr>
                <p:cNvSpPr/>
                <p:nvPr/>
              </p:nvSpPr>
              <p:spPr>
                <a:xfrm>
                  <a:off x="5292080" y="1378094"/>
                  <a:ext cx="720080" cy="720080"/>
                </a:xfrm>
                <a:prstGeom prst="ellipse">
                  <a:avLst/>
                </a:pr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36" name="Group 3">
                <a:extLst>
                  <a:ext uri="{FF2B5EF4-FFF2-40B4-BE49-F238E27FC236}">
                    <a16:creationId xmlns:a16="http://schemas.microsoft.com/office/drawing/2014/main" id="{662A4906-CB34-6A4C-BE13-254092F7862C}"/>
                  </a:ext>
                </a:extLst>
              </p:cNvPr>
              <p:cNvGrpSpPr/>
              <p:nvPr/>
            </p:nvGrpSpPr>
            <p:grpSpPr>
              <a:xfrm flipH="1">
                <a:off x="2483768" y="1381522"/>
                <a:ext cx="1440160" cy="3240360"/>
                <a:chOff x="5444477" y="1381522"/>
                <a:chExt cx="1440155" cy="3240358"/>
              </a:xfrm>
            </p:grpSpPr>
            <p:sp>
              <p:nvSpPr>
                <p:cNvPr id="37" name="Oval 20">
                  <a:extLst>
                    <a:ext uri="{FF2B5EF4-FFF2-40B4-BE49-F238E27FC236}">
                      <a16:creationId xmlns:a16="http://schemas.microsoft.com/office/drawing/2014/main" id="{C9922E5B-FE22-6247-B498-FFC9DBB982F1}"/>
                    </a:ext>
                  </a:extLst>
                </p:cNvPr>
                <p:cNvSpPr/>
                <p:nvPr/>
              </p:nvSpPr>
              <p:spPr>
                <a:xfrm>
                  <a:off x="6164552" y="2641661"/>
                  <a:ext cx="720080" cy="720080"/>
                </a:xfrm>
                <a:prstGeom prst="ellipse">
                  <a:avLst/>
                </a:prstGeom>
                <a:no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38" name="Oval 21">
                  <a:extLst>
                    <a:ext uri="{FF2B5EF4-FFF2-40B4-BE49-F238E27FC236}">
                      <a16:creationId xmlns:a16="http://schemas.microsoft.com/office/drawing/2014/main" id="{61FE3F61-0F3D-9E4E-903E-D9C5E4023FD3}"/>
                    </a:ext>
                  </a:extLst>
                </p:cNvPr>
                <p:cNvSpPr/>
                <p:nvPr/>
              </p:nvSpPr>
              <p:spPr>
                <a:xfrm>
                  <a:off x="5444477" y="3901800"/>
                  <a:ext cx="720080" cy="720080"/>
                </a:xfrm>
                <a:prstGeom prst="ellipse">
                  <a:avLst/>
                </a:pr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39" name="Oval 22">
                  <a:extLst>
                    <a:ext uri="{FF2B5EF4-FFF2-40B4-BE49-F238E27FC236}">
                      <a16:creationId xmlns:a16="http://schemas.microsoft.com/office/drawing/2014/main" id="{551E5168-1626-8B4F-A25C-F818C6C99476}"/>
                    </a:ext>
                  </a:extLst>
                </p:cNvPr>
                <p:cNvSpPr/>
                <p:nvPr/>
              </p:nvSpPr>
              <p:spPr>
                <a:xfrm>
                  <a:off x="5444480" y="1381522"/>
                  <a:ext cx="720080" cy="720080"/>
                </a:xfrm>
                <a:prstGeom prst="ellipse">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sp>
          <p:nvSpPr>
            <p:cNvPr id="43" name="TextBox 42">
              <a:extLst>
                <a:ext uri="{FF2B5EF4-FFF2-40B4-BE49-F238E27FC236}">
                  <a16:creationId xmlns:a16="http://schemas.microsoft.com/office/drawing/2014/main" id="{74DD3E36-3527-9046-B8E5-18EB4D2A6AD9}"/>
                </a:ext>
              </a:extLst>
            </p:cNvPr>
            <p:cNvSpPr txBox="1"/>
            <p:nvPr/>
          </p:nvSpPr>
          <p:spPr>
            <a:xfrm>
              <a:off x="5310003" y="3321367"/>
              <a:ext cx="1573152" cy="694975"/>
            </a:xfrm>
            <a:prstGeom prst="rect">
              <a:avLst/>
            </a:prstGeom>
            <a:noFill/>
            <a:ln w="3175">
              <a:noFill/>
            </a:ln>
          </p:spPr>
          <p:txBody>
            <a:bodyPr wrap="square" rtlCol="0" anchor="ctr">
              <a:spAutoFit/>
            </a:bodyPr>
            <a:lstStyle/>
            <a:p>
              <a:pPr algn="ctr"/>
              <a:r>
                <a:rPr lang="en-US" altLang="ko-KR" b="1">
                  <a:solidFill>
                    <a:schemeClr val="bg1"/>
                  </a:solidFill>
                  <a:cs typeface="Arial" pitchFamily="34" charset="0"/>
                </a:rPr>
                <a:t>Content</a:t>
              </a:r>
            </a:p>
            <a:p>
              <a:pPr algn="ctr"/>
              <a:r>
                <a:rPr lang="en-US" altLang="ko-KR" b="1">
                  <a:solidFill>
                    <a:schemeClr val="bg1"/>
                  </a:solidFill>
                  <a:cs typeface="Arial" pitchFamily="34" charset="0"/>
                </a:rPr>
                <a:t>Here</a:t>
              </a:r>
              <a:endParaRPr lang="ko-KR" altLang="en-US" b="1">
                <a:solidFill>
                  <a:schemeClr val="bg1"/>
                </a:solidFill>
                <a:cs typeface="Arial" pitchFamily="34" charset="0"/>
              </a:endParaRPr>
            </a:p>
          </p:txBody>
        </p:sp>
        <p:sp>
          <p:nvSpPr>
            <p:cNvPr id="44" name="Oval 21">
              <a:extLst>
                <a:ext uri="{FF2B5EF4-FFF2-40B4-BE49-F238E27FC236}">
                  <a16:creationId xmlns:a16="http://schemas.microsoft.com/office/drawing/2014/main" id="{95695670-2E95-6547-98F5-901DBA99A28A}"/>
                </a:ext>
              </a:extLst>
            </p:cNvPr>
            <p:cNvSpPr>
              <a:spLocks noChangeAspect="1"/>
            </p:cNvSpPr>
            <p:nvPr/>
          </p:nvSpPr>
          <p:spPr>
            <a:xfrm>
              <a:off x="5879230" y="4089878"/>
              <a:ext cx="462505" cy="466367"/>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45" name="Rounded Rectangle 10">
              <a:extLst>
                <a:ext uri="{FF2B5EF4-FFF2-40B4-BE49-F238E27FC236}">
                  <a16:creationId xmlns:a16="http://schemas.microsoft.com/office/drawing/2014/main" id="{35C8FDA9-B507-9C4B-905E-74CD973902DE}"/>
                </a:ext>
              </a:extLst>
            </p:cNvPr>
            <p:cNvSpPr/>
            <p:nvPr/>
          </p:nvSpPr>
          <p:spPr>
            <a:xfrm>
              <a:off x="4696798" y="5414337"/>
              <a:ext cx="254160" cy="336352"/>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46" name="Rounded Rectangle 6">
              <a:extLst>
                <a:ext uri="{FF2B5EF4-FFF2-40B4-BE49-F238E27FC236}">
                  <a16:creationId xmlns:a16="http://schemas.microsoft.com/office/drawing/2014/main" id="{86837DC2-635C-524B-AEAA-CACB18CCA3A6}"/>
                </a:ext>
              </a:extLst>
            </p:cNvPr>
            <p:cNvSpPr/>
            <p:nvPr/>
          </p:nvSpPr>
          <p:spPr>
            <a:xfrm>
              <a:off x="7132061" y="2131087"/>
              <a:ext cx="345998" cy="351772"/>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47" name="Rounded Rectangle 5">
              <a:extLst>
                <a:ext uri="{FF2B5EF4-FFF2-40B4-BE49-F238E27FC236}">
                  <a16:creationId xmlns:a16="http://schemas.microsoft.com/office/drawing/2014/main" id="{1335B0EB-F291-EC43-BA90-B066E53B6061}"/>
                </a:ext>
              </a:extLst>
            </p:cNvPr>
            <p:cNvSpPr/>
            <p:nvPr/>
          </p:nvSpPr>
          <p:spPr>
            <a:xfrm flipH="1">
              <a:off x="8005610" y="3784002"/>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48" name="Teardrop 1">
              <a:extLst>
                <a:ext uri="{FF2B5EF4-FFF2-40B4-BE49-F238E27FC236}">
                  <a16:creationId xmlns:a16="http://schemas.microsoft.com/office/drawing/2014/main" id="{8302349F-2001-614B-924B-877CEAA8F037}"/>
                </a:ext>
              </a:extLst>
            </p:cNvPr>
            <p:cNvSpPr/>
            <p:nvPr/>
          </p:nvSpPr>
          <p:spPr>
            <a:xfrm rot="18805991">
              <a:off x="3712274" y="3759094"/>
              <a:ext cx="376862" cy="37293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49" name="Round Same Side Corner Rectangle 11">
              <a:extLst>
                <a:ext uri="{FF2B5EF4-FFF2-40B4-BE49-F238E27FC236}">
                  <a16:creationId xmlns:a16="http://schemas.microsoft.com/office/drawing/2014/main" id="{05F580FC-3759-4F46-8D84-D8F801375FA5}"/>
                </a:ext>
              </a:extLst>
            </p:cNvPr>
            <p:cNvSpPr>
              <a:spLocks noChangeAspect="1"/>
            </p:cNvSpPr>
            <p:nvPr/>
          </p:nvSpPr>
          <p:spPr>
            <a:xfrm rot="9900000">
              <a:off x="7142109" y="5395837"/>
              <a:ext cx="396000" cy="3363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sp>
          <p:nvSpPr>
            <p:cNvPr id="50" name="Rounded Rectangle 27">
              <a:extLst>
                <a:ext uri="{FF2B5EF4-FFF2-40B4-BE49-F238E27FC236}">
                  <a16:creationId xmlns:a16="http://schemas.microsoft.com/office/drawing/2014/main" id="{A09576F1-3CA6-AA45-90C9-153BE8145D75}"/>
                </a:ext>
              </a:extLst>
            </p:cNvPr>
            <p:cNvSpPr/>
            <p:nvPr/>
          </p:nvSpPr>
          <p:spPr>
            <a:xfrm>
              <a:off x="4639540" y="2176655"/>
              <a:ext cx="346396" cy="26607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lumMod val="75000"/>
                    <a:lumOff val="25000"/>
                  </a:schemeClr>
                </a:solidFill>
              </a:endParaRPr>
            </a:p>
          </p:txBody>
        </p:sp>
      </p:grpSp>
    </p:spTree>
    <p:extLst>
      <p:ext uri="{BB962C8B-B14F-4D97-AF65-F5344CB8AC3E}">
        <p14:creationId xmlns:p14="http://schemas.microsoft.com/office/powerpoint/2010/main" val="11867739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DFCFB52F-C83D-8A45-B309-3926954BFA30}"/>
              </a:ext>
            </a:extLst>
          </p:cNvPr>
          <p:cNvGraphicFramePr>
            <a:graphicFrameLocks noChangeAspect="1"/>
          </p:cNvGraphicFramePr>
          <p:nvPr>
            <p:custDataLst>
              <p:tags r:id="rId1"/>
            </p:custDataLst>
            <p:extLst>
              <p:ext uri="{D42A27DB-BD31-4B8C-83A1-F6EECF244321}">
                <p14:modId xmlns:p14="http://schemas.microsoft.com/office/powerpoint/2010/main" val="1266870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0" name="Object 39" hidden="1">
                        <a:extLst>
                          <a:ext uri="{FF2B5EF4-FFF2-40B4-BE49-F238E27FC236}">
                            <a16:creationId xmlns:a16="http://schemas.microsoft.com/office/drawing/2014/main" id="{DFCFB52F-C83D-8A45-B309-3926954BFA3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C6BC700-A437-3E47-8BEE-27761B7AD205}"/>
              </a:ext>
            </a:extLst>
          </p:cNvPr>
          <p:cNvSpPr>
            <a:spLocks noGrp="1"/>
          </p:cNvSpPr>
          <p:nvPr>
            <p:ph type="sldNum" sz="quarter" idx="4"/>
          </p:nvPr>
        </p:nvSpPr>
        <p:spPr/>
        <p:txBody>
          <a:bodyPr/>
          <a:lstStyle/>
          <a:p>
            <a:fld id="{3D966009-6E5A-4F8C-8CA7-E37AFBF5FB92}" type="slidenum">
              <a:rPr lang="en-US" smtClean="0"/>
              <a:t>141</a:t>
            </a:fld>
            <a:endParaRPr lang="en-US"/>
          </a:p>
        </p:txBody>
      </p:sp>
      <p:sp>
        <p:nvSpPr>
          <p:cNvPr id="3" name="Title 2">
            <a:extLst>
              <a:ext uri="{FF2B5EF4-FFF2-40B4-BE49-F238E27FC236}">
                <a16:creationId xmlns:a16="http://schemas.microsoft.com/office/drawing/2014/main" id="{2990514B-297B-8342-931A-BA96FD613021}"/>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6B4AD70-5D02-8841-95F7-34C5C9BEF60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33B698F4-CE43-D74C-A1F2-1DD6117FFFA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571DAB8E-1D78-0E4A-BFD8-7F74CA820B8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6E432BD-FFD2-9C42-BB38-439F85CD9B5B}"/>
              </a:ext>
            </a:extLst>
          </p:cNvPr>
          <p:cNvSpPr>
            <a:spLocks noGrp="1"/>
          </p:cNvSpPr>
          <p:nvPr>
            <p:ph sz="quarter" idx="14"/>
          </p:nvPr>
        </p:nvSpPr>
        <p:spPr/>
        <p:txBody>
          <a:bodyPr/>
          <a:lstStyle/>
          <a:p>
            <a:endParaRPr lang="en-GB"/>
          </a:p>
        </p:txBody>
      </p:sp>
      <p:sp>
        <p:nvSpPr>
          <p:cNvPr id="9" name="TextBox 8">
            <a:extLst>
              <a:ext uri="{FF2B5EF4-FFF2-40B4-BE49-F238E27FC236}">
                <a16:creationId xmlns:a16="http://schemas.microsoft.com/office/drawing/2014/main" id="{EC3100B1-8431-CA44-BE4D-70C80C10AAA6}"/>
              </a:ext>
            </a:extLst>
          </p:cNvPr>
          <p:cNvSpPr txBox="1"/>
          <p:nvPr/>
        </p:nvSpPr>
        <p:spPr>
          <a:xfrm>
            <a:off x="8609138" y="2008528"/>
            <a:ext cx="2715354" cy="830997"/>
          </a:xfrm>
          <a:prstGeom prst="rect">
            <a:avLst/>
          </a:prstGeom>
          <a:noFill/>
        </p:spPr>
        <p:txBody>
          <a:bodyPr wrap="square" rtlCol="0">
            <a:spAutoFit/>
          </a:bodyPr>
          <a:lstStyle/>
          <a:p>
            <a:r>
              <a:rPr lang="en-US" altLang="ko-KR" sz="1200">
                <a:solidFill>
                  <a:schemeClr val="tx1">
                    <a:lumMod val="65000"/>
                    <a:lumOff val="35000"/>
                  </a:schemeClr>
                </a:solidFill>
                <a:cs typeface="Arial" pitchFamily="34" charset="0"/>
              </a:rPr>
              <a:t>You can simply impress your audience and add a unique zing and appeal to your Presentations. </a:t>
            </a:r>
            <a:r>
              <a:rPr lang="en-US" altLang="ko-KR" sz="1200">
                <a:solidFill>
                  <a:schemeClr val="tx1">
                    <a:lumMod val="75000"/>
                    <a:lumOff val="25000"/>
                  </a:schemeClr>
                </a:solidFill>
                <a:ea typeface="FZShuTi" pitchFamily="2" charset="-122"/>
                <a:cs typeface="Arial" pitchFamily="34" charset="0"/>
              </a:rPr>
              <a:t>Easy to change colors, photos.</a:t>
            </a:r>
            <a:endParaRPr lang="ko-KR" altLang="en-US" sz="1200">
              <a:solidFill>
                <a:schemeClr val="tx1">
                  <a:lumMod val="65000"/>
                  <a:lumOff val="35000"/>
                </a:schemeClr>
              </a:solidFill>
              <a:cs typeface="Arial" pitchFamily="34" charset="0"/>
            </a:endParaRPr>
          </a:p>
        </p:txBody>
      </p:sp>
      <p:sp>
        <p:nvSpPr>
          <p:cNvPr id="10" name="TextBox 9">
            <a:extLst>
              <a:ext uri="{FF2B5EF4-FFF2-40B4-BE49-F238E27FC236}">
                <a16:creationId xmlns:a16="http://schemas.microsoft.com/office/drawing/2014/main" id="{45B955C3-1429-4142-8621-6B2D1C92DA24}"/>
              </a:ext>
            </a:extLst>
          </p:cNvPr>
          <p:cNvSpPr txBox="1"/>
          <p:nvPr/>
        </p:nvSpPr>
        <p:spPr>
          <a:xfrm>
            <a:off x="8609138" y="3389630"/>
            <a:ext cx="2715354" cy="830997"/>
          </a:xfrm>
          <a:prstGeom prst="rect">
            <a:avLst/>
          </a:prstGeom>
          <a:noFill/>
        </p:spPr>
        <p:txBody>
          <a:bodyPr wrap="square" rtlCol="0">
            <a:spAutoFit/>
          </a:bodyPr>
          <a:lstStyle/>
          <a:p>
            <a:r>
              <a:rPr lang="en-US" altLang="ko-KR" sz="1200">
                <a:solidFill>
                  <a:schemeClr val="tx1">
                    <a:lumMod val="65000"/>
                    <a:lumOff val="35000"/>
                  </a:schemeClr>
                </a:solidFill>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endParaRPr lang="ko-KR" altLang="en-US" sz="1200">
              <a:solidFill>
                <a:schemeClr val="tx1">
                  <a:lumMod val="65000"/>
                  <a:lumOff val="35000"/>
                </a:schemeClr>
              </a:solidFill>
              <a:cs typeface="Arial" pitchFamily="34" charset="0"/>
            </a:endParaRPr>
          </a:p>
        </p:txBody>
      </p:sp>
      <p:sp>
        <p:nvSpPr>
          <p:cNvPr id="11" name="TextBox 10">
            <a:extLst>
              <a:ext uri="{FF2B5EF4-FFF2-40B4-BE49-F238E27FC236}">
                <a16:creationId xmlns:a16="http://schemas.microsoft.com/office/drawing/2014/main" id="{E99B852C-82DD-F647-8453-A031F3C95C20}"/>
              </a:ext>
            </a:extLst>
          </p:cNvPr>
          <p:cNvSpPr txBox="1"/>
          <p:nvPr/>
        </p:nvSpPr>
        <p:spPr>
          <a:xfrm>
            <a:off x="8609138" y="4770733"/>
            <a:ext cx="2715354" cy="830997"/>
          </a:xfrm>
          <a:prstGeom prst="rect">
            <a:avLst/>
          </a:prstGeom>
          <a:noFill/>
        </p:spPr>
        <p:txBody>
          <a:bodyPr wrap="square" rtlCol="0">
            <a:spAutoFit/>
          </a:bodyPr>
          <a:lstStyle/>
          <a:p>
            <a:r>
              <a:rPr lang="en-US" altLang="ko-KR" sz="1200">
                <a:solidFill>
                  <a:schemeClr val="tx1">
                    <a:lumMod val="65000"/>
                    <a:lumOff val="35000"/>
                  </a:schemeClr>
                </a:solidFill>
                <a:cs typeface="Arial" pitchFamily="34" charset="0"/>
              </a:rPr>
              <a:t>You can simply impress your audience and add a unique zing and appeal to your Presentations. </a:t>
            </a:r>
            <a:r>
              <a:rPr lang="en-US" altLang="ko-KR" sz="1200">
                <a:solidFill>
                  <a:schemeClr val="tx1">
                    <a:lumMod val="75000"/>
                    <a:lumOff val="25000"/>
                  </a:schemeClr>
                </a:solidFill>
                <a:ea typeface="FZShuTi" pitchFamily="2" charset="-122"/>
                <a:cs typeface="Arial" pitchFamily="34" charset="0"/>
              </a:rPr>
              <a:t>Easy to change colors, photos.</a:t>
            </a:r>
            <a:endParaRPr lang="ko-KR" altLang="en-US" sz="1200">
              <a:solidFill>
                <a:schemeClr val="tx1">
                  <a:lumMod val="65000"/>
                  <a:lumOff val="35000"/>
                </a:schemeClr>
              </a:solidFill>
              <a:cs typeface="Arial" pitchFamily="34" charset="0"/>
            </a:endParaRPr>
          </a:p>
        </p:txBody>
      </p:sp>
      <p:sp>
        <p:nvSpPr>
          <p:cNvPr id="12" name="TextBox 11">
            <a:extLst>
              <a:ext uri="{FF2B5EF4-FFF2-40B4-BE49-F238E27FC236}">
                <a16:creationId xmlns:a16="http://schemas.microsoft.com/office/drawing/2014/main" id="{002C6A76-DDBA-2E46-BDB6-D1462C29B500}"/>
              </a:ext>
            </a:extLst>
          </p:cNvPr>
          <p:cNvSpPr txBox="1"/>
          <p:nvPr/>
        </p:nvSpPr>
        <p:spPr>
          <a:xfrm>
            <a:off x="867509" y="2008528"/>
            <a:ext cx="2730429" cy="830997"/>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endParaRPr lang="ko-KR" altLang="en-US" sz="1200">
              <a:solidFill>
                <a:schemeClr val="tx1">
                  <a:lumMod val="65000"/>
                  <a:lumOff val="35000"/>
                </a:schemeClr>
              </a:solidFill>
              <a:cs typeface="Arial" pitchFamily="34" charset="0"/>
            </a:endParaRPr>
          </a:p>
        </p:txBody>
      </p:sp>
      <p:sp>
        <p:nvSpPr>
          <p:cNvPr id="13" name="TextBox 12">
            <a:extLst>
              <a:ext uri="{FF2B5EF4-FFF2-40B4-BE49-F238E27FC236}">
                <a16:creationId xmlns:a16="http://schemas.microsoft.com/office/drawing/2014/main" id="{95285973-CEDC-A043-A48B-2F4B7DFC455F}"/>
              </a:ext>
            </a:extLst>
          </p:cNvPr>
          <p:cNvSpPr txBox="1"/>
          <p:nvPr/>
        </p:nvSpPr>
        <p:spPr>
          <a:xfrm>
            <a:off x="867509" y="3389630"/>
            <a:ext cx="2730429" cy="830997"/>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endParaRPr lang="ko-KR" altLang="en-US" sz="1200">
              <a:solidFill>
                <a:schemeClr val="tx1">
                  <a:lumMod val="65000"/>
                  <a:lumOff val="35000"/>
                </a:schemeClr>
              </a:solidFill>
              <a:cs typeface="Arial" pitchFamily="34" charset="0"/>
            </a:endParaRPr>
          </a:p>
        </p:txBody>
      </p:sp>
      <p:sp>
        <p:nvSpPr>
          <p:cNvPr id="14" name="TextBox 13">
            <a:extLst>
              <a:ext uri="{FF2B5EF4-FFF2-40B4-BE49-F238E27FC236}">
                <a16:creationId xmlns:a16="http://schemas.microsoft.com/office/drawing/2014/main" id="{4337A7E6-3F5C-8942-BEF2-DBDFD3782B9A}"/>
              </a:ext>
            </a:extLst>
          </p:cNvPr>
          <p:cNvSpPr txBox="1"/>
          <p:nvPr/>
        </p:nvSpPr>
        <p:spPr>
          <a:xfrm>
            <a:off x="867509" y="4770733"/>
            <a:ext cx="2730429" cy="830997"/>
          </a:xfrm>
          <a:prstGeom prst="rect">
            <a:avLst/>
          </a:prstGeom>
          <a:noFill/>
        </p:spPr>
        <p:txBody>
          <a:bodyPr wrap="square" rtlCol="0">
            <a:spAutoFit/>
          </a:bodyPr>
          <a:lstStyle/>
          <a:p>
            <a:pPr algn="r"/>
            <a:r>
              <a:rPr lang="en-US" altLang="ko-KR" sz="1200">
                <a:solidFill>
                  <a:schemeClr val="tx1">
                    <a:lumMod val="65000"/>
                    <a:lumOff val="35000"/>
                  </a:schemeClr>
                </a:solidFill>
                <a:cs typeface="Arial" pitchFamily="34" charset="0"/>
              </a:rPr>
              <a:t>You can simply impress your audience and add a unique zing and appeal to your Presentations.</a:t>
            </a:r>
            <a:r>
              <a:rPr lang="en-US" altLang="ko-KR" sz="1200">
                <a:solidFill>
                  <a:schemeClr val="tx1">
                    <a:lumMod val="75000"/>
                    <a:lumOff val="25000"/>
                  </a:schemeClr>
                </a:solidFill>
                <a:ea typeface="FZShuTi" pitchFamily="2" charset="-122"/>
                <a:cs typeface="Arial" pitchFamily="34" charset="0"/>
              </a:rPr>
              <a:t> Easy to change colors, photos.</a:t>
            </a:r>
            <a:endParaRPr lang="ko-KR" altLang="en-US" sz="1200">
              <a:solidFill>
                <a:schemeClr val="tx1">
                  <a:lumMod val="65000"/>
                  <a:lumOff val="35000"/>
                </a:schemeClr>
              </a:solidFill>
              <a:cs typeface="Arial" pitchFamily="34" charset="0"/>
            </a:endParaRPr>
          </a:p>
        </p:txBody>
      </p:sp>
      <p:sp>
        <p:nvSpPr>
          <p:cNvPr id="15" name="Oval 14">
            <a:extLst>
              <a:ext uri="{FF2B5EF4-FFF2-40B4-BE49-F238E27FC236}">
                <a16:creationId xmlns:a16="http://schemas.microsoft.com/office/drawing/2014/main" id="{FA0229D0-F9FF-724C-AB54-8288D5625B26}"/>
              </a:ext>
            </a:extLst>
          </p:cNvPr>
          <p:cNvSpPr/>
          <p:nvPr/>
        </p:nvSpPr>
        <p:spPr>
          <a:xfrm>
            <a:off x="7680620" y="2026806"/>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 name="Oval 15">
            <a:extLst>
              <a:ext uri="{FF2B5EF4-FFF2-40B4-BE49-F238E27FC236}">
                <a16:creationId xmlns:a16="http://schemas.microsoft.com/office/drawing/2014/main" id="{DD913DB8-F575-984E-8F44-A8CC11624019}"/>
              </a:ext>
            </a:extLst>
          </p:cNvPr>
          <p:cNvSpPr/>
          <p:nvPr/>
        </p:nvSpPr>
        <p:spPr>
          <a:xfrm>
            <a:off x="7680620" y="3417426"/>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7" name="Oval 16">
            <a:extLst>
              <a:ext uri="{FF2B5EF4-FFF2-40B4-BE49-F238E27FC236}">
                <a16:creationId xmlns:a16="http://schemas.microsoft.com/office/drawing/2014/main" id="{B3BD41BE-2EFC-DC48-A1C0-7435B301CD41}"/>
              </a:ext>
            </a:extLst>
          </p:cNvPr>
          <p:cNvSpPr/>
          <p:nvPr/>
        </p:nvSpPr>
        <p:spPr>
          <a:xfrm>
            <a:off x="7680620" y="4836352"/>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8" name="Oval 17">
            <a:extLst>
              <a:ext uri="{FF2B5EF4-FFF2-40B4-BE49-F238E27FC236}">
                <a16:creationId xmlns:a16="http://schemas.microsoft.com/office/drawing/2014/main" id="{5AAC6310-221F-F440-A7A9-4E0AA0827DD3}"/>
              </a:ext>
            </a:extLst>
          </p:cNvPr>
          <p:cNvSpPr/>
          <p:nvPr/>
        </p:nvSpPr>
        <p:spPr>
          <a:xfrm>
            <a:off x="3733556" y="2035114"/>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9" name="Oval 18">
            <a:extLst>
              <a:ext uri="{FF2B5EF4-FFF2-40B4-BE49-F238E27FC236}">
                <a16:creationId xmlns:a16="http://schemas.microsoft.com/office/drawing/2014/main" id="{014B7D34-D9CB-B44A-8B91-F80406C7FD51}"/>
              </a:ext>
            </a:extLst>
          </p:cNvPr>
          <p:cNvSpPr/>
          <p:nvPr/>
        </p:nvSpPr>
        <p:spPr>
          <a:xfrm>
            <a:off x="3733556" y="3403340"/>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0" name="Oval 19">
            <a:extLst>
              <a:ext uri="{FF2B5EF4-FFF2-40B4-BE49-F238E27FC236}">
                <a16:creationId xmlns:a16="http://schemas.microsoft.com/office/drawing/2014/main" id="{5C6EDCF0-2EDF-0142-84BC-424219C62A04}"/>
              </a:ext>
            </a:extLst>
          </p:cNvPr>
          <p:cNvSpPr/>
          <p:nvPr/>
        </p:nvSpPr>
        <p:spPr>
          <a:xfrm>
            <a:off x="3733556" y="4799868"/>
            <a:ext cx="777826" cy="777826"/>
          </a:xfrm>
          <a:prstGeom prst="ellipse">
            <a:avLst/>
          </a:prstGeom>
          <a:solidFill>
            <a:schemeClr val="accent1"/>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21" name="Group 20">
            <a:extLst>
              <a:ext uri="{FF2B5EF4-FFF2-40B4-BE49-F238E27FC236}">
                <a16:creationId xmlns:a16="http://schemas.microsoft.com/office/drawing/2014/main" id="{846EA496-4BEF-EF4E-9254-0B1F19C39A0D}"/>
              </a:ext>
            </a:extLst>
          </p:cNvPr>
          <p:cNvGrpSpPr/>
          <p:nvPr/>
        </p:nvGrpSpPr>
        <p:grpSpPr>
          <a:xfrm>
            <a:off x="5274528" y="2964521"/>
            <a:ext cx="1669479" cy="1669479"/>
            <a:chOff x="3807530" y="2946763"/>
            <a:chExt cx="1512168" cy="1512168"/>
          </a:xfrm>
        </p:grpSpPr>
        <p:sp>
          <p:nvSpPr>
            <p:cNvPr id="22" name="Oval 21">
              <a:extLst>
                <a:ext uri="{FF2B5EF4-FFF2-40B4-BE49-F238E27FC236}">
                  <a16:creationId xmlns:a16="http://schemas.microsoft.com/office/drawing/2014/main" id="{2C78CF6A-FB1D-AF4B-AFFF-07276E39FA8F}"/>
                </a:ext>
              </a:extLst>
            </p:cNvPr>
            <p:cNvSpPr/>
            <p:nvPr/>
          </p:nvSpPr>
          <p:spPr>
            <a:xfrm>
              <a:off x="3897540" y="3036773"/>
              <a:ext cx="1332148" cy="1332148"/>
            </a:xfrm>
            <a:prstGeom prst="ellipse">
              <a:avLst/>
            </a:prstGeom>
            <a:solidFill>
              <a:schemeClr val="accent2"/>
            </a:solidFill>
            <a:ln w="12700">
              <a:noFill/>
            </a:ln>
            <a:effectLst>
              <a:glow rad="76200">
                <a:schemeClr val="bg1">
                  <a:alpha val="13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Oval 22">
              <a:extLst>
                <a:ext uri="{FF2B5EF4-FFF2-40B4-BE49-F238E27FC236}">
                  <a16:creationId xmlns:a16="http://schemas.microsoft.com/office/drawing/2014/main" id="{6FA52602-EA3F-3D44-8A79-055458BF421C}"/>
                </a:ext>
              </a:extLst>
            </p:cNvPr>
            <p:cNvSpPr/>
            <p:nvPr/>
          </p:nvSpPr>
          <p:spPr>
            <a:xfrm>
              <a:off x="3807530" y="2946763"/>
              <a:ext cx="1512168" cy="1512168"/>
            </a:xfrm>
            <a:prstGeom prst="ellipse">
              <a:avLst/>
            </a:prstGeom>
            <a:noFill/>
            <a:ln w="158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cxnSp>
        <p:nvCxnSpPr>
          <p:cNvPr id="24" name="Straight Connector 23">
            <a:extLst>
              <a:ext uri="{FF2B5EF4-FFF2-40B4-BE49-F238E27FC236}">
                <a16:creationId xmlns:a16="http://schemas.microsoft.com/office/drawing/2014/main" id="{6FD597D4-78B7-384E-98AB-31735C07189F}"/>
              </a:ext>
            </a:extLst>
          </p:cNvPr>
          <p:cNvCxnSpPr>
            <a:cxnSpLocks/>
            <a:stCxn id="18" idx="6"/>
            <a:endCxn id="23" idx="1"/>
          </p:cNvCxnSpPr>
          <p:nvPr/>
        </p:nvCxnSpPr>
        <p:spPr>
          <a:xfrm>
            <a:off x="4511382" y="2424027"/>
            <a:ext cx="1007636" cy="78498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2EC0ADD-F8B2-8B4C-ABFC-C0AC3C5B00B6}"/>
              </a:ext>
            </a:extLst>
          </p:cNvPr>
          <p:cNvCxnSpPr>
            <a:cxnSpLocks/>
            <a:stCxn id="19" idx="6"/>
            <a:endCxn id="23" idx="2"/>
          </p:cNvCxnSpPr>
          <p:nvPr/>
        </p:nvCxnSpPr>
        <p:spPr>
          <a:xfrm>
            <a:off x="4511382" y="3792251"/>
            <a:ext cx="763146" cy="70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AAA0FE2-95EF-144A-BC9E-763B857ED647}"/>
              </a:ext>
            </a:extLst>
          </p:cNvPr>
          <p:cNvCxnSpPr>
            <a:cxnSpLocks/>
            <a:stCxn id="20" idx="6"/>
            <a:endCxn id="23" idx="3"/>
          </p:cNvCxnSpPr>
          <p:nvPr/>
        </p:nvCxnSpPr>
        <p:spPr>
          <a:xfrm flipV="1">
            <a:off x="4511382" y="4389509"/>
            <a:ext cx="1007636" cy="79927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7B51A86-09D7-614E-9DA9-EB4A31610881}"/>
              </a:ext>
            </a:extLst>
          </p:cNvPr>
          <p:cNvCxnSpPr>
            <a:cxnSpLocks/>
            <a:stCxn id="17" idx="2"/>
            <a:endCxn id="23" idx="5"/>
          </p:cNvCxnSpPr>
          <p:nvPr/>
        </p:nvCxnSpPr>
        <p:spPr>
          <a:xfrm flipH="1" flipV="1">
            <a:off x="6699518" y="4389510"/>
            <a:ext cx="981102" cy="83575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4754635-B503-6845-95CC-C1662A47EC8B}"/>
              </a:ext>
            </a:extLst>
          </p:cNvPr>
          <p:cNvCxnSpPr>
            <a:cxnSpLocks/>
            <a:stCxn id="16" idx="2"/>
            <a:endCxn id="23" idx="6"/>
          </p:cNvCxnSpPr>
          <p:nvPr/>
        </p:nvCxnSpPr>
        <p:spPr>
          <a:xfrm flipH="1" flipV="1">
            <a:off x="6944007" y="3799260"/>
            <a:ext cx="736612" cy="707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7FE2CAF-D61B-F14A-8801-34938A7B827E}"/>
              </a:ext>
            </a:extLst>
          </p:cNvPr>
          <p:cNvCxnSpPr>
            <a:cxnSpLocks/>
            <a:stCxn id="15" idx="2"/>
            <a:endCxn id="23" idx="7"/>
          </p:cNvCxnSpPr>
          <p:nvPr/>
        </p:nvCxnSpPr>
        <p:spPr>
          <a:xfrm flipH="1">
            <a:off x="6699518" y="2415717"/>
            <a:ext cx="981102" cy="79329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A36492F-DFAB-2A47-9742-5D5945A1D877}"/>
              </a:ext>
            </a:extLst>
          </p:cNvPr>
          <p:cNvSpPr txBox="1"/>
          <p:nvPr/>
        </p:nvSpPr>
        <p:spPr>
          <a:xfrm>
            <a:off x="5409202" y="3550308"/>
            <a:ext cx="1430981" cy="523220"/>
          </a:xfrm>
          <a:prstGeom prst="rect">
            <a:avLst/>
          </a:prstGeom>
          <a:noFill/>
        </p:spPr>
        <p:txBody>
          <a:bodyPr wrap="square" rtlCol="0">
            <a:spAutoFit/>
          </a:bodyPr>
          <a:lstStyle/>
          <a:p>
            <a:pPr algn="ctr"/>
            <a:r>
              <a:rPr lang="en-US" altLang="ko-KR" sz="1400" b="1">
                <a:solidFill>
                  <a:schemeClr val="bg1"/>
                </a:solidFill>
                <a:cs typeface="Calibri" pitchFamily="34" charset="0"/>
              </a:rPr>
              <a:t>CONTENTS</a:t>
            </a:r>
          </a:p>
          <a:p>
            <a:pPr algn="ctr"/>
            <a:r>
              <a:rPr lang="en-US" altLang="ko-KR" sz="1400" b="1">
                <a:solidFill>
                  <a:schemeClr val="bg1"/>
                </a:solidFill>
                <a:cs typeface="Calibri" pitchFamily="34" charset="0"/>
              </a:rPr>
              <a:t>TITLE</a:t>
            </a:r>
            <a:endParaRPr lang="ko-KR" altLang="en-US" sz="1400" b="1">
              <a:solidFill>
                <a:schemeClr val="bg1"/>
              </a:solidFill>
              <a:cs typeface="Calibri" pitchFamily="34" charset="0"/>
            </a:endParaRPr>
          </a:p>
        </p:txBody>
      </p:sp>
      <p:grpSp>
        <p:nvGrpSpPr>
          <p:cNvPr id="31" name="Group 15">
            <a:extLst>
              <a:ext uri="{FF2B5EF4-FFF2-40B4-BE49-F238E27FC236}">
                <a16:creationId xmlns:a16="http://schemas.microsoft.com/office/drawing/2014/main" id="{B528A206-E3E4-4C4A-8C10-75095F9F5FA5}"/>
              </a:ext>
            </a:extLst>
          </p:cNvPr>
          <p:cNvGrpSpPr/>
          <p:nvPr/>
        </p:nvGrpSpPr>
        <p:grpSpPr>
          <a:xfrm>
            <a:off x="4824946" y="5419257"/>
            <a:ext cx="2542108" cy="835307"/>
            <a:chOff x="5328220" y="3089998"/>
            <a:chExt cx="1379637" cy="835307"/>
          </a:xfrm>
        </p:grpSpPr>
        <p:sp>
          <p:nvSpPr>
            <p:cNvPr id="32" name="TextBox 31">
              <a:extLst>
                <a:ext uri="{FF2B5EF4-FFF2-40B4-BE49-F238E27FC236}">
                  <a16:creationId xmlns:a16="http://schemas.microsoft.com/office/drawing/2014/main" id="{E4DD4D93-E006-3644-93C3-FF7C09882DC2}"/>
                </a:ext>
              </a:extLst>
            </p:cNvPr>
            <p:cNvSpPr txBox="1"/>
            <p:nvPr/>
          </p:nvSpPr>
          <p:spPr>
            <a:xfrm>
              <a:off x="5328220" y="3089998"/>
              <a:ext cx="1379637" cy="307777"/>
            </a:xfrm>
            <a:prstGeom prst="rect">
              <a:avLst/>
            </a:prstGeom>
            <a:noFill/>
          </p:spPr>
          <p:txBody>
            <a:bodyPr wrap="square" lIns="0" tIns="0" rIns="0" bIns="0" rtlCol="0">
              <a:spAutoFit/>
            </a:bodyPr>
            <a:lstStyle/>
            <a:p>
              <a:pPr algn="ctr"/>
              <a:r>
                <a:rPr lang="en-US" altLang="ko-KR" sz="2000" b="1">
                  <a:solidFill>
                    <a:schemeClr val="tx1">
                      <a:lumMod val="75000"/>
                      <a:lumOff val="25000"/>
                    </a:schemeClr>
                  </a:solidFill>
                </a:rPr>
                <a:t>CONTENTS</a:t>
              </a:r>
            </a:p>
          </p:txBody>
        </p:sp>
        <p:sp>
          <p:nvSpPr>
            <p:cNvPr id="33" name="TextBox 32">
              <a:extLst>
                <a:ext uri="{FF2B5EF4-FFF2-40B4-BE49-F238E27FC236}">
                  <a16:creationId xmlns:a16="http://schemas.microsoft.com/office/drawing/2014/main" id="{4A5A859C-E60F-B846-8D73-843A151C78F3}"/>
                </a:ext>
              </a:extLst>
            </p:cNvPr>
            <p:cNvSpPr txBox="1"/>
            <p:nvPr/>
          </p:nvSpPr>
          <p:spPr>
            <a:xfrm>
              <a:off x="5334559" y="3417474"/>
              <a:ext cx="1366958" cy="507831"/>
            </a:xfrm>
            <a:prstGeom prst="rect">
              <a:avLst/>
            </a:prstGeom>
            <a:noFill/>
          </p:spPr>
          <p:txBody>
            <a:bodyPr wrap="square" lIns="0" tIns="0" rIns="0" bIns="0" rtlCol="0">
              <a:spAutoFit/>
            </a:bodyPr>
            <a:lstStyle/>
            <a:p>
              <a:pPr algn="ctr"/>
              <a:r>
                <a:rPr lang="en-US" altLang="ko-KR" sz="1100">
                  <a:solidFill>
                    <a:schemeClr val="tx1">
                      <a:lumMod val="75000"/>
                      <a:lumOff val="25000"/>
                    </a:schemeClr>
                  </a:solidFill>
                  <a:cs typeface="Arial" pitchFamily="34" charset="0"/>
                </a:rPr>
                <a:t>You can simply impress your audience and add a unique zing and appeal to your Presentations.    </a:t>
              </a:r>
              <a:endParaRPr lang="ko-KR" altLang="en-US" sz="1100">
                <a:solidFill>
                  <a:schemeClr val="tx1">
                    <a:lumMod val="75000"/>
                    <a:lumOff val="25000"/>
                  </a:schemeClr>
                </a:solidFill>
                <a:cs typeface="Arial" pitchFamily="34" charset="0"/>
              </a:endParaRPr>
            </a:p>
          </p:txBody>
        </p:sp>
      </p:grpSp>
      <p:sp>
        <p:nvSpPr>
          <p:cNvPr id="34" name="Rectangle 30">
            <a:extLst>
              <a:ext uri="{FF2B5EF4-FFF2-40B4-BE49-F238E27FC236}">
                <a16:creationId xmlns:a16="http://schemas.microsoft.com/office/drawing/2014/main" id="{32FDFF47-AF5F-174E-B441-0442DAA36D93}"/>
              </a:ext>
            </a:extLst>
          </p:cNvPr>
          <p:cNvSpPr/>
          <p:nvPr/>
        </p:nvSpPr>
        <p:spPr>
          <a:xfrm>
            <a:off x="3976436" y="5030640"/>
            <a:ext cx="317209" cy="316282"/>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5" name="Frame 17">
            <a:extLst>
              <a:ext uri="{FF2B5EF4-FFF2-40B4-BE49-F238E27FC236}">
                <a16:creationId xmlns:a16="http://schemas.microsoft.com/office/drawing/2014/main" id="{C87A44FF-9D45-5447-A130-3C9FC73FA1D0}"/>
              </a:ext>
            </a:extLst>
          </p:cNvPr>
          <p:cNvSpPr/>
          <p:nvPr/>
        </p:nvSpPr>
        <p:spPr>
          <a:xfrm>
            <a:off x="3969122" y="2262108"/>
            <a:ext cx="318434" cy="318434"/>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6" name="Rounded Rectangle 25">
            <a:extLst>
              <a:ext uri="{FF2B5EF4-FFF2-40B4-BE49-F238E27FC236}">
                <a16:creationId xmlns:a16="http://schemas.microsoft.com/office/drawing/2014/main" id="{BFCEAD7E-1285-AE4A-9F4E-D6031E4C1D29}"/>
              </a:ext>
            </a:extLst>
          </p:cNvPr>
          <p:cNvSpPr/>
          <p:nvPr/>
        </p:nvSpPr>
        <p:spPr>
          <a:xfrm>
            <a:off x="7876754" y="2261176"/>
            <a:ext cx="412168" cy="302054"/>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7" name="Donut 39">
            <a:extLst>
              <a:ext uri="{FF2B5EF4-FFF2-40B4-BE49-F238E27FC236}">
                <a16:creationId xmlns:a16="http://schemas.microsoft.com/office/drawing/2014/main" id="{18C2987A-55CE-1D41-80E6-543E28E97207}"/>
              </a:ext>
            </a:extLst>
          </p:cNvPr>
          <p:cNvSpPr/>
          <p:nvPr/>
        </p:nvSpPr>
        <p:spPr>
          <a:xfrm>
            <a:off x="7871882" y="3610846"/>
            <a:ext cx="407618" cy="407618"/>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8" name="Trapezoid 22">
            <a:extLst>
              <a:ext uri="{FF2B5EF4-FFF2-40B4-BE49-F238E27FC236}">
                <a16:creationId xmlns:a16="http://schemas.microsoft.com/office/drawing/2014/main" id="{D3F9B901-C681-DF4A-9C7C-A14885814873}"/>
              </a:ext>
            </a:extLst>
          </p:cNvPr>
          <p:cNvSpPr>
            <a:spLocks noChangeAspect="1"/>
          </p:cNvSpPr>
          <p:nvPr/>
        </p:nvSpPr>
        <p:spPr>
          <a:xfrm>
            <a:off x="7858008" y="5110888"/>
            <a:ext cx="449662" cy="228752"/>
          </a:xfrm>
          <a:custGeom>
            <a:avLst/>
            <a:gdLst/>
            <a:ahLst/>
            <a:cxnLst/>
            <a:rect l="l" t="t" r="r" b="b"/>
            <a:pathLst>
              <a:path w="3261500" h="1659188">
                <a:moveTo>
                  <a:pt x="121102" y="1436888"/>
                </a:moveTo>
                <a:lnTo>
                  <a:pt x="3045452" y="1436888"/>
                </a:lnTo>
                <a:cubicBezTo>
                  <a:pt x="3001437" y="1508238"/>
                  <a:pt x="2956882" y="1580993"/>
                  <a:pt x="2918729" y="1659188"/>
                </a:cubicBezTo>
                <a:lnTo>
                  <a:pt x="202648" y="1659188"/>
                </a:lnTo>
                <a:cubicBezTo>
                  <a:pt x="188127" y="1585004"/>
                  <a:pt x="156049" y="1510828"/>
                  <a:pt x="121102" y="1436888"/>
                </a:cubicBezTo>
                <a:close/>
                <a:moveTo>
                  <a:pt x="2814967" y="1119413"/>
                </a:moveTo>
                <a:lnTo>
                  <a:pt x="2814967" y="1227413"/>
                </a:lnTo>
                <a:lnTo>
                  <a:pt x="2922967" y="1227413"/>
                </a:lnTo>
                <a:lnTo>
                  <a:pt x="2922967" y="1119413"/>
                </a:lnTo>
                <a:close/>
                <a:moveTo>
                  <a:pt x="2600074" y="1119413"/>
                </a:moveTo>
                <a:lnTo>
                  <a:pt x="2600074" y="1227413"/>
                </a:lnTo>
                <a:lnTo>
                  <a:pt x="2708074" y="1227413"/>
                </a:lnTo>
                <a:lnTo>
                  <a:pt x="2708074" y="1119413"/>
                </a:lnTo>
                <a:close/>
                <a:moveTo>
                  <a:pt x="2385182" y="1119413"/>
                </a:moveTo>
                <a:lnTo>
                  <a:pt x="2385182" y="1227413"/>
                </a:lnTo>
                <a:lnTo>
                  <a:pt x="2493182" y="1227413"/>
                </a:lnTo>
                <a:lnTo>
                  <a:pt x="2493182" y="1119413"/>
                </a:lnTo>
                <a:close/>
                <a:moveTo>
                  <a:pt x="1716569" y="1119413"/>
                </a:moveTo>
                <a:lnTo>
                  <a:pt x="1716569" y="1227413"/>
                </a:lnTo>
                <a:lnTo>
                  <a:pt x="1824569" y="1227413"/>
                </a:lnTo>
                <a:lnTo>
                  <a:pt x="1824569" y="1119413"/>
                </a:lnTo>
                <a:close/>
                <a:moveTo>
                  <a:pt x="1501676" y="1119413"/>
                </a:moveTo>
                <a:lnTo>
                  <a:pt x="1501676" y="1227413"/>
                </a:lnTo>
                <a:lnTo>
                  <a:pt x="1609676" y="1227413"/>
                </a:lnTo>
                <a:lnTo>
                  <a:pt x="1609676" y="1119413"/>
                </a:lnTo>
                <a:close/>
                <a:moveTo>
                  <a:pt x="1286784" y="1119413"/>
                </a:moveTo>
                <a:lnTo>
                  <a:pt x="1286784" y="1227413"/>
                </a:lnTo>
                <a:lnTo>
                  <a:pt x="1394784" y="1227413"/>
                </a:lnTo>
                <a:lnTo>
                  <a:pt x="1394784" y="1119413"/>
                </a:lnTo>
                <a:close/>
                <a:moveTo>
                  <a:pt x="1071892" y="1119413"/>
                </a:moveTo>
                <a:lnTo>
                  <a:pt x="1071892" y="1227413"/>
                </a:lnTo>
                <a:lnTo>
                  <a:pt x="1179892" y="1227413"/>
                </a:lnTo>
                <a:lnTo>
                  <a:pt x="1179892" y="1119413"/>
                </a:lnTo>
                <a:close/>
                <a:moveTo>
                  <a:pt x="857000" y="1119413"/>
                </a:moveTo>
                <a:lnTo>
                  <a:pt x="857000" y="1227413"/>
                </a:lnTo>
                <a:lnTo>
                  <a:pt x="965000" y="1227413"/>
                </a:lnTo>
                <a:lnTo>
                  <a:pt x="965000" y="1119413"/>
                </a:lnTo>
                <a:close/>
                <a:moveTo>
                  <a:pt x="642108" y="1119413"/>
                </a:moveTo>
                <a:lnTo>
                  <a:pt x="642108" y="1227413"/>
                </a:lnTo>
                <a:lnTo>
                  <a:pt x="750108" y="1227413"/>
                </a:lnTo>
                <a:lnTo>
                  <a:pt x="750108" y="1119413"/>
                </a:lnTo>
                <a:close/>
                <a:moveTo>
                  <a:pt x="427216" y="1119413"/>
                </a:moveTo>
                <a:lnTo>
                  <a:pt x="427216" y="1227413"/>
                </a:lnTo>
                <a:lnTo>
                  <a:pt x="535216" y="1227413"/>
                </a:lnTo>
                <a:lnTo>
                  <a:pt x="535216" y="1119413"/>
                </a:lnTo>
                <a:close/>
                <a:moveTo>
                  <a:pt x="356387" y="794045"/>
                </a:moveTo>
                <a:lnTo>
                  <a:pt x="310667" y="896924"/>
                </a:lnTo>
                <a:lnTo>
                  <a:pt x="2620886" y="908354"/>
                </a:lnTo>
                <a:lnTo>
                  <a:pt x="2540130" y="801665"/>
                </a:lnTo>
                <a:close/>
                <a:moveTo>
                  <a:pt x="382676" y="631248"/>
                </a:moveTo>
                <a:lnTo>
                  <a:pt x="363625" y="730317"/>
                </a:lnTo>
                <a:lnTo>
                  <a:pt x="2492522" y="737937"/>
                </a:lnTo>
                <a:lnTo>
                  <a:pt x="2418771" y="631248"/>
                </a:lnTo>
                <a:close/>
                <a:moveTo>
                  <a:pt x="1756650" y="318899"/>
                </a:moveTo>
                <a:lnTo>
                  <a:pt x="1756650" y="477608"/>
                </a:lnTo>
                <a:lnTo>
                  <a:pt x="1900650" y="477608"/>
                </a:lnTo>
                <a:lnTo>
                  <a:pt x="1900650" y="318899"/>
                </a:lnTo>
                <a:close/>
                <a:moveTo>
                  <a:pt x="1470038" y="318899"/>
                </a:moveTo>
                <a:lnTo>
                  <a:pt x="1470038" y="477608"/>
                </a:lnTo>
                <a:lnTo>
                  <a:pt x="1614038" y="477608"/>
                </a:lnTo>
                <a:lnTo>
                  <a:pt x="1614038" y="318899"/>
                </a:lnTo>
                <a:close/>
                <a:moveTo>
                  <a:pt x="1183427" y="318899"/>
                </a:moveTo>
                <a:lnTo>
                  <a:pt x="1183427" y="477608"/>
                </a:lnTo>
                <a:lnTo>
                  <a:pt x="1327427" y="477608"/>
                </a:lnTo>
                <a:lnTo>
                  <a:pt x="1327427" y="318899"/>
                </a:lnTo>
                <a:close/>
                <a:moveTo>
                  <a:pt x="896816" y="318899"/>
                </a:moveTo>
                <a:lnTo>
                  <a:pt x="896816" y="477608"/>
                </a:lnTo>
                <a:lnTo>
                  <a:pt x="1040816" y="477608"/>
                </a:lnTo>
                <a:lnTo>
                  <a:pt x="1040816" y="318899"/>
                </a:lnTo>
                <a:close/>
                <a:moveTo>
                  <a:pt x="1190618" y="0"/>
                </a:moveTo>
                <a:lnTo>
                  <a:pt x="1271830" y="0"/>
                </a:lnTo>
                <a:lnTo>
                  <a:pt x="1308266" y="193836"/>
                </a:lnTo>
                <a:lnTo>
                  <a:pt x="1977660" y="193836"/>
                </a:lnTo>
                <a:lnTo>
                  <a:pt x="2138144" y="525639"/>
                </a:lnTo>
                <a:lnTo>
                  <a:pt x="2421400" y="525639"/>
                </a:lnTo>
                <a:lnTo>
                  <a:pt x="2750195" y="950920"/>
                </a:lnTo>
                <a:lnTo>
                  <a:pt x="3261500" y="937238"/>
                </a:lnTo>
                <a:cubicBezTo>
                  <a:pt x="3244841" y="1097170"/>
                  <a:pt x="3172191" y="1230845"/>
                  <a:pt x="3089450" y="1364888"/>
                </a:cubicBezTo>
                <a:lnTo>
                  <a:pt x="88044" y="1364888"/>
                </a:lnTo>
                <a:cubicBezTo>
                  <a:pt x="35437" y="1251413"/>
                  <a:pt x="-11245" y="1137942"/>
                  <a:pt x="2399" y="1024450"/>
                </a:cubicBezTo>
                <a:lnTo>
                  <a:pt x="197767" y="1019222"/>
                </a:lnTo>
                <a:lnTo>
                  <a:pt x="321162" y="525639"/>
                </a:lnTo>
                <a:lnTo>
                  <a:pt x="681951" y="525639"/>
                </a:lnTo>
                <a:lnTo>
                  <a:pt x="764901" y="193836"/>
                </a:lnTo>
                <a:lnTo>
                  <a:pt x="930048" y="193836"/>
                </a:lnTo>
                <a:lnTo>
                  <a:pt x="966373" y="588"/>
                </a:lnTo>
                <a:lnTo>
                  <a:pt x="1047585" y="588"/>
                </a:lnTo>
                <a:lnTo>
                  <a:pt x="1083910" y="193836"/>
                </a:lnTo>
                <a:lnTo>
                  <a:pt x="1154183" y="1938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9" name="Freeform 53">
            <a:extLst>
              <a:ext uri="{FF2B5EF4-FFF2-40B4-BE49-F238E27FC236}">
                <a16:creationId xmlns:a16="http://schemas.microsoft.com/office/drawing/2014/main" id="{3FBF6AB0-FBF0-C440-AC18-DB380ADEFAAF}"/>
              </a:ext>
            </a:extLst>
          </p:cNvPr>
          <p:cNvSpPr/>
          <p:nvPr/>
        </p:nvSpPr>
        <p:spPr>
          <a:xfrm>
            <a:off x="3951765" y="3620114"/>
            <a:ext cx="382784" cy="392454"/>
          </a:xfrm>
          <a:custGeom>
            <a:avLst/>
            <a:gdLst>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38125 w 2305050"/>
              <a:gd name="connsiteY16" fmla="*/ 217170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60071 w 2305050"/>
              <a:gd name="connsiteY16" fmla="*/ 2087575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6647 w 2305050"/>
              <a:gd name="connsiteY16" fmla="*/ 209489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81480 w 2305050"/>
              <a:gd name="connsiteY2" fmla="*/ 476174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04671 w 2305050"/>
              <a:gd name="connsiteY2" fmla="*/ 468859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70609 w 2305050"/>
              <a:gd name="connsiteY3" fmla="*/ 649910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82725 w 2305050"/>
              <a:gd name="connsiteY2" fmla="*/ 494463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294077"/>
              <a:gd name="connsiteY0" fmla="*/ 0 h 2363647"/>
              <a:gd name="connsiteX1" fmla="*/ 760552 w 2294077"/>
              <a:gd name="connsiteY1" fmla="*/ 572947 h 2363647"/>
              <a:gd name="connsiteX2" fmla="*/ 2030273 w 2294077"/>
              <a:gd name="connsiteY2" fmla="*/ 509092 h 2363647"/>
              <a:gd name="connsiteX3" fmla="*/ 2285239 w 2294077"/>
              <a:gd name="connsiteY3" fmla="*/ 657224 h 2363647"/>
              <a:gd name="connsiteX4" fmla="*/ 1132027 w 2294077"/>
              <a:gd name="connsiteY4" fmla="*/ 1020622 h 2363647"/>
              <a:gd name="connsiteX5" fmla="*/ 1617802 w 2294077"/>
              <a:gd name="connsiteY5" fmla="*/ 1544497 h 2363647"/>
              <a:gd name="connsiteX6" fmla="*/ 2065477 w 2294077"/>
              <a:gd name="connsiteY6" fmla="*/ 1544497 h 2363647"/>
              <a:gd name="connsiteX7" fmla="*/ 2294077 w 2294077"/>
              <a:gd name="connsiteY7" fmla="*/ 1734997 h 2363647"/>
              <a:gd name="connsiteX8" fmla="*/ 1827352 w 2294077"/>
              <a:gd name="connsiteY8" fmla="*/ 1868347 h 2363647"/>
              <a:gd name="connsiteX9" fmla="*/ 1998802 w 2294077"/>
              <a:gd name="connsiteY9" fmla="*/ 2115997 h 2363647"/>
              <a:gd name="connsiteX10" fmla="*/ 1722577 w 2294077"/>
              <a:gd name="connsiteY10" fmla="*/ 1982647 h 2363647"/>
              <a:gd name="connsiteX11" fmla="*/ 1532077 w 2294077"/>
              <a:gd name="connsiteY11" fmla="*/ 2363647 h 2363647"/>
              <a:gd name="connsiteX12" fmla="*/ 1303477 w 2294077"/>
              <a:gd name="connsiteY12" fmla="*/ 2144572 h 2363647"/>
              <a:gd name="connsiteX13" fmla="*/ 1436827 w 2294077"/>
              <a:gd name="connsiteY13" fmla="*/ 1782622 h 2363647"/>
              <a:gd name="connsiteX14" fmla="*/ 912952 w 2294077"/>
              <a:gd name="connsiteY14" fmla="*/ 1201597 h 2363647"/>
              <a:gd name="connsiteX15" fmla="*/ 403784 w 2294077"/>
              <a:gd name="connsiteY15" fmla="*/ 2316707 h 2363647"/>
              <a:gd name="connsiteX16" fmla="*/ 282017 w 2294077"/>
              <a:gd name="connsiteY16" fmla="*/ 2047340 h 2363647"/>
              <a:gd name="connsiteX17" fmla="*/ 509244 w 2294077"/>
              <a:gd name="connsiteY17" fmla="*/ 761923 h 2363647"/>
              <a:gd name="connsiteX18" fmla="*/ 0 w 2294077"/>
              <a:gd name="connsiteY18" fmla="*/ 0 h 2363647"/>
              <a:gd name="connsiteX0" fmla="*/ 6569 w 2300646"/>
              <a:gd name="connsiteY0" fmla="*/ 0 h 2363647"/>
              <a:gd name="connsiteX1" fmla="*/ 767121 w 2300646"/>
              <a:gd name="connsiteY1" fmla="*/ 572947 h 2363647"/>
              <a:gd name="connsiteX2" fmla="*/ 2036842 w 2300646"/>
              <a:gd name="connsiteY2" fmla="*/ 509092 h 2363647"/>
              <a:gd name="connsiteX3" fmla="*/ 2291808 w 2300646"/>
              <a:gd name="connsiteY3" fmla="*/ 657224 h 2363647"/>
              <a:gd name="connsiteX4" fmla="*/ 1138596 w 2300646"/>
              <a:gd name="connsiteY4" fmla="*/ 1020622 h 2363647"/>
              <a:gd name="connsiteX5" fmla="*/ 1624371 w 2300646"/>
              <a:gd name="connsiteY5" fmla="*/ 1544497 h 2363647"/>
              <a:gd name="connsiteX6" fmla="*/ 2072046 w 2300646"/>
              <a:gd name="connsiteY6" fmla="*/ 1544497 h 2363647"/>
              <a:gd name="connsiteX7" fmla="*/ 2300646 w 2300646"/>
              <a:gd name="connsiteY7" fmla="*/ 1734997 h 2363647"/>
              <a:gd name="connsiteX8" fmla="*/ 1833921 w 2300646"/>
              <a:gd name="connsiteY8" fmla="*/ 1868347 h 2363647"/>
              <a:gd name="connsiteX9" fmla="*/ 2005371 w 2300646"/>
              <a:gd name="connsiteY9" fmla="*/ 2115997 h 2363647"/>
              <a:gd name="connsiteX10" fmla="*/ 1729146 w 2300646"/>
              <a:gd name="connsiteY10" fmla="*/ 1982647 h 2363647"/>
              <a:gd name="connsiteX11" fmla="*/ 1538646 w 2300646"/>
              <a:gd name="connsiteY11" fmla="*/ 2363647 h 2363647"/>
              <a:gd name="connsiteX12" fmla="*/ 1310046 w 2300646"/>
              <a:gd name="connsiteY12" fmla="*/ 2144572 h 2363647"/>
              <a:gd name="connsiteX13" fmla="*/ 1443396 w 2300646"/>
              <a:gd name="connsiteY13" fmla="*/ 1782622 h 2363647"/>
              <a:gd name="connsiteX14" fmla="*/ 919521 w 2300646"/>
              <a:gd name="connsiteY14" fmla="*/ 1201597 h 2363647"/>
              <a:gd name="connsiteX15" fmla="*/ 410353 w 2300646"/>
              <a:gd name="connsiteY15" fmla="*/ 2316707 h 2363647"/>
              <a:gd name="connsiteX16" fmla="*/ 288586 w 2300646"/>
              <a:gd name="connsiteY16" fmla="*/ 2047340 h 2363647"/>
              <a:gd name="connsiteX17" fmla="*/ 515813 w 2300646"/>
              <a:gd name="connsiteY17" fmla="*/ 761923 h 2363647"/>
              <a:gd name="connsiteX18" fmla="*/ 6569 w 2300646"/>
              <a:gd name="connsiteY18" fmla="*/ 0 h 2363647"/>
              <a:gd name="connsiteX0" fmla="*/ 6569 w 2300646"/>
              <a:gd name="connsiteY0" fmla="*/ 5505 h 2369152"/>
              <a:gd name="connsiteX1" fmla="*/ 767121 w 2300646"/>
              <a:gd name="connsiteY1" fmla="*/ 578452 h 2369152"/>
              <a:gd name="connsiteX2" fmla="*/ 2036842 w 2300646"/>
              <a:gd name="connsiteY2" fmla="*/ 514597 h 2369152"/>
              <a:gd name="connsiteX3" fmla="*/ 2291808 w 2300646"/>
              <a:gd name="connsiteY3" fmla="*/ 662729 h 2369152"/>
              <a:gd name="connsiteX4" fmla="*/ 1138596 w 2300646"/>
              <a:gd name="connsiteY4" fmla="*/ 1026127 h 2369152"/>
              <a:gd name="connsiteX5" fmla="*/ 1624371 w 2300646"/>
              <a:gd name="connsiteY5" fmla="*/ 1550002 h 2369152"/>
              <a:gd name="connsiteX6" fmla="*/ 2072046 w 2300646"/>
              <a:gd name="connsiteY6" fmla="*/ 1550002 h 2369152"/>
              <a:gd name="connsiteX7" fmla="*/ 2300646 w 2300646"/>
              <a:gd name="connsiteY7" fmla="*/ 1740502 h 2369152"/>
              <a:gd name="connsiteX8" fmla="*/ 1833921 w 2300646"/>
              <a:gd name="connsiteY8" fmla="*/ 1873852 h 2369152"/>
              <a:gd name="connsiteX9" fmla="*/ 2005371 w 2300646"/>
              <a:gd name="connsiteY9" fmla="*/ 2121502 h 2369152"/>
              <a:gd name="connsiteX10" fmla="*/ 1729146 w 2300646"/>
              <a:gd name="connsiteY10" fmla="*/ 1988152 h 2369152"/>
              <a:gd name="connsiteX11" fmla="*/ 1538646 w 2300646"/>
              <a:gd name="connsiteY11" fmla="*/ 2369152 h 2369152"/>
              <a:gd name="connsiteX12" fmla="*/ 1310046 w 2300646"/>
              <a:gd name="connsiteY12" fmla="*/ 2150077 h 2369152"/>
              <a:gd name="connsiteX13" fmla="*/ 1443396 w 2300646"/>
              <a:gd name="connsiteY13" fmla="*/ 1788127 h 2369152"/>
              <a:gd name="connsiteX14" fmla="*/ 919521 w 2300646"/>
              <a:gd name="connsiteY14" fmla="*/ 1207102 h 2369152"/>
              <a:gd name="connsiteX15" fmla="*/ 410353 w 2300646"/>
              <a:gd name="connsiteY15" fmla="*/ 2322212 h 2369152"/>
              <a:gd name="connsiteX16" fmla="*/ 288586 w 2300646"/>
              <a:gd name="connsiteY16" fmla="*/ 2052845 h 2369152"/>
              <a:gd name="connsiteX17" fmla="*/ 515813 w 2300646"/>
              <a:gd name="connsiteY17" fmla="*/ 767428 h 2369152"/>
              <a:gd name="connsiteX18" fmla="*/ 6569 w 2300646"/>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24119 w 2305244"/>
              <a:gd name="connsiteY14" fmla="*/ 1207102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73597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513830 w 2305244"/>
              <a:gd name="connsiteY13" fmla="*/ 1784469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50914 w 2305244"/>
              <a:gd name="connsiteY5" fmla="*/ 1597551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32752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24192 w 2305244"/>
              <a:gd name="connsiteY17" fmla="*/ 1641442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02246 w 2305244"/>
              <a:gd name="connsiteY17" fmla="*/ 1579262 h 2369152"/>
              <a:gd name="connsiteX0" fmla="*/ 2275983 w 2296406"/>
              <a:gd name="connsiteY0" fmla="*/ 1747817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7707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57695 w 2296406"/>
              <a:gd name="connsiteY0" fmla="*/ 1755133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9145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80482 w 2296406"/>
              <a:gd name="connsiteY5" fmla="*/ 2120816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54521"/>
              <a:gd name="connsiteX1" fmla="*/ 1838519 w 2296406"/>
              <a:gd name="connsiteY1" fmla="*/ 1873852 h 2354521"/>
              <a:gd name="connsiteX2" fmla="*/ 2009969 w 2296406"/>
              <a:gd name="connsiteY2" fmla="*/ 2121502 h 2354521"/>
              <a:gd name="connsiteX3" fmla="*/ 1733744 w 2296406"/>
              <a:gd name="connsiteY3" fmla="*/ 1988152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38519 w 2296406"/>
              <a:gd name="connsiteY1" fmla="*/ 1873852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91681 w 2296406"/>
              <a:gd name="connsiteY2" fmla="*/ 2136133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42887 w 2296406"/>
              <a:gd name="connsiteY2" fmla="*/ 2194655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3889 w 2296406"/>
              <a:gd name="connsiteY1" fmla="*/ 183727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7546 w 2296406"/>
              <a:gd name="connsiteY1" fmla="*/ 1826304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80220 w 2296986"/>
              <a:gd name="connsiteY0" fmla="*/ 1747818 h 2354521"/>
              <a:gd name="connsiteX1" fmla="*/ 1828126 w 2296986"/>
              <a:gd name="connsiteY1" fmla="*/ 1826304 h 2354521"/>
              <a:gd name="connsiteX2" fmla="*/ 1955684 w 2296986"/>
              <a:gd name="connsiteY2" fmla="*/ 2095900 h 2354521"/>
              <a:gd name="connsiteX3" fmla="*/ 1683117 w 2296986"/>
              <a:gd name="connsiteY3" fmla="*/ 1962549 h 2354521"/>
              <a:gd name="connsiteX4" fmla="*/ 1529193 w 2296986"/>
              <a:gd name="connsiteY4" fmla="*/ 2354521 h 2354521"/>
              <a:gd name="connsiteX5" fmla="*/ 1381062 w 2296986"/>
              <a:gd name="connsiteY5" fmla="*/ 2120816 h 2354521"/>
              <a:gd name="connsiteX6" fmla="*/ 1496122 w 2296986"/>
              <a:gd name="connsiteY6" fmla="*/ 1788127 h 2354521"/>
              <a:gd name="connsiteX7" fmla="*/ 910069 w 2296986"/>
              <a:gd name="connsiteY7" fmla="*/ 1225390 h 2354521"/>
              <a:gd name="connsiteX8" fmla="*/ 415531 w 2296986"/>
              <a:gd name="connsiteY8" fmla="*/ 2322212 h 2354521"/>
              <a:gd name="connsiteX9" fmla="*/ 293764 w 2296986"/>
              <a:gd name="connsiteY9" fmla="*/ 2052845 h 2354521"/>
              <a:gd name="connsiteX10" fmla="*/ 497994 w 2296986"/>
              <a:gd name="connsiteY10" fmla="*/ 836420 h 2354521"/>
              <a:gd name="connsiteX11" fmla="*/ 11747 w 2296986"/>
              <a:gd name="connsiteY11" fmla="*/ 5505 h 2354521"/>
              <a:gd name="connsiteX12" fmla="*/ 772299 w 2296986"/>
              <a:gd name="connsiteY12" fmla="*/ 578452 h 2354521"/>
              <a:gd name="connsiteX13" fmla="*/ 2042020 w 2296986"/>
              <a:gd name="connsiteY13" fmla="*/ 514597 h 2354521"/>
              <a:gd name="connsiteX14" fmla="*/ 2296986 w 2296986"/>
              <a:gd name="connsiteY14" fmla="*/ 662729 h 2354521"/>
              <a:gd name="connsiteX15" fmla="*/ 1125486 w 2296986"/>
              <a:gd name="connsiteY15" fmla="*/ 1004182 h 2354521"/>
              <a:gd name="connsiteX16" fmla="*/ 1677097 w 2296986"/>
              <a:gd name="connsiteY16" fmla="*/ 1608523 h 2354521"/>
              <a:gd name="connsiteX17" fmla="*/ 2095511 w 2296986"/>
              <a:gd name="connsiteY17" fmla="*/ 1557316 h 2354521"/>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910069 w 2296986"/>
              <a:gd name="connsiteY7" fmla="*/ 1225483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125486 w 2296986"/>
              <a:gd name="connsiteY15" fmla="*/ 1004275 h 2354614"/>
              <a:gd name="connsiteX16" fmla="*/ 1677097 w 2296986"/>
              <a:gd name="connsiteY16" fmla="*/ 1608616 h 2354614"/>
              <a:gd name="connsiteX17" fmla="*/ 2095511 w 2296986"/>
              <a:gd name="connsiteY17" fmla="*/ 1557409 h 2354614"/>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864075 w 2296986"/>
              <a:gd name="connsiteY7" fmla="*/ 1325138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125486 w 2296986"/>
              <a:gd name="connsiteY15" fmla="*/ 1004275 h 2354614"/>
              <a:gd name="connsiteX16" fmla="*/ 1677097 w 2296986"/>
              <a:gd name="connsiteY16" fmla="*/ 1608616 h 2354614"/>
              <a:gd name="connsiteX17" fmla="*/ 2095511 w 2296986"/>
              <a:gd name="connsiteY17" fmla="*/ 1557409 h 2354614"/>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864075 w 2296986"/>
              <a:gd name="connsiteY7" fmla="*/ 1325138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209809 w 2296986"/>
              <a:gd name="connsiteY15" fmla="*/ 996610 h 2354614"/>
              <a:gd name="connsiteX16" fmla="*/ 1677097 w 2296986"/>
              <a:gd name="connsiteY16" fmla="*/ 1608616 h 2354614"/>
              <a:gd name="connsiteX17" fmla="*/ 2095511 w 2296986"/>
              <a:gd name="connsiteY17" fmla="*/ 1557409 h 2354614"/>
              <a:gd name="connsiteX0" fmla="*/ 2279828 w 2296594"/>
              <a:gd name="connsiteY0" fmla="*/ 1747911 h 2354614"/>
              <a:gd name="connsiteX1" fmla="*/ 1827734 w 2296594"/>
              <a:gd name="connsiteY1" fmla="*/ 1826397 h 2354614"/>
              <a:gd name="connsiteX2" fmla="*/ 1955292 w 2296594"/>
              <a:gd name="connsiteY2" fmla="*/ 2095993 h 2354614"/>
              <a:gd name="connsiteX3" fmla="*/ 1682725 w 2296594"/>
              <a:gd name="connsiteY3" fmla="*/ 1962642 h 2354614"/>
              <a:gd name="connsiteX4" fmla="*/ 1528801 w 2296594"/>
              <a:gd name="connsiteY4" fmla="*/ 2354614 h 2354614"/>
              <a:gd name="connsiteX5" fmla="*/ 1380670 w 2296594"/>
              <a:gd name="connsiteY5" fmla="*/ 2120909 h 2354614"/>
              <a:gd name="connsiteX6" fmla="*/ 1495730 w 2296594"/>
              <a:gd name="connsiteY6" fmla="*/ 1788220 h 2354614"/>
              <a:gd name="connsiteX7" fmla="*/ 863683 w 2296594"/>
              <a:gd name="connsiteY7" fmla="*/ 1325138 h 2354614"/>
              <a:gd name="connsiteX8" fmla="*/ 415139 w 2296594"/>
              <a:gd name="connsiteY8" fmla="*/ 2322305 h 2354614"/>
              <a:gd name="connsiteX9" fmla="*/ 293372 w 2296594"/>
              <a:gd name="connsiteY9" fmla="*/ 2052938 h 2354614"/>
              <a:gd name="connsiteX10" fmla="*/ 512934 w 2296594"/>
              <a:gd name="connsiteY10" fmla="*/ 874842 h 2354614"/>
              <a:gd name="connsiteX11" fmla="*/ 11355 w 2296594"/>
              <a:gd name="connsiteY11" fmla="*/ 5598 h 2354614"/>
              <a:gd name="connsiteX12" fmla="*/ 840899 w 2296594"/>
              <a:gd name="connsiteY12" fmla="*/ 570880 h 2354614"/>
              <a:gd name="connsiteX13" fmla="*/ 2041628 w 2296594"/>
              <a:gd name="connsiteY13" fmla="*/ 514690 h 2354614"/>
              <a:gd name="connsiteX14" fmla="*/ 2296594 w 2296594"/>
              <a:gd name="connsiteY14" fmla="*/ 662822 h 2354614"/>
              <a:gd name="connsiteX15" fmla="*/ 1209417 w 2296594"/>
              <a:gd name="connsiteY15" fmla="*/ 996610 h 2354614"/>
              <a:gd name="connsiteX16" fmla="*/ 1676705 w 2296594"/>
              <a:gd name="connsiteY16" fmla="*/ 1608616 h 2354614"/>
              <a:gd name="connsiteX17" fmla="*/ 2095119 w 2296594"/>
              <a:gd name="connsiteY17" fmla="*/ 1557409 h 2354614"/>
              <a:gd name="connsiteX0" fmla="*/ 2279828 w 2296594"/>
              <a:gd name="connsiteY0" fmla="*/ 1747911 h 2354614"/>
              <a:gd name="connsiteX1" fmla="*/ 1827734 w 2296594"/>
              <a:gd name="connsiteY1" fmla="*/ 1826397 h 2354614"/>
              <a:gd name="connsiteX2" fmla="*/ 1955292 w 2296594"/>
              <a:gd name="connsiteY2" fmla="*/ 2095993 h 2354614"/>
              <a:gd name="connsiteX3" fmla="*/ 1682725 w 2296594"/>
              <a:gd name="connsiteY3" fmla="*/ 1962642 h 2354614"/>
              <a:gd name="connsiteX4" fmla="*/ 1528801 w 2296594"/>
              <a:gd name="connsiteY4" fmla="*/ 2354614 h 2354614"/>
              <a:gd name="connsiteX5" fmla="*/ 1380670 w 2296594"/>
              <a:gd name="connsiteY5" fmla="*/ 2120909 h 2354614"/>
              <a:gd name="connsiteX6" fmla="*/ 1495730 w 2296594"/>
              <a:gd name="connsiteY6" fmla="*/ 1788220 h 2354614"/>
              <a:gd name="connsiteX7" fmla="*/ 856016 w 2296594"/>
              <a:gd name="connsiteY7" fmla="*/ 1302141 h 2354614"/>
              <a:gd name="connsiteX8" fmla="*/ 415139 w 2296594"/>
              <a:gd name="connsiteY8" fmla="*/ 2322305 h 2354614"/>
              <a:gd name="connsiteX9" fmla="*/ 293372 w 2296594"/>
              <a:gd name="connsiteY9" fmla="*/ 2052938 h 2354614"/>
              <a:gd name="connsiteX10" fmla="*/ 512934 w 2296594"/>
              <a:gd name="connsiteY10" fmla="*/ 874842 h 2354614"/>
              <a:gd name="connsiteX11" fmla="*/ 11355 w 2296594"/>
              <a:gd name="connsiteY11" fmla="*/ 5598 h 2354614"/>
              <a:gd name="connsiteX12" fmla="*/ 840899 w 2296594"/>
              <a:gd name="connsiteY12" fmla="*/ 570880 h 2354614"/>
              <a:gd name="connsiteX13" fmla="*/ 2041628 w 2296594"/>
              <a:gd name="connsiteY13" fmla="*/ 514690 h 2354614"/>
              <a:gd name="connsiteX14" fmla="*/ 2296594 w 2296594"/>
              <a:gd name="connsiteY14" fmla="*/ 662822 h 2354614"/>
              <a:gd name="connsiteX15" fmla="*/ 1209417 w 2296594"/>
              <a:gd name="connsiteY15" fmla="*/ 996610 h 2354614"/>
              <a:gd name="connsiteX16" fmla="*/ 1676705 w 2296594"/>
              <a:gd name="connsiteY16" fmla="*/ 1608616 h 2354614"/>
              <a:gd name="connsiteX17" fmla="*/ 2095119 w 2296594"/>
              <a:gd name="connsiteY17" fmla="*/ 1557409 h 235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6594" h="2354614">
                <a:moveTo>
                  <a:pt x="2279828" y="1747911"/>
                </a:moveTo>
                <a:lnTo>
                  <a:pt x="1827734" y="1826397"/>
                </a:lnTo>
                <a:cubicBezTo>
                  <a:pt x="1873911" y="1907728"/>
                  <a:pt x="1985925" y="2047581"/>
                  <a:pt x="1955292" y="2095993"/>
                </a:cubicBezTo>
                <a:cubicBezTo>
                  <a:pt x="1897354" y="2139325"/>
                  <a:pt x="1773581" y="2007092"/>
                  <a:pt x="1682725" y="1962642"/>
                </a:cubicBezTo>
                <a:lnTo>
                  <a:pt x="1528801" y="2354614"/>
                </a:lnTo>
                <a:lnTo>
                  <a:pt x="1380670" y="2120909"/>
                </a:lnTo>
                <a:lnTo>
                  <a:pt x="1495730" y="1788220"/>
                </a:lnTo>
                <a:lnTo>
                  <a:pt x="856016" y="1302141"/>
                </a:lnTo>
                <a:lnTo>
                  <a:pt x="415139" y="2322305"/>
                </a:lnTo>
                <a:lnTo>
                  <a:pt x="293372" y="2052938"/>
                </a:lnTo>
                <a:cubicBezTo>
                  <a:pt x="369114" y="1624466"/>
                  <a:pt x="437192" y="1303314"/>
                  <a:pt x="512934" y="874842"/>
                </a:cubicBezTo>
                <a:cubicBezTo>
                  <a:pt x="317583" y="650129"/>
                  <a:pt x="-71270" y="102295"/>
                  <a:pt x="11355" y="5598"/>
                </a:cubicBezTo>
                <a:cubicBezTo>
                  <a:pt x="111253" y="-52136"/>
                  <a:pt x="623957" y="350637"/>
                  <a:pt x="840899" y="570880"/>
                </a:cubicBezTo>
                <a:lnTo>
                  <a:pt x="2041628" y="514690"/>
                </a:lnTo>
                <a:lnTo>
                  <a:pt x="2296594" y="662822"/>
                </a:lnTo>
                <a:lnTo>
                  <a:pt x="1209417" y="996610"/>
                </a:lnTo>
                <a:lnTo>
                  <a:pt x="1676705" y="1608616"/>
                </a:lnTo>
                <a:cubicBezTo>
                  <a:pt x="1795450" y="1589109"/>
                  <a:pt x="2095119" y="1557409"/>
                  <a:pt x="2095119" y="1557409"/>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134389711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EA8AC155-B63B-AA48-B5FE-FC6D0F49D524}"/>
              </a:ext>
            </a:extLst>
          </p:cNvPr>
          <p:cNvGraphicFramePr>
            <a:graphicFrameLocks noChangeAspect="1"/>
          </p:cNvGraphicFramePr>
          <p:nvPr>
            <p:custDataLst>
              <p:tags r:id="rId1"/>
            </p:custDataLst>
            <p:extLst>
              <p:ext uri="{D42A27DB-BD31-4B8C-83A1-F6EECF244321}">
                <p14:modId xmlns:p14="http://schemas.microsoft.com/office/powerpoint/2010/main" val="1669067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7" name="Object 46" hidden="1">
                        <a:extLst>
                          <a:ext uri="{FF2B5EF4-FFF2-40B4-BE49-F238E27FC236}">
                            <a16:creationId xmlns:a16="http://schemas.microsoft.com/office/drawing/2014/main" id="{EA8AC155-B63B-AA48-B5FE-FC6D0F49D52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9255692-D104-DE44-B30D-F3E395A7DD11}"/>
              </a:ext>
            </a:extLst>
          </p:cNvPr>
          <p:cNvSpPr>
            <a:spLocks noGrp="1"/>
          </p:cNvSpPr>
          <p:nvPr>
            <p:ph type="sldNum" sz="quarter" idx="4"/>
          </p:nvPr>
        </p:nvSpPr>
        <p:spPr/>
        <p:txBody>
          <a:bodyPr/>
          <a:lstStyle/>
          <a:p>
            <a:fld id="{3D966009-6E5A-4F8C-8CA7-E37AFBF5FB92}" type="slidenum">
              <a:rPr lang="en-US" smtClean="0"/>
              <a:t>142</a:t>
            </a:fld>
            <a:endParaRPr lang="en-US"/>
          </a:p>
        </p:txBody>
      </p:sp>
      <p:sp>
        <p:nvSpPr>
          <p:cNvPr id="3" name="Title 2">
            <a:extLst>
              <a:ext uri="{FF2B5EF4-FFF2-40B4-BE49-F238E27FC236}">
                <a16:creationId xmlns:a16="http://schemas.microsoft.com/office/drawing/2014/main" id="{38220A02-F7DC-584A-A192-AEFFBA107388}"/>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8D2E4C06-ACF3-084B-9C59-0C8BB958083B}"/>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55FCAC63-9C3D-4F4E-ACE2-3316B59CD26E}"/>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F72677E-0A3C-A344-A9AD-50FC92F8E7E0}"/>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3D5A518F-FB5D-5348-86BE-16002966391E}"/>
              </a:ext>
            </a:extLst>
          </p:cNvPr>
          <p:cNvSpPr>
            <a:spLocks noGrp="1"/>
          </p:cNvSpPr>
          <p:nvPr>
            <p:ph sz="quarter" idx="14"/>
          </p:nvPr>
        </p:nvSpPr>
        <p:spPr/>
        <p:txBody>
          <a:bodyPr/>
          <a:lstStyle/>
          <a:p>
            <a:endParaRPr lang="en-GB"/>
          </a:p>
        </p:txBody>
      </p:sp>
      <p:grpSp>
        <p:nvGrpSpPr>
          <p:cNvPr id="9" name="Group 20">
            <a:extLst>
              <a:ext uri="{FF2B5EF4-FFF2-40B4-BE49-F238E27FC236}">
                <a16:creationId xmlns:a16="http://schemas.microsoft.com/office/drawing/2014/main" id="{95912B0F-AAA9-964D-9629-5A152EBA055D}"/>
              </a:ext>
            </a:extLst>
          </p:cNvPr>
          <p:cNvGrpSpPr/>
          <p:nvPr/>
        </p:nvGrpSpPr>
        <p:grpSpPr>
          <a:xfrm>
            <a:off x="2871270" y="2688068"/>
            <a:ext cx="1237174" cy="2174887"/>
            <a:chOff x="445712" y="1449040"/>
            <a:chExt cx="2113018" cy="3924176"/>
          </a:xfrm>
        </p:grpSpPr>
        <p:sp>
          <p:nvSpPr>
            <p:cNvPr id="10" name="Rounded Rectangle 21">
              <a:extLst>
                <a:ext uri="{FF2B5EF4-FFF2-40B4-BE49-F238E27FC236}">
                  <a16:creationId xmlns:a16="http://schemas.microsoft.com/office/drawing/2014/main" id="{9C963F53-81D9-E441-A080-2532D5EA189E}"/>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1" name="Rectangle 22">
              <a:extLst>
                <a:ext uri="{FF2B5EF4-FFF2-40B4-BE49-F238E27FC236}">
                  <a16:creationId xmlns:a16="http://schemas.microsoft.com/office/drawing/2014/main" id="{C1F05B1A-10A6-624D-AE8C-142141B5B5F7}"/>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12" name="Group 23">
              <a:extLst>
                <a:ext uri="{FF2B5EF4-FFF2-40B4-BE49-F238E27FC236}">
                  <a16:creationId xmlns:a16="http://schemas.microsoft.com/office/drawing/2014/main" id="{5F01E7B0-DB36-FE43-8D91-1CDCBB957562}"/>
                </a:ext>
              </a:extLst>
            </p:cNvPr>
            <p:cNvGrpSpPr/>
            <p:nvPr userDrawn="1"/>
          </p:nvGrpSpPr>
          <p:grpSpPr>
            <a:xfrm>
              <a:off x="1407705" y="5045834"/>
              <a:ext cx="211967" cy="211967"/>
              <a:chOff x="1549420" y="5712364"/>
              <a:chExt cx="312583" cy="312583"/>
            </a:xfrm>
          </p:grpSpPr>
          <p:sp>
            <p:nvSpPr>
              <p:cNvPr id="13" name="Oval 24">
                <a:extLst>
                  <a:ext uri="{FF2B5EF4-FFF2-40B4-BE49-F238E27FC236}">
                    <a16:creationId xmlns:a16="http://schemas.microsoft.com/office/drawing/2014/main" id="{214AEF27-9B85-BC45-BC54-4D3D500982CC}"/>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4" name="Rounded Rectangle 25">
                <a:extLst>
                  <a:ext uri="{FF2B5EF4-FFF2-40B4-BE49-F238E27FC236}">
                    <a16:creationId xmlns:a16="http://schemas.microsoft.com/office/drawing/2014/main" id="{35F107DB-CC07-2A41-99A9-95C3B46CF2B5}"/>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grpSp>
      <p:grpSp>
        <p:nvGrpSpPr>
          <p:cNvPr id="15" name="그룹 9">
            <a:extLst>
              <a:ext uri="{FF2B5EF4-FFF2-40B4-BE49-F238E27FC236}">
                <a16:creationId xmlns:a16="http://schemas.microsoft.com/office/drawing/2014/main" id="{A789B1C7-8E10-7E46-9448-57A7D897EB87}"/>
              </a:ext>
            </a:extLst>
          </p:cNvPr>
          <p:cNvGrpSpPr/>
          <p:nvPr/>
        </p:nvGrpSpPr>
        <p:grpSpPr>
          <a:xfrm>
            <a:off x="1768233" y="1776392"/>
            <a:ext cx="4082635" cy="3986860"/>
            <a:chOff x="924229" y="1606109"/>
            <a:chExt cx="4734219" cy="4623159"/>
          </a:xfrm>
        </p:grpSpPr>
        <p:sp>
          <p:nvSpPr>
            <p:cNvPr id="16" name="Block Arc 15">
              <a:extLst>
                <a:ext uri="{FF2B5EF4-FFF2-40B4-BE49-F238E27FC236}">
                  <a16:creationId xmlns:a16="http://schemas.microsoft.com/office/drawing/2014/main" id="{3D60D0A4-431D-4D4E-8E8F-A6EA668387BD}"/>
                </a:ext>
              </a:extLst>
            </p:cNvPr>
            <p:cNvSpPr/>
            <p:nvPr/>
          </p:nvSpPr>
          <p:spPr>
            <a:xfrm>
              <a:off x="924229" y="1606109"/>
              <a:ext cx="4623159" cy="4623159"/>
            </a:xfrm>
            <a:prstGeom prst="blockArc">
              <a:avLst>
                <a:gd name="adj1" fmla="val 17994494"/>
                <a:gd name="adj2" fmla="val 3631056"/>
                <a:gd name="adj3" fmla="val 126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7" name="Oval 16">
              <a:extLst>
                <a:ext uri="{FF2B5EF4-FFF2-40B4-BE49-F238E27FC236}">
                  <a16:creationId xmlns:a16="http://schemas.microsoft.com/office/drawing/2014/main" id="{3571A156-5A1C-6A45-ABDB-417D81BBA367}"/>
                </a:ext>
              </a:extLst>
            </p:cNvPr>
            <p:cNvSpPr/>
            <p:nvPr/>
          </p:nvSpPr>
          <p:spPr>
            <a:xfrm>
              <a:off x="4238091" y="1766259"/>
              <a:ext cx="288032" cy="28803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Oval 17">
              <a:extLst>
                <a:ext uri="{FF2B5EF4-FFF2-40B4-BE49-F238E27FC236}">
                  <a16:creationId xmlns:a16="http://schemas.microsoft.com/office/drawing/2014/main" id="{CE63CCEA-DBAB-274E-8DD3-EFCAD13072E9}"/>
                </a:ext>
              </a:extLst>
            </p:cNvPr>
            <p:cNvSpPr/>
            <p:nvPr/>
          </p:nvSpPr>
          <p:spPr>
            <a:xfrm>
              <a:off x="5370416" y="3760400"/>
              <a:ext cx="288032"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9" name="Oval 18">
              <a:extLst>
                <a:ext uri="{FF2B5EF4-FFF2-40B4-BE49-F238E27FC236}">
                  <a16:creationId xmlns:a16="http://schemas.microsoft.com/office/drawing/2014/main" id="{E7473A07-69FF-5245-9A06-C91141CB3C7E}"/>
                </a:ext>
              </a:extLst>
            </p:cNvPr>
            <p:cNvSpPr/>
            <p:nvPr/>
          </p:nvSpPr>
          <p:spPr>
            <a:xfrm>
              <a:off x="4238091" y="5754540"/>
              <a:ext cx="288032" cy="28803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 name="Oval 19">
              <a:extLst>
                <a:ext uri="{FF2B5EF4-FFF2-40B4-BE49-F238E27FC236}">
                  <a16:creationId xmlns:a16="http://schemas.microsoft.com/office/drawing/2014/main" id="{3ECA36CC-BAB5-494C-9CE7-5FDA696B741A}"/>
                </a:ext>
              </a:extLst>
            </p:cNvPr>
            <p:cNvSpPr/>
            <p:nvPr/>
          </p:nvSpPr>
          <p:spPr>
            <a:xfrm>
              <a:off x="5072001" y="2610815"/>
              <a:ext cx="288032" cy="288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1" name="Oval 20">
              <a:extLst>
                <a:ext uri="{FF2B5EF4-FFF2-40B4-BE49-F238E27FC236}">
                  <a16:creationId xmlns:a16="http://schemas.microsoft.com/office/drawing/2014/main" id="{FB0B23A6-449B-CE47-B638-9511738962A2}"/>
                </a:ext>
              </a:extLst>
            </p:cNvPr>
            <p:cNvSpPr/>
            <p:nvPr/>
          </p:nvSpPr>
          <p:spPr>
            <a:xfrm>
              <a:off x="5049075" y="4941168"/>
              <a:ext cx="288032" cy="2880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22" name="Group 21">
            <a:extLst>
              <a:ext uri="{FF2B5EF4-FFF2-40B4-BE49-F238E27FC236}">
                <a16:creationId xmlns:a16="http://schemas.microsoft.com/office/drawing/2014/main" id="{775FE79D-6689-1D48-AB73-C7001C0E5D97}"/>
              </a:ext>
            </a:extLst>
          </p:cNvPr>
          <p:cNvGrpSpPr/>
          <p:nvPr/>
        </p:nvGrpSpPr>
        <p:grpSpPr>
          <a:xfrm>
            <a:off x="5564020" y="1716195"/>
            <a:ext cx="3986861" cy="626719"/>
            <a:chOff x="4965552" y="1736224"/>
            <a:chExt cx="3484978" cy="726743"/>
          </a:xfrm>
        </p:grpSpPr>
        <p:sp>
          <p:nvSpPr>
            <p:cNvPr id="23" name="TextBox 22">
              <a:extLst>
                <a:ext uri="{FF2B5EF4-FFF2-40B4-BE49-F238E27FC236}">
                  <a16:creationId xmlns:a16="http://schemas.microsoft.com/office/drawing/2014/main" id="{59DE7E4D-6EA4-8144-BC59-11EA6D1EE72C}"/>
                </a:ext>
              </a:extLst>
            </p:cNvPr>
            <p:cNvSpPr txBox="1"/>
            <p:nvPr/>
          </p:nvSpPr>
          <p:spPr>
            <a:xfrm>
              <a:off x="4965552" y="2001302"/>
              <a:ext cx="348497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4" name="TextBox 23">
              <a:extLst>
                <a:ext uri="{FF2B5EF4-FFF2-40B4-BE49-F238E27FC236}">
                  <a16:creationId xmlns:a16="http://schemas.microsoft.com/office/drawing/2014/main" id="{4D214BEB-FD96-5F4C-9E15-05CD1E2DF262}"/>
                </a:ext>
              </a:extLst>
            </p:cNvPr>
            <p:cNvSpPr txBox="1"/>
            <p:nvPr/>
          </p:nvSpPr>
          <p:spPr>
            <a:xfrm>
              <a:off x="4965552" y="1736224"/>
              <a:ext cx="3484978"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25" name="Group 24">
            <a:extLst>
              <a:ext uri="{FF2B5EF4-FFF2-40B4-BE49-F238E27FC236}">
                <a16:creationId xmlns:a16="http://schemas.microsoft.com/office/drawing/2014/main" id="{EA25F4FD-4031-0C46-9BE4-BFE36A4BDCB5}"/>
              </a:ext>
            </a:extLst>
          </p:cNvPr>
          <p:cNvGrpSpPr/>
          <p:nvPr/>
        </p:nvGrpSpPr>
        <p:grpSpPr>
          <a:xfrm>
            <a:off x="6160334" y="2589975"/>
            <a:ext cx="3986861" cy="626719"/>
            <a:chOff x="4965552" y="1736224"/>
            <a:chExt cx="3484978" cy="726743"/>
          </a:xfrm>
        </p:grpSpPr>
        <p:sp>
          <p:nvSpPr>
            <p:cNvPr id="26" name="TextBox 25">
              <a:extLst>
                <a:ext uri="{FF2B5EF4-FFF2-40B4-BE49-F238E27FC236}">
                  <a16:creationId xmlns:a16="http://schemas.microsoft.com/office/drawing/2014/main" id="{98DC06B8-0768-4D4F-B490-5A1265072109}"/>
                </a:ext>
              </a:extLst>
            </p:cNvPr>
            <p:cNvSpPr txBox="1"/>
            <p:nvPr/>
          </p:nvSpPr>
          <p:spPr>
            <a:xfrm>
              <a:off x="4965552" y="2001302"/>
              <a:ext cx="348497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7" name="TextBox 26">
              <a:extLst>
                <a:ext uri="{FF2B5EF4-FFF2-40B4-BE49-F238E27FC236}">
                  <a16:creationId xmlns:a16="http://schemas.microsoft.com/office/drawing/2014/main" id="{65F07E68-62F6-A443-8053-5F77B2BBD275}"/>
                </a:ext>
              </a:extLst>
            </p:cNvPr>
            <p:cNvSpPr txBox="1"/>
            <p:nvPr/>
          </p:nvSpPr>
          <p:spPr>
            <a:xfrm>
              <a:off x="4965552" y="1736224"/>
              <a:ext cx="3484978"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28" name="Group 27">
            <a:extLst>
              <a:ext uri="{FF2B5EF4-FFF2-40B4-BE49-F238E27FC236}">
                <a16:creationId xmlns:a16="http://schemas.microsoft.com/office/drawing/2014/main" id="{A8C5B0BC-EE92-E44E-BF91-61205E7E7017}"/>
              </a:ext>
            </a:extLst>
          </p:cNvPr>
          <p:cNvGrpSpPr/>
          <p:nvPr/>
        </p:nvGrpSpPr>
        <p:grpSpPr>
          <a:xfrm>
            <a:off x="6470821" y="3463754"/>
            <a:ext cx="3986861" cy="626719"/>
            <a:chOff x="4965552" y="1736224"/>
            <a:chExt cx="3484978" cy="726743"/>
          </a:xfrm>
        </p:grpSpPr>
        <p:sp>
          <p:nvSpPr>
            <p:cNvPr id="29" name="TextBox 28">
              <a:extLst>
                <a:ext uri="{FF2B5EF4-FFF2-40B4-BE49-F238E27FC236}">
                  <a16:creationId xmlns:a16="http://schemas.microsoft.com/office/drawing/2014/main" id="{DE38748D-6DE1-BF46-B1E6-4E1732C6C6D1}"/>
                </a:ext>
              </a:extLst>
            </p:cNvPr>
            <p:cNvSpPr txBox="1"/>
            <p:nvPr/>
          </p:nvSpPr>
          <p:spPr>
            <a:xfrm>
              <a:off x="4965552" y="2001302"/>
              <a:ext cx="348497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0" name="TextBox 29">
              <a:extLst>
                <a:ext uri="{FF2B5EF4-FFF2-40B4-BE49-F238E27FC236}">
                  <a16:creationId xmlns:a16="http://schemas.microsoft.com/office/drawing/2014/main" id="{730DE649-ADBA-8947-BA2E-D0EDFE3F1617}"/>
                </a:ext>
              </a:extLst>
            </p:cNvPr>
            <p:cNvSpPr txBox="1"/>
            <p:nvPr/>
          </p:nvSpPr>
          <p:spPr>
            <a:xfrm>
              <a:off x="4965552" y="1736224"/>
              <a:ext cx="3484978"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31" name="Group 30">
            <a:extLst>
              <a:ext uri="{FF2B5EF4-FFF2-40B4-BE49-F238E27FC236}">
                <a16:creationId xmlns:a16="http://schemas.microsoft.com/office/drawing/2014/main" id="{3670028C-BCE4-F345-8985-1205CB00910B}"/>
              </a:ext>
            </a:extLst>
          </p:cNvPr>
          <p:cNvGrpSpPr/>
          <p:nvPr/>
        </p:nvGrpSpPr>
        <p:grpSpPr>
          <a:xfrm>
            <a:off x="5564020" y="5211313"/>
            <a:ext cx="3986861" cy="626719"/>
            <a:chOff x="4965552" y="1736224"/>
            <a:chExt cx="3484978" cy="726743"/>
          </a:xfrm>
        </p:grpSpPr>
        <p:sp>
          <p:nvSpPr>
            <p:cNvPr id="32" name="TextBox 31">
              <a:extLst>
                <a:ext uri="{FF2B5EF4-FFF2-40B4-BE49-F238E27FC236}">
                  <a16:creationId xmlns:a16="http://schemas.microsoft.com/office/drawing/2014/main" id="{F8791E99-67D8-7642-82CC-882464247A6E}"/>
                </a:ext>
              </a:extLst>
            </p:cNvPr>
            <p:cNvSpPr txBox="1"/>
            <p:nvPr/>
          </p:nvSpPr>
          <p:spPr>
            <a:xfrm>
              <a:off x="4965552" y="2001302"/>
              <a:ext cx="348497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3" name="TextBox 32">
              <a:extLst>
                <a:ext uri="{FF2B5EF4-FFF2-40B4-BE49-F238E27FC236}">
                  <a16:creationId xmlns:a16="http://schemas.microsoft.com/office/drawing/2014/main" id="{C1E758AA-6408-4C4D-A76B-A4E91A978164}"/>
                </a:ext>
              </a:extLst>
            </p:cNvPr>
            <p:cNvSpPr txBox="1"/>
            <p:nvPr/>
          </p:nvSpPr>
          <p:spPr>
            <a:xfrm>
              <a:off x="4965552" y="1736224"/>
              <a:ext cx="3484978"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34" name="Group 33">
            <a:extLst>
              <a:ext uri="{FF2B5EF4-FFF2-40B4-BE49-F238E27FC236}">
                <a16:creationId xmlns:a16="http://schemas.microsoft.com/office/drawing/2014/main" id="{AC411A13-8FF3-A040-A4EF-2566C8079338}"/>
              </a:ext>
            </a:extLst>
          </p:cNvPr>
          <p:cNvGrpSpPr/>
          <p:nvPr/>
        </p:nvGrpSpPr>
        <p:grpSpPr>
          <a:xfrm>
            <a:off x="6160334" y="4337534"/>
            <a:ext cx="3986861" cy="626719"/>
            <a:chOff x="4965552" y="1736224"/>
            <a:chExt cx="3484978" cy="726743"/>
          </a:xfrm>
        </p:grpSpPr>
        <p:sp>
          <p:nvSpPr>
            <p:cNvPr id="35" name="TextBox 34">
              <a:extLst>
                <a:ext uri="{FF2B5EF4-FFF2-40B4-BE49-F238E27FC236}">
                  <a16:creationId xmlns:a16="http://schemas.microsoft.com/office/drawing/2014/main" id="{D3D206BD-A906-C74C-9898-FD8FDF21408D}"/>
                </a:ext>
              </a:extLst>
            </p:cNvPr>
            <p:cNvSpPr txBox="1"/>
            <p:nvPr/>
          </p:nvSpPr>
          <p:spPr>
            <a:xfrm>
              <a:off x="4965552" y="2001302"/>
              <a:ext cx="3484978"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6" name="TextBox 35">
              <a:extLst>
                <a:ext uri="{FF2B5EF4-FFF2-40B4-BE49-F238E27FC236}">
                  <a16:creationId xmlns:a16="http://schemas.microsoft.com/office/drawing/2014/main" id="{8743E2BB-8931-6C41-A366-FA177151C199}"/>
                </a:ext>
              </a:extLst>
            </p:cNvPr>
            <p:cNvSpPr txBox="1"/>
            <p:nvPr/>
          </p:nvSpPr>
          <p:spPr>
            <a:xfrm>
              <a:off x="4965552" y="1736224"/>
              <a:ext cx="3484978"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37" name="Group 36">
            <a:extLst>
              <a:ext uri="{FF2B5EF4-FFF2-40B4-BE49-F238E27FC236}">
                <a16:creationId xmlns:a16="http://schemas.microsoft.com/office/drawing/2014/main" id="{D2F1440A-848E-3048-9BD6-91A774DA0797}"/>
              </a:ext>
            </a:extLst>
          </p:cNvPr>
          <p:cNvGrpSpPr/>
          <p:nvPr/>
        </p:nvGrpSpPr>
        <p:grpSpPr>
          <a:xfrm>
            <a:off x="1095361" y="3217588"/>
            <a:ext cx="1491437" cy="1104469"/>
            <a:chOff x="4965552" y="1736224"/>
            <a:chExt cx="1529916" cy="1280741"/>
          </a:xfrm>
        </p:grpSpPr>
        <p:sp>
          <p:nvSpPr>
            <p:cNvPr id="38" name="TextBox 37">
              <a:extLst>
                <a:ext uri="{FF2B5EF4-FFF2-40B4-BE49-F238E27FC236}">
                  <a16:creationId xmlns:a16="http://schemas.microsoft.com/office/drawing/2014/main" id="{0084118B-A542-4349-B8EA-7FFEF4C78607}"/>
                </a:ext>
              </a:extLst>
            </p:cNvPr>
            <p:cNvSpPr txBox="1"/>
            <p:nvPr/>
          </p:nvSpPr>
          <p:spPr>
            <a:xfrm>
              <a:off x="4965552" y="2001302"/>
              <a:ext cx="1529916" cy="1015663"/>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9" name="TextBox 38">
              <a:extLst>
                <a:ext uri="{FF2B5EF4-FFF2-40B4-BE49-F238E27FC236}">
                  <a16:creationId xmlns:a16="http://schemas.microsoft.com/office/drawing/2014/main" id="{B736F93B-7FA5-4B4E-87A0-DDDB214C4FAF}"/>
                </a:ext>
              </a:extLst>
            </p:cNvPr>
            <p:cNvSpPr txBox="1"/>
            <p:nvPr/>
          </p:nvSpPr>
          <p:spPr>
            <a:xfrm>
              <a:off x="4965552" y="1736224"/>
              <a:ext cx="1529916" cy="307777"/>
            </a:xfrm>
            <a:prstGeom prst="rect">
              <a:avLst/>
            </a:prstGeom>
            <a:noFill/>
          </p:spPr>
          <p:txBody>
            <a:bodyPr wrap="square" rtlCol="0">
              <a:spAutoFit/>
            </a:bodyPr>
            <a:lstStyle/>
            <a:p>
              <a:pPr algn="r"/>
              <a:r>
                <a:rPr lang="en-US" altLang="ko-KR" sz="1400" b="1">
                  <a:solidFill>
                    <a:schemeClr val="tx1">
                      <a:lumMod val="75000"/>
                      <a:lumOff val="25000"/>
                    </a:schemeClr>
                  </a:solidFill>
                  <a:cs typeface="Arial" pitchFamily="34" charset="0"/>
                </a:rPr>
                <a:t>Contents Title</a:t>
              </a:r>
              <a:endParaRPr lang="ko-KR" altLang="en-US" sz="1400" b="1">
                <a:solidFill>
                  <a:schemeClr val="tx1">
                    <a:lumMod val="75000"/>
                    <a:lumOff val="25000"/>
                  </a:schemeClr>
                </a:solidFill>
                <a:cs typeface="Arial" pitchFamily="34" charset="0"/>
              </a:endParaRPr>
            </a:p>
          </p:txBody>
        </p:sp>
      </p:grpSp>
      <p:grpSp>
        <p:nvGrpSpPr>
          <p:cNvPr id="40" name="그룹 3">
            <a:extLst>
              <a:ext uri="{FF2B5EF4-FFF2-40B4-BE49-F238E27FC236}">
                <a16:creationId xmlns:a16="http://schemas.microsoft.com/office/drawing/2014/main" id="{F7BD2748-908E-EB4F-A342-1AC80D4A21B4}"/>
              </a:ext>
            </a:extLst>
          </p:cNvPr>
          <p:cNvGrpSpPr/>
          <p:nvPr/>
        </p:nvGrpSpPr>
        <p:grpSpPr>
          <a:xfrm>
            <a:off x="1605331" y="1937077"/>
            <a:ext cx="3665489" cy="3665489"/>
            <a:chOff x="735328" y="1762623"/>
            <a:chExt cx="4250497" cy="4250497"/>
          </a:xfrm>
        </p:grpSpPr>
        <p:sp>
          <p:nvSpPr>
            <p:cNvPr id="41" name="Block Arc 40">
              <a:extLst>
                <a:ext uri="{FF2B5EF4-FFF2-40B4-BE49-F238E27FC236}">
                  <a16:creationId xmlns:a16="http://schemas.microsoft.com/office/drawing/2014/main" id="{3109DE52-628E-2B46-B580-3EA36C6D6CC4}"/>
                </a:ext>
              </a:extLst>
            </p:cNvPr>
            <p:cNvSpPr/>
            <p:nvPr/>
          </p:nvSpPr>
          <p:spPr>
            <a:xfrm>
              <a:off x="735328" y="1762623"/>
              <a:ext cx="4250497" cy="4250497"/>
            </a:xfrm>
            <a:prstGeom prst="blockArc">
              <a:avLst>
                <a:gd name="adj1" fmla="val 4228396"/>
                <a:gd name="adj2" fmla="val 7060926"/>
                <a:gd name="adj3" fmla="val 52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2" name="Block Arc 41">
              <a:extLst>
                <a:ext uri="{FF2B5EF4-FFF2-40B4-BE49-F238E27FC236}">
                  <a16:creationId xmlns:a16="http://schemas.microsoft.com/office/drawing/2014/main" id="{1BC65C21-CCC1-B84E-9DC9-A08ADD4899F9}"/>
                </a:ext>
              </a:extLst>
            </p:cNvPr>
            <p:cNvSpPr/>
            <p:nvPr/>
          </p:nvSpPr>
          <p:spPr>
            <a:xfrm>
              <a:off x="735328" y="1762623"/>
              <a:ext cx="4250497" cy="4250497"/>
            </a:xfrm>
            <a:prstGeom prst="blockArc">
              <a:avLst>
                <a:gd name="adj1" fmla="val 1492588"/>
                <a:gd name="adj2" fmla="val 4237585"/>
                <a:gd name="adj3" fmla="val 52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3" name="Block Arc 42">
              <a:extLst>
                <a:ext uri="{FF2B5EF4-FFF2-40B4-BE49-F238E27FC236}">
                  <a16:creationId xmlns:a16="http://schemas.microsoft.com/office/drawing/2014/main" id="{E013FD10-776F-664D-AFD1-9941D3D85B9C}"/>
                </a:ext>
              </a:extLst>
            </p:cNvPr>
            <p:cNvSpPr/>
            <p:nvPr/>
          </p:nvSpPr>
          <p:spPr>
            <a:xfrm>
              <a:off x="735328" y="1762623"/>
              <a:ext cx="4250497" cy="4250497"/>
            </a:xfrm>
            <a:prstGeom prst="blockArc">
              <a:avLst>
                <a:gd name="adj1" fmla="val 20334074"/>
                <a:gd name="adj2" fmla="val 1503961"/>
                <a:gd name="adj3" fmla="val 528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4" name="Block Arc 43">
              <a:extLst>
                <a:ext uri="{FF2B5EF4-FFF2-40B4-BE49-F238E27FC236}">
                  <a16:creationId xmlns:a16="http://schemas.microsoft.com/office/drawing/2014/main" id="{E0CA3B03-0026-2347-8F44-C29CFB718EE2}"/>
                </a:ext>
              </a:extLst>
            </p:cNvPr>
            <p:cNvSpPr/>
            <p:nvPr/>
          </p:nvSpPr>
          <p:spPr>
            <a:xfrm>
              <a:off x="735328" y="1762623"/>
              <a:ext cx="4250497" cy="4250497"/>
            </a:xfrm>
            <a:prstGeom prst="blockArc">
              <a:avLst>
                <a:gd name="adj1" fmla="val 17549958"/>
                <a:gd name="adj2" fmla="val 20340767"/>
                <a:gd name="adj3" fmla="val 528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5" name="Block Arc 5">
              <a:extLst>
                <a:ext uri="{FF2B5EF4-FFF2-40B4-BE49-F238E27FC236}">
                  <a16:creationId xmlns:a16="http://schemas.microsoft.com/office/drawing/2014/main" id="{A9429F54-B095-3240-A165-9C56D9526919}"/>
                </a:ext>
              </a:extLst>
            </p:cNvPr>
            <p:cNvSpPr/>
            <p:nvPr/>
          </p:nvSpPr>
          <p:spPr>
            <a:xfrm>
              <a:off x="735328" y="1762623"/>
              <a:ext cx="4250497" cy="4250497"/>
            </a:xfrm>
            <a:prstGeom prst="blockArc">
              <a:avLst>
                <a:gd name="adj1" fmla="val 14520241"/>
                <a:gd name="adj2" fmla="val 17553267"/>
                <a:gd name="adj3" fmla="val 524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spTree>
    <p:extLst>
      <p:ext uri="{BB962C8B-B14F-4D97-AF65-F5344CB8AC3E}">
        <p14:creationId xmlns:p14="http://schemas.microsoft.com/office/powerpoint/2010/main" val="243559213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AC4C8B6B-9570-524D-9DAF-3C259D63EFE3}"/>
              </a:ext>
            </a:extLst>
          </p:cNvPr>
          <p:cNvGraphicFramePr>
            <a:graphicFrameLocks noChangeAspect="1"/>
          </p:cNvGraphicFramePr>
          <p:nvPr>
            <p:custDataLst>
              <p:tags r:id="rId1"/>
            </p:custDataLst>
            <p:extLst>
              <p:ext uri="{D42A27DB-BD31-4B8C-83A1-F6EECF244321}">
                <p14:modId xmlns:p14="http://schemas.microsoft.com/office/powerpoint/2010/main" val="2133159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2" name="Object 41" hidden="1">
                        <a:extLst>
                          <a:ext uri="{FF2B5EF4-FFF2-40B4-BE49-F238E27FC236}">
                            <a16:creationId xmlns:a16="http://schemas.microsoft.com/office/drawing/2014/main" id="{AC4C8B6B-9570-524D-9DAF-3C259D63EFE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9748DDE-BA04-DB4B-8146-BF0080C6C10B}"/>
              </a:ext>
            </a:extLst>
          </p:cNvPr>
          <p:cNvSpPr>
            <a:spLocks noGrp="1"/>
          </p:cNvSpPr>
          <p:nvPr>
            <p:ph type="sldNum" sz="quarter" idx="4"/>
          </p:nvPr>
        </p:nvSpPr>
        <p:spPr/>
        <p:txBody>
          <a:bodyPr/>
          <a:lstStyle/>
          <a:p>
            <a:fld id="{3D966009-6E5A-4F8C-8CA7-E37AFBF5FB92}" type="slidenum">
              <a:rPr lang="en-US" smtClean="0"/>
              <a:t>143</a:t>
            </a:fld>
            <a:endParaRPr lang="en-US"/>
          </a:p>
        </p:txBody>
      </p:sp>
      <p:sp>
        <p:nvSpPr>
          <p:cNvPr id="3" name="Title 2">
            <a:extLst>
              <a:ext uri="{FF2B5EF4-FFF2-40B4-BE49-F238E27FC236}">
                <a16:creationId xmlns:a16="http://schemas.microsoft.com/office/drawing/2014/main" id="{D055B5B5-2696-6B43-9E33-C27251584FB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FD40A410-236E-174B-94A5-93B112C09359}"/>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159726C3-9610-A448-B920-642DD1400D8C}"/>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08B8D90-A7AB-5842-8049-C1A8916EDF7C}"/>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EC3CE0C-9B40-FC47-B3B6-58D0DDA3A14A}"/>
              </a:ext>
            </a:extLst>
          </p:cNvPr>
          <p:cNvSpPr>
            <a:spLocks noGrp="1"/>
          </p:cNvSpPr>
          <p:nvPr>
            <p:ph sz="quarter" idx="14"/>
          </p:nvPr>
        </p:nvSpPr>
        <p:spPr/>
        <p:txBody>
          <a:bodyPr/>
          <a:lstStyle/>
          <a:p>
            <a:endParaRPr lang="en-GB"/>
          </a:p>
        </p:txBody>
      </p:sp>
      <p:grpSp>
        <p:nvGrpSpPr>
          <p:cNvPr id="41" name="Group 40">
            <a:extLst>
              <a:ext uri="{FF2B5EF4-FFF2-40B4-BE49-F238E27FC236}">
                <a16:creationId xmlns:a16="http://schemas.microsoft.com/office/drawing/2014/main" id="{BFD4807B-4607-8E4D-9E34-B0FDAE3BF840}"/>
              </a:ext>
            </a:extLst>
          </p:cNvPr>
          <p:cNvGrpSpPr/>
          <p:nvPr/>
        </p:nvGrpSpPr>
        <p:grpSpPr>
          <a:xfrm>
            <a:off x="951049" y="1703432"/>
            <a:ext cx="10290568" cy="4324892"/>
            <a:chOff x="951049" y="1817732"/>
            <a:chExt cx="10290568" cy="4324892"/>
          </a:xfrm>
        </p:grpSpPr>
        <p:sp>
          <p:nvSpPr>
            <p:cNvPr id="9" name="Donut 1">
              <a:extLst>
                <a:ext uri="{FF2B5EF4-FFF2-40B4-BE49-F238E27FC236}">
                  <a16:creationId xmlns:a16="http://schemas.microsoft.com/office/drawing/2014/main" id="{B6208266-6F6A-7E4F-96AA-D90A901B21F0}"/>
                </a:ext>
              </a:extLst>
            </p:cNvPr>
            <p:cNvSpPr/>
            <p:nvPr/>
          </p:nvSpPr>
          <p:spPr>
            <a:xfrm>
              <a:off x="3917693" y="2538753"/>
              <a:ext cx="2799629" cy="2799629"/>
            </a:xfrm>
            <a:prstGeom prst="donut">
              <a:avLst>
                <a:gd name="adj" fmla="val 6673"/>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10" name="그룹 12">
              <a:extLst>
                <a:ext uri="{FF2B5EF4-FFF2-40B4-BE49-F238E27FC236}">
                  <a16:creationId xmlns:a16="http://schemas.microsoft.com/office/drawing/2014/main" id="{6EC03FFB-6021-2C46-B1B3-FF92CF5249C8}"/>
                </a:ext>
              </a:extLst>
            </p:cNvPr>
            <p:cNvGrpSpPr/>
            <p:nvPr/>
          </p:nvGrpSpPr>
          <p:grpSpPr>
            <a:xfrm>
              <a:off x="1151981" y="2272394"/>
              <a:ext cx="2418299" cy="2643081"/>
              <a:chOff x="1989012" y="2175681"/>
              <a:chExt cx="2165302" cy="2643081"/>
            </a:xfrm>
          </p:grpSpPr>
          <p:sp>
            <p:nvSpPr>
              <p:cNvPr id="11" name="TextBox 10">
                <a:extLst>
                  <a:ext uri="{FF2B5EF4-FFF2-40B4-BE49-F238E27FC236}">
                    <a16:creationId xmlns:a16="http://schemas.microsoft.com/office/drawing/2014/main" id="{543D8C14-92CB-CE4F-95DB-DE256884BFD4}"/>
                  </a:ext>
                </a:extLst>
              </p:cNvPr>
              <p:cNvSpPr txBox="1"/>
              <p:nvPr/>
            </p:nvSpPr>
            <p:spPr>
              <a:xfrm>
                <a:off x="1991544" y="2510438"/>
                <a:ext cx="2162770" cy="2308324"/>
              </a:xfrm>
              <a:prstGeom prst="rect">
                <a:avLst/>
              </a:prstGeom>
              <a:noFill/>
            </p:spPr>
            <p:txBody>
              <a:bodyPr wrap="square" rtlCol="0">
                <a:spAutoFit/>
              </a:bodyPr>
              <a:lstStyle/>
              <a:p>
                <a:pPr algn="r"/>
                <a:r>
                  <a:rPr lang="en-US" altLang="ko-KR" sz="1200">
                    <a:solidFill>
                      <a:schemeClr val="tx1">
                        <a:lumMod val="75000"/>
                        <a:lumOff val="25000"/>
                      </a:schemeClr>
                    </a:solidFill>
                  </a:rPr>
                  <a:t>Example Text : Get a modern PowerPoint  Presentation that is beautifully designed. I hope and I believe that this Template will your Time, Money and Reputation. Easy to change colors, photos and Text. Get a modern PowerPoint  Presentation that is beautifully designed. I hope and I believe that this Template will your Time, Money and Reputation. Easy to change colors, photos and Text. </a:t>
                </a:r>
                <a:endParaRPr lang="ko-KR" altLang="en-US" sz="1200">
                  <a:solidFill>
                    <a:schemeClr val="tx1">
                      <a:lumMod val="75000"/>
                      <a:lumOff val="25000"/>
                    </a:schemeClr>
                  </a:solidFill>
                </a:endParaRPr>
              </a:p>
            </p:txBody>
          </p:sp>
          <p:sp>
            <p:nvSpPr>
              <p:cNvPr id="12" name="TextBox 11">
                <a:extLst>
                  <a:ext uri="{FF2B5EF4-FFF2-40B4-BE49-F238E27FC236}">
                    <a16:creationId xmlns:a16="http://schemas.microsoft.com/office/drawing/2014/main" id="{04D0149B-76B1-A74A-B603-1230A427712E}"/>
                  </a:ext>
                </a:extLst>
              </p:cNvPr>
              <p:cNvSpPr txBox="1"/>
              <p:nvPr/>
            </p:nvSpPr>
            <p:spPr>
              <a:xfrm>
                <a:off x="1989012" y="2175681"/>
                <a:ext cx="2162771" cy="307777"/>
              </a:xfrm>
              <a:prstGeom prst="rect">
                <a:avLst/>
              </a:prstGeom>
              <a:noFill/>
            </p:spPr>
            <p:txBody>
              <a:bodyPr wrap="square" rtlCol="0">
                <a:spAutoFit/>
              </a:bodyPr>
              <a:lstStyle/>
              <a:p>
                <a:pPr algn="r"/>
                <a:r>
                  <a:rPr lang="en-US" altLang="ko-KR" sz="1400">
                    <a:solidFill>
                      <a:schemeClr val="tx1">
                        <a:lumMod val="75000"/>
                        <a:lumOff val="25000"/>
                      </a:schemeClr>
                    </a:solidFill>
                  </a:rPr>
                  <a:t>Contents _ Graph </a:t>
                </a:r>
                <a:endParaRPr lang="ko-KR" altLang="en-US" sz="1400">
                  <a:solidFill>
                    <a:schemeClr val="tx1">
                      <a:lumMod val="75000"/>
                      <a:lumOff val="25000"/>
                    </a:schemeClr>
                  </a:solidFill>
                </a:endParaRPr>
              </a:p>
            </p:txBody>
          </p:sp>
        </p:grpSp>
        <p:cxnSp>
          <p:nvCxnSpPr>
            <p:cNvPr id="13" name="Straight Connector 12">
              <a:extLst>
                <a:ext uri="{FF2B5EF4-FFF2-40B4-BE49-F238E27FC236}">
                  <a16:creationId xmlns:a16="http://schemas.microsoft.com/office/drawing/2014/main" id="{A1393A64-2DD3-D44D-AF28-5AFF72570C1A}"/>
                </a:ext>
              </a:extLst>
            </p:cNvPr>
            <p:cNvCxnSpPr>
              <a:cxnSpLocks/>
            </p:cNvCxnSpPr>
            <p:nvPr/>
          </p:nvCxnSpPr>
          <p:spPr>
            <a:xfrm>
              <a:off x="951049" y="2578577"/>
              <a:ext cx="2799629" cy="15225"/>
            </a:xfrm>
            <a:prstGeom prst="line">
              <a:avLst/>
            </a:prstGeom>
            <a:ln w="12700">
              <a:solidFill>
                <a:srgbClr val="004149"/>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D7665-DC93-4742-893D-ABAFB4B447A8}"/>
                </a:ext>
              </a:extLst>
            </p:cNvPr>
            <p:cNvCxnSpPr>
              <a:cxnSpLocks/>
              <a:endCxn id="9" idx="1"/>
            </p:cNvCxnSpPr>
            <p:nvPr/>
          </p:nvCxnSpPr>
          <p:spPr>
            <a:xfrm>
              <a:off x="3750678" y="2593802"/>
              <a:ext cx="577011" cy="354947"/>
            </a:xfrm>
            <a:prstGeom prst="line">
              <a:avLst/>
            </a:prstGeom>
            <a:ln w="12700">
              <a:solidFill>
                <a:srgbClr val="004149"/>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5131DC9-DF37-A748-82D2-E605736DA976}"/>
                </a:ext>
              </a:extLst>
            </p:cNvPr>
            <p:cNvSpPr txBox="1"/>
            <p:nvPr/>
          </p:nvSpPr>
          <p:spPr>
            <a:xfrm>
              <a:off x="4601184" y="4185768"/>
              <a:ext cx="1452102" cy="400110"/>
            </a:xfrm>
            <a:prstGeom prst="rect">
              <a:avLst/>
            </a:prstGeom>
            <a:noFill/>
          </p:spPr>
          <p:txBody>
            <a:bodyPr wrap="square" rtlCol="0">
              <a:spAutoFit/>
            </a:bodyPr>
            <a:lstStyle/>
            <a:p>
              <a:pPr algn="ctr"/>
              <a:r>
                <a:rPr lang="en-US" altLang="ko-KR" sz="2000" b="1">
                  <a:solidFill>
                    <a:schemeClr val="tx1">
                      <a:lumMod val="75000"/>
                      <a:lumOff val="25000"/>
                    </a:schemeClr>
                  </a:solidFill>
                </a:rPr>
                <a:t>TBD</a:t>
              </a:r>
              <a:endParaRPr lang="ko-KR" altLang="en-US" sz="2000" b="1">
                <a:solidFill>
                  <a:schemeClr val="tx1">
                    <a:lumMod val="75000"/>
                    <a:lumOff val="25000"/>
                  </a:schemeClr>
                </a:solidFill>
              </a:endParaRPr>
            </a:p>
          </p:txBody>
        </p:sp>
        <p:sp>
          <p:nvSpPr>
            <p:cNvPr id="16" name="Donut 66">
              <a:extLst>
                <a:ext uri="{FF2B5EF4-FFF2-40B4-BE49-F238E27FC236}">
                  <a16:creationId xmlns:a16="http://schemas.microsoft.com/office/drawing/2014/main" id="{34F9B4F6-3512-924B-8911-4D08CE2D2D23}"/>
                </a:ext>
              </a:extLst>
            </p:cNvPr>
            <p:cNvSpPr/>
            <p:nvPr/>
          </p:nvSpPr>
          <p:spPr>
            <a:xfrm>
              <a:off x="7397978" y="4116706"/>
              <a:ext cx="701030" cy="701030"/>
            </a:xfrm>
            <a:prstGeom prst="donut">
              <a:avLst>
                <a:gd name="adj" fmla="val 8736"/>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17" name="Straight Connector 16">
              <a:extLst>
                <a:ext uri="{FF2B5EF4-FFF2-40B4-BE49-F238E27FC236}">
                  <a16:creationId xmlns:a16="http://schemas.microsoft.com/office/drawing/2014/main" id="{EFB2D50A-75F4-D04F-A4AD-8BD321E1CE21}"/>
                </a:ext>
              </a:extLst>
            </p:cNvPr>
            <p:cNvCxnSpPr>
              <a:cxnSpLocks/>
              <a:stCxn id="16" idx="6"/>
            </p:cNvCxnSpPr>
            <p:nvPr/>
          </p:nvCxnSpPr>
          <p:spPr>
            <a:xfrm>
              <a:off x="8099008" y="4467220"/>
              <a:ext cx="3142609" cy="4070"/>
            </a:xfrm>
            <a:prstGeom prst="line">
              <a:avLst/>
            </a:prstGeom>
            <a:ln w="12700">
              <a:solidFill>
                <a:srgbClr val="90D214"/>
              </a:solidFill>
              <a:tailEnd type="oval"/>
            </a:ln>
          </p:spPr>
          <p:style>
            <a:lnRef idx="1">
              <a:schemeClr val="accent1"/>
            </a:lnRef>
            <a:fillRef idx="0">
              <a:schemeClr val="accent1"/>
            </a:fillRef>
            <a:effectRef idx="0">
              <a:schemeClr val="accent1"/>
            </a:effectRef>
            <a:fontRef idx="minor">
              <a:schemeClr val="tx1"/>
            </a:fontRef>
          </p:style>
        </p:cxnSp>
        <p:grpSp>
          <p:nvGrpSpPr>
            <p:cNvPr id="18" name="그룹 2">
              <a:extLst>
                <a:ext uri="{FF2B5EF4-FFF2-40B4-BE49-F238E27FC236}">
                  <a16:creationId xmlns:a16="http://schemas.microsoft.com/office/drawing/2014/main" id="{7DCCE5B3-FAE3-DA4C-AE0F-43FD3FACFA73}"/>
                </a:ext>
              </a:extLst>
            </p:cNvPr>
            <p:cNvGrpSpPr/>
            <p:nvPr/>
          </p:nvGrpSpPr>
          <p:grpSpPr>
            <a:xfrm>
              <a:off x="8189304" y="4161243"/>
              <a:ext cx="2996190" cy="758119"/>
              <a:chOff x="8736091" y="4094174"/>
              <a:chExt cx="2493362" cy="758119"/>
            </a:xfrm>
          </p:grpSpPr>
          <p:sp>
            <p:nvSpPr>
              <p:cNvPr id="19" name="TextBox 18">
                <a:extLst>
                  <a:ext uri="{FF2B5EF4-FFF2-40B4-BE49-F238E27FC236}">
                    <a16:creationId xmlns:a16="http://schemas.microsoft.com/office/drawing/2014/main" id="{AA5BA883-BCC8-6149-B1EC-4237520AC299}"/>
                  </a:ext>
                </a:extLst>
              </p:cNvPr>
              <p:cNvSpPr txBox="1"/>
              <p:nvPr/>
            </p:nvSpPr>
            <p:spPr>
              <a:xfrm>
                <a:off x="8744645" y="4390628"/>
                <a:ext cx="2484808" cy="461665"/>
              </a:xfrm>
              <a:prstGeom prst="rect">
                <a:avLst/>
              </a:prstGeom>
              <a:noFill/>
            </p:spPr>
            <p:txBody>
              <a:bodyPr wrap="square" rtlCol="0">
                <a:spAutoFit/>
              </a:bodyPr>
              <a:lstStyle/>
              <a:p>
                <a:pPr algn="r"/>
                <a:r>
                  <a:rPr lang="en-US" altLang="ko-KR" sz="1200">
                    <a:solidFill>
                      <a:schemeClr val="tx1">
                        <a:lumMod val="75000"/>
                        <a:lumOff val="25000"/>
                      </a:schemeClr>
                    </a:solidFill>
                  </a:rPr>
                  <a:t>Example Text : Get a modern PowerPoint  Presentation that is beautifully designed. </a:t>
                </a:r>
                <a:endParaRPr lang="ko-KR" altLang="en-US" sz="1200">
                  <a:solidFill>
                    <a:schemeClr val="tx1">
                      <a:lumMod val="75000"/>
                      <a:lumOff val="25000"/>
                    </a:schemeClr>
                  </a:solidFill>
                </a:endParaRPr>
              </a:p>
            </p:txBody>
          </p:sp>
          <p:sp>
            <p:nvSpPr>
              <p:cNvPr id="20" name="TextBox 19">
                <a:extLst>
                  <a:ext uri="{FF2B5EF4-FFF2-40B4-BE49-F238E27FC236}">
                    <a16:creationId xmlns:a16="http://schemas.microsoft.com/office/drawing/2014/main" id="{D4EF424C-4E57-E04B-A330-949CF5A7E61E}"/>
                  </a:ext>
                </a:extLst>
              </p:cNvPr>
              <p:cNvSpPr txBox="1"/>
              <p:nvPr/>
            </p:nvSpPr>
            <p:spPr>
              <a:xfrm>
                <a:off x="8736091" y="4094174"/>
                <a:ext cx="2492196" cy="307777"/>
              </a:xfrm>
              <a:prstGeom prst="rect">
                <a:avLst/>
              </a:prstGeom>
              <a:noFill/>
            </p:spPr>
            <p:txBody>
              <a:bodyPr wrap="square" rtlCol="0">
                <a:spAutoFit/>
              </a:bodyPr>
              <a:lstStyle/>
              <a:p>
                <a:pPr algn="r"/>
                <a:r>
                  <a:rPr lang="en-US" altLang="ko-KR" sz="1400">
                    <a:solidFill>
                      <a:schemeClr val="tx1">
                        <a:lumMod val="75000"/>
                        <a:lumOff val="25000"/>
                      </a:schemeClr>
                    </a:solidFill>
                  </a:rPr>
                  <a:t>Contents _ Graph </a:t>
                </a:r>
                <a:endParaRPr lang="ko-KR" altLang="en-US" sz="1400">
                  <a:solidFill>
                    <a:schemeClr val="tx1">
                      <a:lumMod val="75000"/>
                      <a:lumOff val="25000"/>
                    </a:schemeClr>
                  </a:solidFill>
                </a:endParaRPr>
              </a:p>
            </p:txBody>
          </p:sp>
        </p:grpSp>
        <p:sp>
          <p:nvSpPr>
            <p:cNvPr id="21" name="Donut 59">
              <a:extLst>
                <a:ext uri="{FF2B5EF4-FFF2-40B4-BE49-F238E27FC236}">
                  <a16:creationId xmlns:a16="http://schemas.microsoft.com/office/drawing/2014/main" id="{322702CB-880E-A843-AE9E-A3B214CCF308}"/>
                </a:ext>
              </a:extLst>
            </p:cNvPr>
            <p:cNvSpPr/>
            <p:nvPr/>
          </p:nvSpPr>
          <p:spPr>
            <a:xfrm>
              <a:off x="6395968" y="1817732"/>
              <a:ext cx="701030" cy="701030"/>
            </a:xfrm>
            <a:prstGeom prst="donut">
              <a:avLst>
                <a:gd name="adj" fmla="val 8736"/>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22" name="Straight Connector 21">
              <a:extLst>
                <a:ext uri="{FF2B5EF4-FFF2-40B4-BE49-F238E27FC236}">
                  <a16:creationId xmlns:a16="http://schemas.microsoft.com/office/drawing/2014/main" id="{F07D5949-BC61-FD45-B30E-0A6594DDF88D}"/>
                </a:ext>
              </a:extLst>
            </p:cNvPr>
            <p:cNvCxnSpPr>
              <a:cxnSpLocks/>
              <a:stCxn id="21" idx="6"/>
            </p:cNvCxnSpPr>
            <p:nvPr/>
          </p:nvCxnSpPr>
          <p:spPr>
            <a:xfrm>
              <a:off x="7096998" y="2168247"/>
              <a:ext cx="4144619" cy="0"/>
            </a:xfrm>
            <a:prstGeom prst="line">
              <a:avLst/>
            </a:prstGeom>
            <a:ln w="12700">
              <a:solidFill>
                <a:srgbClr val="90D214"/>
              </a:solidFill>
              <a:tailEnd type="oval"/>
            </a:ln>
          </p:spPr>
          <p:style>
            <a:lnRef idx="1">
              <a:schemeClr val="accent1"/>
            </a:lnRef>
            <a:fillRef idx="0">
              <a:schemeClr val="accent1"/>
            </a:fillRef>
            <a:effectRef idx="0">
              <a:schemeClr val="accent1"/>
            </a:effectRef>
            <a:fontRef idx="minor">
              <a:schemeClr val="tx1"/>
            </a:fontRef>
          </p:style>
        </p:cxnSp>
        <p:grpSp>
          <p:nvGrpSpPr>
            <p:cNvPr id="23" name="그룹 6">
              <a:extLst>
                <a:ext uri="{FF2B5EF4-FFF2-40B4-BE49-F238E27FC236}">
                  <a16:creationId xmlns:a16="http://schemas.microsoft.com/office/drawing/2014/main" id="{B148CBA7-810B-854C-B60C-D77ECE9F823F}"/>
                </a:ext>
              </a:extLst>
            </p:cNvPr>
            <p:cNvGrpSpPr/>
            <p:nvPr/>
          </p:nvGrpSpPr>
          <p:grpSpPr>
            <a:xfrm>
              <a:off x="7127318" y="1865918"/>
              <a:ext cx="4063349" cy="758119"/>
              <a:chOff x="8306211" y="1865918"/>
              <a:chExt cx="2909365" cy="758119"/>
            </a:xfrm>
          </p:grpSpPr>
          <p:sp>
            <p:nvSpPr>
              <p:cNvPr id="24" name="TextBox 23">
                <a:extLst>
                  <a:ext uri="{FF2B5EF4-FFF2-40B4-BE49-F238E27FC236}">
                    <a16:creationId xmlns:a16="http://schemas.microsoft.com/office/drawing/2014/main" id="{51157C6A-2FDE-BA4F-AF5E-B23E6F19325F}"/>
                  </a:ext>
                </a:extLst>
              </p:cNvPr>
              <p:cNvSpPr txBox="1"/>
              <p:nvPr/>
            </p:nvSpPr>
            <p:spPr>
              <a:xfrm>
                <a:off x="8315999" y="2162372"/>
                <a:ext cx="2899577" cy="461665"/>
              </a:xfrm>
              <a:prstGeom prst="rect">
                <a:avLst/>
              </a:prstGeom>
              <a:noFill/>
            </p:spPr>
            <p:txBody>
              <a:bodyPr wrap="square" rtlCol="0">
                <a:spAutoFit/>
              </a:bodyPr>
              <a:lstStyle/>
              <a:p>
                <a:pPr algn="r"/>
                <a:r>
                  <a:rPr lang="en-US" altLang="ko-KR" sz="1200">
                    <a:solidFill>
                      <a:schemeClr val="tx1">
                        <a:lumMod val="75000"/>
                        <a:lumOff val="25000"/>
                      </a:schemeClr>
                    </a:solidFill>
                  </a:rPr>
                  <a:t>Example Text : Get a modern PowerPoint  Presentation that is beautifully designed. </a:t>
                </a:r>
                <a:endParaRPr lang="ko-KR" altLang="en-US" sz="1200">
                  <a:solidFill>
                    <a:schemeClr val="tx1">
                      <a:lumMod val="75000"/>
                      <a:lumOff val="25000"/>
                    </a:schemeClr>
                  </a:solidFill>
                </a:endParaRPr>
              </a:p>
            </p:txBody>
          </p:sp>
          <p:sp>
            <p:nvSpPr>
              <p:cNvPr id="25" name="TextBox 24">
                <a:extLst>
                  <a:ext uri="{FF2B5EF4-FFF2-40B4-BE49-F238E27FC236}">
                    <a16:creationId xmlns:a16="http://schemas.microsoft.com/office/drawing/2014/main" id="{B5D4F34E-4FAA-1347-9FA1-04AE52A60B2D}"/>
                  </a:ext>
                </a:extLst>
              </p:cNvPr>
              <p:cNvSpPr txBox="1"/>
              <p:nvPr/>
            </p:nvSpPr>
            <p:spPr>
              <a:xfrm>
                <a:off x="8306211" y="1865918"/>
                <a:ext cx="2908198" cy="307777"/>
              </a:xfrm>
              <a:prstGeom prst="rect">
                <a:avLst/>
              </a:prstGeom>
              <a:noFill/>
            </p:spPr>
            <p:txBody>
              <a:bodyPr wrap="square" rtlCol="0">
                <a:spAutoFit/>
              </a:bodyPr>
              <a:lstStyle/>
              <a:p>
                <a:pPr algn="r"/>
                <a:r>
                  <a:rPr lang="en-US" altLang="ko-KR" sz="1400">
                    <a:solidFill>
                      <a:schemeClr val="tx1">
                        <a:lumMod val="75000"/>
                        <a:lumOff val="25000"/>
                      </a:schemeClr>
                    </a:solidFill>
                  </a:rPr>
                  <a:t>Contents _ Graph </a:t>
                </a:r>
                <a:endParaRPr lang="ko-KR" altLang="en-US" sz="1400">
                  <a:solidFill>
                    <a:schemeClr val="tx1">
                      <a:lumMod val="75000"/>
                      <a:lumOff val="25000"/>
                    </a:schemeClr>
                  </a:solidFill>
                </a:endParaRPr>
              </a:p>
            </p:txBody>
          </p:sp>
        </p:grpSp>
        <p:sp>
          <p:nvSpPr>
            <p:cNvPr id="26" name="Donut 60">
              <a:extLst>
                <a:ext uri="{FF2B5EF4-FFF2-40B4-BE49-F238E27FC236}">
                  <a16:creationId xmlns:a16="http://schemas.microsoft.com/office/drawing/2014/main" id="{403824D8-8ECB-AA43-9798-1EBF4AFE9C8D}"/>
                </a:ext>
              </a:extLst>
            </p:cNvPr>
            <p:cNvSpPr/>
            <p:nvPr/>
          </p:nvSpPr>
          <p:spPr>
            <a:xfrm>
              <a:off x="6395968" y="5334514"/>
              <a:ext cx="701030" cy="701030"/>
            </a:xfrm>
            <a:prstGeom prst="donut">
              <a:avLst>
                <a:gd name="adj" fmla="val 8736"/>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27" name="Straight Connector 26">
              <a:extLst>
                <a:ext uri="{FF2B5EF4-FFF2-40B4-BE49-F238E27FC236}">
                  <a16:creationId xmlns:a16="http://schemas.microsoft.com/office/drawing/2014/main" id="{C0E81294-50C1-DC4E-81C3-E343C7A6D581}"/>
                </a:ext>
              </a:extLst>
            </p:cNvPr>
            <p:cNvCxnSpPr>
              <a:cxnSpLocks/>
              <a:stCxn id="26" idx="6"/>
            </p:cNvCxnSpPr>
            <p:nvPr/>
          </p:nvCxnSpPr>
          <p:spPr>
            <a:xfrm>
              <a:off x="7096998" y="5685029"/>
              <a:ext cx="4144619" cy="0"/>
            </a:xfrm>
            <a:prstGeom prst="line">
              <a:avLst/>
            </a:prstGeom>
            <a:ln w="12700">
              <a:solidFill>
                <a:srgbClr val="90D214"/>
              </a:solidFill>
              <a:tailEnd type="oval"/>
            </a:ln>
          </p:spPr>
          <p:style>
            <a:lnRef idx="1">
              <a:schemeClr val="accent1"/>
            </a:lnRef>
            <a:fillRef idx="0">
              <a:schemeClr val="accent1"/>
            </a:fillRef>
            <a:effectRef idx="0">
              <a:schemeClr val="accent1"/>
            </a:effectRef>
            <a:fontRef idx="minor">
              <a:schemeClr val="tx1"/>
            </a:fontRef>
          </p:style>
        </p:cxnSp>
        <p:grpSp>
          <p:nvGrpSpPr>
            <p:cNvPr id="28" name="그룹 7">
              <a:extLst>
                <a:ext uri="{FF2B5EF4-FFF2-40B4-BE49-F238E27FC236}">
                  <a16:creationId xmlns:a16="http://schemas.microsoft.com/office/drawing/2014/main" id="{C5F2BD88-2A6F-FD4D-8842-6DDB86043CB7}"/>
                </a:ext>
              </a:extLst>
            </p:cNvPr>
            <p:cNvGrpSpPr/>
            <p:nvPr/>
          </p:nvGrpSpPr>
          <p:grpSpPr>
            <a:xfrm>
              <a:off x="7218500" y="5374777"/>
              <a:ext cx="3972168" cy="767847"/>
              <a:chOff x="8371497" y="5374777"/>
              <a:chExt cx="2844079" cy="767847"/>
            </a:xfrm>
          </p:grpSpPr>
          <p:sp>
            <p:nvSpPr>
              <p:cNvPr id="29" name="TextBox 28">
                <a:extLst>
                  <a:ext uri="{FF2B5EF4-FFF2-40B4-BE49-F238E27FC236}">
                    <a16:creationId xmlns:a16="http://schemas.microsoft.com/office/drawing/2014/main" id="{78C585E6-8D5B-514A-B920-70393EF5C63D}"/>
                  </a:ext>
                </a:extLst>
              </p:cNvPr>
              <p:cNvSpPr txBox="1"/>
              <p:nvPr/>
            </p:nvSpPr>
            <p:spPr>
              <a:xfrm>
                <a:off x="8407978" y="5680959"/>
                <a:ext cx="2807598" cy="461665"/>
              </a:xfrm>
              <a:prstGeom prst="rect">
                <a:avLst/>
              </a:prstGeom>
              <a:noFill/>
            </p:spPr>
            <p:txBody>
              <a:bodyPr wrap="square" rtlCol="0">
                <a:spAutoFit/>
              </a:bodyPr>
              <a:lstStyle/>
              <a:p>
                <a:pPr algn="r"/>
                <a:r>
                  <a:rPr lang="en-US" altLang="ko-KR" sz="1200">
                    <a:solidFill>
                      <a:schemeClr val="tx1">
                        <a:lumMod val="75000"/>
                        <a:lumOff val="25000"/>
                      </a:schemeClr>
                    </a:solidFill>
                  </a:rPr>
                  <a:t>Example Text : Get a modern PowerPoint  Presentation that is beautifully designed. </a:t>
                </a:r>
                <a:endParaRPr lang="ko-KR" altLang="en-US" sz="1200">
                  <a:solidFill>
                    <a:schemeClr val="tx1">
                      <a:lumMod val="75000"/>
                      <a:lumOff val="25000"/>
                    </a:schemeClr>
                  </a:solidFill>
                </a:endParaRPr>
              </a:p>
            </p:txBody>
          </p:sp>
          <p:sp>
            <p:nvSpPr>
              <p:cNvPr id="30" name="TextBox 29">
                <a:extLst>
                  <a:ext uri="{FF2B5EF4-FFF2-40B4-BE49-F238E27FC236}">
                    <a16:creationId xmlns:a16="http://schemas.microsoft.com/office/drawing/2014/main" id="{7E4FE00C-6475-4B43-A008-7E19AE306896}"/>
                  </a:ext>
                </a:extLst>
              </p:cNvPr>
              <p:cNvSpPr txBox="1"/>
              <p:nvPr/>
            </p:nvSpPr>
            <p:spPr>
              <a:xfrm>
                <a:off x="8371497" y="5374777"/>
                <a:ext cx="2842911" cy="307777"/>
              </a:xfrm>
              <a:prstGeom prst="rect">
                <a:avLst/>
              </a:prstGeom>
              <a:noFill/>
            </p:spPr>
            <p:txBody>
              <a:bodyPr wrap="square" rtlCol="0">
                <a:spAutoFit/>
              </a:bodyPr>
              <a:lstStyle/>
              <a:p>
                <a:pPr algn="r"/>
                <a:r>
                  <a:rPr lang="en-US" altLang="ko-KR" sz="1400">
                    <a:solidFill>
                      <a:schemeClr val="tx1">
                        <a:lumMod val="75000"/>
                        <a:lumOff val="25000"/>
                      </a:schemeClr>
                    </a:solidFill>
                  </a:rPr>
                  <a:t>Contents _ Graph </a:t>
                </a:r>
                <a:endParaRPr lang="ko-KR" altLang="en-US" sz="1400">
                  <a:solidFill>
                    <a:schemeClr val="tx1">
                      <a:lumMod val="75000"/>
                      <a:lumOff val="25000"/>
                    </a:schemeClr>
                  </a:solidFill>
                </a:endParaRPr>
              </a:p>
            </p:txBody>
          </p:sp>
        </p:grpSp>
        <p:sp>
          <p:nvSpPr>
            <p:cNvPr id="31" name="Donut 61">
              <a:extLst>
                <a:ext uri="{FF2B5EF4-FFF2-40B4-BE49-F238E27FC236}">
                  <a16:creationId xmlns:a16="http://schemas.microsoft.com/office/drawing/2014/main" id="{90C55D22-8C4F-284F-AB36-75BD67238DFB}"/>
                </a:ext>
              </a:extLst>
            </p:cNvPr>
            <p:cNvSpPr/>
            <p:nvPr/>
          </p:nvSpPr>
          <p:spPr>
            <a:xfrm>
              <a:off x="7397978" y="2885302"/>
              <a:ext cx="701030" cy="701030"/>
            </a:xfrm>
            <a:prstGeom prst="donut">
              <a:avLst>
                <a:gd name="adj" fmla="val 8736"/>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cxnSp>
          <p:nvCxnSpPr>
            <p:cNvPr id="32" name="Straight Connector 31">
              <a:extLst>
                <a:ext uri="{FF2B5EF4-FFF2-40B4-BE49-F238E27FC236}">
                  <a16:creationId xmlns:a16="http://schemas.microsoft.com/office/drawing/2014/main" id="{B9A99655-71E8-D043-A634-BE03D7831A2F}"/>
                </a:ext>
              </a:extLst>
            </p:cNvPr>
            <p:cNvCxnSpPr>
              <a:cxnSpLocks/>
              <a:stCxn id="31" idx="6"/>
            </p:cNvCxnSpPr>
            <p:nvPr/>
          </p:nvCxnSpPr>
          <p:spPr>
            <a:xfrm>
              <a:off x="8099008" y="3235818"/>
              <a:ext cx="3142609" cy="4070"/>
            </a:xfrm>
            <a:prstGeom prst="line">
              <a:avLst/>
            </a:prstGeom>
            <a:ln w="12700">
              <a:solidFill>
                <a:srgbClr val="90D214"/>
              </a:solidFill>
              <a:tailEnd type="oval"/>
            </a:ln>
          </p:spPr>
          <p:style>
            <a:lnRef idx="1">
              <a:schemeClr val="accent1"/>
            </a:lnRef>
            <a:fillRef idx="0">
              <a:schemeClr val="accent1"/>
            </a:fillRef>
            <a:effectRef idx="0">
              <a:schemeClr val="accent1"/>
            </a:effectRef>
            <a:fontRef idx="minor">
              <a:schemeClr val="tx1"/>
            </a:fontRef>
          </p:style>
        </p:cxnSp>
        <p:grpSp>
          <p:nvGrpSpPr>
            <p:cNvPr id="33" name="그룹 5">
              <a:extLst>
                <a:ext uri="{FF2B5EF4-FFF2-40B4-BE49-F238E27FC236}">
                  <a16:creationId xmlns:a16="http://schemas.microsoft.com/office/drawing/2014/main" id="{A134469D-F3F9-DB40-AC1C-80693C42804C}"/>
                </a:ext>
              </a:extLst>
            </p:cNvPr>
            <p:cNvGrpSpPr/>
            <p:nvPr/>
          </p:nvGrpSpPr>
          <p:grpSpPr>
            <a:xfrm>
              <a:off x="8170114" y="2933707"/>
              <a:ext cx="2996190" cy="767847"/>
              <a:chOff x="8697852" y="2990115"/>
              <a:chExt cx="2493362" cy="767847"/>
            </a:xfrm>
          </p:grpSpPr>
          <p:sp>
            <p:nvSpPr>
              <p:cNvPr id="34" name="TextBox 33">
                <a:extLst>
                  <a:ext uri="{FF2B5EF4-FFF2-40B4-BE49-F238E27FC236}">
                    <a16:creationId xmlns:a16="http://schemas.microsoft.com/office/drawing/2014/main" id="{3DA01196-9362-9348-BA07-B88267322ED9}"/>
                  </a:ext>
                </a:extLst>
              </p:cNvPr>
              <p:cNvSpPr txBox="1"/>
              <p:nvPr/>
            </p:nvSpPr>
            <p:spPr>
              <a:xfrm>
                <a:off x="8706406" y="3296297"/>
                <a:ext cx="2484808" cy="461665"/>
              </a:xfrm>
              <a:prstGeom prst="rect">
                <a:avLst/>
              </a:prstGeom>
              <a:noFill/>
            </p:spPr>
            <p:txBody>
              <a:bodyPr wrap="square" rtlCol="0">
                <a:spAutoFit/>
              </a:bodyPr>
              <a:lstStyle/>
              <a:p>
                <a:pPr algn="r"/>
                <a:r>
                  <a:rPr lang="en-US" altLang="ko-KR" sz="1200">
                    <a:solidFill>
                      <a:schemeClr val="tx1">
                        <a:lumMod val="75000"/>
                        <a:lumOff val="25000"/>
                      </a:schemeClr>
                    </a:solidFill>
                  </a:rPr>
                  <a:t>Example Text : Get a modern PowerPoint  Presentation that is beautifully designed. </a:t>
                </a:r>
                <a:endParaRPr lang="ko-KR" altLang="en-US" sz="1200">
                  <a:solidFill>
                    <a:schemeClr val="tx1">
                      <a:lumMod val="75000"/>
                      <a:lumOff val="25000"/>
                    </a:schemeClr>
                  </a:solidFill>
                </a:endParaRPr>
              </a:p>
            </p:txBody>
          </p:sp>
          <p:sp>
            <p:nvSpPr>
              <p:cNvPr id="35" name="TextBox 34">
                <a:extLst>
                  <a:ext uri="{FF2B5EF4-FFF2-40B4-BE49-F238E27FC236}">
                    <a16:creationId xmlns:a16="http://schemas.microsoft.com/office/drawing/2014/main" id="{C06A6CE7-43B2-A242-914B-50C3FD7B8534}"/>
                  </a:ext>
                </a:extLst>
              </p:cNvPr>
              <p:cNvSpPr txBox="1"/>
              <p:nvPr/>
            </p:nvSpPr>
            <p:spPr>
              <a:xfrm>
                <a:off x="8697852" y="2990115"/>
                <a:ext cx="2492196" cy="307777"/>
              </a:xfrm>
              <a:prstGeom prst="rect">
                <a:avLst/>
              </a:prstGeom>
              <a:noFill/>
            </p:spPr>
            <p:txBody>
              <a:bodyPr wrap="square" rtlCol="0">
                <a:spAutoFit/>
              </a:bodyPr>
              <a:lstStyle/>
              <a:p>
                <a:pPr algn="r"/>
                <a:r>
                  <a:rPr lang="en-US" altLang="ko-KR" sz="1400">
                    <a:solidFill>
                      <a:schemeClr val="tx1">
                        <a:lumMod val="75000"/>
                        <a:lumOff val="25000"/>
                      </a:schemeClr>
                    </a:solidFill>
                  </a:rPr>
                  <a:t>Contents _ Graph </a:t>
                </a:r>
                <a:endParaRPr lang="ko-KR" altLang="en-US" sz="1400">
                  <a:solidFill>
                    <a:schemeClr val="tx1">
                      <a:lumMod val="75000"/>
                      <a:lumOff val="25000"/>
                    </a:schemeClr>
                  </a:solidFill>
                </a:endParaRPr>
              </a:p>
            </p:txBody>
          </p:sp>
        </p:grpSp>
        <p:sp>
          <p:nvSpPr>
            <p:cNvPr id="36" name="Freeform 55">
              <a:extLst>
                <a:ext uri="{FF2B5EF4-FFF2-40B4-BE49-F238E27FC236}">
                  <a16:creationId xmlns:a16="http://schemas.microsoft.com/office/drawing/2014/main" id="{B43AED34-48D6-A249-A6B4-548EF6B4D0D1}"/>
                </a:ext>
              </a:extLst>
            </p:cNvPr>
            <p:cNvSpPr/>
            <p:nvPr/>
          </p:nvSpPr>
          <p:spPr>
            <a:xfrm rot="2700000">
              <a:off x="5082700" y="2965443"/>
              <a:ext cx="489070" cy="1198387"/>
            </a:xfrm>
            <a:custGeom>
              <a:avLst/>
              <a:gdLst/>
              <a:ahLst/>
              <a:cxnLst/>
              <a:rect l="l" t="t" r="r" b="b"/>
              <a:pathLst>
                <a:path w="1060423" h="2598393">
                  <a:moveTo>
                    <a:pt x="511607" y="1989888"/>
                  </a:moveTo>
                  <a:cubicBezTo>
                    <a:pt x="421916" y="2038892"/>
                    <a:pt x="392123" y="2248491"/>
                    <a:pt x="577615" y="2379095"/>
                  </a:cubicBezTo>
                  <a:cubicBezTo>
                    <a:pt x="531205" y="2257454"/>
                    <a:pt x="562054" y="2197447"/>
                    <a:pt x="592034" y="2136572"/>
                  </a:cubicBezTo>
                  <a:cubicBezTo>
                    <a:pt x="592534" y="2167519"/>
                    <a:pt x="560915" y="2234057"/>
                    <a:pt x="638675" y="2272816"/>
                  </a:cubicBezTo>
                  <a:cubicBezTo>
                    <a:pt x="602283" y="2156226"/>
                    <a:pt x="756001" y="2119500"/>
                    <a:pt x="594605" y="1990756"/>
                  </a:cubicBezTo>
                  <a:cubicBezTo>
                    <a:pt x="828052" y="2024484"/>
                    <a:pt x="759407" y="2143283"/>
                    <a:pt x="814896" y="2262952"/>
                  </a:cubicBezTo>
                  <a:cubicBezTo>
                    <a:pt x="774295" y="2270013"/>
                    <a:pt x="715464" y="2161619"/>
                    <a:pt x="728685" y="2212952"/>
                  </a:cubicBezTo>
                  <a:cubicBezTo>
                    <a:pt x="798068" y="2415798"/>
                    <a:pt x="590532" y="2421590"/>
                    <a:pt x="656442" y="2598393"/>
                  </a:cubicBezTo>
                  <a:cubicBezTo>
                    <a:pt x="451592" y="2586815"/>
                    <a:pt x="511509" y="2396411"/>
                    <a:pt x="415171" y="2350110"/>
                  </a:cubicBezTo>
                  <a:cubicBezTo>
                    <a:pt x="389023" y="2345435"/>
                    <a:pt x="357666" y="2366802"/>
                    <a:pt x="415723" y="2461957"/>
                  </a:cubicBezTo>
                  <a:cubicBezTo>
                    <a:pt x="77590" y="2209980"/>
                    <a:pt x="314998" y="2004011"/>
                    <a:pt x="511607" y="1989888"/>
                  </a:cubicBezTo>
                  <a:close/>
                  <a:moveTo>
                    <a:pt x="344786" y="1884983"/>
                  </a:moveTo>
                  <a:lnTo>
                    <a:pt x="722598" y="1884983"/>
                  </a:lnTo>
                  <a:cubicBezTo>
                    <a:pt x="716460" y="1906965"/>
                    <a:pt x="711917" y="1928321"/>
                    <a:pt x="707988" y="1948728"/>
                  </a:cubicBezTo>
                  <a:lnTo>
                    <a:pt x="357819" y="1948059"/>
                  </a:lnTo>
                  <a:close/>
                  <a:moveTo>
                    <a:pt x="530212" y="651224"/>
                  </a:moveTo>
                  <a:cubicBezTo>
                    <a:pt x="585486" y="651224"/>
                    <a:pt x="630294" y="696033"/>
                    <a:pt x="630294" y="751307"/>
                  </a:cubicBezTo>
                  <a:cubicBezTo>
                    <a:pt x="630294" y="806581"/>
                    <a:pt x="585486" y="851389"/>
                    <a:pt x="530212" y="851389"/>
                  </a:cubicBezTo>
                  <a:cubicBezTo>
                    <a:pt x="474938" y="851389"/>
                    <a:pt x="430129" y="806581"/>
                    <a:pt x="430129" y="751307"/>
                  </a:cubicBezTo>
                  <a:cubicBezTo>
                    <a:pt x="430129" y="696033"/>
                    <a:pt x="474938" y="651224"/>
                    <a:pt x="530212" y="651224"/>
                  </a:cubicBezTo>
                  <a:close/>
                  <a:moveTo>
                    <a:pt x="530212" y="551141"/>
                  </a:moveTo>
                  <a:cubicBezTo>
                    <a:pt x="419664" y="551141"/>
                    <a:pt x="330046" y="640759"/>
                    <a:pt x="330046" y="751307"/>
                  </a:cubicBezTo>
                  <a:cubicBezTo>
                    <a:pt x="330046" y="861855"/>
                    <a:pt x="419664" y="951472"/>
                    <a:pt x="530212" y="951472"/>
                  </a:cubicBezTo>
                  <a:cubicBezTo>
                    <a:pt x="640760" y="951472"/>
                    <a:pt x="730377" y="861855"/>
                    <a:pt x="730377" y="751307"/>
                  </a:cubicBezTo>
                  <a:cubicBezTo>
                    <a:pt x="730377" y="640759"/>
                    <a:pt x="640760" y="551141"/>
                    <a:pt x="530212" y="551141"/>
                  </a:cubicBezTo>
                  <a:close/>
                  <a:moveTo>
                    <a:pt x="286245" y="353827"/>
                  </a:moveTo>
                  <a:cubicBezTo>
                    <a:pt x="438132" y="439406"/>
                    <a:pt x="623290" y="440561"/>
                    <a:pt x="776100" y="356932"/>
                  </a:cubicBezTo>
                  <a:cubicBezTo>
                    <a:pt x="941305" y="720175"/>
                    <a:pt x="898096" y="1115325"/>
                    <a:pt x="825241" y="1447764"/>
                  </a:cubicBezTo>
                  <a:lnTo>
                    <a:pt x="1060423" y="1673413"/>
                  </a:lnTo>
                  <a:lnTo>
                    <a:pt x="1021935" y="1978110"/>
                  </a:lnTo>
                  <a:lnTo>
                    <a:pt x="745125" y="1786699"/>
                  </a:lnTo>
                  <a:lnTo>
                    <a:pt x="734250" y="1834148"/>
                  </a:lnTo>
                  <a:lnTo>
                    <a:pt x="332991" y="1834148"/>
                  </a:lnTo>
                  <a:cubicBezTo>
                    <a:pt x="330005" y="1820736"/>
                    <a:pt x="326662" y="1807037"/>
                    <a:pt x="323192" y="1793020"/>
                  </a:cubicBezTo>
                  <a:lnTo>
                    <a:pt x="38489" y="1989888"/>
                  </a:lnTo>
                  <a:lnTo>
                    <a:pt x="0" y="1685191"/>
                  </a:lnTo>
                  <a:lnTo>
                    <a:pt x="237343" y="1457469"/>
                  </a:lnTo>
                  <a:lnTo>
                    <a:pt x="238009" y="1459571"/>
                  </a:lnTo>
                  <a:lnTo>
                    <a:pt x="242012" y="1446515"/>
                  </a:lnTo>
                  <a:cubicBezTo>
                    <a:pt x="171205" y="1115067"/>
                    <a:pt x="127758" y="714059"/>
                    <a:pt x="286245" y="353827"/>
                  </a:cubicBezTo>
                  <a:close/>
                  <a:moveTo>
                    <a:pt x="527942" y="0"/>
                  </a:moveTo>
                  <a:cubicBezTo>
                    <a:pt x="622760" y="95693"/>
                    <a:pt x="695048" y="196745"/>
                    <a:pt x="748164" y="301374"/>
                  </a:cubicBezTo>
                  <a:cubicBezTo>
                    <a:pt x="612692" y="376844"/>
                    <a:pt x="447588" y="375495"/>
                    <a:pt x="312997" y="298024"/>
                  </a:cubicBezTo>
                  <a:cubicBezTo>
                    <a:pt x="364591" y="193505"/>
                    <a:pt x="435080" y="93397"/>
                    <a:pt x="527942"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7" name="Rectangle 30">
              <a:extLst>
                <a:ext uri="{FF2B5EF4-FFF2-40B4-BE49-F238E27FC236}">
                  <a16:creationId xmlns:a16="http://schemas.microsoft.com/office/drawing/2014/main" id="{DEA352A4-0DBB-3848-9DDE-479DA890EFB8}"/>
                </a:ext>
              </a:extLst>
            </p:cNvPr>
            <p:cNvSpPr/>
            <p:nvPr/>
          </p:nvSpPr>
          <p:spPr>
            <a:xfrm>
              <a:off x="7608768" y="3078623"/>
              <a:ext cx="295624" cy="294760"/>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8" name="Frame 17">
              <a:extLst>
                <a:ext uri="{FF2B5EF4-FFF2-40B4-BE49-F238E27FC236}">
                  <a16:creationId xmlns:a16="http://schemas.microsoft.com/office/drawing/2014/main" id="{F866544B-E385-4E4C-8318-5BEBF4D126D5}"/>
                </a:ext>
              </a:extLst>
            </p:cNvPr>
            <p:cNvSpPr/>
            <p:nvPr/>
          </p:nvSpPr>
          <p:spPr>
            <a:xfrm>
              <a:off x="6596317" y="2012517"/>
              <a:ext cx="294760" cy="294760"/>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9" name="Isosceles Triangle 8">
              <a:extLst>
                <a:ext uri="{FF2B5EF4-FFF2-40B4-BE49-F238E27FC236}">
                  <a16:creationId xmlns:a16="http://schemas.microsoft.com/office/drawing/2014/main" id="{62FABFE0-9844-6F4A-BE44-ED16D9562E72}"/>
                </a:ext>
              </a:extLst>
            </p:cNvPr>
            <p:cNvSpPr/>
            <p:nvPr/>
          </p:nvSpPr>
          <p:spPr>
            <a:xfrm rot="16200000">
              <a:off x="6605952" y="5508530"/>
              <a:ext cx="290652" cy="346534"/>
            </a:xfrm>
            <a:custGeom>
              <a:avLst/>
              <a:gdLst/>
              <a:ahLst/>
              <a:cxnLst/>
              <a:rect l="l" t="t" r="r" b="b"/>
              <a:pathLst>
                <a:path w="2708011" h="3228660">
                  <a:moveTo>
                    <a:pt x="1895121" y="2005092"/>
                  </a:moveTo>
                  <a:cubicBezTo>
                    <a:pt x="1769067" y="2196199"/>
                    <a:pt x="1559641" y="2315968"/>
                    <a:pt x="1331007" y="2327705"/>
                  </a:cubicBezTo>
                  <a:cubicBezTo>
                    <a:pt x="1102373" y="2339443"/>
                    <a:pt x="881783" y="2241749"/>
                    <a:pt x="736821" y="2064556"/>
                  </a:cubicBezTo>
                  <a:lnTo>
                    <a:pt x="885891" y="1942602"/>
                  </a:lnTo>
                  <a:cubicBezTo>
                    <a:pt x="992076" y="2072396"/>
                    <a:pt x="1153658" y="2143956"/>
                    <a:pt x="1321132" y="2135359"/>
                  </a:cubicBezTo>
                  <a:cubicBezTo>
                    <a:pt x="1488607" y="2126761"/>
                    <a:pt x="1642011" y="2039030"/>
                    <a:pt x="1734346" y="1899045"/>
                  </a:cubicBezTo>
                  <a:close/>
                  <a:moveTo>
                    <a:pt x="2315256" y="2179725"/>
                  </a:moveTo>
                  <a:cubicBezTo>
                    <a:pt x="2124977" y="2519973"/>
                    <a:pt x="1777729" y="2743099"/>
                    <a:pt x="1389179" y="2774782"/>
                  </a:cubicBezTo>
                  <a:cubicBezTo>
                    <a:pt x="1000629" y="2806465"/>
                    <a:pt x="621821" y="2642541"/>
                    <a:pt x="378934" y="2337614"/>
                  </a:cubicBezTo>
                  <a:lnTo>
                    <a:pt x="519502" y="2225645"/>
                  </a:lnTo>
                  <a:cubicBezTo>
                    <a:pt x="725082" y="2483736"/>
                    <a:pt x="1045705" y="2622480"/>
                    <a:pt x="1374574" y="2595664"/>
                  </a:cubicBezTo>
                  <a:cubicBezTo>
                    <a:pt x="1703443" y="2568848"/>
                    <a:pt x="1997353" y="2379994"/>
                    <a:pt x="2158406" y="2092008"/>
                  </a:cubicBezTo>
                  <a:close/>
                  <a:moveTo>
                    <a:pt x="2315941" y="1615003"/>
                  </a:moveTo>
                  <a:lnTo>
                    <a:pt x="272242" y="1615003"/>
                  </a:lnTo>
                  <a:lnTo>
                    <a:pt x="872561" y="666216"/>
                  </a:lnTo>
                  <a:lnTo>
                    <a:pt x="872561" y="219906"/>
                  </a:lnTo>
                  <a:cubicBezTo>
                    <a:pt x="872561" y="98674"/>
                    <a:pt x="970839" y="396"/>
                    <a:pt x="1092071" y="396"/>
                  </a:cubicBezTo>
                  <a:lnTo>
                    <a:pt x="1293841" y="396"/>
                  </a:lnTo>
                  <a:lnTo>
                    <a:pt x="1294092" y="0"/>
                  </a:lnTo>
                  <a:lnTo>
                    <a:pt x="1294343" y="396"/>
                  </a:lnTo>
                  <a:lnTo>
                    <a:pt x="1470231" y="396"/>
                  </a:lnTo>
                  <a:cubicBezTo>
                    <a:pt x="1591463" y="396"/>
                    <a:pt x="1689741" y="98674"/>
                    <a:pt x="1689741" y="219906"/>
                  </a:cubicBezTo>
                  <a:lnTo>
                    <a:pt x="1689741" y="625313"/>
                  </a:lnTo>
                  <a:close/>
                  <a:moveTo>
                    <a:pt x="2708011" y="2399368"/>
                  </a:moveTo>
                  <a:cubicBezTo>
                    <a:pt x="2440740" y="2877288"/>
                    <a:pt x="1950128" y="3187847"/>
                    <a:pt x="1403807" y="3224932"/>
                  </a:cubicBezTo>
                  <a:cubicBezTo>
                    <a:pt x="857486" y="3262017"/>
                    <a:pt x="329406" y="3020609"/>
                    <a:pt x="0" y="2583191"/>
                  </a:cubicBezTo>
                  <a:lnTo>
                    <a:pt x="143153" y="2475389"/>
                  </a:lnTo>
                  <a:cubicBezTo>
                    <a:pt x="436120" y="2864419"/>
                    <a:pt x="905784" y="3079123"/>
                    <a:pt x="1391671" y="3046140"/>
                  </a:cubicBezTo>
                  <a:cubicBezTo>
                    <a:pt x="1877558" y="3013157"/>
                    <a:pt x="2313899" y="2736952"/>
                    <a:pt x="2551604" y="2311899"/>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0" name="Donut 39">
              <a:extLst>
                <a:ext uri="{FF2B5EF4-FFF2-40B4-BE49-F238E27FC236}">
                  <a16:creationId xmlns:a16="http://schemas.microsoft.com/office/drawing/2014/main" id="{634F899B-4762-9644-871F-1EA459FF540B}"/>
                </a:ext>
              </a:extLst>
            </p:cNvPr>
            <p:cNvSpPr/>
            <p:nvPr/>
          </p:nvSpPr>
          <p:spPr>
            <a:xfrm>
              <a:off x="7553131" y="4271822"/>
              <a:ext cx="376632" cy="376632"/>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grpSp>
    </p:spTree>
    <p:extLst>
      <p:ext uri="{BB962C8B-B14F-4D97-AF65-F5344CB8AC3E}">
        <p14:creationId xmlns:p14="http://schemas.microsoft.com/office/powerpoint/2010/main" val="3842757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C159BF-452F-6940-A1E9-1ADBEAA1C438}"/>
              </a:ext>
            </a:extLst>
          </p:cNvPr>
          <p:cNvSpPr>
            <a:spLocks noGrp="1"/>
          </p:cNvSpPr>
          <p:nvPr>
            <p:ph type="sldNum" sz="quarter" idx="4"/>
          </p:nvPr>
        </p:nvSpPr>
        <p:spPr/>
        <p:txBody>
          <a:bodyPr/>
          <a:lstStyle/>
          <a:p>
            <a:fld id="{3D966009-6E5A-4F8C-8CA7-E37AFBF5FB92}" type="slidenum">
              <a:rPr lang="en-US" smtClean="0"/>
              <a:t>144</a:t>
            </a:fld>
            <a:endParaRPr lang="en-US"/>
          </a:p>
        </p:txBody>
      </p:sp>
      <p:sp>
        <p:nvSpPr>
          <p:cNvPr id="3" name="Title 2">
            <a:extLst>
              <a:ext uri="{FF2B5EF4-FFF2-40B4-BE49-F238E27FC236}">
                <a16:creationId xmlns:a16="http://schemas.microsoft.com/office/drawing/2014/main" id="{A0A8B9F4-8B5C-3B44-AAD4-F23078E7B317}"/>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D8B1B02E-4BC0-5344-AEA6-F8B66DFB457E}"/>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0079543-A54B-7142-AB5D-F0B4BB3F56B0}"/>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E681B7ED-F597-044F-8C5D-3ACA26770AC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572B134-5CAA-E844-B869-C716759CC9A0}"/>
              </a:ext>
            </a:extLst>
          </p:cNvPr>
          <p:cNvSpPr>
            <a:spLocks noGrp="1"/>
          </p:cNvSpPr>
          <p:nvPr>
            <p:ph sz="quarter" idx="14"/>
          </p:nvPr>
        </p:nvSpPr>
        <p:spPr/>
        <p:txBody>
          <a:bodyPr/>
          <a:lstStyle/>
          <a:p>
            <a:endParaRPr lang="en-GB"/>
          </a:p>
        </p:txBody>
      </p:sp>
      <p:grpSp>
        <p:nvGrpSpPr>
          <p:cNvPr id="9" name="Group 3">
            <a:extLst>
              <a:ext uri="{FF2B5EF4-FFF2-40B4-BE49-F238E27FC236}">
                <a16:creationId xmlns:a16="http://schemas.microsoft.com/office/drawing/2014/main" id="{84AE0528-9823-B547-8A8B-AC3321CE9D32}"/>
              </a:ext>
            </a:extLst>
          </p:cNvPr>
          <p:cNvGrpSpPr/>
          <p:nvPr/>
        </p:nvGrpSpPr>
        <p:grpSpPr>
          <a:xfrm rot="3510818">
            <a:off x="2870953" y="2023271"/>
            <a:ext cx="2230148" cy="4276991"/>
            <a:chOff x="1346080" y="1679019"/>
            <a:chExt cx="2230148" cy="4276991"/>
          </a:xfrm>
        </p:grpSpPr>
        <p:sp>
          <p:nvSpPr>
            <p:cNvPr id="10" name="Oval 4">
              <a:extLst>
                <a:ext uri="{FF2B5EF4-FFF2-40B4-BE49-F238E27FC236}">
                  <a16:creationId xmlns:a16="http://schemas.microsoft.com/office/drawing/2014/main" id="{C9282E1E-FC24-3340-A152-01909937C3A2}"/>
                </a:ext>
              </a:extLst>
            </p:cNvPr>
            <p:cNvSpPr/>
            <p:nvPr/>
          </p:nvSpPr>
          <p:spPr>
            <a:xfrm>
              <a:off x="1346080" y="3725862"/>
              <a:ext cx="2230148" cy="2230148"/>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Oval 5">
              <a:extLst>
                <a:ext uri="{FF2B5EF4-FFF2-40B4-BE49-F238E27FC236}">
                  <a16:creationId xmlns:a16="http://schemas.microsoft.com/office/drawing/2014/main" id="{2C19CA52-0A9B-734C-B737-30029524CFD6}"/>
                </a:ext>
              </a:extLst>
            </p:cNvPr>
            <p:cNvSpPr/>
            <p:nvPr/>
          </p:nvSpPr>
          <p:spPr>
            <a:xfrm>
              <a:off x="2047154" y="1679019"/>
              <a:ext cx="828000" cy="828000"/>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rapezoid 18">
              <a:extLst>
                <a:ext uri="{FF2B5EF4-FFF2-40B4-BE49-F238E27FC236}">
                  <a16:creationId xmlns:a16="http://schemas.microsoft.com/office/drawing/2014/main" id="{C2B53627-F6A2-844A-A15A-44B4E041B290}"/>
                </a:ext>
              </a:extLst>
            </p:cNvPr>
            <p:cNvSpPr/>
            <p:nvPr/>
          </p:nvSpPr>
          <p:spPr>
            <a:xfrm rot="10800000">
              <a:off x="2181508" y="2446187"/>
              <a:ext cx="561625" cy="1287278"/>
            </a:xfrm>
            <a:custGeom>
              <a:avLst/>
              <a:gdLst>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5624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51725 w 561625"/>
                <a:gd name="connsiteY7" fmla="*/ 751601 h 1493920"/>
                <a:gd name="connsiteX8" fmla="*/ 561624 w 561625"/>
                <a:gd name="connsiteY8" fmla="*/ 1493920 h 1493920"/>
                <a:gd name="connsiteX0" fmla="*/ 561624 w 569514"/>
                <a:gd name="connsiteY0" fmla="*/ 1493920 h 1493920"/>
                <a:gd name="connsiteX1" fmla="*/ 0 w 569514"/>
                <a:gd name="connsiteY1" fmla="*/ 1493920 h 1493920"/>
                <a:gd name="connsiteX2" fmla="*/ 217214 w 569514"/>
                <a:gd name="connsiteY2" fmla="*/ 746960 h 1493920"/>
                <a:gd name="connsiteX3" fmla="*/ 217215 w 569514"/>
                <a:gd name="connsiteY3" fmla="*/ 746960 h 1493920"/>
                <a:gd name="connsiteX4" fmla="*/ 1 w 569514"/>
                <a:gd name="connsiteY4" fmla="*/ 0 h 1493920"/>
                <a:gd name="connsiteX5" fmla="*/ 561625 w 569514"/>
                <a:gd name="connsiteY5" fmla="*/ 0 h 1493920"/>
                <a:gd name="connsiteX6" fmla="*/ 344411 w 569514"/>
                <a:gd name="connsiteY6" fmla="*/ 746960 h 1493920"/>
                <a:gd name="connsiteX7" fmla="*/ 561624 w 569514"/>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625" h="1493920">
                  <a:moveTo>
                    <a:pt x="561624" y="1493920"/>
                  </a:moveTo>
                  <a:cubicBezTo>
                    <a:pt x="359012" y="1372360"/>
                    <a:pt x="211131" y="1397337"/>
                    <a:pt x="0" y="1493920"/>
                  </a:cubicBezTo>
                  <a:cubicBezTo>
                    <a:pt x="141899" y="1370371"/>
                    <a:pt x="214303" y="1056261"/>
                    <a:pt x="217214" y="746960"/>
                  </a:cubicBezTo>
                  <a:cubicBezTo>
                    <a:pt x="206989" y="446938"/>
                    <a:pt x="163845" y="100411"/>
                    <a:pt x="1" y="0"/>
                  </a:cubicBezTo>
                  <a:lnTo>
                    <a:pt x="561625" y="0"/>
                  </a:lnTo>
                  <a:cubicBezTo>
                    <a:pt x="405095" y="72746"/>
                    <a:pt x="343664" y="516531"/>
                    <a:pt x="344411" y="746960"/>
                  </a:cubicBezTo>
                  <a:cubicBezTo>
                    <a:pt x="355383" y="1023785"/>
                    <a:pt x="439804" y="1383402"/>
                    <a:pt x="561624" y="149392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3" name="Group 7">
            <a:extLst>
              <a:ext uri="{FF2B5EF4-FFF2-40B4-BE49-F238E27FC236}">
                <a16:creationId xmlns:a16="http://schemas.microsoft.com/office/drawing/2014/main" id="{340B6069-9E51-5447-A1E9-EC5147F4BAD2}"/>
              </a:ext>
            </a:extLst>
          </p:cNvPr>
          <p:cNvGrpSpPr/>
          <p:nvPr/>
        </p:nvGrpSpPr>
        <p:grpSpPr>
          <a:xfrm rot="14310818">
            <a:off x="7120257" y="1519215"/>
            <a:ext cx="2230148" cy="4276991"/>
            <a:chOff x="1346080" y="1679019"/>
            <a:chExt cx="2230148" cy="4276991"/>
          </a:xfrm>
          <a:solidFill>
            <a:schemeClr val="accent1"/>
          </a:solidFill>
        </p:grpSpPr>
        <p:sp>
          <p:nvSpPr>
            <p:cNvPr id="14" name="Oval 8">
              <a:extLst>
                <a:ext uri="{FF2B5EF4-FFF2-40B4-BE49-F238E27FC236}">
                  <a16:creationId xmlns:a16="http://schemas.microsoft.com/office/drawing/2014/main" id="{43F8DA0A-0EBE-4C48-8408-07638E66AB5E}"/>
                </a:ext>
              </a:extLst>
            </p:cNvPr>
            <p:cNvSpPr/>
            <p:nvPr/>
          </p:nvSpPr>
          <p:spPr>
            <a:xfrm>
              <a:off x="1346080" y="3725862"/>
              <a:ext cx="2230148" cy="2230148"/>
            </a:xfrm>
            <a:prstGeom prst="ellips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Oval 9">
              <a:extLst>
                <a:ext uri="{FF2B5EF4-FFF2-40B4-BE49-F238E27FC236}">
                  <a16:creationId xmlns:a16="http://schemas.microsoft.com/office/drawing/2014/main" id="{E114292B-EE49-E743-8DF8-C5557ABD1EA1}"/>
                </a:ext>
              </a:extLst>
            </p:cNvPr>
            <p:cNvSpPr/>
            <p:nvPr/>
          </p:nvSpPr>
          <p:spPr>
            <a:xfrm>
              <a:off x="2047154" y="1679019"/>
              <a:ext cx="828000" cy="828000"/>
            </a:xfrm>
            <a:prstGeom prst="ellips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Trapezoid 18">
              <a:extLst>
                <a:ext uri="{FF2B5EF4-FFF2-40B4-BE49-F238E27FC236}">
                  <a16:creationId xmlns:a16="http://schemas.microsoft.com/office/drawing/2014/main" id="{B9778EC7-F1C9-C44D-B0A2-F738012F3084}"/>
                </a:ext>
              </a:extLst>
            </p:cNvPr>
            <p:cNvSpPr/>
            <p:nvPr/>
          </p:nvSpPr>
          <p:spPr>
            <a:xfrm rot="10800000">
              <a:off x="2180336" y="2427428"/>
              <a:ext cx="561625" cy="1313819"/>
            </a:xfrm>
            <a:custGeom>
              <a:avLst/>
              <a:gdLst>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4696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44410 w 561625"/>
                <a:gd name="connsiteY7" fmla="*/ 756240 h 1493920"/>
                <a:gd name="connsiteX8" fmla="*/ 561624 w 561625"/>
                <a:gd name="connsiteY8"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351725 w 561625"/>
                <a:gd name="connsiteY7" fmla="*/ 751601 h 1493920"/>
                <a:gd name="connsiteX8" fmla="*/ 561624 w 561625"/>
                <a:gd name="connsiteY8" fmla="*/ 1493920 h 1493920"/>
                <a:gd name="connsiteX0" fmla="*/ 561624 w 569514"/>
                <a:gd name="connsiteY0" fmla="*/ 1493920 h 1493920"/>
                <a:gd name="connsiteX1" fmla="*/ 0 w 569514"/>
                <a:gd name="connsiteY1" fmla="*/ 1493920 h 1493920"/>
                <a:gd name="connsiteX2" fmla="*/ 217214 w 569514"/>
                <a:gd name="connsiteY2" fmla="*/ 746960 h 1493920"/>
                <a:gd name="connsiteX3" fmla="*/ 217215 w 569514"/>
                <a:gd name="connsiteY3" fmla="*/ 746960 h 1493920"/>
                <a:gd name="connsiteX4" fmla="*/ 1 w 569514"/>
                <a:gd name="connsiteY4" fmla="*/ 0 h 1493920"/>
                <a:gd name="connsiteX5" fmla="*/ 561625 w 569514"/>
                <a:gd name="connsiteY5" fmla="*/ 0 h 1493920"/>
                <a:gd name="connsiteX6" fmla="*/ 344411 w 569514"/>
                <a:gd name="connsiteY6" fmla="*/ 746960 h 1493920"/>
                <a:gd name="connsiteX7" fmla="*/ 561624 w 569514"/>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217215 w 561625"/>
                <a:gd name="connsiteY3" fmla="*/ 746960 h 1493920"/>
                <a:gd name="connsiteX4" fmla="*/ 1 w 561625"/>
                <a:gd name="connsiteY4" fmla="*/ 0 h 1493920"/>
                <a:gd name="connsiteX5" fmla="*/ 561625 w 561625"/>
                <a:gd name="connsiteY5" fmla="*/ 0 h 1493920"/>
                <a:gd name="connsiteX6" fmla="*/ 344411 w 561625"/>
                <a:gd name="connsiteY6" fmla="*/ 746960 h 1493920"/>
                <a:gd name="connsiteX7" fmla="*/ 561624 w 561625"/>
                <a:gd name="connsiteY7"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 name="connsiteX0" fmla="*/ 561624 w 561625"/>
                <a:gd name="connsiteY0" fmla="*/ 1493920 h 1493920"/>
                <a:gd name="connsiteX1" fmla="*/ 0 w 561625"/>
                <a:gd name="connsiteY1" fmla="*/ 1493920 h 1493920"/>
                <a:gd name="connsiteX2" fmla="*/ 217214 w 561625"/>
                <a:gd name="connsiteY2" fmla="*/ 746960 h 1493920"/>
                <a:gd name="connsiteX3" fmla="*/ 1 w 561625"/>
                <a:gd name="connsiteY3" fmla="*/ 0 h 1493920"/>
                <a:gd name="connsiteX4" fmla="*/ 561625 w 561625"/>
                <a:gd name="connsiteY4" fmla="*/ 0 h 1493920"/>
                <a:gd name="connsiteX5" fmla="*/ 344411 w 561625"/>
                <a:gd name="connsiteY5" fmla="*/ 746960 h 1493920"/>
                <a:gd name="connsiteX6" fmla="*/ 561624 w 561625"/>
                <a:gd name="connsiteY6" fmla="*/ 1493920 h 149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625" h="1493920">
                  <a:moveTo>
                    <a:pt x="561624" y="1493920"/>
                  </a:moveTo>
                  <a:cubicBezTo>
                    <a:pt x="326418" y="1356768"/>
                    <a:pt x="245041" y="1353336"/>
                    <a:pt x="0" y="1493920"/>
                  </a:cubicBezTo>
                  <a:cubicBezTo>
                    <a:pt x="141899" y="1370371"/>
                    <a:pt x="214303" y="1056261"/>
                    <a:pt x="217214" y="746960"/>
                  </a:cubicBezTo>
                  <a:cubicBezTo>
                    <a:pt x="206989" y="446938"/>
                    <a:pt x="163845" y="100411"/>
                    <a:pt x="1" y="0"/>
                  </a:cubicBezTo>
                  <a:lnTo>
                    <a:pt x="561625" y="0"/>
                  </a:lnTo>
                  <a:cubicBezTo>
                    <a:pt x="405095" y="72746"/>
                    <a:pt x="343664" y="516531"/>
                    <a:pt x="344411" y="746960"/>
                  </a:cubicBezTo>
                  <a:cubicBezTo>
                    <a:pt x="355383" y="1023785"/>
                    <a:pt x="439804" y="1383402"/>
                    <a:pt x="561624" y="149392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7" name="Group 21">
            <a:extLst>
              <a:ext uri="{FF2B5EF4-FFF2-40B4-BE49-F238E27FC236}">
                <a16:creationId xmlns:a16="http://schemas.microsoft.com/office/drawing/2014/main" id="{32B4FC0A-44B6-EB4B-BC5A-1FE04A6A74A9}"/>
              </a:ext>
            </a:extLst>
          </p:cNvPr>
          <p:cNvGrpSpPr/>
          <p:nvPr/>
        </p:nvGrpSpPr>
        <p:grpSpPr>
          <a:xfrm>
            <a:off x="4443533" y="4017359"/>
            <a:ext cx="1727068" cy="678649"/>
            <a:chOff x="3233964" y="1954419"/>
            <a:chExt cx="1410044" cy="678649"/>
          </a:xfrm>
        </p:grpSpPr>
        <p:sp>
          <p:nvSpPr>
            <p:cNvPr id="18" name="TextBox 17">
              <a:extLst>
                <a:ext uri="{FF2B5EF4-FFF2-40B4-BE49-F238E27FC236}">
                  <a16:creationId xmlns:a16="http://schemas.microsoft.com/office/drawing/2014/main" id="{5E2A2990-963F-134D-ACC9-85CB28B2C4D7}"/>
                </a:ext>
              </a:extLst>
            </p:cNvPr>
            <p:cNvSpPr txBox="1"/>
            <p:nvPr/>
          </p:nvSpPr>
          <p:spPr>
            <a:xfrm>
              <a:off x="3233964" y="1954419"/>
              <a:ext cx="1400519" cy="307777"/>
            </a:xfrm>
            <a:prstGeom prst="rect">
              <a:avLst/>
            </a:prstGeom>
            <a:noFill/>
          </p:spPr>
          <p:txBody>
            <a:bodyPr wrap="square" rtlCol="0">
              <a:spAutoFit/>
            </a:bodyPr>
            <a:lstStyle/>
            <a:p>
              <a:pPr algn="ctr"/>
              <a:r>
                <a:rPr lang="en-US" altLang="ko-KR" sz="1400" b="1">
                  <a:solidFill>
                    <a:schemeClr val="accent3"/>
                  </a:solidFill>
                  <a:cs typeface="Arial" pitchFamily="34" charset="0"/>
                </a:rPr>
                <a:t>Add Text</a:t>
              </a:r>
              <a:endParaRPr lang="ko-KR" altLang="en-US" sz="1400" b="1">
                <a:solidFill>
                  <a:schemeClr val="accent3"/>
                </a:solidFill>
                <a:cs typeface="Arial" pitchFamily="34" charset="0"/>
              </a:endParaRPr>
            </a:p>
          </p:txBody>
        </p:sp>
        <p:sp>
          <p:nvSpPr>
            <p:cNvPr id="19" name="TextBox 18">
              <a:extLst>
                <a:ext uri="{FF2B5EF4-FFF2-40B4-BE49-F238E27FC236}">
                  <a16:creationId xmlns:a16="http://schemas.microsoft.com/office/drawing/2014/main" id="{AE82EEF8-FB88-D74C-9AD4-09E0F5207BB4}"/>
                </a:ext>
              </a:extLst>
            </p:cNvPr>
            <p:cNvSpPr txBox="1"/>
            <p:nvPr/>
          </p:nvSpPr>
          <p:spPr>
            <a:xfrm>
              <a:off x="3243489" y="2171403"/>
              <a:ext cx="1400519" cy="461665"/>
            </a:xfrm>
            <a:prstGeom prst="rect">
              <a:avLst/>
            </a:prstGeom>
            <a:noFill/>
          </p:spPr>
          <p:txBody>
            <a:bodyPr wrap="square" rtlCol="0">
              <a:spAutoFit/>
            </a:bodyPr>
            <a:lstStyle/>
            <a:p>
              <a:pPr algn="ctr"/>
              <a:r>
                <a:rPr lang="en-US" altLang="ko-KR" sz="1200">
                  <a:solidFill>
                    <a:srgbClr val="262626"/>
                  </a:solidFill>
                  <a:cs typeface="Arial" pitchFamily="34" charset="0"/>
                </a:rPr>
                <a:t>Simple PowerPoint Presentation</a:t>
              </a:r>
              <a:endParaRPr lang="ko-KR" altLang="en-US" sz="1200">
                <a:solidFill>
                  <a:srgbClr val="262626"/>
                </a:solidFill>
                <a:cs typeface="Arial" pitchFamily="34" charset="0"/>
              </a:endParaRPr>
            </a:p>
          </p:txBody>
        </p:sp>
      </p:grpSp>
      <p:grpSp>
        <p:nvGrpSpPr>
          <p:cNvPr id="20" name="Group 24">
            <a:extLst>
              <a:ext uri="{FF2B5EF4-FFF2-40B4-BE49-F238E27FC236}">
                <a16:creationId xmlns:a16="http://schemas.microsoft.com/office/drawing/2014/main" id="{79E10F72-2A18-CC41-BC43-07628AC952DA}"/>
              </a:ext>
            </a:extLst>
          </p:cNvPr>
          <p:cNvGrpSpPr/>
          <p:nvPr/>
        </p:nvGrpSpPr>
        <p:grpSpPr>
          <a:xfrm>
            <a:off x="6050756" y="3182625"/>
            <a:ext cx="1727068" cy="678649"/>
            <a:chOff x="3233964" y="1954419"/>
            <a:chExt cx="1410044" cy="678649"/>
          </a:xfrm>
        </p:grpSpPr>
        <p:sp>
          <p:nvSpPr>
            <p:cNvPr id="21" name="TextBox 20">
              <a:extLst>
                <a:ext uri="{FF2B5EF4-FFF2-40B4-BE49-F238E27FC236}">
                  <a16:creationId xmlns:a16="http://schemas.microsoft.com/office/drawing/2014/main" id="{D92694AF-294E-BF46-98BF-F574AC1CD94D}"/>
                </a:ext>
              </a:extLst>
            </p:cNvPr>
            <p:cNvSpPr txBox="1"/>
            <p:nvPr/>
          </p:nvSpPr>
          <p:spPr>
            <a:xfrm>
              <a:off x="3233964" y="1954419"/>
              <a:ext cx="1400519" cy="307777"/>
            </a:xfrm>
            <a:prstGeom prst="rect">
              <a:avLst/>
            </a:prstGeom>
            <a:noFill/>
          </p:spPr>
          <p:txBody>
            <a:bodyPr wrap="square" rtlCol="0">
              <a:spAutoFit/>
            </a:bodyPr>
            <a:lstStyle/>
            <a:p>
              <a:pPr algn="ctr"/>
              <a:r>
                <a:rPr lang="en-US" altLang="ko-KR" sz="1400" b="1">
                  <a:solidFill>
                    <a:schemeClr val="accent4"/>
                  </a:solidFill>
                  <a:cs typeface="Arial" pitchFamily="34" charset="0"/>
                </a:rPr>
                <a:t>Add Text</a:t>
              </a:r>
              <a:endParaRPr lang="ko-KR" altLang="en-US" sz="1400" b="1">
                <a:solidFill>
                  <a:schemeClr val="accent4"/>
                </a:solidFill>
                <a:cs typeface="Arial" pitchFamily="34" charset="0"/>
              </a:endParaRPr>
            </a:p>
          </p:txBody>
        </p:sp>
        <p:sp>
          <p:nvSpPr>
            <p:cNvPr id="22" name="TextBox 21">
              <a:extLst>
                <a:ext uri="{FF2B5EF4-FFF2-40B4-BE49-F238E27FC236}">
                  <a16:creationId xmlns:a16="http://schemas.microsoft.com/office/drawing/2014/main" id="{30CEE75F-2A24-0643-96D3-088091E3049C}"/>
                </a:ext>
              </a:extLst>
            </p:cNvPr>
            <p:cNvSpPr txBox="1"/>
            <p:nvPr/>
          </p:nvSpPr>
          <p:spPr>
            <a:xfrm>
              <a:off x="3243489" y="2171403"/>
              <a:ext cx="1400519" cy="461665"/>
            </a:xfrm>
            <a:prstGeom prst="rect">
              <a:avLst/>
            </a:prstGeom>
            <a:noFill/>
          </p:spPr>
          <p:txBody>
            <a:bodyPr wrap="square" rtlCol="0">
              <a:spAutoFit/>
            </a:bodyPr>
            <a:lstStyle/>
            <a:p>
              <a:pPr algn="ctr"/>
              <a:r>
                <a:rPr lang="en-US" altLang="ko-KR" sz="1200">
                  <a:solidFill>
                    <a:srgbClr val="262626"/>
                  </a:solidFill>
                  <a:cs typeface="Arial" pitchFamily="34" charset="0"/>
                </a:rPr>
                <a:t>Simple PowerPoint Presentation</a:t>
              </a:r>
              <a:endParaRPr lang="ko-KR" altLang="en-US" sz="1200">
                <a:solidFill>
                  <a:srgbClr val="262626"/>
                </a:solidFill>
                <a:cs typeface="Arial" pitchFamily="34" charset="0"/>
              </a:endParaRPr>
            </a:p>
          </p:txBody>
        </p:sp>
      </p:grpSp>
      <p:grpSp>
        <p:nvGrpSpPr>
          <p:cNvPr id="23" name="Group 27">
            <a:extLst>
              <a:ext uri="{FF2B5EF4-FFF2-40B4-BE49-F238E27FC236}">
                <a16:creationId xmlns:a16="http://schemas.microsoft.com/office/drawing/2014/main" id="{6BD579A1-9BF1-054A-841C-5E4BB0FE3155}"/>
              </a:ext>
            </a:extLst>
          </p:cNvPr>
          <p:cNvGrpSpPr/>
          <p:nvPr/>
        </p:nvGrpSpPr>
        <p:grpSpPr>
          <a:xfrm>
            <a:off x="7140843" y="5289762"/>
            <a:ext cx="3451008" cy="871880"/>
            <a:chOff x="-740680" y="1114177"/>
            <a:chExt cx="4125026" cy="871880"/>
          </a:xfrm>
        </p:grpSpPr>
        <p:sp>
          <p:nvSpPr>
            <p:cNvPr id="24" name="TextBox 23">
              <a:extLst>
                <a:ext uri="{FF2B5EF4-FFF2-40B4-BE49-F238E27FC236}">
                  <a16:creationId xmlns:a16="http://schemas.microsoft.com/office/drawing/2014/main" id="{517CB444-AA95-924C-9F21-2BDD4E6AE685}"/>
                </a:ext>
              </a:extLst>
            </p:cNvPr>
            <p:cNvSpPr txBox="1"/>
            <p:nvPr/>
          </p:nvSpPr>
          <p:spPr>
            <a:xfrm>
              <a:off x="-740680" y="1114177"/>
              <a:ext cx="4125026"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5" name="TextBox 24">
              <a:extLst>
                <a:ext uri="{FF2B5EF4-FFF2-40B4-BE49-F238E27FC236}">
                  <a16:creationId xmlns:a16="http://schemas.microsoft.com/office/drawing/2014/main" id="{CD2AF395-84F2-7F4B-A00B-7889C4A49896}"/>
                </a:ext>
              </a:extLst>
            </p:cNvPr>
            <p:cNvSpPr txBox="1"/>
            <p:nvPr/>
          </p:nvSpPr>
          <p:spPr>
            <a:xfrm>
              <a:off x="-725681" y="1339726"/>
              <a:ext cx="411002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grpSp>
      <p:grpSp>
        <p:nvGrpSpPr>
          <p:cNvPr id="26" name="Group 30">
            <a:extLst>
              <a:ext uri="{FF2B5EF4-FFF2-40B4-BE49-F238E27FC236}">
                <a16:creationId xmlns:a16="http://schemas.microsoft.com/office/drawing/2014/main" id="{3BD84577-9833-164C-9C31-91EA7A56F71A}"/>
              </a:ext>
            </a:extLst>
          </p:cNvPr>
          <p:cNvGrpSpPr/>
          <p:nvPr/>
        </p:nvGrpSpPr>
        <p:grpSpPr>
          <a:xfrm>
            <a:off x="868920" y="1774265"/>
            <a:ext cx="3451008" cy="871880"/>
            <a:chOff x="-740680" y="1114177"/>
            <a:chExt cx="4125026" cy="871880"/>
          </a:xfrm>
        </p:grpSpPr>
        <p:sp>
          <p:nvSpPr>
            <p:cNvPr id="27" name="TextBox 26">
              <a:extLst>
                <a:ext uri="{FF2B5EF4-FFF2-40B4-BE49-F238E27FC236}">
                  <a16:creationId xmlns:a16="http://schemas.microsoft.com/office/drawing/2014/main" id="{EC3EA0A1-026A-2041-A5B0-4C18EADA5F31}"/>
                </a:ext>
              </a:extLst>
            </p:cNvPr>
            <p:cNvSpPr txBox="1"/>
            <p:nvPr/>
          </p:nvSpPr>
          <p:spPr>
            <a:xfrm>
              <a:off x="-740680" y="1114177"/>
              <a:ext cx="4125026"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8" name="TextBox 27">
              <a:extLst>
                <a:ext uri="{FF2B5EF4-FFF2-40B4-BE49-F238E27FC236}">
                  <a16:creationId xmlns:a16="http://schemas.microsoft.com/office/drawing/2014/main" id="{B80EB185-C5CA-1841-ACA0-D6E297941284}"/>
                </a:ext>
              </a:extLst>
            </p:cNvPr>
            <p:cNvSpPr txBox="1"/>
            <p:nvPr/>
          </p:nvSpPr>
          <p:spPr>
            <a:xfrm>
              <a:off x="-725681" y="1339726"/>
              <a:ext cx="411002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grpSp>
    </p:spTree>
    <p:extLst>
      <p:ext uri="{BB962C8B-B14F-4D97-AF65-F5344CB8AC3E}">
        <p14:creationId xmlns:p14="http://schemas.microsoft.com/office/powerpoint/2010/main" val="34191583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654304-6424-234B-90F2-D4BEE378DC72}"/>
              </a:ext>
            </a:extLst>
          </p:cNvPr>
          <p:cNvSpPr>
            <a:spLocks noGrp="1"/>
          </p:cNvSpPr>
          <p:nvPr>
            <p:ph type="sldNum" sz="quarter" idx="4"/>
          </p:nvPr>
        </p:nvSpPr>
        <p:spPr/>
        <p:txBody>
          <a:bodyPr/>
          <a:lstStyle/>
          <a:p>
            <a:fld id="{3D966009-6E5A-4F8C-8CA7-E37AFBF5FB92}" type="slidenum">
              <a:rPr lang="en-US" smtClean="0"/>
              <a:t>145</a:t>
            </a:fld>
            <a:endParaRPr lang="en-US"/>
          </a:p>
        </p:txBody>
      </p:sp>
      <p:sp>
        <p:nvSpPr>
          <p:cNvPr id="3" name="Title 2">
            <a:extLst>
              <a:ext uri="{FF2B5EF4-FFF2-40B4-BE49-F238E27FC236}">
                <a16:creationId xmlns:a16="http://schemas.microsoft.com/office/drawing/2014/main" id="{CE05BEBC-5A9C-E643-A633-45EE4FDBB4AD}"/>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C66F979E-B450-F145-8819-488C0804F68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68DDDD1-4EDE-B14B-B7D2-4881C42FC2C8}"/>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59AC72F-C5A3-DC4D-BD3D-52490389CE51}"/>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51852982-AF04-664B-8F85-A07E4B7854C4}"/>
              </a:ext>
            </a:extLst>
          </p:cNvPr>
          <p:cNvSpPr>
            <a:spLocks noGrp="1"/>
          </p:cNvSpPr>
          <p:nvPr>
            <p:ph sz="quarter" idx="14"/>
          </p:nvPr>
        </p:nvSpPr>
        <p:spPr/>
        <p:txBody>
          <a:bodyPr/>
          <a:lstStyle/>
          <a:p>
            <a:endParaRPr lang="en-GB"/>
          </a:p>
        </p:txBody>
      </p:sp>
      <p:sp>
        <p:nvSpPr>
          <p:cNvPr id="9" name="막힌 원호 30">
            <a:extLst>
              <a:ext uri="{FF2B5EF4-FFF2-40B4-BE49-F238E27FC236}">
                <a16:creationId xmlns:a16="http://schemas.microsoft.com/office/drawing/2014/main" id="{91F80140-1C37-C44F-853E-83865CF98DB2}"/>
              </a:ext>
            </a:extLst>
          </p:cNvPr>
          <p:cNvSpPr/>
          <p:nvPr/>
        </p:nvSpPr>
        <p:spPr>
          <a:xfrm rot="10800000">
            <a:off x="4011750" y="1771532"/>
            <a:ext cx="4140000" cy="4140000"/>
          </a:xfrm>
          <a:prstGeom prst="blockArc">
            <a:avLst>
              <a:gd name="adj1" fmla="val 10756194"/>
              <a:gd name="adj2" fmla="val 30178"/>
              <a:gd name="adj3" fmla="val 3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nvGrpSpPr>
          <p:cNvPr id="10" name="Group 28">
            <a:extLst>
              <a:ext uri="{FF2B5EF4-FFF2-40B4-BE49-F238E27FC236}">
                <a16:creationId xmlns:a16="http://schemas.microsoft.com/office/drawing/2014/main" id="{F18D8437-226B-0441-89E7-49E8D0FC40C5}"/>
              </a:ext>
            </a:extLst>
          </p:cNvPr>
          <p:cNvGrpSpPr/>
          <p:nvPr/>
        </p:nvGrpSpPr>
        <p:grpSpPr>
          <a:xfrm>
            <a:off x="3871108" y="1872673"/>
            <a:ext cx="4426497" cy="4168301"/>
            <a:chOff x="2347107" y="1737169"/>
            <a:chExt cx="4426497" cy="4168301"/>
          </a:xfrm>
        </p:grpSpPr>
        <p:grpSp>
          <p:nvGrpSpPr>
            <p:cNvPr id="11" name="Group 26">
              <a:extLst>
                <a:ext uri="{FF2B5EF4-FFF2-40B4-BE49-F238E27FC236}">
                  <a16:creationId xmlns:a16="http://schemas.microsoft.com/office/drawing/2014/main" id="{9FA22FE5-5B5A-C544-830F-60A4EC2D9342}"/>
                </a:ext>
              </a:extLst>
            </p:cNvPr>
            <p:cNvGrpSpPr/>
            <p:nvPr/>
          </p:nvGrpSpPr>
          <p:grpSpPr>
            <a:xfrm>
              <a:off x="2347107" y="1737169"/>
              <a:ext cx="4426497" cy="4168301"/>
              <a:chOff x="2347107" y="2193210"/>
              <a:chExt cx="4426497" cy="4168301"/>
            </a:xfrm>
          </p:grpSpPr>
          <p:sp>
            <p:nvSpPr>
              <p:cNvPr id="13" name="Oval 10">
                <a:extLst>
                  <a:ext uri="{FF2B5EF4-FFF2-40B4-BE49-F238E27FC236}">
                    <a16:creationId xmlns:a16="http://schemas.microsoft.com/office/drawing/2014/main" id="{21508FDF-04D1-E547-92D9-B7EBCA26CEF5}"/>
                  </a:ext>
                </a:extLst>
              </p:cNvPr>
              <p:cNvSpPr/>
              <p:nvPr/>
            </p:nvSpPr>
            <p:spPr>
              <a:xfrm>
                <a:off x="2885423" y="2193210"/>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14" name="Oval 10">
                <a:extLst>
                  <a:ext uri="{FF2B5EF4-FFF2-40B4-BE49-F238E27FC236}">
                    <a16:creationId xmlns:a16="http://schemas.microsoft.com/office/drawing/2014/main" id="{26D2124D-4E98-F04A-BFCD-046D5BC8A3C2}"/>
                  </a:ext>
                </a:extLst>
              </p:cNvPr>
              <p:cNvSpPr/>
              <p:nvPr/>
            </p:nvSpPr>
            <p:spPr>
              <a:xfrm rot="18000000" flipV="1">
                <a:off x="4459114" y="4883910"/>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15" name="Oval 10">
                <a:extLst>
                  <a:ext uri="{FF2B5EF4-FFF2-40B4-BE49-F238E27FC236}">
                    <a16:creationId xmlns:a16="http://schemas.microsoft.com/office/drawing/2014/main" id="{159CF183-55BE-CF4A-BEBB-D7FE79756592}"/>
                  </a:ext>
                </a:extLst>
              </p:cNvPr>
              <p:cNvSpPr/>
              <p:nvPr/>
            </p:nvSpPr>
            <p:spPr>
              <a:xfrm flipH="1">
                <a:off x="4604658" y="2193210"/>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16" name="Oval 10">
                <a:extLst>
                  <a:ext uri="{FF2B5EF4-FFF2-40B4-BE49-F238E27FC236}">
                    <a16:creationId xmlns:a16="http://schemas.microsoft.com/office/drawing/2014/main" id="{60FDD696-B5E7-0A4B-BF69-A4A0E9A533A8}"/>
                  </a:ext>
                </a:extLst>
              </p:cNvPr>
              <p:cNvSpPr/>
              <p:nvPr/>
            </p:nvSpPr>
            <p:spPr>
              <a:xfrm rot="7200000">
                <a:off x="5296003" y="3378966"/>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17" name="Oval 10">
                <a:extLst>
                  <a:ext uri="{FF2B5EF4-FFF2-40B4-BE49-F238E27FC236}">
                    <a16:creationId xmlns:a16="http://schemas.microsoft.com/office/drawing/2014/main" id="{B0B73532-6B71-B949-9B07-4A3BBB86609D}"/>
                  </a:ext>
                </a:extLst>
              </p:cNvPr>
              <p:cNvSpPr/>
              <p:nvPr/>
            </p:nvSpPr>
            <p:spPr>
              <a:xfrm flipV="1">
                <a:off x="2885423" y="4786266"/>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18" name="Oval 10">
                <a:extLst>
                  <a:ext uri="{FF2B5EF4-FFF2-40B4-BE49-F238E27FC236}">
                    <a16:creationId xmlns:a16="http://schemas.microsoft.com/office/drawing/2014/main" id="{128D8752-0238-124C-B16D-EC2E96667B1A}"/>
                  </a:ext>
                </a:extLst>
              </p:cNvPr>
              <p:cNvSpPr/>
              <p:nvPr/>
            </p:nvSpPr>
            <p:spPr>
              <a:xfrm rot="18000000">
                <a:off x="2199660" y="3584104"/>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grpSp>
        <p:sp>
          <p:nvSpPr>
            <p:cNvPr id="12" name="Oval 23">
              <a:extLst>
                <a:ext uri="{FF2B5EF4-FFF2-40B4-BE49-F238E27FC236}">
                  <a16:creationId xmlns:a16="http://schemas.microsoft.com/office/drawing/2014/main" id="{02D2DDBC-03AD-9E45-B1B6-9E2BF6E521B6}"/>
                </a:ext>
              </a:extLst>
            </p:cNvPr>
            <p:cNvSpPr/>
            <p:nvPr/>
          </p:nvSpPr>
          <p:spPr>
            <a:xfrm>
              <a:off x="3540579" y="2698034"/>
              <a:ext cx="2039552" cy="2039552"/>
            </a:xfrm>
            <a:prstGeom prst="ellipse">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cs typeface="Arial" pitchFamily="34" charset="0"/>
              </a:endParaRPr>
            </a:p>
          </p:txBody>
        </p:sp>
      </p:grpSp>
      <p:sp>
        <p:nvSpPr>
          <p:cNvPr id="19" name="TextBox 18">
            <a:extLst>
              <a:ext uri="{FF2B5EF4-FFF2-40B4-BE49-F238E27FC236}">
                <a16:creationId xmlns:a16="http://schemas.microsoft.com/office/drawing/2014/main" id="{ADB3AF0F-B9A6-E047-A615-1DB512FC2CF0}"/>
              </a:ext>
            </a:extLst>
          </p:cNvPr>
          <p:cNvSpPr txBox="1"/>
          <p:nvPr/>
        </p:nvSpPr>
        <p:spPr>
          <a:xfrm>
            <a:off x="5139221" y="4144244"/>
            <a:ext cx="1947201" cy="307777"/>
          </a:xfrm>
          <a:prstGeom prst="rect">
            <a:avLst/>
          </a:prstGeom>
          <a:noFill/>
        </p:spPr>
        <p:txBody>
          <a:bodyPr wrap="square" rtlCol="0" anchor="ctr">
            <a:spAutoFit/>
          </a:bodyPr>
          <a:lstStyle/>
          <a:p>
            <a:pPr algn="ctr"/>
            <a:r>
              <a:rPr lang="en-US" altLang="ko-KR" sz="1400" b="1">
                <a:solidFill>
                  <a:schemeClr val="accent2"/>
                </a:solidFill>
                <a:cs typeface="Arial" pitchFamily="34" charset="0"/>
              </a:rPr>
              <a:t>Contents Here</a:t>
            </a:r>
            <a:endParaRPr lang="ko-KR" altLang="en-US" sz="1400" b="1">
              <a:solidFill>
                <a:schemeClr val="accent2"/>
              </a:solidFill>
              <a:cs typeface="Arial" pitchFamily="34" charset="0"/>
            </a:endParaRPr>
          </a:p>
        </p:txBody>
      </p:sp>
      <p:sp>
        <p:nvSpPr>
          <p:cNvPr id="20" name="TextBox 19">
            <a:extLst>
              <a:ext uri="{FF2B5EF4-FFF2-40B4-BE49-F238E27FC236}">
                <a16:creationId xmlns:a16="http://schemas.microsoft.com/office/drawing/2014/main" id="{AE09914D-51D7-F346-93D5-A7C75592AE2C}"/>
              </a:ext>
            </a:extLst>
          </p:cNvPr>
          <p:cNvSpPr txBox="1"/>
          <p:nvPr/>
        </p:nvSpPr>
        <p:spPr>
          <a:xfrm>
            <a:off x="8996569" y="3551103"/>
            <a:ext cx="1585293" cy="523220"/>
          </a:xfrm>
          <a:prstGeom prst="rect">
            <a:avLst/>
          </a:prstGeom>
          <a:noFill/>
        </p:spPr>
        <p:txBody>
          <a:bodyPr wrap="square" rtlCol="0" anchor="ctr">
            <a:spAutoFit/>
          </a:bodyPr>
          <a:lstStyle/>
          <a:p>
            <a:r>
              <a:rPr lang="en-US" altLang="ko-KR" sz="1400">
                <a:solidFill>
                  <a:schemeClr val="tx1">
                    <a:lumMod val="75000"/>
                    <a:lumOff val="25000"/>
                  </a:schemeClr>
                </a:solidFill>
                <a:cs typeface="Arial" pitchFamily="34" charset="0"/>
              </a:rPr>
              <a:t>Simply Impress</a:t>
            </a:r>
          </a:p>
          <a:p>
            <a:r>
              <a:rPr lang="en-US" altLang="ko-KR" sz="1400">
                <a:solidFill>
                  <a:schemeClr val="tx1">
                    <a:lumMod val="75000"/>
                    <a:lumOff val="25000"/>
                  </a:schemeClr>
                </a:solidFill>
                <a:cs typeface="Arial" pitchFamily="34" charset="0"/>
              </a:rPr>
              <a:t>Your Audience</a:t>
            </a:r>
          </a:p>
        </p:txBody>
      </p:sp>
      <p:sp>
        <p:nvSpPr>
          <p:cNvPr id="21" name="TextBox 20">
            <a:extLst>
              <a:ext uri="{FF2B5EF4-FFF2-40B4-BE49-F238E27FC236}">
                <a16:creationId xmlns:a16="http://schemas.microsoft.com/office/drawing/2014/main" id="{08554413-0B67-4F46-B9D2-D18313BB5D26}"/>
              </a:ext>
            </a:extLst>
          </p:cNvPr>
          <p:cNvSpPr txBox="1"/>
          <p:nvPr/>
        </p:nvSpPr>
        <p:spPr>
          <a:xfrm>
            <a:off x="1524001" y="3551103"/>
            <a:ext cx="1653249" cy="523220"/>
          </a:xfrm>
          <a:prstGeom prst="rect">
            <a:avLst/>
          </a:prstGeom>
          <a:noFill/>
        </p:spPr>
        <p:txBody>
          <a:bodyPr wrap="square" rtlCol="0" anchor="ctr">
            <a:spAutoFit/>
          </a:bodyPr>
          <a:lstStyle/>
          <a:p>
            <a:pPr algn="r"/>
            <a:r>
              <a:rPr lang="en-US" altLang="ko-KR" sz="1400">
                <a:solidFill>
                  <a:schemeClr val="tx1">
                    <a:lumMod val="75000"/>
                    <a:lumOff val="25000"/>
                  </a:schemeClr>
                </a:solidFill>
                <a:cs typeface="Arial" pitchFamily="34" charset="0"/>
              </a:rPr>
              <a:t>Simply Impress</a:t>
            </a:r>
          </a:p>
          <a:p>
            <a:pPr algn="r"/>
            <a:r>
              <a:rPr lang="en-US" altLang="ko-KR" sz="1400">
                <a:solidFill>
                  <a:schemeClr val="tx1">
                    <a:lumMod val="75000"/>
                    <a:lumOff val="25000"/>
                  </a:schemeClr>
                </a:solidFill>
                <a:cs typeface="Arial" pitchFamily="34" charset="0"/>
              </a:rPr>
              <a:t>Your Audience</a:t>
            </a:r>
          </a:p>
        </p:txBody>
      </p:sp>
      <p:sp>
        <p:nvSpPr>
          <p:cNvPr id="22" name="TextBox 21">
            <a:extLst>
              <a:ext uri="{FF2B5EF4-FFF2-40B4-BE49-F238E27FC236}">
                <a16:creationId xmlns:a16="http://schemas.microsoft.com/office/drawing/2014/main" id="{5D5AFFA0-94AA-3C4A-82EE-1794E4D355B0}"/>
              </a:ext>
            </a:extLst>
          </p:cNvPr>
          <p:cNvSpPr txBox="1"/>
          <p:nvPr/>
        </p:nvSpPr>
        <p:spPr>
          <a:xfrm>
            <a:off x="2207568" y="5454973"/>
            <a:ext cx="1751086" cy="523220"/>
          </a:xfrm>
          <a:prstGeom prst="rect">
            <a:avLst/>
          </a:prstGeom>
          <a:noFill/>
        </p:spPr>
        <p:txBody>
          <a:bodyPr wrap="square" rtlCol="0" anchor="ctr">
            <a:spAutoFit/>
          </a:bodyPr>
          <a:lstStyle/>
          <a:p>
            <a:pPr algn="r"/>
            <a:r>
              <a:rPr lang="en-US" altLang="ko-KR" sz="1400">
                <a:solidFill>
                  <a:schemeClr val="tx1">
                    <a:lumMod val="75000"/>
                    <a:lumOff val="25000"/>
                  </a:schemeClr>
                </a:solidFill>
                <a:cs typeface="Arial" pitchFamily="34" charset="0"/>
              </a:rPr>
              <a:t>Simply Impress</a:t>
            </a:r>
          </a:p>
          <a:p>
            <a:pPr algn="r"/>
            <a:r>
              <a:rPr lang="en-US" altLang="ko-KR" sz="1400">
                <a:solidFill>
                  <a:schemeClr val="tx1">
                    <a:lumMod val="75000"/>
                    <a:lumOff val="25000"/>
                  </a:schemeClr>
                </a:solidFill>
                <a:cs typeface="Arial" pitchFamily="34" charset="0"/>
              </a:rPr>
              <a:t>Your Audience</a:t>
            </a:r>
          </a:p>
        </p:txBody>
      </p:sp>
      <p:sp>
        <p:nvSpPr>
          <p:cNvPr id="23" name="TextBox 22">
            <a:extLst>
              <a:ext uri="{FF2B5EF4-FFF2-40B4-BE49-F238E27FC236}">
                <a16:creationId xmlns:a16="http://schemas.microsoft.com/office/drawing/2014/main" id="{B98503BE-04E4-7B43-9F78-EA216F238826}"/>
              </a:ext>
            </a:extLst>
          </p:cNvPr>
          <p:cNvSpPr txBox="1"/>
          <p:nvPr/>
        </p:nvSpPr>
        <p:spPr>
          <a:xfrm>
            <a:off x="8343317" y="5454973"/>
            <a:ext cx="1585293" cy="523220"/>
          </a:xfrm>
          <a:prstGeom prst="rect">
            <a:avLst/>
          </a:prstGeom>
          <a:noFill/>
        </p:spPr>
        <p:txBody>
          <a:bodyPr wrap="square" rtlCol="0" anchor="ctr">
            <a:spAutoFit/>
          </a:bodyPr>
          <a:lstStyle/>
          <a:p>
            <a:r>
              <a:rPr lang="en-US" altLang="ko-KR" sz="1400">
                <a:solidFill>
                  <a:schemeClr val="tx1">
                    <a:lumMod val="75000"/>
                    <a:lumOff val="25000"/>
                  </a:schemeClr>
                </a:solidFill>
                <a:cs typeface="Arial" pitchFamily="34" charset="0"/>
              </a:rPr>
              <a:t>Simply Impress</a:t>
            </a:r>
          </a:p>
          <a:p>
            <a:r>
              <a:rPr lang="en-US" altLang="ko-KR" sz="1400">
                <a:solidFill>
                  <a:schemeClr val="tx1">
                    <a:lumMod val="75000"/>
                    <a:lumOff val="25000"/>
                  </a:schemeClr>
                </a:solidFill>
                <a:cs typeface="Arial" pitchFamily="34" charset="0"/>
              </a:rPr>
              <a:t>Your Audience</a:t>
            </a:r>
          </a:p>
        </p:txBody>
      </p:sp>
      <p:grpSp>
        <p:nvGrpSpPr>
          <p:cNvPr id="24" name="Group 47">
            <a:extLst>
              <a:ext uri="{FF2B5EF4-FFF2-40B4-BE49-F238E27FC236}">
                <a16:creationId xmlns:a16="http://schemas.microsoft.com/office/drawing/2014/main" id="{2F89638C-5EBE-D348-B8CC-96BAB52FDDF6}"/>
              </a:ext>
            </a:extLst>
          </p:cNvPr>
          <p:cNvGrpSpPr/>
          <p:nvPr/>
        </p:nvGrpSpPr>
        <p:grpSpPr>
          <a:xfrm>
            <a:off x="8397268" y="1724600"/>
            <a:ext cx="3060000" cy="953424"/>
            <a:chOff x="6760489" y="1621755"/>
            <a:chExt cx="1947202" cy="953424"/>
          </a:xfrm>
        </p:grpSpPr>
        <p:sp>
          <p:nvSpPr>
            <p:cNvPr id="25" name="TextBox 24">
              <a:extLst>
                <a:ext uri="{FF2B5EF4-FFF2-40B4-BE49-F238E27FC236}">
                  <a16:creationId xmlns:a16="http://schemas.microsoft.com/office/drawing/2014/main" id="{E8467E53-AE7A-0D47-84D8-5136B902F889}"/>
                </a:ext>
              </a:extLst>
            </p:cNvPr>
            <p:cNvSpPr txBox="1"/>
            <p:nvPr/>
          </p:nvSpPr>
          <p:spPr>
            <a:xfrm>
              <a:off x="6760489" y="1621755"/>
              <a:ext cx="1947202" cy="369332"/>
            </a:xfrm>
            <a:prstGeom prst="rect">
              <a:avLst/>
            </a:prstGeom>
            <a:noFill/>
          </p:spPr>
          <p:txBody>
            <a:bodyPr wrap="square" rtlCol="0" anchor="ctr">
              <a:spAutoFit/>
            </a:bodyPr>
            <a:lstStyle/>
            <a:p>
              <a:r>
                <a:rPr lang="en-US" altLang="ko-KR" b="1">
                  <a:solidFill>
                    <a:schemeClr val="accent2"/>
                  </a:solidFill>
                  <a:cs typeface="Arial" pitchFamily="34" charset="0"/>
                </a:rPr>
                <a:t>Contents Here</a:t>
              </a:r>
              <a:endParaRPr lang="ko-KR" altLang="en-US" b="1">
                <a:solidFill>
                  <a:schemeClr val="accent2"/>
                </a:solidFill>
                <a:cs typeface="Arial" pitchFamily="34" charset="0"/>
              </a:endParaRPr>
            </a:p>
          </p:txBody>
        </p:sp>
        <p:sp>
          <p:nvSpPr>
            <p:cNvPr id="26" name="TextBox 25">
              <a:extLst>
                <a:ext uri="{FF2B5EF4-FFF2-40B4-BE49-F238E27FC236}">
                  <a16:creationId xmlns:a16="http://schemas.microsoft.com/office/drawing/2014/main" id="{0F3A7E57-2F81-F244-8086-4F8F1CA32076}"/>
                </a:ext>
              </a:extLst>
            </p:cNvPr>
            <p:cNvSpPr txBox="1"/>
            <p:nvPr/>
          </p:nvSpPr>
          <p:spPr>
            <a:xfrm>
              <a:off x="6760489" y="1928848"/>
              <a:ext cx="1947201"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p>
          </p:txBody>
        </p:sp>
      </p:grpSp>
      <p:grpSp>
        <p:nvGrpSpPr>
          <p:cNvPr id="27" name="Group 26">
            <a:extLst>
              <a:ext uri="{FF2B5EF4-FFF2-40B4-BE49-F238E27FC236}">
                <a16:creationId xmlns:a16="http://schemas.microsoft.com/office/drawing/2014/main" id="{3F44E025-383B-8B48-9F0D-F5AFF5F9BF68}"/>
              </a:ext>
            </a:extLst>
          </p:cNvPr>
          <p:cNvGrpSpPr/>
          <p:nvPr/>
        </p:nvGrpSpPr>
        <p:grpSpPr>
          <a:xfrm>
            <a:off x="738555" y="1731645"/>
            <a:ext cx="3060000" cy="953424"/>
            <a:chOff x="6760489" y="1621755"/>
            <a:chExt cx="1947202" cy="953424"/>
          </a:xfrm>
        </p:grpSpPr>
        <p:sp>
          <p:nvSpPr>
            <p:cNvPr id="28" name="TextBox 27">
              <a:extLst>
                <a:ext uri="{FF2B5EF4-FFF2-40B4-BE49-F238E27FC236}">
                  <a16:creationId xmlns:a16="http://schemas.microsoft.com/office/drawing/2014/main" id="{A877FF3F-46FE-174F-A38B-AA8C12674A74}"/>
                </a:ext>
              </a:extLst>
            </p:cNvPr>
            <p:cNvSpPr txBox="1"/>
            <p:nvPr/>
          </p:nvSpPr>
          <p:spPr>
            <a:xfrm>
              <a:off x="6760489" y="1621755"/>
              <a:ext cx="1947202" cy="369332"/>
            </a:xfrm>
            <a:prstGeom prst="rect">
              <a:avLst/>
            </a:prstGeom>
            <a:noFill/>
          </p:spPr>
          <p:txBody>
            <a:bodyPr wrap="square" rtlCol="0" anchor="ctr">
              <a:spAutoFit/>
            </a:bodyPr>
            <a:lstStyle/>
            <a:p>
              <a:pPr algn="r"/>
              <a:r>
                <a:rPr lang="en-US" altLang="ko-KR" b="1">
                  <a:solidFill>
                    <a:schemeClr val="accent2"/>
                  </a:solidFill>
                  <a:cs typeface="Arial" pitchFamily="34" charset="0"/>
                </a:rPr>
                <a:t>Contents Here</a:t>
              </a:r>
              <a:endParaRPr lang="ko-KR" altLang="en-US" b="1">
                <a:solidFill>
                  <a:schemeClr val="accent2"/>
                </a:solidFill>
                <a:cs typeface="Arial" pitchFamily="34" charset="0"/>
              </a:endParaRPr>
            </a:p>
          </p:txBody>
        </p:sp>
        <p:sp>
          <p:nvSpPr>
            <p:cNvPr id="29" name="TextBox 28">
              <a:extLst>
                <a:ext uri="{FF2B5EF4-FFF2-40B4-BE49-F238E27FC236}">
                  <a16:creationId xmlns:a16="http://schemas.microsoft.com/office/drawing/2014/main" id="{5F2F98C5-FA4E-224F-AF97-CE794307B244}"/>
                </a:ext>
              </a:extLst>
            </p:cNvPr>
            <p:cNvSpPr txBox="1"/>
            <p:nvPr/>
          </p:nvSpPr>
          <p:spPr>
            <a:xfrm>
              <a:off x="6760489" y="1928848"/>
              <a:ext cx="194720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p>
          </p:txBody>
        </p:sp>
      </p:grpSp>
      <p:sp>
        <p:nvSpPr>
          <p:cNvPr id="30" name="L-Shape 29">
            <a:extLst>
              <a:ext uri="{FF2B5EF4-FFF2-40B4-BE49-F238E27FC236}">
                <a16:creationId xmlns:a16="http://schemas.microsoft.com/office/drawing/2014/main" id="{C185F2E7-C8E2-F146-B0E1-B0CE287CF1A1}"/>
              </a:ext>
            </a:extLst>
          </p:cNvPr>
          <p:cNvSpPr/>
          <p:nvPr/>
        </p:nvSpPr>
        <p:spPr>
          <a:xfrm rot="2700000">
            <a:off x="7952269" y="2021937"/>
            <a:ext cx="375843" cy="375843"/>
          </a:xfrm>
          <a:prstGeom prst="corner">
            <a:avLst>
              <a:gd name="adj1" fmla="val 20835"/>
              <a:gd name="adj2" fmla="val 243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1" name="L-Shape 30">
            <a:extLst>
              <a:ext uri="{FF2B5EF4-FFF2-40B4-BE49-F238E27FC236}">
                <a16:creationId xmlns:a16="http://schemas.microsoft.com/office/drawing/2014/main" id="{419EF5B1-4C42-214C-B828-B6E9F4655986}"/>
              </a:ext>
            </a:extLst>
          </p:cNvPr>
          <p:cNvSpPr/>
          <p:nvPr/>
        </p:nvSpPr>
        <p:spPr>
          <a:xfrm rot="13500000">
            <a:off x="3903237" y="2021938"/>
            <a:ext cx="375843" cy="375843"/>
          </a:xfrm>
          <a:prstGeom prst="corner">
            <a:avLst>
              <a:gd name="adj1" fmla="val 20835"/>
              <a:gd name="adj2" fmla="val 243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2" name="막힌 원호 53">
            <a:extLst>
              <a:ext uri="{FF2B5EF4-FFF2-40B4-BE49-F238E27FC236}">
                <a16:creationId xmlns:a16="http://schemas.microsoft.com/office/drawing/2014/main" id="{5FD75A4E-90F4-1941-9D4C-AA95F40E5E70}"/>
              </a:ext>
            </a:extLst>
          </p:cNvPr>
          <p:cNvSpPr/>
          <p:nvPr/>
        </p:nvSpPr>
        <p:spPr>
          <a:xfrm>
            <a:off x="4011749" y="1771532"/>
            <a:ext cx="4140000" cy="4140000"/>
          </a:xfrm>
          <a:prstGeom prst="blockArc">
            <a:avLst>
              <a:gd name="adj1" fmla="val 10756194"/>
              <a:gd name="adj2" fmla="val 30178"/>
              <a:gd name="adj3" fmla="val 394"/>
            </a:avLst>
          </a:prstGeom>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3" name="Isosceles Triangle 51">
            <a:extLst>
              <a:ext uri="{FF2B5EF4-FFF2-40B4-BE49-F238E27FC236}">
                <a16:creationId xmlns:a16="http://schemas.microsoft.com/office/drawing/2014/main" id="{0D6368DB-28C8-C742-807A-2041C5027E0D}"/>
              </a:ext>
            </a:extLst>
          </p:cNvPr>
          <p:cNvSpPr/>
          <p:nvPr/>
        </p:nvSpPr>
        <p:spPr>
          <a:xfrm>
            <a:off x="5121874" y="2391088"/>
            <a:ext cx="333042" cy="244221"/>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4" name="Rectangle 7">
            <a:extLst>
              <a:ext uri="{FF2B5EF4-FFF2-40B4-BE49-F238E27FC236}">
                <a16:creationId xmlns:a16="http://schemas.microsoft.com/office/drawing/2014/main" id="{33B53D9B-11CE-0448-A120-04679DC91960}"/>
              </a:ext>
            </a:extLst>
          </p:cNvPr>
          <p:cNvSpPr/>
          <p:nvPr/>
        </p:nvSpPr>
        <p:spPr>
          <a:xfrm>
            <a:off x="6755042" y="2335626"/>
            <a:ext cx="322040" cy="322040"/>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5" name="Rounded Rectangle 32">
            <a:extLst>
              <a:ext uri="{FF2B5EF4-FFF2-40B4-BE49-F238E27FC236}">
                <a16:creationId xmlns:a16="http://schemas.microsoft.com/office/drawing/2014/main" id="{5701A01F-111E-5148-8F6B-F9E692800A0D}"/>
              </a:ext>
            </a:extLst>
          </p:cNvPr>
          <p:cNvSpPr/>
          <p:nvPr/>
        </p:nvSpPr>
        <p:spPr>
          <a:xfrm>
            <a:off x="4379323" y="3649052"/>
            <a:ext cx="322637" cy="322637"/>
          </a:xfrm>
          <a:custGeom>
            <a:avLst/>
            <a:gdLst/>
            <a:ahLst/>
            <a:cxnLst/>
            <a:rect l="l" t="t" r="r" b="b"/>
            <a:pathLst>
              <a:path w="3240000" h="3240000">
                <a:moveTo>
                  <a:pt x="2019696" y="2510955"/>
                </a:moveTo>
                <a:lnTo>
                  <a:pt x="2019696" y="2797359"/>
                </a:lnTo>
                <a:lnTo>
                  <a:pt x="2914589" y="2797359"/>
                </a:lnTo>
                <a:lnTo>
                  <a:pt x="2914589" y="2510955"/>
                </a:lnTo>
                <a:close/>
                <a:moveTo>
                  <a:pt x="2019696" y="2081348"/>
                </a:moveTo>
                <a:lnTo>
                  <a:pt x="2019696" y="2367752"/>
                </a:lnTo>
                <a:lnTo>
                  <a:pt x="2914589" y="2367752"/>
                </a:lnTo>
                <a:lnTo>
                  <a:pt x="2914589" y="2081348"/>
                </a:lnTo>
                <a:close/>
                <a:moveTo>
                  <a:pt x="580710" y="2021703"/>
                </a:moveTo>
                <a:lnTo>
                  <a:pt x="378191" y="2224222"/>
                </a:lnTo>
                <a:lnTo>
                  <a:pt x="593323" y="2439354"/>
                </a:lnTo>
                <a:lnTo>
                  <a:pt x="378191" y="2654485"/>
                </a:lnTo>
                <a:lnTo>
                  <a:pt x="580710" y="2857004"/>
                </a:lnTo>
                <a:lnTo>
                  <a:pt x="795842" y="2641872"/>
                </a:lnTo>
                <a:lnTo>
                  <a:pt x="1010973" y="2857004"/>
                </a:lnTo>
                <a:lnTo>
                  <a:pt x="1213492" y="2654485"/>
                </a:lnTo>
                <a:lnTo>
                  <a:pt x="998360" y="2439354"/>
                </a:lnTo>
                <a:lnTo>
                  <a:pt x="1213492" y="2224222"/>
                </a:lnTo>
                <a:lnTo>
                  <a:pt x="1010973" y="2021703"/>
                </a:lnTo>
                <a:lnTo>
                  <a:pt x="795842" y="2236835"/>
                </a:lnTo>
                <a:close/>
                <a:moveTo>
                  <a:pt x="1656000" y="1656001"/>
                </a:moveTo>
                <a:lnTo>
                  <a:pt x="3240000" y="1656001"/>
                </a:lnTo>
                <a:lnTo>
                  <a:pt x="3240000" y="2699989"/>
                </a:lnTo>
                <a:cubicBezTo>
                  <a:pt x="3240000" y="2998229"/>
                  <a:pt x="2998229" y="3240000"/>
                  <a:pt x="2699989" y="3240000"/>
                </a:cubicBezTo>
                <a:lnTo>
                  <a:pt x="1656000" y="3240000"/>
                </a:lnTo>
                <a:close/>
                <a:moveTo>
                  <a:pt x="0" y="1656001"/>
                </a:moveTo>
                <a:lnTo>
                  <a:pt x="1584000" y="1656001"/>
                </a:lnTo>
                <a:lnTo>
                  <a:pt x="1584000" y="3240000"/>
                </a:lnTo>
                <a:lnTo>
                  <a:pt x="540011" y="3240000"/>
                </a:lnTo>
                <a:cubicBezTo>
                  <a:pt x="241771" y="3240000"/>
                  <a:pt x="0" y="2998229"/>
                  <a:pt x="0" y="2699989"/>
                </a:cubicBezTo>
                <a:close/>
                <a:moveTo>
                  <a:pt x="2467143" y="957859"/>
                </a:moveTo>
                <a:cubicBezTo>
                  <a:pt x="2388055" y="957859"/>
                  <a:pt x="2323941" y="1021973"/>
                  <a:pt x="2323941" y="1101061"/>
                </a:cubicBezTo>
                <a:cubicBezTo>
                  <a:pt x="2323941" y="1180149"/>
                  <a:pt x="2388055" y="1244263"/>
                  <a:pt x="2467143" y="1244263"/>
                </a:cubicBezTo>
                <a:cubicBezTo>
                  <a:pt x="2546231" y="1244263"/>
                  <a:pt x="2610345" y="1180149"/>
                  <a:pt x="2610345" y="1101061"/>
                </a:cubicBezTo>
                <a:cubicBezTo>
                  <a:pt x="2610345" y="1021973"/>
                  <a:pt x="2546231" y="957859"/>
                  <a:pt x="2467143" y="957859"/>
                </a:cubicBezTo>
                <a:close/>
                <a:moveTo>
                  <a:pt x="2019696" y="635775"/>
                </a:moveTo>
                <a:lnTo>
                  <a:pt x="2019696" y="922180"/>
                </a:lnTo>
                <a:lnTo>
                  <a:pt x="2914589" y="922180"/>
                </a:lnTo>
                <a:lnTo>
                  <a:pt x="2914589" y="635775"/>
                </a:lnTo>
                <a:close/>
                <a:moveTo>
                  <a:pt x="652639" y="331531"/>
                </a:moveTo>
                <a:lnTo>
                  <a:pt x="652639" y="635775"/>
                </a:lnTo>
                <a:lnTo>
                  <a:pt x="348395" y="635775"/>
                </a:lnTo>
                <a:lnTo>
                  <a:pt x="348395" y="922180"/>
                </a:lnTo>
                <a:lnTo>
                  <a:pt x="652639" y="922180"/>
                </a:lnTo>
                <a:lnTo>
                  <a:pt x="652639" y="1226424"/>
                </a:lnTo>
                <a:lnTo>
                  <a:pt x="939044" y="1226424"/>
                </a:lnTo>
                <a:lnTo>
                  <a:pt x="939044" y="922180"/>
                </a:lnTo>
                <a:lnTo>
                  <a:pt x="1243288" y="922180"/>
                </a:lnTo>
                <a:lnTo>
                  <a:pt x="1243288" y="635775"/>
                </a:lnTo>
                <a:lnTo>
                  <a:pt x="939044" y="635775"/>
                </a:lnTo>
                <a:lnTo>
                  <a:pt x="939044" y="331531"/>
                </a:lnTo>
                <a:close/>
                <a:moveTo>
                  <a:pt x="2467143" y="313692"/>
                </a:moveTo>
                <a:cubicBezTo>
                  <a:pt x="2388055" y="313692"/>
                  <a:pt x="2323941" y="377806"/>
                  <a:pt x="2323941" y="456894"/>
                </a:cubicBezTo>
                <a:cubicBezTo>
                  <a:pt x="2323941" y="535982"/>
                  <a:pt x="2388055" y="600096"/>
                  <a:pt x="2467143" y="600096"/>
                </a:cubicBezTo>
                <a:cubicBezTo>
                  <a:pt x="2546231" y="600096"/>
                  <a:pt x="2610345" y="535982"/>
                  <a:pt x="2610345" y="456894"/>
                </a:cubicBezTo>
                <a:cubicBezTo>
                  <a:pt x="2610345" y="377806"/>
                  <a:pt x="2546231" y="313692"/>
                  <a:pt x="2467143" y="313692"/>
                </a:cubicBezTo>
                <a:close/>
                <a:moveTo>
                  <a:pt x="540011" y="0"/>
                </a:moveTo>
                <a:lnTo>
                  <a:pt x="2699989" y="0"/>
                </a:lnTo>
                <a:cubicBezTo>
                  <a:pt x="2998229" y="0"/>
                  <a:pt x="3240000" y="241771"/>
                  <a:pt x="3240000" y="540011"/>
                </a:cubicBezTo>
                <a:lnTo>
                  <a:pt x="3240000" y="1584001"/>
                </a:lnTo>
                <a:lnTo>
                  <a:pt x="1656000" y="1584001"/>
                </a:lnTo>
                <a:lnTo>
                  <a:pt x="1656000" y="1"/>
                </a:lnTo>
                <a:lnTo>
                  <a:pt x="1584000" y="1"/>
                </a:lnTo>
                <a:lnTo>
                  <a:pt x="1584000" y="1584001"/>
                </a:lnTo>
                <a:lnTo>
                  <a:pt x="0" y="1584001"/>
                </a:lnTo>
                <a:lnTo>
                  <a:pt x="0" y="540011"/>
                </a:lnTo>
                <a:cubicBezTo>
                  <a:pt x="0" y="241771"/>
                  <a:pt x="241771" y="0"/>
                  <a:pt x="54001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6" name="Rectangle 9">
            <a:extLst>
              <a:ext uri="{FF2B5EF4-FFF2-40B4-BE49-F238E27FC236}">
                <a16:creationId xmlns:a16="http://schemas.microsoft.com/office/drawing/2014/main" id="{1C0359AC-FBB3-C54E-BC35-22AC24C5AB79}"/>
              </a:ext>
            </a:extLst>
          </p:cNvPr>
          <p:cNvSpPr/>
          <p:nvPr/>
        </p:nvSpPr>
        <p:spPr>
          <a:xfrm>
            <a:off x="7522771" y="3672157"/>
            <a:ext cx="329463" cy="308407"/>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7" name="Frame 17">
            <a:extLst>
              <a:ext uri="{FF2B5EF4-FFF2-40B4-BE49-F238E27FC236}">
                <a16:creationId xmlns:a16="http://schemas.microsoft.com/office/drawing/2014/main" id="{BE2D75AE-B54B-C345-9300-2936C7BDEA19}"/>
              </a:ext>
            </a:extLst>
          </p:cNvPr>
          <p:cNvSpPr/>
          <p:nvPr/>
        </p:nvSpPr>
        <p:spPr>
          <a:xfrm>
            <a:off x="5098086" y="5019327"/>
            <a:ext cx="318434" cy="318434"/>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8" name="Freeform 53">
            <a:extLst>
              <a:ext uri="{FF2B5EF4-FFF2-40B4-BE49-F238E27FC236}">
                <a16:creationId xmlns:a16="http://schemas.microsoft.com/office/drawing/2014/main" id="{3D5B3AED-A3DB-4F43-9848-7E5C17E79632}"/>
              </a:ext>
            </a:extLst>
          </p:cNvPr>
          <p:cNvSpPr/>
          <p:nvPr/>
        </p:nvSpPr>
        <p:spPr>
          <a:xfrm>
            <a:off x="6741831" y="5019327"/>
            <a:ext cx="362301" cy="371454"/>
          </a:xfrm>
          <a:custGeom>
            <a:avLst/>
            <a:gdLst>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38125 w 2305050"/>
              <a:gd name="connsiteY16" fmla="*/ 217170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60071 w 2305050"/>
              <a:gd name="connsiteY16" fmla="*/ 2087575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6647 w 2305050"/>
              <a:gd name="connsiteY16" fmla="*/ 209489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81480 w 2305050"/>
              <a:gd name="connsiteY2" fmla="*/ 476174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04671 w 2305050"/>
              <a:gd name="connsiteY2" fmla="*/ 468859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70609 w 2305050"/>
              <a:gd name="connsiteY3" fmla="*/ 649910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82725 w 2305050"/>
              <a:gd name="connsiteY2" fmla="*/ 494463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294077"/>
              <a:gd name="connsiteY0" fmla="*/ 0 h 2363647"/>
              <a:gd name="connsiteX1" fmla="*/ 760552 w 2294077"/>
              <a:gd name="connsiteY1" fmla="*/ 572947 h 2363647"/>
              <a:gd name="connsiteX2" fmla="*/ 2030273 w 2294077"/>
              <a:gd name="connsiteY2" fmla="*/ 509092 h 2363647"/>
              <a:gd name="connsiteX3" fmla="*/ 2285239 w 2294077"/>
              <a:gd name="connsiteY3" fmla="*/ 657224 h 2363647"/>
              <a:gd name="connsiteX4" fmla="*/ 1132027 w 2294077"/>
              <a:gd name="connsiteY4" fmla="*/ 1020622 h 2363647"/>
              <a:gd name="connsiteX5" fmla="*/ 1617802 w 2294077"/>
              <a:gd name="connsiteY5" fmla="*/ 1544497 h 2363647"/>
              <a:gd name="connsiteX6" fmla="*/ 2065477 w 2294077"/>
              <a:gd name="connsiteY6" fmla="*/ 1544497 h 2363647"/>
              <a:gd name="connsiteX7" fmla="*/ 2294077 w 2294077"/>
              <a:gd name="connsiteY7" fmla="*/ 1734997 h 2363647"/>
              <a:gd name="connsiteX8" fmla="*/ 1827352 w 2294077"/>
              <a:gd name="connsiteY8" fmla="*/ 1868347 h 2363647"/>
              <a:gd name="connsiteX9" fmla="*/ 1998802 w 2294077"/>
              <a:gd name="connsiteY9" fmla="*/ 2115997 h 2363647"/>
              <a:gd name="connsiteX10" fmla="*/ 1722577 w 2294077"/>
              <a:gd name="connsiteY10" fmla="*/ 1982647 h 2363647"/>
              <a:gd name="connsiteX11" fmla="*/ 1532077 w 2294077"/>
              <a:gd name="connsiteY11" fmla="*/ 2363647 h 2363647"/>
              <a:gd name="connsiteX12" fmla="*/ 1303477 w 2294077"/>
              <a:gd name="connsiteY12" fmla="*/ 2144572 h 2363647"/>
              <a:gd name="connsiteX13" fmla="*/ 1436827 w 2294077"/>
              <a:gd name="connsiteY13" fmla="*/ 1782622 h 2363647"/>
              <a:gd name="connsiteX14" fmla="*/ 912952 w 2294077"/>
              <a:gd name="connsiteY14" fmla="*/ 1201597 h 2363647"/>
              <a:gd name="connsiteX15" fmla="*/ 403784 w 2294077"/>
              <a:gd name="connsiteY15" fmla="*/ 2316707 h 2363647"/>
              <a:gd name="connsiteX16" fmla="*/ 282017 w 2294077"/>
              <a:gd name="connsiteY16" fmla="*/ 2047340 h 2363647"/>
              <a:gd name="connsiteX17" fmla="*/ 509244 w 2294077"/>
              <a:gd name="connsiteY17" fmla="*/ 761923 h 2363647"/>
              <a:gd name="connsiteX18" fmla="*/ 0 w 2294077"/>
              <a:gd name="connsiteY18" fmla="*/ 0 h 2363647"/>
              <a:gd name="connsiteX0" fmla="*/ 6569 w 2300646"/>
              <a:gd name="connsiteY0" fmla="*/ 0 h 2363647"/>
              <a:gd name="connsiteX1" fmla="*/ 767121 w 2300646"/>
              <a:gd name="connsiteY1" fmla="*/ 572947 h 2363647"/>
              <a:gd name="connsiteX2" fmla="*/ 2036842 w 2300646"/>
              <a:gd name="connsiteY2" fmla="*/ 509092 h 2363647"/>
              <a:gd name="connsiteX3" fmla="*/ 2291808 w 2300646"/>
              <a:gd name="connsiteY3" fmla="*/ 657224 h 2363647"/>
              <a:gd name="connsiteX4" fmla="*/ 1138596 w 2300646"/>
              <a:gd name="connsiteY4" fmla="*/ 1020622 h 2363647"/>
              <a:gd name="connsiteX5" fmla="*/ 1624371 w 2300646"/>
              <a:gd name="connsiteY5" fmla="*/ 1544497 h 2363647"/>
              <a:gd name="connsiteX6" fmla="*/ 2072046 w 2300646"/>
              <a:gd name="connsiteY6" fmla="*/ 1544497 h 2363647"/>
              <a:gd name="connsiteX7" fmla="*/ 2300646 w 2300646"/>
              <a:gd name="connsiteY7" fmla="*/ 1734997 h 2363647"/>
              <a:gd name="connsiteX8" fmla="*/ 1833921 w 2300646"/>
              <a:gd name="connsiteY8" fmla="*/ 1868347 h 2363647"/>
              <a:gd name="connsiteX9" fmla="*/ 2005371 w 2300646"/>
              <a:gd name="connsiteY9" fmla="*/ 2115997 h 2363647"/>
              <a:gd name="connsiteX10" fmla="*/ 1729146 w 2300646"/>
              <a:gd name="connsiteY10" fmla="*/ 1982647 h 2363647"/>
              <a:gd name="connsiteX11" fmla="*/ 1538646 w 2300646"/>
              <a:gd name="connsiteY11" fmla="*/ 2363647 h 2363647"/>
              <a:gd name="connsiteX12" fmla="*/ 1310046 w 2300646"/>
              <a:gd name="connsiteY12" fmla="*/ 2144572 h 2363647"/>
              <a:gd name="connsiteX13" fmla="*/ 1443396 w 2300646"/>
              <a:gd name="connsiteY13" fmla="*/ 1782622 h 2363647"/>
              <a:gd name="connsiteX14" fmla="*/ 919521 w 2300646"/>
              <a:gd name="connsiteY14" fmla="*/ 1201597 h 2363647"/>
              <a:gd name="connsiteX15" fmla="*/ 410353 w 2300646"/>
              <a:gd name="connsiteY15" fmla="*/ 2316707 h 2363647"/>
              <a:gd name="connsiteX16" fmla="*/ 288586 w 2300646"/>
              <a:gd name="connsiteY16" fmla="*/ 2047340 h 2363647"/>
              <a:gd name="connsiteX17" fmla="*/ 515813 w 2300646"/>
              <a:gd name="connsiteY17" fmla="*/ 761923 h 2363647"/>
              <a:gd name="connsiteX18" fmla="*/ 6569 w 2300646"/>
              <a:gd name="connsiteY18" fmla="*/ 0 h 2363647"/>
              <a:gd name="connsiteX0" fmla="*/ 6569 w 2300646"/>
              <a:gd name="connsiteY0" fmla="*/ 5505 h 2369152"/>
              <a:gd name="connsiteX1" fmla="*/ 767121 w 2300646"/>
              <a:gd name="connsiteY1" fmla="*/ 578452 h 2369152"/>
              <a:gd name="connsiteX2" fmla="*/ 2036842 w 2300646"/>
              <a:gd name="connsiteY2" fmla="*/ 514597 h 2369152"/>
              <a:gd name="connsiteX3" fmla="*/ 2291808 w 2300646"/>
              <a:gd name="connsiteY3" fmla="*/ 662729 h 2369152"/>
              <a:gd name="connsiteX4" fmla="*/ 1138596 w 2300646"/>
              <a:gd name="connsiteY4" fmla="*/ 1026127 h 2369152"/>
              <a:gd name="connsiteX5" fmla="*/ 1624371 w 2300646"/>
              <a:gd name="connsiteY5" fmla="*/ 1550002 h 2369152"/>
              <a:gd name="connsiteX6" fmla="*/ 2072046 w 2300646"/>
              <a:gd name="connsiteY6" fmla="*/ 1550002 h 2369152"/>
              <a:gd name="connsiteX7" fmla="*/ 2300646 w 2300646"/>
              <a:gd name="connsiteY7" fmla="*/ 1740502 h 2369152"/>
              <a:gd name="connsiteX8" fmla="*/ 1833921 w 2300646"/>
              <a:gd name="connsiteY8" fmla="*/ 1873852 h 2369152"/>
              <a:gd name="connsiteX9" fmla="*/ 2005371 w 2300646"/>
              <a:gd name="connsiteY9" fmla="*/ 2121502 h 2369152"/>
              <a:gd name="connsiteX10" fmla="*/ 1729146 w 2300646"/>
              <a:gd name="connsiteY10" fmla="*/ 1988152 h 2369152"/>
              <a:gd name="connsiteX11" fmla="*/ 1538646 w 2300646"/>
              <a:gd name="connsiteY11" fmla="*/ 2369152 h 2369152"/>
              <a:gd name="connsiteX12" fmla="*/ 1310046 w 2300646"/>
              <a:gd name="connsiteY12" fmla="*/ 2150077 h 2369152"/>
              <a:gd name="connsiteX13" fmla="*/ 1443396 w 2300646"/>
              <a:gd name="connsiteY13" fmla="*/ 1788127 h 2369152"/>
              <a:gd name="connsiteX14" fmla="*/ 919521 w 2300646"/>
              <a:gd name="connsiteY14" fmla="*/ 1207102 h 2369152"/>
              <a:gd name="connsiteX15" fmla="*/ 410353 w 2300646"/>
              <a:gd name="connsiteY15" fmla="*/ 2322212 h 2369152"/>
              <a:gd name="connsiteX16" fmla="*/ 288586 w 2300646"/>
              <a:gd name="connsiteY16" fmla="*/ 2052845 h 2369152"/>
              <a:gd name="connsiteX17" fmla="*/ 515813 w 2300646"/>
              <a:gd name="connsiteY17" fmla="*/ 767428 h 2369152"/>
              <a:gd name="connsiteX18" fmla="*/ 6569 w 2300646"/>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24119 w 2305244"/>
              <a:gd name="connsiteY14" fmla="*/ 1207102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73597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513830 w 2305244"/>
              <a:gd name="connsiteY13" fmla="*/ 1784469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50914 w 2305244"/>
              <a:gd name="connsiteY5" fmla="*/ 1597551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32752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24192 w 2305244"/>
              <a:gd name="connsiteY17" fmla="*/ 1641442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02246 w 2305244"/>
              <a:gd name="connsiteY17" fmla="*/ 1579262 h 2369152"/>
              <a:gd name="connsiteX0" fmla="*/ 2275983 w 2296406"/>
              <a:gd name="connsiteY0" fmla="*/ 1747817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7707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57695 w 2296406"/>
              <a:gd name="connsiteY0" fmla="*/ 1755133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9145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80482 w 2296406"/>
              <a:gd name="connsiteY5" fmla="*/ 2120816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54521"/>
              <a:gd name="connsiteX1" fmla="*/ 1838519 w 2296406"/>
              <a:gd name="connsiteY1" fmla="*/ 1873852 h 2354521"/>
              <a:gd name="connsiteX2" fmla="*/ 2009969 w 2296406"/>
              <a:gd name="connsiteY2" fmla="*/ 2121502 h 2354521"/>
              <a:gd name="connsiteX3" fmla="*/ 1733744 w 2296406"/>
              <a:gd name="connsiteY3" fmla="*/ 1988152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38519 w 2296406"/>
              <a:gd name="connsiteY1" fmla="*/ 1873852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91681 w 2296406"/>
              <a:gd name="connsiteY2" fmla="*/ 2136133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42887 w 2296406"/>
              <a:gd name="connsiteY2" fmla="*/ 2194655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3889 w 2296406"/>
              <a:gd name="connsiteY1" fmla="*/ 183727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7546 w 2296406"/>
              <a:gd name="connsiteY1" fmla="*/ 1826304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80220 w 2296986"/>
              <a:gd name="connsiteY0" fmla="*/ 1747818 h 2354521"/>
              <a:gd name="connsiteX1" fmla="*/ 1828126 w 2296986"/>
              <a:gd name="connsiteY1" fmla="*/ 1826304 h 2354521"/>
              <a:gd name="connsiteX2" fmla="*/ 1955684 w 2296986"/>
              <a:gd name="connsiteY2" fmla="*/ 2095900 h 2354521"/>
              <a:gd name="connsiteX3" fmla="*/ 1683117 w 2296986"/>
              <a:gd name="connsiteY3" fmla="*/ 1962549 h 2354521"/>
              <a:gd name="connsiteX4" fmla="*/ 1529193 w 2296986"/>
              <a:gd name="connsiteY4" fmla="*/ 2354521 h 2354521"/>
              <a:gd name="connsiteX5" fmla="*/ 1381062 w 2296986"/>
              <a:gd name="connsiteY5" fmla="*/ 2120816 h 2354521"/>
              <a:gd name="connsiteX6" fmla="*/ 1496122 w 2296986"/>
              <a:gd name="connsiteY6" fmla="*/ 1788127 h 2354521"/>
              <a:gd name="connsiteX7" fmla="*/ 910069 w 2296986"/>
              <a:gd name="connsiteY7" fmla="*/ 1225390 h 2354521"/>
              <a:gd name="connsiteX8" fmla="*/ 415531 w 2296986"/>
              <a:gd name="connsiteY8" fmla="*/ 2322212 h 2354521"/>
              <a:gd name="connsiteX9" fmla="*/ 293764 w 2296986"/>
              <a:gd name="connsiteY9" fmla="*/ 2052845 h 2354521"/>
              <a:gd name="connsiteX10" fmla="*/ 497994 w 2296986"/>
              <a:gd name="connsiteY10" fmla="*/ 836420 h 2354521"/>
              <a:gd name="connsiteX11" fmla="*/ 11747 w 2296986"/>
              <a:gd name="connsiteY11" fmla="*/ 5505 h 2354521"/>
              <a:gd name="connsiteX12" fmla="*/ 772299 w 2296986"/>
              <a:gd name="connsiteY12" fmla="*/ 578452 h 2354521"/>
              <a:gd name="connsiteX13" fmla="*/ 2042020 w 2296986"/>
              <a:gd name="connsiteY13" fmla="*/ 514597 h 2354521"/>
              <a:gd name="connsiteX14" fmla="*/ 2296986 w 2296986"/>
              <a:gd name="connsiteY14" fmla="*/ 662729 h 2354521"/>
              <a:gd name="connsiteX15" fmla="*/ 1125486 w 2296986"/>
              <a:gd name="connsiteY15" fmla="*/ 1004182 h 2354521"/>
              <a:gd name="connsiteX16" fmla="*/ 1677097 w 2296986"/>
              <a:gd name="connsiteY16" fmla="*/ 1608523 h 2354521"/>
              <a:gd name="connsiteX17" fmla="*/ 2095511 w 2296986"/>
              <a:gd name="connsiteY17" fmla="*/ 1557316 h 2354521"/>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910069 w 2296986"/>
              <a:gd name="connsiteY7" fmla="*/ 1225483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125486 w 2296986"/>
              <a:gd name="connsiteY15" fmla="*/ 1004275 h 2354614"/>
              <a:gd name="connsiteX16" fmla="*/ 1677097 w 2296986"/>
              <a:gd name="connsiteY16" fmla="*/ 1608616 h 2354614"/>
              <a:gd name="connsiteX17" fmla="*/ 2095511 w 2296986"/>
              <a:gd name="connsiteY17" fmla="*/ 1557409 h 2354614"/>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864075 w 2296986"/>
              <a:gd name="connsiteY7" fmla="*/ 1325138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125486 w 2296986"/>
              <a:gd name="connsiteY15" fmla="*/ 1004275 h 2354614"/>
              <a:gd name="connsiteX16" fmla="*/ 1677097 w 2296986"/>
              <a:gd name="connsiteY16" fmla="*/ 1608616 h 2354614"/>
              <a:gd name="connsiteX17" fmla="*/ 2095511 w 2296986"/>
              <a:gd name="connsiteY17" fmla="*/ 1557409 h 2354614"/>
              <a:gd name="connsiteX0" fmla="*/ 2280220 w 2296986"/>
              <a:gd name="connsiteY0" fmla="*/ 1747911 h 2354614"/>
              <a:gd name="connsiteX1" fmla="*/ 1828126 w 2296986"/>
              <a:gd name="connsiteY1" fmla="*/ 1826397 h 2354614"/>
              <a:gd name="connsiteX2" fmla="*/ 1955684 w 2296986"/>
              <a:gd name="connsiteY2" fmla="*/ 2095993 h 2354614"/>
              <a:gd name="connsiteX3" fmla="*/ 1683117 w 2296986"/>
              <a:gd name="connsiteY3" fmla="*/ 1962642 h 2354614"/>
              <a:gd name="connsiteX4" fmla="*/ 1529193 w 2296986"/>
              <a:gd name="connsiteY4" fmla="*/ 2354614 h 2354614"/>
              <a:gd name="connsiteX5" fmla="*/ 1381062 w 2296986"/>
              <a:gd name="connsiteY5" fmla="*/ 2120909 h 2354614"/>
              <a:gd name="connsiteX6" fmla="*/ 1496122 w 2296986"/>
              <a:gd name="connsiteY6" fmla="*/ 1788220 h 2354614"/>
              <a:gd name="connsiteX7" fmla="*/ 864075 w 2296986"/>
              <a:gd name="connsiteY7" fmla="*/ 1325138 h 2354614"/>
              <a:gd name="connsiteX8" fmla="*/ 415531 w 2296986"/>
              <a:gd name="connsiteY8" fmla="*/ 2322305 h 2354614"/>
              <a:gd name="connsiteX9" fmla="*/ 293764 w 2296986"/>
              <a:gd name="connsiteY9" fmla="*/ 2052938 h 2354614"/>
              <a:gd name="connsiteX10" fmla="*/ 497994 w 2296986"/>
              <a:gd name="connsiteY10" fmla="*/ 836513 h 2354614"/>
              <a:gd name="connsiteX11" fmla="*/ 11747 w 2296986"/>
              <a:gd name="connsiteY11" fmla="*/ 5598 h 2354614"/>
              <a:gd name="connsiteX12" fmla="*/ 841291 w 2296986"/>
              <a:gd name="connsiteY12" fmla="*/ 570880 h 2354614"/>
              <a:gd name="connsiteX13" fmla="*/ 2042020 w 2296986"/>
              <a:gd name="connsiteY13" fmla="*/ 514690 h 2354614"/>
              <a:gd name="connsiteX14" fmla="*/ 2296986 w 2296986"/>
              <a:gd name="connsiteY14" fmla="*/ 662822 h 2354614"/>
              <a:gd name="connsiteX15" fmla="*/ 1209809 w 2296986"/>
              <a:gd name="connsiteY15" fmla="*/ 996610 h 2354614"/>
              <a:gd name="connsiteX16" fmla="*/ 1677097 w 2296986"/>
              <a:gd name="connsiteY16" fmla="*/ 1608616 h 2354614"/>
              <a:gd name="connsiteX17" fmla="*/ 2095511 w 2296986"/>
              <a:gd name="connsiteY17" fmla="*/ 1557409 h 2354614"/>
              <a:gd name="connsiteX0" fmla="*/ 2279828 w 2296594"/>
              <a:gd name="connsiteY0" fmla="*/ 1747911 h 2354614"/>
              <a:gd name="connsiteX1" fmla="*/ 1827734 w 2296594"/>
              <a:gd name="connsiteY1" fmla="*/ 1826397 h 2354614"/>
              <a:gd name="connsiteX2" fmla="*/ 1955292 w 2296594"/>
              <a:gd name="connsiteY2" fmla="*/ 2095993 h 2354614"/>
              <a:gd name="connsiteX3" fmla="*/ 1682725 w 2296594"/>
              <a:gd name="connsiteY3" fmla="*/ 1962642 h 2354614"/>
              <a:gd name="connsiteX4" fmla="*/ 1528801 w 2296594"/>
              <a:gd name="connsiteY4" fmla="*/ 2354614 h 2354614"/>
              <a:gd name="connsiteX5" fmla="*/ 1380670 w 2296594"/>
              <a:gd name="connsiteY5" fmla="*/ 2120909 h 2354614"/>
              <a:gd name="connsiteX6" fmla="*/ 1495730 w 2296594"/>
              <a:gd name="connsiteY6" fmla="*/ 1788220 h 2354614"/>
              <a:gd name="connsiteX7" fmla="*/ 863683 w 2296594"/>
              <a:gd name="connsiteY7" fmla="*/ 1325138 h 2354614"/>
              <a:gd name="connsiteX8" fmla="*/ 415139 w 2296594"/>
              <a:gd name="connsiteY8" fmla="*/ 2322305 h 2354614"/>
              <a:gd name="connsiteX9" fmla="*/ 293372 w 2296594"/>
              <a:gd name="connsiteY9" fmla="*/ 2052938 h 2354614"/>
              <a:gd name="connsiteX10" fmla="*/ 512934 w 2296594"/>
              <a:gd name="connsiteY10" fmla="*/ 874842 h 2354614"/>
              <a:gd name="connsiteX11" fmla="*/ 11355 w 2296594"/>
              <a:gd name="connsiteY11" fmla="*/ 5598 h 2354614"/>
              <a:gd name="connsiteX12" fmla="*/ 840899 w 2296594"/>
              <a:gd name="connsiteY12" fmla="*/ 570880 h 2354614"/>
              <a:gd name="connsiteX13" fmla="*/ 2041628 w 2296594"/>
              <a:gd name="connsiteY13" fmla="*/ 514690 h 2354614"/>
              <a:gd name="connsiteX14" fmla="*/ 2296594 w 2296594"/>
              <a:gd name="connsiteY14" fmla="*/ 662822 h 2354614"/>
              <a:gd name="connsiteX15" fmla="*/ 1209417 w 2296594"/>
              <a:gd name="connsiteY15" fmla="*/ 996610 h 2354614"/>
              <a:gd name="connsiteX16" fmla="*/ 1676705 w 2296594"/>
              <a:gd name="connsiteY16" fmla="*/ 1608616 h 2354614"/>
              <a:gd name="connsiteX17" fmla="*/ 2095119 w 2296594"/>
              <a:gd name="connsiteY17" fmla="*/ 1557409 h 2354614"/>
              <a:gd name="connsiteX0" fmla="*/ 2279828 w 2296594"/>
              <a:gd name="connsiteY0" fmla="*/ 1747911 h 2354614"/>
              <a:gd name="connsiteX1" fmla="*/ 1827734 w 2296594"/>
              <a:gd name="connsiteY1" fmla="*/ 1826397 h 2354614"/>
              <a:gd name="connsiteX2" fmla="*/ 1955292 w 2296594"/>
              <a:gd name="connsiteY2" fmla="*/ 2095993 h 2354614"/>
              <a:gd name="connsiteX3" fmla="*/ 1682725 w 2296594"/>
              <a:gd name="connsiteY3" fmla="*/ 1962642 h 2354614"/>
              <a:gd name="connsiteX4" fmla="*/ 1528801 w 2296594"/>
              <a:gd name="connsiteY4" fmla="*/ 2354614 h 2354614"/>
              <a:gd name="connsiteX5" fmla="*/ 1380670 w 2296594"/>
              <a:gd name="connsiteY5" fmla="*/ 2120909 h 2354614"/>
              <a:gd name="connsiteX6" fmla="*/ 1495730 w 2296594"/>
              <a:gd name="connsiteY6" fmla="*/ 1788220 h 2354614"/>
              <a:gd name="connsiteX7" fmla="*/ 856016 w 2296594"/>
              <a:gd name="connsiteY7" fmla="*/ 1302141 h 2354614"/>
              <a:gd name="connsiteX8" fmla="*/ 415139 w 2296594"/>
              <a:gd name="connsiteY8" fmla="*/ 2322305 h 2354614"/>
              <a:gd name="connsiteX9" fmla="*/ 293372 w 2296594"/>
              <a:gd name="connsiteY9" fmla="*/ 2052938 h 2354614"/>
              <a:gd name="connsiteX10" fmla="*/ 512934 w 2296594"/>
              <a:gd name="connsiteY10" fmla="*/ 874842 h 2354614"/>
              <a:gd name="connsiteX11" fmla="*/ 11355 w 2296594"/>
              <a:gd name="connsiteY11" fmla="*/ 5598 h 2354614"/>
              <a:gd name="connsiteX12" fmla="*/ 840899 w 2296594"/>
              <a:gd name="connsiteY12" fmla="*/ 570880 h 2354614"/>
              <a:gd name="connsiteX13" fmla="*/ 2041628 w 2296594"/>
              <a:gd name="connsiteY13" fmla="*/ 514690 h 2354614"/>
              <a:gd name="connsiteX14" fmla="*/ 2296594 w 2296594"/>
              <a:gd name="connsiteY14" fmla="*/ 662822 h 2354614"/>
              <a:gd name="connsiteX15" fmla="*/ 1209417 w 2296594"/>
              <a:gd name="connsiteY15" fmla="*/ 996610 h 2354614"/>
              <a:gd name="connsiteX16" fmla="*/ 1676705 w 2296594"/>
              <a:gd name="connsiteY16" fmla="*/ 1608616 h 2354614"/>
              <a:gd name="connsiteX17" fmla="*/ 2095119 w 2296594"/>
              <a:gd name="connsiteY17" fmla="*/ 1557409 h 235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6594" h="2354614">
                <a:moveTo>
                  <a:pt x="2279828" y="1747911"/>
                </a:moveTo>
                <a:lnTo>
                  <a:pt x="1827734" y="1826397"/>
                </a:lnTo>
                <a:cubicBezTo>
                  <a:pt x="1873911" y="1907728"/>
                  <a:pt x="1985925" y="2047581"/>
                  <a:pt x="1955292" y="2095993"/>
                </a:cubicBezTo>
                <a:cubicBezTo>
                  <a:pt x="1897354" y="2139325"/>
                  <a:pt x="1773581" y="2007092"/>
                  <a:pt x="1682725" y="1962642"/>
                </a:cubicBezTo>
                <a:lnTo>
                  <a:pt x="1528801" y="2354614"/>
                </a:lnTo>
                <a:lnTo>
                  <a:pt x="1380670" y="2120909"/>
                </a:lnTo>
                <a:lnTo>
                  <a:pt x="1495730" y="1788220"/>
                </a:lnTo>
                <a:lnTo>
                  <a:pt x="856016" y="1302141"/>
                </a:lnTo>
                <a:lnTo>
                  <a:pt x="415139" y="2322305"/>
                </a:lnTo>
                <a:lnTo>
                  <a:pt x="293372" y="2052938"/>
                </a:lnTo>
                <a:cubicBezTo>
                  <a:pt x="369114" y="1624466"/>
                  <a:pt x="437192" y="1303314"/>
                  <a:pt x="512934" y="874842"/>
                </a:cubicBezTo>
                <a:cubicBezTo>
                  <a:pt x="317583" y="650129"/>
                  <a:pt x="-71270" y="102295"/>
                  <a:pt x="11355" y="5598"/>
                </a:cubicBezTo>
                <a:cubicBezTo>
                  <a:pt x="111253" y="-52136"/>
                  <a:pt x="623957" y="350637"/>
                  <a:pt x="840899" y="570880"/>
                </a:cubicBezTo>
                <a:lnTo>
                  <a:pt x="2041628" y="514690"/>
                </a:lnTo>
                <a:lnTo>
                  <a:pt x="2296594" y="662822"/>
                </a:lnTo>
                <a:lnTo>
                  <a:pt x="1209417" y="996610"/>
                </a:lnTo>
                <a:lnTo>
                  <a:pt x="1676705" y="1608616"/>
                </a:lnTo>
                <a:cubicBezTo>
                  <a:pt x="1795450" y="1589109"/>
                  <a:pt x="2095119" y="1557409"/>
                  <a:pt x="2095119" y="1557409"/>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9" name="Rounded Rectangle 5">
            <a:extLst>
              <a:ext uri="{FF2B5EF4-FFF2-40B4-BE49-F238E27FC236}">
                <a16:creationId xmlns:a16="http://schemas.microsoft.com/office/drawing/2014/main" id="{07241FDA-DBDD-0041-852F-DD1384F3BF41}"/>
              </a:ext>
            </a:extLst>
          </p:cNvPr>
          <p:cNvSpPr/>
          <p:nvPr/>
        </p:nvSpPr>
        <p:spPr>
          <a:xfrm flipH="1">
            <a:off x="8415223" y="3691757"/>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0" name="Teardrop 1">
            <a:extLst>
              <a:ext uri="{FF2B5EF4-FFF2-40B4-BE49-F238E27FC236}">
                <a16:creationId xmlns:a16="http://schemas.microsoft.com/office/drawing/2014/main" id="{21F44616-2F59-0F40-8DFA-7BE8B05A5CA6}"/>
              </a:ext>
            </a:extLst>
          </p:cNvPr>
          <p:cNvSpPr/>
          <p:nvPr/>
        </p:nvSpPr>
        <p:spPr>
          <a:xfrm rot="18805991">
            <a:off x="3390724" y="3655066"/>
            <a:ext cx="376862" cy="37293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41" name="Donut 39">
            <a:extLst>
              <a:ext uri="{FF2B5EF4-FFF2-40B4-BE49-F238E27FC236}">
                <a16:creationId xmlns:a16="http://schemas.microsoft.com/office/drawing/2014/main" id="{9BE10CB8-4622-3740-B7BF-63EB70E007F8}"/>
              </a:ext>
            </a:extLst>
          </p:cNvPr>
          <p:cNvSpPr/>
          <p:nvPr/>
        </p:nvSpPr>
        <p:spPr>
          <a:xfrm>
            <a:off x="7732488" y="5535594"/>
            <a:ext cx="404132" cy="404132"/>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42" name="Rectangle 36">
            <a:extLst>
              <a:ext uri="{FF2B5EF4-FFF2-40B4-BE49-F238E27FC236}">
                <a16:creationId xmlns:a16="http://schemas.microsoft.com/office/drawing/2014/main" id="{FF20DAE8-F30D-CC48-A957-0EE8AE93D371}"/>
              </a:ext>
            </a:extLst>
          </p:cNvPr>
          <p:cNvSpPr/>
          <p:nvPr/>
        </p:nvSpPr>
        <p:spPr>
          <a:xfrm>
            <a:off x="4170866" y="5563894"/>
            <a:ext cx="365319" cy="305377"/>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3" name="Block Arc 14">
            <a:extLst>
              <a:ext uri="{FF2B5EF4-FFF2-40B4-BE49-F238E27FC236}">
                <a16:creationId xmlns:a16="http://schemas.microsoft.com/office/drawing/2014/main" id="{7650B5FF-E732-6C47-ACD1-3428888D59F8}"/>
              </a:ext>
            </a:extLst>
          </p:cNvPr>
          <p:cNvSpPr/>
          <p:nvPr/>
        </p:nvSpPr>
        <p:spPr>
          <a:xfrm rot="16200000">
            <a:off x="5809573" y="3323291"/>
            <a:ext cx="579519" cy="57990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Tree>
    <p:extLst>
      <p:ext uri="{BB962C8B-B14F-4D97-AF65-F5344CB8AC3E}">
        <p14:creationId xmlns:p14="http://schemas.microsoft.com/office/powerpoint/2010/main" val="325435593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DD18D8-2FFC-E640-B93E-24F15551BE07}"/>
              </a:ext>
            </a:extLst>
          </p:cNvPr>
          <p:cNvSpPr>
            <a:spLocks noGrp="1"/>
          </p:cNvSpPr>
          <p:nvPr>
            <p:ph type="sldNum" sz="quarter" idx="4"/>
          </p:nvPr>
        </p:nvSpPr>
        <p:spPr/>
        <p:txBody>
          <a:bodyPr/>
          <a:lstStyle/>
          <a:p>
            <a:fld id="{3D966009-6E5A-4F8C-8CA7-E37AFBF5FB92}" type="slidenum">
              <a:rPr lang="en-US" smtClean="0"/>
              <a:t>146</a:t>
            </a:fld>
            <a:endParaRPr lang="en-US"/>
          </a:p>
        </p:txBody>
      </p:sp>
      <p:sp>
        <p:nvSpPr>
          <p:cNvPr id="3" name="Title 2">
            <a:extLst>
              <a:ext uri="{FF2B5EF4-FFF2-40B4-BE49-F238E27FC236}">
                <a16:creationId xmlns:a16="http://schemas.microsoft.com/office/drawing/2014/main" id="{6CA398AD-BB5A-704E-9956-381C7C4252CA}"/>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3A8EB33-2A93-8541-87E4-57BC7E01622A}"/>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C96EBFA0-D7DB-9F46-8227-E420774B8850}"/>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B6BA4830-1A67-A846-A54F-667D6153A51C}"/>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9D2A964-CC53-184D-946E-0EAF7DD41884}"/>
              </a:ext>
            </a:extLst>
          </p:cNvPr>
          <p:cNvSpPr>
            <a:spLocks noGrp="1"/>
          </p:cNvSpPr>
          <p:nvPr>
            <p:ph sz="quarter" idx="14"/>
          </p:nvPr>
        </p:nvSpPr>
        <p:spPr/>
        <p:txBody>
          <a:bodyPr/>
          <a:lstStyle/>
          <a:p>
            <a:endParaRPr lang="en-GB"/>
          </a:p>
        </p:txBody>
      </p:sp>
      <p:grpSp>
        <p:nvGrpSpPr>
          <p:cNvPr id="33" name="Group 32">
            <a:extLst>
              <a:ext uri="{FF2B5EF4-FFF2-40B4-BE49-F238E27FC236}">
                <a16:creationId xmlns:a16="http://schemas.microsoft.com/office/drawing/2014/main" id="{291F8B60-999A-7C44-896C-CEA22E379AD7}"/>
              </a:ext>
            </a:extLst>
          </p:cNvPr>
          <p:cNvGrpSpPr/>
          <p:nvPr/>
        </p:nvGrpSpPr>
        <p:grpSpPr>
          <a:xfrm>
            <a:off x="2121443" y="2073478"/>
            <a:ext cx="8615077" cy="3484502"/>
            <a:chOff x="277403" y="1319496"/>
            <a:chExt cx="8615077" cy="3484502"/>
          </a:xfrm>
        </p:grpSpPr>
        <p:grpSp>
          <p:nvGrpSpPr>
            <p:cNvPr id="9" name="Group 8">
              <a:extLst>
                <a:ext uri="{FF2B5EF4-FFF2-40B4-BE49-F238E27FC236}">
                  <a16:creationId xmlns:a16="http://schemas.microsoft.com/office/drawing/2014/main" id="{A24F549B-D3B0-6F44-B941-2BFC67EBBC73}"/>
                </a:ext>
              </a:extLst>
            </p:cNvPr>
            <p:cNvGrpSpPr/>
            <p:nvPr/>
          </p:nvGrpSpPr>
          <p:grpSpPr>
            <a:xfrm rot="13851310">
              <a:off x="3096313" y="2396418"/>
              <a:ext cx="1772081" cy="360040"/>
              <a:chOff x="3779912" y="1815666"/>
              <a:chExt cx="1772081" cy="360040"/>
            </a:xfrm>
          </p:grpSpPr>
          <p:sp>
            <p:nvSpPr>
              <p:cNvPr id="10" name="Pentagon 9">
                <a:extLst>
                  <a:ext uri="{FF2B5EF4-FFF2-40B4-BE49-F238E27FC236}">
                    <a16:creationId xmlns:a16="http://schemas.microsoft.com/office/drawing/2014/main" id="{307DC744-986F-8542-A58A-92C21B942F0D}"/>
                  </a:ext>
                </a:extLst>
              </p:cNvPr>
              <p:cNvSpPr/>
              <p:nvPr/>
            </p:nvSpPr>
            <p:spPr>
              <a:xfrm flipV="1">
                <a:off x="3779912" y="1815666"/>
                <a:ext cx="907986" cy="360040"/>
              </a:xfrm>
              <a:prstGeom prst="homePlat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 name="Chevron 10">
                <a:extLst>
                  <a:ext uri="{FF2B5EF4-FFF2-40B4-BE49-F238E27FC236}">
                    <a16:creationId xmlns:a16="http://schemas.microsoft.com/office/drawing/2014/main" id="{BAECF050-E2E0-6D4D-9C3E-5EC799A1795D}"/>
                  </a:ext>
                </a:extLst>
              </p:cNvPr>
              <p:cNvSpPr/>
              <p:nvPr/>
            </p:nvSpPr>
            <p:spPr>
              <a:xfrm>
                <a:off x="4560654" y="1815666"/>
                <a:ext cx="991339" cy="360040"/>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2" name="Group 11">
              <a:extLst>
                <a:ext uri="{FF2B5EF4-FFF2-40B4-BE49-F238E27FC236}">
                  <a16:creationId xmlns:a16="http://schemas.microsoft.com/office/drawing/2014/main" id="{1AA8B41A-937F-CD4C-8583-8BD1C0F3C227}"/>
                </a:ext>
              </a:extLst>
            </p:cNvPr>
            <p:cNvGrpSpPr/>
            <p:nvPr/>
          </p:nvGrpSpPr>
          <p:grpSpPr>
            <a:xfrm rot="7384107">
              <a:off x="4229771" y="2340262"/>
              <a:ext cx="1772081" cy="360040"/>
              <a:chOff x="3779912" y="1815666"/>
              <a:chExt cx="1772081" cy="360040"/>
            </a:xfrm>
          </p:grpSpPr>
          <p:sp>
            <p:nvSpPr>
              <p:cNvPr id="13" name="Pentagon 12">
                <a:extLst>
                  <a:ext uri="{FF2B5EF4-FFF2-40B4-BE49-F238E27FC236}">
                    <a16:creationId xmlns:a16="http://schemas.microsoft.com/office/drawing/2014/main" id="{1B5ED462-406B-4147-8F67-0538674A2A89}"/>
                  </a:ext>
                </a:extLst>
              </p:cNvPr>
              <p:cNvSpPr/>
              <p:nvPr/>
            </p:nvSpPr>
            <p:spPr>
              <a:xfrm flipV="1">
                <a:off x="3779912" y="1815666"/>
                <a:ext cx="907986" cy="360040"/>
              </a:xfrm>
              <a:prstGeom prst="homePlat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Chevron 13">
                <a:extLst>
                  <a:ext uri="{FF2B5EF4-FFF2-40B4-BE49-F238E27FC236}">
                    <a16:creationId xmlns:a16="http://schemas.microsoft.com/office/drawing/2014/main" id="{DBE2BBAF-8EE0-8F43-9509-8CA55FD3BAD7}"/>
                  </a:ext>
                </a:extLst>
              </p:cNvPr>
              <p:cNvSpPr/>
              <p:nvPr/>
            </p:nvSpPr>
            <p:spPr>
              <a:xfrm>
                <a:off x="4560654" y="1815666"/>
                <a:ext cx="991339" cy="360040"/>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5" name="Group 14">
              <a:extLst>
                <a:ext uri="{FF2B5EF4-FFF2-40B4-BE49-F238E27FC236}">
                  <a16:creationId xmlns:a16="http://schemas.microsoft.com/office/drawing/2014/main" id="{4904FF56-4C60-7F41-A582-1CFA392415FA}"/>
                </a:ext>
              </a:extLst>
            </p:cNvPr>
            <p:cNvGrpSpPr/>
            <p:nvPr/>
          </p:nvGrpSpPr>
          <p:grpSpPr>
            <a:xfrm>
              <a:off x="3663042" y="1571524"/>
              <a:ext cx="1772081" cy="360040"/>
              <a:chOff x="3779912" y="1815666"/>
              <a:chExt cx="1772081" cy="360040"/>
            </a:xfrm>
          </p:grpSpPr>
          <p:sp>
            <p:nvSpPr>
              <p:cNvPr id="16" name="Pentagon 15">
                <a:extLst>
                  <a:ext uri="{FF2B5EF4-FFF2-40B4-BE49-F238E27FC236}">
                    <a16:creationId xmlns:a16="http://schemas.microsoft.com/office/drawing/2014/main" id="{85022132-06F6-9C4B-A3D3-9C733C68AAE8}"/>
                  </a:ext>
                </a:extLst>
              </p:cNvPr>
              <p:cNvSpPr/>
              <p:nvPr/>
            </p:nvSpPr>
            <p:spPr>
              <a:xfrm flipV="1">
                <a:off x="3779912" y="1815666"/>
                <a:ext cx="907986" cy="360040"/>
              </a:xfrm>
              <a:prstGeom prst="homePlat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7" name="Chevron 16">
                <a:extLst>
                  <a:ext uri="{FF2B5EF4-FFF2-40B4-BE49-F238E27FC236}">
                    <a16:creationId xmlns:a16="http://schemas.microsoft.com/office/drawing/2014/main" id="{B301EEB3-6111-AF4A-9E73-33D50AB1E846}"/>
                  </a:ext>
                </a:extLst>
              </p:cNvPr>
              <p:cNvSpPr/>
              <p:nvPr/>
            </p:nvSpPr>
            <p:spPr>
              <a:xfrm>
                <a:off x="4560654" y="1815666"/>
                <a:ext cx="991339" cy="360040"/>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sp>
          <p:nvSpPr>
            <p:cNvPr id="18" name="Oval 17">
              <a:extLst>
                <a:ext uri="{FF2B5EF4-FFF2-40B4-BE49-F238E27FC236}">
                  <a16:creationId xmlns:a16="http://schemas.microsoft.com/office/drawing/2014/main" id="{F8F90F7E-9286-EB48-A62D-471930393D52}"/>
                </a:ext>
              </a:extLst>
            </p:cNvPr>
            <p:cNvSpPr/>
            <p:nvPr/>
          </p:nvSpPr>
          <p:spPr>
            <a:xfrm>
              <a:off x="2987824" y="1319496"/>
              <a:ext cx="864096" cy="864096"/>
            </a:xfrm>
            <a:prstGeom prst="ellipse">
              <a:avLst/>
            </a:prstGeom>
            <a:solidFill>
              <a:schemeClr val="accent1"/>
            </a:solidFill>
            <a:ln w="889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9" name="Oval 18">
              <a:extLst>
                <a:ext uri="{FF2B5EF4-FFF2-40B4-BE49-F238E27FC236}">
                  <a16:creationId xmlns:a16="http://schemas.microsoft.com/office/drawing/2014/main" id="{1DE87980-313E-A543-A7BB-09206A75121D}"/>
                </a:ext>
              </a:extLst>
            </p:cNvPr>
            <p:cNvSpPr/>
            <p:nvPr/>
          </p:nvSpPr>
          <p:spPr>
            <a:xfrm>
              <a:off x="4135255" y="2975680"/>
              <a:ext cx="864096" cy="864096"/>
            </a:xfrm>
            <a:prstGeom prst="ellipse">
              <a:avLst/>
            </a:prstGeom>
            <a:solidFill>
              <a:schemeClr val="accent1"/>
            </a:solidFill>
            <a:ln w="889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0" name="Oval 19">
              <a:extLst>
                <a:ext uri="{FF2B5EF4-FFF2-40B4-BE49-F238E27FC236}">
                  <a16:creationId xmlns:a16="http://schemas.microsoft.com/office/drawing/2014/main" id="{786887C7-0884-7645-A3F2-3F43558A3D27}"/>
                </a:ext>
              </a:extLst>
            </p:cNvPr>
            <p:cNvSpPr/>
            <p:nvPr/>
          </p:nvSpPr>
          <p:spPr>
            <a:xfrm>
              <a:off x="5282686" y="1319496"/>
              <a:ext cx="864096" cy="864096"/>
            </a:xfrm>
            <a:prstGeom prst="ellipse">
              <a:avLst/>
            </a:prstGeom>
            <a:solidFill>
              <a:schemeClr val="accent1"/>
            </a:solidFill>
            <a:ln w="889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1" name="Block Arc 14">
              <a:extLst>
                <a:ext uri="{FF2B5EF4-FFF2-40B4-BE49-F238E27FC236}">
                  <a16:creationId xmlns:a16="http://schemas.microsoft.com/office/drawing/2014/main" id="{BD44F1DC-0B20-4B48-8CE9-68C8C0E3074C}"/>
                </a:ext>
              </a:extLst>
            </p:cNvPr>
            <p:cNvSpPr/>
            <p:nvPr/>
          </p:nvSpPr>
          <p:spPr>
            <a:xfrm rot="16200000">
              <a:off x="3253166" y="1584729"/>
              <a:ext cx="333413" cy="33363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2" name="Rectangle 16">
              <a:extLst>
                <a:ext uri="{FF2B5EF4-FFF2-40B4-BE49-F238E27FC236}">
                  <a16:creationId xmlns:a16="http://schemas.microsoft.com/office/drawing/2014/main" id="{5A795087-2166-AD40-9C31-96E54095FF17}"/>
                </a:ext>
              </a:extLst>
            </p:cNvPr>
            <p:cNvSpPr/>
            <p:nvPr/>
          </p:nvSpPr>
          <p:spPr>
            <a:xfrm rot="2700000">
              <a:off x="4460187" y="3194995"/>
              <a:ext cx="223629" cy="42546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Rounded Rectangle 27">
              <a:extLst>
                <a:ext uri="{FF2B5EF4-FFF2-40B4-BE49-F238E27FC236}">
                  <a16:creationId xmlns:a16="http://schemas.microsoft.com/office/drawing/2014/main" id="{268A51C0-2758-A741-BB34-879175930CD3}"/>
                </a:ext>
              </a:extLst>
            </p:cNvPr>
            <p:cNvSpPr/>
            <p:nvPr/>
          </p:nvSpPr>
          <p:spPr>
            <a:xfrm>
              <a:off x="5550199" y="1625159"/>
              <a:ext cx="329069" cy="25276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24" name="Group 23">
              <a:extLst>
                <a:ext uri="{FF2B5EF4-FFF2-40B4-BE49-F238E27FC236}">
                  <a16:creationId xmlns:a16="http://schemas.microsoft.com/office/drawing/2014/main" id="{8B7AC2B2-F0BF-D245-B0E7-52EE6E55E4C6}"/>
                </a:ext>
              </a:extLst>
            </p:cNvPr>
            <p:cNvGrpSpPr/>
            <p:nvPr/>
          </p:nvGrpSpPr>
          <p:grpSpPr>
            <a:xfrm>
              <a:off x="3271159" y="3940640"/>
              <a:ext cx="2592288" cy="863358"/>
              <a:chOff x="803640" y="3362835"/>
              <a:chExt cx="2059657" cy="863358"/>
            </a:xfrm>
          </p:grpSpPr>
          <p:sp>
            <p:nvSpPr>
              <p:cNvPr id="25" name="TextBox 24">
                <a:extLst>
                  <a:ext uri="{FF2B5EF4-FFF2-40B4-BE49-F238E27FC236}">
                    <a16:creationId xmlns:a16="http://schemas.microsoft.com/office/drawing/2014/main" id="{CCA71AAD-CC3E-9D42-A495-4E342B584006}"/>
                  </a:ext>
                </a:extLst>
              </p:cNvPr>
              <p:cNvSpPr txBox="1"/>
              <p:nvPr/>
            </p:nvSpPr>
            <p:spPr>
              <a:xfrm>
                <a:off x="803640" y="3579862"/>
                <a:ext cx="205965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6" name="TextBox 25">
                <a:extLst>
                  <a:ext uri="{FF2B5EF4-FFF2-40B4-BE49-F238E27FC236}">
                    <a16:creationId xmlns:a16="http://schemas.microsoft.com/office/drawing/2014/main" id="{80367917-8F16-0F42-ACF6-9BF273131183}"/>
                  </a:ext>
                </a:extLst>
              </p:cNvPr>
              <p:cNvSpPr txBox="1"/>
              <p:nvPr/>
            </p:nvSpPr>
            <p:spPr>
              <a:xfrm>
                <a:off x="803640" y="3362835"/>
                <a:ext cx="2059657" cy="276999"/>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7" name="Group 26">
              <a:extLst>
                <a:ext uri="{FF2B5EF4-FFF2-40B4-BE49-F238E27FC236}">
                  <a16:creationId xmlns:a16="http://schemas.microsoft.com/office/drawing/2014/main" id="{A34A67CE-6D7A-C345-A508-2B5BC3ED4041}"/>
                </a:ext>
              </a:extLst>
            </p:cNvPr>
            <p:cNvGrpSpPr/>
            <p:nvPr/>
          </p:nvGrpSpPr>
          <p:grpSpPr>
            <a:xfrm>
              <a:off x="6300192" y="1320234"/>
              <a:ext cx="2592288" cy="863358"/>
              <a:chOff x="803640" y="3362835"/>
              <a:chExt cx="2059657" cy="863358"/>
            </a:xfrm>
          </p:grpSpPr>
          <p:sp>
            <p:nvSpPr>
              <p:cNvPr id="28" name="TextBox 27">
                <a:extLst>
                  <a:ext uri="{FF2B5EF4-FFF2-40B4-BE49-F238E27FC236}">
                    <a16:creationId xmlns:a16="http://schemas.microsoft.com/office/drawing/2014/main" id="{2C76473A-2708-CC45-ABC4-E87F87AFBC09}"/>
                  </a:ext>
                </a:extLst>
              </p:cNvPr>
              <p:cNvSpPr txBox="1"/>
              <p:nvPr/>
            </p:nvSpPr>
            <p:spPr>
              <a:xfrm>
                <a:off x="803640" y="3579862"/>
                <a:ext cx="2059657"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9" name="TextBox 28">
                <a:extLst>
                  <a:ext uri="{FF2B5EF4-FFF2-40B4-BE49-F238E27FC236}">
                    <a16:creationId xmlns:a16="http://schemas.microsoft.com/office/drawing/2014/main" id="{83FE1288-26BB-9248-B212-E1B856FC29AD}"/>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30" name="Group 29">
              <a:extLst>
                <a:ext uri="{FF2B5EF4-FFF2-40B4-BE49-F238E27FC236}">
                  <a16:creationId xmlns:a16="http://schemas.microsoft.com/office/drawing/2014/main" id="{35C7B5CC-EA88-6544-848C-FD793AD2B804}"/>
                </a:ext>
              </a:extLst>
            </p:cNvPr>
            <p:cNvGrpSpPr/>
            <p:nvPr/>
          </p:nvGrpSpPr>
          <p:grpSpPr>
            <a:xfrm>
              <a:off x="277403" y="1320234"/>
              <a:ext cx="2592288" cy="863358"/>
              <a:chOff x="803640" y="3362835"/>
              <a:chExt cx="2059657" cy="863358"/>
            </a:xfrm>
          </p:grpSpPr>
          <p:sp>
            <p:nvSpPr>
              <p:cNvPr id="31" name="TextBox 30">
                <a:extLst>
                  <a:ext uri="{FF2B5EF4-FFF2-40B4-BE49-F238E27FC236}">
                    <a16:creationId xmlns:a16="http://schemas.microsoft.com/office/drawing/2014/main" id="{87D07874-CC68-254A-9E21-255FBC8D9368}"/>
                  </a:ext>
                </a:extLst>
              </p:cNvPr>
              <p:cNvSpPr txBox="1"/>
              <p:nvPr/>
            </p:nvSpPr>
            <p:spPr>
              <a:xfrm>
                <a:off x="803640" y="3579862"/>
                <a:ext cx="2059657"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2" name="TextBox 31">
                <a:extLst>
                  <a:ext uri="{FF2B5EF4-FFF2-40B4-BE49-F238E27FC236}">
                    <a16:creationId xmlns:a16="http://schemas.microsoft.com/office/drawing/2014/main" id="{72B46ABD-D52E-9B4F-A0AA-2D5DC1AF6A88}"/>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348299188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6C5F43-60AC-9D40-B88A-C1CEBE70E149}"/>
              </a:ext>
            </a:extLst>
          </p:cNvPr>
          <p:cNvGraphicFramePr>
            <a:graphicFrameLocks noChangeAspect="1"/>
          </p:cNvGraphicFramePr>
          <p:nvPr>
            <p:custDataLst>
              <p:tags r:id="rId1"/>
            </p:custDataLst>
            <p:extLst>
              <p:ext uri="{D42A27DB-BD31-4B8C-83A1-F6EECF244321}">
                <p14:modId xmlns:p14="http://schemas.microsoft.com/office/powerpoint/2010/main" val="3876008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B06C5F43-60AC-9D40-B88A-C1CEBE70E1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431B531-4E1D-AD4C-8762-829C706CF34C}"/>
              </a:ext>
            </a:extLst>
          </p:cNvPr>
          <p:cNvSpPr>
            <a:spLocks noGrp="1"/>
          </p:cNvSpPr>
          <p:nvPr>
            <p:ph type="sldNum" sz="quarter" idx="4"/>
          </p:nvPr>
        </p:nvSpPr>
        <p:spPr/>
        <p:txBody>
          <a:bodyPr/>
          <a:lstStyle/>
          <a:p>
            <a:fld id="{3D966009-6E5A-4F8C-8CA7-E37AFBF5FB92}" type="slidenum">
              <a:rPr lang="en-US" smtClean="0"/>
              <a:t>147</a:t>
            </a:fld>
            <a:endParaRPr lang="en-US"/>
          </a:p>
        </p:txBody>
      </p:sp>
      <p:sp>
        <p:nvSpPr>
          <p:cNvPr id="3" name="Title 2">
            <a:extLst>
              <a:ext uri="{FF2B5EF4-FFF2-40B4-BE49-F238E27FC236}">
                <a16:creationId xmlns:a16="http://schemas.microsoft.com/office/drawing/2014/main" id="{D8ED620C-84D7-F046-8EFD-D862D0D284A9}"/>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78868654-C0FE-CD42-A6D2-A0471DBE79E5}"/>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CCAA51B7-9AFD-0945-B654-7F2A9A583906}"/>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21F0FE68-AF8E-2744-BFFA-E67BB19DC52F}"/>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E2C4216F-3D9D-6F48-9E3B-BF79B76DBCBD}"/>
              </a:ext>
            </a:extLst>
          </p:cNvPr>
          <p:cNvSpPr>
            <a:spLocks noGrp="1"/>
          </p:cNvSpPr>
          <p:nvPr>
            <p:ph sz="quarter" idx="14"/>
          </p:nvPr>
        </p:nvSpPr>
        <p:spPr/>
        <p:txBody>
          <a:bodyPr/>
          <a:lstStyle/>
          <a:p>
            <a:endParaRPr lang="de-DE"/>
          </a:p>
        </p:txBody>
      </p:sp>
      <p:sp>
        <p:nvSpPr>
          <p:cNvPr id="34" name="Trapezoid 33">
            <a:extLst>
              <a:ext uri="{FF2B5EF4-FFF2-40B4-BE49-F238E27FC236}">
                <a16:creationId xmlns:a16="http://schemas.microsoft.com/office/drawing/2014/main" id="{1A325831-339D-7F4B-9557-47074C389B5F}"/>
              </a:ext>
            </a:extLst>
          </p:cNvPr>
          <p:cNvSpPr/>
          <p:nvPr/>
        </p:nvSpPr>
        <p:spPr>
          <a:xfrm rot="10800000">
            <a:off x="1990007" y="1897154"/>
            <a:ext cx="1914524" cy="1017323"/>
          </a:xfrm>
          <a:prstGeom prst="trapezoid">
            <a:avLst>
              <a:gd name="adj" fmla="val 54961"/>
            </a:avLst>
          </a:pr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5" name="Trapezoid 34">
            <a:extLst>
              <a:ext uri="{FF2B5EF4-FFF2-40B4-BE49-F238E27FC236}">
                <a16:creationId xmlns:a16="http://schemas.microsoft.com/office/drawing/2014/main" id="{2D6C0C68-2032-4740-B109-3253F959C9B5}"/>
              </a:ext>
            </a:extLst>
          </p:cNvPr>
          <p:cNvSpPr/>
          <p:nvPr/>
        </p:nvSpPr>
        <p:spPr>
          <a:xfrm rot="3656186">
            <a:off x="851701" y="3888128"/>
            <a:ext cx="1914524" cy="1017323"/>
          </a:xfrm>
          <a:prstGeom prst="trapezoid">
            <a:avLst>
              <a:gd name="adj" fmla="val 54961"/>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6" name="Trapezoid 35">
            <a:extLst>
              <a:ext uri="{FF2B5EF4-FFF2-40B4-BE49-F238E27FC236}">
                <a16:creationId xmlns:a16="http://schemas.microsoft.com/office/drawing/2014/main" id="{2F879323-191F-C440-8944-7B3D72000A93}"/>
              </a:ext>
            </a:extLst>
          </p:cNvPr>
          <p:cNvSpPr/>
          <p:nvPr/>
        </p:nvSpPr>
        <p:spPr>
          <a:xfrm rot="7231376">
            <a:off x="866423" y="2582383"/>
            <a:ext cx="1914524" cy="1017323"/>
          </a:xfrm>
          <a:prstGeom prst="trapezoid">
            <a:avLst>
              <a:gd name="adj" fmla="val 56815"/>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7" name="Trapezoid 36">
            <a:extLst>
              <a:ext uri="{FF2B5EF4-FFF2-40B4-BE49-F238E27FC236}">
                <a16:creationId xmlns:a16="http://schemas.microsoft.com/office/drawing/2014/main" id="{223FCAA2-67DC-9448-9789-4C2D16E3964C}"/>
              </a:ext>
            </a:extLst>
          </p:cNvPr>
          <p:cNvSpPr/>
          <p:nvPr/>
        </p:nvSpPr>
        <p:spPr>
          <a:xfrm>
            <a:off x="1975285" y="4597338"/>
            <a:ext cx="1914524" cy="1017323"/>
          </a:xfrm>
          <a:prstGeom prst="trapezoid">
            <a:avLst>
              <a:gd name="adj" fmla="val 54961"/>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8" name="Trapezoid 37">
            <a:extLst>
              <a:ext uri="{FF2B5EF4-FFF2-40B4-BE49-F238E27FC236}">
                <a16:creationId xmlns:a16="http://schemas.microsoft.com/office/drawing/2014/main" id="{BA7FFDD5-8535-124F-A354-0FCDF3B282C6}"/>
              </a:ext>
            </a:extLst>
          </p:cNvPr>
          <p:cNvSpPr/>
          <p:nvPr/>
        </p:nvSpPr>
        <p:spPr>
          <a:xfrm rot="14456186">
            <a:off x="3113592" y="2583254"/>
            <a:ext cx="1914524" cy="1017323"/>
          </a:xfrm>
          <a:prstGeom prst="trapezoid">
            <a:avLst>
              <a:gd name="adj" fmla="val 54961"/>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9" name="Trapezoid 38">
            <a:extLst>
              <a:ext uri="{FF2B5EF4-FFF2-40B4-BE49-F238E27FC236}">
                <a16:creationId xmlns:a16="http://schemas.microsoft.com/office/drawing/2014/main" id="{64FE6592-B48A-FD43-96C9-514255E39794}"/>
              </a:ext>
            </a:extLst>
          </p:cNvPr>
          <p:cNvSpPr/>
          <p:nvPr/>
        </p:nvSpPr>
        <p:spPr>
          <a:xfrm rot="18031376">
            <a:off x="3098870" y="3912109"/>
            <a:ext cx="1914524" cy="1017323"/>
          </a:xfrm>
          <a:prstGeom prst="trapezoid">
            <a:avLst>
              <a:gd name="adj" fmla="val 56815"/>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40" name="Hexagon 39">
            <a:extLst>
              <a:ext uri="{FF2B5EF4-FFF2-40B4-BE49-F238E27FC236}">
                <a16:creationId xmlns:a16="http://schemas.microsoft.com/office/drawing/2014/main" id="{5D78EFA9-A5CC-6D45-A210-146E4A771154}"/>
              </a:ext>
            </a:extLst>
          </p:cNvPr>
          <p:cNvSpPr/>
          <p:nvPr/>
        </p:nvSpPr>
        <p:spPr>
          <a:xfrm>
            <a:off x="2188695" y="3053736"/>
            <a:ext cx="1502428" cy="1392380"/>
          </a:xfrm>
          <a:prstGeom prst="hexagon">
            <a:avLst>
              <a:gd name="adj" fmla="val 26443"/>
              <a:gd name="vf" fmla="val 115470"/>
            </a:avLst>
          </a:prstGeom>
          <a:solidFill>
            <a:sysClr val="window" lastClr="FFFFFF"/>
          </a:solidFill>
          <a:ln w="25400" cap="flat" cmpd="sng" algn="ctr">
            <a:solidFill>
              <a:srgbClr val="D4D4D4"/>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41" name="Group 24">
            <a:extLst>
              <a:ext uri="{FF2B5EF4-FFF2-40B4-BE49-F238E27FC236}">
                <a16:creationId xmlns:a16="http://schemas.microsoft.com/office/drawing/2014/main" id="{0C908E58-24FE-4B44-A14A-B54267221968}"/>
              </a:ext>
            </a:extLst>
          </p:cNvPr>
          <p:cNvGrpSpPr/>
          <p:nvPr/>
        </p:nvGrpSpPr>
        <p:grpSpPr>
          <a:xfrm>
            <a:off x="2230766" y="2005427"/>
            <a:ext cx="1418285" cy="738664"/>
            <a:chOff x="2551705" y="4283314"/>
            <a:chExt cx="2357003" cy="738664"/>
          </a:xfrm>
        </p:grpSpPr>
        <p:sp>
          <p:nvSpPr>
            <p:cNvPr id="42" name="TextBox 41">
              <a:extLst>
                <a:ext uri="{FF2B5EF4-FFF2-40B4-BE49-F238E27FC236}">
                  <a16:creationId xmlns:a16="http://schemas.microsoft.com/office/drawing/2014/main" id="{46F82C9E-E1B4-194E-8451-0EAFA99D8501}"/>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43" name="TextBox 42">
              <a:extLst>
                <a:ext uri="{FF2B5EF4-FFF2-40B4-BE49-F238E27FC236}">
                  <a16:creationId xmlns:a16="http://schemas.microsoft.com/office/drawing/2014/main" id="{CD290AB6-043E-6541-85C6-7A307B9F621E}"/>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grpSp>
        <p:nvGrpSpPr>
          <p:cNvPr id="44" name="Group 24">
            <a:extLst>
              <a:ext uri="{FF2B5EF4-FFF2-40B4-BE49-F238E27FC236}">
                <a16:creationId xmlns:a16="http://schemas.microsoft.com/office/drawing/2014/main" id="{4C61A36B-7F9F-C54F-9BA7-075455185366}"/>
              </a:ext>
            </a:extLst>
          </p:cNvPr>
          <p:cNvGrpSpPr/>
          <p:nvPr/>
        </p:nvGrpSpPr>
        <p:grpSpPr>
          <a:xfrm rot="3662438">
            <a:off x="3386953" y="2711896"/>
            <a:ext cx="1418285" cy="738664"/>
            <a:chOff x="2551705" y="4283314"/>
            <a:chExt cx="2357003" cy="738664"/>
          </a:xfrm>
        </p:grpSpPr>
        <p:sp>
          <p:nvSpPr>
            <p:cNvPr id="45" name="TextBox 44">
              <a:extLst>
                <a:ext uri="{FF2B5EF4-FFF2-40B4-BE49-F238E27FC236}">
                  <a16:creationId xmlns:a16="http://schemas.microsoft.com/office/drawing/2014/main" id="{2F612E50-E28B-6A4B-BE29-ABD37CB0F040}"/>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46" name="TextBox 45">
              <a:extLst>
                <a:ext uri="{FF2B5EF4-FFF2-40B4-BE49-F238E27FC236}">
                  <a16:creationId xmlns:a16="http://schemas.microsoft.com/office/drawing/2014/main" id="{37C578F3-CF96-6C4B-9881-2818FED73214}"/>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grpSp>
        <p:nvGrpSpPr>
          <p:cNvPr id="47" name="Group 24">
            <a:extLst>
              <a:ext uri="{FF2B5EF4-FFF2-40B4-BE49-F238E27FC236}">
                <a16:creationId xmlns:a16="http://schemas.microsoft.com/office/drawing/2014/main" id="{F878F3D3-250B-BA45-B4D4-984F633E62E0}"/>
              </a:ext>
            </a:extLst>
          </p:cNvPr>
          <p:cNvGrpSpPr/>
          <p:nvPr/>
        </p:nvGrpSpPr>
        <p:grpSpPr>
          <a:xfrm rot="7181322">
            <a:off x="3357917" y="4060696"/>
            <a:ext cx="1418285" cy="738664"/>
            <a:chOff x="2551705" y="4283314"/>
            <a:chExt cx="2357003" cy="738664"/>
          </a:xfrm>
        </p:grpSpPr>
        <p:sp>
          <p:nvSpPr>
            <p:cNvPr id="48" name="TextBox 47">
              <a:extLst>
                <a:ext uri="{FF2B5EF4-FFF2-40B4-BE49-F238E27FC236}">
                  <a16:creationId xmlns:a16="http://schemas.microsoft.com/office/drawing/2014/main" id="{2EC221B5-8FDE-5140-996D-735B9ED199E2}"/>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49" name="TextBox 48">
              <a:extLst>
                <a:ext uri="{FF2B5EF4-FFF2-40B4-BE49-F238E27FC236}">
                  <a16:creationId xmlns:a16="http://schemas.microsoft.com/office/drawing/2014/main" id="{F5C1A767-FC36-A743-B723-84994E823EBD}"/>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grpSp>
        <p:nvGrpSpPr>
          <p:cNvPr id="50" name="Group 24">
            <a:extLst>
              <a:ext uri="{FF2B5EF4-FFF2-40B4-BE49-F238E27FC236}">
                <a16:creationId xmlns:a16="http://schemas.microsoft.com/office/drawing/2014/main" id="{655FF53F-A6EB-DA45-A251-CFD261938CDA}"/>
              </a:ext>
            </a:extLst>
          </p:cNvPr>
          <p:cNvGrpSpPr/>
          <p:nvPr/>
        </p:nvGrpSpPr>
        <p:grpSpPr>
          <a:xfrm rot="10800000">
            <a:off x="2205276" y="4757226"/>
            <a:ext cx="1418285" cy="738664"/>
            <a:chOff x="2551705" y="4283314"/>
            <a:chExt cx="2357003" cy="738664"/>
          </a:xfrm>
        </p:grpSpPr>
        <p:sp>
          <p:nvSpPr>
            <p:cNvPr id="51" name="TextBox 50">
              <a:extLst>
                <a:ext uri="{FF2B5EF4-FFF2-40B4-BE49-F238E27FC236}">
                  <a16:creationId xmlns:a16="http://schemas.microsoft.com/office/drawing/2014/main" id="{40EC4B2E-1892-3A4B-84EA-A6623CF12B02}"/>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52" name="TextBox 51">
              <a:extLst>
                <a:ext uri="{FF2B5EF4-FFF2-40B4-BE49-F238E27FC236}">
                  <a16:creationId xmlns:a16="http://schemas.microsoft.com/office/drawing/2014/main" id="{C0B6D8E5-6341-AB4C-AEF5-AD4E0A732EE8}"/>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grpSp>
        <p:nvGrpSpPr>
          <p:cNvPr id="53" name="Group 24">
            <a:extLst>
              <a:ext uri="{FF2B5EF4-FFF2-40B4-BE49-F238E27FC236}">
                <a16:creationId xmlns:a16="http://schemas.microsoft.com/office/drawing/2014/main" id="{68A61C30-905C-4B44-9C3B-3801ACDB9502}"/>
              </a:ext>
            </a:extLst>
          </p:cNvPr>
          <p:cNvGrpSpPr/>
          <p:nvPr/>
        </p:nvGrpSpPr>
        <p:grpSpPr>
          <a:xfrm rot="14422724">
            <a:off x="1078724" y="4063895"/>
            <a:ext cx="1418285" cy="738664"/>
            <a:chOff x="2551705" y="4283314"/>
            <a:chExt cx="2357003" cy="738664"/>
          </a:xfrm>
        </p:grpSpPr>
        <p:sp>
          <p:nvSpPr>
            <p:cNvPr id="54" name="TextBox 53">
              <a:extLst>
                <a:ext uri="{FF2B5EF4-FFF2-40B4-BE49-F238E27FC236}">
                  <a16:creationId xmlns:a16="http://schemas.microsoft.com/office/drawing/2014/main" id="{5E21777F-913B-E147-98BF-E7F4CCA49F42}"/>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55" name="TextBox 54">
              <a:extLst>
                <a:ext uri="{FF2B5EF4-FFF2-40B4-BE49-F238E27FC236}">
                  <a16:creationId xmlns:a16="http://schemas.microsoft.com/office/drawing/2014/main" id="{D0B1A5C6-648A-654C-BB6B-852F6C071B0F}"/>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grpSp>
        <p:nvGrpSpPr>
          <p:cNvPr id="56" name="Group 55">
            <a:extLst>
              <a:ext uri="{FF2B5EF4-FFF2-40B4-BE49-F238E27FC236}">
                <a16:creationId xmlns:a16="http://schemas.microsoft.com/office/drawing/2014/main" id="{7877D054-3EBD-5F45-896A-72A30F94A06E}"/>
              </a:ext>
            </a:extLst>
          </p:cNvPr>
          <p:cNvGrpSpPr/>
          <p:nvPr/>
        </p:nvGrpSpPr>
        <p:grpSpPr>
          <a:xfrm rot="17992780">
            <a:off x="1072061" y="2705035"/>
            <a:ext cx="1418285" cy="738664"/>
            <a:chOff x="2551705" y="4283314"/>
            <a:chExt cx="2357003" cy="738664"/>
          </a:xfrm>
        </p:grpSpPr>
        <p:sp>
          <p:nvSpPr>
            <p:cNvPr id="57" name="TextBox 56">
              <a:extLst>
                <a:ext uri="{FF2B5EF4-FFF2-40B4-BE49-F238E27FC236}">
                  <a16:creationId xmlns:a16="http://schemas.microsoft.com/office/drawing/2014/main" id="{E2ED5E68-6F9C-CB49-83C1-1FF1361137BB}"/>
                </a:ext>
              </a:extLst>
            </p:cNvPr>
            <p:cNvSpPr txBox="1"/>
            <p:nvPr/>
          </p:nvSpPr>
          <p:spPr>
            <a:xfrm>
              <a:off x="2551707" y="4560313"/>
              <a:ext cx="2357001" cy="461665"/>
            </a:xfrm>
            <a:prstGeom prst="rect">
              <a:avLst/>
            </a:prstGeom>
            <a:noFill/>
          </p:spPr>
          <p:txBody>
            <a:bodyPr wrap="square" rtlCol="0">
              <a:spAutoFit/>
            </a:bodyPr>
            <a:lstStyle/>
            <a:p>
              <a:pPr algn="ctr" defTabSz="914286"/>
              <a:r>
                <a:rPr lang="en-US" altLang="ko-KR" sz="1200">
                  <a:solidFill>
                    <a:prstClr val="white"/>
                  </a:solidFill>
                  <a:ea typeface="Arial Unicode MS"/>
                  <a:cs typeface="Arial" pitchFamily="34" charset="0"/>
                </a:rPr>
                <a:t>Easy to change colors.</a:t>
              </a:r>
            </a:p>
          </p:txBody>
        </p:sp>
        <p:sp>
          <p:nvSpPr>
            <p:cNvPr id="58" name="TextBox 57">
              <a:extLst>
                <a:ext uri="{FF2B5EF4-FFF2-40B4-BE49-F238E27FC236}">
                  <a16:creationId xmlns:a16="http://schemas.microsoft.com/office/drawing/2014/main" id="{A4ADFE72-0CD2-B44D-BE73-A5F612DF83F6}"/>
                </a:ext>
              </a:extLst>
            </p:cNvPr>
            <p:cNvSpPr txBox="1"/>
            <p:nvPr/>
          </p:nvSpPr>
          <p:spPr>
            <a:xfrm>
              <a:off x="2551705" y="4283314"/>
              <a:ext cx="2336966" cy="276999"/>
            </a:xfrm>
            <a:prstGeom prst="rect">
              <a:avLst/>
            </a:prstGeom>
            <a:noFill/>
          </p:spPr>
          <p:txBody>
            <a:bodyPr wrap="square" rtlCol="0">
              <a:spAutoFit/>
            </a:bodyPr>
            <a:lstStyle/>
            <a:p>
              <a:pPr algn="ctr" defTabSz="914286"/>
              <a:r>
                <a:rPr lang="en-US" altLang="ko-KR" sz="1200" b="1">
                  <a:solidFill>
                    <a:prstClr val="white"/>
                  </a:solidFill>
                  <a:ea typeface="Arial Unicode MS"/>
                  <a:cs typeface="Arial" pitchFamily="34" charset="0"/>
                </a:rPr>
                <a:t>Text Here</a:t>
              </a:r>
              <a:endParaRPr lang="ko-KR" altLang="en-US" sz="1200" b="1">
                <a:solidFill>
                  <a:prstClr val="white"/>
                </a:solidFill>
                <a:ea typeface="Arial Unicode MS"/>
                <a:cs typeface="Arial" pitchFamily="34" charset="0"/>
              </a:endParaRPr>
            </a:p>
          </p:txBody>
        </p:sp>
      </p:grpSp>
    </p:spTree>
    <p:extLst>
      <p:ext uri="{BB962C8B-B14F-4D97-AF65-F5344CB8AC3E}">
        <p14:creationId xmlns:p14="http://schemas.microsoft.com/office/powerpoint/2010/main" val="402256968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556D1291-2AC5-0542-87F3-2D1D6D90453E}"/>
              </a:ext>
            </a:extLst>
          </p:cNvPr>
          <p:cNvGraphicFramePr>
            <a:graphicFrameLocks noChangeAspect="1"/>
          </p:cNvGraphicFramePr>
          <p:nvPr>
            <p:custDataLst>
              <p:tags r:id="rId1"/>
            </p:custDataLst>
            <p:extLst>
              <p:ext uri="{D42A27DB-BD31-4B8C-83A1-F6EECF244321}">
                <p14:modId xmlns:p14="http://schemas.microsoft.com/office/powerpoint/2010/main" val="292187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5" name="Object 54" hidden="1">
                        <a:extLst>
                          <a:ext uri="{FF2B5EF4-FFF2-40B4-BE49-F238E27FC236}">
                            <a16:creationId xmlns:a16="http://schemas.microsoft.com/office/drawing/2014/main" id="{556D1291-2AC5-0542-87F3-2D1D6D9045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E1E3C91-AAEE-7143-83A7-0DC90B380E90}"/>
              </a:ext>
            </a:extLst>
          </p:cNvPr>
          <p:cNvSpPr>
            <a:spLocks noGrp="1"/>
          </p:cNvSpPr>
          <p:nvPr>
            <p:ph type="sldNum" sz="quarter" idx="4"/>
          </p:nvPr>
        </p:nvSpPr>
        <p:spPr/>
        <p:txBody>
          <a:bodyPr/>
          <a:lstStyle/>
          <a:p>
            <a:fld id="{3D966009-6E5A-4F8C-8CA7-E37AFBF5FB92}" type="slidenum">
              <a:rPr lang="en-US" smtClean="0"/>
              <a:t>148</a:t>
            </a:fld>
            <a:endParaRPr lang="en-US"/>
          </a:p>
        </p:txBody>
      </p:sp>
      <p:sp>
        <p:nvSpPr>
          <p:cNvPr id="3" name="Title 2">
            <a:extLst>
              <a:ext uri="{FF2B5EF4-FFF2-40B4-BE49-F238E27FC236}">
                <a16:creationId xmlns:a16="http://schemas.microsoft.com/office/drawing/2014/main" id="{E7C7F8A7-D009-AD42-A6C8-24BD3163312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34162041-7A98-5345-AF99-A26487AD1B1F}"/>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09B07219-FF37-4446-ACA6-F4E4047C8B72}"/>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417DD25A-0701-634C-BA3C-CF9D4416A023}"/>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C32BBA4-C585-8C41-AAEF-FB18338F8589}"/>
              </a:ext>
            </a:extLst>
          </p:cNvPr>
          <p:cNvSpPr>
            <a:spLocks noGrp="1"/>
          </p:cNvSpPr>
          <p:nvPr>
            <p:ph sz="quarter" idx="14"/>
          </p:nvPr>
        </p:nvSpPr>
        <p:spPr/>
        <p:txBody>
          <a:bodyPr/>
          <a:lstStyle/>
          <a:p>
            <a:endParaRPr lang="en-GB"/>
          </a:p>
        </p:txBody>
      </p:sp>
      <p:sp>
        <p:nvSpPr>
          <p:cNvPr id="9" name="Block Arc 7">
            <a:extLst>
              <a:ext uri="{FF2B5EF4-FFF2-40B4-BE49-F238E27FC236}">
                <a16:creationId xmlns:a16="http://schemas.microsoft.com/office/drawing/2014/main" id="{4D6EC207-EACF-E445-B666-37F2AF066C7A}"/>
              </a:ext>
            </a:extLst>
          </p:cNvPr>
          <p:cNvSpPr/>
          <p:nvPr/>
        </p:nvSpPr>
        <p:spPr>
          <a:xfrm flipV="1">
            <a:off x="1146225" y="1966265"/>
            <a:ext cx="7903879" cy="2008900"/>
          </a:xfrm>
          <a:custGeom>
            <a:avLst/>
            <a:gdLst/>
            <a:ahLst/>
            <a:cxnLst/>
            <a:rect l="l" t="t" r="r" b="b"/>
            <a:pathLst>
              <a:path w="7903879" h="2008900">
                <a:moveTo>
                  <a:pt x="1008112" y="0"/>
                </a:moveTo>
                <a:cubicBezTo>
                  <a:pt x="1562433" y="0"/>
                  <a:pt x="2012259" y="447393"/>
                  <a:pt x="2015854" y="1000788"/>
                </a:cubicBezTo>
                <a:lnTo>
                  <a:pt x="2017300" y="1000788"/>
                </a:lnTo>
                <a:cubicBezTo>
                  <a:pt x="2017300" y="1527632"/>
                  <a:pt x="2444392" y="1954724"/>
                  <a:pt x="2971236" y="1954724"/>
                </a:cubicBezTo>
                <a:cubicBezTo>
                  <a:pt x="3495636" y="1954724"/>
                  <a:pt x="3921207" y="1531586"/>
                  <a:pt x="3924802" y="1008112"/>
                </a:cubicBezTo>
                <a:lnTo>
                  <a:pt x="3924531" y="1008112"/>
                </a:lnTo>
                <a:cubicBezTo>
                  <a:pt x="3924531" y="451347"/>
                  <a:pt x="4375878" y="0"/>
                  <a:pt x="4932643" y="0"/>
                </a:cubicBezTo>
                <a:cubicBezTo>
                  <a:pt x="5486964" y="0"/>
                  <a:pt x="5936790" y="447393"/>
                  <a:pt x="5940385" y="1000788"/>
                </a:cubicBezTo>
                <a:lnTo>
                  <a:pt x="5941831" y="1000788"/>
                </a:lnTo>
                <a:cubicBezTo>
                  <a:pt x="5941831" y="1527632"/>
                  <a:pt x="6368923" y="1954724"/>
                  <a:pt x="6895767" y="1954724"/>
                </a:cubicBezTo>
                <a:cubicBezTo>
                  <a:pt x="7422611" y="1954724"/>
                  <a:pt x="7849703" y="1527632"/>
                  <a:pt x="7849703" y="1000788"/>
                </a:cubicBezTo>
                <a:lnTo>
                  <a:pt x="7903879" y="1000788"/>
                </a:lnTo>
                <a:cubicBezTo>
                  <a:pt x="7903879" y="1557553"/>
                  <a:pt x="7452532" y="2008900"/>
                  <a:pt x="6895767" y="2008900"/>
                </a:cubicBezTo>
                <a:cubicBezTo>
                  <a:pt x="6341446" y="2008900"/>
                  <a:pt x="5891620" y="1561507"/>
                  <a:pt x="5888025" y="1008112"/>
                </a:cubicBezTo>
                <a:lnTo>
                  <a:pt x="5886579" y="1008112"/>
                </a:lnTo>
                <a:cubicBezTo>
                  <a:pt x="5886579" y="481268"/>
                  <a:pt x="5459487" y="54176"/>
                  <a:pt x="4932643" y="54176"/>
                </a:cubicBezTo>
                <a:cubicBezTo>
                  <a:pt x="4408244" y="54176"/>
                  <a:pt x="3982672" y="477314"/>
                  <a:pt x="3979077" y="1000788"/>
                </a:cubicBezTo>
                <a:lnTo>
                  <a:pt x="3979348" y="1000788"/>
                </a:lnTo>
                <a:cubicBezTo>
                  <a:pt x="3979348" y="1557553"/>
                  <a:pt x="3528001" y="2008900"/>
                  <a:pt x="2971236" y="2008900"/>
                </a:cubicBezTo>
                <a:cubicBezTo>
                  <a:pt x="2416915" y="2008900"/>
                  <a:pt x="1967089" y="1561507"/>
                  <a:pt x="1963494" y="1008112"/>
                </a:cubicBezTo>
                <a:lnTo>
                  <a:pt x="1962048" y="1008112"/>
                </a:lnTo>
                <a:cubicBezTo>
                  <a:pt x="1962048" y="481268"/>
                  <a:pt x="1534956" y="54176"/>
                  <a:pt x="1008112" y="54176"/>
                </a:cubicBezTo>
                <a:cubicBezTo>
                  <a:pt x="481268" y="54176"/>
                  <a:pt x="54176" y="481268"/>
                  <a:pt x="54176" y="1008112"/>
                </a:cubicBezTo>
                <a:lnTo>
                  <a:pt x="0" y="1008112"/>
                </a:lnTo>
                <a:cubicBezTo>
                  <a:pt x="0" y="451347"/>
                  <a:pt x="451347" y="0"/>
                  <a:pt x="1008112"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10" name="Oval 9">
            <a:extLst>
              <a:ext uri="{FF2B5EF4-FFF2-40B4-BE49-F238E27FC236}">
                <a16:creationId xmlns:a16="http://schemas.microsoft.com/office/drawing/2014/main" id="{8DA0664D-D005-784F-941B-185CE396B48D}"/>
              </a:ext>
            </a:extLst>
          </p:cNvPr>
          <p:cNvSpPr/>
          <p:nvPr/>
        </p:nvSpPr>
        <p:spPr>
          <a:xfrm>
            <a:off x="1697904" y="2542488"/>
            <a:ext cx="866378" cy="866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1" name="Oval 10">
            <a:extLst>
              <a:ext uri="{FF2B5EF4-FFF2-40B4-BE49-F238E27FC236}">
                <a16:creationId xmlns:a16="http://schemas.microsoft.com/office/drawing/2014/main" id="{6CBA6BBF-D544-EE46-AA70-C25364866E00}"/>
              </a:ext>
            </a:extLst>
          </p:cNvPr>
          <p:cNvSpPr/>
          <p:nvPr/>
        </p:nvSpPr>
        <p:spPr>
          <a:xfrm>
            <a:off x="3663998" y="2542488"/>
            <a:ext cx="866378" cy="86637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2" name="Oval 11">
            <a:extLst>
              <a:ext uri="{FF2B5EF4-FFF2-40B4-BE49-F238E27FC236}">
                <a16:creationId xmlns:a16="http://schemas.microsoft.com/office/drawing/2014/main" id="{AB2B75A6-A5D7-3C4D-AB4B-AE2F89F42F0A}"/>
              </a:ext>
            </a:extLst>
          </p:cNvPr>
          <p:cNvSpPr/>
          <p:nvPr/>
        </p:nvSpPr>
        <p:spPr>
          <a:xfrm>
            <a:off x="5630092" y="2542488"/>
            <a:ext cx="866378" cy="8663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3" name="Oval 12">
            <a:extLst>
              <a:ext uri="{FF2B5EF4-FFF2-40B4-BE49-F238E27FC236}">
                <a16:creationId xmlns:a16="http://schemas.microsoft.com/office/drawing/2014/main" id="{9376B5C2-0D65-2045-9ECC-462DDFA83F04}"/>
              </a:ext>
            </a:extLst>
          </p:cNvPr>
          <p:cNvSpPr/>
          <p:nvPr/>
        </p:nvSpPr>
        <p:spPr>
          <a:xfrm>
            <a:off x="7596186" y="2542488"/>
            <a:ext cx="866378" cy="866378"/>
          </a:xfrm>
          <a:prstGeom prst="ellipse">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nvGrpSpPr>
          <p:cNvPr id="14" name="Group 13">
            <a:extLst>
              <a:ext uri="{FF2B5EF4-FFF2-40B4-BE49-F238E27FC236}">
                <a16:creationId xmlns:a16="http://schemas.microsoft.com/office/drawing/2014/main" id="{02BAD108-6FAD-3444-A5A7-9C8BBC02F628}"/>
              </a:ext>
            </a:extLst>
          </p:cNvPr>
          <p:cNvGrpSpPr/>
          <p:nvPr/>
        </p:nvGrpSpPr>
        <p:grpSpPr>
          <a:xfrm>
            <a:off x="1346703" y="4416979"/>
            <a:ext cx="1625933" cy="1674760"/>
            <a:chOff x="575693" y="4105536"/>
            <a:chExt cx="1625933" cy="1674760"/>
          </a:xfrm>
        </p:grpSpPr>
        <p:sp>
          <p:nvSpPr>
            <p:cNvPr id="15" name="TextBox 14">
              <a:extLst>
                <a:ext uri="{FF2B5EF4-FFF2-40B4-BE49-F238E27FC236}">
                  <a16:creationId xmlns:a16="http://schemas.microsoft.com/office/drawing/2014/main" id="{75D746AF-72A2-AD45-8800-41BBA3ED9A5C}"/>
                </a:ext>
              </a:extLst>
            </p:cNvPr>
            <p:cNvSpPr txBox="1"/>
            <p:nvPr/>
          </p:nvSpPr>
          <p:spPr>
            <a:xfrm>
              <a:off x="578400" y="4395301"/>
              <a:ext cx="1617335" cy="1384995"/>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r>
                <a:rPr lang="en-US" altLang="ko-KR" sz="1200">
                  <a:solidFill>
                    <a:schemeClr val="tx1">
                      <a:lumMod val="75000"/>
                      <a:lumOff val="25000"/>
                    </a:schemeClr>
                  </a:solidFill>
                  <a:ea typeface="FZShuTi" pitchFamily="2" charset="-122"/>
                  <a:cs typeface="Arial" pitchFamily="34" charset="0"/>
                </a:rPr>
                <a:t>I hope and I believe that this Template will your Time.</a:t>
              </a:r>
              <a:endParaRPr lang="en-US" altLang="ko-KR" sz="1200">
                <a:solidFill>
                  <a:schemeClr val="tx1">
                    <a:lumMod val="75000"/>
                    <a:lumOff val="25000"/>
                  </a:schemeClr>
                </a:solidFill>
                <a:cs typeface="Arial" pitchFamily="34" charset="0"/>
              </a:endParaRPr>
            </a:p>
          </p:txBody>
        </p:sp>
        <p:sp>
          <p:nvSpPr>
            <p:cNvPr id="16" name="TextBox 15">
              <a:extLst>
                <a:ext uri="{FF2B5EF4-FFF2-40B4-BE49-F238E27FC236}">
                  <a16:creationId xmlns:a16="http://schemas.microsoft.com/office/drawing/2014/main" id="{52084CB6-2ECC-EF4D-9B21-3FE5BDBD06DB}"/>
                </a:ext>
              </a:extLst>
            </p:cNvPr>
            <p:cNvSpPr txBox="1"/>
            <p:nvPr/>
          </p:nvSpPr>
          <p:spPr>
            <a:xfrm>
              <a:off x="575693" y="4105536"/>
              <a:ext cx="1625933" cy="307777"/>
            </a:xfrm>
            <a:prstGeom prst="rect">
              <a:avLst/>
            </a:prstGeom>
            <a:noFill/>
          </p:spPr>
          <p:txBody>
            <a:bodyPr wrap="square" lIns="108000" rIns="108000" rtlCol="0">
              <a:spAutoFit/>
            </a:bodyPr>
            <a:lstStyle/>
            <a:p>
              <a:pPr algn="ctr"/>
              <a:r>
                <a:rPr lang="en-US" altLang="ko-KR" sz="1400" b="1">
                  <a:solidFill>
                    <a:schemeClr val="tx1">
                      <a:lumMod val="75000"/>
                      <a:lumOff val="25000"/>
                    </a:schemeClr>
                  </a:solidFill>
                  <a:cs typeface="Arial" pitchFamily="34" charset="0"/>
                </a:rPr>
                <a:t>Contents</a:t>
              </a:r>
              <a:endParaRPr lang="ko-KR" altLang="en-US" sz="1400" b="1">
                <a:solidFill>
                  <a:schemeClr val="tx1">
                    <a:lumMod val="75000"/>
                    <a:lumOff val="25000"/>
                  </a:schemeClr>
                </a:solidFill>
                <a:cs typeface="Arial" pitchFamily="34" charset="0"/>
              </a:endParaRPr>
            </a:p>
          </p:txBody>
        </p:sp>
      </p:grpSp>
      <p:grpSp>
        <p:nvGrpSpPr>
          <p:cNvPr id="17" name="Group 16">
            <a:extLst>
              <a:ext uri="{FF2B5EF4-FFF2-40B4-BE49-F238E27FC236}">
                <a16:creationId xmlns:a16="http://schemas.microsoft.com/office/drawing/2014/main" id="{50E1C436-D3AA-0543-B653-97C0BF2BB574}"/>
              </a:ext>
            </a:extLst>
          </p:cNvPr>
          <p:cNvGrpSpPr/>
          <p:nvPr/>
        </p:nvGrpSpPr>
        <p:grpSpPr>
          <a:xfrm>
            <a:off x="3316267" y="4416979"/>
            <a:ext cx="1625933" cy="1674760"/>
            <a:chOff x="575693" y="4105536"/>
            <a:chExt cx="1625933" cy="1674760"/>
          </a:xfrm>
        </p:grpSpPr>
        <p:sp>
          <p:nvSpPr>
            <p:cNvPr id="18" name="TextBox 17">
              <a:extLst>
                <a:ext uri="{FF2B5EF4-FFF2-40B4-BE49-F238E27FC236}">
                  <a16:creationId xmlns:a16="http://schemas.microsoft.com/office/drawing/2014/main" id="{3DB08D11-DF93-ED41-9768-745C413D2990}"/>
                </a:ext>
              </a:extLst>
            </p:cNvPr>
            <p:cNvSpPr txBox="1"/>
            <p:nvPr/>
          </p:nvSpPr>
          <p:spPr>
            <a:xfrm>
              <a:off x="578400" y="4395301"/>
              <a:ext cx="1617335" cy="1384995"/>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r>
                <a:rPr lang="en-US" altLang="ko-KR" sz="1200">
                  <a:solidFill>
                    <a:schemeClr val="tx1">
                      <a:lumMod val="75000"/>
                      <a:lumOff val="25000"/>
                    </a:schemeClr>
                  </a:solidFill>
                  <a:ea typeface="FZShuTi" pitchFamily="2" charset="-122"/>
                  <a:cs typeface="Arial" pitchFamily="34" charset="0"/>
                </a:rPr>
                <a:t>I hope and I believe that this Template will your Time.</a:t>
              </a:r>
              <a:endParaRPr lang="en-US" altLang="ko-KR" sz="1200">
                <a:solidFill>
                  <a:schemeClr val="tx1">
                    <a:lumMod val="75000"/>
                    <a:lumOff val="25000"/>
                  </a:schemeClr>
                </a:solidFill>
                <a:cs typeface="Arial" pitchFamily="34" charset="0"/>
              </a:endParaRPr>
            </a:p>
          </p:txBody>
        </p:sp>
        <p:sp>
          <p:nvSpPr>
            <p:cNvPr id="19" name="TextBox 18">
              <a:extLst>
                <a:ext uri="{FF2B5EF4-FFF2-40B4-BE49-F238E27FC236}">
                  <a16:creationId xmlns:a16="http://schemas.microsoft.com/office/drawing/2014/main" id="{7005D1A6-C0F5-E345-91F7-0324FB36FED5}"/>
                </a:ext>
              </a:extLst>
            </p:cNvPr>
            <p:cNvSpPr txBox="1"/>
            <p:nvPr/>
          </p:nvSpPr>
          <p:spPr>
            <a:xfrm>
              <a:off x="575693" y="4105536"/>
              <a:ext cx="1625933" cy="307777"/>
            </a:xfrm>
            <a:prstGeom prst="rect">
              <a:avLst/>
            </a:prstGeom>
            <a:noFill/>
          </p:spPr>
          <p:txBody>
            <a:bodyPr wrap="square" lIns="108000" rIns="108000" rtlCol="0">
              <a:spAutoFit/>
            </a:bodyPr>
            <a:lstStyle/>
            <a:p>
              <a:pPr algn="ctr"/>
              <a:r>
                <a:rPr lang="en-US" altLang="ko-KR" sz="1400" b="1">
                  <a:solidFill>
                    <a:schemeClr val="tx1">
                      <a:lumMod val="75000"/>
                      <a:lumOff val="25000"/>
                    </a:schemeClr>
                  </a:solidFill>
                  <a:cs typeface="Arial" pitchFamily="34" charset="0"/>
                </a:rPr>
                <a:t>Contents</a:t>
              </a:r>
              <a:endParaRPr lang="ko-KR" altLang="en-US" sz="1400" b="1">
                <a:solidFill>
                  <a:schemeClr val="tx1">
                    <a:lumMod val="75000"/>
                    <a:lumOff val="25000"/>
                  </a:schemeClr>
                </a:solidFill>
                <a:cs typeface="Arial" pitchFamily="34" charset="0"/>
              </a:endParaRPr>
            </a:p>
          </p:txBody>
        </p:sp>
      </p:grpSp>
      <p:grpSp>
        <p:nvGrpSpPr>
          <p:cNvPr id="20" name="Group 19">
            <a:extLst>
              <a:ext uri="{FF2B5EF4-FFF2-40B4-BE49-F238E27FC236}">
                <a16:creationId xmlns:a16="http://schemas.microsoft.com/office/drawing/2014/main" id="{09A6D70E-CDFD-5847-8F69-36B1B99FAD7D}"/>
              </a:ext>
            </a:extLst>
          </p:cNvPr>
          <p:cNvGrpSpPr/>
          <p:nvPr/>
        </p:nvGrpSpPr>
        <p:grpSpPr>
          <a:xfrm>
            <a:off x="5285831" y="4416979"/>
            <a:ext cx="1625933" cy="1674760"/>
            <a:chOff x="575693" y="4105536"/>
            <a:chExt cx="1625933" cy="1674760"/>
          </a:xfrm>
        </p:grpSpPr>
        <p:sp>
          <p:nvSpPr>
            <p:cNvPr id="21" name="TextBox 20">
              <a:extLst>
                <a:ext uri="{FF2B5EF4-FFF2-40B4-BE49-F238E27FC236}">
                  <a16:creationId xmlns:a16="http://schemas.microsoft.com/office/drawing/2014/main" id="{58478982-BC91-B24D-A83F-A422D971D051}"/>
                </a:ext>
              </a:extLst>
            </p:cNvPr>
            <p:cNvSpPr txBox="1"/>
            <p:nvPr/>
          </p:nvSpPr>
          <p:spPr>
            <a:xfrm>
              <a:off x="578400" y="4395301"/>
              <a:ext cx="1617335" cy="1384995"/>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r>
                <a:rPr lang="en-US" altLang="ko-KR" sz="1200">
                  <a:solidFill>
                    <a:schemeClr val="tx1">
                      <a:lumMod val="75000"/>
                      <a:lumOff val="25000"/>
                    </a:schemeClr>
                  </a:solidFill>
                  <a:ea typeface="FZShuTi" pitchFamily="2" charset="-122"/>
                  <a:cs typeface="Arial" pitchFamily="34" charset="0"/>
                </a:rPr>
                <a:t>I hope and I believe that this Template will your Time.</a:t>
              </a:r>
              <a:endParaRPr lang="en-US" altLang="ko-KR" sz="1200">
                <a:solidFill>
                  <a:schemeClr val="tx1">
                    <a:lumMod val="75000"/>
                    <a:lumOff val="25000"/>
                  </a:schemeClr>
                </a:solidFill>
                <a:cs typeface="Arial" pitchFamily="34" charset="0"/>
              </a:endParaRPr>
            </a:p>
          </p:txBody>
        </p:sp>
        <p:sp>
          <p:nvSpPr>
            <p:cNvPr id="22" name="TextBox 21">
              <a:extLst>
                <a:ext uri="{FF2B5EF4-FFF2-40B4-BE49-F238E27FC236}">
                  <a16:creationId xmlns:a16="http://schemas.microsoft.com/office/drawing/2014/main" id="{38D949EB-67E0-BC4E-9F75-BE0D87C0DE37}"/>
                </a:ext>
              </a:extLst>
            </p:cNvPr>
            <p:cNvSpPr txBox="1"/>
            <p:nvPr/>
          </p:nvSpPr>
          <p:spPr>
            <a:xfrm>
              <a:off x="575693" y="4105536"/>
              <a:ext cx="1625933" cy="307777"/>
            </a:xfrm>
            <a:prstGeom prst="rect">
              <a:avLst/>
            </a:prstGeom>
            <a:noFill/>
          </p:spPr>
          <p:txBody>
            <a:bodyPr wrap="square" lIns="108000" rIns="108000" rtlCol="0">
              <a:spAutoFit/>
            </a:bodyPr>
            <a:lstStyle/>
            <a:p>
              <a:pPr algn="ctr"/>
              <a:r>
                <a:rPr lang="en-US" altLang="ko-KR" sz="1400" b="1">
                  <a:solidFill>
                    <a:schemeClr val="tx1">
                      <a:lumMod val="75000"/>
                      <a:lumOff val="25000"/>
                    </a:schemeClr>
                  </a:solidFill>
                  <a:cs typeface="Arial" pitchFamily="34" charset="0"/>
                </a:rPr>
                <a:t>Contents</a:t>
              </a:r>
              <a:endParaRPr lang="ko-KR" altLang="en-US" sz="1400" b="1">
                <a:solidFill>
                  <a:schemeClr val="tx1">
                    <a:lumMod val="75000"/>
                    <a:lumOff val="25000"/>
                  </a:schemeClr>
                </a:solidFill>
                <a:cs typeface="Arial" pitchFamily="34" charset="0"/>
              </a:endParaRPr>
            </a:p>
          </p:txBody>
        </p:sp>
      </p:grpSp>
      <p:grpSp>
        <p:nvGrpSpPr>
          <p:cNvPr id="23" name="Group 22">
            <a:extLst>
              <a:ext uri="{FF2B5EF4-FFF2-40B4-BE49-F238E27FC236}">
                <a16:creationId xmlns:a16="http://schemas.microsoft.com/office/drawing/2014/main" id="{0420FACA-87F9-1F4E-BAA8-F27B219E774B}"/>
              </a:ext>
            </a:extLst>
          </p:cNvPr>
          <p:cNvGrpSpPr/>
          <p:nvPr/>
        </p:nvGrpSpPr>
        <p:grpSpPr>
          <a:xfrm>
            <a:off x="7255395" y="4416979"/>
            <a:ext cx="1625933" cy="1674760"/>
            <a:chOff x="575693" y="4105536"/>
            <a:chExt cx="1625933" cy="1674760"/>
          </a:xfrm>
        </p:grpSpPr>
        <p:sp>
          <p:nvSpPr>
            <p:cNvPr id="24" name="TextBox 23">
              <a:extLst>
                <a:ext uri="{FF2B5EF4-FFF2-40B4-BE49-F238E27FC236}">
                  <a16:creationId xmlns:a16="http://schemas.microsoft.com/office/drawing/2014/main" id="{A4362545-24DA-0645-BE73-F6B5E6B6C0BF}"/>
                </a:ext>
              </a:extLst>
            </p:cNvPr>
            <p:cNvSpPr txBox="1"/>
            <p:nvPr/>
          </p:nvSpPr>
          <p:spPr>
            <a:xfrm>
              <a:off x="578400" y="4395301"/>
              <a:ext cx="1617335" cy="1384995"/>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r>
                <a:rPr lang="en-US" altLang="ko-KR" sz="1200">
                  <a:solidFill>
                    <a:schemeClr val="tx1">
                      <a:lumMod val="75000"/>
                      <a:lumOff val="25000"/>
                    </a:schemeClr>
                  </a:solidFill>
                  <a:ea typeface="FZShuTi" pitchFamily="2" charset="-122"/>
                  <a:cs typeface="Arial" pitchFamily="34" charset="0"/>
                </a:rPr>
                <a:t>I hope and I believe that this Template will your Time.</a:t>
              </a:r>
              <a:endParaRPr lang="en-US" altLang="ko-KR" sz="1200">
                <a:solidFill>
                  <a:schemeClr val="tx1">
                    <a:lumMod val="75000"/>
                    <a:lumOff val="25000"/>
                  </a:schemeClr>
                </a:solidFill>
                <a:cs typeface="Arial" pitchFamily="34" charset="0"/>
              </a:endParaRPr>
            </a:p>
          </p:txBody>
        </p:sp>
        <p:sp>
          <p:nvSpPr>
            <p:cNvPr id="25" name="TextBox 24">
              <a:extLst>
                <a:ext uri="{FF2B5EF4-FFF2-40B4-BE49-F238E27FC236}">
                  <a16:creationId xmlns:a16="http://schemas.microsoft.com/office/drawing/2014/main" id="{E88F8BF0-DBCB-FD48-BB0A-AB7DD56E16BC}"/>
                </a:ext>
              </a:extLst>
            </p:cNvPr>
            <p:cNvSpPr txBox="1"/>
            <p:nvPr/>
          </p:nvSpPr>
          <p:spPr>
            <a:xfrm>
              <a:off x="575693" y="4105536"/>
              <a:ext cx="1625933" cy="307777"/>
            </a:xfrm>
            <a:prstGeom prst="rect">
              <a:avLst/>
            </a:prstGeom>
            <a:noFill/>
          </p:spPr>
          <p:txBody>
            <a:bodyPr wrap="square" lIns="108000" rIns="108000" rtlCol="0">
              <a:spAutoFit/>
            </a:bodyPr>
            <a:lstStyle/>
            <a:p>
              <a:pPr algn="ctr"/>
              <a:r>
                <a:rPr lang="en-US" altLang="ko-KR" sz="1400" b="1">
                  <a:solidFill>
                    <a:schemeClr val="tx1">
                      <a:lumMod val="75000"/>
                      <a:lumOff val="25000"/>
                    </a:schemeClr>
                  </a:solidFill>
                  <a:cs typeface="Arial" pitchFamily="34" charset="0"/>
                </a:rPr>
                <a:t>Contents</a:t>
              </a:r>
              <a:endParaRPr lang="ko-KR" altLang="en-US" sz="1400" b="1">
                <a:solidFill>
                  <a:schemeClr val="tx1">
                    <a:lumMod val="75000"/>
                    <a:lumOff val="25000"/>
                  </a:schemeClr>
                </a:solidFill>
                <a:cs typeface="Arial" pitchFamily="34" charset="0"/>
              </a:endParaRPr>
            </a:p>
          </p:txBody>
        </p:sp>
      </p:grpSp>
      <p:sp>
        <p:nvSpPr>
          <p:cNvPr id="26" name="막힌 원호 3">
            <a:extLst>
              <a:ext uri="{FF2B5EF4-FFF2-40B4-BE49-F238E27FC236}">
                <a16:creationId xmlns:a16="http://schemas.microsoft.com/office/drawing/2014/main" id="{A4194D57-01ED-C14D-ADA5-9F2D329A3D7B}"/>
              </a:ext>
            </a:extLst>
          </p:cNvPr>
          <p:cNvSpPr/>
          <p:nvPr/>
        </p:nvSpPr>
        <p:spPr>
          <a:xfrm>
            <a:off x="1147577" y="1966265"/>
            <a:ext cx="2016000" cy="2016000"/>
          </a:xfrm>
          <a:prstGeom prst="blockArc">
            <a:avLst>
              <a:gd name="adj1" fmla="val 10800000"/>
              <a:gd name="adj2" fmla="val 0"/>
              <a:gd name="adj3" fmla="val 26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27" name="막힌 원호 38">
            <a:extLst>
              <a:ext uri="{FF2B5EF4-FFF2-40B4-BE49-F238E27FC236}">
                <a16:creationId xmlns:a16="http://schemas.microsoft.com/office/drawing/2014/main" id="{EE197385-0209-5B43-B976-C01E793B84D6}"/>
              </a:ext>
            </a:extLst>
          </p:cNvPr>
          <p:cNvSpPr/>
          <p:nvPr/>
        </p:nvSpPr>
        <p:spPr>
          <a:xfrm rot="10800000">
            <a:off x="3112770" y="1966265"/>
            <a:ext cx="2016000" cy="2016000"/>
          </a:xfrm>
          <a:prstGeom prst="blockArc">
            <a:avLst>
              <a:gd name="adj1" fmla="val 10800000"/>
              <a:gd name="adj2" fmla="val 0"/>
              <a:gd name="adj3" fmla="val 26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28" name="막힌 원호 39">
            <a:extLst>
              <a:ext uri="{FF2B5EF4-FFF2-40B4-BE49-F238E27FC236}">
                <a16:creationId xmlns:a16="http://schemas.microsoft.com/office/drawing/2014/main" id="{0CDD71A5-DEBE-144A-89B7-6757DE479AE2}"/>
              </a:ext>
            </a:extLst>
          </p:cNvPr>
          <p:cNvSpPr/>
          <p:nvPr/>
        </p:nvSpPr>
        <p:spPr>
          <a:xfrm>
            <a:off x="5077963" y="1966265"/>
            <a:ext cx="2016000" cy="2016000"/>
          </a:xfrm>
          <a:prstGeom prst="blockArc">
            <a:avLst>
              <a:gd name="adj1" fmla="val 10800000"/>
              <a:gd name="adj2" fmla="val 0"/>
              <a:gd name="adj3" fmla="val 267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29" name="막힌 원호 40">
            <a:extLst>
              <a:ext uri="{FF2B5EF4-FFF2-40B4-BE49-F238E27FC236}">
                <a16:creationId xmlns:a16="http://schemas.microsoft.com/office/drawing/2014/main" id="{A53C2078-DD61-9F49-BB66-B678E6AA0ED1}"/>
              </a:ext>
            </a:extLst>
          </p:cNvPr>
          <p:cNvSpPr/>
          <p:nvPr/>
        </p:nvSpPr>
        <p:spPr>
          <a:xfrm rot="10800000">
            <a:off x="7043155" y="1966265"/>
            <a:ext cx="2016000" cy="2016000"/>
          </a:xfrm>
          <a:prstGeom prst="blockArc">
            <a:avLst>
              <a:gd name="adj1" fmla="val 10800000"/>
              <a:gd name="adj2" fmla="val 0"/>
              <a:gd name="adj3" fmla="val 2676"/>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30" name="Group 29">
            <a:extLst>
              <a:ext uri="{FF2B5EF4-FFF2-40B4-BE49-F238E27FC236}">
                <a16:creationId xmlns:a16="http://schemas.microsoft.com/office/drawing/2014/main" id="{FAD3D8A4-96E5-2843-8589-765C2D03A390}"/>
              </a:ext>
            </a:extLst>
          </p:cNvPr>
          <p:cNvGrpSpPr/>
          <p:nvPr/>
        </p:nvGrpSpPr>
        <p:grpSpPr>
          <a:xfrm>
            <a:off x="7929833" y="3800822"/>
            <a:ext cx="288032" cy="288032"/>
            <a:chOff x="1475656" y="1654935"/>
            <a:chExt cx="288032" cy="288032"/>
          </a:xfrm>
        </p:grpSpPr>
        <p:sp>
          <p:nvSpPr>
            <p:cNvPr id="31" name="Oval 30">
              <a:extLst>
                <a:ext uri="{FF2B5EF4-FFF2-40B4-BE49-F238E27FC236}">
                  <a16:creationId xmlns:a16="http://schemas.microsoft.com/office/drawing/2014/main" id="{5C29CF7F-B646-AA47-A4BA-F583B8156F8B}"/>
                </a:ext>
              </a:extLst>
            </p:cNvPr>
            <p:cNvSpPr/>
            <p:nvPr/>
          </p:nvSpPr>
          <p:spPr>
            <a:xfrm>
              <a:off x="1475656" y="1654935"/>
              <a:ext cx="288032" cy="288032"/>
            </a:xfrm>
            <a:prstGeom prst="ellipse">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2" name="Flowchart: Extract 25">
              <a:extLst>
                <a:ext uri="{FF2B5EF4-FFF2-40B4-BE49-F238E27FC236}">
                  <a16:creationId xmlns:a16="http://schemas.microsoft.com/office/drawing/2014/main" id="{F49ADEFE-4A03-1140-971C-E1A04F1E9187}"/>
                </a:ext>
              </a:extLst>
            </p:cNvPr>
            <p:cNvSpPr/>
            <p:nvPr/>
          </p:nvSpPr>
          <p:spPr>
            <a:xfrm rot="5400000">
              <a:off x="1575197" y="1744951"/>
              <a:ext cx="108000" cy="108000"/>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1"/>
                </a:solidFill>
              </a:endParaRPr>
            </a:p>
          </p:txBody>
        </p:sp>
      </p:grpSp>
      <p:grpSp>
        <p:nvGrpSpPr>
          <p:cNvPr id="33" name="Group 32">
            <a:extLst>
              <a:ext uri="{FF2B5EF4-FFF2-40B4-BE49-F238E27FC236}">
                <a16:creationId xmlns:a16="http://schemas.microsoft.com/office/drawing/2014/main" id="{45AC1D33-E39E-6A4A-A908-27043CCCDE32}"/>
              </a:ext>
            </a:extLst>
          </p:cNvPr>
          <p:cNvGrpSpPr/>
          <p:nvPr/>
        </p:nvGrpSpPr>
        <p:grpSpPr>
          <a:xfrm>
            <a:off x="1987077" y="1850824"/>
            <a:ext cx="288032" cy="288032"/>
            <a:chOff x="1475656" y="1654935"/>
            <a:chExt cx="288032" cy="288032"/>
          </a:xfrm>
        </p:grpSpPr>
        <p:sp>
          <p:nvSpPr>
            <p:cNvPr id="34" name="Oval 33">
              <a:extLst>
                <a:ext uri="{FF2B5EF4-FFF2-40B4-BE49-F238E27FC236}">
                  <a16:creationId xmlns:a16="http://schemas.microsoft.com/office/drawing/2014/main" id="{2B3C88BB-7980-CD48-A1C9-9F0F9FF01F53}"/>
                </a:ext>
              </a:extLst>
            </p:cNvPr>
            <p:cNvSpPr/>
            <p:nvPr/>
          </p:nvSpPr>
          <p:spPr>
            <a:xfrm>
              <a:off x="1475656" y="1654935"/>
              <a:ext cx="288032" cy="288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 name="Flowchart: Extract 28">
              <a:extLst>
                <a:ext uri="{FF2B5EF4-FFF2-40B4-BE49-F238E27FC236}">
                  <a16:creationId xmlns:a16="http://schemas.microsoft.com/office/drawing/2014/main" id="{5D4BF9C0-7DB2-5E4D-9629-E1B3B0FFAB26}"/>
                </a:ext>
              </a:extLst>
            </p:cNvPr>
            <p:cNvSpPr/>
            <p:nvPr/>
          </p:nvSpPr>
          <p:spPr>
            <a:xfrm rot="5400000">
              <a:off x="1575197" y="1744951"/>
              <a:ext cx="108000" cy="108000"/>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1"/>
                </a:solidFill>
              </a:endParaRPr>
            </a:p>
          </p:txBody>
        </p:sp>
      </p:grpSp>
      <p:grpSp>
        <p:nvGrpSpPr>
          <p:cNvPr id="36" name="Group 35">
            <a:extLst>
              <a:ext uri="{FF2B5EF4-FFF2-40B4-BE49-F238E27FC236}">
                <a16:creationId xmlns:a16="http://schemas.microsoft.com/office/drawing/2014/main" id="{D068C0F9-EBE5-D746-8096-31B7B3BC73C7}"/>
              </a:ext>
            </a:extLst>
          </p:cNvPr>
          <p:cNvGrpSpPr/>
          <p:nvPr/>
        </p:nvGrpSpPr>
        <p:grpSpPr>
          <a:xfrm>
            <a:off x="3988443" y="3793049"/>
            <a:ext cx="288032" cy="288032"/>
            <a:chOff x="1475656" y="1654935"/>
            <a:chExt cx="288032" cy="288032"/>
          </a:xfrm>
        </p:grpSpPr>
        <p:sp>
          <p:nvSpPr>
            <p:cNvPr id="37" name="Oval 36">
              <a:extLst>
                <a:ext uri="{FF2B5EF4-FFF2-40B4-BE49-F238E27FC236}">
                  <a16:creationId xmlns:a16="http://schemas.microsoft.com/office/drawing/2014/main" id="{D49FA2DC-C82A-BA41-8162-21E93E3F695E}"/>
                </a:ext>
              </a:extLst>
            </p:cNvPr>
            <p:cNvSpPr/>
            <p:nvPr/>
          </p:nvSpPr>
          <p:spPr>
            <a:xfrm>
              <a:off x="1475656" y="1654935"/>
              <a:ext cx="288032"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8" name="Flowchart: Extract 31">
              <a:extLst>
                <a:ext uri="{FF2B5EF4-FFF2-40B4-BE49-F238E27FC236}">
                  <a16:creationId xmlns:a16="http://schemas.microsoft.com/office/drawing/2014/main" id="{86A6B954-1BD1-2541-96DA-B2CCA886D16A}"/>
                </a:ext>
              </a:extLst>
            </p:cNvPr>
            <p:cNvSpPr/>
            <p:nvPr/>
          </p:nvSpPr>
          <p:spPr>
            <a:xfrm rot="5400000">
              <a:off x="1575197" y="1744951"/>
              <a:ext cx="108000" cy="108000"/>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1"/>
                </a:solidFill>
              </a:endParaRPr>
            </a:p>
          </p:txBody>
        </p:sp>
      </p:grpSp>
      <p:grpSp>
        <p:nvGrpSpPr>
          <p:cNvPr id="39" name="Group 38">
            <a:extLst>
              <a:ext uri="{FF2B5EF4-FFF2-40B4-BE49-F238E27FC236}">
                <a16:creationId xmlns:a16="http://schemas.microsoft.com/office/drawing/2014/main" id="{DBBD475B-647A-7044-A512-0A1197B34F04}"/>
              </a:ext>
            </a:extLst>
          </p:cNvPr>
          <p:cNvGrpSpPr/>
          <p:nvPr/>
        </p:nvGrpSpPr>
        <p:grpSpPr>
          <a:xfrm>
            <a:off x="5928466" y="1860349"/>
            <a:ext cx="288032" cy="288032"/>
            <a:chOff x="1475656" y="1654935"/>
            <a:chExt cx="288032" cy="288032"/>
          </a:xfrm>
        </p:grpSpPr>
        <p:sp>
          <p:nvSpPr>
            <p:cNvPr id="40" name="Oval 39">
              <a:extLst>
                <a:ext uri="{FF2B5EF4-FFF2-40B4-BE49-F238E27FC236}">
                  <a16:creationId xmlns:a16="http://schemas.microsoft.com/office/drawing/2014/main" id="{D5646FFF-0C39-1945-9999-BF7775DE853D}"/>
                </a:ext>
              </a:extLst>
            </p:cNvPr>
            <p:cNvSpPr/>
            <p:nvPr/>
          </p:nvSpPr>
          <p:spPr>
            <a:xfrm>
              <a:off x="1475656" y="1654935"/>
              <a:ext cx="288032" cy="2880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1" name="Flowchart: Extract 34">
              <a:extLst>
                <a:ext uri="{FF2B5EF4-FFF2-40B4-BE49-F238E27FC236}">
                  <a16:creationId xmlns:a16="http://schemas.microsoft.com/office/drawing/2014/main" id="{95A8C183-94D8-F74C-B5C1-D4EB3DFB1A0B}"/>
                </a:ext>
              </a:extLst>
            </p:cNvPr>
            <p:cNvSpPr/>
            <p:nvPr/>
          </p:nvSpPr>
          <p:spPr>
            <a:xfrm rot="5400000">
              <a:off x="1575197" y="1744951"/>
              <a:ext cx="108000" cy="108000"/>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1"/>
                </a:solidFill>
              </a:endParaRPr>
            </a:p>
          </p:txBody>
        </p:sp>
      </p:grpSp>
      <p:sp>
        <p:nvSpPr>
          <p:cNvPr id="42" name="Oval 61">
            <a:extLst>
              <a:ext uri="{FF2B5EF4-FFF2-40B4-BE49-F238E27FC236}">
                <a16:creationId xmlns:a16="http://schemas.microsoft.com/office/drawing/2014/main" id="{9849549E-DAA1-0C48-9D23-B7FE8BA66212}"/>
              </a:ext>
            </a:extLst>
          </p:cNvPr>
          <p:cNvSpPr/>
          <p:nvPr/>
        </p:nvSpPr>
        <p:spPr>
          <a:xfrm>
            <a:off x="9550524" y="2542488"/>
            <a:ext cx="866378" cy="86637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nvGrpSpPr>
          <p:cNvPr id="43" name="Group 69">
            <a:extLst>
              <a:ext uri="{FF2B5EF4-FFF2-40B4-BE49-F238E27FC236}">
                <a16:creationId xmlns:a16="http://schemas.microsoft.com/office/drawing/2014/main" id="{81EA0F44-1146-9A4B-9102-D8FBD6123ADF}"/>
              </a:ext>
            </a:extLst>
          </p:cNvPr>
          <p:cNvGrpSpPr/>
          <p:nvPr/>
        </p:nvGrpSpPr>
        <p:grpSpPr>
          <a:xfrm>
            <a:off x="9224959" y="4416979"/>
            <a:ext cx="1625933" cy="1674760"/>
            <a:chOff x="575693" y="4105536"/>
            <a:chExt cx="1625933" cy="1674760"/>
          </a:xfrm>
        </p:grpSpPr>
        <p:sp>
          <p:nvSpPr>
            <p:cNvPr id="44" name="TextBox 43">
              <a:extLst>
                <a:ext uri="{FF2B5EF4-FFF2-40B4-BE49-F238E27FC236}">
                  <a16:creationId xmlns:a16="http://schemas.microsoft.com/office/drawing/2014/main" id="{C0F6E05C-E71C-1949-9F0B-42080CDCEA3A}"/>
                </a:ext>
              </a:extLst>
            </p:cNvPr>
            <p:cNvSpPr txBox="1"/>
            <p:nvPr/>
          </p:nvSpPr>
          <p:spPr>
            <a:xfrm>
              <a:off x="578400" y="4395301"/>
              <a:ext cx="1617335" cy="1384995"/>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 </a:t>
              </a:r>
              <a:r>
                <a:rPr lang="en-US" altLang="ko-KR" sz="1200">
                  <a:solidFill>
                    <a:schemeClr val="tx1">
                      <a:lumMod val="75000"/>
                      <a:lumOff val="25000"/>
                    </a:schemeClr>
                  </a:solidFill>
                  <a:ea typeface="FZShuTi" pitchFamily="2" charset="-122"/>
                  <a:cs typeface="Arial" pitchFamily="34" charset="0"/>
                </a:rPr>
                <a:t>I hope and I believe that this Template will your Time.</a:t>
              </a:r>
              <a:endParaRPr lang="en-US" altLang="ko-KR" sz="1200">
                <a:solidFill>
                  <a:schemeClr val="tx1">
                    <a:lumMod val="75000"/>
                    <a:lumOff val="25000"/>
                  </a:schemeClr>
                </a:solidFill>
                <a:cs typeface="Arial" pitchFamily="34" charset="0"/>
              </a:endParaRPr>
            </a:p>
          </p:txBody>
        </p:sp>
        <p:sp>
          <p:nvSpPr>
            <p:cNvPr id="45" name="TextBox 44">
              <a:extLst>
                <a:ext uri="{FF2B5EF4-FFF2-40B4-BE49-F238E27FC236}">
                  <a16:creationId xmlns:a16="http://schemas.microsoft.com/office/drawing/2014/main" id="{BFF6D909-AA87-1F4D-8A84-0AD4DC0A2DFE}"/>
                </a:ext>
              </a:extLst>
            </p:cNvPr>
            <p:cNvSpPr txBox="1"/>
            <p:nvPr/>
          </p:nvSpPr>
          <p:spPr>
            <a:xfrm>
              <a:off x="575693" y="4105536"/>
              <a:ext cx="1625933" cy="307777"/>
            </a:xfrm>
            <a:prstGeom prst="rect">
              <a:avLst/>
            </a:prstGeom>
            <a:noFill/>
          </p:spPr>
          <p:txBody>
            <a:bodyPr wrap="square" lIns="108000" rIns="108000" rtlCol="0">
              <a:spAutoFit/>
            </a:bodyPr>
            <a:lstStyle/>
            <a:p>
              <a:pPr algn="ctr"/>
              <a:r>
                <a:rPr lang="en-US" altLang="ko-KR" sz="1400" b="1">
                  <a:solidFill>
                    <a:schemeClr val="tx1">
                      <a:lumMod val="75000"/>
                      <a:lumOff val="25000"/>
                    </a:schemeClr>
                  </a:solidFill>
                  <a:cs typeface="Arial" pitchFamily="34" charset="0"/>
                </a:rPr>
                <a:t>Contents</a:t>
              </a:r>
              <a:endParaRPr lang="ko-KR" altLang="en-US" sz="1400" b="1">
                <a:solidFill>
                  <a:schemeClr val="tx1">
                    <a:lumMod val="75000"/>
                    <a:lumOff val="25000"/>
                  </a:schemeClr>
                </a:solidFill>
                <a:cs typeface="Arial" pitchFamily="34" charset="0"/>
              </a:endParaRPr>
            </a:p>
          </p:txBody>
        </p:sp>
      </p:grpSp>
      <p:sp>
        <p:nvSpPr>
          <p:cNvPr id="46" name="막힌 원호 46">
            <a:extLst>
              <a:ext uri="{FF2B5EF4-FFF2-40B4-BE49-F238E27FC236}">
                <a16:creationId xmlns:a16="http://schemas.microsoft.com/office/drawing/2014/main" id="{DB365EB1-F695-E34D-859E-D04E1B51CD9D}"/>
              </a:ext>
            </a:extLst>
          </p:cNvPr>
          <p:cNvSpPr/>
          <p:nvPr/>
        </p:nvSpPr>
        <p:spPr>
          <a:xfrm>
            <a:off x="8998395" y="1966265"/>
            <a:ext cx="2016000" cy="2016000"/>
          </a:xfrm>
          <a:prstGeom prst="blockArc">
            <a:avLst>
              <a:gd name="adj1" fmla="val 10800000"/>
              <a:gd name="adj2" fmla="val 0"/>
              <a:gd name="adj3" fmla="val 267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47" name="Group 54">
            <a:extLst>
              <a:ext uri="{FF2B5EF4-FFF2-40B4-BE49-F238E27FC236}">
                <a16:creationId xmlns:a16="http://schemas.microsoft.com/office/drawing/2014/main" id="{543D3A54-27DC-9D4E-931C-150D41C0E6A0}"/>
              </a:ext>
            </a:extLst>
          </p:cNvPr>
          <p:cNvGrpSpPr/>
          <p:nvPr/>
        </p:nvGrpSpPr>
        <p:grpSpPr>
          <a:xfrm>
            <a:off x="9848898" y="1860349"/>
            <a:ext cx="288032" cy="288032"/>
            <a:chOff x="1475656" y="1654935"/>
            <a:chExt cx="288032" cy="288032"/>
          </a:xfrm>
        </p:grpSpPr>
        <p:sp>
          <p:nvSpPr>
            <p:cNvPr id="48" name="Oval 55">
              <a:extLst>
                <a:ext uri="{FF2B5EF4-FFF2-40B4-BE49-F238E27FC236}">
                  <a16:creationId xmlns:a16="http://schemas.microsoft.com/office/drawing/2014/main" id="{8B8F4FA6-F1E9-644F-A43F-F47F4E74F00C}"/>
                </a:ext>
              </a:extLst>
            </p:cNvPr>
            <p:cNvSpPr/>
            <p:nvPr/>
          </p:nvSpPr>
          <p:spPr>
            <a:xfrm>
              <a:off x="1475656" y="1654935"/>
              <a:ext cx="288032" cy="2880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9" name="Flowchart: Extract 56">
              <a:extLst>
                <a:ext uri="{FF2B5EF4-FFF2-40B4-BE49-F238E27FC236}">
                  <a16:creationId xmlns:a16="http://schemas.microsoft.com/office/drawing/2014/main" id="{D11906EA-0126-5F4E-8B11-BA88AEF307EC}"/>
                </a:ext>
              </a:extLst>
            </p:cNvPr>
            <p:cNvSpPr/>
            <p:nvPr/>
          </p:nvSpPr>
          <p:spPr>
            <a:xfrm rot="5400000">
              <a:off x="1575197" y="1744951"/>
              <a:ext cx="108000" cy="108000"/>
            </a:xfrm>
            <a:prstGeom prst="flowChartExtra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1"/>
                </a:solidFill>
              </a:endParaRPr>
            </a:p>
          </p:txBody>
        </p:sp>
      </p:grpSp>
      <p:sp>
        <p:nvSpPr>
          <p:cNvPr id="50" name="Isosceles Triangle 51">
            <a:extLst>
              <a:ext uri="{FF2B5EF4-FFF2-40B4-BE49-F238E27FC236}">
                <a16:creationId xmlns:a16="http://schemas.microsoft.com/office/drawing/2014/main" id="{9364EDE5-248D-8B43-8C6D-4B633FF42834}"/>
              </a:ext>
            </a:extLst>
          </p:cNvPr>
          <p:cNvSpPr/>
          <p:nvPr/>
        </p:nvSpPr>
        <p:spPr>
          <a:xfrm>
            <a:off x="1980032" y="2842429"/>
            <a:ext cx="333042" cy="244221"/>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1" name="Rounded Rectangle 6">
            <a:extLst>
              <a:ext uri="{FF2B5EF4-FFF2-40B4-BE49-F238E27FC236}">
                <a16:creationId xmlns:a16="http://schemas.microsoft.com/office/drawing/2014/main" id="{913B04BB-BCF3-2740-A68B-1BE7AB9E2195}"/>
              </a:ext>
            </a:extLst>
          </p:cNvPr>
          <p:cNvSpPr/>
          <p:nvPr/>
        </p:nvSpPr>
        <p:spPr>
          <a:xfrm>
            <a:off x="3939112" y="2812942"/>
            <a:ext cx="345998" cy="351772"/>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2" name="Teardrop 1">
            <a:extLst>
              <a:ext uri="{FF2B5EF4-FFF2-40B4-BE49-F238E27FC236}">
                <a16:creationId xmlns:a16="http://schemas.microsoft.com/office/drawing/2014/main" id="{D97E5F1E-581B-E847-B372-AC2DE899A2AE}"/>
              </a:ext>
            </a:extLst>
          </p:cNvPr>
          <p:cNvSpPr/>
          <p:nvPr/>
        </p:nvSpPr>
        <p:spPr>
          <a:xfrm rot="18805991">
            <a:off x="5875166" y="2787598"/>
            <a:ext cx="376862" cy="37293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53" name="Rounded Rectangle 27">
            <a:extLst>
              <a:ext uri="{FF2B5EF4-FFF2-40B4-BE49-F238E27FC236}">
                <a16:creationId xmlns:a16="http://schemas.microsoft.com/office/drawing/2014/main" id="{4D263605-A76E-F149-AE3A-ACD609E93FBD}"/>
              </a:ext>
            </a:extLst>
          </p:cNvPr>
          <p:cNvSpPr/>
          <p:nvPr/>
        </p:nvSpPr>
        <p:spPr>
          <a:xfrm>
            <a:off x="7843200" y="2820571"/>
            <a:ext cx="346396" cy="266079"/>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4" name="Rounded Rectangle 7">
            <a:extLst>
              <a:ext uri="{FF2B5EF4-FFF2-40B4-BE49-F238E27FC236}">
                <a16:creationId xmlns:a16="http://schemas.microsoft.com/office/drawing/2014/main" id="{4C625F65-2BE8-1945-A524-89E0A0C37CCA}"/>
              </a:ext>
            </a:extLst>
          </p:cNvPr>
          <p:cNvSpPr/>
          <p:nvPr/>
        </p:nvSpPr>
        <p:spPr>
          <a:xfrm>
            <a:off x="9826351" y="2812942"/>
            <a:ext cx="352176" cy="303924"/>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21273017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B8A5CD8B-674F-734C-BDD4-210175A5CBB3}"/>
              </a:ext>
            </a:extLst>
          </p:cNvPr>
          <p:cNvGraphicFramePr>
            <a:graphicFrameLocks noChangeAspect="1"/>
          </p:cNvGraphicFramePr>
          <p:nvPr>
            <p:custDataLst>
              <p:tags r:id="rId1"/>
            </p:custDataLst>
            <p:extLst>
              <p:ext uri="{D42A27DB-BD31-4B8C-83A1-F6EECF244321}">
                <p14:modId xmlns:p14="http://schemas.microsoft.com/office/powerpoint/2010/main" val="295428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1" name="Object 40" hidden="1">
                        <a:extLst>
                          <a:ext uri="{FF2B5EF4-FFF2-40B4-BE49-F238E27FC236}">
                            <a16:creationId xmlns:a16="http://schemas.microsoft.com/office/drawing/2014/main" id="{B8A5CD8B-674F-734C-BDD4-210175A5CBB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9E3FB55-D6FD-CA47-B05E-5389B78505C8}"/>
              </a:ext>
            </a:extLst>
          </p:cNvPr>
          <p:cNvSpPr>
            <a:spLocks noGrp="1"/>
          </p:cNvSpPr>
          <p:nvPr>
            <p:ph type="sldNum" sz="quarter" idx="4"/>
          </p:nvPr>
        </p:nvSpPr>
        <p:spPr/>
        <p:txBody>
          <a:bodyPr/>
          <a:lstStyle/>
          <a:p>
            <a:fld id="{3D966009-6E5A-4F8C-8CA7-E37AFBF5FB92}" type="slidenum">
              <a:rPr lang="en-US" smtClean="0"/>
              <a:t>149</a:t>
            </a:fld>
            <a:endParaRPr lang="en-US"/>
          </a:p>
        </p:txBody>
      </p:sp>
      <p:sp>
        <p:nvSpPr>
          <p:cNvPr id="3" name="Title 2">
            <a:extLst>
              <a:ext uri="{FF2B5EF4-FFF2-40B4-BE49-F238E27FC236}">
                <a16:creationId xmlns:a16="http://schemas.microsoft.com/office/drawing/2014/main" id="{26E56F7F-D053-D942-8824-CBD3D304A20C}"/>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372E581-8510-C047-9756-5F61A4A4341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E2FF49C6-E690-7449-9948-840FCC0A6B5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43D0D6E2-5EDA-B84C-953B-9C4FF95B218A}"/>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456E918A-924B-DF45-950D-4961A65D5388}"/>
              </a:ext>
            </a:extLst>
          </p:cNvPr>
          <p:cNvSpPr>
            <a:spLocks noGrp="1"/>
          </p:cNvSpPr>
          <p:nvPr>
            <p:ph sz="quarter" idx="14"/>
          </p:nvPr>
        </p:nvSpPr>
        <p:spPr/>
        <p:txBody>
          <a:bodyPr/>
          <a:lstStyle/>
          <a:p>
            <a:endParaRPr lang="en-GB"/>
          </a:p>
        </p:txBody>
      </p:sp>
      <p:grpSp>
        <p:nvGrpSpPr>
          <p:cNvPr id="40" name="Group 39">
            <a:extLst>
              <a:ext uri="{FF2B5EF4-FFF2-40B4-BE49-F238E27FC236}">
                <a16:creationId xmlns:a16="http://schemas.microsoft.com/office/drawing/2014/main" id="{5976F874-EAFF-C147-8D64-C12817D60DFF}"/>
              </a:ext>
            </a:extLst>
          </p:cNvPr>
          <p:cNvGrpSpPr/>
          <p:nvPr/>
        </p:nvGrpSpPr>
        <p:grpSpPr>
          <a:xfrm>
            <a:off x="1019840" y="1716999"/>
            <a:ext cx="10203556" cy="4140966"/>
            <a:chOff x="1019840" y="1716999"/>
            <a:chExt cx="10203556" cy="4140966"/>
          </a:xfrm>
        </p:grpSpPr>
        <p:grpSp>
          <p:nvGrpSpPr>
            <p:cNvPr id="9" name="Group 8">
              <a:extLst>
                <a:ext uri="{FF2B5EF4-FFF2-40B4-BE49-F238E27FC236}">
                  <a16:creationId xmlns:a16="http://schemas.microsoft.com/office/drawing/2014/main" id="{D072A868-005A-1F4B-8E18-C93195A8BAD2}"/>
                </a:ext>
              </a:extLst>
            </p:cNvPr>
            <p:cNvGrpSpPr/>
            <p:nvPr/>
          </p:nvGrpSpPr>
          <p:grpSpPr>
            <a:xfrm>
              <a:off x="5395798" y="1716999"/>
              <a:ext cx="1388436" cy="4140966"/>
              <a:chOff x="3871798" y="1672614"/>
              <a:chExt cx="1388436" cy="4140966"/>
            </a:xfrm>
          </p:grpSpPr>
          <p:sp>
            <p:nvSpPr>
              <p:cNvPr id="10" name="Arc 9">
                <a:extLst>
                  <a:ext uri="{FF2B5EF4-FFF2-40B4-BE49-F238E27FC236}">
                    <a16:creationId xmlns:a16="http://schemas.microsoft.com/office/drawing/2014/main" id="{0DA2D218-67FD-024A-A7D8-57DC47F84143}"/>
                  </a:ext>
                </a:extLst>
              </p:cNvPr>
              <p:cNvSpPr/>
              <p:nvPr/>
            </p:nvSpPr>
            <p:spPr>
              <a:xfrm>
                <a:off x="3883766" y="4437112"/>
                <a:ext cx="1376468" cy="1376468"/>
              </a:xfrm>
              <a:prstGeom prst="arc">
                <a:avLst>
                  <a:gd name="adj1" fmla="val 3657515"/>
                  <a:gd name="adj2" fmla="val 15912259"/>
                </a:avLst>
              </a:prstGeom>
              <a:ln w="165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1" name="Arc 10">
                <a:extLst>
                  <a:ext uri="{FF2B5EF4-FFF2-40B4-BE49-F238E27FC236}">
                    <a16:creationId xmlns:a16="http://schemas.microsoft.com/office/drawing/2014/main" id="{C817F319-4E2A-7544-8EDA-9CD790FB8031}"/>
                  </a:ext>
                </a:extLst>
              </p:cNvPr>
              <p:cNvSpPr/>
              <p:nvPr/>
            </p:nvSpPr>
            <p:spPr>
              <a:xfrm flipH="1">
                <a:off x="3871798" y="3040766"/>
                <a:ext cx="1376468" cy="1376468"/>
              </a:xfrm>
              <a:prstGeom prst="arc">
                <a:avLst>
                  <a:gd name="adj1" fmla="val 5478932"/>
                  <a:gd name="adj2" fmla="val 16740799"/>
                </a:avLst>
              </a:prstGeom>
              <a:ln w="165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2" name="Arc 11">
                <a:extLst>
                  <a:ext uri="{FF2B5EF4-FFF2-40B4-BE49-F238E27FC236}">
                    <a16:creationId xmlns:a16="http://schemas.microsoft.com/office/drawing/2014/main" id="{FDA88D78-D5BF-2744-98E6-86EBD4BDDE5A}"/>
                  </a:ext>
                </a:extLst>
              </p:cNvPr>
              <p:cNvSpPr/>
              <p:nvPr/>
            </p:nvSpPr>
            <p:spPr>
              <a:xfrm>
                <a:off x="3871798" y="1672614"/>
                <a:ext cx="1376468" cy="1376468"/>
              </a:xfrm>
              <a:prstGeom prst="arc">
                <a:avLst>
                  <a:gd name="adj1" fmla="val 6266444"/>
                  <a:gd name="adj2" fmla="val 19078973"/>
                </a:avLst>
              </a:prstGeom>
              <a:ln w="165100">
                <a:solidFill>
                  <a:schemeClr val="accent4"/>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3" name="Oval 12">
                <a:extLst>
                  <a:ext uri="{FF2B5EF4-FFF2-40B4-BE49-F238E27FC236}">
                    <a16:creationId xmlns:a16="http://schemas.microsoft.com/office/drawing/2014/main" id="{0A629A30-9D6B-AA48-8AC7-E118C1F3C342}"/>
                  </a:ext>
                </a:extLst>
              </p:cNvPr>
              <p:cNvSpPr/>
              <p:nvPr/>
            </p:nvSpPr>
            <p:spPr>
              <a:xfrm>
                <a:off x="4139952" y="1928800"/>
                <a:ext cx="864096" cy="8640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4" name="Oval 13">
                <a:extLst>
                  <a:ext uri="{FF2B5EF4-FFF2-40B4-BE49-F238E27FC236}">
                    <a16:creationId xmlns:a16="http://schemas.microsoft.com/office/drawing/2014/main" id="{DD1F1198-86CD-1D4C-994B-82907C6912F4}"/>
                  </a:ext>
                </a:extLst>
              </p:cNvPr>
              <p:cNvSpPr/>
              <p:nvPr/>
            </p:nvSpPr>
            <p:spPr>
              <a:xfrm>
                <a:off x="4139952" y="3296952"/>
                <a:ext cx="864096" cy="864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 name="Oval 14">
                <a:extLst>
                  <a:ext uri="{FF2B5EF4-FFF2-40B4-BE49-F238E27FC236}">
                    <a16:creationId xmlns:a16="http://schemas.microsoft.com/office/drawing/2014/main" id="{9C714DBE-2923-A64E-A0A6-E96E6EAFFC8E}"/>
                  </a:ext>
                </a:extLst>
              </p:cNvPr>
              <p:cNvSpPr/>
              <p:nvPr/>
            </p:nvSpPr>
            <p:spPr>
              <a:xfrm>
                <a:off x="4139952" y="4698776"/>
                <a:ext cx="864096" cy="8640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16" name="그룹 11">
              <a:extLst>
                <a:ext uri="{FF2B5EF4-FFF2-40B4-BE49-F238E27FC236}">
                  <a16:creationId xmlns:a16="http://schemas.microsoft.com/office/drawing/2014/main" id="{B3ABB1C6-DB0C-564E-94E8-2EC0DB78B21F}"/>
                </a:ext>
              </a:extLst>
            </p:cNvPr>
            <p:cNvGrpSpPr/>
            <p:nvPr/>
          </p:nvGrpSpPr>
          <p:grpSpPr>
            <a:xfrm>
              <a:off x="7104112" y="1917350"/>
              <a:ext cx="4119284" cy="936939"/>
              <a:chOff x="7104112" y="2059905"/>
              <a:chExt cx="2952328" cy="936939"/>
            </a:xfrm>
          </p:grpSpPr>
          <p:sp>
            <p:nvSpPr>
              <p:cNvPr id="17" name="TextBox 16">
                <a:extLst>
                  <a:ext uri="{FF2B5EF4-FFF2-40B4-BE49-F238E27FC236}">
                    <a16:creationId xmlns:a16="http://schemas.microsoft.com/office/drawing/2014/main" id="{2C639176-C39F-F840-A399-98F54D6EFAB8}"/>
                  </a:ext>
                </a:extLst>
              </p:cNvPr>
              <p:cNvSpPr txBox="1"/>
              <p:nvPr/>
            </p:nvSpPr>
            <p:spPr>
              <a:xfrm>
                <a:off x="7104112" y="2059905"/>
                <a:ext cx="2952328"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18" name="TextBox 17">
                <a:extLst>
                  <a:ext uri="{FF2B5EF4-FFF2-40B4-BE49-F238E27FC236}">
                    <a16:creationId xmlns:a16="http://schemas.microsoft.com/office/drawing/2014/main" id="{33D50ECE-07B5-0D44-B23C-970E53162AA1}"/>
                  </a:ext>
                </a:extLst>
              </p:cNvPr>
              <p:cNvSpPr txBox="1"/>
              <p:nvPr/>
            </p:nvSpPr>
            <p:spPr>
              <a:xfrm>
                <a:off x="7104112" y="2350513"/>
                <a:ext cx="295232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 </a:t>
                </a:r>
                <a:r>
                  <a:rPr lang="en-US" altLang="ko-KR" sz="1200">
                    <a:solidFill>
                      <a:schemeClr val="tx1">
                        <a:lumMod val="85000"/>
                        <a:lumOff val="15000"/>
                      </a:schemeClr>
                    </a:solidFill>
                    <a:cs typeface="Arial" pitchFamily="34" charset="0"/>
                  </a:rPr>
                  <a:t>Easy to change colors, photos and Text.</a:t>
                </a:r>
                <a:endParaRPr lang="ko-KR" altLang="en-US" sz="1200">
                  <a:solidFill>
                    <a:schemeClr val="tx1">
                      <a:lumMod val="75000"/>
                      <a:lumOff val="25000"/>
                    </a:schemeClr>
                  </a:solidFill>
                  <a:cs typeface="Arial" pitchFamily="34" charset="0"/>
                </a:endParaRPr>
              </a:p>
            </p:txBody>
          </p:sp>
        </p:grpSp>
        <p:sp>
          <p:nvSpPr>
            <p:cNvPr id="19" name="Chevron 5">
              <a:extLst>
                <a:ext uri="{FF2B5EF4-FFF2-40B4-BE49-F238E27FC236}">
                  <a16:creationId xmlns:a16="http://schemas.microsoft.com/office/drawing/2014/main" id="{215DD348-2062-D64D-AF6B-55AEBC5643B0}"/>
                </a:ext>
              </a:extLst>
            </p:cNvPr>
            <p:cNvSpPr/>
            <p:nvPr/>
          </p:nvSpPr>
          <p:spPr>
            <a:xfrm>
              <a:off x="6722082" y="2219899"/>
              <a:ext cx="225640" cy="314542"/>
            </a:xfrm>
            <a:prstGeom prst="chevron">
              <a:avLst>
                <a:gd name="adj" fmla="val 42574"/>
              </a:avLst>
            </a:prstGeom>
            <a:solidFill>
              <a:schemeClr val="accent4">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20" name="그룹 10">
              <a:extLst>
                <a:ext uri="{FF2B5EF4-FFF2-40B4-BE49-F238E27FC236}">
                  <a16:creationId xmlns:a16="http://schemas.microsoft.com/office/drawing/2014/main" id="{2C197AFB-DC5A-E24F-B596-14212B80D40B}"/>
                </a:ext>
              </a:extLst>
            </p:cNvPr>
            <p:cNvGrpSpPr/>
            <p:nvPr/>
          </p:nvGrpSpPr>
          <p:grpSpPr>
            <a:xfrm>
              <a:off x="7104112" y="4693412"/>
              <a:ext cx="4119284" cy="936939"/>
              <a:chOff x="7116163" y="4835965"/>
              <a:chExt cx="2952328" cy="936939"/>
            </a:xfrm>
          </p:grpSpPr>
          <p:sp>
            <p:nvSpPr>
              <p:cNvPr id="21" name="TextBox 20">
                <a:extLst>
                  <a:ext uri="{FF2B5EF4-FFF2-40B4-BE49-F238E27FC236}">
                    <a16:creationId xmlns:a16="http://schemas.microsoft.com/office/drawing/2014/main" id="{CD4E5BA5-3DC8-5840-8C00-3745B11DE06C}"/>
                  </a:ext>
                </a:extLst>
              </p:cNvPr>
              <p:cNvSpPr txBox="1"/>
              <p:nvPr/>
            </p:nvSpPr>
            <p:spPr>
              <a:xfrm>
                <a:off x="7116163" y="4835965"/>
                <a:ext cx="2952328"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2" name="TextBox 21">
                <a:extLst>
                  <a:ext uri="{FF2B5EF4-FFF2-40B4-BE49-F238E27FC236}">
                    <a16:creationId xmlns:a16="http://schemas.microsoft.com/office/drawing/2014/main" id="{F4667D5D-F280-6D41-9282-389E5E59C06A}"/>
                  </a:ext>
                </a:extLst>
              </p:cNvPr>
              <p:cNvSpPr txBox="1"/>
              <p:nvPr/>
            </p:nvSpPr>
            <p:spPr>
              <a:xfrm>
                <a:off x="7116163" y="5126573"/>
                <a:ext cx="2952328"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r>
                  <a:rPr lang="en-US" altLang="ko-KR" sz="1200">
                    <a:solidFill>
                      <a:schemeClr val="tx1">
                        <a:lumMod val="85000"/>
                        <a:lumOff val="15000"/>
                      </a:schemeClr>
                    </a:solidFill>
                    <a:cs typeface="Arial" pitchFamily="34" charset="0"/>
                  </a:rPr>
                  <a:t> Easy to change colors, photos and Text.</a:t>
                </a:r>
                <a:endParaRPr lang="ko-KR" altLang="en-US" sz="1200">
                  <a:solidFill>
                    <a:schemeClr val="tx1">
                      <a:lumMod val="75000"/>
                      <a:lumOff val="25000"/>
                    </a:schemeClr>
                  </a:solidFill>
                  <a:cs typeface="Arial" pitchFamily="34" charset="0"/>
                </a:endParaRPr>
              </a:p>
            </p:txBody>
          </p:sp>
        </p:grpSp>
        <p:sp>
          <p:nvSpPr>
            <p:cNvPr id="23" name="Chevron 67">
              <a:extLst>
                <a:ext uri="{FF2B5EF4-FFF2-40B4-BE49-F238E27FC236}">
                  <a16:creationId xmlns:a16="http://schemas.microsoft.com/office/drawing/2014/main" id="{E6B68FDE-604A-5C41-985E-0C95535DBCF7}"/>
                </a:ext>
              </a:extLst>
            </p:cNvPr>
            <p:cNvSpPr/>
            <p:nvPr/>
          </p:nvSpPr>
          <p:spPr>
            <a:xfrm>
              <a:off x="6734133" y="4995959"/>
              <a:ext cx="225640" cy="314542"/>
            </a:xfrm>
            <a:prstGeom prst="chevron">
              <a:avLst>
                <a:gd name="adj" fmla="val 42574"/>
              </a:avLst>
            </a:prstGeom>
            <a:solidFill>
              <a:schemeClr val="accent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24" name="그룹 12">
              <a:extLst>
                <a:ext uri="{FF2B5EF4-FFF2-40B4-BE49-F238E27FC236}">
                  <a16:creationId xmlns:a16="http://schemas.microsoft.com/office/drawing/2014/main" id="{4487C7DF-B0FF-5D4F-ADB6-168BC56DB413}"/>
                </a:ext>
              </a:extLst>
            </p:cNvPr>
            <p:cNvGrpSpPr/>
            <p:nvPr/>
          </p:nvGrpSpPr>
          <p:grpSpPr>
            <a:xfrm>
              <a:off x="1019840" y="3318789"/>
              <a:ext cx="4119284" cy="936939"/>
              <a:chOff x="2157873" y="3480187"/>
              <a:chExt cx="2952328" cy="936939"/>
            </a:xfrm>
          </p:grpSpPr>
          <p:sp>
            <p:nvSpPr>
              <p:cNvPr id="25" name="TextBox 24">
                <a:extLst>
                  <a:ext uri="{FF2B5EF4-FFF2-40B4-BE49-F238E27FC236}">
                    <a16:creationId xmlns:a16="http://schemas.microsoft.com/office/drawing/2014/main" id="{53473EC4-60DF-4546-B9A5-05E0AEE1302B}"/>
                  </a:ext>
                </a:extLst>
              </p:cNvPr>
              <p:cNvSpPr txBox="1"/>
              <p:nvPr/>
            </p:nvSpPr>
            <p:spPr>
              <a:xfrm>
                <a:off x="2157873" y="3480187"/>
                <a:ext cx="2952328"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6" name="TextBox 25">
                <a:extLst>
                  <a:ext uri="{FF2B5EF4-FFF2-40B4-BE49-F238E27FC236}">
                    <a16:creationId xmlns:a16="http://schemas.microsoft.com/office/drawing/2014/main" id="{3043103D-D9C7-A54C-A8D4-70E8EE03B47A}"/>
                  </a:ext>
                </a:extLst>
              </p:cNvPr>
              <p:cNvSpPr txBox="1"/>
              <p:nvPr/>
            </p:nvSpPr>
            <p:spPr>
              <a:xfrm>
                <a:off x="2157873" y="3770795"/>
                <a:ext cx="2952328"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a:t>
                </a:r>
                <a:r>
                  <a:rPr lang="en-US" altLang="ko-KR" sz="1200">
                    <a:solidFill>
                      <a:schemeClr val="tx1">
                        <a:lumMod val="85000"/>
                        <a:lumOff val="15000"/>
                      </a:schemeClr>
                    </a:solidFill>
                    <a:cs typeface="Arial" pitchFamily="34" charset="0"/>
                  </a:rPr>
                  <a:t> Easy to change colors, photos and Text.</a:t>
                </a:r>
                <a:endParaRPr lang="ko-KR" altLang="en-US" sz="1200">
                  <a:solidFill>
                    <a:schemeClr val="tx1">
                      <a:lumMod val="75000"/>
                      <a:lumOff val="25000"/>
                    </a:schemeClr>
                  </a:solidFill>
                  <a:cs typeface="Arial" pitchFamily="34" charset="0"/>
                </a:endParaRPr>
              </a:p>
            </p:txBody>
          </p:sp>
        </p:grpSp>
        <p:sp>
          <p:nvSpPr>
            <p:cNvPr id="27" name="Chevron 91">
              <a:extLst>
                <a:ext uri="{FF2B5EF4-FFF2-40B4-BE49-F238E27FC236}">
                  <a16:creationId xmlns:a16="http://schemas.microsoft.com/office/drawing/2014/main" id="{928E8B34-D152-F546-B3E9-20EFB23A74AF}"/>
                </a:ext>
              </a:extLst>
            </p:cNvPr>
            <p:cNvSpPr/>
            <p:nvPr/>
          </p:nvSpPr>
          <p:spPr>
            <a:xfrm flipH="1">
              <a:off x="5282978" y="3612857"/>
              <a:ext cx="225640" cy="314542"/>
            </a:xfrm>
            <a:prstGeom prst="chevron">
              <a:avLst>
                <a:gd name="adj" fmla="val 42574"/>
              </a:avLst>
            </a:prstGeom>
            <a:solidFill>
              <a:schemeClr val="accent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28" name="Group 27">
              <a:extLst>
                <a:ext uri="{FF2B5EF4-FFF2-40B4-BE49-F238E27FC236}">
                  <a16:creationId xmlns:a16="http://schemas.microsoft.com/office/drawing/2014/main" id="{2FBF59D8-BD42-A240-9DD9-3F5F772AB082}"/>
                </a:ext>
              </a:extLst>
            </p:cNvPr>
            <p:cNvGrpSpPr/>
            <p:nvPr/>
          </p:nvGrpSpPr>
          <p:grpSpPr>
            <a:xfrm>
              <a:off x="7104112" y="3541035"/>
              <a:ext cx="2857316" cy="502303"/>
              <a:chOff x="5675124" y="3463006"/>
              <a:chExt cx="2857316" cy="502303"/>
            </a:xfrm>
          </p:grpSpPr>
          <p:sp>
            <p:nvSpPr>
              <p:cNvPr id="29" name="TextBox 28">
                <a:extLst>
                  <a:ext uri="{FF2B5EF4-FFF2-40B4-BE49-F238E27FC236}">
                    <a16:creationId xmlns:a16="http://schemas.microsoft.com/office/drawing/2014/main" id="{67A60720-5806-2B4E-925E-E4475109AB04}"/>
                  </a:ext>
                </a:extLst>
              </p:cNvPr>
              <p:cNvSpPr txBox="1"/>
              <p:nvPr/>
            </p:nvSpPr>
            <p:spPr>
              <a:xfrm>
                <a:off x="5675124" y="3463006"/>
                <a:ext cx="719216" cy="492443"/>
              </a:xfrm>
              <a:prstGeom prst="rect">
                <a:avLst/>
              </a:prstGeom>
              <a:noFill/>
            </p:spPr>
            <p:txBody>
              <a:bodyPr wrap="square" lIns="0" tIns="0" rIns="0" bIns="0" rtlCol="0" anchor="ctr">
                <a:spAutoFit/>
              </a:bodyPr>
              <a:lstStyle/>
              <a:p>
                <a:r>
                  <a:rPr lang="en-US" altLang="ko-KR" sz="3200" b="1">
                    <a:solidFill>
                      <a:schemeClr val="accent1"/>
                    </a:solidFill>
                    <a:cs typeface="Arial" pitchFamily="34" charset="0"/>
                  </a:rPr>
                  <a:t>65</a:t>
                </a:r>
                <a:r>
                  <a:rPr lang="en-US" altLang="ko-KR" sz="2000" b="1">
                    <a:solidFill>
                      <a:schemeClr val="accent1"/>
                    </a:solidFill>
                    <a:cs typeface="Arial" pitchFamily="34" charset="0"/>
                  </a:rPr>
                  <a:t>%</a:t>
                </a:r>
                <a:endParaRPr lang="ko-KR" altLang="en-US" sz="2000" b="1">
                  <a:solidFill>
                    <a:schemeClr val="accent1"/>
                  </a:solidFill>
                  <a:cs typeface="Arial" pitchFamily="34" charset="0"/>
                </a:endParaRPr>
              </a:p>
            </p:txBody>
          </p:sp>
          <p:sp>
            <p:nvSpPr>
              <p:cNvPr id="30" name="TextBox 29">
                <a:extLst>
                  <a:ext uri="{FF2B5EF4-FFF2-40B4-BE49-F238E27FC236}">
                    <a16:creationId xmlns:a16="http://schemas.microsoft.com/office/drawing/2014/main" id="{CEC4BCF4-6940-1141-AB4D-2B67C0954E90}"/>
                  </a:ext>
                </a:extLst>
              </p:cNvPr>
              <p:cNvSpPr txBox="1"/>
              <p:nvPr/>
            </p:nvSpPr>
            <p:spPr>
              <a:xfrm>
                <a:off x="6394340" y="3657532"/>
                <a:ext cx="2138100"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31" name="Group 30">
              <a:extLst>
                <a:ext uri="{FF2B5EF4-FFF2-40B4-BE49-F238E27FC236}">
                  <a16:creationId xmlns:a16="http://schemas.microsoft.com/office/drawing/2014/main" id="{F16E055B-3C27-4F41-BAED-8BBE8A043EDC}"/>
                </a:ext>
              </a:extLst>
            </p:cNvPr>
            <p:cNvGrpSpPr/>
            <p:nvPr/>
          </p:nvGrpSpPr>
          <p:grpSpPr>
            <a:xfrm>
              <a:off x="2279578" y="2086497"/>
              <a:ext cx="2859547" cy="492443"/>
              <a:chOff x="755576" y="1993472"/>
              <a:chExt cx="2859547" cy="492443"/>
            </a:xfrm>
          </p:grpSpPr>
          <p:sp>
            <p:nvSpPr>
              <p:cNvPr id="32" name="TextBox 31">
                <a:extLst>
                  <a:ext uri="{FF2B5EF4-FFF2-40B4-BE49-F238E27FC236}">
                    <a16:creationId xmlns:a16="http://schemas.microsoft.com/office/drawing/2014/main" id="{00E5223D-A86B-E248-9173-55C1B9A98BE9}"/>
                  </a:ext>
                </a:extLst>
              </p:cNvPr>
              <p:cNvSpPr txBox="1"/>
              <p:nvPr/>
            </p:nvSpPr>
            <p:spPr>
              <a:xfrm>
                <a:off x="2895907" y="1993472"/>
                <a:ext cx="719216" cy="492443"/>
              </a:xfrm>
              <a:prstGeom prst="rect">
                <a:avLst/>
              </a:prstGeom>
              <a:noFill/>
            </p:spPr>
            <p:txBody>
              <a:bodyPr wrap="square" lIns="0" tIns="0" rIns="0" bIns="0" rtlCol="0" anchor="ctr">
                <a:spAutoFit/>
              </a:bodyPr>
              <a:lstStyle/>
              <a:p>
                <a:pPr algn="r"/>
                <a:r>
                  <a:rPr lang="en-US" altLang="ko-KR" sz="3200" b="1">
                    <a:solidFill>
                      <a:schemeClr val="accent4"/>
                    </a:solidFill>
                    <a:cs typeface="Arial" pitchFamily="34" charset="0"/>
                  </a:rPr>
                  <a:t>92</a:t>
                </a:r>
                <a:r>
                  <a:rPr lang="en-US" altLang="ko-KR" sz="2000" b="1">
                    <a:solidFill>
                      <a:schemeClr val="accent4"/>
                    </a:solidFill>
                    <a:cs typeface="Arial" pitchFamily="34" charset="0"/>
                  </a:rPr>
                  <a:t>%</a:t>
                </a:r>
                <a:endParaRPr lang="ko-KR" altLang="en-US" sz="2000" b="1">
                  <a:solidFill>
                    <a:schemeClr val="accent4"/>
                  </a:solidFill>
                  <a:cs typeface="Arial" pitchFamily="34" charset="0"/>
                </a:endParaRPr>
              </a:p>
            </p:txBody>
          </p:sp>
          <p:sp>
            <p:nvSpPr>
              <p:cNvPr id="33" name="TextBox 32">
                <a:extLst>
                  <a:ext uri="{FF2B5EF4-FFF2-40B4-BE49-F238E27FC236}">
                    <a16:creationId xmlns:a16="http://schemas.microsoft.com/office/drawing/2014/main" id="{E2652564-BAD8-4344-847C-84ED5E4B358B}"/>
                  </a:ext>
                </a:extLst>
              </p:cNvPr>
              <p:cNvSpPr txBox="1"/>
              <p:nvPr/>
            </p:nvSpPr>
            <p:spPr>
              <a:xfrm>
                <a:off x="755576" y="2169806"/>
                <a:ext cx="2138100"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grpSp>
          <p:nvGrpSpPr>
            <p:cNvPr id="34" name="Group 33">
              <a:extLst>
                <a:ext uri="{FF2B5EF4-FFF2-40B4-BE49-F238E27FC236}">
                  <a16:creationId xmlns:a16="http://schemas.microsoft.com/office/drawing/2014/main" id="{546DEC10-F957-3447-A445-013CBDF90601}"/>
                </a:ext>
              </a:extLst>
            </p:cNvPr>
            <p:cNvGrpSpPr/>
            <p:nvPr/>
          </p:nvGrpSpPr>
          <p:grpSpPr>
            <a:xfrm>
              <a:off x="2279578" y="5015030"/>
              <a:ext cx="2859547" cy="492443"/>
              <a:chOff x="755576" y="1993472"/>
              <a:chExt cx="2859547" cy="492443"/>
            </a:xfrm>
          </p:grpSpPr>
          <p:sp>
            <p:nvSpPr>
              <p:cNvPr id="35" name="TextBox 34">
                <a:extLst>
                  <a:ext uri="{FF2B5EF4-FFF2-40B4-BE49-F238E27FC236}">
                    <a16:creationId xmlns:a16="http://schemas.microsoft.com/office/drawing/2014/main" id="{124B314A-B70C-0444-A080-3C421BD57EE1}"/>
                  </a:ext>
                </a:extLst>
              </p:cNvPr>
              <p:cNvSpPr txBox="1"/>
              <p:nvPr/>
            </p:nvSpPr>
            <p:spPr>
              <a:xfrm>
                <a:off x="2895907" y="1993472"/>
                <a:ext cx="719216" cy="492443"/>
              </a:xfrm>
              <a:prstGeom prst="rect">
                <a:avLst/>
              </a:prstGeom>
              <a:noFill/>
            </p:spPr>
            <p:txBody>
              <a:bodyPr wrap="square" lIns="0" tIns="0" rIns="0" bIns="0" rtlCol="0" anchor="ctr">
                <a:spAutoFit/>
              </a:bodyPr>
              <a:lstStyle/>
              <a:p>
                <a:pPr algn="r"/>
                <a:r>
                  <a:rPr lang="en-US" altLang="ko-KR" sz="3200" b="1">
                    <a:solidFill>
                      <a:schemeClr val="accent1"/>
                    </a:solidFill>
                    <a:cs typeface="Arial" pitchFamily="34" charset="0"/>
                  </a:rPr>
                  <a:t>42</a:t>
                </a:r>
                <a:r>
                  <a:rPr lang="en-US" altLang="ko-KR" sz="2000" b="1">
                    <a:solidFill>
                      <a:schemeClr val="accent1"/>
                    </a:solidFill>
                    <a:cs typeface="Arial" pitchFamily="34" charset="0"/>
                  </a:rPr>
                  <a:t>%</a:t>
                </a:r>
                <a:endParaRPr lang="ko-KR" altLang="en-US" sz="2000" b="1">
                  <a:solidFill>
                    <a:schemeClr val="accent1"/>
                  </a:solidFill>
                  <a:cs typeface="Arial" pitchFamily="34" charset="0"/>
                </a:endParaRPr>
              </a:p>
            </p:txBody>
          </p:sp>
          <p:sp>
            <p:nvSpPr>
              <p:cNvPr id="36" name="TextBox 35">
                <a:extLst>
                  <a:ext uri="{FF2B5EF4-FFF2-40B4-BE49-F238E27FC236}">
                    <a16:creationId xmlns:a16="http://schemas.microsoft.com/office/drawing/2014/main" id="{58B94EF9-8751-C449-A40D-91EA755CFC7D}"/>
                  </a:ext>
                </a:extLst>
              </p:cNvPr>
              <p:cNvSpPr txBox="1"/>
              <p:nvPr/>
            </p:nvSpPr>
            <p:spPr>
              <a:xfrm>
                <a:off x="755576" y="2169806"/>
                <a:ext cx="2138100"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grpSp>
        <p:sp>
          <p:nvSpPr>
            <p:cNvPr id="37" name="Rounded Rectangle 7">
              <a:extLst>
                <a:ext uri="{FF2B5EF4-FFF2-40B4-BE49-F238E27FC236}">
                  <a16:creationId xmlns:a16="http://schemas.microsoft.com/office/drawing/2014/main" id="{ECAFFAA1-03B5-0846-9330-F530B460A1C5}"/>
                </a:ext>
              </a:extLst>
            </p:cNvPr>
            <p:cNvSpPr/>
            <p:nvPr/>
          </p:nvSpPr>
          <p:spPr>
            <a:xfrm>
              <a:off x="5919912" y="2207956"/>
              <a:ext cx="352176" cy="303924"/>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38" name="Block Arc 10">
              <a:extLst>
                <a:ext uri="{FF2B5EF4-FFF2-40B4-BE49-F238E27FC236}">
                  <a16:creationId xmlns:a16="http://schemas.microsoft.com/office/drawing/2014/main" id="{19AAE860-4A53-8349-BC9A-3AFF0BDCE57C}"/>
                </a:ext>
              </a:extLst>
            </p:cNvPr>
            <p:cNvSpPr/>
            <p:nvPr/>
          </p:nvSpPr>
          <p:spPr>
            <a:xfrm>
              <a:off x="5858341" y="3644178"/>
              <a:ext cx="431509" cy="292281"/>
            </a:xfrm>
            <a:custGeom>
              <a:avLst/>
              <a:gdLst/>
              <a:ahLst/>
              <a:cxnLst/>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39" name="Round Same Side Corner Rectangle 36">
              <a:extLst>
                <a:ext uri="{FF2B5EF4-FFF2-40B4-BE49-F238E27FC236}">
                  <a16:creationId xmlns:a16="http://schemas.microsoft.com/office/drawing/2014/main" id="{88DABFC0-1777-AD40-A204-B3DF872524EF}"/>
                </a:ext>
              </a:extLst>
            </p:cNvPr>
            <p:cNvSpPr>
              <a:spLocks noChangeAspect="1"/>
            </p:cNvSpPr>
            <p:nvPr/>
          </p:nvSpPr>
          <p:spPr>
            <a:xfrm>
              <a:off x="5898000" y="5011268"/>
              <a:ext cx="396000" cy="31308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1535202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3184943" y="1986669"/>
            <a:ext cx="495673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9" name="Rectangle 78">
            <a:extLst>
              <a:ext uri="{FF2B5EF4-FFF2-40B4-BE49-F238E27FC236}">
                <a16:creationId xmlns:a16="http://schemas.microsoft.com/office/drawing/2014/main" id="{0B167CCD-B821-4A23-9FA7-556FD079928B}"/>
              </a:ext>
            </a:extLst>
          </p:cNvPr>
          <p:cNvSpPr/>
          <p:nvPr/>
        </p:nvSpPr>
        <p:spPr>
          <a:xfrm>
            <a:off x="891273" y="198666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3164374"/>
            <a:ext cx="7776000"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p:nvPr/>
        </p:nvCxnSpPr>
        <p:spPr>
          <a:xfrm>
            <a:off x="365682" y="4629683"/>
            <a:ext cx="7776000"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891273" y="3451978"/>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3378738"/>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3184943" y="3451978"/>
            <a:ext cx="495673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tangle 55">
            <a:extLst>
              <a:ext uri="{FF2B5EF4-FFF2-40B4-BE49-F238E27FC236}">
                <a16:creationId xmlns:a16="http://schemas.microsoft.com/office/drawing/2014/main" id="{D9FF0F48-8BA1-4352-A8D1-8CD3B18F78E0}"/>
              </a:ext>
            </a:extLst>
          </p:cNvPr>
          <p:cNvSpPr/>
          <p:nvPr/>
        </p:nvSpPr>
        <p:spPr>
          <a:xfrm>
            <a:off x="891273" y="4917288"/>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4844048"/>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28" name="Rectangle 27">
            <a:extLst>
              <a:ext uri="{FF2B5EF4-FFF2-40B4-BE49-F238E27FC236}">
                <a16:creationId xmlns:a16="http://schemas.microsoft.com/office/drawing/2014/main" id="{B3925AB3-A14F-422D-90C2-088906BB6C96}"/>
              </a:ext>
            </a:extLst>
          </p:cNvPr>
          <p:cNvSpPr>
            <a:spLocks/>
          </p:cNvSpPr>
          <p:nvPr/>
        </p:nvSpPr>
        <p:spPr>
          <a:xfrm>
            <a:off x="3184943" y="4917288"/>
            <a:ext cx="495673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1" name="Rectangle 10">
            <a:extLst>
              <a:ext uri="{FF2B5EF4-FFF2-40B4-BE49-F238E27FC236}">
                <a16:creationId xmlns:a16="http://schemas.microsoft.com/office/drawing/2014/main" id="{9FD7097F-5451-492F-AD01-AF13FE2B5CCA}"/>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21" name="Content Placeholder 14">
            <a:extLst>
              <a:ext uri="{FF2B5EF4-FFF2-40B4-BE49-F238E27FC236}">
                <a16:creationId xmlns:a16="http://schemas.microsoft.com/office/drawing/2014/main" id="{3864DFB3-19C4-4568-BA1E-EC62C3AB0AE0}"/>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362429828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350F0024-987C-FD49-B4F8-A7DF84DA13D0}"/>
              </a:ext>
            </a:extLst>
          </p:cNvPr>
          <p:cNvGraphicFramePr>
            <a:graphicFrameLocks noChangeAspect="1"/>
          </p:cNvGraphicFramePr>
          <p:nvPr>
            <p:custDataLst>
              <p:tags r:id="rId1"/>
            </p:custDataLst>
            <p:extLst>
              <p:ext uri="{D42A27DB-BD31-4B8C-83A1-F6EECF244321}">
                <p14:modId xmlns:p14="http://schemas.microsoft.com/office/powerpoint/2010/main" val="150222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4" name="Object 53" hidden="1">
                        <a:extLst>
                          <a:ext uri="{FF2B5EF4-FFF2-40B4-BE49-F238E27FC236}">
                            <a16:creationId xmlns:a16="http://schemas.microsoft.com/office/drawing/2014/main" id="{350F0024-987C-FD49-B4F8-A7DF84DA13D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A4308F0-6BFD-AA45-8E0A-6F3D1D6AE62B}"/>
              </a:ext>
            </a:extLst>
          </p:cNvPr>
          <p:cNvSpPr>
            <a:spLocks noGrp="1"/>
          </p:cNvSpPr>
          <p:nvPr>
            <p:ph type="sldNum" sz="quarter" idx="4"/>
          </p:nvPr>
        </p:nvSpPr>
        <p:spPr/>
        <p:txBody>
          <a:bodyPr/>
          <a:lstStyle/>
          <a:p>
            <a:fld id="{3D966009-6E5A-4F8C-8CA7-E37AFBF5FB92}" type="slidenum">
              <a:rPr lang="en-US" smtClean="0"/>
              <a:t>150</a:t>
            </a:fld>
            <a:endParaRPr lang="en-US"/>
          </a:p>
        </p:txBody>
      </p:sp>
      <p:sp>
        <p:nvSpPr>
          <p:cNvPr id="3" name="Title 2">
            <a:extLst>
              <a:ext uri="{FF2B5EF4-FFF2-40B4-BE49-F238E27FC236}">
                <a16:creationId xmlns:a16="http://schemas.microsoft.com/office/drawing/2014/main" id="{A085CCED-4C1E-4E41-87E9-6CF609559DAC}"/>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E856AB6D-4E79-E740-9078-B4068768964A}"/>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296801A1-01CE-D046-BD3C-367F34C18209}"/>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34D04A8-4EFE-DD42-9337-B1E7DC3250BF}"/>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5BBC2DA2-4BC5-CD4E-8DEA-A7E7A94E9F75}"/>
              </a:ext>
            </a:extLst>
          </p:cNvPr>
          <p:cNvSpPr>
            <a:spLocks noGrp="1"/>
          </p:cNvSpPr>
          <p:nvPr>
            <p:ph sz="quarter" idx="14"/>
          </p:nvPr>
        </p:nvSpPr>
        <p:spPr/>
        <p:txBody>
          <a:bodyPr/>
          <a:lstStyle/>
          <a:p>
            <a:endParaRPr lang="en-GB"/>
          </a:p>
        </p:txBody>
      </p:sp>
      <p:grpSp>
        <p:nvGrpSpPr>
          <p:cNvPr id="9" name="그룹 12">
            <a:extLst>
              <a:ext uri="{FF2B5EF4-FFF2-40B4-BE49-F238E27FC236}">
                <a16:creationId xmlns:a16="http://schemas.microsoft.com/office/drawing/2014/main" id="{2B035C22-08D8-5F41-A81F-1E290393290B}"/>
              </a:ext>
            </a:extLst>
          </p:cNvPr>
          <p:cNvGrpSpPr/>
          <p:nvPr/>
        </p:nvGrpSpPr>
        <p:grpSpPr>
          <a:xfrm>
            <a:off x="3938137" y="2062160"/>
            <a:ext cx="4289312" cy="1262873"/>
            <a:chOff x="4054872" y="2062159"/>
            <a:chExt cx="4289312" cy="1262873"/>
          </a:xfrm>
        </p:grpSpPr>
        <p:sp>
          <p:nvSpPr>
            <p:cNvPr id="10" name="Rectangle 44">
              <a:extLst>
                <a:ext uri="{FF2B5EF4-FFF2-40B4-BE49-F238E27FC236}">
                  <a16:creationId xmlns:a16="http://schemas.microsoft.com/office/drawing/2014/main" id="{058AE7F4-5F8B-1741-9500-9AEC80628CA5}"/>
                </a:ext>
              </a:extLst>
            </p:cNvPr>
            <p:cNvSpPr/>
            <p:nvPr/>
          </p:nvSpPr>
          <p:spPr>
            <a:xfrm>
              <a:off x="5317238" y="3133113"/>
              <a:ext cx="785533" cy="191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1" name="Rectangle 10">
              <a:extLst>
                <a:ext uri="{FF2B5EF4-FFF2-40B4-BE49-F238E27FC236}">
                  <a16:creationId xmlns:a16="http://schemas.microsoft.com/office/drawing/2014/main" id="{E6177B7A-0819-FB4E-9B0A-7E0A421AB28B}"/>
                </a:ext>
              </a:extLst>
            </p:cNvPr>
            <p:cNvSpPr/>
            <p:nvPr/>
          </p:nvSpPr>
          <p:spPr>
            <a:xfrm>
              <a:off x="5317238" y="2231199"/>
              <a:ext cx="2747277" cy="192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2" name="Isosceles Triangle 5">
              <a:extLst>
                <a:ext uri="{FF2B5EF4-FFF2-40B4-BE49-F238E27FC236}">
                  <a16:creationId xmlns:a16="http://schemas.microsoft.com/office/drawing/2014/main" id="{40228E81-4849-394D-A9AF-9F8D488FCCB4}"/>
                </a:ext>
              </a:extLst>
            </p:cNvPr>
            <p:cNvSpPr/>
            <p:nvPr/>
          </p:nvSpPr>
          <p:spPr>
            <a:xfrm rot="5400000">
              <a:off x="7894041" y="2157089"/>
              <a:ext cx="545074" cy="35521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3" name="Block Arc 2">
              <a:extLst>
                <a:ext uri="{FF2B5EF4-FFF2-40B4-BE49-F238E27FC236}">
                  <a16:creationId xmlns:a16="http://schemas.microsoft.com/office/drawing/2014/main" id="{664D6AFD-2DF0-BD4E-8868-08033C88D95C}"/>
                </a:ext>
              </a:extLst>
            </p:cNvPr>
            <p:cNvSpPr/>
            <p:nvPr/>
          </p:nvSpPr>
          <p:spPr>
            <a:xfrm rot="16200000">
              <a:off x="4139139" y="2146933"/>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grpSp>
        <p:nvGrpSpPr>
          <p:cNvPr id="14" name="그룹 13">
            <a:extLst>
              <a:ext uri="{FF2B5EF4-FFF2-40B4-BE49-F238E27FC236}">
                <a16:creationId xmlns:a16="http://schemas.microsoft.com/office/drawing/2014/main" id="{B1997592-06BE-CF40-AD77-DC92102F672D}"/>
              </a:ext>
            </a:extLst>
          </p:cNvPr>
          <p:cNvGrpSpPr/>
          <p:nvPr/>
        </p:nvGrpSpPr>
        <p:grpSpPr>
          <a:xfrm>
            <a:off x="5630822" y="2962342"/>
            <a:ext cx="2075574" cy="1257774"/>
            <a:chOff x="5747557" y="2962342"/>
            <a:chExt cx="2075574" cy="1257774"/>
          </a:xfrm>
          <a:solidFill>
            <a:schemeClr val="accent1"/>
          </a:solidFill>
        </p:grpSpPr>
        <p:sp>
          <p:nvSpPr>
            <p:cNvPr id="15" name="Rectangle 44">
              <a:extLst>
                <a:ext uri="{FF2B5EF4-FFF2-40B4-BE49-F238E27FC236}">
                  <a16:creationId xmlns:a16="http://schemas.microsoft.com/office/drawing/2014/main" id="{89184F6B-7DD9-EC41-BD83-FD460BEFFD55}"/>
                </a:ext>
              </a:extLst>
            </p:cNvPr>
            <p:cNvSpPr/>
            <p:nvPr/>
          </p:nvSpPr>
          <p:spPr>
            <a:xfrm>
              <a:off x="5778874" y="4028197"/>
              <a:ext cx="784800" cy="1919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 name="Isosceles Triangle 9">
              <a:extLst>
                <a:ext uri="{FF2B5EF4-FFF2-40B4-BE49-F238E27FC236}">
                  <a16:creationId xmlns:a16="http://schemas.microsoft.com/office/drawing/2014/main" id="{4F4DA351-0A96-544B-9A2F-F6C7F0C29A22}"/>
                </a:ext>
              </a:extLst>
            </p:cNvPr>
            <p:cNvSpPr/>
            <p:nvPr/>
          </p:nvSpPr>
          <p:spPr>
            <a:xfrm rot="16200000">
              <a:off x="5652627" y="3057272"/>
              <a:ext cx="545074" cy="35521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7" name="Rectangle 44">
              <a:extLst>
                <a:ext uri="{FF2B5EF4-FFF2-40B4-BE49-F238E27FC236}">
                  <a16:creationId xmlns:a16="http://schemas.microsoft.com/office/drawing/2014/main" id="{C03B2AF7-DDBD-FC4B-A490-5E154B9119AD}"/>
                </a:ext>
              </a:extLst>
            </p:cNvPr>
            <p:cNvSpPr/>
            <p:nvPr/>
          </p:nvSpPr>
          <p:spPr>
            <a:xfrm>
              <a:off x="6095999" y="3126283"/>
              <a:ext cx="467675" cy="1919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 name="Block Arc 2">
              <a:extLst>
                <a:ext uri="{FF2B5EF4-FFF2-40B4-BE49-F238E27FC236}">
                  <a16:creationId xmlns:a16="http://schemas.microsoft.com/office/drawing/2014/main" id="{8FFC191D-17D4-1B4E-A0B8-28D0740DEE22}"/>
                </a:ext>
              </a:extLst>
            </p:cNvPr>
            <p:cNvSpPr/>
            <p:nvPr/>
          </p:nvSpPr>
          <p:spPr>
            <a:xfrm rot="5400000">
              <a:off x="6645033" y="3041261"/>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19" name="Group 18">
            <a:extLst>
              <a:ext uri="{FF2B5EF4-FFF2-40B4-BE49-F238E27FC236}">
                <a16:creationId xmlns:a16="http://schemas.microsoft.com/office/drawing/2014/main" id="{3D2EFF07-9A40-4245-AD5B-6AED50EAACD3}"/>
              </a:ext>
            </a:extLst>
          </p:cNvPr>
          <p:cNvGrpSpPr/>
          <p:nvPr/>
        </p:nvGrpSpPr>
        <p:grpSpPr>
          <a:xfrm>
            <a:off x="1418863" y="2276791"/>
            <a:ext cx="2395361" cy="860967"/>
            <a:chOff x="186703" y="2121142"/>
            <a:chExt cx="2395361" cy="860967"/>
          </a:xfrm>
        </p:grpSpPr>
        <p:sp>
          <p:nvSpPr>
            <p:cNvPr id="20" name="TextBox 19">
              <a:extLst>
                <a:ext uri="{FF2B5EF4-FFF2-40B4-BE49-F238E27FC236}">
                  <a16:creationId xmlns:a16="http://schemas.microsoft.com/office/drawing/2014/main" id="{FACFDDBC-F19A-9A44-8F47-F0984D89E729}"/>
                </a:ext>
              </a:extLst>
            </p:cNvPr>
            <p:cNvSpPr txBox="1"/>
            <p:nvPr/>
          </p:nvSpPr>
          <p:spPr>
            <a:xfrm>
              <a:off x="186703" y="2121142"/>
              <a:ext cx="2395361" cy="307777"/>
            </a:xfrm>
            <a:prstGeom prst="rect">
              <a:avLst/>
            </a:prstGeom>
            <a:noFill/>
          </p:spPr>
          <p:txBody>
            <a:bodyPr wrap="square" rtlCol="0" anchor="ctr">
              <a:spAutoFit/>
            </a:bodyPr>
            <a:lstStyle/>
            <a:p>
              <a:pPr algn="r"/>
              <a:r>
                <a:rPr lang="en-US" altLang="ko-KR" sz="1400" b="1">
                  <a:solidFill>
                    <a:schemeClr val="tx1">
                      <a:lumMod val="75000"/>
                      <a:lumOff val="25000"/>
                    </a:schemeClr>
                  </a:solidFill>
                  <a:cs typeface="Arial" pitchFamily="34" charset="0"/>
                </a:rPr>
                <a:t>Content  Here</a:t>
              </a:r>
              <a:endParaRPr lang="ko-KR" altLang="en-US" sz="1400" b="1">
                <a:solidFill>
                  <a:schemeClr val="tx1">
                    <a:lumMod val="75000"/>
                    <a:lumOff val="25000"/>
                  </a:schemeClr>
                </a:solidFill>
                <a:cs typeface="Arial" pitchFamily="34" charset="0"/>
              </a:endParaRPr>
            </a:p>
          </p:txBody>
        </p:sp>
        <p:sp>
          <p:nvSpPr>
            <p:cNvPr id="21" name="TextBox 20">
              <a:extLst>
                <a:ext uri="{FF2B5EF4-FFF2-40B4-BE49-F238E27FC236}">
                  <a16:creationId xmlns:a16="http://schemas.microsoft.com/office/drawing/2014/main" id="{305391A2-AF9E-5F40-845D-6D4C33851825}"/>
                </a:ext>
              </a:extLst>
            </p:cNvPr>
            <p:cNvSpPr txBox="1"/>
            <p:nvPr/>
          </p:nvSpPr>
          <p:spPr>
            <a:xfrm>
              <a:off x="186703" y="2335778"/>
              <a:ext cx="239536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grpSp>
      <p:grpSp>
        <p:nvGrpSpPr>
          <p:cNvPr id="22" name="Group 21">
            <a:extLst>
              <a:ext uri="{FF2B5EF4-FFF2-40B4-BE49-F238E27FC236}">
                <a16:creationId xmlns:a16="http://schemas.microsoft.com/office/drawing/2014/main" id="{7678AF8D-C1C8-4847-8C94-6DB66286C027}"/>
              </a:ext>
            </a:extLst>
          </p:cNvPr>
          <p:cNvGrpSpPr/>
          <p:nvPr/>
        </p:nvGrpSpPr>
        <p:grpSpPr>
          <a:xfrm>
            <a:off x="7834756" y="3237796"/>
            <a:ext cx="2084225" cy="860967"/>
            <a:chOff x="5546540" y="3082146"/>
            <a:chExt cx="2084225" cy="860967"/>
          </a:xfrm>
        </p:grpSpPr>
        <p:sp>
          <p:nvSpPr>
            <p:cNvPr id="23" name="TextBox 22">
              <a:extLst>
                <a:ext uri="{FF2B5EF4-FFF2-40B4-BE49-F238E27FC236}">
                  <a16:creationId xmlns:a16="http://schemas.microsoft.com/office/drawing/2014/main" id="{4B052214-19B2-0742-9648-DB4A654620F6}"/>
                </a:ext>
              </a:extLst>
            </p:cNvPr>
            <p:cNvSpPr txBox="1"/>
            <p:nvPr/>
          </p:nvSpPr>
          <p:spPr>
            <a:xfrm>
              <a:off x="5546540" y="3082146"/>
              <a:ext cx="208422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a:t>
              </a:r>
              <a:r>
                <a:rPr lang="en-US" altLang="ko-KR" sz="1200" b="1">
                  <a:solidFill>
                    <a:schemeClr val="tx1">
                      <a:lumMod val="75000"/>
                      <a:lumOff val="25000"/>
                    </a:schemeClr>
                  </a:solidFill>
                  <a:cs typeface="Arial" pitchFamily="34" charset="0"/>
                </a:rPr>
                <a:t>  Here</a:t>
              </a:r>
              <a:endParaRPr lang="ko-KR" altLang="en-US" sz="1200" b="1">
                <a:solidFill>
                  <a:schemeClr val="tx1">
                    <a:lumMod val="75000"/>
                    <a:lumOff val="25000"/>
                  </a:schemeClr>
                </a:solidFill>
                <a:cs typeface="Arial" pitchFamily="34" charset="0"/>
              </a:endParaRPr>
            </a:p>
          </p:txBody>
        </p:sp>
        <p:sp>
          <p:nvSpPr>
            <p:cNvPr id="24" name="TextBox 23">
              <a:extLst>
                <a:ext uri="{FF2B5EF4-FFF2-40B4-BE49-F238E27FC236}">
                  <a16:creationId xmlns:a16="http://schemas.microsoft.com/office/drawing/2014/main" id="{4D083C7C-E018-8D44-A293-4C9D9F6DF087}"/>
                </a:ext>
              </a:extLst>
            </p:cNvPr>
            <p:cNvSpPr txBox="1"/>
            <p:nvPr/>
          </p:nvSpPr>
          <p:spPr>
            <a:xfrm>
              <a:off x="5546540" y="3296782"/>
              <a:ext cx="2084225"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grpSp>
      <p:grpSp>
        <p:nvGrpSpPr>
          <p:cNvPr id="25" name="Group 24">
            <a:extLst>
              <a:ext uri="{FF2B5EF4-FFF2-40B4-BE49-F238E27FC236}">
                <a16:creationId xmlns:a16="http://schemas.microsoft.com/office/drawing/2014/main" id="{20CE6CB7-7F62-B449-A556-A9931C83B6EC}"/>
              </a:ext>
            </a:extLst>
          </p:cNvPr>
          <p:cNvGrpSpPr/>
          <p:nvPr/>
        </p:nvGrpSpPr>
        <p:grpSpPr>
          <a:xfrm>
            <a:off x="7834756" y="5043327"/>
            <a:ext cx="2084225" cy="860967"/>
            <a:chOff x="5561445" y="4887679"/>
            <a:chExt cx="2084225" cy="860967"/>
          </a:xfrm>
        </p:grpSpPr>
        <p:sp>
          <p:nvSpPr>
            <p:cNvPr id="26" name="TextBox 25">
              <a:extLst>
                <a:ext uri="{FF2B5EF4-FFF2-40B4-BE49-F238E27FC236}">
                  <a16:creationId xmlns:a16="http://schemas.microsoft.com/office/drawing/2014/main" id="{711D840A-7834-2045-B2C0-75E60F8E7AB7}"/>
                </a:ext>
              </a:extLst>
            </p:cNvPr>
            <p:cNvSpPr txBox="1"/>
            <p:nvPr/>
          </p:nvSpPr>
          <p:spPr>
            <a:xfrm>
              <a:off x="5561445" y="4887679"/>
              <a:ext cx="2084225"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a:t>
              </a:r>
              <a:r>
                <a:rPr lang="en-US" altLang="ko-KR" sz="1200" b="1">
                  <a:solidFill>
                    <a:schemeClr val="tx1">
                      <a:lumMod val="75000"/>
                      <a:lumOff val="25000"/>
                    </a:schemeClr>
                  </a:solidFill>
                  <a:cs typeface="Arial" pitchFamily="34" charset="0"/>
                </a:rPr>
                <a:t>  Here</a:t>
              </a:r>
              <a:endParaRPr lang="ko-KR" altLang="en-US" sz="1200" b="1">
                <a:solidFill>
                  <a:schemeClr val="tx1">
                    <a:lumMod val="75000"/>
                    <a:lumOff val="25000"/>
                  </a:schemeClr>
                </a:solidFill>
                <a:cs typeface="Arial" pitchFamily="34" charset="0"/>
              </a:endParaRPr>
            </a:p>
          </p:txBody>
        </p:sp>
        <p:sp>
          <p:nvSpPr>
            <p:cNvPr id="27" name="TextBox 26">
              <a:extLst>
                <a:ext uri="{FF2B5EF4-FFF2-40B4-BE49-F238E27FC236}">
                  <a16:creationId xmlns:a16="http://schemas.microsoft.com/office/drawing/2014/main" id="{8B5C06B2-140A-5044-B719-07228D512E4F}"/>
                </a:ext>
              </a:extLst>
            </p:cNvPr>
            <p:cNvSpPr txBox="1"/>
            <p:nvPr/>
          </p:nvSpPr>
          <p:spPr>
            <a:xfrm>
              <a:off x="5561445" y="5102315"/>
              <a:ext cx="2084225"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grpSp>
      <p:grpSp>
        <p:nvGrpSpPr>
          <p:cNvPr id="28" name="Group 27">
            <a:extLst>
              <a:ext uri="{FF2B5EF4-FFF2-40B4-BE49-F238E27FC236}">
                <a16:creationId xmlns:a16="http://schemas.microsoft.com/office/drawing/2014/main" id="{E2DB1767-2948-E64D-85CC-46248D294DFD}"/>
              </a:ext>
            </a:extLst>
          </p:cNvPr>
          <p:cNvGrpSpPr/>
          <p:nvPr/>
        </p:nvGrpSpPr>
        <p:grpSpPr>
          <a:xfrm>
            <a:off x="1418863" y="4217864"/>
            <a:ext cx="2395361" cy="845578"/>
            <a:chOff x="232423" y="4062214"/>
            <a:chExt cx="2395361" cy="845578"/>
          </a:xfrm>
        </p:grpSpPr>
        <p:sp>
          <p:nvSpPr>
            <p:cNvPr id="29" name="TextBox 28">
              <a:extLst>
                <a:ext uri="{FF2B5EF4-FFF2-40B4-BE49-F238E27FC236}">
                  <a16:creationId xmlns:a16="http://schemas.microsoft.com/office/drawing/2014/main" id="{523A2083-6F7A-9649-ABEE-0ABF3368BCE0}"/>
                </a:ext>
              </a:extLst>
            </p:cNvPr>
            <p:cNvSpPr txBox="1"/>
            <p:nvPr/>
          </p:nvSpPr>
          <p:spPr>
            <a:xfrm>
              <a:off x="232423" y="4062214"/>
              <a:ext cx="2395361" cy="276999"/>
            </a:xfrm>
            <a:prstGeom prst="rect">
              <a:avLst/>
            </a:prstGeom>
            <a:noFill/>
          </p:spPr>
          <p:txBody>
            <a:bodyPr wrap="square" rtlCol="0" anchor="ctr">
              <a:spAutoFit/>
            </a:bodyPr>
            <a:lstStyle/>
            <a:p>
              <a:pPr algn="r"/>
              <a:r>
                <a:rPr lang="en-US" altLang="ko-KR" sz="1200" b="1">
                  <a:solidFill>
                    <a:schemeClr val="tx1">
                      <a:lumMod val="75000"/>
                      <a:lumOff val="25000"/>
                    </a:schemeClr>
                  </a:solidFill>
                  <a:cs typeface="Arial" pitchFamily="34" charset="0"/>
                </a:rPr>
                <a:t>Content  Here</a:t>
              </a:r>
              <a:endParaRPr lang="ko-KR" altLang="en-US" sz="1200" b="1">
                <a:solidFill>
                  <a:schemeClr val="tx1">
                    <a:lumMod val="75000"/>
                    <a:lumOff val="25000"/>
                  </a:schemeClr>
                </a:solidFill>
                <a:cs typeface="Arial" pitchFamily="34" charset="0"/>
              </a:endParaRPr>
            </a:p>
          </p:txBody>
        </p:sp>
        <p:sp>
          <p:nvSpPr>
            <p:cNvPr id="30" name="TextBox 29">
              <a:extLst>
                <a:ext uri="{FF2B5EF4-FFF2-40B4-BE49-F238E27FC236}">
                  <a16:creationId xmlns:a16="http://schemas.microsoft.com/office/drawing/2014/main" id="{37E83677-3DB5-2248-9A5C-66ABCE0699C1}"/>
                </a:ext>
              </a:extLst>
            </p:cNvPr>
            <p:cNvSpPr txBox="1"/>
            <p:nvPr/>
          </p:nvSpPr>
          <p:spPr>
            <a:xfrm>
              <a:off x="232423" y="4261461"/>
              <a:ext cx="2395361" cy="646331"/>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Get a modern PowerPoint  Presentation that is beautifully designed</a:t>
              </a:r>
              <a:endParaRPr lang="ko-KR" altLang="en-US" sz="1200">
                <a:solidFill>
                  <a:schemeClr val="tx1">
                    <a:lumMod val="75000"/>
                    <a:lumOff val="25000"/>
                  </a:schemeClr>
                </a:solidFill>
                <a:cs typeface="Arial" pitchFamily="34" charset="0"/>
              </a:endParaRPr>
            </a:p>
          </p:txBody>
        </p:sp>
      </p:grpSp>
      <p:sp>
        <p:nvSpPr>
          <p:cNvPr id="31" name="Oval 30">
            <a:extLst>
              <a:ext uri="{FF2B5EF4-FFF2-40B4-BE49-F238E27FC236}">
                <a16:creationId xmlns:a16="http://schemas.microsoft.com/office/drawing/2014/main" id="{924E2F85-E59E-9542-8340-B16399A279DF}"/>
              </a:ext>
            </a:extLst>
          </p:cNvPr>
          <p:cNvSpPr/>
          <p:nvPr/>
        </p:nvSpPr>
        <p:spPr>
          <a:xfrm>
            <a:off x="8337103" y="1837518"/>
            <a:ext cx="1008000" cy="10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32" name="Group 31">
            <a:extLst>
              <a:ext uri="{FF2B5EF4-FFF2-40B4-BE49-F238E27FC236}">
                <a16:creationId xmlns:a16="http://schemas.microsoft.com/office/drawing/2014/main" id="{D21F5D1E-BF2A-A641-B55C-4E5915C02AC4}"/>
              </a:ext>
            </a:extLst>
          </p:cNvPr>
          <p:cNvGrpSpPr/>
          <p:nvPr/>
        </p:nvGrpSpPr>
        <p:grpSpPr>
          <a:xfrm>
            <a:off x="9425573" y="1891057"/>
            <a:ext cx="2143947" cy="891519"/>
            <a:chOff x="7308304" y="1342901"/>
            <a:chExt cx="1691680" cy="891519"/>
          </a:xfrm>
        </p:grpSpPr>
        <p:sp>
          <p:nvSpPr>
            <p:cNvPr id="33" name="TextBox 32">
              <a:extLst>
                <a:ext uri="{FF2B5EF4-FFF2-40B4-BE49-F238E27FC236}">
                  <a16:creationId xmlns:a16="http://schemas.microsoft.com/office/drawing/2014/main" id="{CE83D960-0938-7D47-AEDE-EBBF75C8B32B}"/>
                </a:ext>
              </a:extLst>
            </p:cNvPr>
            <p:cNvSpPr txBox="1"/>
            <p:nvPr/>
          </p:nvSpPr>
          <p:spPr>
            <a:xfrm>
              <a:off x="7308304" y="1342901"/>
              <a:ext cx="1691680" cy="307777"/>
            </a:xfrm>
            <a:prstGeom prst="rect">
              <a:avLst/>
            </a:prstGeom>
            <a:noFill/>
          </p:spPr>
          <p:txBody>
            <a:bodyPr wrap="square" rtlCol="0" anchor="ctr">
              <a:spAutoFit/>
            </a:bodyPr>
            <a:lstStyle/>
            <a:p>
              <a:r>
                <a:rPr lang="en-US" altLang="ko-KR" sz="1400" b="1">
                  <a:solidFill>
                    <a:schemeClr val="tx1">
                      <a:lumMod val="75000"/>
                      <a:lumOff val="25000"/>
                    </a:schemeClr>
                  </a:solidFill>
                  <a:cs typeface="Arial" pitchFamily="34" charset="0"/>
                </a:rPr>
                <a:t>Content</a:t>
              </a:r>
              <a:r>
                <a:rPr lang="en-US" altLang="ko-KR" sz="1200" b="1">
                  <a:solidFill>
                    <a:schemeClr val="tx1">
                      <a:lumMod val="75000"/>
                      <a:lumOff val="25000"/>
                    </a:schemeClr>
                  </a:solidFill>
                  <a:cs typeface="Arial" pitchFamily="34" charset="0"/>
                </a:rPr>
                <a:t>  </a:t>
              </a:r>
              <a:r>
                <a:rPr lang="en-US" altLang="ko-KR" sz="1400" b="1">
                  <a:solidFill>
                    <a:schemeClr val="tx1">
                      <a:lumMod val="75000"/>
                      <a:lumOff val="25000"/>
                    </a:schemeClr>
                  </a:solidFill>
                  <a:cs typeface="Arial" pitchFamily="34" charset="0"/>
                </a:rPr>
                <a:t>Here</a:t>
              </a:r>
              <a:endParaRPr lang="ko-KR" altLang="en-US" sz="1200" b="1">
                <a:solidFill>
                  <a:schemeClr val="tx1">
                    <a:lumMod val="75000"/>
                    <a:lumOff val="25000"/>
                  </a:schemeClr>
                </a:solidFill>
                <a:cs typeface="Arial" pitchFamily="34" charset="0"/>
              </a:endParaRPr>
            </a:p>
          </p:txBody>
        </p:sp>
        <p:sp>
          <p:nvSpPr>
            <p:cNvPr id="34" name="TextBox 33">
              <a:extLst>
                <a:ext uri="{FF2B5EF4-FFF2-40B4-BE49-F238E27FC236}">
                  <a16:creationId xmlns:a16="http://schemas.microsoft.com/office/drawing/2014/main" id="{C9F49468-4CA5-F443-AC4F-7A323E0D37BB}"/>
                </a:ext>
              </a:extLst>
            </p:cNvPr>
            <p:cNvSpPr txBox="1"/>
            <p:nvPr/>
          </p:nvSpPr>
          <p:spPr>
            <a:xfrm>
              <a:off x="7308304" y="1588089"/>
              <a:ext cx="1691680"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a:t>
              </a:r>
              <a:endParaRPr lang="ko-KR" altLang="en-US" sz="1200">
                <a:solidFill>
                  <a:schemeClr val="tx1">
                    <a:lumMod val="75000"/>
                    <a:lumOff val="25000"/>
                  </a:schemeClr>
                </a:solidFill>
                <a:cs typeface="Arial" pitchFamily="34" charset="0"/>
              </a:endParaRPr>
            </a:p>
          </p:txBody>
        </p:sp>
      </p:grpSp>
      <p:sp>
        <p:nvSpPr>
          <p:cNvPr id="35" name="Oval 34">
            <a:extLst>
              <a:ext uri="{FF2B5EF4-FFF2-40B4-BE49-F238E27FC236}">
                <a16:creationId xmlns:a16="http://schemas.microsoft.com/office/drawing/2014/main" id="{03A6068E-2E21-204B-8BC3-AD864827082F}"/>
              </a:ext>
            </a:extLst>
          </p:cNvPr>
          <p:cNvSpPr/>
          <p:nvPr/>
        </p:nvSpPr>
        <p:spPr>
          <a:xfrm>
            <a:off x="4175723" y="2484378"/>
            <a:ext cx="609425" cy="60942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6" name="Oval 35">
            <a:extLst>
              <a:ext uri="{FF2B5EF4-FFF2-40B4-BE49-F238E27FC236}">
                <a16:creationId xmlns:a16="http://schemas.microsoft.com/office/drawing/2014/main" id="{8B4E7059-123F-F444-8502-003D8783D0B8}"/>
              </a:ext>
            </a:extLst>
          </p:cNvPr>
          <p:cNvSpPr/>
          <p:nvPr/>
        </p:nvSpPr>
        <p:spPr>
          <a:xfrm>
            <a:off x="6861191" y="3370092"/>
            <a:ext cx="609425" cy="60942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7" name="Oval 36">
            <a:extLst>
              <a:ext uri="{FF2B5EF4-FFF2-40B4-BE49-F238E27FC236}">
                <a16:creationId xmlns:a16="http://schemas.microsoft.com/office/drawing/2014/main" id="{69DEFCBB-9268-B740-A224-FF1603DF7E1E}"/>
              </a:ext>
            </a:extLst>
          </p:cNvPr>
          <p:cNvSpPr/>
          <p:nvPr/>
        </p:nvSpPr>
        <p:spPr>
          <a:xfrm>
            <a:off x="4175723" y="4284786"/>
            <a:ext cx="609425" cy="60942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Oval 37">
            <a:extLst>
              <a:ext uri="{FF2B5EF4-FFF2-40B4-BE49-F238E27FC236}">
                <a16:creationId xmlns:a16="http://schemas.microsoft.com/office/drawing/2014/main" id="{C1D9EA6D-4BAE-6843-82BC-2099C61BEDDC}"/>
              </a:ext>
            </a:extLst>
          </p:cNvPr>
          <p:cNvSpPr/>
          <p:nvPr/>
        </p:nvSpPr>
        <p:spPr>
          <a:xfrm>
            <a:off x="6861191" y="5183317"/>
            <a:ext cx="609425" cy="609424"/>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39" name="그룹 14">
            <a:extLst>
              <a:ext uri="{FF2B5EF4-FFF2-40B4-BE49-F238E27FC236}">
                <a16:creationId xmlns:a16="http://schemas.microsoft.com/office/drawing/2014/main" id="{0958BAB1-FC72-7240-9EA7-BFA2C68F72C4}"/>
              </a:ext>
            </a:extLst>
          </p:cNvPr>
          <p:cNvGrpSpPr/>
          <p:nvPr/>
        </p:nvGrpSpPr>
        <p:grpSpPr>
          <a:xfrm>
            <a:off x="3938138" y="3855554"/>
            <a:ext cx="2079217" cy="1269226"/>
            <a:chOff x="4054872" y="3855554"/>
            <a:chExt cx="2079217" cy="1269226"/>
          </a:xfrm>
          <a:solidFill>
            <a:schemeClr val="accent1"/>
          </a:solidFill>
        </p:grpSpPr>
        <p:sp>
          <p:nvSpPr>
            <p:cNvPr id="40" name="Rectangle 44">
              <a:extLst>
                <a:ext uri="{FF2B5EF4-FFF2-40B4-BE49-F238E27FC236}">
                  <a16:creationId xmlns:a16="http://schemas.microsoft.com/office/drawing/2014/main" id="{ACBC9221-4DF7-5242-8957-094238AA50FC}"/>
                </a:ext>
              </a:extLst>
            </p:cNvPr>
            <p:cNvSpPr/>
            <p:nvPr/>
          </p:nvSpPr>
          <p:spPr>
            <a:xfrm>
              <a:off x="5317238" y="4932861"/>
              <a:ext cx="785533" cy="1919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1" name="Block Arc 2">
              <a:extLst>
                <a:ext uri="{FF2B5EF4-FFF2-40B4-BE49-F238E27FC236}">
                  <a16:creationId xmlns:a16="http://schemas.microsoft.com/office/drawing/2014/main" id="{E688F971-ABA1-CC4E-AB13-BDF63A1E356F}"/>
                </a:ext>
              </a:extLst>
            </p:cNvPr>
            <p:cNvSpPr/>
            <p:nvPr/>
          </p:nvSpPr>
          <p:spPr>
            <a:xfrm rot="16200000">
              <a:off x="4139139" y="3946681"/>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2" name="Isosceles Triangle 35">
              <a:extLst>
                <a:ext uri="{FF2B5EF4-FFF2-40B4-BE49-F238E27FC236}">
                  <a16:creationId xmlns:a16="http://schemas.microsoft.com/office/drawing/2014/main" id="{C68A36BF-8D0A-ED49-8F29-07E004CD01C5}"/>
                </a:ext>
              </a:extLst>
            </p:cNvPr>
            <p:cNvSpPr/>
            <p:nvPr/>
          </p:nvSpPr>
          <p:spPr>
            <a:xfrm rot="5400000">
              <a:off x="5683946" y="3950484"/>
              <a:ext cx="545074" cy="35521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3" name="Rectangle 44">
              <a:extLst>
                <a:ext uri="{FF2B5EF4-FFF2-40B4-BE49-F238E27FC236}">
                  <a16:creationId xmlns:a16="http://schemas.microsoft.com/office/drawing/2014/main" id="{477D6B87-8589-DC49-BBA2-D985BD3DB67D}"/>
                </a:ext>
              </a:extLst>
            </p:cNvPr>
            <p:cNvSpPr/>
            <p:nvPr/>
          </p:nvSpPr>
          <p:spPr>
            <a:xfrm>
              <a:off x="5317239" y="4030947"/>
              <a:ext cx="559042" cy="1919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44" name="그룹 15">
            <a:extLst>
              <a:ext uri="{FF2B5EF4-FFF2-40B4-BE49-F238E27FC236}">
                <a16:creationId xmlns:a16="http://schemas.microsoft.com/office/drawing/2014/main" id="{F54770A5-D0B9-FF44-90C4-CE6E389F859F}"/>
              </a:ext>
            </a:extLst>
          </p:cNvPr>
          <p:cNvGrpSpPr/>
          <p:nvPr/>
        </p:nvGrpSpPr>
        <p:grpSpPr>
          <a:xfrm>
            <a:off x="-1" y="4753301"/>
            <a:ext cx="7706397" cy="1270361"/>
            <a:chOff x="116734" y="4753300"/>
            <a:chExt cx="7706397" cy="1270361"/>
          </a:xfrm>
        </p:grpSpPr>
        <p:sp>
          <p:nvSpPr>
            <p:cNvPr id="45" name="Block Arc 2">
              <a:extLst>
                <a:ext uri="{FF2B5EF4-FFF2-40B4-BE49-F238E27FC236}">
                  <a16:creationId xmlns:a16="http://schemas.microsoft.com/office/drawing/2014/main" id="{426AAE6E-F0C3-D549-BF60-3CC5BF70CF2B}"/>
                </a:ext>
              </a:extLst>
            </p:cNvPr>
            <p:cNvSpPr/>
            <p:nvPr/>
          </p:nvSpPr>
          <p:spPr>
            <a:xfrm rot="5400000">
              <a:off x="6645033" y="4845562"/>
              <a:ext cx="1093832" cy="1262365"/>
            </a:xfrm>
            <a:custGeom>
              <a:avLst/>
              <a:gdLst/>
              <a:ahLst/>
              <a:cxnLst/>
              <a:rect l="l" t="t" r="r" b="b"/>
              <a:pathLst>
                <a:path w="1011518" h="1167369">
                  <a:moveTo>
                    <a:pt x="1011518" y="485411"/>
                  </a:moveTo>
                  <a:lnTo>
                    <a:pt x="1011518" y="1167369"/>
                  </a:lnTo>
                  <a:lnTo>
                    <a:pt x="834370" y="1167369"/>
                  </a:lnTo>
                  <a:lnTo>
                    <a:pt x="834370" y="491393"/>
                  </a:lnTo>
                  <a:lnTo>
                    <a:pt x="831381" y="491507"/>
                  </a:lnTo>
                  <a:cubicBezTo>
                    <a:pt x="824543" y="313175"/>
                    <a:pt x="676210" y="173132"/>
                    <a:pt x="497779" y="176552"/>
                  </a:cubicBezTo>
                  <a:cubicBezTo>
                    <a:pt x="321564" y="179929"/>
                    <a:pt x="180042" y="322001"/>
                    <a:pt x="177148" y="497438"/>
                  </a:cubicBezTo>
                  <a:lnTo>
                    <a:pt x="177148" y="1167369"/>
                  </a:lnTo>
                  <a:lnTo>
                    <a:pt x="0" y="1167369"/>
                  </a:lnTo>
                  <a:lnTo>
                    <a:pt x="0" y="504057"/>
                  </a:lnTo>
                  <a:lnTo>
                    <a:pt x="0" y="485411"/>
                  </a:lnTo>
                  <a:lnTo>
                    <a:pt x="1856" y="485411"/>
                  </a:lnTo>
                  <a:cubicBezTo>
                    <a:pt x="10052" y="219336"/>
                    <a:pt x="226090" y="5235"/>
                    <a:pt x="494398" y="94"/>
                  </a:cubicBezTo>
                  <a:cubicBezTo>
                    <a:pt x="768966" y="-5168"/>
                    <a:pt x="997220" y="210329"/>
                    <a:pt x="1007742" y="484745"/>
                  </a:cubicBezTo>
                  <a:lnTo>
                    <a:pt x="990372" y="48541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46" name="Rectangle 45">
              <a:extLst>
                <a:ext uri="{FF2B5EF4-FFF2-40B4-BE49-F238E27FC236}">
                  <a16:creationId xmlns:a16="http://schemas.microsoft.com/office/drawing/2014/main" id="{4E67881A-680D-164D-990A-5CC097BBDF39}"/>
                </a:ext>
              </a:extLst>
            </p:cNvPr>
            <p:cNvSpPr/>
            <p:nvPr/>
          </p:nvSpPr>
          <p:spPr>
            <a:xfrm>
              <a:off x="116734" y="5828472"/>
              <a:ext cx="6446939" cy="1919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7" name="Isosceles Triangle 40">
              <a:extLst>
                <a:ext uri="{FF2B5EF4-FFF2-40B4-BE49-F238E27FC236}">
                  <a16:creationId xmlns:a16="http://schemas.microsoft.com/office/drawing/2014/main" id="{22B017CA-6E79-7E49-B36B-C44839D02092}"/>
                </a:ext>
              </a:extLst>
            </p:cNvPr>
            <p:cNvSpPr/>
            <p:nvPr/>
          </p:nvSpPr>
          <p:spPr>
            <a:xfrm rot="16200000">
              <a:off x="5652627" y="4848230"/>
              <a:ext cx="545074" cy="35521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48" name="Rectangle 44">
              <a:extLst>
                <a:ext uri="{FF2B5EF4-FFF2-40B4-BE49-F238E27FC236}">
                  <a16:creationId xmlns:a16="http://schemas.microsoft.com/office/drawing/2014/main" id="{22FA6A7B-0316-1C4D-970B-A923AF88558B}"/>
                </a:ext>
              </a:extLst>
            </p:cNvPr>
            <p:cNvSpPr/>
            <p:nvPr/>
          </p:nvSpPr>
          <p:spPr>
            <a:xfrm>
              <a:off x="6102771" y="4936555"/>
              <a:ext cx="460903" cy="1919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49" name="Rectangle 130">
            <a:extLst>
              <a:ext uri="{FF2B5EF4-FFF2-40B4-BE49-F238E27FC236}">
                <a16:creationId xmlns:a16="http://schemas.microsoft.com/office/drawing/2014/main" id="{CABC13CB-7EA2-A54B-BE2B-F9E3857F7B93}"/>
              </a:ext>
            </a:extLst>
          </p:cNvPr>
          <p:cNvSpPr/>
          <p:nvPr/>
        </p:nvSpPr>
        <p:spPr>
          <a:xfrm>
            <a:off x="8564736" y="2097343"/>
            <a:ext cx="552735" cy="555244"/>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50" name="Rounded Rectangle 10">
            <a:extLst>
              <a:ext uri="{FF2B5EF4-FFF2-40B4-BE49-F238E27FC236}">
                <a16:creationId xmlns:a16="http://schemas.microsoft.com/office/drawing/2014/main" id="{7515A36F-067F-FF4B-AFCA-CF1AF650DA19}"/>
              </a:ext>
            </a:extLst>
          </p:cNvPr>
          <p:cNvSpPr/>
          <p:nvPr/>
        </p:nvSpPr>
        <p:spPr>
          <a:xfrm>
            <a:off x="7043975" y="3519201"/>
            <a:ext cx="254160" cy="336352"/>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1" name="Frame 17">
            <a:extLst>
              <a:ext uri="{FF2B5EF4-FFF2-40B4-BE49-F238E27FC236}">
                <a16:creationId xmlns:a16="http://schemas.microsoft.com/office/drawing/2014/main" id="{9EDA352F-DC0D-E647-8E85-CE14825AF434}"/>
              </a:ext>
            </a:extLst>
          </p:cNvPr>
          <p:cNvSpPr/>
          <p:nvPr/>
        </p:nvSpPr>
        <p:spPr>
          <a:xfrm>
            <a:off x="4321218" y="2629874"/>
            <a:ext cx="318434" cy="318434"/>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52" name="Rounded Rectangle 5">
            <a:extLst>
              <a:ext uri="{FF2B5EF4-FFF2-40B4-BE49-F238E27FC236}">
                <a16:creationId xmlns:a16="http://schemas.microsoft.com/office/drawing/2014/main" id="{92DF39B6-31B6-DA41-9F63-8E7DECD36739}"/>
              </a:ext>
            </a:extLst>
          </p:cNvPr>
          <p:cNvSpPr/>
          <p:nvPr/>
        </p:nvSpPr>
        <p:spPr>
          <a:xfrm flipH="1">
            <a:off x="4280240" y="4427942"/>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53" name="Oval 7">
            <a:extLst>
              <a:ext uri="{FF2B5EF4-FFF2-40B4-BE49-F238E27FC236}">
                <a16:creationId xmlns:a16="http://schemas.microsoft.com/office/drawing/2014/main" id="{2F9CA2FF-BF27-444D-B019-432C2406C09A}"/>
              </a:ext>
            </a:extLst>
          </p:cNvPr>
          <p:cNvSpPr/>
          <p:nvPr/>
        </p:nvSpPr>
        <p:spPr>
          <a:xfrm>
            <a:off x="6985264" y="5296106"/>
            <a:ext cx="361277" cy="361277"/>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Tree>
    <p:extLst>
      <p:ext uri="{BB962C8B-B14F-4D97-AF65-F5344CB8AC3E}">
        <p14:creationId xmlns:p14="http://schemas.microsoft.com/office/powerpoint/2010/main" val="15737487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D805B2-7D13-E049-BC19-C2CA1E0C547E}"/>
              </a:ext>
            </a:extLst>
          </p:cNvPr>
          <p:cNvGraphicFramePr>
            <a:graphicFrameLocks noChangeAspect="1"/>
          </p:cNvGraphicFramePr>
          <p:nvPr>
            <p:custDataLst>
              <p:tags r:id="rId1"/>
            </p:custDataLst>
            <p:extLst>
              <p:ext uri="{D42A27DB-BD31-4B8C-83A1-F6EECF244321}">
                <p14:modId xmlns:p14="http://schemas.microsoft.com/office/powerpoint/2010/main" val="4128748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41D805B2-7D13-E049-BC19-C2CA1E0C54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B0A4E9E-FE2D-0C41-B278-56C1BBECE774}"/>
              </a:ext>
            </a:extLst>
          </p:cNvPr>
          <p:cNvSpPr>
            <a:spLocks noGrp="1"/>
          </p:cNvSpPr>
          <p:nvPr>
            <p:ph type="sldNum" sz="quarter" idx="4"/>
          </p:nvPr>
        </p:nvSpPr>
        <p:spPr/>
        <p:txBody>
          <a:bodyPr/>
          <a:lstStyle/>
          <a:p>
            <a:fld id="{3D966009-6E5A-4F8C-8CA7-E37AFBF5FB92}" type="slidenum">
              <a:rPr lang="en-US" smtClean="0"/>
              <a:t>151</a:t>
            </a:fld>
            <a:endParaRPr lang="en-US"/>
          </a:p>
        </p:txBody>
      </p:sp>
      <p:sp>
        <p:nvSpPr>
          <p:cNvPr id="3" name="Title 2">
            <a:extLst>
              <a:ext uri="{FF2B5EF4-FFF2-40B4-BE49-F238E27FC236}">
                <a16:creationId xmlns:a16="http://schemas.microsoft.com/office/drawing/2014/main" id="{9ECCBEBB-28EC-5541-9BC7-17A3EF6A0B13}"/>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4ED22B67-6E09-F74F-8B13-1EA11C3F3E9F}"/>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3E0A7AFF-6603-0C4C-8BB0-684608459449}"/>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020D52D1-29A4-5F49-9E3E-F71E423AB4A3}"/>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B421494C-0F0E-0145-BA5D-9791A0178B16}"/>
              </a:ext>
            </a:extLst>
          </p:cNvPr>
          <p:cNvSpPr>
            <a:spLocks noGrp="1"/>
          </p:cNvSpPr>
          <p:nvPr>
            <p:ph sz="quarter" idx="14"/>
          </p:nvPr>
        </p:nvSpPr>
        <p:spPr/>
        <p:txBody>
          <a:bodyPr/>
          <a:lstStyle/>
          <a:p>
            <a:endParaRPr lang="de-DE"/>
          </a:p>
        </p:txBody>
      </p:sp>
      <p:grpSp>
        <p:nvGrpSpPr>
          <p:cNvPr id="29" name="Group 28">
            <a:extLst>
              <a:ext uri="{FF2B5EF4-FFF2-40B4-BE49-F238E27FC236}">
                <a16:creationId xmlns:a16="http://schemas.microsoft.com/office/drawing/2014/main" id="{A5B142F4-AE2C-4F4E-803C-C8D25B8EDA10}"/>
              </a:ext>
            </a:extLst>
          </p:cNvPr>
          <p:cNvGrpSpPr/>
          <p:nvPr/>
        </p:nvGrpSpPr>
        <p:grpSpPr>
          <a:xfrm>
            <a:off x="1336017" y="1973224"/>
            <a:ext cx="9519966" cy="1722056"/>
            <a:chOff x="769786" y="2854532"/>
            <a:chExt cx="11130811" cy="2013440"/>
          </a:xfrm>
        </p:grpSpPr>
        <p:sp>
          <p:nvSpPr>
            <p:cNvPr id="30" name="Freeform: Shape 3">
              <a:extLst>
                <a:ext uri="{FF2B5EF4-FFF2-40B4-BE49-F238E27FC236}">
                  <a16:creationId xmlns:a16="http://schemas.microsoft.com/office/drawing/2014/main" id="{BFD5E1C7-7158-C84E-8F4E-3E43B0BB1F36}"/>
                </a:ext>
              </a:extLst>
            </p:cNvPr>
            <p:cNvSpPr/>
            <p:nvPr/>
          </p:nvSpPr>
          <p:spPr>
            <a:xfrm>
              <a:off x="769786" y="2854532"/>
              <a:ext cx="4356129" cy="2013439"/>
            </a:xfrm>
            <a:custGeom>
              <a:avLst/>
              <a:gdLst>
                <a:gd name="connsiteX0" fmla="*/ 0 w 4387361"/>
                <a:gd name="connsiteY0" fmla="*/ 958362 h 2013439"/>
                <a:gd name="connsiteX1" fmla="*/ 589084 w 4387361"/>
                <a:gd name="connsiteY1" fmla="*/ 2013439 h 2013439"/>
                <a:gd name="connsiteX2" fmla="*/ 1635369 w 4387361"/>
                <a:gd name="connsiteY2" fmla="*/ 1995854 h 2013439"/>
                <a:gd name="connsiteX3" fmla="*/ 2787161 w 4387361"/>
                <a:gd name="connsiteY3" fmla="*/ 0 h 2013439"/>
                <a:gd name="connsiteX4" fmla="*/ 3903784 w 4387361"/>
                <a:gd name="connsiteY4" fmla="*/ 8792 h 2013439"/>
                <a:gd name="connsiteX5" fmla="*/ 4387361 w 4387361"/>
                <a:gd name="connsiteY5" fmla="*/ 800100 h 2013439"/>
                <a:gd name="connsiteX0" fmla="*/ 0 w 4387361"/>
                <a:gd name="connsiteY0" fmla="*/ 958362 h 2013439"/>
                <a:gd name="connsiteX1" fmla="*/ 8792 w 4387361"/>
                <a:gd name="connsiteY1" fmla="*/ 940777 h 2013439"/>
                <a:gd name="connsiteX2" fmla="*/ 589084 w 4387361"/>
                <a:gd name="connsiteY2" fmla="*/ 2013439 h 2013439"/>
                <a:gd name="connsiteX3" fmla="*/ 1635369 w 4387361"/>
                <a:gd name="connsiteY3" fmla="*/ 1995854 h 2013439"/>
                <a:gd name="connsiteX4" fmla="*/ 2787161 w 4387361"/>
                <a:gd name="connsiteY4" fmla="*/ 0 h 2013439"/>
                <a:gd name="connsiteX5" fmla="*/ 3903784 w 4387361"/>
                <a:gd name="connsiteY5" fmla="*/ 8792 h 2013439"/>
                <a:gd name="connsiteX6" fmla="*/ 4387361 w 4387361"/>
                <a:gd name="connsiteY6" fmla="*/ 800100 h 2013439"/>
                <a:gd name="connsiteX0" fmla="*/ 0 w 4387361"/>
                <a:gd name="connsiteY0" fmla="*/ 958362 h 2013439"/>
                <a:gd name="connsiteX1" fmla="*/ 17584 w 4387361"/>
                <a:gd name="connsiteY1" fmla="*/ 940777 h 2013439"/>
                <a:gd name="connsiteX2" fmla="*/ 589084 w 4387361"/>
                <a:gd name="connsiteY2" fmla="*/ 2013439 h 2013439"/>
                <a:gd name="connsiteX3" fmla="*/ 1635369 w 4387361"/>
                <a:gd name="connsiteY3" fmla="*/ 1995854 h 2013439"/>
                <a:gd name="connsiteX4" fmla="*/ 2787161 w 4387361"/>
                <a:gd name="connsiteY4" fmla="*/ 0 h 2013439"/>
                <a:gd name="connsiteX5" fmla="*/ 3903784 w 4387361"/>
                <a:gd name="connsiteY5" fmla="*/ 8792 h 2013439"/>
                <a:gd name="connsiteX6" fmla="*/ 4387361 w 4387361"/>
                <a:gd name="connsiteY6" fmla="*/ 800100 h 2013439"/>
                <a:gd name="connsiteX0" fmla="*/ 238312 w 4369777"/>
                <a:gd name="connsiteY0" fmla="*/ 504574 h 2013439"/>
                <a:gd name="connsiteX1" fmla="*/ 0 w 4369777"/>
                <a:gd name="connsiteY1" fmla="*/ 940777 h 2013439"/>
                <a:gd name="connsiteX2" fmla="*/ 571500 w 4369777"/>
                <a:gd name="connsiteY2" fmla="*/ 2013439 h 2013439"/>
                <a:gd name="connsiteX3" fmla="*/ 1617785 w 4369777"/>
                <a:gd name="connsiteY3" fmla="*/ 1995854 h 2013439"/>
                <a:gd name="connsiteX4" fmla="*/ 2769577 w 4369777"/>
                <a:gd name="connsiteY4" fmla="*/ 0 h 2013439"/>
                <a:gd name="connsiteX5" fmla="*/ 3886200 w 4369777"/>
                <a:gd name="connsiteY5" fmla="*/ 8792 h 2013439"/>
                <a:gd name="connsiteX6" fmla="*/ 4369777 w 4369777"/>
                <a:gd name="connsiteY6" fmla="*/ 800100 h 2013439"/>
                <a:gd name="connsiteX0" fmla="*/ 565858 w 4369777"/>
                <a:gd name="connsiteY0" fmla="*/ 0 h 2024068"/>
                <a:gd name="connsiteX1" fmla="*/ 0 w 4369777"/>
                <a:gd name="connsiteY1" fmla="*/ 951406 h 2024068"/>
                <a:gd name="connsiteX2" fmla="*/ 571500 w 4369777"/>
                <a:gd name="connsiteY2" fmla="*/ 2024068 h 2024068"/>
                <a:gd name="connsiteX3" fmla="*/ 1617785 w 4369777"/>
                <a:gd name="connsiteY3" fmla="*/ 2006483 h 2024068"/>
                <a:gd name="connsiteX4" fmla="*/ 2769577 w 4369777"/>
                <a:gd name="connsiteY4" fmla="*/ 10629 h 2024068"/>
                <a:gd name="connsiteX5" fmla="*/ 3886200 w 4369777"/>
                <a:gd name="connsiteY5" fmla="*/ 19421 h 2024068"/>
                <a:gd name="connsiteX6" fmla="*/ 4369777 w 4369777"/>
                <a:gd name="connsiteY6" fmla="*/ 810729 h 2024068"/>
                <a:gd name="connsiteX0" fmla="*/ 562446 w 4369777"/>
                <a:gd name="connsiteY0" fmla="*/ 6431 h 2013439"/>
                <a:gd name="connsiteX1" fmla="*/ 0 w 4369777"/>
                <a:gd name="connsiteY1" fmla="*/ 940777 h 2013439"/>
                <a:gd name="connsiteX2" fmla="*/ 571500 w 4369777"/>
                <a:gd name="connsiteY2" fmla="*/ 2013439 h 2013439"/>
                <a:gd name="connsiteX3" fmla="*/ 1617785 w 4369777"/>
                <a:gd name="connsiteY3" fmla="*/ 1995854 h 2013439"/>
                <a:gd name="connsiteX4" fmla="*/ 2769577 w 4369777"/>
                <a:gd name="connsiteY4" fmla="*/ 0 h 2013439"/>
                <a:gd name="connsiteX5" fmla="*/ 3886200 w 4369777"/>
                <a:gd name="connsiteY5" fmla="*/ 8792 h 2013439"/>
                <a:gd name="connsiteX6" fmla="*/ 4369777 w 4369777"/>
                <a:gd name="connsiteY6" fmla="*/ 800100 h 2013439"/>
                <a:gd name="connsiteX0" fmla="*/ 562446 w 4369777"/>
                <a:gd name="connsiteY0" fmla="*/ 6431 h 2013439"/>
                <a:gd name="connsiteX1" fmla="*/ 554047 w 4369777"/>
                <a:gd name="connsiteY1" fmla="*/ 3281 h 2013439"/>
                <a:gd name="connsiteX2" fmla="*/ 0 w 4369777"/>
                <a:gd name="connsiteY2" fmla="*/ 940777 h 2013439"/>
                <a:gd name="connsiteX3" fmla="*/ 571500 w 4369777"/>
                <a:gd name="connsiteY3" fmla="*/ 2013439 h 2013439"/>
                <a:gd name="connsiteX4" fmla="*/ 1617785 w 4369777"/>
                <a:gd name="connsiteY4" fmla="*/ 1995854 h 2013439"/>
                <a:gd name="connsiteX5" fmla="*/ 2769577 w 4369777"/>
                <a:gd name="connsiteY5" fmla="*/ 0 h 2013439"/>
                <a:gd name="connsiteX6" fmla="*/ 3886200 w 4369777"/>
                <a:gd name="connsiteY6" fmla="*/ 8792 h 2013439"/>
                <a:gd name="connsiteX7" fmla="*/ 4369777 w 4369777"/>
                <a:gd name="connsiteY7" fmla="*/ 800100 h 2013439"/>
                <a:gd name="connsiteX0" fmla="*/ 562446 w 4369777"/>
                <a:gd name="connsiteY0" fmla="*/ 85037 h 2092045"/>
                <a:gd name="connsiteX1" fmla="*/ 670053 w 4369777"/>
                <a:gd name="connsiteY1" fmla="*/ 0 h 2092045"/>
                <a:gd name="connsiteX2" fmla="*/ 0 w 4369777"/>
                <a:gd name="connsiteY2" fmla="*/ 1019383 h 2092045"/>
                <a:gd name="connsiteX3" fmla="*/ 571500 w 4369777"/>
                <a:gd name="connsiteY3" fmla="*/ 2092045 h 2092045"/>
                <a:gd name="connsiteX4" fmla="*/ 1617785 w 4369777"/>
                <a:gd name="connsiteY4" fmla="*/ 2074460 h 2092045"/>
                <a:gd name="connsiteX5" fmla="*/ 2769577 w 4369777"/>
                <a:gd name="connsiteY5" fmla="*/ 78606 h 2092045"/>
                <a:gd name="connsiteX6" fmla="*/ 3886200 w 4369777"/>
                <a:gd name="connsiteY6" fmla="*/ 87398 h 2092045"/>
                <a:gd name="connsiteX7" fmla="*/ 4369777 w 4369777"/>
                <a:gd name="connsiteY7" fmla="*/ 878706 h 2092045"/>
                <a:gd name="connsiteX0" fmla="*/ 562446 w 4369777"/>
                <a:gd name="connsiteY0" fmla="*/ 6431 h 2013439"/>
                <a:gd name="connsiteX1" fmla="*/ 608638 w 4369777"/>
                <a:gd name="connsiteY1" fmla="*/ 112463 h 2013439"/>
                <a:gd name="connsiteX2" fmla="*/ 0 w 4369777"/>
                <a:gd name="connsiteY2" fmla="*/ 940777 h 2013439"/>
                <a:gd name="connsiteX3" fmla="*/ 571500 w 4369777"/>
                <a:gd name="connsiteY3" fmla="*/ 2013439 h 2013439"/>
                <a:gd name="connsiteX4" fmla="*/ 1617785 w 4369777"/>
                <a:gd name="connsiteY4" fmla="*/ 1995854 h 2013439"/>
                <a:gd name="connsiteX5" fmla="*/ 2769577 w 4369777"/>
                <a:gd name="connsiteY5" fmla="*/ 0 h 2013439"/>
                <a:gd name="connsiteX6" fmla="*/ 3886200 w 4369777"/>
                <a:gd name="connsiteY6" fmla="*/ 8792 h 2013439"/>
                <a:gd name="connsiteX7" fmla="*/ 4369777 w 4369777"/>
                <a:gd name="connsiteY7" fmla="*/ 800100 h 2013439"/>
                <a:gd name="connsiteX0" fmla="*/ 1244834 w 4369777"/>
                <a:gd name="connsiteY0" fmla="*/ 0 h 2112778"/>
                <a:gd name="connsiteX1" fmla="*/ 608638 w 4369777"/>
                <a:gd name="connsiteY1" fmla="*/ 211802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608638 w 4369777"/>
                <a:gd name="connsiteY1" fmla="*/ 119680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615462 w 4369777"/>
                <a:gd name="connsiteY1" fmla="*/ 136739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577931 w 4369777"/>
                <a:gd name="connsiteY1" fmla="*/ 92384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581343 w 4369777"/>
                <a:gd name="connsiteY1" fmla="*/ 109444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34598 w 4359541"/>
                <a:gd name="connsiteY0" fmla="*/ 0 h 2112778"/>
                <a:gd name="connsiteX1" fmla="*/ 571107 w 4359541"/>
                <a:gd name="connsiteY1" fmla="*/ 109444 h 2112778"/>
                <a:gd name="connsiteX2" fmla="*/ 0 w 4359541"/>
                <a:gd name="connsiteY2" fmla="*/ 1053764 h 2112778"/>
                <a:gd name="connsiteX3" fmla="*/ 561264 w 4359541"/>
                <a:gd name="connsiteY3" fmla="*/ 2112778 h 2112778"/>
                <a:gd name="connsiteX4" fmla="*/ 1607549 w 4359541"/>
                <a:gd name="connsiteY4" fmla="*/ 2095193 h 2112778"/>
                <a:gd name="connsiteX5" fmla="*/ 2759341 w 4359541"/>
                <a:gd name="connsiteY5" fmla="*/ 99339 h 2112778"/>
                <a:gd name="connsiteX6" fmla="*/ 3875964 w 4359541"/>
                <a:gd name="connsiteY6" fmla="*/ 108131 h 2112778"/>
                <a:gd name="connsiteX7" fmla="*/ 4359541 w 4359541"/>
                <a:gd name="connsiteY7" fmla="*/ 899439 h 2112778"/>
                <a:gd name="connsiteX0" fmla="*/ 1231186 w 4356129"/>
                <a:gd name="connsiteY0" fmla="*/ 0 h 2112778"/>
                <a:gd name="connsiteX1" fmla="*/ 567695 w 4356129"/>
                <a:gd name="connsiteY1" fmla="*/ 109444 h 2112778"/>
                <a:gd name="connsiteX2" fmla="*/ 0 w 4356129"/>
                <a:gd name="connsiteY2" fmla="*/ 1064000 h 2112778"/>
                <a:gd name="connsiteX3" fmla="*/ 557852 w 4356129"/>
                <a:gd name="connsiteY3" fmla="*/ 2112778 h 2112778"/>
                <a:gd name="connsiteX4" fmla="*/ 1604137 w 4356129"/>
                <a:gd name="connsiteY4" fmla="*/ 2095193 h 2112778"/>
                <a:gd name="connsiteX5" fmla="*/ 2755929 w 4356129"/>
                <a:gd name="connsiteY5" fmla="*/ 99339 h 2112778"/>
                <a:gd name="connsiteX6" fmla="*/ 3872552 w 4356129"/>
                <a:gd name="connsiteY6" fmla="*/ 108131 h 2112778"/>
                <a:gd name="connsiteX7" fmla="*/ 4356129 w 4356129"/>
                <a:gd name="connsiteY7" fmla="*/ 899439 h 2112778"/>
                <a:gd name="connsiteX0" fmla="*/ 1592852 w 4356129"/>
                <a:gd name="connsiteY0" fmla="*/ 0 h 2047951"/>
                <a:gd name="connsiteX1" fmla="*/ 567695 w 4356129"/>
                <a:gd name="connsiteY1" fmla="*/ 44617 h 2047951"/>
                <a:gd name="connsiteX2" fmla="*/ 0 w 4356129"/>
                <a:gd name="connsiteY2" fmla="*/ 999173 h 2047951"/>
                <a:gd name="connsiteX3" fmla="*/ 557852 w 4356129"/>
                <a:gd name="connsiteY3" fmla="*/ 2047951 h 2047951"/>
                <a:gd name="connsiteX4" fmla="*/ 1604137 w 4356129"/>
                <a:gd name="connsiteY4" fmla="*/ 2030366 h 2047951"/>
                <a:gd name="connsiteX5" fmla="*/ 2755929 w 4356129"/>
                <a:gd name="connsiteY5" fmla="*/ 34512 h 2047951"/>
                <a:gd name="connsiteX6" fmla="*/ 3872552 w 4356129"/>
                <a:gd name="connsiteY6" fmla="*/ 43304 h 2047951"/>
                <a:gd name="connsiteX7" fmla="*/ 4356129 w 4356129"/>
                <a:gd name="connsiteY7" fmla="*/ 834612 h 2047951"/>
                <a:gd name="connsiteX0" fmla="*/ 1592852 w 4356129"/>
                <a:gd name="connsiteY0" fmla="*/ 6562 h 2054513"/>
                <a:gd name="connsiteX1" fmla="*/ 1584453 w 4356129"/>
                <a:gd name="connsiteY1" fmla="*/ 0 h 2054513"/>
                <a:gd name="connsiteX2" fmla="*/ 567695 w 4356129"/>
                <a:gd name="connsiteY2" fmla="*/ 51179 h 2054513"/>
                <a:gd name="connsiteX3" fmla="*/ 0 w 4356129"/>
                <a:gd name="connsiteY3" fmla="*/ 1005735 h 2054513"/>
                <a:gd name="connsiteX4" fmla="*/ 557852 w 4356129"/>
                <a:gd name="connsiteY4" fmla="*/ 2054513 h 2054513"/>
                <a:gd name="connsiteX5" fmla="*/ 1604137 w 4356129"/>
                <a:gd name="connsiteY5" fmla="*/ 2036928 h 2054513"/>
                <a:gd name="connsiteX6" fmla="*/ 2755929 w 4356129"/>
                <a:gd name="connsiteY6" fmla="*/ 41074 h 2054513"/>
                <a:gd name="connsiteX7" fmla="*/ 3872552 w 4356129"/>
                <a:gd name="connsiteY7" fmla="*/ 49866 h 2054513"/>
                <a:gd name="connsiteX8" fmla="*/ 4356129 w 4356129"/>
                <a:gd name="connsiteY8" fmla="*/ 841174 h 2054513"/>
                <a:gd name="connsiteX0" fmla="*/ 1592852 w 4356129"/>
                <a:gd name="connsiteY0" fmla="*/ 0 h 2047951"/>
                <a:gd name="connsiteX1" fmla="*/ 1857408 w 4356129"/>
                <a:gd name="connsiteY1" fmla="*/ 150388 h 2047951"/>
                <a:gd name="connsiteX2" fmla="*/ 567695 w 4356129"/>
                <a:gd name="connsiteY2" fmla="*/ 44617 h 2047951"/>
                <a:gd name="connsiteX3" fmla="*/ 0 w 4356129"/>
                <a:gd name="connsiteY3" fmla="*/ 999173 h 2047951"/>
                <a:gd name="connsiteX4" fmla="*/ 557852 w 4356129"/>
                <a:gd name="connsiteY4" fmla="*/ 2047951 h 2047951"/>
                <a:gd name="connsiteX5" fmla="*/ 1604137 w 4356129"/>
                <a:gd name="connsiteY5" fmla="*/ 2030366 h 2047951"/>
                <a:gd name="connsiteX6" fmla="*/ 2755929 w 4356129"/>
                <a:gd name="connsiteY6" fmla="*/ 34512 h 2047951"/>
                <a:gd name="connsiteX7" fmla="*/ 3872552 w 4356129"/>
                <a:gd name="connsiteY7" fmla="*/ 43304 h 2047951"/>
                <a:gd name="connsiteX8" fmla="*/ 4356129 w 4356129"/>
                <a:gd name="connsiteY8" fmla="*/ 834612 h 2047951"/>
                <a:gd name="connsiteX0" fmla="*/ 1592852 w 4356129"/>
                <a:gd name="connsiteY0" fmla="*/ 30445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2646 w 4356129"/>
                <a:gd name="connsiteY0" fmla="*/ 832251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55823 w 4356129"/>
                <a:gd name="connsiteY0" fmla="*/ 852723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73195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59235 w 4356129"/>
                <a:gd name="connsiteY0" fmla="*/ 849311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69783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25428 h 2034041"/>
                <a:gd name="connsiteX1" fmla="*/ 1693635 w 4356129"/>
                <a:gd name="connsiteY1" fmla="*/ 0 h 2034041"/>
                <a:gd name="connsiteX2" fmla="*/ 567695 w 4356129"/>
                <a:gd name="connsiteY2" fmla="*/ 30707 h 2034041"/>
                <a:gd name="connsiteX3" fmla="*/ 0 w 4356129"/>
                <a:gd name="connsiteY3" fmla="*/ 985263 h 2034041"/>
                <a:gd name="connsiteX4" fmla="*/ 557852 w 4356129"/>
                <a:gd name="connsiteY4" fmla="*/ 2034041 h 2034041"/>
                <a:gd name="connsiteX5" fmla="*/ 1604137 w 4356129"/>
                <a:gd name="connsiteY5" fmla="*/ 2016456 h 2034041"/>
                <a:gd name="connsiteX6" fmla="*/ 2755929 w 4356129"/>
                <a:gd name="connsiteY6" fmla="*/ 20602 h 2034041"/>
                <a:gd name="connsiteX7" fmla="*/ 3872552 w 4356129"/>
                <a:gd name="connsiteY7" fmla="*/ 29394 h 2034041"/>
                <a:gd name="connsiteX8" fmla="*/ 4356129 w 4356129"/>
                <a:gd name="connsiteY8" fmla="*/ 820702 h 2034041"/>
                <a:gd name="connsiteX0" fmla="*/ 2169471 w 4356129"/>
                <a:gd name="connsiteY0" fmla="*/ 804826 h 2013439"/>
                <a:gd name="connsiteX1" fmla="*/ 1693635 w 4356129"/>
                <a:gd name="connsiteY1" fmla="*/ 16930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90223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90223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79987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19229 w 4356129"/>
                <a:gd name="connsiteY0" fmla="*/ 714391 h 2013439"/>
                <a:gd name="connsiteX1" fmla="*/ 1679987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129" h="2013439">
                  <a:moveTo>
                    <a:pt x="2119229" y="714391"/>
                  </a:moveTo>
                  <a:lnTo>
                    <a:pt x="1679987" y="13518"/>
                  </a:lnTo>
                  <a:lnTo>
                    <a:pt x="567695" y="10105"/>
                  </a:lnTo>
                  <a:lnTo>
                    <a:pt x="0" y="964661"/>
                  </a:lnTo>
                  <a:lnTo>
                    <a:pt x="557852" y="2013439"/>
                  </a:lnTo>
                  <a:lnTo>
                    <a:pt x="1604137" y="1995854"/>
                  </a:lnTo>
                  <a:lnTo>
                    <a:pt x="2755929" y="0"/>
                  </a:lnTo>
                  <a:lnTo>
                    <a:pt x="3872552" y="8792"/>
                  </a:lnTo>
                  <a:lnTo>
                    <a:pt x="4356129" y="800100"/>
                  </a:lnTo>
                </a:path>
              </a:pathLst>
            </a:custGeom>
            <a:noFill/>
            <a:ln w="165100" cap="flat" cmpd="sng" algn="ctr">
              <a:solidFill>
                <a:srgbClr val="333657"/>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1" name="Freeform: Shape 4">
              <a:extLst>
                <a:ext uri="{FF2B5EF4-FFF2-40B4-BE49-F238E27FC236}">
                  <a16:creationId xmlns:a16="http://schemas.microsoft.com/office/drawing/2014/main" id="{6A215D03-D6F9-9E43-9055-92CC453E69A7}"/>
                </a:ext>
              </a:extLst>
            </p:cNvPr>
            <p:cNvSpPr/>
            <p:nvPr/>
          </p:nvSpPr>
          <p:spPr>
            <a:xfrm>
              <a:off x="3065807" y="2854532"/>
              <a:ext cx="4299438" cy="2013439"/>
            </a:xfrm>
            <a:custGeom>
              <a:avLst/>
              <a:gdLst>
                <a:gd name="connsiteX0" fmla="*/ 0 w 4387361"/>
                <a:gd name="connsiteY0" fmla="*/ 958362 h 2013439"/>
                <a:gd name="connsiteX1" fmla="*/ 589084 w 4387361"/>
                <a:gd name="connsiteY1" fmla="*/ 2013439 h 2013439"/>
                <a:gd name="connsiteX2" fmla="*/ 1635369 w 4387361"/>
                <a:gd name="connsiteY2" fmla="*/ 1995854 h 2013439"/>
                <a:gd name="connsiteX3" fmla="*/ 2787161 w 4387361"/>
                <a:gd name="connsiteY3" fmla="*/ 0 h 2013439"/>
                <a:gd name="connsiteX4" fmla="*/ 3903784 w 4387361"/>
                <a:gd name="connsiteY4" fmla="*/ 8792 h 2013439"/>
                <a:gd name="connsiteX5" fmla="*/ 4387361 w 4387361"/>
                <a:gd name="connsiteY5" fmla="*/ 800100 h 2013439"/>
                <a:gd name="connsiteX0" fmla="*/ 0 w 4264269"/>
                <a:gd name="connsiteY0" fmla="*/ 1169378 h 2013439"/>
                <a:gd name="connsiteX1" fmla="*/ 465992 w 4264269"/>
                <a:gd name="connsiteY1" fmla="*/ 2013439 h 2013439"/>
                <a:gd name="connsiteX2" fmla="*/ 1512277 w 4264269"/>
                <a:gd name="connsiteY2" fmla="*/ 1995854 h 2013439"/>
                <a:gd name="connsiteX3" fmla="*/ 2664069 w 4264269"/>
                <a:gd name="connsiteY3" fmla="*/ 0 h 2013439"/>
                <a:gd name="connsiteX4" fmla="*/ 3780692 w 4264269"/>
                <a:gd name="connsiteY4" fmla="*/ 8792 h 2013439"/>
                <a:gd name="connsiteX5" fmla="*/ 4264269 w 4264269"/>
                <a:gd name="connsiteY5" fmla="*/ 800100 h 2013439"/>
                <a:gd name="connsiteX0" fmla="*/ 0 w 4299438"/>
                <a:gd name="connsiteY0" fmla="*/ 1099040 h 2013439"/>
                <a:gd name="connsiteX1" fmla="*/ 501161 w 4299438"/>
                <a:gd name="connsiteY1" fmla="*/ 2013439 h 2013439"/>
                <a:gd name="connsiteX2" fmla="*/ 1547446 w 4299438"/>
                <a:gd name="connsiteY2" fmla="*/ 1995854 h 2013439"/>
                <a:gd name="connsiteX3" fmla="*/ 2699238 w 4299438"/>
                <a:gd name="connsiteY3" fmla="*/ 0 h 2013439"/>
                <a:gd name="connsiteX4" fmla="*/ 3815861 w 4299438"/>
                <a:gd name="connsiteY4" fmla="*/ 8792 h 2013439"/>
                <a:gd name="connsiteX5" fmla="*/ 4299438 w 4299438"/>
                <a:gd name="connsiteY5" fmla="*/ 800100 h 201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9438" h="2013439">
                  <a:moveTo>
                    <a:pt x="0" y="1099040"/>
                  </a:moveTo>
                  <a:lnTo>
                    <a:pt x="501161" y="2013439"/>
                  </a:lnTo>
                  <a:lnTo>
                    <a:pt x="1547446" y="1995854"/>
                  </a:lnTo>
                  <a:lnTo>
                    <a:pt x="2699238" y="0"/>
                  </a:lnTo>
                  <a:lnTo>
                    <a:pt x="3815861" y="8792"/>
                  </a:lnTo>
                  <a:lnTo>
                    <a:pt x="4299438" y="800100"/>
                  </a:lnTo>
                </a:path>
              </a:pathLst>
            </a:custGeom>
            <a:noFill/>
            <a:ln w="165100" cap="flat" cmpd="sng" algn="ctr">
              <a:solidFill>
                <a:srgbClr val="8D8EA8"/>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2" name="Freeform: Shape 5">
              <a:extLst>
                <a:ext uri="{FF2B5EF4-FFF2-40B4-BE49-F238E27FC236}">
                  <a16:creationId xmlns:a16="http://schemas.microsoft.com/office/drawing/2014/main" id="{32871AE8-7E79-3445-A4DA-03DFCEC8437E}"/>
                </a:ext>
              </a:extLst>
            </p:cNvPr>
            <p:cNvSpPr/>
            <p:nvPr/>
          </p:nvSpPr>
          <p:spPr>
            <a:xfrm>
              <a:off x="5305137" y="2854532"/>
              <a:ext cx="4299438" cy="2013439"/>
            </a:xfrm>
            <a:custGeom>
              <a:avLst/>
              <a:gdLst>
                <a:gd name="connsiteX0" fmla="*/ 0 w 4387361"/>
                <a:gd name="connsiteY0" fmla="*/ 958362 h 2013439"/>
                <a:gd name="connsiteX1" fmla="*/ 589084 w 4387361"/>
                <a:gd name="connsiteY1" fmla="*/ 2013439 h 2013439"/>
                <a:gd name="connsiteX2" fmla="*/ 1635369 w 4387361"/>
                <a:gd name="connsiteY2" fmla="*/ 1995854 h 2013439"/>
                <a:gd name="connsiteX3" fmla="*/ 2787161 w 4387361"/>
                <a:gd name="connsiteY3" fmla="*/ 0 h 2013439"/>
                <a:gd name="connsiteX4" fmla="*/ 3903784 w 4387361"/>
                <a:gd name="connsiteY4" fmla="*/ 8792 h 2013439"/>
                <a:gd name="connsiteX5" fmla="*/ 4387361 w 4387361"/>
                <a:gd name="connsiteY5" fmla="*/ 800100 h 2013439"/>
                <a:gd name="connsiteX0" fmla="*/ 0 w 4264269"/>
                <a:gd name="connsiteY0" fmla="*/ 1169378 h 2013439"/>
                <a:gd name="connsiteX1" fmla="*/ 465992 w 4264269"/>
                <a:gd name="connsiteY1" fmla="*/ 2013439 h 2013439"/>
                <a:gd name="connsiteX2" fmla="*/ 1512277 w 4264269"/>
                <a:gd name="connsiteY2" fmla="*/ 1995854 h 2013439"/>
                <a:gd name="connsiteX3" fmla="*/ 2664069 w 4264269"/>
                <a:gd name="connsiteY3" fmla="*/ 0 h 2013439"/>
                <a:gd name="connsiteX4" fmla="*/ 3780692 w 4264269"/>
                <a:gd name="connsiteY4" fmla="*/ 8792 h 2013439"/>
                <a:gd name="connsiteX5" fmla="*/ 4264269 w 4264269"/>
                <a:gd name="connsiteY5" fmla="*/ 800100 h 2013439"/>
                <a:gd name="connsiteX0" fmla="*/ 0 w 4299438"/>
                <a:gd name="connsiteY0" fmla="*/ 1099040 h 2013439"/>
                <a:gd name="connsiteX1" fmla="*/ 501161 w 4299438"/>
                <a:gd name="connsiteY1" fmla="*/ 2013439 h 2013439"/>
                <a:gd name="connsiteX2" fmla="*/ 1547446 w 4299438"/>
                <a:gd name="connsiteY2" fmla="*/ 1995854 h 2013439"/>
                <a:gd name="connsiteX3" fmla="*/ 2699238 w 4299438"/>
                <a:gd name="connsiteY3" fmla="*/ 0 h 2013439"/>
                <a:gd name="connsiteX4" fmla="*/ 3815861 w 4299438"/>
                <a:gd name="connsiteY4" fmla="*/ 8792 h 2013439"/>
                <a:gd name="connsiteX5" fmla="*/ 4299438 w 4299438"/>
                <a:gd name="connsiteY5" fmla="*/ 800100 h 201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9438" h="2013439">
                  <a:moveTo>
                    <a:pt x="0" y="1099040"/>
                  </a:moveTo>
                  <a:lnTo>
                    <a:pt x="501161" y="2013439"/>
                  </a:lnTo>
                  <a:lnTo>
                    <a:pt x="1547446" y="1995854"/>
                  </a:lnTo>
                  <a:lnTo>
                    <a:pt x="2699238" y="0"/>
                  </a:lnTo>
                  <a:lnTo>
                    <a:pt x="3815861" y="8792"/>
                  </a:lnTo>
                  <a:lnTo>
                    <a:pt x="4299438" y="800100"/>
                  </a:lnTo>
                </a:path>
              </a:pathLst>
            </a:custGeom>
            <a:noFill/>
            <a:ln w="165100" cap="flat" cmpd="sng" algn="ctr">
              <a:solidFill>
                <a:srgbClr val="AAAAAA"/>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3" name="Freeform: Shape 6">
              <a:extLst>
                <a:ext uri="{FF2B5EF4-FFF2-40B4-BE49-F238E27FC236}">
                  <a16:creationId xmlns:a16="http://schemas.microsoft.com/office/drawing/2014/main" id="{7D786CB2-22E2-CF45-A3CB-F656D6DC1148}"/>
                </a:ext>
              </a:extLst>
            </p:cNvPr>
            <p:cNvSpPr/>
            <p:nvPr/>
          </p:nvSpPr>
          <p:spPr>
            <a:xfrm rot="10800000">
              <a:off x="7544468" y="2854533"/>
              <a:ext cx="4356129" cy="2013439"/>
            </a:xfrm>
            <a:custGeom>
              <a:avLst/>
              <a:gdLst>
                <a:gd name="connsiteX0" fmla="*/ 0 w 4387361"/>
                <a:gd name="connsiteY0" fmla="*/ 958362 h 2013439"/>
                <a:gd name="connsiteX1" fmla="*/ 589084 w 4387361"/>
                <a:gd name="connsiteY1" fmla="*/ 2013439 h 2013439"/>
                <a:gd name="connsiteX2" fmla="*/ 1635369 w 4387361"/>
                <a:gd name="connsiteY2" fmla="*/ 1995854 h 2013439"/>
                <a:gd name="connsiteX3" fmla="*/ 2787161 w 4387361"/>
                <a:gd name="connsiteY3" fmla="*/ 0 h 2013439"/>
                <a:gd name="connsiteX4" fmla="*/ 3903784 w 4387361"/>
                <a:gd name="connsiteY4" fmla="*/ 8792 h 2013439"/>
                <a:gd name="connsiteX5" fmla="*/ 4387361 w 4387361"/>
                <a:gd name="connsiteY5" fmla="*/ 800100 h 2013439"/>
                <a:gd name="connsiteX0" fmla="*/ 0 w 4387361"/>
                <a:gd name="connsiteY0" fmla="*/ 958362 h 2013439"/>
                <a:gd name="connsiteX1" fmla="*/ 8792 w 4387361"/>
                <a:gd name="connsiteY1" fmla="*/ 940777 h 2013439"/>
                <a:gd name="connsiteX2" fmla="*/ 589084 w 4387361"/>
                <a:gd name="connsiteY2" fmla="*/ 2013439 h 2013439"/>
                <a:gd name="connsiteX3" fmla="*/ 1635369 w 4387361"/>
                <a:gd name="connsiteY3" fmla="*/ 1995854 h 2013439"/>
                <a:gd name="connsiteX4" fmla="*/ 2787161 w 4387361"/>
                <a:gd name="connsiteY4" fmla="*/ 0 h 2013439"/>
                <a:gd name="connsiteX5" fmla="*/ 3903784 w 4387361"/>
                <a:gd name="connsiteY5" fmla="*/ 8792 h 2013439"/>
                <a:gd name="connsiteX6" fmla="*/ 4387361 w 4387361"/>
                <a:gd name="connsiteY6" fmla="*/ 800100 h 2013439"/>
                <a:gd name="connsiteX0" fmla="*/ 0 w 4387361"/>
                <a:gd name="connsiteY0" fmla="*/ 958362 h 2013439"/>
                <a:gd name="connsiteX1" fmla="*/ 17584 w 4387361"/>
                <a:gd name="connsiteY1" fmla="*/ 940777 h 2013439"/>
                <a:gd name="connsiteX2" fmla="*/ 589084 w 4387361"/>
                <a:gd name="connsiteY2" fmla="*/ 2013439 h 2013439"/>
                <a:gd name="connsiteX3" fmla="*/ 1635369 w 4387361"/>
                <a:gd name="connsiteY3" fmla="*/ 1995854 h 2013439"/>
                <a:gd name="connsiteX4" fmla="*/ 2787161 w 4387361"/>
                <a:gd name="connsiteY4" fmla="*/ 0 h 2013439"/>
                <a:gd name="connsiteX5" fmla="*/ 3903784 w 4387361"/>
                <a:gd name="connsiteY5" fmla="*/ 8792 h 2013439"/>
                <a:gd name="connsiteX6" fmla="*/ 4387361 w 4387361"/>
                <a:gd name="connsiteY6" fmla="*/ 800100 h 2013439"/>
                <a:gd name="connsiteX0" fmla="*/ 238312 w 4369777"/>
                <a:gd name="connsiteY0" fmla="*/ 504574 h 2013439"/>
                <a:gd name="connsiteX1" fmla="*/ 0 w 4369777"/>
                <a:gd name="connsiteY1" fmla="*/ 940777 h 2013439"/>
                <a:gd name="connsiteX2" fmla="*/ 571500 w 4369777"/>
                <a:gd name="connsiteY2" fmla="*/ 2013439 h 2013439"/>
                <a:gd name="connsiteX3" fmla="*/ 1617785 w 4369777"/>
                <a:gd name="connsiteY3" fmla="*/ 1995854 h 2013439"/>
                <a:gd name="connsiteX4" fmla="*/ 2769577 w 4369777"/>
                <a:gd name="connsiteY4" fmla="*/ 0 h 2013439"/>
                <a:gd name="connsiteX5" fmla="*/ 3886200 w 4369777"/>
                <a:gd name="connsiteY5" fmla="*/ 8792 h 2013439"/>
                <a:gd name="connsiteX6" fmla="*/ 4369777 w 4369777"/>
                <a:gd name="connsiteY6" fmla="*/ 800100 h 2013439"/>
                <a:gd name="connsiteX0" fmla="*/ 565858 w 4369777"/>
                <a:gd name="connsiteY0" fmla="*/ 0 h 2024068"/>
                <a:gd name="connsiteX1" fmla="*/ 0 w 4369777"/>
                <a:gd name="connsiteY1" fmla="*/ 951406 h 2024068"/>
                <a:gd name="connsiteX2" fmla="*/ 571500 w 4369777"/>
                <a:gd name="connsiteY2" fmla="*/ 2024068 h 2024068"/>
                <a:gd name="connsiteX3" fmla="*/ 1617785 w 4369777"/>
                <a:gd name="connsiteY3" fmla="*/ 2006483 h 2024068"/>
                <a:gd name="connsiteX4" fmla="*/ 2769577 w 4369777"/>
                <a:gd name="connsiteY4" fmla="*/ 10629 h 2024068"/>
                <a:gd name="connsiteX5" fmla="*/ 3886200 w 4369777"/>
                <a:gd name="connsiteY5" fmla="*/ 19421 h 2024068"/>
                <a:gd name="connsiteX6" fmla="*/ 4369777 w 4369777"/>
                <a:gd name="connsiteY6" fmla="*/ 810729 h 2024068"/>
                <a:gd name="connsiteX0" fmla="*/ 562446 w 4369777"/>
                <a:gd name="connsiteY0" fmla="*/ 6431 h 2013439"/>
                <a:gd name="connsiteX1" fmla="*/ 0 w 4369777"/>
                <a:gd name="connsiteY1" fmla="*/ 940777 h 2013439"/>
                <a:gd name="connsiteX2" fmla="*/ 571500 w 4369777"/>
                <a:gd name="connsiteY2" fmla="*/ 2013439 h 2013439"/>
                <a:gd name="connsiteX3" fmla="*/ 1617785 w 4369777"/>
                <a:gd name="connsiteY3" fmla="*/ 1995854 h 2013439"/>
                <a:gd name="connsiteX4" fmla="*/ 2769577 w 4369777"/>
                <a:gd name="connsiteY4" fmla="*/ 0 h 2013439"/>
                <a:gd name="connsiteX5" fmla="*/ 3886200 w 4369777"/>
                <a:gd name="connsiteY5" fmla="*/ 8792 h 2013439"/>
                <a:gd name="connsiteX6" fmla="*/ 4369777 w 4369777"/>
                <a:gd name="connsiteY6" fmla="*/ 800100 h 2013439"/>
                <a:gd name="connsiteX0" fmla="*/ 562446 w 4369777"/>
                <a:gd name="connsiteY0" fmla="*/ 6431 h 2013439"/>
                <a:gd name="connsiteX1" fmla="*/ 554047 w 4369777"/>
                <a:gd name="connsiteY1" fmla="*/ 3281 h 2013439"/>
                <a:gd name="connsiteX2" fmla="*/ 0 w 4369777"/>
                <a:gd name="connsiteY2" fmla="*/ 940777 h 2013439"/>
                <a:gd name="connsiteX3" fmla="*/ 571500 w 4369777"/>
                <a:gd name="connsiteY3" fmla="*/ 2013439 h 2013439"/>
                <a:gd name="connsiteX4" fmla="*/ 1617785 w 4369777"/>
                <a:gd name="connsiteY4" fmla="*/ 1995854 h 2013439"/>
                <a:gd name="connsiteX5" fmla="*/ 2769577 w 4369777"/>
                <a:gd name="connsiteY5" fmla="*/ 0 h 2013439"/>
                <a:gd name="connsiteX6" fmla="*/ 3886200 w 4369777"/>
                <a:gd name="connsiteY6" fmla="*/ 8792 h 2013439"/>
                <a:gd name="connsiteX7" fmla="*/ 4369777 w 4369777"/>
                <a:gd name="connsiteY7" fmla="*/ 800100 h 2013439"/>
                <a:gd name="connsiteX0" fmla="*/ 562446 w 4369777"/>
                <a:gd name="connsiteY0" fmla="*/ 85037 h 2092045"/>
                <a:gd name="connsiteX1" fmla="*/ 670053 w 4369777"/>
                <a:gd name="connsiteY1" fmla="*/ 0 h 2092045"/>
                <a:gd name="connsiteX2" fmla="*/ 0 w 4369777"/>
                <a:gd name="connsiteY2" fmla="*/ 1019383 h 2092045"/>
                <a:gd name="connsiteX3" fmla="*/ 571500 w 4369777"/>
                <a:gd name="connsiteY3" fmla="*/ 2092045 h 2092045"/>
                <a:gd name="connsiteX4" fmla="*/ 1617785 w 4369777"/>
                <a:gd name="connsiteY4" fmla="*/ 2074460 h 2092045"/>
                <a:gd name="connsiteX5" fmla="*/ 2769577 w 4369777"/>
                <a:gd name="connsiteY5" fmla="*/ 78606 h 2092045"/>
                <a:gd name="connsiteX6" fmla="*/ 3886200 w 4369777"/>
                <a:gd name="connsiteY6" fmla="*/ 87398 h 2092045"/>
                <a:gd name="connsiteX7" fmla="*/ 4369777 w 4369777"/>
                <a:gd name="connsiteY7" fmla="*/ 878706 h 2092045"/>
                <a:gd name="connsiteX0" fmla="*/ 562446 w 4369777"/>
                <a:gd name="connsiteY0" fmla="*/ 6431 h 2013439"/>
                <a:gd name="connsiteX1" fmla="*/ 608638 w 4369777"/>
                <a:gd name="connsiteY1" fmla="*/ 112463 h 2013439"/>
                <a:gd name="connsiteX2" fmla="*/ 0 w 4369777"/>
                <a:gd name="connsiteY2" fmla="*/ 940777 h 2013439"/>
                <a:gd name="connsiteX3" fmla="*/ 571500 w 4369777"/>
                <a:gd name="connsiteY3" fmla="*/ 2013439 h 2013439"/>
                <a:gd name="connsiteX4" fmla="*/ 1617785 w 4369777"/>
                <a:gd name="connsiteY4" fmla="*/ 1995854 h 2013439"/>
                <a:gd name="connsiteX5" fmla="*/ 2769577 w 4369777"/>
                <a:gd name="connsiteY5" fmla="*/ 0 h 2013439"/>
                <a:gd name="connsiteX6" fmla="*/ 3886200 w 4369777"/>
                <a:gd name="connsiteY6" fmla="*/ 8792 h 2013439"/>
                <a:gd name="connsiteX7" fmla="*/ 4369777 w 4369777"/>
                <a:gd name="connsiteY7" fmla="*/ 800100 h 2013439"/>
                <a:gd name="connsiteX0" fmla="*/ 1244834 w 4369777"/>
                <a:gd name="connsiteY0" fmla="*/ 0 h 2112778"/>
                <a:gd name="connsiteX1" fmla="*/ 608638 w 4369777"/>
                <a:gd name="connsiteY1" fmla="*/ 211802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608638 w 4369777"/>
                <a:gd name="connsiteY1" fmla="*/ 119680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615462 w 4369777"/>
                <a:gd name="connsiteY1" fmla="*/ 136739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577931 w 4369777"/>
                <a:gd name="connsiteY1" fmla="*/ 92384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44834 w 4369777"/>
                <a:gd name="connsiteY0" fmla="*/ 0 h 2112778"/>
                <a:gd name="connsiteX1" fmla="*/ 581343 w 4369777"/>
                <a:gd name="connsiteY1" fmla="*/ 109444 h 2112778"/>
                <a:gd name="connsiteX2" fmla="*/ 0 w 4369777"/>
                <a:gd name="connsiteY2" fmla="*/ 1040116 h 2112778"/>
                <a:gd name="connsiteX3" fmla="*/ 571500 w 4369777"/>
                <a:gd name="connsiteY3" fmla="*/ 2112778 h 2112778"/>
                <a:gd name="connsiteX4" fmla="*/ 1617785 w 4369777"/>
                <a:gd name="connsiteY4" fmla="*/ 2095193 h 2112778"/>
                <a:gd name="connsiteX5" fmla="*/ 2769577 w 4369777"/>
                <a:gd name="connsiteY5" fmla="*/ 99339 h 2112778"/>
                <a:gd name="connsiteX6" fmla="*/ 3886200 w 4369777"/>
                <a:gd name="connsiteY6" fmla="*/ 108131 h 2112778"/>
                <a:gd name="connsiteX7" fmla="*/ 4369777 w 4369777"/>
                <a:gd name="connsiteY7" fmla="*/ 899439 h 2112778"/>
                <a:gd name="connsiteX0" fmla="*/ 1234598 w 4359541"/>
                <a:gd name="connsiteY0" fmla="*/ 0 h 2112778"/>
                <a:gd name="connsiteX1" fmla="*/ 571107 w 4359541"/>
                <a:gd name="connsiteY1" fmla="*/ 109444 h 2112778"/>
                <a:gd name="connsiteX2" fmla="*/ 0 w 4359541"/>
                <a:gd name="connsiteY2" fmla="*/ 1053764 h 2112778"/>
                <a:gd name="connsiteX3" fmla="*/ 561264 w 4359541"/>
                <a:gd name="connsiteY3" fmla="*/ 2112778 h 2112778"/>
                <a:gd name="connsiteX4" fmla="*/ 1607549 w 4359541"/>
                <a:gd name="connsiteY4" fmla="*/ 2095193 h 2112778"/>
                <a:gd name="connsiteX5" fmla="*/ 2759341 w 4359541"/>
                <a:gd name="connsiteY5" fmla="*/ 99339 h 2112778"/>
                <a:gd name="connsiteX6" fmla="*/ 3875964 w 4359541"/>
                <a:gd name="connsiteY6" fmla="*/ 108131 h 2112778"/>
                <a:gd name="connsiteX7" fmla="*/ 4359541 w 4359541"/>
                <a:gd name="connsiteY7" fmla="*/ 899439 h 2112778"/>
                <a:gd name="connsiteX0" fmla="*/ 1231186 w 4356129"/>
                <a:gd name="connsiteY0" fmla="*/ 0 h 2112778"/>
                <a:gd name="connsiteX1" fmla="*/ 567695 w 4356129"/>
                <a:gd name="connsiteY1" fmla="*/ 109444 h 2112778"/>
                <a:gd name="connsiteX2" fmla="*/ 0 w 4356129"/>
                <a:gd name="connsiteY2" fmla="*/ 1064000 h 2112778"/>
                <a:gd name="connsiteX3" fmla="*/ 557852 w 4356129"/>
                <a:gd name="connsiteY3" fmla="*/ 2112778 h 2112778"/>
                <a:gd name="connsiteX4" fmla="*/ 1604137 w 4356129"/>
                <a:gd name="connsiteY4" fmla="*/ 2095193 h 2112778"/>
                <a:gd name="connsiteX5" fmla="*/ 2755929 w 4356129"/>
                <a:gd name="connsiteY5" fmla="*/ 99339 h 2112778"/>
                <a:gd name="connsiteX6" fmla="*/ 3872552 w 4356129"/>
                <a:gd name="connsiteY6" fmla="*/ 108131 h 2112778"/>
                <a:gd name="connsiteX7" fmla="*/ 4356129 w 4356129"/>
                <a:gd name="connsiteY7" fmla="*/ 899439 h 2112778"/>
                <a:gd name="connsiteX0" fmla="*/ 1592852 w 4356129"/>
                <a:gd name="connsiteY0" fmla="*/ 0 h 2047951"/>
                <a:gd name="connsiteX1" fmla="*/ 567695 w 4356129"/>
                <a:gd name="connsiteY1" fmla="*/ 44617 h 2047951"/>
                <a:gd name="connsiteX2" fmla="*/ 0 w 4356129"/>
                <a:gd name="connsiteY2" fmla="*/ 999173 h 2047951"/>
                <a:gd name="connsiteX3" fmla="*/ 557852 w 4356129"/>
                <a:gd name="connsiteY3" fmla="*/ 2047951 h 2047951"/>
                <a:gd name="connsiteX4" fmla="*/ 1604137 w 4356129"/>
                <a:gd name="connsiteY4" fmla="*/ 2030366 h 2047951"/>
                <a:gd name="connsiteX5" fmla="*/ 2755929 w 4356129"/>
                <a:gd name="connsiteY5" fmla="*/ 34512 h 2047951"/>
                <a:gd name="connsiteX6" fmla="*/ 3872552 w 4356129"/>
                <a:gd name="connsiteY6" fmla="*/ 43304 h 2047951"/>
                <a:gd name="connsiteX7" fmla="*/ 4356129 w 4356129"/>
                <a:gd name="connsiteY7" fmla="*/ 834612 h 2047951"/>
                <a:gd name="connsiteX0" fmla="*/ 1592852 w 4356129"/>
                <a:gd name="connsiteY0" fmla="*/ 6562 h 2054513"/>
                <a:gd name="connsiteX1" fmla="*/ 1584453 w 4356129"/>
                <a:gd name="connsiteY1" fmla="*/ 0 h 2054513"/>
                <a:gd name="connsiteX2" fmla="*/ 567695 w 4356129"/>
                <a:gd name="connsiteY2" fmla="*/ 51179 h 2054513"/>
                <a:gd name="connsiteX3" fmla="*/ 0 w 4356129"/>
                <a:gd name="connsiteY3" fmla="*/ 1005735 h 2054513"/>
                <a:gd name="connsiteX4" fmla="*/ 557852 w 4356129"/>
                <a:gd name="connsiteY4" fmla="*/ 2054513 h 2054513"/>
                <a:gd name="connsiteX5" fmla="*/ 1604137 w 4356129"/>
                <a:gd name="connsiteY5" fmla="*/ 2036928 h 2054513"/>
                <a:gd name="connsiteX6" fmla="*/ 2755929 w 4356129"/>
                <a:gd name="connsiteY6" fmla="*/ 41074 h 2054513"/>
                <a:gd name="connsiteX7" fmla="*/ 3872552 w 4356129"/>
                <a:gd name="connsiteY7" fmla="*/ 49866 h 2054513"/>
                <a:gd name="connsiteX8" fmla="*/ 4356129 w 4356129"/>
                <a:gd name="connsiteY8" fmla="*/ 841174 h 2054513"/>
                <a:gd name="connsiteX0" fmla="*/ 1592852 w 4356129"/>
                <a:gd name="connsiteY0" fmla="*/ 0 h 2047951"/>
                <a:gd name="connsiteX1" fmla="*/ 1857408 w 4356129"/>
                <a:gd name="connsiteY1" fmla="*/ 150388 h 2047951"/>
                <a:gd name="connsiteX2" fmla="*/ 567695 w 4356129"/>
                <a:gd name="connsiteY2" fmla="*/ 44617 h 2047951"/>
                <a:gd name="connsiteX3" fmla="*/ 0 w 4356129"/>
                <a:gd name="connsiteY3" fmla="*/ 999173 h 2047951"/>
                <a:gd name="connsiteX4" fmla="*/ 557852 w 4356129"/>
                <a:gd name="connsiteY4" fmla="*/ 2047951 h 2047951"/>
                <a:gd name="connsiteX5" fmla="*/ 1604137 w 4356129"/>
                <a:gd name="connsiteY5" fmla="*/ 2030366 h 2047951"/>
                <a:gd name="connsiteX6" fmla="*/ 2755929 w 4356129"/>
                <a:gd name="connsiteY6" fmla="*/ 34512 h 2047951"/>
                <a:gd name="connsiteX7" fmla="*/ 3872552 w 4356129"/>
                <a:gd name="connsiteY7" fmla="*/ 43304 h 2047951"/>
                <a:gd name="connsiteX8" fmla="*/ 4356129 w 4356129"/>
                <a:gd name="connsiteY8" fmla="*/ 834612 h 2047951"/>
                <a:gd name="connsiteX0" fmla="*/ 1592852 w 4356129"/>
                <a:gd name="connsiteY0" fmla="*/ 30445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2646 w 4356129"/>
                <a:gd name="connsiteY0" fmla="*/ 832251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55823 w 4356129"/>
                <a:gd name="connsiteY0" fmla="*/ 852723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73195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59235 w 4356129"/>
                <a:gd name="connsiteY0" fmla="*/ 849311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69783 h 2078396"/>
                <a:gd name="connsiteX1" fmla="*/ 1563981 w 4356129"/>
                <a:gd name="connsiteY1" fmla="*/ 0 h 2078396"/>
                <a:gd name="connsiteX2" fmla="*/ 567695 w 4356129"/>
                <a:gd name="connsiteY2" fmla="*/ 75062 h 2078396"/>
                <a:gd name="connsiteX3" fmla="*/ 0 w 4356129"/>
                <a:gd name="connsiteY3" fmla="*/ 1029618 h 2078396"/>
                <a:gd name="connsiteX4" fmla="*/ 557852 w 4356129"/>
                <a:gd name="connsiteY4" fmla="*/ 2078396 h 2078396"/>
                <a:gd name="connsiteX5" fmla="*/ 1604137 w 4356129"/>
                <a:gd name="connsiteY5" fmla="*/ 2060811 h 2078396"/>
                <a:gd name="connsiteX6" fmla="*/ 2755929 w 4356129"/>
                <a:gd name="connsiteY6" fmla="*/ 64957 h 2078396"/>
                <a:gd name="connsiteX7" fmla="*/ 3872552 w 4356129"/>
                <a:gd name="connsiteY7" fmla="*/ 73749 h 2078396"/>
                <a:gd name="connsiteX8" fmla="*/ 4356129 w 4356129"/>
                <a:gd name="connsiteY8" fmla="*/ 865057 h 2078396"/>
                <a:gd name="connsiteX0" fmla="*/ 2169471 w 4356129"/>
                <a:gd name="connsiteY0" fmla="*/ 825428 h 2034041"/>
                <a:gd name="connsiteX1" fmla="*/ 1693635 w 4356129"/>
                <a:gd name="connsiteY1" fmla="*/ 0 h 2034041"/>
                <a:gd name="connsiteX2" fmla="*/ 567695 w 4356129"/>
                <a:gd name="connsiteY2" fmla="*/ 30707 h 2034041"/>
                <a:gd name="connsiteX3" fmla="*/ 0 w 4356129"/>
                <a:gd name="connsiteY3" fmla="*/ 985263 h 2034041"/>
                <a:gd name="connsiteX4" fmla="*/ 557852 w 4356129"/>
                <a:gd name="connsiteY4" fmla="*/ 2034041 h 2034041"/>
                <a:gd name="connsiteX5" fmla="*/ 1604137 w 4356129"/>
                <a:gd name="connsiteY5" fmla="*/ 2016456 h 2034041"/>
                <a:gd name="connsiteX6" fmla="*/ 2755929 w 4356129"/>
                <a:gd name="connsiteY6" fmla="*/ 20602 h 2034041"/>
                <a:gd name="connsiteX7" fmla="*/ 3872552 w 4356129"/>
                <a:gd name="connsiteY7" fmla="*/ 29394 h 2034041"/>
                <a:gd name="connsiteX8" fmla="*/ 4356129 w 4356129"/>
                <a:gd name="connsiteY8" fmla="*/ 820702 h 2034041"/>
                <a:gd name="connsiteX0" fmla="*/ 2169471 w 4356129"/>
                <a:gd name="connsiteY0" fmla="*/ 804826 h 2013439"/>
                <a:gd name="connsiteX1" fmla="*/ 1693635 w 4356129"/>
                <a:gd name="connsiteY1" fmla="*/ 16930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90223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90223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169471 w 4356129"/>
                <a:gd name="connsiteY0" fmla="*/ 804826 h 2013439"/>
                <a:gd name="connsiteX1" fmla="*/ 1679987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068988 w 4356129"/>
                <a:gd name="connsiteY0" fmla="*/ 754584 h 2013439"/>
                <a:gd name="connsiteX1" fmla="*/ 1679987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 name="connsiteX0" fmla="*/ 2068988 w 4356129"/>
                <a:gd name="connsiteY0" fmla="*/ 754584 h 2013439"/>
                <a:gd name="connsiteX1" fmla="*/ 1679987 w 4356129"/>
                <a:gd name="connsiteY1" fmla="*/ 13518 h 2013439"/>
                <a:gd name="connsiteX2" fmla="*/ 567695 w 4356129"/>
                <a:gd name="connsiteY2" fmla="*/ 10105 h 2013439"/>
                <a:gd name="connsiteX3" fmla="*/ 0 w 4356129"/>
                <a:gd name="connsiteY3" fmla="*/ 964661 h 2013439"/>
                <a:gd name="connsiteX4" fmla="*/ 557852 w 4356129"/>
                <a:gd name="connsiteY4" fmla="*/ 2013439 h 2013439"/>
                <a:gd name="connsiteX5" fmla="*/ 1604137 w 4356129"/>
                <a:gd name="connsiteY5" fmla="*/ 1995854 h 2013439"/>
                <a:gd name="connsiteX6" fmla="*/ 2755929 w 4356129"/>
                <a:gd name="connsiteY6" fmla="*/ 0 h 2013439"/>
                <a:gd name="connsiteX7" fmla="*/ 3872552 w 4356129"/>
                <a:gd name="connsiteY7" fmla="*/ 8792 h 2013439"/>
                <a:gd name="connsiteX8" fmla="*/ 4356129 w 4356129"/>
                <a:gd name="connsiteY8" fmla="*/ 800100 h 201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129" h="2013439">
                  <a:moveTo>
                    <a:pt x="2068988" y="754584"/>
                  </a:moveTo>
                  <a:lnTo>
                    <a:pt x="1679987" y="13518"/>
                  </a:lnTo>
                  <a:lnTo>
                    <a:pt x="567695" y="10105"/>
                  </a:lnTo>
                  <a:lnTo>
                    <a:pt x="0" y="964661"/>
                  </a:lnTo>
                  <a:lnTo>
                    <a:pt x="557852" y="2013439"/>
                  </a:lnTo>
                  <a:lnTo>
                    <a:pt x="1604137" y="1995854"/>
                  </a:lnTo>
                  <a:lnTo>
                    <a:pt x="2755929" y="0"/>
                  </a:lnTo>
                  <a:lnTo>
                    <a:pt x="3872552" y="8792"/>
                  </a:lnTo>
                  <a:lnTo>
                    <a:pt x="4356129" y="800100"/>
                  </a:lnTo>
                </a:path>
              </a:pathLst>
            </a:custGeom>
            <a:noFill/>
            <a:ln w="165100" cap="flat" cmpd="sng" algn="ctr">
              <a:solidFill>
                <a:schemeClr val="bg1">
                  <a:lumMod val="50000"/>
                </a:schemeClr>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34" name="Group 33">
            <a:extLst>
              <a:ext uri="{FF2B5EF4-FFF2-40B4-BE49-F238E27FC236}">
                <a16:creationId xmlns:a16="http://schemas.microsoft.com/office/drawing/2014/main" id="{758A7A9C-32C0-094B-8948-B377AA04720F}"/>
              </a:ext>
            </a:extLst>
          </p:cNvPr>
          <p:cNvGrpSpPr/>
          <p:nvPr/>
        </p:nvGrpSpPr>
        <p:grpSpPr>
          <a:xfrm>
            <a:off x="1259344" y="3966097"/>
            <a:ext cx="1979046" cy="1143519"/>
            <a:chOff x="662404" y="4636435"/>
            <a:chExt cx="1728192" cy="1143519"/>
          </a:xfrm>
        </p:grpSpPr>
        <p:sp>
          <p:nvSpPr>
            <p:cNvPr id="35" name="TextBox 34">
              <a:extLst>
                <a:ext uri="{FF2B5EF4-FFF2-40B4-BE49-F238E27FC236}">
                  <a16:creationId xmlns:a16="http://schemas.microsoft.com/office/drawing/2014/main" id="{677BD510-FFF7-1240-B323-6CC7FFFFF1C8}"/>
                </a:ext>
              </a:extLst>
            </p:cNvPr>
            <p:cNvSpPr txBox="1"/>
            <p:nvPr/>
          </p:nvSpPr>
          <p:spPr>
            <a:xfrm>
              <a:off x="662404" y="4636435"/>
              <a:ext cx="1728192" cy="307777"/>
            </a:xfrm>
            <a:prstGeom prst="rect">
              <a:avLst/>
            </a:prstGeom>
            <a:noFill/>
          </p:spPr>
          <p:txBody>
            <a:bodyPr wrap="square" rtlCol="0" anchor="ctr">
              <a:spAutoFit/>
            </a:bodyPr>
            <a:lstStyle/>
            <a:p>
              <a:pPr defTabSz="914286"/>
              <a:r>
                <a:rPr lang="en-US" altLang="ko-KR" sz="1400" b="1">
                  <a:solidFill>
                    <a:prstClr val="black">
                      <a:lumMod val="75000"/>
                      <a:lumOff val="25000"/>
                    </a:prstClr>
                  </a:solidFill>
                  <a:ea typeface="Arial Unicode MS"/>
                  <a:cs typeface="Arial" pitchFamily="34" charset="0"/>
                </a:rPr>
                <a:t>Content  Here</a:t>
              </a:r>
              <a:endParaRPr lang="ko-KR" altLang="en-US" sz="1400" b="1">
                <a:solidFill>
                  <a:prstClr val="black">
                    <a:lumMod val="75000"/>
                    <a:lumOff val="25000"/>
                  </a:prstClr>
                </a:solidFill>
                <a:ea typeface="Arial Unicode MS"/>
                <a:cs typeface="Arial" pitchFamily="34" charset="0"/>
              </a:endParaRPr>
            </a:p>
          </p:txBody>
        </p:sp>
        <p:sp>
          <p:nvSpPr>
            <p:cNvPr id="36" name="TextBox 35">
              <a:extLst>
                <a:ext uri="{FF2B5EF4-FFF2-40B4-BE49-F238E27FC236}">
                  <a16:creationId xmlns:a16="http://schemas.microsoft.com/office/drawing/2014/main" id="{7E54E132-93F3-D243-9026-2B79F929DBC5}"/>
                </a:ext>
              </a:extLst>
            </p:cNvPr>
            <p:cNvSpPr txBox="1"/>
            <p:nvPr/>
          </p:nvSpPr>
          <p:spPr>
            <a:xfrm>
              <a:off x="662404" y="4948957"/>
              <a:ext cx="1728192" cy="830997"/>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75000"/>
                    <a:lumOff val="25000"/>
                  </a:prstClr>
                </a:solidFill>
                <a:ea typeface="Arial Unicode MS"/>
                <a:cs typeface="Arial" pitchFamily="34" charset="0"/>
              </a:endParaRPr>
            </a:p>
          </p:txBody>
        </p:sp>
      </p:grpSp>
      <p:grpSp>
        <p:nvGrpSpPr>
          <p:cNvPr id="37" name="Group 36">
            <a:extLst>
              <a:ext uri="{FF2B5EF4-FFF2-40B4-BE49-F238E27FC236}">
                <a16:creationId xmlns:a16="http://schemas.microsoft.com/office/drawing/2014/main" id="{3770C477-0150-DB45-B83B-A792C61E2DC9}"/>
              </a:ext>
            </a:extLst>
          </p:cNvPr>
          <p:cNvGrpSpPr/>
          <p:nvPr/>
        </p:nvGrpSpPr>
        <p:grpSpPr>
          <a:xfrm>
            <a:off x="7026640" y="3966097"/>
            <a:ext cx="1979046" cy="1143519"/>
            <a:chOff x="5202982" y="2341496"/>
            <a:chExt cx="1728192" cy="1143519"/>
          </a:xfrm>
        </p:grpSpPr>
        <p:sp>
          <p:nvSpPr>
            <p:cNvPr id="38" name="TextBox 37">
              <a:extLst>
                <a:ext uri="{FF2B5EF4-FFF2-40B4-BE49-F238E27FC236}">
                  <a16:creationId xmlns:a16="http://schemas.microsoft.com/office/drawing/2014/main" id="{480EE858-2DBF-AC41-87FF-918CB59838EC}"/>
                </a:ext>
              </a:extLst>
            </p:cNvPr>
            <p:cNvSpPr txBox="1"/>
            <p:nvPr/>
          </p:nvSpPr>
          <p:spPr>
            <a:xfrm>
              <a:off x="5202982" y="2341496"/>
              <a:ext cx="1728192" cy="307777"/>
            </a:xfrm>
            <a:prstGeom prst="rect">
              <a:avLst/>
            </a:prstGeom>
            <a:noFill/>
          </p:spPr>
          <p:txBody>
            <a:bodyPr wrap="square" rtlCol="0" anchor="ctr">
              <a:spAutoFit/>
            </a:bodyPr>
            <a:lstStyle/>
            <a:p>
              <a:pPr defTabSz="914286"/>
              <a:r>
                <a:rPr lang="en-US" altLang="ko-KR" sz="1400" b="1">
                  <a:solidFill>
                    <a:prstClr val="black">
                      <a:lumMod val="75000"/>
                      <a:lumOff val="25000"/>
                    </a:prstClr>
                  </a:solidFill>
                  <a:ea typeface="Arial Unicode MS"/>
                  <a:cs typeface="Arial" pitchFamily="34" charset="0"/>
                </a:rPr>
                <a:t>Content  Here</a:t>
              </a:r>
              <a:endParaRPr lang="ko-KR" altLang="en-US" sz="1400" b="1">
                <a:solidFill>
                  <a:prstClr val="black">
                    <a:lumMod val="75000"/>
                    <a:lumOff val="25000"/>
                  </a:prstClr>
                </a:solidFill>
                <a:ea typeface="Arial Unicode MS"/>
                <a:cs typeface="Arial" pitchFamily="34" charset="0"/>
              </a:endParaRPr>
            </a:p>
          </p:txBody>
        </p:sp>
        <p:sp>
          <p:nvSpPr>
            <p:cNvPr id="39" name="TextBox 38">
              <a:extLst>
                <a:ext uri="{FF2B5EF4-FFF2-40B4-BE49-F238E27FC236}">
                  <a16:creationId xmlns:a16="http://schemas.microsoft.com/office/drawing/2014/main" id="{7B0E4D3D-2610-F442-A4CA-95CECC14F07A}"/>
                </a:ext>
              </a:extLst>
            </p:cNvPr>
            <p:cNvSpPr txBox="1"/>
            <p:nvPr/>
          </p:nvSpPr>
          <p:spPr>
            <a:xfrm>
              <a:off x="5202982" y="2654018"/>
              <a:ext cx="1728192" cy="830997"/>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75000"/>
                    <a:lumOff val="25000"/>
                  </a:prstClr>
                </a:solidFill>
                <a:ea typeface="Arial Unicode MS"/>
                <a:cs typeface="Arial" pitchFamily="34" charset="0"/>
              </a:endParaRPr>
            </a:p>
          </p:txBody>
        </p:sp>
      </p:grpSp>
      <p:grpSp>
        <p:nvGrpSpPr>
          <p:cNvPr id="40" name="Group 39">
            <a:extLst>
              <a:ext uri="{FF2B5EF4-FFF2-40B4-BE49-F238E27FC236}">
                <a16:creationId xmlns:a16="http://schemas.microsoft.com/office/drawing/2014/main" id="{1B74FAE2-E5A3-274C-BE48-5BAF719FDFBB}"/>
              </a:ext>
            </a:extLst>
          </p:cNvPr>
          <p:cNvGrpSpPr/>
          <p:nvPr/>
        </p:nvGrpSpPr>
        <p:grpSpPr>
          <a:xfrm>
            <a:off x="3181776" y="3966097"/>
            <a:ext cx="1979046" cy="1143519"/>
            <a:chOff x="2175930" y="2341496"/>
            <a:chExt cx="1728192" cy="1143519"/>
          </a:xfrm>
        </p:grpSpPr>
        <p:sp>
          <p:nvSpPr>
            <p:cNvPr id="41" name="TextBox 40">
              <a:extLst>
                <a:ext uri="{FF2B5EF4-FFF2-40B4-BE49-F238E27FC236}">
                  <a16:creationId xmlns:a16="http://schemas.microsoft.com/office/drawing/2014/main" id="{858AF318-C54A-E741-AEFC-A955B40CBFC3}"/>
                </a:ext>
              </a:extLst>
            </p:cNvPr>
            <p:cNvSpPr txBox="1"/>
            <p:nvPr/>
          </p:nvSpPr>
          <p:spPr>
            <a:xfrm>
              <a:off x="2175930" y="2341496"/>
              <a:ext cx="1728192" cy="307777"/>
            </a:xfrm>
            <a:prstGeom prst="rect">
              <a:avLst/>
            </a:prstGeom>
            <a:noFill/>
          </p:spPr>
          <p:txBody>
            <a:bodyPr wrap="square" rtlCol="0" anchor="ctr">
              <a:spAutoFit/>
            </a:bodyPr>
            <a:lstStyle/>
            <a:p>
              <a:pPr defTabSz="914286"/>
              <a:r>
                <a:rPr lang="en-US" altLang="ko-KR" sz="1400" b="1">
                  <a:solidFill>
                    <a:prstClr val="black">
                      <a:lumMod val="75000"/>
                      <a:lumOff val="25000"/>
                    </a:prstClr>
                  </a:solidFill>
                  <a:ea typeface="Arial Unicode MS"/>
                  <a:cs typeface="Arial" pitchFamily="34" charset="0"/>
                </a:rPr>
                <a:t>Content  Here</a:t>
              </a:r>
              <a:endParaRPr lang="ko-KR" altLang="en-US" sz="1400" b="1">
                <a:solidFill>
                  <a:prstClr val="black">
                    <a:lumMod val="75000"/>
                    <a:lumOff val="25000"/>
                  </a:prstClr>
                </a:solidFill>
                <a:ea typeface="Arial Unicode MS"/>
                <a:cs typeface="Arial" pitchFamily="34" charset="0"/>
              </a:endParaRPr>
            </a:p>
          </p:txBody>
        </p:sp>
        <p:sp>
          <p:nvSpPr>
            <p:cNvPr id="42" name="TextBox 41">
              <a:extLst>
                <a:ext uri="{FF2B5EF4-FFF2-40B4-BE49-F238E27FC236}">
                  <a16:creationId xmlns:a16="http://schemas.microsoft.com/office/drawing/2014/main" id="{ECE02E7C-3349-FC41-9008-8F6D86E901DF}"/>
                </a:ext>
              </a:extLst>
            </p:cNvPr>
            <p:cNvSpPr txBox="1"/>
            <p:nvPr/>
          </p:nvSpPr>
          <p:spPr>
            <a:xfrm>
              <a:off x="2175930" y="2654018"/>
              <a:ext cx="1728192" cy="830997"/>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75000"/>
                    <a:lumOff val="25000"/>
                  </a:prstClr>
                </a:solidFill>
                <a:ea typeface="Arial Unicode MS"/>
                <a:cs typeface="Arial" pitchFamily="34" charset="0"/>
              </a:endParaRPr>
            </a:p>
          </p:txBody>
        </p:sp>
      </p:grpSp>
      <p:grpSp>
        <p:nvGrpSpPr>
          <p:cNvPr id="43" name="Group 42">
            <a:extLst>
              <a:ext uri="{FF2B5EF4-FFF2-40B4-BE49-F238E27FC236}">
                <a16:creationId xmlns:a16="http://schemas.microsoft.com/office/drawing/2014/main" id="{1406BE00-24AD-A648-B7C8-EC478326FE6D}"/>
              </a:ext>
            </a:extLst>
          </p:cNvPr>
          <p:cNvGrpSpPr/>
          <p:nvPr/>
        </p:nvGrpSpPr>
        <p:grpSpPr>
          <a:xfrm>
            <a:off x="5104208" y="3966097"/>
            <a:ext cx="1979046" cy="1143519"/>
            <a:chOff x="3689456" y="4636435"/>
            <a:chExt cx="1728192" cy="1143519"/>
          </a:xfrm>
        </p:grpSpPr>
        <p:sp>
          <p:nvSpPr>
            <p:cNvPr id="44" name="TextBox 43">
              <a:extLst>
                <a:ext uri="{FF2B5EF4-FFF2-40B4-BE49-F238E27FC236}">
                  <a16:creationId xmlns:a16="http://schemas.microsoft.com/office/drawing/2014/main" id="{F0A4E7CB-2000-D34A-BFBE-9CE861B5B553}"/>
                </a:ext>
              </a:extLst>
            </p:cNvPr>
            <p:cNvSpPr txBox="1"/>
            <p:nvPr/>
          </p:nvSpPr>
          <p:spPr>
            <a:xfrm>
              <a:off x="3689456" y="4636435"/>
              <a:ext cx="1728192" cy="307777"/>
            </a:xfrm>
            <a:prstGeom prst="rect">
              <a:avLst/>
            </a:prstGeom>
            <a:noFill/>
          </p:spPr>
          <p:txBody>
            <a:bodyPr wrap="square" rtlCol="0" anchor="ctr">
              <a:spAutoFit/>
            </a:bodyPr>
            <a:lstStyle/>
            <a:p>
              <a:pPr defTabSz="914286"/>
              <a:r>
                <a:rPr lang="en-US" altLang="ko-KR" sz="1400" b="1">
                  <a:solidFill>
                    <a:prstClr val="black">
                      <a:lumMod val="75000"/>
                      <a:lumOff val="25000"/>
                    </a:prstClr>
                  </a:solidFill>
                  <a:ea typeface="Arial Unicode MS"/>
                  <a:cs typeface="Arial" pitchFamily="34" charset="0"/>
                </a:rPr>
                <a:t>Content  Here</a:t>
              </a:r>
              <a:endParaRPr lang="ko-KR" altLang="en-US" sz="1400" b="1">
                <a:solidFill>
                  <a:prstClr val="black">
                    <a:lumMod val="75000"/>
                    <a:lumOff val="25000"/>
                  </a:prstClr>
                </a:solidFill>
                <a:ea typeface="Arial Unicode MS"/>
                <a:cs typeface="Arial" pitchFamily="34" charset="0"/>
              </a:endParaRPr>
            </a:p>
          </p:txBody>
        </p:sp>
        <p:sp>
          <p:nvSpPr>
            <p:cNvPr id="45" name="TextBox 44">
              <a:extLst>
                <a:ext uri="{FF2B5EF4-FFF2-40B4-BE49-F238E27FC236}">
                  <a16:creationId xmlns:a16="http://schemas.microsoft.com/office/drawing/2014/main" id="{37BA5818-272D-E440-A0F4-A3AA0A70C2DB}"/>
                </a:ext>
              </a:extLst>
            </p:cNvPr>
            <p:cNvSpPr txBox="1"/>
            <p:nvPr/>
          </p:nvSpPr>
          <p:spPr>
            <a:xfrm>
              <a:off x="3689456" y="4948957"/>
              <a:ext cx="1728192" cy="830997"/>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75000"/>
                    <a:lumOff val="25000"/>
                  </a:prstClr>
                </a:solidFill>
                <a:ea typeface="Arial Unicode MS"/>
                <a:cs typeface="Arial" pitchFamily="34" charset="0"/>
              </a:endParaRPr>
            </a:p>
          </p:txBody>
        </p:sp>
      </p:grpSp>
      <p:grpSp>
        <p:nvGrpSpPr>
          <p:cNvPr id="46" name="Group 45">
            <a:extLst>
              <a:ext uri="{FF2B5EF4-FFF2-40B4-BE49-F238E27FC236}">
                <a16:creationId xmlns:a16="http://schemas.microsoft.com/office/drawing/2014/main" id="{540A4A7F-7F11-D748-862C-716F360770CB}"/>
              </a:ext>
            </a:extLst>
          </p:cNvPr>
          <p:cNvGrpSpPr/>
          <p:nvPr/>
        </p:nvGrpSpPr>
        <p:grpSpPr>
          <a:xfrm>
            <a:off x="8949073" y="3966097"/>
            <a:ext cx="1979046" cy="1143519"/>
            <a:chOff x="6716509" y="4636435"/>
            <a:chExt cx="1728192" cy="1143519"/>
          </a:xfrm>
        </p:grpSpPr>
        <p:sp>
          <p:nvSpPr>
            <p:cNvPr id="47" name="TextBox 46">
              <a:extLst>
                <a:ext uri="{FF2B5EF4-FFF2-40B4-BE49-F238E27FC236}">
                  <a16:creationId xmlns:a16="http://schemas.microsoft.com/office/drawing/2014/main" id="{7452CF1D-93D3-E242-953D-3F2B8E3FCA1C}"/>
                </a:ext>
              </a:extLst>
            </p:cNvPr>
            <p:cNvSpPr txBox="1"/>
            <p:nvPr/>
          </p:nvSpPr>
          <p:spPr>
            <a:xfrm>
              <a:off x="6716509" y="4636435"/>
              <a:ext cx="1728192" cy="307777"/>
            </a:xfrm>
            <a:prstGeom prst="rect">
              <a:avLst/>
            </a:prstGeom>
            <a:noFill/>
          </p:spPr>
          <p:txBody>
            <a:bodyPr wrap="square" rtlCol="0" anchor="ctr">
              <a:spAutoFit/>
            </a:bodyPr>
            <a:lstStyle/>
            <a:p>
              <a:pPr defTabSz="914286"/>
              <a:r>
                <a:rPr lang="en-US" altLang="ko-KR" sz="1400" b="1">
                  <a:solidFill>
                    <a:prstClr val="black">
                      <a:lumMod val="75000"/>
                      <a:lumOff val="25000"/>
                    </a:prstClr>
                  </a:solidFill>
                  <a:ea typeface="Arial Unicode MS"/>
                  <a:cs typeface="Arial" pitchFamily="34" charset="0"/>
                </a:rPr>
                <a:t>Content  Here</a:t>
              </a:r>
              <a:endParaRPr lang="ko-KR" altLang="en-US" sz="1400" b="1">
                <a:solidFill>
                  <a:prstClr val="black">
                    <a:lumMod val="75000"/>
                    <a:lumOff val="25000"/>
                  </a:prstClr>
                </a:solidFill>
                <a:ea typeface="Arial Unicode MS"/>
                <a:cs typeface="Arial" pitchFamily="34" charset="0"/>
              </a:endParaRPr>
            </a:p>
          </p:txBody>
        </p:sp>
        <p:sp>
          <p:nvSpPr>
            <p:cNvPr id="48" name="TextBox 47">
              <a:extLst>
                <a:ext uri="{FF2B5EF4-FFF2-40B4-BE49-F238E27FC236}">
                  <a16:creationId xmlns:a16="http://schemas.microsoft.com/office/drawing/2014/main" id="{60E82976-9E60-CB48-BFF3-BD582703DCFB}"/>
                </a:ext>
              </a:extLst>
            </p:cNvPr>
            <p:cNvSpPr txBox="1"/>
            <p:nvPr/>
          </p:nvSpPr>
          <p:spPr>
            <a:xfrm>
              <a:off x="6716509" y="4948957"/>
              <a:ext cx="1728192" cy="830997"/>
            </a:xfrm>
            <a:prstGeom prst="rect">
              <a:avLst/>
            </a:prstGeom>
            <a:noFill/>
          </p:spPr>
          <p:txBody>
            <a:bodyPr wrap="square" rtlCol="0">
              <a:spAutoFit/>
            </a:bodyPr>
            <a:lstStyle/>
            <a:p>
              <a:pPr defTabSz="914286"/>
              <a:r>
                <a:rPr lang="en-US" altLang="ko-KR" sz="1200">
                  <a:solidFill>
                    <a:prstClr val="black">
                      <a:lumMod val="75000"/>
                      <a:lumOff val="25000"/>
                    </a:prstClr>
                  </a:solidFill>
                  <a:ea typeface="Arial Unicode MS"/>
                  <a:cs typeface="Arial" pitchFamily="34" charset="0"/>
                </a:rPr>
                <a:t>You can simply impress your audience and add a unique zing and appeal to your Presentations. </a:t>
              </a:r>
              <a:endParaRPr lang="ko-KR" altLang="en-US" sz="1200">
                <a:solidFill>
                  <a:prstClr val="black">
                    <a:lumMod val="75000"/>
                    <a:lumOff val="25000"/>
                  </a:prstClr>
                </a:solidFill>
                <a:ea typeface="Arial Unicode MS"/>
                <a:cs typeface="Arial" pitchFamily="34" charset="0"/>
              </a:endParaRPr>
            </a:p>
          </p:txBody>
        </p:sp>
      </p:grpSp>
      <p:sp>
        <p:nvSpPr>
          <p:cNvPr id="49" name="Rounded Rectangle 25">
            <a:extLst>
              <a:ext uri="{FF2B5EF4-FFF2-40B4-BE49-F238E27FC236}">
                <a16:creationId xmlns:a16="http://schemas.microsoft.com/office/drawing/2014/main" id="{ECA96EE8-D6EC-0F4F-9091-D5E93442C84F}"/>
              </a:ext>
            </a:extLst>
          </p:cNvPr>
          <p:cNvSpPr/>
          <p:nvPr/>
        </p:nvSpPr>
        <p:spPr>
          <a:xfrm>
            <a:off x="7769034" y="2627126"/>
            <a:ext cx="525244" cy="384921"/>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0" name="Round Same Side Corner Rectangle 11">
            <a:extLst>
              <a:ext uri="{FF2B5EF4-FFF2-40B4-BE49-F238E27FC236}">
                <a16:creationId xmlns:a16="http://schemas.microsoft.com/office/drawing/2014/main" id="{A9C397F6-A7BF-1845-A7DA-76D2439FE6DA}"/>
              </a:ext>
            </a:extLst>
          </p:cNvPr>
          <p:cNvSpPr/>
          <p:nvPr/>
        </p:nvSpPr>
        <p:spPr>
          <a:xfrm rot="9900000">
            <a:off x="2053705" y="2599243"/>
            <a:ext cx="518879" cy="440687"/>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1" name="Rounded Rectangle 27">
            <a:extLst>
              <a:ext uri="{FF2B5EF4-FFF2-40B4-BE49-F238E27FC236}">
                <a16:creationId xmlns:a16="http://schemas.microsoft.com/office/drawing/2014/main" id="{30C703BB-B984-0B47-93CF-C7901B93C692}"/>
              </a:ext>
            </a:extLst>
          </p:cNvPr>
          <p:cNvSpPr/>
          <p:nvPr/>
        </p:nvSpPr>
        <p:spPr>
          <a:xfrm>
            <a:off x="3940621" y="2611556"/>
            <a:ext cx="541650" cy="416061"/>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2" name="Rounded Rectangle 7">
            <a:extLst>
              <a:ext uri="{FF2B5EF4-FFF2-40B4-BE49-F238E27FC236}">
                <a16:creationId xmlns:a16="http://schemas.microsoft.com/office/drawing/2014/main" id="{1EB0578D-7FD5-2245-9131-F0A63ED50D2B}"/>
              </a:ext>
            </a:extLst>
          </p:cNvPr>
          <p:cNvSpPr/>
          <p:nvPr/>
        </p:nvSpPr>
        <p:spPr>
          <a:xfrm>
            <a:off x="5850308" y="2581967"/>
            <a:ext cx="550689" cy="47523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3" name="Donut 24">
            <a:extLst>
              <a:ext uri="{FF2B5EF4-FFF2-40B4-BE49-F238E27FC236}">
                <a16:creationId xmlns:a16="http://schemas.microsoft.com/office/drawing/2014/main" id="{7AF0A227-AA69-D441-BF16-3C834F7946BE}"/>
              </a:ext>
            </a:extLst>
          </p:cNvPr>
          <p:cNvSpPr/>
          <p:nvPr/>
        </p:nvSpPr>
        <p:spPr>
          <a:xfrm>
            <a:off x="9662316" y="2541057"/>
            <a:ext cx="552561" cy="557059"/>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Tree>
    <p:extLst>
      <p:ext uri="{BB962C8B-B14F-4D97-AF65-F5344CB8AC3E}">
        <p14:creationId xmlns:p14="http://schemas.microsoft.com/office/powerpoint/2010/main" val="409154881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89BDE060-2E64-A742-908F-9325E7255611}"/>
              </a:ext>
            </a:extLst>
          </p:cNvPr>
          <p:cNvGraphicFramePr>
            <a:graphicFrameLocks noChangeAspect="1"/>
          </p:cNvGraphicFramePr>
          <p:nvPr>
            <p:custDataLst>
              <p:tags r:id="rId1"/>
            </p:custDataLst>
            <p:extLst>
              <p:ext uri="{D42A27DB-BD31-4B8C-83A1-F6EECF244321}">
                <p14:modId xmlns:p14="http://schemas.microsoft.com/office/powerpoint/2010/main" val="1606465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5" name="Object 34" hidden="1">
                        <a:extLst>
                          <a:ext uri="{FF2B5EF4-FFF2-40B4-BE49-F238E27FC236}">
                            <a16:creationId xmlns:a16="http://schemas.microsoft.com/office/drawing/2014/main" id="{89BDE060-2E64-A742-908F-9325E72556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BB58FCB-D823-8745-9AC5-D9ED2B9DBD76}"/>
              </a:ext>
            </a:extLst>
          </p:cNvPr>
          <p:cNvSpPr>
            <a:spLocks noGrp="1"/>
          </p:cNvSpPr>
          <p:nvPr>
            <p:ph type="sldNum" sz="quarter" idx="4"/>
          </p:nvPr>
        </p:nvSpPr>
        <p:spPr/>
        <p:txBody>
          <a:bodyPr/>
          <a:lstStyle/>
          <a:p>
            <a:fld id="{3D966009-6E5A-4F8C-8CA7-E37AFBF5FB92}" type="slidenum">
              <a:rPr lang="en-US" smtClean="0"/>
              <a:t>152</a:t>
            </a:fld>
            <a:endParaRPr lang="en-US"/>
          </a:p>
        </p:txBody>
      </p:sp>
      <p:sp>
        <p:nvSpPr>
          <p:cNvPr id="3" name="Title 2">
            <a:extLst>
              <a:ext uri="{FF2B5EF4-FFF2-40B4-BE49-F238E27FC236}">
                <a16:creationId xmlns:a16="http://schemas.microsoft.com/office/drawing/2014/main" id="{66D84756-2043-6247-975E-B9056B16FA76}"/>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814234D-EF3A-E648-8DD2-CC7CE2C098CE}"/>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BFE3350-601F-F24F-AB8D-F8871C92102A}"/>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E041266-3C06-C040-9228-6207A63A0CD6}"/>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90D9C28-3725-3B4F-9308-252DC009E80A}"/>
              </a:ext>
            </a:extLst>
          </p:cNvPr>
          <p:cNvSpPr>
            <a:spLocks noGrp="1"/>
          </p:cNvSpPr>
          <p:nvPr>
            <p:ph sz="quarter" idx="14"/>
          </p:nvPr>
        </p:nvSpPr>
        <p:spPr/>
        <p:txBody>
          <a:bodyPr/>
          <a:lstStyle/>
          <a:p>
            <a:endParaRPr lang="en-GB"/>
          </a:p>
        </p:txBody>
      </p:sp>
      <p:grpSp>
        <p:nvGrpSpPr>
          <p:cNvPr id="34" name="Group 33">
            <a:extLst>
              <a:ext uri="{FF2B5EF4-FFF2-40B4-BE49-F238E27FC236}">
                <a16:creationId xmlns:a16="http://schemas.microsoft.com/office/drawing/2014/main" id="{781D6D51-A96E-C64A-92F8-414A0A73AC6F}"/>
              </a:ext>
            </a:extLst>
          </p:cNvPr>
          <p:cNvGrpSpPr/>
          <p:nvPr/>
        </p:nvGrpSpPr>
        <p:grpSpPr>
          <a:xfrm>
            <a:off x="2031162" y="2109992"/>
            <a:ext cx="7667711" cy="3447988"/>
            <a:chOff x="899592" y="1275606"/>
            <a:chExt cx="7667711" cy="3447988"/>
          </a:xfrm>
        </p:grpSpPr>
        <p:grpSp>
          <p:nvGrpSpPr>
            <p:cNvPr id="9" name="Group 8">
              <a:extLst>
                <a:ext uri="{FF2B5EF4-FFF2-40B4-BE49-F238E27FC236}">
                  <a16:creationId xmlns:a16="http://schemas.microsoft.com/office/drawing/2014/main" id="{5E277305-127D-1D47-9C3C-44968CCE522B}"/>
                </a:ext>
              </a:extLst>
            </p:cNvPr>
            <p:cNvGrpSpPr/>
            <p:nvPr/>
          </p:nvGrpSpPr>
          <p:grpSpPr>
            <a:xfrm>
              <a:off x="899592" y="1275606"/>
              <a:ext cx="3447988" cy="3447988"/>
              <a:chOff x="1628068" y="539750"/>
              <a:chExt cx="4063999" cy="4063999"/>
            </a:xfrm>
          </p:grpSpPr>
          <p:sp>
            <p:nvSpPr>
              <p:cNvPr id="10" name="Freeform 9">
                <a:extLst>
                  <a:ext uri="{FF2B5EF4-FFF2-40B4-BE49-F238E27FC236}">
                    <a16:creationId xmlns:a16="http://schemas.microsoft.com/office/drawing/2014/main" id="{696127DF-964D-4644-AF0E-470085195198}"/>
                  </a:ext>
                </a:extLst>
              </p:cNvPr>
              <p:cNvSpPr/>
              <p:nvPr/>
            </p:nvSpPr>
            <p:spPr>
              <a:xfrm>
                <a:off x="1628068" y="539750"/>
                <a:ext cx="4063999" cy="4063999"/>
              </a:xfrm>
              <a:custGeom>
                <a:avLst/>
                <a:gdLst>
                  <a:gd name="connsiteX0" fmla="*/ 0 w 4063999"/>
                  <a:gd name="connsiteY0" fmla="*/ 2032000 h 4063999"/>
                  <a:gd name="connsiteX1" fmla="*/ 2032000 w 4063999"/>
                  <a:gd name="connsiteY1" fmla="*/ 0 h 4063999"/>
                  <a:gd name="connsiteX2" fmla="*/ 4064000 w 4063999"/>
                  <a:gd name="connsiteY2" fmla="*/ 2032000 h 4063999"/>
                  <a:gd name="connsiteX3" fmla="*/ 2032000 w 4063999"/>
                  <a:gd name="connsiteY3" fmla="*/ 4064000 h 4063999"/>
                  <a:gd name="connsiteX4" fmla="*/ 0 w 4063999"/>
                  <a:gd name="connsiteY4" fmla="*/ 2032000 h 4063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999" h="4063999">
                    <a:moveTo>
                      <a:pt x="0" y="2032000"/>
                    </a:moveTo>
                    <a:cubicBezTo>
                      <a:pt x="0" y="909757"/>
                      <a:pt x="909757" y="0"/>
                      <a:pt x="2032000" y="0"/>
                    </a:cubicBezTo>
                    <a:cubicBezTo>
                      <a:pt x="3154243" y="0"/>
                      <a:pt x="4064000" y="909757"/>
                      <a:pt x="4064000" y="2032000"/>
                    </a:cubicBezTo>
                    <a:cubicBezTo>
                      <a:pt x="4064000" y="3154243"/>
                      <a:pt x="3154243" y="4064000"/>
                      <a:pt x="2032000" y="4064000"/>
                    </a:cubicBezTo>
                    <a:cubicBezTo>
                      <a:pt x="909757" y="4064000"/>
                      <a:pt x="0" y="3154243"/>
                      <a:pt x="0" y="2032000"/>
                    </a:cubicBez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84756" tIns="324103" rIns="1584757" bIns="3372104" numCol="1" spcCol="1270" anchor="ctr" anchorCtr="0">
                <a:noAutofit/>
              </a:bodyPr>
              <a:lstStyle/>
              <a:p>
                <a:pPr lvl="0" algn="ctr" defTabSz="755650" latinLnBrk="1">
                  <a:lnSpc>
                    <a:spcPct val="90000"/>
                  </a:lnSpc>
                  <a:spcBef>
                    <a:spcPct val="0"/>
                  </a:spcBef>
                  <a:spcAft>
                    <a:spcPct val="35000"/>
                  </a:spcAft>
                </a:pPr>
                <a:endParaRPr lang="ko-KR" altLang="en-US" sz="1700" kern="1200"/>
              </a:p>
            </p:txBody>
          </p:sp>
          <p:sp>
            <p:nvSpPr>
              <p:cNvPr id="11" name="Freeform 10">
                <a:extLst>
                  <a:ext uri="{FF2B5EF4-FFF2-40B4-BE49-F238E27FC236}">
                    <a16:creationId xmlns:a16="http://schemas.microsoft.com/office/drawing/2014/main" id="{DAC11159-61D9-3346-A994-FD49DEB237AA}"/>
                  </a:ext>
                </a:extLst>
              </p:cNvPr>
              <p:cNvSpPr/>
              <p:nvPr/>
            </p:nvSpPr>
            <p:spPr>
              <a:xfrm>
                <a:off x="2034467" y="1352549"/>
                <a:ext cx="3251200" cy="325120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1245" tIns="308864" rIns="1171245" bIns="2584704" numCol="1" spcCol="1270" anchor="ctr" anchorCtr="0">
                <a:noAutofit/>
              </a:bodyPr>
              <a:lstStyle/>
              <a:p>
                <a:pPr lvl="0" algn="ctr" defTabSz="711200" latinLnBrk="1">
                  <a:lnSpc>
                    <a:spcPct val="90000"/>
                  </a:lnSpc>
                  <a:spcBef>
                    <a:spcPct val="0"/>
                  </a:spcBef>
                  <a:spcAft>
                    <a:spcPct val="35000"/>
                  </a:spcAft>
                </a:pPr>
                <a:endParaRPr lang="ko-KR" altLang="en-US" sz="1600" kern="1200"/>
              </a:p>
            </p:txBody>
          </p:sp>
          <p:sp>
            <p:nvSpPr>
              <p:cNvPr id="12" name="Freeform 11">
                <a:extLst>
                  <a:ext uri="{FF2B5EF4-FFF2-40B4-BE49-F238E27FC236}">
                    <a16:creationId xmlns:a16="http://schemas.microsoft.com/office/drawing/2014/main" id="{EB733C4D-9C2F-684F-938A-0E13F0B0B05D}"/>
                  </a:ext>
                </a:extLst>
              </p:cNvPr>
              <p:cNvSpPr/>
              <p:nvPr/>
            </p:nvSpPr>
            <p:spPr>
              <a:xfrm>
                <a:off x="2440867" y="2165349"/>
                <a:ext cx="2438400" cy="2438400"/>
              </a:xfrm>
              <a:custGeom>
                <a:avLst/>
                <a:gdLst>
                  <a:gd name="connsiteX0" fmla="*/ 0 w 2438400"/>
                  <a:gd name="connsiteY0" fmla="*/ 1219200 h 2438400"/>
                  <a:gd name="connsiteX1" fmla="*/ 1219200 w 2438400"/>
                  <a:gd name="connsiteY1" fmla="*/ 0 h 2438400"/>
                  <a:gd name="connsiteX2" fmla="*/ 2438400 w 2438400"/>
                  <a:gd name="connsiteY2" fmla="*/ 1219200 h 2438400"/>
                  <a:gd name="connsiteX3" fmla="*/ 1219200 w 2438400"/>
                  <a:gd name="connsiteY3" fmla="*/ 2438400 h 2438400"/>
                  <a:gd name="connsiteX4" fmla="*/ 0 w 2438400"/>
                  <a:gd name="connsiteY4" fmla="*/ 1219200 h 243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0" h="2438400">
                    <a:moveTo>
                      <a:pt x="0" y="1219200"/>
                    </a:moveTo>
                    <a:cubicBezTo>
                      <a:pt x="0" y="545854"/>
                      <a:pt x="545854" y="0"/>
                      <a:pt x="1219200" y="0"/>
                    </a:cubicBezTo>
                    <a:cubicBezTo>
                      <a:pt x="1892546" y="0"/>
                      <a:pt x="2438400" y="545854"/>
                      <a:pt x="2438400" y="1219200"/>
                    </a:cubicBezTo>
                    <a:cubicBezTo>
                      <a:pt x="2438400" y="1892546"/>
                      <a:pt x="1892546" y="2438400"/>
                      <a:pt x="1219200" y="2438400"/>
                    </a:cubicBezTo>
                    <a:cubicBezTo>
                      <a:pt x="545854" y="2438400"/>
                      <a:pt x="0" y="1892546"/>
                      <a:pt x="0" y="1219200"/>
                    </a:cubicBez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7733" tIns="289560" rIns="757733" bIns="1813560" numCol="1" spcCol="1270" anchor="ctr" anchorCtr="0">
                <a:noAutofit/>
              </a:bodyPr>
              <a:lstStyle/>
              <a:p>
                <a:pPr lvl="0" algn="ctr" defTabSz="666750" latinLnBrk="1">
                  <a:lnSpc>
                    <a:spcPct val="90000"/>
                  </a:lnSpc>
                  <a:spcBef>
                    <a:spcPct val="0"/>
                  </a:spcBef>
                  <a:spcAft>
                    <a:spcPct val="35000"/>
                  </a:spcAft>
                </a:pPr>
                <a:endParaRPr lang="ko-KR" altLang="en-US" sz="1500" kern="1200"/>
              </a:p>
            </p:txBody>
          </p:sp>
          <p:sp>
            <p:nvSpPr>
              <p:cNvPr id="13" name="Freeform 12">
                <a:extLst>
                  <a:ext uri="{FF2B5EF4-FFF2-40B4-BE49-F238E27FC236}">
                    <a16:creationId xmlns:a16="http://schemas.microsoft.com/office/drawing/2014/main" id="{9624D0C3-EB5D-FF49-BCD0-AA2664FEF1F7}"/>
                  </a:ext>
                </a:extLst>
              </p:cNvPr>
              <p:cNvSpPr/>
              <p:nvPr/>
            </p:nvSpPr>
            <p:spPr>
              <a:xfrm>
                <a:off x="2847267" y="2978149"/>
                <a:ext cx="1625600" cy="1625600"/>
              </a:xfrm>
              <a:custGeom>
                <a:avLst/>
                <a:gdLst>
                  <a:gd name="connsiteX0" fmla="*/ 0 w 1625600"/>
                  <a:gd name="connsiteY0" fmla="*/ 812800 h 1625600"/>
                  <a:gd name="connsiteX1" fmla="*/ 812800 w 1625600"/>
                  <a:gd name="connsiteY1" fmla="*/ 0 h 1625600"/>
                  <a:gd name="connsiteX2" fmla="*/ 1625600 w 1625600"/>
                  <a:gd name="connsiteY2" fmla="*/ 812800 h 1625600"/>
                  <a:gd name="connsiteX3" fmla="*/ 812800 w 1625600"/>
                  <a:gd name="connsiteY3" fmla="*/ 1625600 h 1625600"/>
                  <a:gd name="connsiteX4" fmla="*/ 0 w 1625600"/>
                  <a:gd name="connsiteY4" fmla="*/ 812800 h 162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5600" h="1625600">
                    <a:moveTo>
                      <a:pt x="0" y="812800"/>
                    </a:moveTo>
                    <a:cubicBezTo>
                      <a:pt x="0" y="363903"/>
                      <a:pt x="363903" y="0"/>
                      <a:pt x="812800" y="0"/>
                    </a:cubicBezTo>
                    <a:cubicBezTo>
                      <a:pt x="1261697" y="0"/>
                      <a:pt x="1625600" y="363903"/>
                      <a:pt x="1625600" y="812800"/>
                    </a:cubicBezTo>
                    <a:cubicBezTo>
                      <a:pt x="1625600" y="1261697"/>
                      <a:pt x="1261697" y="1625600"/>
                      <a:pt x="812800" y="1625600"/>
                    </a:cubicBezTo>
                    <a:cubicBezTo>
                      <a:pt x="363903" y="1625600"/>
                      <a:pt x="0" y="1261697"/>
                      <a:pt x="0" y="812800"/>
                    </a:cubicBezTo>
                    <a:close/>
                  </a:path>
                </a:pathLst>
              </a:custGeom>
              <a:solidFill>
                <a:schemeClr val="accent4">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01640" tIns="569976" rIns="401640" bIns="569976" numCol="1" spcCol="1270" anchor="ctr" anchorCtr="0">
                <a:noAutofit/>
              </a:bodyPr>
              <a:lstStyle/>
              <a:p>
                <a:pPr lvl="0" algn="ctr" defTabSz="1022350" latinLnBrk="1">
                  <a:lnSpc>
                    <a:spcPct val="90000"/>
                  </a:lnSpc>
                  <a:spcBef>
                    <a:spcPct val="0"/>
                  </a:spcBef>
                  <a:spcAft>
                    <a:spcPct val="35000"/>
                  </a:spcAft>
                </a:pPr>
                <a:endParaRPr lang="ko-KR" altLang="en-US" sz="2300" kern="1200"/>
              </a:p>
            </p:txBody>
          </p:sp>
        </p:grpSp>
        <p:sp>
          <p:nvSpPr>
            <p:cNvPr id="14" name="TextBox 13">
              <a:extLst>
                <a:ext uri="{FF2B5EF4-FFF2-40B4-BE49-F238E27FC236}">
                  <a16:creationId xmlns:a16="http://schemas.microsoft.com/office/drawing/2014/main" id="{540D4121-45F2-9F4A-B4CF-FC5630F5379D}"/>
                </a:ext>
              </a:extLst>
            </p:cNvPr>
            <p:cNvSpPr txBox="1"/>
            <p:nvPr/>
          </p:nvSpPr>
          <p:spPr>
            <a:xfrm>
              <a:off x="2290030" y="3864719"/>
              <a:ext cx="667112" cy="338554"/>
            </a:xfrm>
            <a:prstGeom prst="rect">
              <a:avLst/>
            </a:prstGeom>
            <a:noFill/>
          </p:spPr>
          <p:txBody>
            <a:bodyPr wrap="square" rtlCol="0">
              <a:spAutoFit/>
            </a:bodyPr>
            <a:lstStyle/>
            <a:p>
              <a:pPr algn="ctr"/>
              <a:r>
                <a:rPr lang="en-US" altLang="ko-KR" sz="1600" b="1">
                  <a:solidFill>
                    <a:schemeClr val="bg1"/>
                  </a:solidFill>
                  <a:latin typeface="Arial" pitchFamily="34" charset="0"/>
                  <a:cs typeface="Arial" pitchFamily="34" charset="0"/>
                </a:rPr>
                <a:t>60%</a:t>
              </a:r>
              <a:endParaRPr lang="ko-KR" altLang="en-US" sz="1600" b="1">
                <a:solidFill>
                  <a:schemeClr val="bg1"/>
                </a:solidFill>
                <a:latin typeface="Arial" pitchFamily="34" charset="0"/>
                <a:cs typeface="Arial" pitchFamily="34" charset="0"/>
              </a:endParaRPr>
            </a:p>
          </p:txBody>
        </p:sp>
        <p:sp>
          <p:nvSpPr>
            <p:cNvPr id="15" name="TextBox 14">
              <a:extLst>
                <a:ext uri="{FF2B5EF4-FFF2-40B4-BE49-F238E27FC236}">
                  <a16:creationId xmlns:a16="http://schemas.microsoft.com/office/drawing/2014/main" id="{BDAFD591-2F8B-C74A-98FD-B80810A787C7}"/>
                </a:ext>
              </a:extLst>
            </p:cNvPr>
            <p:cNvSpPr txBox="1"/>
            <p:nvPr/>
          </p:nvSpPr>
          <p:spPr>
            <a:xfrm>
              <a:off x="2290030" y="2925872"/>
              <a:ext cx="667112" cy="338554"/>
            </a:xfrm>
            <a:prstGeom prst="rect">
              <a:avLst/>
            </a:prstGeom>
            <a:noFill/>
          </p:spPr>
          <p:txBody>
            <a:bodyPr wrap="square" rtlCol="0">
              <a:spAutoFit/>
            </a:bodyPr>
            <a:lstStyle/>
            <a:p>
              <a:pPr algn="ctr"/>
              <a:r>
                <a:rPr lang="en-US" altLang="ko-KR" sz="1600" b="1">
                  <a:solidFill>
                    <a:schemeClr val="bg1"/>
                  </a:solidFill>
                  <a:latin typeface="Arial" pitchFamily="34" charset="0"/>
                  <a:cs typeface="Arial" pitchFamily="34" charset="0"/>
                </a:rPr>
                <a:t>50%</a:t>
              </a:r>
              <a:endParaRPr lang="ko-KR" altLang="en-US" sz="1600" b="1">
                <a:solidFill>
                  <a:schemeClr val="bg1"/>
                </a:solidFill>
                <a:latin typeface="Arial" pitchFamily="34" charset="0"/>
                <a:cs typeface="Arial" pitchFamily="34" charset="0"/>
              </a:endParaRPr>
            </a:p>
          </p:txBody>
        </p:sp>
        <p:sp>
          <p:nvSpPr>
            <p:cNvPr id="16" name="TextBox 15">
              <a:extLst>
                <a:ext uri="{FF2B5EF4-FFF2-40B4-BE49-F238E27FC236}">
                  <a16:creationId xmlns:a16="http://schemas.microsoft.com/office/drawing/2014/main" id="{66F9B2B3-8613-9646-8EB6-B8BE9D21075F}"/>
                </a:ext>
              </a:extLst>
            </p:cNvPr>
            <p:cNvSpPr txBox="1"/>
            <p:nvPr/>
          </p:nvSpPr>
          <p:spPr>
            <a:xfrm>
              <a:off x="2290030" y="2156302"/>
              <a:ext cx="667112" cy="338554"/>
            </a:xfrm>
            <a:prstGeom prst="rect">
              <a:avLst/>
            </a:prstGeom>
            <a:noFill/>
          </p:spPr>
          <p:txBody>
            <a:bodyPr wrap="square" rtlCol="0">
              <a:spAutoFit/>
            </a:bodyPr>
            <a:lstStyle/>
            <a:p>
              <a:pPr algn="ctr"/>
              <a:r>
                <a:rPr lang="en-US" altLang="ko-KR" sz="1600" b="1">
                  <a:solidFill>
                    <a:schemeClr val="bg1"/>
                  </a:solidFill>
                  <a:latin typeface="Arial" pitchFamily="34" charset="0"/>
                  <a:cs typeface="Arial" pitchFamily="34" charset="0"/>
                </a:rPr>
                <a:t>30%</a:t>
              </a:r>
              <a:endParaRPr lang="ko-KR" altLang="en-US" sz="1600" b="1">
                <a:solidFill>
                  <a:schemeClr val="bg1"/>
                </a:solidFill>
                <a:latin typeface="Arial" pitchFamily="34" charset="0"/>
                <a:cs typeface="Arial" pitchFamily="34" charset="0"/>
              </a:endParaRPr>
            </a:p>
          </p:txBody>
        </p:sp>
        <p:sp>
          <p:nvSpPr>
            <p:cNvPr id="17" name="TextBox 16">
              <a:extLst>
                <a:ext uri="{FF2B5EF4-FFF2-40B4-BE49-F238E27FC236}">
                  <a16:creationId xmlns:a16="http://schemas.microsoft.com/office/drawing/2014/main" id="{DCC85D89-E1A1-0F48-9422-979E1FBBC91C}"/>
                </a:ext>
              </a:extLst>
            </p:cNvPr>
            <p:cNvSpPr txBox="1"/>
            <p:nvPr/>
          </p:nvSpPr>
          <p:spPr>
            <a:xfrm>
              <a:off x="2290030" y="1491630"/>
              <a:ext cx="667112" cy="338554"/>
            </a:xfrm>
            <a:prstGeom prst="rect">
              <a:avLst/>
            </a:prstGeom>
            <a:noFill/>
          </p:spPr>
          <p:txBody>
            <a:bodyPr wrap="square" rtlCol="0">
              <a:spAutoFit/>
            </a:bodyPr>
            <a:lstStyle/>
            <a:p>
              <a:pPr algn="ctr"/>
              <a:r>
                <a:rPr lang="en-US" altLang="ko-KR" sz="1600" b="1">
                  <a:solidFill>
                    <a:schemeClr val="bg1"/>
                  </a:solidFill>
                  <a:latin typeface="Arial" pitchFamily="34" charset="0"/>
                  <a:cs typeface="Arial" pitchFamily="34" charset="0"/>
                </a:rPr>
                <a:t>20%</a:t>
              </a:r>
              <a:endParaRPr lang="ko-KR" altLang="en-US" sz="1600" b="1">
                <a:solidFill>
                  <a:schemeClr val="bg1"/>
                </a:solidFill>
                <a:latin typeface="Arial" pitchFamily="34" charset="0"/>
                <a:cs typeface="Arial" pitchFamily="34" charset="0"/>
              </a:endParaRPr>
            </a:p>
          </p:txBody>
        </p:sp>
        <p:cxnSp>
          <p:nvCxnSpPr>
            <p:cNvPr id="18" name="Straight Arrow Connector 17">
              <a:extLst>
                <a:ext uri="{FF2B5EF4-FFF2-40B4-BE49-F238E27FC236}">
                  <a16:creationId xmlns:a16="http://schemas.microsoft.com/office/drawing/2014/main" id="{5ADB2B4A-AAA3-C940-905C-1A06D1C9C168}"/>
                </a:ext>
              </a:extLst>
            </p:cNvPr>
            <p:cNvCxnSpPr/>
            <p:nvPr/>
          </p:nvCxnSpPr>
          <p:spPr>
            <a:xfrm>
              <a:off x="2987824" y="1660907"/>
              <a:ext cx="2376264" cy="0"/>
            </a:xfrm>
            <a:prstGeom prst="straightConnector1">
              <a:avLst/>
            </a:prstGeom>
            <a:ln w="25400">
              <a:solidFill>
                <a:schemeClr val="accent1">
                  <a:lumMod val="40000"/>
                  <a:lumOff val="6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3B5E9BB-099C-9C48-951B-ABEE36A9610D}"/>
                </a:ext>
              </a:extLst>
            </p:cNvPr>
            <p:cNvCxnSpPr/>
            <p:nvPr/>
          </p:nvCxnSpPr>
          <p:spPr>
            <a:xfrm>
              <a:off x="2987824" y="2451937"/>
              <a:ext cx="2376264" cy="0"/>
            </a:xfrm>
            <a:prstGeom prst="straightConnector1">
              <a:avLst/>
            </a:prstGeom>
            <a:ln w="25400">
              <a:gradFill>
                <a:gsLst>
                  <a:gs pos="0">
                    <a:schemeClr val="accent2">
                      <a:lumMod val="90000"/>
                      <a:lumOff val="10000"/>
                    </a:schemeClr>
                  </a:gs>
                  <a:gs pos="100000">
                    <a:schemeClr val="accent2">
                      <a:lumMod val="90000"/>
                      <a:lumOff val="10000"/>
                    </a:schemeClr>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6D67012-AECE-364C-8DFB-3C4B10F29247}"/>
                </a:ext>
              </a:extLst>
            </p:cNvPr>
            <p:cNvCxnSpPr/>
            <p:nvPr/>
          </p:nvCxnSpPr>
          <p:spPr>
            <a:xfrm>
              <a:off x="2987824" y="3242967"/>
              <a:ext cx="2376264" cy="0"/>
            </a:xfrm>
            <a:prstGeom prst="straightConnector1">
              <a:avLst/>
            </a:prstGeom>
            <a:ln w="25400">
              <a:gradFill>
                <a:gsLst>
                  <a:gs pos="0">
                    <a:schemeClr val="accent3">
                      <a:lumMod val="90000"/>
                      <a:lumOff val="10000"/>
                    </a:schemeClr>
                  </a:gs>
                  <a:gs pos="100000">
                    <a:schemeClr val="accent3">
                      <a:lumMod val="90000"/>
                      <a:lumOff val="10000"/>
                    </a:schemeClr>
                  </a:gs>
                </a:gsLst>
                <a:lin ang="5400000" scaled="1"/>
              </a:gradFill>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2976537-D71F-1143-A205-2B7EFF3DE071}"/>
                </a:ext>
              </a:extLst>
            </p:cNvPr>
            <p:cNvCxnSpPr/>
            <p:nvPr/>
          </p:nvCxnSpPr>
          <p:spPr>
            <a:xfrm>
              <a:off x="2987824" y="4033996"/>
              <a:ext cx="2376264" cy="0"/>
            </a:xfrm>
            <a:prstGeom prst="straightConnector1">
              <a:avLst/>
            </a:prstGeom>
            <a:ln w="25400">
              <a:solidFill>
                <a:schemeClr val="accent4">
                  <a:lumMod val="7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3C7446A4-169B-8548-864D-85734F7A3898}"/>
                </a:ext>
              </a:extLst>
            </p:cNvPr>
            <p:cNvGrpSpPr/>
            <p:nvPr/>
          </p:nvGrpSpPr>
          <p:grpSpPr>
            <a:xfrm>
              <a:off x="5542967" y="2112591"/>
              <a:ext cx="3024336" cy="678692"/>
              <a:chOff x="803640" y="3362835"/>
              <a:chExt cx="2059657" cy="678692"/>
            </a:xfrm>
          </p:grpSpPr>
          <p:sp>
            <p:nvSpPr>
              <p:cNvPr id="23" name="TextBox 22">
                <a:extLst>
                  <a:ext uri="{FF2B5EF4-FFF2-40B4-BE49-F238E27FC236}">
                    <a16:creationId xmlns:a16="http://schemas.microsoft.com/office/drawing/2014/main" id="{CBB7E024-A334-744C-9062-DD54DF67CDF9}"/>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accent2"/>
                    </a:solidFill>
                    <a:latin typeface="Arial" pitchFamily="34" charset="0"/>
                    <a:cs typeface="Arial" pitchFamily="34" charset="0"/>
                  </a:rPr>
                  <a:t>You can simply impress your audience and add a unique zing</a:t>
                </a:r>
                <a:endParaRPr lang="ko-KR" altLang="en-US" sz="1200">
                  <a:solidFill>
                    <a:schemeClr val="accent2"/>
                  </a:solidFill>
                  <a:latin typeface="Arial" pitchFamily="34" charset="0"/>
                  <a:cs typeface="Arial" pitchFamily="34" charset="0"/>
                </a:endParaRPr>
              </a:p>
            </p:txBody>
          </p:sp>
          <p:sp>
            <p:nvSpPr>
              <p:cNvPr id="24" name="TextBox 23">
                <a:extLst>
                  <a:ext uri="{FF2B5EF4-FFF2-40B4-BE49-F238E27FC236}">
                    <a16:creationId xmlns:a16="http://schemas.microsoft.com/office/drawing/2014/main" id="{56A4CE6F-29CD-EA4F-ABBC-2B52660C664B}"/>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2"/>
                    </a:solidFill>
                    <a:latin typeface="Arial" pitchFamily="34" charset="0"/>
                    <a:cs typeface="Arial" pitchFamily="34" charset="0"/>
                  </a:rPr>
                  <a:t>Your Text  Here</a:t>
                </a:r>
                <a:endParaRPr lang="ko-KR" altLang="en-US" sz="1200" b="1">
                  <a:solidFill>
                    <a:schemeClr val="accent2"/>
                  </a:solidFill>
                  <a:latin typeface="Arial" pitchFamily="34" charset="0"/>
                  <a:cs typeface="Arial" pitchFamily="34" charset="0"/>
                </a:endParaRPr>
              </a:p>
            </p:txBody>
          </p:sp>
        </p:grpSp>
        <p:grpSp>
          <p:nvGrpSpPr>
            <p:cNvPr id="25" name="Group 24">
              <a:extLst>
                <a:ext uri="{FF2B5EF4-FFF2-40B4-BE49-F238E27FC236}">
                  <a16:creationId xmlns:a16="http://schemas.microsoft.com/office/drawing/2014/main" id="{CE761D38-C7A8-5B41-8148-27E2D31416D5}"/>
                </a:ext>
              </a:extLst>
            </p:cNvPr>
            <p:cNvGrpSpPr/>
            <p:nvPr/>
          </p:nvGrpSpPr>
          <p:grpSpPr>
            <a:xfrm>
              <a:off x="5542967" y="1321561"/>
              <a:ext cx="3024336" cy="678692"/>
              <a:chOff x="803640" y="3362835"/>
              <a:chExt cx="2059657" cy="678692"/>
            </a:xfrm>
          </p:grpSpPr>
          <p:sp>
            <p:nvSpPr>
              <p:cNvPr id="26" name="TextBox 25">
                <a:extLst>
                  <a:ext uri="{FF2B5EF4-FFF2-40B4-BE49-F238E27FC236}">
                    <a16:creationId xmlns:a16="http://schemas.microsoft.com/office/drawing/2014/main" id="{DD5B1563-E499-BD43-9A56-F79214A7552F}"/>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accent1"/>
                    </a:solidFill>
                    <a:latin typeface="Arial" pitchFamily="34" charset="0"/>
                    <a:cs typeface="Arial" pitchFamily="34" charset="0"/>
                  </a:rPr>
                  <a:t>You can simply impress your audience and add a unique zing</a:t>
                </a:r>
                <a:endParaRPr lang="ko-KR" altLang="en-US" sz="1200">
                  <a:solidFill>
                    <a:schemeClr val="accent1"/>
                  </a:solidFill>
                  <a:latin typeface="Arial" pitchFamily="34" charset="0"/>
                  <a:cs typeface="Arial" pitchFamily="34" charset="0"/>
                </a:endParaRPr>
              </a:p>
            </p:txBody>
          </p:sp>
          <p:sp>
            <p:nvSpPr>
              <p:cNvPr id="27" name="TextBox 26">
                <a:extLst>
                  <a:ext uri="{FF2B5EF4-FFF2-40B4-BE49-F238E27FC236}">
                    <a16:creationId xmlns:a16="http://schemas.microsoft.com/office/drawing/2014/main" id="{6DB07B3B-6B2F-4745-874A-CD6F9EF1A374}"/>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1"/>
                    </a:solidFill>
                    <a:latin typeface="Arial" pitchFamily="34" charset="0"/>
                    <a:cs typeface="Arial" pitchFamily="34" charset="0"/>
                  </a:rPr>
                  <a:t>Your Text  Here</a:t>
                </a:r>
                <a:endParaRPr lang="ko-KR" altLang="en-US" sz="1200" b="1">
                  <a:solidFill>
                    <a:schemeClr val="accent1"/>
                  </a:solidFill>
                  <a:latin typeface="Arial" pitchFamily="34" charset="0"/>
                  <a:cs typeface="Arial" pitchFamily="34" charset="0"/>
                </a:endParaRPr>
              </a:p>
            </p:txBody>
          </p:sp>
        </p:grpSp>
        <p:grpSp>
          <p:nvGrpSpPr>
            <p:cNvPr id="28" name="Group 27">
              <a:extLst>
                <a:ext uri="{FF2B5EF4-FFF2-40B4-BE49-F238E27FC236}">
                  <a16:creationId xmlns:a16="http://schemas.microsoft.com/office/drawing/2014/main" id="{89FEE55A-ADD6-0247-9A5B-6C0E245CF670}"/>
                </a:ext>
              </a:extLst>
            </p:cNvPr>
            <p:cNvGrpSpPr/>
            <p:nvPr/>
          </p:nvGrpSpPr>
          <p:grpSpPr>
            <a:xfrm>
              <a:off x="5542967" y="2903621"/>
              <a:ext cx="3024336" cy="678692"/>
              <a:chOff x="803640" y="3362835"/>
              <a:chExt cx="2059657" cy="678692"/>
            </a:xfrm>
          </p:grpSpPr>
          <p:sp>
            <p:nvSpPr>
              <p:cNvPr id="29" name="TextBox 28">
                <a:extLst>
                  <a:ext uri="{FF2B5EF4-FFF2-40B4-BE49-F238E27FC236}">
                    <a16:creationId xmlns:a16="http://schemas.microsoft.com/office/drawing/2014/main" id="{4CBD7E6B-50E0-4442-B772-78F505EE46BE}"/>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accent3"/>
                    </a:solidFill>
                    <a:latin typeface="Arial" pitchFamily="34" charset="0"/>
                    <a:cs typeface="Arial" pitchFamily="34" charset="0"/>
                  </a:rPr>
                  <a:t>You can simply impress your audience and add a unique</a:t>
                </a:r>
                <a:endParaRPr lang="ko-KR" altLang="en-US" sz="1200">
                  <a:solidFill>
                    <a:schemeClr val="accent3"/>
                  </a:solidFill>
                  <a:latin typeface="Arial" pitchFamily="34" charset="0"/>
                  <a:cs typeface="Arial" pitchFamily="34" charset="0"/>
                </a:endParaRPr>
              </a:p>
            </p:txBody>
          </p:sp>
          <p:sp>
            <p:nvSpPr>
              <p:cNvPr id="30" name="TextBox 29">
                <a:extLst>
                  <a:ext uri="{FF2B5EF4-FFF2-40B4-BE49-F238E27FC236}">
                    <a16:creationId xmlns:a16="http://schemas.microsoft.com/office/drawing/2014/main" id="{3F604A48-8221-7B4A-AE73-9CF36904B8A8}"/>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3"/>
                    </a:solidFill>
                    <a:latin typeface="Arial" pitchFamily="34" charset="0"/>
                    <a:cs typeface="Arial" pitchFamily="34" charset="0"/>
                  </a:rPr>
                  <a:t>Your Text  Here</a:t>
                </a:r>
                <a:endParaRPr lang="ko-KR" altLang="en-US" sz="1200" b="1">
                  <a:solidFill>
                    <a:schemeClr val="accent3"/>
                  </a:solidFill>
                  <a:latin typeface="Arial" pitchFamily="34" charset="0"/>
                  <a:cs typeface="Arial" pitchFamily="34" charset="0"/>
                </a:endParaRPr>
              </a:p>
            </p:txBody>
          </p:sp>
        </p:grpSp>
        <p:grpSp>
          <p:nvGrpSpPr>
            <p:cNvPr id="31" name="Group 30">
              <a:extLst>
                <a:ext uri="{FF2B5EF4-FFF2-40B4-BE49-F238E27FC236}">
                  <a16:creationId xmlns:a16="http://schemas.microsoft.com/office/drawing/2014/main" id="{41B8F335-7119-EF4E-8766-E282D3585A28}"/>
                </a:ext>
              </a:extLst>
            </p:cNvPr>
            <p:cNvGrpSpPr/>
            <p:nvPr/>
          </p:nvGrpSpPr>
          <p:grpSpPr>
            <a:xfrm>
              <a:off x="5542967" y="3694650"/>
              <a:ext cx="3024336" cy="678692"/>
              <a:chOff x="803640" y="3362835"/>
              <a:chExt cx="2059657" cy="678692"/>
            </a:xfrm>
          </p:grpSpPr>
          <p:sp>
            <p:nvSpPr>
              <p:cNvPr id="32" name="TextBox 31">
                <a:extLst>
                  <a:ext uri="{FF2B5EF4-FFF2-40B4-BE49-F238E27FC236}">
                    <a16:creationId xmlns:a16="http://schemas.microsoft.com/office/drawing/2014/main" id="{E5F3958B-264C-C348-9A19-4826247D185D}"/>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accent4">
                        <a:lumMod val="50000"/>
                      </a:schemeClr>
                    </a:solidFill>
                    <a:latin typeface="Arial" pitchFamily="34" charset="0"/>
                    <a:cs typeface="Arial" pitchFamily="34" charset="0"/>
                  </a:rPr>
                  <a:t>You can simply impress your audience and add a unique zing</a:t>
                </a:r>
                <a:endParaRPr lang="ko-KR" altLang="en-US" sz="1200">
                  <a:solidFill>
                    <a:schemeClr val="accent4">
                      <a:lumMod val="50000"/>
                    </a:schemeClr>
                  </a:solidFill>
                  <a:latin typeface="Arial" pitchFamily="34" charset="0"/>
                  <a:cs typeface="Arial" pitchFamily="34" charset="0"/>
                </a:endParaRPr>
              </a:p>
            </p:txBody>
          </p:sp>
          <p:sp>
            <p:nvSpPr>
              <p:cNvPr id="33" name="TextBox 32">
                <a:extLst>
                  <a:ext uri="{FF2B5EF4-FFF2-40B4-BE49-F238E27FC236}">
                    <a16:creationId xmlns:a16="http://schemas.microsoft.com/office/drawing/2014/main" id="{593B5B4B-72F2-F143-82AE-7F9C240A228B}"/>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accent4">
                        <a:lumMod val="50000"/>
                      </a:schemeClr>
                    </a:solidFill>
                    <a:latin typeface="Arial" pitchFamily="34" charset="0"/>
                    <a:cs typeface="Arial" pitchFamily="34" charset="0"/>
                  </a:rPr>
                  <a:t>Your Text  Here</a:t>
                </a:r>
                <a:endParaRPr lang="ko-KR" altLang="en-US" sz="1200" b="1">
                  <a:solidFill>
                    <a:schemeClr val="accent4">
                      <a:lumMod val="50000"/>
                    </a:schemeClr>
                  </a:solidFill>
                  <a:latin typeface="Arial" pitchFamily="34" charset="0"/>
                  <a:cs typeface="Arial" pitchFamily="34" charset="0"/>
                </a:endParaRPr>
              </a:p>
            </p:txBody>
          </p:sp>
        </p:grpSp>
      </p:grpSp>
    </p:spTree>
    <p:extLst>
      <p:ext uri="{BB962C8B-B14F-4D97-AF65-F5344CB8AC3E}">
        <p14:creationId xmlns:p14="http://schemas.microsoft.com/office/powerpoint/2010/main" val="153514588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B927BC-2098-3840-86CD-1DD5DEA5042F}"/>
              </a:ext>
            </a:extLst>
          </p:cNvPr>
          <p:cNvSpPr>
            <a:spLocks noGrp="1"/>
          </p:cNvSpPr>
          <p:nvPr>
            <p:ph type="sldNum" sz="quarter" idx="4"/>
          </p:nvPr>
        </p:nvSpPr>
        <p:spPr/>
        <p:txBody>
          <a:bodyPr/>
          <a:lstStyle/>
          <a:p>
            <a:fld id="{3D966009-6E5A-4F8C-8CA7-E37AFBF5FB92}" type="slidenum">
              <a:rPr lang="en-US" smtClean="0"/>
              <a:t>153</a:t>
            </a:fld>
            <a:endParaRPr lang="en-US"/>
          </a:p>
        </p:txBody>
      </p:sp>
      <p:sp>
        <p:nvSpPr>
          <p:cNvPr id="3" name="Title 2">
            <a:extLst>
              <a:ext uri="{FF2B5EF4-FFF2-40B4-BE49-F238E27FC236}">
                <a16:creationId xmlns:a16="http://schemas.microsoft.com/office/drawing/2014/main" id="{529D9DA2-D5ED-DA44-8BFA-A81C878E31E5}"/>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AC8D240D-AAC3-844C-9102-C4E6C6B4D7E6}"/>
              </a:ext>
            </a:extLst>
          </p:cNvPr>
          <p:cNvSpPr>
            <a:spLocks noGrp="1"/>
          </p:cNvSpPr>
          <p:nvPr>
            <p:ph sz="quarter" idx="10"/>
          </p:nvPr>
        </p:nvSpPr>
        <p:spPr/>
        <p:txBody>
          <a:bodyPr/>
          <a:lstStyle/>
          <a:p>
            <a:endParaRPr lang="en-GB"/>
          </a:p>
        </p:txBody>
      </p:sp>
      <p:sp>
        <p:nvSpPr>
          <p:cNvPr id="5" name="Text Placeholder 4">
            <a:extLst>
              <a:ext uri="{FF2B5EF4-FFF2-40B4-BE49-F238E27FC236}">
                <a16:creationId xmlns:a16="http://schemas.microsoft.com/office/drawing/2014/main" id="{F495196D-BEF8-6040-88D6-913A150EA23E}"/>
              </a:ext>
            </a:extLst>
          </p:cNvPr>
          <p:cNvSpPr>
            <a:spLocks noGrp="1"/>
          </p:cNvSpPr>
          <p:nvPr>
            <p:ph type="body" sz="quarter" idx="11"/>
          </p:nvPr>
        </p:nvSpPr>
        <p:spPr/>
        <p:txBody>
          <a:bodyPr/>
          <a:lstStyle/>
          <a:p>
            <a:endParaRPr lang="en-GB"/>
          </a:p>
        </p:txBody>
      </p:sp>
      <p:sp>
        <p:nvSpPr>
          <p:cNvPr id="6" name="Text Placeholder 5">
            <a:extLst>
              <a:ext uri="{FF2B5EF4-FFF2-40B4-BE49-F238E27FC236}">
                <a16:creationId xmlns:a16="http://schemas.microsoft.com/office/drawing/2014/main" id="{37D25D17-F6B2-D14A-86B8-30B9F7049549}"/>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F896F66A-DCDB-B143-B007-C978DF4BA1C3}"/>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5343E99-6EC3-4142-81A2-1899E9471CA8}"/>
              </a:ext>
            </a:extLst>
          </p:cNvPr>
          <p:cNvSpPr>
            <a:spLocks noGrp="1"/>
          </p:cNvSpPr>
          <p:nvPr>
            <p:ph sz="quarter" idx="14"/>
          </p:nvPr>
        </p:nvSpPr>
        <p:spPr/>
        <p:txBody>
          <a:bodyPr/>
          <a:lstStyle/>
          <a:p>
            <a:endParaRPr lang="en-GB"/>
          </a:p>
        </p:txBody>
      </p:sp>
      <p:grpSp>
        <p:nvGrpSpPr>
          <p:cNvPr id="45" name="Group 44">
            <a:extLst>
              <a:ext uri="{FF2B5EF4-FFF2-40B4-BE49-F238E27FC236}">
                <a16:creationId xmlns:a16="http://schemas.microsoft.com/office/drawing/2014/main" id="{B48CF43B-B150-7F40-B5C2-8A6530587E76}"/>
              </a:ext>
            </a:extLst>
          </p:cNvPr>
          <p:cNvGrpSpPr/>
          <p:nvPr/>
        </p:nvGrpSpPr>
        <p:grpSpPr>
          <a:xfrm>
            <a:off x="1980569" y="2186690"/>
            <a:ext cx="8230857" cy="3592884"/>
            <a:chOff x="323528" y="1204519"/>
            <a:chExt cx="8230857" cy="3592884"/>
          </a:xfrm>
        </p:grpSpPr>
        <p:sp>
          <p:nvSpPr>
            <p:cNvPr id="9" name="Rounded Rectangle 8">
              <a:extLst>
                <a:ext uri="{FF2B5EF4-FFF2-40B4-BE49-F238E27FC236}">
                  <a16:creationId xmlns:a16="http://schemas.microsoft.com/office/drawing/2014/main" id="{991A9930-F640-D24B-9322-788D49F88562}"/>
                </a:ext>
              </a:extLst>
            </p:cNvPr>
            <p:cNvSpPr/>
            <p:nvPr/>
          </p:nvSpPr>
          <p:spPr>
            <a:xfrm rot="10800000">
              <a:off x="3124900" y="1204520"/>
              <a:ext cx="557156" cy="3306461"/>
            </a:xfrm>
            <a:prstGeom prst="roundRect">
              <a:avLst>
                <a:gd name="adj" fmla="val 50000"/>
              </a:avLst>
            </a:prstGeom>
            <a:solidFill>
              <a:srgbClr val="333657"/>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Rounded Rectangle 9">
              <a:extLst>
                <a:ext uri="{FF2B5EF4-FFF2-40B4-BE49-F238E27FC236}">
                  <a16:creationId xmlns:a16="http://schemas.microsoft.com/office/drawing/2014/main" id="{9B9C422C-C3AF-4840-8E80-816EDF0ED396}"/>
                </a:ext>
              </a:extLst>
            </p:cNvPr>
            <p:cNvSpPr/>
            <p:nvPr/>
          </p:nvSpPr>
          <p:spPr>
            <a:xfrm rot="10800000">
              <a:off x="601711" y="1204519"/>
              <a:ext cx="557156" cy="3306461"/>
            </a:xfrm>
            <a:prstGeom prst="roundRect">
              <a:avLst>
                <a:gd name="adj" fmla="val 50000"/>
              </a:avLst>
            </a:prstGeom>
            <a:solidFill>
              <a:srgbClr val="333657"/>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Rounded Rectangle 10">
              <a:extLst>
                <a:ext uri="{FF2B5EF4-FFF2-40B4-BE49-F238E27FC236}">
                  <a16:creationId xmlns:a16="http://schemas.microsoft.com/office/drawing/2014/main" id="{63DD9BDA-7E41-B34F-8408-5A2917356D92}"/>
                </a:ext>
              </a:extLst>
            </p:cNvPr>
            <p:cNvSpPr/>
            <p:nvPr/>
          </p:nvSpPr>
          <p:spPr>
            <a:xfrm rot="10800000">
              <a:off x="1442774" y="1204519"/>
              <a:ext cx="557156" cy="3306461"/>
            </a:xfrm>
            <a:prstGeom prst="roundRect">
              <a:avLst>
                <a:gd name="adj" fmla="val 50000"/>
              </a:avLst>
            </a:prstGeom>
            <a:solidFill>
              <a:srgbClr val="333657"/>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Rounded Rectangle 11">
              <a:extLst>
                <a:ext uri="{FF2B5EF4-FFF2-40B4-BE49-F238E27FC236}">
                  <a16:creationId xmlns:a16="http://schemas.microsoft.com/office/drawing/2014/main" id="{A9E6DAC3-BB94-AE46-B343-690640718673}"/>
                </a:ext>
              </a:extLst>
            </p:cNvPr>
            <p:cNvSpPr/>
            <p:nvPr/>
          </p:nvSpPr>
          <p:spPr>
            <a:xfrm rot="10800000">
              <a:off x="2283837" y="1204520"/>
              <a:ext cx="557156" cy="3306461"/>
            </a:xfrm>
            <a:prstGeom prst="roundRect">
              <a:avLst>
                <a:gd name="adj" fmla="val 50000"/>
              </a:avLst>
            </a:prstGeom>
            <a:solidFill>
              <a:srgbClr val="333657"/>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Rounded Rectangle 12">
              <a:extLst>
                <a:ext uri="{FF2B5EF4-FFF2-40B4-BE49-F238E27FC236}">
                  <a16:creationId xmlns:a16="http://schemas.microsoft.com/office/drawing/2014/main" id="{895B34F4-18A6-BD41-A44D-6E1E23E4FBFD}"/>
                </a:ext>
              </a:extLst>
            </p:cNvPr>
            <p:cNvSpPr/>
            <p:nvPr/>
          </p:nvSpPr>
          <p:spPr>
            <a:xfrm rot="10800000">
              <a:off x="3965964" y="1219908"/>
              <a:ext cx="557156" cy="3306461"/>
            </a:xfrm>
            <a:prstGeom prst="roundRect">
              <a:avLst>
                <a:gd name="adj" fmla="val 50000"/>
              </a:avLst>
            </a:prstGeom>
            <a:solidFill>
              <a:srgbClr val="333657"/>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aphicFrame>
          <p:nvGraphicFramePr>
            <p:cNvPr id="14" name="Chart 13">
              <a:extLst>
                <a:ext uri="{FF2B5EF4-FFF2-40B4-BE49-F238E27FC236}">
                  <a16:creationId xmlns:a16="http://schemas.microsoft.com/office/drawing/2014/main" id="{F27996F0-F7E3-4548-BDF5-95568DF09659}"/>
                </a:ext>
              </a:extLst>
            </p:cNvPr>
            <p:cNvGraphicFramePr/>
            <p:nvPr>
              <p:extLst>
                <p:ext uri="{D42A27DB-BD31-4B8C-83A1-F6EECF244321}">
                  <p14:modId xmlns:p14="http://schemas.microsoft.com/office/powerpoint/2010/main" val="2907634606"/>
                </p:ext>
              </p:extLst>
            </p:nvPr>
          </p:nvGraphicFramePr>
          <p:xfrm>
            <a:off x="323528" y="1526460"/>
            <a:ext cx="4488554" cy="2815939"/>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a:extLst>
                <a:ext uri="{FF2B5EF4-FFF2-40B4-BE49-F238E27FC236}">
                  <a16:creationId xmlns:a16="http://schemas.microsoft.com/office/drawing/2014/main" id="{FC8C2D1D-07C2-4C4D-B8BC-E799EDC92944}"/>
                </a:ext>
              </a:extLst>
            </p:cNvPr>
            <p:cNvSpPr/>
            <p:nvPr/>
          </p:nvSpPr>
          <p:spPr>
            <a:xfrm>
              <a:off x="1490915" y="2705522"/>
              <a:ext cx="492846" cy="4928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Oval 15">
              <a:extLst>
                <a:ext uri="{FF2B5EF4-FFF2-40B4-BE49-F238E27FC236}">
                  <a16:creationId xmlns:a16="http://schemas.microsoft.com/office/drawing/2014/main" id="{39A37E7B-A760-F040-A754-1307DBA8911C}"/>
                </a:ext>
              </a:extLst>
            </p:cNvPr>
            <p:cNvSpPr/>
            <p:nvPr/>
          </p:nvSpPr>
          <p:spPr>
            <a:xfrm>
              <a:off x="2330860" y="2256109"/>
              <a:ext cx="492846" cy="4928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Oval 16">
              <a:extLst>
                <a:ext uri="{FF2B5EF4-FFF2-40B4-BE49-F238E27FC236}">
                  <a16:creationId xmlns:a16="http://schemas.microsoft.com/office/drawing/2014/main" id="{9CCB220E-F80A-814D-A688-F82D83D62A60}"/>
                </a:ext>
              </a:extLst>
            </p:cNvPr>
            <p:cNvSpPr/>
            <p:nvPr/>
          </p:nvSpPr>
          <p:spPr>
            <a:xfrm>
              <a:off x="3168779" y="1718864"/>
              <a:ext cx="492846" cy="4928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Oval 17">
              <a:extLst>
                <a:ext uri="{FF2B5EF4-FFF2-40B4-BE49-F238E27FC236}">
                  <a16:creationId xmlns:a16="http://schemas.microsoft.com/office/drawing/2014/main" id="{DE4BA1B4-624E-EE49-87D2-53BB441F681F}"/>
                </a:ext>
              </a:extLst>
            </p:cNvPr>
            <p:cNvSpPr/>
            <p:nvPr/>
          </p:nvSpPr>
          <p:spPr>
            <a:xfrm>
              <a:off x="645250" y="3303040"/>
              <a:ext cx="492846" cy="4928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Oval 18">
              <a:extLst>
                <a:ext uri="{FF2B5EF4-FFF2-40B4-BE49-F238E27FC236}">
                  <a16:creationId xmlns:a16="http://schemas.microsoft.com/office/drawing/2014/main" id="{799612C5-AEBB-A746-B174-BCF78CC8535C}"/>
                </a:ext>
              </a:extLst>
            </p:cNvPr>
            <p:cNvSpPr/>
            <p:nvPr/>
          </p:nvSpPr>
          <p:spPr>
            <a:xfrm>
              <a:off x="756800" y="4099390"/>
              <a:ext cx="246423" cy="24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Oval 19">
              <a:extLst>
                <a:ext uri="{FF2B5EF4-FFF2-40B4-BE49-F238E27FC236}">
                  <a16:creationId xmlns:a16="http://schemas.microsoft.com/office/drawing/2014/main" id="{EFF80D61-EABF-E14C-995C-607925C90481}"/>
                </a:ext>
              </a:extLst>
            </p:cNvPr>
            <p:cNvSpPr/>
            <p:nvPr/>
          </p:nvSpPr>
          <p:spPr>
            <a:xfrm>
              <a:off x="1605076" y="4099390"/>
              <a:ext cx="246423" cy="24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Oval 20">
              <a:extLst>
                <a:ext uri="{FF2B5EF4-FFF2-40B4-BE49-F238E27FC236}">
                  <a16:creationId xmlns:a16="http://schemas.microsoft.com/office/drawing/2014/main" id="{D3D84391-0466-0941-9ECA-63185B11FB28}"/>
                </a:ext>
              </a:extLst>
            </p:cNvPr>
            <p:cNvSpPr/>
            <p:nvPr/>
          </p:nvSpPr>
          <p:spPr>
            <a:xfrm>
              <a:off x="2443827" y="4099390"/>
              <a:ext cx="246423" cy="24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Oval 21">
              <a:extLst>
                <a:ext uri="{FF2B5EF4-FFF2-40B4-BE49-F238E27FC236}">
                  <a16:creationId xmlns:a16="http://schemas.microsoft.com/office/drawing/2014/main" id="{2580D228-9AFA-C049-95C3-3519249C96A0}"/>
                </a:ext>
              </a:extLst>
            </p:cNvPr>
            <p:cNvSpPr/>
            <p:nvPr/>
          </p:nvSpPr>
          <p:spPr>
            <a:xfrm>
              <a:off x="3282578" y="4099390"/>
              <a:ext cx="246423" cy="24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TextBox 22">
              <a:extLst>
                <a:ext uri="{FF2B5EF4-FFF2-40B4-BE49-F238E27FC236}">
                  <a16:creationId xmlns:a16="http://schemas.microsoft.com/office/drawing/2014/main" id="{55DC3EC0-EF7A-444D-A227-C5C1CE295C1A}"/>
                </a:ext>
              </a:extLst>
            </p:cNvPr>
            <p:cNvSpPr txBox="1"/>
            <p:nvPr/>
          </p:nvSpPr>
          <p:spPr>
            <a:xfrm>
              <a:off x="634767" y="3410964"/>
              <a:ext cx="513813" cy="276999"/>
            </a:xfrm>
            <a:prstGeom prst="rect">
              <a:avLst/>
            </a:prstGeom>
            <a:noFill/>
          </p:spPr>
          <p:txBody>
            <a:bodyPr wrap="square" rtlCol="0" anchor="ctr">
              <a:spAutoFit/>
            </a:bodyPr>
            <a:lstStyle/>
            <a:p>
              <a:pPr algn="ctr"/>
              <a:r>
                <a:rPr lang="en-US" altLang="ko-KR" sz="1200" b="1">
                  <a:solidFill>
                    <a:schemeClr val="bg1"/>
                  </a:solidFill>
                  <a:cs typeface="Arial" pitchFamily="34" charset="0"/>
                </a:rPr>
                <a:t>30%</a:t>
              </a:r>
              <a:endParaRPr lang="ko-KR" altLang="en-US" sz="1200" b="1">
                <a:solidFill>
                  <a:schemeClr val="bg1"/>
                </a:solidFill>
                <a:cs typeface="Arial" pitchFamily="34" charset="0"/>
              </a:endParaRPr>
            </a:p>
          </p:txBody>
        </p:sp>
        <p:sp>
          <p:nvSpPr>
            <p:cNvPr id="24" name="TextBox 23">
              <a:extLst>
                <a:ext uri="{FF2B5EF4-FFF2-40B4-BE49-F238E27FC236}">
                  <a16:creationId xmlns:a16="http://schemas.microsoft.com/office/drawing/2014/main" id="{F92D0C1D-CDF7-5046-9490-AD30BD96150C}"/>
                </a:ext>
              </a:extLst>
            </p:cNvPr>
            <p:cNvSpPr txBox="1"/>
            <p:nvPr/>
          </p:nvSpPr>
          <p:spPr>
            <a:xfrm>
              <a:off x="1480432" y="2813446"/>
              <a:ext cx="513813" cy="276999"/>
            </a:xfrm>
            <a:prstGeom prst="rect">
              <a:avLst/>
            </a:prstGeom>
            <a:noFill/>
          </p:spPr>
          <p:txBody>
            <a:bodyPr wrap="square" rtlCol="0" anchor="ctr">
              <a:spAutoFit/>
            </a:bodyPr>
            <a:lstStyle/>
            <a:p>
              <a:pPr algn="ctr"/>
              <a:r>
                <a:rPr lang="en-US" altLang="ko-KR" sz="1200" b="1">
                  <a:solidFill>
                    <a:schemeClr val="bg1"/>
                  </a:solidFill>
                  <a:cs typeface="Arial" pitchFamily="34" charset="0"/>
                </a:rPr>
                <a:t>45%</a:t>
              </a:r>
              <a:endParaRPr lang="ko-KR" altLang="en-US" sz="1200" b="1">
                <a:solidFill>
                  <a:schemeClr val="bg1"/>
                </a:solidFill>
                <a:cs typeface="Arial" pitchFamily="34" charset="0"/>
              </a:endParaRPr>
            </a:p>
          </p:txBody>
        </p:sp>
        <p:sp>
          <p:nvSpPr>
            <p:cNvPr id="25" name="TextBox 24">
              <a:extLst>
                <a:ext uri="{FF2B5EF4-FFF2-40B4-BE49-F238E27FC236}">
                  <a16:creationId xmlns:a16="http://schemas.microsoft.com/office/drawing/2014/main" id="{45FF42E4-B6C1-EF4F-8BDD-A72F1638A4E2}"/>
                </a:ext>
              </a:extLst>
            </p:cNvPr>
            <p:cNvSpPr txBox="1"/>
            <p:nvPr/>
          </p:nvSpPr>
          <p:spPr>
            <a:xfrm>
              <a:off x="2320377" y="2364033"/>
              <a:ext cx="513813" cy="276999"/>
            </a:xfrm>
            <a:prstGeom prst="rect">
              <a:avLst/>
            </a:prstGeom>
            <a:noFill/>
          </p:spPr>
          <p:txBody>
            <a:bodyPr wrap="square" rtlCol="0" anchor="ctr">
              <a:spAutoFit/>
            </a:bodyPr>
            <a:lstStyle/>
            <a:p>
              <a:pPr algn="ctr"/>
              <a:r>
                <a:rPr lang="en-US" altLang="ko-KR" sz="1200" b="1">
                  <a:solidFill>
                    <a:schemeClr val="bg1"/>
                  </a:solidFill>
                  <a:cs typeface="Arial" pitchFamily="34" charset="0"/>
                </a:rPr>
                <a:t>60%</a:t>
              </a:r>
              <a:endParaRPr lang="ko-KR" altLang="en-US" sz="1200" b="1">
                <a:solidFill>
                  <a:schemeClr val="bg1"/>
                </a:solidFill>
                <a:cs typeface="Arial" pitchFamily="34" charset="0"/>
              </a:endParaRPr>
            </a:p>
          </p:txBody>
        </p:sp>
        <p:sp>
          <p:nvSpPr>
            <p:cNvPr id="26" name="TextBox 25">
              <a:extLst>
                <a:ext uri="{FF2B5EF4-FFF2-40B4-BE49-F238E27FC236}">
                  <a16:creationId xmlns:a16="http://schemas.microsoft.com/office/drawing/2014/main" id="{7AD9FECB-51F4-984A-B643-C0D024A52740}"/>
                </a:ext>
              </a:extLst>
            </p:cNvPr>
            <p:cNvSpPr txBox="1"/>
            <p:nvPr/>
          </p:nvSpPr>
          <p:spPr>
            <a:xfrm>
              <a:off x="3158296" y="1826788"/>
              <a:ext cx="513813" cy="276999"/>
            </a:xfrm>
            <a:prstGeom prst="rect">
              <a:avLst/>
            </a:prstGeom>
            <a:noFill/>
          </p:spPr>
          <p:txBody>
            <a:bodyPr wrap="square" rtlCol="0" anchor="ctr">
              <a:spAutoFit/>
            </a:bodyPr>
            <a:lstStyle/>
            <a:p>
              <a:pPr algn="ctr"/>
              <a:r>
                <a:rPr lang="en-US" altLang="ko-KR" sz="1200" b="1">
                  <a:solidFill>
                    <a:schemeClr val="bg1"/>
                  </a:solidFill>
                  <a:cs typeface="Arial" pitchFamily="34" charset="0"/>
                </a:rPr>
                <a:t>80%</a:t>
              </a:r>
              <a:endParaRPr lang="ko-KR" altLang="en-US" sz="1200" b="1">
                <a:solidFill>
                  <a:schemeClr val="bg1"/>
                </a:solidFill>
                <a:cs typeface="Arial" pitchFamily="34" charset="0"/>
              </a:endParaRPr>
            </a:p>
          </p:txBody>
        </p:sp>
        <p:sp>
          <p:nvSpPr>
            <p:cNvPr id="27" name="TextBox 26">
              <a:extLst>
                <a:ext uri="{FF2B5EF4-FFF2-40B4-BE49-F238E27FC236}">
                  <a16:creationId xmlns:a16="http://schemas.microsoft.com/office/drawing/2014/main" id="{3B837848-BAB9-5D46-AE5A-D562AC9D68DA}"/>
                </a:ext>
              </a:extLst>
            </p:cNvPr>
            <p:cNvSpPr txBox="1"/>
            <p:nvPr/>
          </p:nvSpPr>
          <p:spPr>
            <a:xfrm>
              <a:off x="525071" y="4520404"/>
              <a:ext cx="786079" cy="276999"/>
            </a:xfrm>
            <a:prstGeom prst="rect">
              <a:avLst/>
            </a:prstGeom>
            <a:noFill/>
          </p:spPr>
          <p:txBody>
            <a:bodyPr wrap="square" rtlCol="0" anchor="ctr">
              <a:spAutoFit/>
            </a:bodyPr>
            <a:lstStyle/>
            <a:p>
              <a:pPr algn="ctr"/>
              <a:r>
                <a:rPr lang="en-US" altLang="ko-KR" sz="1200" b="1">
                  <a:cs typeface="Arial" pitchFamily="34" charset="0"/>
                </a:rPr>
                <a:t>Content</a:t>
              </a:r>
              <a:endParaRPr lang="ko-KR" altLang="en-US" sz="1200" b="1">
                <a:cs typeface="Arial" pitchFamily="34" charset="0"/>
              </a:endParaRPr>
            </a:p>
          </p:txBody>
        </p:sp>
        <p:sp>
          <p:nvSpPr>
            <p:cNvPr id="28" name="TextBox 27">
              <a:extLst>
                <a:ext uri="{FF2B5EF4-FFF2-40B4-BE49-F238E27FC236}">
                  <a16:creationId xmlns:a16="http://schemas.microsoft.com/office/drawing/2014/main" id="{B91879FF-8F85-1441-B247-7BAA339C8B2B}"/>
                </a:ext>
              </a:extLst>
            </p:cNvPr>
            <p:cNvSpPr txBox="1"/>
            <p:nvPr/>
          </p:nvSpPr>
          <p:spPr>
            <a:xfrm>
              <a:off x="1356678" y="4520404"/>
              <a:ext cx="786079" cy="276999"/>
            </a:xfrm>
            <a:prstGeom prst="rect">
              <a:avLst/>
            </a:prstGeom>
            <a:noFill/>
          </p:spPr>
          <p:txBody>
            <a:bodyPr wrap="square" rtlCol="0" anchor="ctr">
              <a:spAutoFit/>
            </a:bodyPr>
            <a:lstStyle/>
            <a:p>
              <a:pPr algn="ctr"/>
              <a:r>
                <a:rPr lang="en-US" altLang="ko-KR" sz="1200" b="1">
                  <a:cs typeface="Arial" pitchFamily="34" charset="0"/>
                </a:rPr>
                <a:t>Content</a:t>
              </a:r>
              <a:endParaRPr lang="ko-KR" altLang="en-US" sz="1200" b="1">
                <a:cs typeface="Arial" pitchFamily="34" charset="0"/>
              </a:endParaRPr>
            </a:p>
          </p:txBody>
        </p:sp>
        <p:sp>
          <p:nvSpPr>
            <p:cNvPr id="29" name="TextBox 28">
              <a:extLst>
                <a:ext uri="{FF2B5EF4-FFF2-40B4-BE49-F238E27FC236}">
                  <a16:creationId xmlns:a16="http://schemas.microsoft.com/office/drawing/2014/main" id="{1BE1D416-0AE4-CD47-82C5-70A88CDA8D3E}"/>
                </a:ext>
              </a:extLst>
            </p:cNvPr>
            <p:cNvSpPr txBox="1"/>
            <p:nvPr/>
          </p:nvSpPr>
          <p:spPr>
            <a:xfrm>
              <a:off x="2188285" y="4520404"/>
              <a:ext cx="786079" cy="276999"/>
            </a:xfrm>
            <a:prstGeom prst="rect">
              <a:avLst/>
            </a:prstGeom>
            <a:noFill/>
          </p:spPr>
          <p:txBody>
            <a:bodyPr wrap="square" rtlCol="0" anchor="ctr">
              <a:spAutoFit/>
            </a:bodyPr>
            <a:lstStyle/>
            <a:p>
              <a:pPr algn="ctr"/>
              <a:r>
                <a:rPr lang="en-US" altLang="ko-KR" sz="1200" b="1">
                  <a:cs typeface="Arial" pitchFamily="34" charset="0"/>
                </a:rPr>
                <a:t>Content</a:t>
              </a:r>
              <a:endParaRPr lang="ko-KR" altLang="en-US" sz="1200" b="1">
                <a:cs typeface="Arial" pitchFamily="34" charset="0"/>
              </a:endParaRPr>
            </a:p>
          </p:txBody>
        </p:sp>
        <p:sp>
          <p:nvSpPr>
            <p:cNvPr id="30" name="TextBox 29">
              <a:extLst>
                <a:ext uri="{FF2B5EF4-FFF2-40B4-BE49-F238E27FC236}">
                  <a16:creationId xmlns:a16="http://schemas.microsoft.com/office/drawing/2014/main" id="{1A26C342-A30C-9E4A-91CB-1BFFA7A1F36B}"/>
                </a:ext>
              </a:extLst>
            </p:cNvPr>
            <p:cNvSpPr txBox="1"/>
            <p:nvPr/>
          </p:nvSpPr>
          <p:spPr>
            <a:xfrm>
              <a:off x="3019892" y="4520404"/>
              <a:ext cx="786079" cy="276999"/>
            </a:xfrm>
            <a:prstGeom prst="rect">
              <a:avLst/>
            </a:prstGeom>
            <a:noFill/>
          </p:spPr>
          <p:txBody>
            <a:bodyPr wrap="square" rtlCol="0" anchor="ctr">
              <a:spAutoFit/>
            </a:bodyPr>
            <a:lstStyle/>
            <a:p>
              <a:pPr algn="ctr"/>
              <a:r>
                <a:rPr lang="en-US" altLang="ko-KR" sz="1200" b="1">
                  <a:cs typeface="Arial" pitchFamily="34" charset="0"/>
                </a:rPr>
                <a:t>Content</a:t>
              </a:r>
              <a:endParaRPr lang="ko-KR" altLang="en-US" sz="1200" b="1">
                <a:cs typeface="Arial" pitchFamily="34" charset="0"/>
              </a:endParaRPr>
            </a:p>
          </p:txBody>
        </p:sp>
        <p:sp>
          <p:nvSpPr>
            <p:cNvPr id="31" name="Oval 30">
              <a:extLst>
                <a:ext uri="{FF2B5EF4-FFF2-40B4-BE49-F238E27FC236}">
                  <a16:creationId xmlns:a16="http://schemas.microsoft.com/office/drawing/2014/main" id="{E398AAF0-07B3-1C49-8ED0-64B144DEA845}"/>
                </a:ext>
              </a:extLst>
            </p:cNvPr>
            <p:cNvSpPr/>
            <p:nvPr/>
          </p:nvSpPr>
          <p:spPr>
            <a:xfrm>
              <a:off x="4121329" y="4099390"/>
              <a:ext cx="246423" cy="24642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 name="Oval 31">
              <a:extLst>
                <a:ext uri="{FF2B5EF4-FFF2-40B4-BE49-F238E27FC236}">
                  <a16:creationId xmlns:a16="http://schemas.microsoft.com/office/drawing/2014/main" id="{E50979EE-B339-AF4C-9DA6-A1669C1A3BD5}"/>
                </a:ext>
              </a:extLst>
            </p:cNvPr>
            <p:cNvSpPr/>
            <p:nvPr/>
          </p:nvSpPr>
          <p:spPr>
            <a:xfrm>
              <a:off x="3990861" y="1502840"/>
              <a:ext cx="492846" cy="4928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TextBox 32">
              <a:extLst>
                <a:ext uri="{FF2B5EF4-FFF2-40B4-BE49-F238E27FC236}">
                  <a16:creationId xmlns:a16="http://schemas.microsoft.com/office/drawing/2014/main" id="{330A6613-E711-DF4B-A2F9-1297CAE26522}"/>
                </a:ext>
              </a:extLst>
            </p:cNvPr>
            <p:cNvSpPr txBox="1"/>
            <p:nvPr/>
          </p:nvSpPr>
          <p:spPr>
            <a:xfrm>
              <a:off x="3980378" y="1610764"/>
              <a:ext cx="513813" cy="276999"/>
            </a:xfrm>
            <a:prstGeom prst="rect">
              <a:avLst/>
            </a:prstGeom>
            <a:noFill/>
          </p:spPr>
          <p:txBody>
            <a:bodyPr wrap="square" rtlCol="0" anchor="ctr">
              <a:spAutoFit/>
            </a:bodyPr>
            <a:lstStyle/>
            <a:p>
              <a:pPr algn="ctr"/>
              <a:r>
                <a:rPr lang="en-US" altLang="ko-KR" sz="1200" b="1">
                  <a:solidFill>
                    <a:schemeClr val="bg1"/>
                  </a:solidFill>
                  <a:cs typeface="Arial" pitchFamily="34" charset="0"/>
                </a:rPr>
                <a:t>90%</a:t>
              </a:r>
              <a:endParaRPr lang="ko-KR" altLang="en-US" sz="1200" b="1">
                <a:solidFill>
                  <a:schemeClr val="bg1"/>
                </a:solidFill>
                <a:cs typeface="Arial" pitchFamily="34" charset="0"/>
              </a:endParaRPr>
            </a:p>
          </p:txBody>
        </p:sp>
        <p:sp>
          <p:nvSpPr>
            <p:cNvPr id="34" name="TextBox 33">
              <a:extLst>
                <a:ext uri="{FF2B5EF4-FFF2-40B4-BE49-F238E27FC236}">
                  <a16:creationId xmlns:a16="http://schemas.microsoft.com/office/drawing/2014/main" id="{F6253D3E-A198-9A41-B703-78F379B4216C}"/>
                </a:ext>
              </a:extLst>
            </p:cNvPr>
            <p:cNvSpPr txBox="1"/>
            <p:nvPr/>
          </p:nvSpPr>
          <p:spPr>
            <a:xfrm>
              <a:off x="3851501" y="4520404"/>
              <a:ext cx="786079" cy="276999"/>
            </a:xfrm>
            <a:prstGeom prst="rect">
              <a:avLst/>
            </a:prstGeom>
            <a:noFill/>
          </p:spPr>
          <p:txBody>
            <a:bodyPr wrap="square" rtlCol="0" anchor="ctr">
              <a:spAutoFit/>
            </a:bodyPr>
            <a:lstStyle/>
            <a:p>
              <a:pPr algn="ctr"/>
              <a:r>
                <a:rPr lang="en-US" altLang="ko-KR" sz="1200" b="1">
                  <a:cs typeface="Arial" pitchFamily="34" charset="0"/>
                </a:rPr>
                <a:t>Content</a:t>
              </a:r>
              <a:endParaRPr lang="ko-KR" altLang="en-US" sz="1200" b="1">
                <a:cs typeface="Arial" pitchFamily="34" charset="0"/>
              </a:endParaRPr>
            </a:p>
          </p:txBody>
        </p:sp>
        <p:sp>
          <p:nvSpPr>
            <p:cNvPr id="35" name="TextBox 34">
              <a:extLst>
                <a:ext uri="{FF2B5EF4-FFF2-40B4-BE49-F238E27FC236}">
                  <a16:creationId xmlns:a16="http://schemas.microsoft.com/office/drawing/2014/main" id="{EDE889FD-D1DF-3D4E-A15B-E91DCE29648A}"/>
                </a:ext>
              </a:extLst>
            </p:cNvPr>
            <p:cNvSpPr txBox="1"/>
            <p:nvPr/>
          </p:nvSpPr>
          <p:spPr>
            <a:xfrm>
              <a:off x="4942200" y="1470724"/>
              <a:ext cx="781928" cy="400110"/>
            </a:xfrm>
            <a:prstGeom prst="rect">
              <a:avLst/>
            </a:prstGeom>
            <a:noFill/>
          </p:spPr>
          <p:txBody>
            <a:bodyPr wrap="square" rtlCol="0">
              <a:spAutoFit/>
            </a:bodyPr>
            <a:lstStyle/>
            <a:p>
              <a:pPr algn="ctr"/>
              <a:r>
                <a:rPr lang="en-US" altLang="ko-KR" sz="2000" b="1">
                  <a:cs typeface="Arial" pitchFamily="34" charset="0"/>
                </a:rPr>
                <a:t>30</a:t>
              </a:r>
              <a:r>
                <a:rPr lang="en-US" altLang="ko-KR" sz="1600" b="1">
                  <a:cs typeface="Arial" pitchFamily="34" charset="0"/>
                </a:rPr>
                <a:t>%</a:t>
              </a:r>
              <a:endParaRPr lang="ko-KR" altLang="en-US" sz="1600" b="1">
                <a:cs typeface="Arial" pitchFamily="34" charset="0"/>
              </a:endParaRPr>
            </a:p>
          </p:txBody>
        </p:sp>
        <p:sp>
          <p:nvSpPr>
            <p:cNvPr id="36" name="TextBox 35">
              <a:extLst>
                <a:ext uri="{FF2B5EF4-FFF2-40B4-BE49-F238E27FC236}">
                  <a16:creationId xmlns:a16="http://schemas.microsoft.com/office/drawing/2014/main" id="{95A4E59B-80A8-FA43-A776-FEB2017E394B}"/>
                </a:ext>
              </a:extLst>
            </p:cNvPr>
            <p:cNvSpPr txBox="1"/>
            <p:nvPr/>
          </p:nvSpPr>
          <p:spPr>
            <a:xfrm>
              <a:off x="4942200" y="2155235"/>
              <a:ext cx="781928" cy="400110"/>
            </a:xfrm>
            <a:prstGeom prst="rect">
              <a:avLst/>
            </a:prstGeom>
            <a:noFill/>
          </p:spPr>
          <p:txBody>
            <a:bodyPr wrap="square" rtlCol="0">
              <a:spAutoFit/>
            </a:bodyPr>
            <a:lstStyle/>
            <a:p>
              <a:pPr algn="ctr"/>
              <a:r>
                <a:rPr lang="en-US" altLang="ko-KR" sz="2000" b="1">
                  <a:cs typeface="Arial" pitchFamily="34" charset="0"/>
                </a:rPr>
                <a:t>45</a:t>
              </a:r>
              <a:r>
                <a:rPr lang="en-US" altLang="ko-KR" sz="1600" b="1">
                  <a:cs typeface="Arial" pitchFamily="34" charset="0"/>
                </a:rPr>
                <a:t>%</a:t>
              </a:r>
              <a:endParaRPr lang="ko-KR" altLang="en-US" sz="1600" b="1">
                <a:cs typeface="Arial" pitchFamily="34" charset="0"/>
              </a:endParaRPr>
            </a:p>
          </p:txBody>
        </p:sp>
        <p:sp>
          <p:nvSpPr>
            <p:cNvPr id="37" name="TextBox 36">
              <a:extLst>
                <a:ext uri="{FF2B5EF4-FFF2-40B4-BE49-F238E27FC236}">
                  <a16:creationId xmlns:a16="http://schemas.microsoft.com/office/drawing/2014/main" id="{CE62876E-1CD8-D949-A00B-916582E73469}"/>
                </a:ext>
              </a:extLst>
            </p:cNvPr>
            <p:cNvSpPr txBox="1"/>
            <p:nvPr/>
          </p:nvSpPr>
          <p:spPr>
            <a:xfrm>
              <a:off x="4942200" y="2839746"/>
              <a:ext cx="781928" cy="400110"/>
            </a:xfrm>
            <a:prstGeom prst="rect">
              <a:avLst/>
            </a:prstGeom>
            <a:noFill/>
          </p:spPr>
          <p:txBody>
            <a:bodyPr wrap="square" rtlCol="0">
              <a:spAutoFit/>
            </a:bodyPr>
            <a:lstStyle/>
            <a:p>
              <a:pPr algn="ctr"/>
              <a:r>
                <a:rPr lang="en-US" altLang="ko-KR" sz="2000" b="1">
                  <a:cs typeface="Arial" pitchFamily="34" charset="0"/>
                </a:rPr>
                <a:t>65</a:t>
              </a:r>
              <a:r>
                <a:rPr lang="en-US" altLang="ko-KR" sz="1600" b="1">
                  <a:cs typeface="Arial" pitchFamily="34" charset="0"/>
                </a:rPr>
                <a:t>%</a:t>
              </a:r>
              <a:endParaRPr lang="ko-KR" altLang="en-US" sz="1600" b="1">
                <a:cs typeface="Arial" pitchFamily="34" charset="0"/>
              </a:endParaRPr>
            </a:p>
          </p:txBody>
        </p:sp>
        <p:sp>
          <p:nvSpPr>
            <p:cNvPr id="38" name="TextBox 37">
              <a:extLst>
                <a:ext uri="{FF2B5EF4-FFF2-40B4-BE49-F238E27FC236}">
                  <a16:creationId xmlns:a16="http://schemas.microsoft.com/office/drawing/2014/main" id="{52E47ACD-A41E-D140-8024-CB7A30E64658}"/>
                </a:ext>
              </a:extLst>
            </p:cNvPr>
            <p:cNvSpPr txBox="1"/>
            <p:nvPr/>
          </p:nvSpPr>
          <p:spPr>
            <a:xfrm>
              <a:off x="4942200" y="3524257"/>
              <a:ext cx="781928" cy="400110"/>
            </a:xfrm>
            <a:prstGeom prst="rect">
              <a:avLst/>
            </a:prstGeom>
            <a:noFill/>
          </p:spPr>
          <p:txBody>
            <a:bodyPr wrap="square" rtlCol="0">
              <a:spAutoFit/>
            </a:bodyPr>
            <a:lstStyle/>
            <a:p>
              <a:pPr algn="ctr"/>
              <a:r>
                <a:rPr lang="en-US" altLang="ko-KR" sz="2000" b="1">
                  <a:cs typeface="Arial" pitchFamily="34" charset="0"/>
                </a:rPr>
                <a:t>80</a:t>
              </a:r>
              <a:r>
                <a:rPr lang="en-US" altLang="ko-KR" sz="1600" b="1">
                  <a:cs typeface="Arial" pitchFamily="34" charset="0"/>
                </a:rPr>
                <a:t>%</a:t>
              </a:r>
              <a:endParaRPr lang="ko-KR" altLang="en-US" sz="1600" b="1">
                <a:cs typeface="Arial" pitchFamily="34" charset="0"/>
              </a:endParaRPr>
            </a:p>
          </p:txBody>
        </p:sp>
        <p:sp>
          <p:nvSpPr>
            <p:cNvPr id="39" name="TextBox 38">
              <a:extLst>
                <a:ext uri="{FF2B5EF4-FFF2-40B4-BE49-F238E27FC236}">
                  <a16:creationId xmlns:a16="http://schemas.microsoft.com/office/drawing/2014/main" id="{B5C8A9D2-52F1-5845-ABC7-18C1153BB7E6}"/>
                </a:ext>
              </a:extLst>
            </p:cNvPr>
            <p:cNvSpPr txBox="1"/>
            <p:nvPr/>
          </p:nvSpPr>
          <p:spPr>
            <a:xfrm>
              <a:off x="4942200" y="4208769"/>
              <a:ext cx="781928" cy="400110"/>
            </a:xfrm>
            <a:prstGeom prst="rect">
              <a:avLst/>
            </a:prstGeom>
            <a:noFill/>
          </p:spPr>
          <p:txBody>
            <a:bodyPr wrap="square" rtlCol="0">
              <a:spAutoFit/>
            </a:bodyPr>
            <a:lstStyle/>
            <a:p>
              <a:pPr algn="ctr"/>
              <a:r>
                <a:rPr lang="en-US" altLang="ko-KR" sz="2000" b="1">
                  <a:cs typeface="Arial" pitchFamily="34" charset="0"/>
                </a:rPr>
                <a:t>90</a:t>
              </a:r>
              <a:r>
                <a:rPr lang="en-US" altLang="ko-KR" sz="1600" b="1">
                  <a:cs typeface="Arial" pitchFamily="34" charset="0"/>
                </a:rPr>
                <a:t>%</a:t>
              </a:r>
              <a:endParaRPr lang="ko-KR" altLang="en-US" sz="1600" b="1">
                <a:cs typeface="Arial" pitchFamily="34" charset="0"/>
              </a:endParaRPr>
            </a:p>
          </p:txBody>
        </p:sp>
        <p:sp>
          <p:nvSpPr>
            <p:cNvPr id="40" name="TextBox 39">
              <a:extLst>
                <a:ext uri="{FF2B5EF4-FFF2-40B4-BE49-F238E27FC236}">
                  <a16:creationId xmlns:a16="http://schemas.microsoft.com/office/drawing/2014/main" id="{AC79FC2E-6B6B-FA45-9675-0C5A1886231A}"/>
                </a:ext>
              </a:extLst>
            </p:cNvPr>
            <p:cNvSpPr txBox="1"/>
            <p:nvPr/>
          </p:nvSpPr>
          <p:spPr>
            <a:xfrm>
              <a:off x="5724128" y="1347614"/>
              <a:ext cx="2830257" cy="646331"/>
            </a:xfrm>
            <a:prstGeom prst="rect">
              <a:avLst/>
            </a:prstGeom>
            <a:noFill/>
          </p:spPr>
          <p:txBody>
            <a:bodyPr wrap="square" rtlCol="0">
              <a:spAutoFit/>
            </a:bodyPr>
            <a:lstStyle/>
            <a:p>
              <a:r>
                <a:rPr lang="en-US" altLang="ko-KR" sz="1200">
                  <a:cs typeface="Arial" pitchFamily="34" charset="0"/>
                </a:rPr>
                <a:t>You can simply impress your audience and add a unique zing and appeal to your Presentations.</a:t>
              </a:r>
              <a:endParaRPr lang="ko-KR" altLang="en-US" sz="1200">
                <a:cs typeface="Arial" pitchFamily="34" charset="0"/>
              </a:endParaRPr>
            </a:p>
          </p:txBody>
        </p:sp>
        <p:sp>
          <p:nvSpPr>
            <p:cNvPr id="41" name="TextBox 40">
              <a:extLst>
                <a:ext uri="{FF2B5EF4-FFF2-40B4-BE49-F238E27FC236}">
                  <a16:creationId xmlns:a16="http://schemas.microsoft.com/office/drawing/2014/main" id="{AD6D40E3-4D70-A143-9709-2E59253D4054}"/>
                </a:ext>
              </a:extLst>
            </p:cNvPr>
            <p:cNvSpPr txBox="1"/>
            <p:nvPr/>
          </p:nvSpPr>
          <p:spPr>
            <a:xfrm>
              <a:off x="5724128" y="2032125"/>
              <a:ext cx="2830257" cy="646331"/>
            </a:xfrm>
            <a:prstGeom prst="rect">
              <a:avLst/>
            </a:prstGeom>
            <a:noFill/>
          </p:spPr>
          <p:txBody>
            <a:bodyPr wrap="square" rtlCol="0">
              <a:spAutoFit/>
            </a:bodyPr>
            <a:lstStyle/>
            <a:p>
              <a:r>
                <a:rPr lang="en-US" altLang="ko-KR" sz="1200">
                  <a:cs typeface="Arial" pitchFamily="34" charset="0"/>
                </a:rPr>
                <a:t>You can simply impress your audience and add a unique zing and appeal to your Presentations.</a:t>
              </a:r>
              <a:endParaRPr lang="ko-KR" altLang="en-US" sz="1200">
                <a:cs typeface="Arial" pitchFamily="34" charset="0"/>
              </a:endParaRPr>
            </a:p>
          </p:txBody>
        </p:sp>
        <p:sp>
          <p:nvSpPr>
            <p:cNvPr id="42" name="TextBox 41">
              <a:extLst>
                <a:ext uri="{FF2B5EF4-FFF2-40B4-BE49-F238E27FC236}">
                  <a16:creationId xmlns:a16="http://schemas.microsoft.com/office/drawing/2014/main" id="{56C8EA95-53D3-7C44-A6CE-28EC43EE2E52}"/>
                </a:ext>
              </a:extLst>
            </p:cNvPr>
            <p:cNvSpPr txBox="1"/>
            <p:nvPr/>
          </p:nvSpPr>
          <p:spPr>
            <a:xfrm>
              <a:off x="5724128" y="2716636"/>
              <a:ext cx="2830257" cy="646331"/>
            </a:xfrm>
            <a:prstGeom prst="rect">
              <a:avLst/>
            </a:prstGeom>
            <a:noFill/>
          </p:spPr>
          <p:txBody>
            <a:bodyPr wrap="square" rtlCol="0">
              <a:spAutoFit/>
            </a:bodyPr>
            <a:lstStyle/>
            <a:p>
              <a:r>
                <a:rPr lang="en-US" altLang="ko-KR" sz="1200">
                  <a:cs typeface="Arial" pitchFamily="34" charset="0"/>
                </a:rPr>
                <a:t>You can simply impress your audience and add a unique zing and appeal to your Presentations.</a:t>
              </a:r>
              <a:endParaRPr lang="ko-KR" altLang="en-US" sz="1200">
                <a:cs typeface="Arial" pitchFamily="34" charset="0"/>
              </a:endParaRPr>
            </a:p>
          </p:txBody>
        </p:sp>
        <p:sp>
          <p:nvSpPr>
            <p:cNvPr id="43" name="TextBox 42">
              <a:extLst>
                <a:ext uri="{FF2B5EF4-FFF2-40B4-BE49-F238E27FC236}">
                  <a16:creationId xmlns:a16="http://schemas.microsoft.com/office/drawing/2014/main" id="{15F47F54-FF67-6B4C-A5BE-1EDF7D14B1B3}"/>
                </a:ext>
              </a:extLst>
            </p:cNvPr>
            <p:cNvSpPr txBox="1"/>
            <p:nvPr/>
          </p:nvSpPr>
          <p:spPr>
            <a:xfrm>
              <a:off x="5724128" y="3401147"/>
              <a:ext cx="2830257" cy="646331"/>
            </a:xfrm>
            <a:prstGeom prst="rect">
              <a:avLst/>
            </a:prstGeom>
            <a:noFill/>
          </p:spPr>
          <p:txBody>
            <a:bodyPr wrap="square" rtlCol="0">
              <a:spAutoFit/>
            </a:bodyPr>
            <a:lstStyle/>
            <a:p>
              <a:r>
                <a:rPr lang="en-US" altLang="ko-KR" sz="1200">
                  <a:cs typeface="Arial" pitchFamily="34" charset="0"/>
                </a:rPr>
                <a:t>You can simply impress your audience and add a unique zing and appeal to your Presentations.</a:t>
              </a:r>
              <a:endParaRPr lang="ko-KR" altLang="en-US" sz="1200">
                <a:cs typeface="Arial" pitchFamily="34" charset="0"/>
              </a:endParaRPr>
            </a:p>
          </p:txBody>
        </p:sp>
        <p:sp>
          <p:nvSpPr>
            <p:cNvPr id="44" name="TextBox 43">
              <a:extLst>
                <a:ext uri="{FF2B5EF4-FFF2-40B4-BE49-F238E27FC236}">
                  <a16:creationId xmlns:a16="http://schemas.microsoft.com/office/drawing/2014/main" id="{6A3A93D1-AC71-E649-8B75-F4F356AF2D87}"/>
                </a:ext>
              </a:extLst>
            </p:cNvPr>
            <p:cNvSpPr txBox="1"/>
            <p:nvPr/>
          </p:nvSpPr>
          <p:spPr>
            <a:xfrm>
              <a:off x="5724128" y="4085659"/>
              <a:ext cx="2830257" cy="646331"/>
            </a:xfrm>
            <a:prstGeom prst="rect">
              <a:avLst/>
            </a:prstGeom>
            <a:noFill/>
          </p:spPr>
          <p:txBody>
            <a:bodyPr wrap="square" rtlCol="0">
              <a:spAutoFit/>
            </a:bodyPr>
            <a:lstStyle/>
            <a:p>
              <a:r>
                <a:rPr lang="en-US" altLang="ko-KR" sz="1200">
                  <a:cs typeface="Arial" pitchFamily="34" charset="0"/>
                </a:rPr>
                <a:t>You can simply impress your audience and add a unique zing and appeal to your Presentations.</a:t>
              </a:r>
              <a:endParaRPr lang="ko-KR" altLang="en-US" sz="1200">
                <a:cs typeface="Arial" pitchFamily="34" charset="0"/>
              </a:endParaRPr>
            </a:p>
          </p:txBody>
        </p:sp>
      </p:grpSp>
    </p:spTree>
    <p:extLst>
      <p:ext uri="{BB962C8B-B14F-4D97-AF65-F5344CB8AC3E}">
        <p14:creationId xmlns:p14="http://schemas.microsoft.com/office/powerpoint/2010/main" val="183956351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6E8315-FDAC-9141-B96D-0F4100F2A3A0}"/>
              </a:ext>
            </a:extLst>
          </p:cNvPr>
          <p:cNvSpPr>
            <a:spLocks noGrp="1"/>
          </p:cNvSpPr>
          <p:nvPr>
            <p:ph type="sldNum" sz="quarter" idx="4"/>
          </p:nvPr>
        </p:nvSpPr>
        <p:spPr/>
        <p:txBody>
          <a:bodyPr/>
          <a:lstStyle/>
          <a:p>
            <a:fld id="{3D966009-6E5A-4F8C-8CA7-E37AFBF5FB92}" type="slidenum">
              <a:rPr lang="en-US" smtClean="0"/>
              <a:t>154</a:t>
            </a:fld>
            <a:endParaRPr lang="en-US"/>
          </a:p>
        </p:txBody>
      </p:sp>
      <p:sp>
        <p:nvSpPr>
          <p:cNvPr id="3" name="Title 2">
            <a:extLst>
              <a:ext uri="{FF2B5EF4-FFF2-40B4-BE49-F238E27FC236}">
                <a16:creationId xmlns:a16="http://schemas.microsoft.com/office/drawing/2014/main" id="{34482FF0-EAB2-7245-A541-0340E7A292B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36F858F4-6D66-C248-BF06-EB7CE5268A69}"/>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3745D82-055B-3643-89E6-5426E4F27231}"/>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6D1545DE-AEC4-B94D-B723-7BCBF3B73F01}"/>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7A7DD9F-3DBD-CB4D-90E3-B1CCE19F2C2D}"/>
              </a:ext>
            </a:extLst>
          </p:cNvPr>
          <p:cNvSpPr>
            <a:spLocks noGrp="1"/>
          </p:cNvSpPr>
          <p:nvPr>
            <p:ph sz="quarter" idx="14"/>
          </p:nvPr>
        </p:nvSpPr>
        <p:spPr/>
        <p:txBody>
          <a:bodyPr/>
          <a:lstStyle/>
          <a:p>
            <a:endParaRPr lang="en-GB"/>
          </a:p>
        </p:txBody>
      </p:sp>
      <p:grpSp>
        <p:nvGrpSpPr>
          <p:cNvPr id="27" name="Group 26">
            <a:extLst>
              <a:ext uri="{FF2B5EF4-FFF2-40B4-BE49-F238E27FC236}">
                <a16:creationId xmlns:a16="http://schemas.microsoft.com/office/drawing/2014/main" id="{DC2BFF60-8D69-C344-900E-807EC2435D42}"/>
              </a:ext>
            </a:extLst>
          </p:cNvPr>
          <p:cNvGrpSpPr/>
          <p:nvPr/>
        </p:nvGrpSpPr>
        <p:grpSpPr>
          <a:xfrm>
            <a:off x="461568" y="2277512"/>
            <a:ext cx="2486498" cy="3392458"/>
            <a:chOff x="3422056" y="821410"/>
            <a:chExt cx="2486498" cy="3392458"/>
          </a:xfrm>
          <a:solidFill>
            <a:srgbClr val="333657"/>
          </a:solidFill>
        </p:grpSpPr>
        <p:sp>
          <p:nvSpPr>
            <p:cNvPr id="28" name="Oval 1">
              <a:extLst>
                <a:ext uri="{FF2B5EF4-FFF2-40B4-BE49-F238E27FC236}">
                  <a16:creationId xmlns:a16="http://schemas.microsoft.com/office/drawing/2014/main" id="{3210B66A-88CD-B44E-889A-C7AD25CD1D3B}"/>
                </a:ext>
              </a:extLst>
            </p:cNvPr>
            <p:cNvSpPr/>
            <p:nvPr/>
          </p:nvSpPr>
          <p:spPr>
            <a:xfrm rot="20110090">
              <a:off x="4547567" y="3137124"/>
              <a:ext cx="1067821" cy="1076744"/>
            </a:xfrm>
            <a:custGeom>
              <a:avLst/>
              <a:gdLst/>
              <a:ahLst/>
              <a:cxnLst/>
              <a:rect l="l" t="t" r="r" b="b"/>
              <a:pathLst>
                <a:path w="1462487" h="1474707">
                  <a:moveTo>
                    <a:pt x="1462487" y="349243"/>
                  </a:moveTo>
                  <a:lnTo>
                    <a:pt x="1460292" y="357434"/>
                  </a:lnTo>
                  <a:lnTo>
                    <a:pt x="1458059" y="353991"/>
                  </a:lnTo>
                  <a:close/>
                  <a:moveTo>
                    <a:pt x="753000" y="293334"/>
                  </a:moveTo>
                  <a:cubicBezTo>
                    <a:pt x="782853" y="295126"/>
                    <a:pt x="812972" y="299936"/>
                    <a:pt x="842985" y="307979"/>
                  </a:cubicBezTo>
                  <a:cubicBezTo>
                    <a:pt x="1083094" y="372316"/>
                    <a:pt x="1225586" y="619120"/>
                    <a:pt x="1161249" y="859229"/>
                  </a:cubicBezTo>
                  <a:cubicBezTo>
                    <a:pt x="1096912" y="1099339"/>
                    <a:pt x="850109" y="1241831"/>
                    <a:pt x="610000" y="1177494"/>
                  </a:cubicBezTo>
                  <a:cubicBezTo>
                    <a:pt x="369892" y="1113157"/>
                    <a:pt x="227400" y="866354"/>
                    <a:pt x="291737" y="626243"/>
                  </a:cubicBezTo>
                  <a:cubicBezTo>
                    <a:pt x="348031" y="416147"/>
                    <a:pt x="544027" y="280789"/>
                    <a:pt x="753000" y="293334"/>
                  </a:cubicBezTo>
                  <a:close/>
                  <a:moveTo>
                    <a:pt x="756927" y="226756"/>
                  </a:moveTo>
                  <a:cubicBezTo>
                    <a:pt x="516994" y="212353"/>
                    <a:pt x="291963" y="367763"/>
                    <a:pt x="227328" y="608985"/>
                  </a:cubicBezTo>
                  <a:cubicBezTo>
                    <a:pt x="153460" y="884668"/>
                    <a:pt x="317061" y="1168034"/>
                    <a:pt x="592743" y="1241903"/>
                  </a:cubicBezTo>
                  <a:cubicBezTo>
                    <a:pt x="868423" y="1315772"/>
                    <a:pt x="1151788" y="1152169"/>
                    <a:pt x="1225657" y="876487"/>
                  </a:cubicBezTo>
                  <a:cubicBezTo>
                    <a:pt x="1299525" y="600806"/>
                    <a:pt x="1135924" y="317439"/>
                    <a:pt x="860243" y="243570"/>
                  </a:cubicBezTo>
                  <a:cubicBezTo>
                    <a:pt x="825783" y="234336"/>
                    <a:pt x="791203" y="228813"/>
                    <a:pt x="756927" y="226756"/>
                  </a:cubicBezTo>
                  <a:close/>
                  <a:moveTo>
                    <a:pt x="810386" y="0"/>
                  </a:moveTo>
                  <a:lnTo>
                    <a:pt x="1025208" y="57562"/>
                  </a:lnTo>
                  <a:lnTo>
                    <a:pt x="1022130" y="240527"/>
                  </a:lnTo>
                  <a:lnTo>
                    <a:pt x="1016510" y="239022"/>
                  </a:lnTo>
                  <a:cubicBezTo>
                    <a:pt x="1062297" y="264790"/>
                    <a:pt x="1103679" y="296387"/>
                    <a:pt x="1138682" y="333856"/>
                  </a:cubicBezTo>
                  <a:lnTo>
                    <a:pt x="1301566" y="293354"/>
                  </a:lnTo>
                  <a:lnTo>
                    <a:pt x="1405978" y="489724"/>
                  </a:lnTo>
                  <a:lnTo>
                    <a:pt x="1289918" y="594359"/>
                  </a:lnTo>
                  <a:cubicBezTo>
                    <a:pt x="1304467" y="647352"/>
                    <a:pt x="1311324" y="702842"/>
                    <a:pt x="1308862" y="759248"/>
                  </a:cubicBezTo>
                  <a:lnTo>
                    <a:pt x="1453830" y="839725"/>
                  </a:lnTo>
                  <a:lnTo>
                    <a:pt x="1396268" y="1054549"/>
                  </a:lnTo>
                  <a:lnTo>
                    <a:pt x="1220358" y="1051590"/>
                  </a:lnTo>
                  <a:cubicBezTo>
                    <a:pt x="1198118" y="1088752"/>
                    <a:pt x="1171171" y="1122269"/>
                    <a:pt x="1140977" y="1152189"/>
                  </a:cubicBezTo>
                  <a:lnTo>
                    <a:pt x="1198748" y="1302969"/>
                  </a:lnTo>
                  <a:lnTo>
                    <a:pt x="1016568" y="1430534"/>
                  </a:lnTo>
                  <a:lnTo>
                    <a:pt x="878385" y="1310568"/>
                  </a:lnTo>
                  <a:lnTo>
                    <a:pt x="895202" y="1298794"/>
                  </a:lnTo>
                  <a:cubicBezTo>
                    <a:pt x="842274" y="1315923"/>
                    <a:pt x="786304" y="1324159"/>
                    <a:pt x="729238" y="1323841"/>
                  </a:cubicBezTo>
                  <a:lnTo>
                    <a:pt x="645487" y="1474707"/>
                  </a:lnTo>
                  <a:lnTo>
                    <a:pt x="430663" y="1417146"/>
                  </a:lnTo>
                  <a:lnTo>
                    <a:pt x="433566" y="1244616"/>
                  </a:lnTo>
                  <a:cubicBezTo>
                    <a:pt x="388043" y="1218671"/>
                    <a:pt x="346927" y="1186942"/>
                    <a:pt x="312175" y="1149403"/>
                  </a:cubicBezTo>
                  <a:lnTo>
                    <a:pt x="314959" y="1155374"/>
                  </a:lnTo>
                  <a:lnTo>
                    <a:pt x="135309" y="1190176"/>
                  </a:lnTo>
                  <a:lnTo>
                    <a:pt x="41317" y="988611"/>
                  </a:lnTo>
                  <a:lnTo>
                    <a:pt x="162815" y="890097"/>
                  </a:lnTo>
                  <a:cubicBezTo>
                    <a:pt x="149847" y="842564"/>
                    <a:pt x="143072" y="793029"/>
                    <a:pt x="143063" y="742616"/>
                  </a:cubicBezTo>
                  <a:lnTo>
                    <a:pt x="0" y="663197"/>
                  </a:lnTo>
                  <a:lnTo>
                    <a:pt x="57561" y="448372"/>
                  </a:lnTo>
                  <a:lnTo>
                    <a:pt x="221502" y="451130"/>
                  </a:lnTo>
                  <a:cubicBezTo>
                    <a:pt x="243744" y="411880"/>
                    <a:pt x="270601" y="376094"/>
                    <a:pt x="300983" y="344063"/>
                  </a:cubicBezTo>
                  <a:lnTo>
                    <a:pt x="246073" y="174702"/>
                  </a:lnTo>
                  <a:lnTo>
                    <a:pt x="434681" y="56847"/>
                  </a:lnTo>
                  <a:lnTo>
                    <a:pt x="566393" y="183881"/>
                  </a:lnTo>
                  <a:lnTo>
                    <a:pt x="565070" y="184708"/>
                  </a:lnTo>
                  <a:cubicBezTo>
                    <a:pt x="616848" y="168416"/>
                    <a:pt x="671513" y="160885"/>
                    <a:pt x="727187" y="161498"/>
                  </a:cubicBezTo>
                  <a:lnTo>
                    <a:pt x="721568" y="15999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Oval 1">
              <a:extLst>
                <a:ext uri="{FF2B5EF4-FFF2-40B4-BE49-F238E27FC236}">
                  <a16:creationId xmlns:a16="http://schemas.microsoft.com/office/drawing/2014/main" id="{6C06A397-DFDD-5845-B6B2-F3E393CBDF16}"/>
                </a:ext>
              </a:extLst>
            </p:cNvPr>
            <p:cNvSpPr/>
            <p:nvPr/>
          </p:nvSpPr>
          <p:spPr>
            <a:xfrm rot="20629582">
              <a:off x="3422056" y="2512575"/>
              <a:ext cx="1317398" cy="1328406"/>
            </a:xfrm>
            <a:custGeom>
              <a:avLst/>
              <a:gdLst/>
              <a:ahLst/>
              <a:cxnLst/>
              <a:rect l="l" t="t" r="r" b="b"/>
              <a:pathLst>
                <a:path w="1462487" h="1474707">
                  <a:moveTo>
                    <a:pt x="1462487" y="349243"/>
                  </a:moveTo>
                  <a:lnTo>
                    <a:pt x="1460292" y="357434"/>
                  </a:lnTo>
                  <a:lnTo>
                    <a:pt x="1458059" y="353991"/>
                  </a:lnTo>
                  <a:close/>
                  <a:moveTo>
                    <a:pt x="753000" y="293334"/>
                  </a:moveTo>
                  <a:cubicBezTo>
                    <a:pt x="782853" y="295126"/>
                    <a:pt x="812972" y="299936"/>
                    <a:pt x="842985" y="307979"/>
                  </a:cubicBezTo>
                  <a:cubicBezTo>
                    <a:pt x="1083094" y="372316"/>
                    <a:pt x="1225586" y="619120"/>
                    <a:pt x="1161249" y="859229"/>
                  </a:cubicBezTo>
                  <a:cubicBezTo>
                    <a:pt x="1096912" y="1099339"/>
                    <a:pt x="850109" y="1241831"/>
                    <a:pt x="610000" y="1177494"/>
                  </a:cubicBezTo>
                  <a:cubicBezTo>
                    <a:pt x="369892" y="1113157"/>
                    <a:pt x="227400" y="866354"/>
                    <a:pt x="291737" y="626243"/>
                  </a:cubicBezTo>
                  <a:cubicBezTo>
                    <a:pt x="348031" y="416147"/>
                    <a:pt x="544027" y="280789"/>
                    <a:pt x="753000" y="293334"/>
                  </a:cubicBezTo>
                  <a:close/>
                  <a:moveTo>
                    <a:pt x="756927" y="226756"/>
                  </a:moveTo>
                  <a:cubicBezTo>
                    <a:pt x="516994" y="212353"/>
                    <a:pt x="291963" y="367763"/>
                    <a:pt x="227328" y="608985"/>
                  </a:cubicBezTo>
                  <a:cubicBezTo>
                    <a:pt x="153460" y="884668"/>
                    <a:pt x="317061" y="1168034"/>
                    <a:pt x="592743" y="1241903"/>
                  </a:cubicBezTo>
                  <a:cubicBezTo>
                    <a:pt x="868423" y="1315772"/>
                    <a:pt x="1151788" y="1152169"/>
                    <a:pt x="1225657" y="876487"/>
                  </a:cubicBezTo>
                  <a:cubicBezTo>
                    <a:pt x="1299525" y="600806"/>
                    <a:pt x="1135924" y="317439"/>
                    <a:pt x="860243" y="243570"/>
                  </a:cubicBezTo>
                  <a:cubicBezTo>
                    <a:pt x="825783" y="234336"/>
                    <a:pt x="791203" y="228813"/>
                    <a:pt x="756927" y="226756"/>
                  </a:cubicBezTo>
                  <a:close/>
                  <a:moveTo>
                    <a:pt x="810386" y="0"/>
                  </a:moveTo>
                  <a:lnTo>
                    <a:pt x="1025208" y="57562"/>
                  </a:lnTo>
                  <a:lnTo>
                    <a:pt x="1022130" y="240527"/>
                  </a:lnTo>
                  <a:lnTo>
                    <a:pt x="1016510" y="239022"/>
                  </a:lnTo>
                  <a:cubicBezTo>
                    <a:pt x="1062297" y="264790"/>
                    <a:pt x="1103679" y="296387"/>
                    <a:pt x="1138682" y="333856"/>
                  </a:cubicBezTo>
                  <a:lnTo>
                    <a:pt x="1301566" y="293354"/>
                  </a:lnTo>
                  <a:lnTo>
                    <a:pt x="1405978" y="489724"/>
                  </a:lnTo>
                  <a:lnTo>
                    <a:pt x="1289918" y="594359"/>
                  </a:lnTo>
                  <a:cubicBezTo>
                    <a:pt x="1304467" y="647352"/>
                    <a:pt x="1311324" y="702842"/>
                    <a:pt x="1308862" y="759248"/>
                  </a:cubicBezTo>
                  <a:lnTo>
                    <a:pt x="1453830" y="839725"/>
                  </a:lnTo>
                  <a:lnTo>
                    <a:pt x="1396268" y="1054549"/>
                  </a:lnTo>
                  <a:lnTo>
                    <a:pt x="1220358" y="1051590"/>
                  </a:lnTo>
                  <a:cubicBezTo>
                    <a:pt x="1198118" y="1088752"/>
                    <a:pt x="1171171" y="1122269"/>
                    <a:pt x="1140977" y="1152189"/>
                  </a:cubicBezTo>
                  <a:lnTo>
                    <a:pt x="1198748" y="1302969"/>
                  </a:lnTo>
                  <a:lnTo>
                    <a:pt x="1016568" y="1430534"/>
                  </a:lnTo>
                  <a:lnTo>
                    <a:pt x="878385" y="1310568"/>
                  </a:lnTo>
                  <a:lnTo>
                    <a:pt x="895202" y="1298794"/>
                  </a:lnTo>
                  <a:cubicBezTo>
                    <a:pt x="842274" y="1315923"/>
                    <a:pt x="786304" y="1324159"/>
                    <a:pt x="729238" y="1323841"/>
                  </a:cubicBezTo>
                  <a:lnTo>
                    <a:pt x="645487" y="1474707"/>
                  </a:lnTo>
                  <a:lnTo>
                    <a:pt x="430663" y="1417146"/>
                  </a:lnTo>
                  <a:lnTo>
                    <a:pt x="433566" y="1244616"/>
                  </a:lnTo>
                  <a:cubicBezTo>
                    <a:pt x="388043" y="1218671"/>
                    <a:pt x="346927" y="1186942"/>
                    <a:pt x="312175" y="1149403"/>
                  </a:cubicBezTo>
                  <a:lnTo>
                    <a:pt x="314959" y="1155374"/>
                  </a:lnTo>
                  <a:lnTo>
                    <a:pt x="135309" y="1190176"/>
                  </a:lnTo>
                  <a:lnTo>
                    <a:pt x="41317" y="988611"/>
                  </a:lnTo>
                  <a:lnTo>
                    <a:pt x="162815" y="890097"/>
                  </a:lnTo>
                  <a:cubicBezTo>
                    <a:pt x="149847" y="842564"/>
                    <a:pt x="143072" y="793029"/>
                    <a:pt x="143063" y="742616"/>
                  </a:cubicBezTo>
                  <a:lnTo>
                    <a:pt x="0" y="663197"/>
                  </a:lnTo>
                  <a:lnTo>
                    <a:pt x="57561" y="448372"/>
                  </a:lnTo>
                  <a:lnTo>
                    <a:pt x="221502" y="451130"/>
                  </a:lnTo>
                  <a:cubicBezTo>
                    <a:pt x="243744" y="411880"/>
                    <a:pt x="270601" y="376094"/>
                    <a:pt x="300983" y="344063"/>
                  </a:cubicBezTo>
                  <a:lnTo>
                    <a:pt x="246073" y="174702"/>
                  </a:lnTo>
                  <a:lnTo>
                    <a:pt x="434681" y="56847"/>
                  </a:lnTo>
                  <a:lnTo>
                    <a:pt x="566393" y="183881"/>
                  </a:lnTo>
                  <a:lnTo>
                    <a:pt x="565070" y="184708"/>
                  </a:lnTo>
                  <a:cubicBezTo>
                    <a:pt x="616848" y="168416"/>
                    <a:pt x="671513" y="160885"/>
                    <a:pt x="727187" y="161498"/>
                  </a:cubicBezTo>
                  <a:lnTo>
                    <a:pt x="721568" y="15999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Oval 1">
              <a:extLst>
                <a:ext uri="{FF2B5EF4-FFF2-40B4-BE49-F238E27FC236}">
                  <a16:creationId xmlns:a16="http://schemas.microsoft.com/office/drawing/2014/main" id="{B0533A60-3F52-F548-B102-A9E220E74159}"/>
                </a:ext>
              </a:extLst>
            </p:cNvPr>
            <p:cNvSpPr/>
            <p:nvPr/>
          </p:nvSpPr>
          <p:spPr>
            <a:xfrm rot="20625983">
              <a:off x="3912780" y="821410"/>
              <a:ext cx="1175566" cy="1185389"/>
            </a:xfrm>
            <a:custGeom>
              <a:avLst/>
              <a:gdLst/>
              <a:ahLst/>
              <a:cxnLst/>
              <a:rect l="l" t="t" r="r" b="b"/>
              <a:pathLst>
                <a:path w="1462487" h="1474707">
                  <a:moveTo>
                    <a:pt x="1462487" y="349243"/>
                  </a:moveTo>
                  <a:lnTo>
                    <a:pt x="1460292" y="357434"/>
                  </a:lnTo>
                  <a:lnTo>
                    <a:pt x="1458059" y="353991"/>
                  </a:lnTo>
                  <a:close/>
                  <a:moveTo>
                    <a:pt x="753000" y="293334"/>
                  </a:moveTo>
                  <a:cubicBezTo>
                    <a:pt x="782853" y="295126"/>
                    <a:pt x="812972" y="299936"/>
                    <a:pt x="842985" y="307979"/>
                  </a:cubicBezTo>
                  <a:cubicBezTo>
                    <a:pt x="1083094" y="372316"/>
                    <a:pt x="1225586" y="619120"/>
                    <a:pt x="1161249" y="859229"/>
                  </a:cubicBezTo>
                  <a:cubicBezTo>
                    <a:pt x="1096912" y="1099339"/>
                    <a:pt x="850109" y="1241831"/>
                    <a:pt x="610000" y="1177494"/>
                  </a:cubicBezTo>
                  <a:cubicBezTo>
                    <a:pt x="369892" y="1113157"/>
                    <a:pt x="227400" y="866354"/>
                    <a:pt x="291737" y="626243"/>
                  </a:cubicBezTo>
                  <a:cubicBezTo>
                    <a:pt x="348031" y="416147"/>
                    <a:pt x="544027" y="280789"/>
                    <a:pt x="753000" y="293334"/>
                  </a:cubicBezTo>
                  <a:close/>
                  <a:moveTo>
                    <a:pt x="756927" y="226756"/>
                  </a:moveTo>
                  <a:cubicBezTo>
                    <a:pt x="516994" y="212353"/>
                    <a:pt x="291963" y="367763"/>
                    <a:pt x="227328" y="608985"/>
                  </a:cubicBezTo>
                  <a:cubicBezTo>
                    <a:pt x="153460" y="884668"/>
                    <a:pt x="317061" y="1168034"/>
                    <a:pt x="592743" y="1241903"/>
                  </a:cubicBezTo>
                  <a:cubicBezTo>
                    <a:pt x="868423" y="1315772"/>
                    <a:pt x="1151788" y="1152169"/>
                    <a:pt x="1225657" y="876487"/>
                  </a:cubicBezTo>
                  <a:cubicBezTo>
                    <a:pt x="1299525" y="600806"/>
                    <a:pt x="1135924" y="317439"/>
                    <a:pt x="860243" y="243570"/>
                  </a:cubicBezTo>
                  <a:cubicBezTo>
                    <a:pt x="825783" y="234336"/>
                    <a:pt x="791203" y="228813"/>
                    <a:pt x="756927" y="226756"/>
                  </a:cubicBezTo>
                  <a:close/>
                  <a:moveTo>
                    <a:pt x="810386" y="0"/>
                  </a:moveTo>
                  <a:lnTo>
                    <a:pt x="1025208" y="57562"/>
                  </a:lnTo>
                  <a:lnTo>
                    <a:pt x="1022130" y="240527"/>
                  </a:lnTo>
                  <a:lnTo>
                    <a:pt x="1016510" y="239022"/>
                  </a:lnTo>
                  <a:cubicBezTo>
                    <a:pt x="1062297" y="264790"/>
                    <a:pt x="1103679" y="296387"/>
                    <a:pt x="1138682" y="333856"/>
                  </a:cubicBezTo>
                  <a:lnTo>
                    <a:pt x="1301566" y="293354"/>
                  </a:lnTo>
                  <a:lnTo>
                    <a:pt x="1405978" y="489724"/>
                  </a:lnTo>
                  <a:lnTo>
                    <a:pt x="1289918" y="594359"/>
                  </a:lnTo>
                  <a:cubicBezTo>
                    <a:pt x="1304467" y="647352"/>
                    <a:pt x="1311324" y="702842"/>
                    <a:pt x="1308862" y="759248"/>
                  </a:cubicBezTo>
                  <a:lnTo>
                    <a:pt x="1453830" y="839725"/>
                  </a:lnTo>
                  <a:lnTo>
                    <a:pt x="1396268" y="1054549"/>
                  </a:lnTo>
                  <a:lnTo>
                    <a:pt x="1220358" y="1051590"/>
                  </a:lnTo>
                  <a:cubicBezTo>
                    <a:pt x="1198118" y="1088752"/>
                    <a:pt x="1171171" y="1122269"/>
                    <a:pt x="1140977" y="1152189"/>
                  </a:cubicBezTo>
                  <a:lnTo>
                    <a:pt x="1198748" y="1302969"/>
                  </a:lnTo>
                  <a:lnTo>
                    <a:pt x="1016568" y="1430534"/>
                  </a:lnTo>
                  <a:lnTo>
                    <a:pt x="878385" y="1310568"/>
                  </a:lnTo>
                  <a:lnTo>
                    <a:pt x="895202" y="1298794"/>
                  </a:lnTo>
                  <a:cubicBezTo>
                    <a:pt x="842274" y="1315923"/>
                    <a:pt x="786304" y="1324159"/>
                    <a:pt x="729238" y="1323841"/>
                  </a:cubicBezTo>
                  <a:lnTo>
                    <a:pt x="645487" y="1474707"/>
                  </a:lnTo>
                  <a:lnTo>
                    <a:pt x="430663" y="1417146"/>
                  </a:lnTo>
                  <a:lnTo>
                    <a:pt x="433566" y="1244616"/>
                  </a:lnTo>
                  <a:cubicBezTo>
                    <a:pt x="388043" y="1218671"/>
                    <a:pt x="346927" y="1186942"/>
                    <a:pt x="312175" y="1149403"/>
                  </a:cubicBezTo>
                  <a:lnTo>
                    <a:pt x="314959" y="1155374"/>
                  </a:lnTo>
                  <a:lnTo>
                    <a:pt x="135309" y="1190176"/>
                  </a:lnTo>
                  <a:lnTo>
                    <a:pt x="41317" y="988611"/>
                  </a:lnTo>
                  <a:lnTo>
                    <a:pt x="162815" y="890097"/>
                  </a:lnTo>
                  <a:cubicBezTo>
                    <a:pt x="149847" y="842564"/>
                    <a:pt x="143072" y="793029"/>
                    <a:pt x="143063" y="742616"/>
                  </a:cubicBezTo>
                  <a:lnTo>
                    <a:pt x="0" y="663197"/>
                  </a:lnTo>
                  <a:lnTo>
                    <a:pt x="57561" y="448372"/>
                  </a:lnTo>
                  <a:lnTo>
                    <a:pt x="221502" y="451130"/>
                  </a:lnTo>
                  <a:cubicBezTo>
                    <a:pt x="243744" y="411880"/>
                    <a:pt x="270601" y="376094"/>
                    <a:pt x="300983" y="344063"/>
                  </a:cubicBezTo>
                  <a:lnTo>
                    <a:pt x="246073" y="174702"/>
                  </a:lnTo>
                  <a:lnTo>
                    <a:pt x="434681" y="56847"/>
                  </a:lnTo>
                  <a:lnTo>
                    <a:pt x="566393" y="183881"/>
                  </a:lnTo>
                  <a:lnTo>
                    <a:pt x="565070" y="184708"/>
                  </a:lnTo>
                  <a:cubicBezTo>
                    <a:pt x="616848" y="168416"/>
                    <a:pt x="671513" y="160885"/>
                    <a:pt x="727187" y="161498"/>
                  </a:cubicBezTo>
                  <a:lnTo>
                    <a:pt x="721568" y="15999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Oval 1">
              <a:extLst>
                <a:ext uri="{FF2B5EF4-FFF2-40B4-BE49-F238E27FC236}">
                  <a16:creationId xmlns:a16="http://schemas.microsoft.com/office/drawing/2014/main" id="{894C7496-5324-3D40-87F0-08C816D919FF}"/>
                </a:ext>
              </a:extLst>
            </p:cNvPr>
            <p:cNvSpPr/>
            <p:nvPr/>
          </p:nvSpPr>
          <p:spPr>
            <a:xfrm rot="20625983">
              <a:off x="4483704" y="1742062"/>
              <a:ext cx="1424850" cy="1436756"/>
            </a:xfrm>
            <a:custGeom>
              <a:avLst/>
              <a:gdLst/>
              <a:ahLst/>
              <a:cxnLst/>
              <a:rect l="l" t="t" r="r" b="b"/>
              <a:pathLst>
                <a:path w="1462487" h="1474707">
                  <a:moveTo>
                    <a:pt x="1462487" y="349243"/>
                  </a:moveTo>
                  <a:lnTo>
                    <a:pt x="1460292" y="357434"/>
                  </a:lnTo>
                  <a:lnTo>
                    <a:pt x="1458059" y="353991"/>
                  </a:lnTo>
                  <a:close/>
                  <a:moveTo>
                    <a:pt x="753000" y="293334"/>
                  </a:moveTo>
                  <a:cubicBezTo>
                    <a:pt x="782853" y="295126"/>
                    <a:pt x="812972" y="299936"/>
                    <a:pt x="842985" y="307979"/>
                  </a:cubicBezTo>
                  <a:cubicBezTo>
                    <a:pt x="1083094" y="372316"/>
                    <a:pt x="1225586" y="619120"/>
                    <a:pt x="1161249" y="859229"/>
                  </a:cubicBezTo>
                  <a:cubicBezTo>
                    <a:pt x="1096912" y="1099339"/>
                    <a:pt x="850109" y="1241831"/>
                    <a:pt x="610000" y="1177494"/>
                  </a:cubicBezTo>
                  <a:cubicBezTo>
                    <a:pt x="369892" y="1113157"/>
                    <a:pt x="227400" y="866354"/>
                    <a:pt x="291737" y="626243"/>
                  </a:cubicBezTo>
                  <a:cubicBezTo>
                    <a:pt x="348031" y="416147"/>
                    <a:pt x="544027" y="280789"/>
                    <a:pt x="753000" y="293334"/>
                  </a:cubicBezTo>
                  <a:close/>
                  <a:moveTo>
                    <a:pt x="756927" y="226756"/>
                  </a:moveTo>
                  <a:cubicBezTo>
                    <a:pt x="516994" y="212353"/>
                    <a:pt x="291963" y="367763"/>
                    <a:pt x="227328" y="608985"/>
                  </a:cubicBezTo>
                  <a:cubicBezTo>
                    <a:pt x="153460" y="884668"/>
                    <a:pt x="317061" y="1168034"/>
                    <a:pt x="592743" y="1241903"/>
                  </a:cubicBezTo>
                  <a:cubicBezTo>
                    <a:pt x="868423" y="1315772"/>
                    <a:pt x="1151788" y="1152169"/>
                    <a:pt x="1225657" y="876487"/>
                  </a:cubicBezTo>
                  <a:cubicBezTo>
                    <a:pt x="1299525" y="600806"/>
                    <a:pt x="1135924" y="317439"/>
                    <a:pt x="860243" y="243570"/>
                  </a:cubicBezTo>
                  <a:cubicBezTo>
                    <a:pt x="825783" y="234336"/>
                    <a:pt x="791203" y="228813"/>
                    <a:pt x="756927" y="226756"/>
                  </a:cubicBezTo>
                  <a:close/>
                  <a:moveTo>
                    <a:pt x="810386" y="0"/>
                  </a:moveTo>
                  <a:lnTo>
                    <a:pt x="1025208" y="57562"/>
                  </a:lnTo>
                  <a:lnTo>
                    <a:pt x="1022130" y="240527"/>
                  </a:lnTo>
                  <a:lnTo>
                    <a:pt x="1016510" y="239022"/>
                  </a:lnTo>
                  <a:cubicBezTo>
                    <a:pt x="1062297" y="264790"/>
                    <a:pt x="1103679" y="296387"/>
                    <a:pt x="1138682" y="333856"/>
                  </a:cubicBezTo>
                  <a:lnTo>
                    <a:pt x="1301566" y="293354"/>
                  </a:lnTo>
                  <a:lnTo>
                    <a:pt x="1405978" y="489724"/>
                  </a:lnTo>
                  <a:lnTo>
                    <a:pt x="1289918" y="594359"/>
                  </a:lnTo>
                  <a:cubicBezTo>
                    <a:pt x="1304467" y="647352"/>
                    <a:pt x="1311324" y="702842"/>
                    <a:pt x="1308862" y="759248"/>
                  </a:cubicBezTo>
                  <a:lnTo>
                    <a:pt x="1453830" y="839725"/>
                  </a:lnTo>
                  <a:lnTo>
                    <a:pt x="1396268" y="1054549"/>
                  </a:lnTo>
                  <a:lnTo>
                    <a:pt x="1220358" y="1051590"/>
                  </a:lnTo>
                  <a:cubicBezTo>
                    <a:pt x="1198118" y="1088752"/>
                    <a:pt x="1171171" y="1122269"/>
                    <a:pt x="1140977" y="1152189"/>
                  </a:cubicBezTo>
                  <a:lnTo>
                    <a:pt x="1198748" y="1302969"/>
                  </a:lnTo>
                  <a:lnTo>
                    <a:pt x="1016568" y="1430534"/>
                  </a:lnTo>
                  <a:lnTo>
                    <a:pt x="878385" y="1310568"/>
                  </a:lnTo>
                  <a:lnTo>
                    <a:pt x="895202" y="1298794"/>
                  </a:lnTo>
                  <a:cubicBezTo>
                    <a:pt x="842274" y="1315923"/>
                    <a:pt x="786304" y="1324159"/>
                    <a:pt x="729238" y="1323841"/>
                  </a:cubicBezTo>
                  <a:lnTo>
                    <a:pt x="645487" y="1474707"/>
                  </a:lnTo>
                  <a:lnTo>
                    <a:pt x="430663" y="1417146"/>
                  </a:lnTo>
                  <a:lnTo>
                    <a:pt x="433566" y="1244616"/>
                  </a:lnTo>
                  <a:cubicBezTo>
                    <a:pt x="388043" y="1218671"/>
                    <a:pt x="346927" y="1186942"/>
                    <a:pt x="312175" y="1149403"/>
                  </a:cubicBezTo>
                  <a:lnTo>
                    <a:pt x="314959" y="1155374"/>
                  </a:lnTo>
                  <a:lnTo>
                    <a:pt x="135309" y="1190176"/>
                  </a:lnTo>
                  <a:lnTo>
                    <a:pt x="41317" y="988611"/>
                  </a:lnTo>
                  <a:lnTo>
                    <a:pt x="162815" y="890097"/>
                  </a:lnTo>
                  <a:cubicBezTo>
                    <a:pt x="149847" y="842564"/>
                    <a:pt x="143072" y="793029"/>
                    <a:pt x="143063" y="742616"/>
                  </a:cubicBezTo>
                  <a:lnTo>
                    <a:pt x="0" y="663197"/>
                  </a:lnTo>
                  <a:lnTo>
                    <a:pt x="57561" y="448372"/>
                  </a:lnTo>
                  <a:lnTo>
                    <a:pt x="221502" y="451130"/>
                  </a:lnTo>
                  <a:cubicBezTo>
                    <a:pt x="243744" y="411880"/>
                    <a:pt x="270601" y="376094"/>
                    <a:pt x="300983" y="344063"/>
                  </a:cubicBezTo>
                  <a:lnTo>
                    <a:pt x="246073" y="174702"/>
                  </a:lnTo>
                  <a:lnTo>
                    <a:pt x="434681" y="56847"/>
                  </a:lnTo>
                  <a:lnTo>
                    <a:pt x="566393" y="183881"/>
                  </a:lnTo>
                  <a:lnTo>
                    <a:pt x="565070" y="184708"/>
                  </a:lnTo>
                  <a:cubicBezTo>
                    <a:pt x="616848" y="168416"/>
                    <a:pt x="671513" y="160885"/>
                    <a:pt x="727187" y="161498"/>
                  </a:cubicBezTo>
                  <a:lnTo>
                    <a:pt x="721568" y="15999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63" name="Group 62">
            <a:extLst>
              <a:ext uri="{FF2B5EF4-FFF2-40B4-BE49-F238E27FC236}">
                <a16:creationId xmlns:a16="http://schemas.microsoft.com/office/drawing/2014/main" id="{9A8AAB3D-DFB1-B249-91E8-321D68EAA208}"/>
              </a:ext>
            </a:extLst>
          </p:cNvPr>
          <p:cNvGrpSpPr/>
          <p:nvPr/>
        </p:nvGrpSpPr>
        <p:grpSpPr>
          <a:xfrm>
            <a:off x="5335482" y="2176132"/>
            <a:ext cx="5817556" cy="3060017"/>
            <a:chOff x="651681" y="1399883"/>
            <a:chExt cx="5817556" cy="3060017"/>
          </a:xfrm>
        </p:grpSpPr>
        <p:sp>
          <p:nvSpPr>
            <p:cNvPr id="36" name="Trapezoid 35">
              <a:extLst>
                <a:ext uri="{FF2B5EF4-FFF2-40B4-BE49-F238E27FC236}">
                  <a16:creationId xmlns:a16="http://schemas.microsoft.com/office/drawing/2014/main" id="{195ABF6C-9524-5947-BAD5-742AA95CF7E8}"/>
                </a:ext>
              </a:extLst>
            </p:cNvPr>
            <p:cNvSpPr/>
            <p:nvPr/>
          </p:nvSpPr>
          <p:spPr>
            <a:xfrm rot="5400000">
              <a:off x="3551985" y="2172250"/>
              <a:ext cx="2736052" cy="1518828"/>
            </a:xfrm>
            <a:prstGeom prst="trapezoid">
              <a:avLst>
                <a:gd name="adj" fmla="val 72234"/>
              </a:avLst>
            </a:prstGeom>
            <a:gradFill>
              <a:gsLst>
                <a:gs pos="0">
                  <a:schemeClr val="accent1">
                    <a:lumMod val="50000"/>
                    <a:lumOff val="50000"/>
                  </a:schemeClr>
                </a:gs>
                <a:gs pos="50000">
                  <a:schemeClr val="accent1">
                    <a:lumMod val="40000"/>
                    <a:lumOff val="6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Rounded Rectangle 36">
              <a:extLst>
                <a:ext uri="{FF2B5EF4-FFF2-40B4-BE49-F238E27FC236}">
                  <a16:creationId xmlns:a16="http://schemas.microsoft.com/office/drawing/2014/main" id="{976CF58B-44DA-6746-9ADE-B95DEE23001D}"/>
                </a:ext>
              </a:extLst>
            </p:cNvPr>
            <p:cNvSpPr/>
            <p:nvPr/>
          </p:nvSpPr>
          <p:spPr>
            <a:xfrm>
              <a:off x="651681" y="1399883"/>
              <a:ext cx="540000" cy="306001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Rounded Rectangle 37">
              <a:extLst>
                <a:ext uri="{FF2B5EF4-FFF2-40B4-BE49-F238E27FC236}">
                  <a16:creationId xmlns:a16="http://schemas.microsoft.com/office/drawing/2014/main" id="{8AAA5F04-F32D-B14F-9DBD-EF6349B031B2}"/>
                </a:ext>
              </a:extLst>
            </p:cNvPr>
            <p:cNvSpPr/>
            <p:nvPr/>
          </p:nvSpPr>
          <p:spPr>
            <a:xfrm>
              <a:off x="1403648" y="1399883"/>
              <a:ext cx="540000" cy="306001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Rounded Rectangle 38">
              <a:extLst>
                <a:ext uri="{FF2B5EF4-FFF2-40B4-BE49-F238E27FC236}">
                  <a16:creationId xmlns:a16="http://schemas.microsoft.com/office/drawing/2014/main" id="{1D40C274-C254-E248-8F6B-B6E55C2E3C21}"/>
                </a:ext>
              </a:extLst>
            </p:cNvPr>
            <p:cNvSpPr/>
            <p:nvPr/>
          </p:nvSpPr>
          <p:spPr>
            <a:xfrm>
              <a:off x="2155615" y="1399883"/>
              <a:ext cx="540000" cy="306001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Rounded Rectangle 39">
              <a:extLst>
                <a:ext uri="{FF2B5EF4-FFF2-40B4-BE49-F238E27FC236}">
                  <a16:creationId xmlns:a16="http://schemas.microsoft.com/office/drawing/2014/main" id="{926A46FB-2571-1A46-A1D1-D859C14AD2D7}"/>
                </a:ext>
              </a:extLst>
            </p:cNvPr>
            <p:cNvSpPr/>
            <p:nvPr/>
          </p:nvSpPr>
          <p:spPr>
            <a:xfrm>
              <a:off x="2907582" y="1399883"/>
              <a:ext cx="540000" cy="306001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Rounded Rectangle 40">
              <a:extLst>
                <a:ext uri="{FF2B5EF4-FFF2-40B4-BE49-F238E27FC236}">
                  <a16:creationId xmlns:a16="http://schemas.microsoft.com/office/drawing/2014/main" id="{7D396D50-82DB-994F-A513-C2EB58A1D081}"/>
                </a:ext>
              </a:extLst>
            </p:cNvPr>
            <p:cNvSpPr/>
            <p:nvPr/>
          </p:nvSpPr>
          <p:spPr>
            <a:xfrm>
              <a:off x="3659549" y="1399883"/>
              <a:ext cx="540000" cy="306001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2" name="Oval 41">
              <a:extLst>
                <a:ext uri="{FF2B5EF4-FFF2-40B4-BE49-F238E27FC236}">
                  <a16:creationId xmlns:a16="http://schemas.microsoft.com/office/drawing/2014/main" id="{AC578A03-2A47-0F43-9C5E-3BCC716BCB4D}"/>
                </a:ext>
              </a:extLst>
            </p:cNvPr>
            <p:cNvSpPr/>
            <p:nvPr/>
          </p:nvSpPr>
          <p:spPr>
            <a:xfrm>
              <a:off x="5245101" y="2317823"/>
              <a:ext cx="1224136" cy="1224136"/>
            </a:xfrm>
            <a:prstGeom prst="ellipse">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43" name="Group 42">
              <a:extLst>
                <a:ext uri="{FF2B5EF4-FFF2-40B4-BE49-F238E27FC236}">
                  <a16:creationId xmlns:a16="http://schemas.microsoft.com/office/drawing/2014/main" id="{E8739971-EA46-6847-9533-C7B1F90105F7}"/>
                </a:ext>
              </a:extLst>
            </p:cNvPr>
            <p:cNvGrpSpPr/>
            <p:nvPr/>
          </p:nvGrpSpPr>
          <p:grpSpPr>
            <a:xfrm rot="3411746">
              <a:off x="5587356" y="2382006"/>
              <a:ext cx="480665" cy="1023698"/>
              <a:chOff x="6777274" y="1831284"/>
              <a:chExt cx="552841" cy="1177414"/>
            </a:xfrm>
          </p:grpSpPr>
          <p:grpSp>
            <p:nvGrpSpPr>
              <p:cNvPr id="44" name="Group 43">
                <a:extLst>
                  <a:ext uri="{FF2B5EF4-FFF2-40B4-BE49-F238E27FC236}">
                    <a16:creationId xmlns:a16="http://schemas.microsoft.com/office/drawing/2014/main" id="{197D7E0F-680D-E94F-AA88-EA6B012B1DD5}"/>
                  </a:ext>
                </a:extLst>
              </p:cNvPr>
              <p:cNvGrpSpPr/>
              <p:nvPr/>
            </p:nvGrpSpPr>
            <p:grpSpPr>
              <a:xfrm>
                <a:off x="6939980" y="1831284"/>
                <a:ext cx="385719" cy="718117"/>
                <a:chOff x="6783521" y="1654812"/>
                <a:chExt cx="726841" cy="1353205"/>
              </a:xfrm>
            </p:grpSpPr>
            <p:sp>
              <p:nvSpPr>
                <p:cNvPr id="46" name="Freeform 45">
                  <a:extLst>
                    <a:ext uri="{FF2B5EF4-FFF2-40B4-BE49-F238E27FC236}">
                      <a16:creationId xmlns:a16="http://schemas.microsoft.com/office/drawing/2014/main" id="{59F5FB0B-19EB-E143-990C-40EEF54AA6FF}"/>
                    </a:ext>
                  </a:extLst>
                </p:cNvPr>
                <p:cNvSpPr/>
                <p:nvPr/>
              </p:nvSpPr>
              <p:spPr>
                <a:xfrm>
                  <a:off x="6783521" y="1886618"/>
                  <a:ext cx="726841" cy="1121399"/>
                </a:xfrm>
                <a:custGeom>
                  <a:avLst/>
                  <a:gdLst/>
                  <a:ahLst/>
                  <a:cxnLst/>
                  <a:rect l="l" t="t" r="r" b="b"/>
                  <a:pathLst>
                    <a:path w="726841" h="1121399">
                      <a:moveTo>
                        <a:pt x="236325" y="1049494"/>
                      </a:moveTo>
                      <a:lnTo>
                        <a:pt x="495287" y="1049494"/>
                      </a:lnTo>
                      <a:cubicBezTo>
                        <a:pt x="491080" y="1064561"/>
                        <a:pt x="487966" y="1079199"/>
                        <a:pt x="485273" y="1093187"/>
                      </a:cubicBezTo>
                      <a:lnTo>
                        <a:pt x="245258" y="1092728"/>
                      </a:lnTo>
                      <a:close/>
                      <a:moveTo>
                        <a:pt x="363421" y="203844"/>
                      </a:moveTo>
                      <a:cubicBezTo>
                        <a:pt x="401307" y="203844"/>
                        <a:pt x="432020" y="234557"/>
                        <a:pt x="432020" y="272443"/>
                      </a:cubicBezTo>
                      <a:cubicBezTo>
                        <a:pt x="432020" y="310329"/>
                        <a:pt x="401307" y="341042"/>
                        <a:pt x="363421" y="341042"/>
                      </a:cubicBezTo>
                      <a:cubicBezTo>
                        <a:pt x="325534" y="341042"/>
                        <a:pt x="294821" y="310329"/>
                        <a:pt x="294821" y="272443"/>
                      </a:cubicBezTo>
                      <a:cubicBezTo>
                        <a:pt x="294821" y="234557"/>
                        <a:pt x="325534" y="203844"/>
                        <a:pt x="363421" y="203844"/>
                      </a:cubicBezTo>
                      <a:close/>
                      <a:moveTo>
                        <a:pt x="363421" y="135244"/>
                      </a:moveTo>
                      <a:cubicBezTo>
                        <a:pt x="287648" y="135244"/>
                        <a:pt x="226222" y="196671"/>
                        <a:pt x="226222" y="272443"/>
                      </a:cubicBezTo>
                      <a:cubicBezTo>
                        <a:pt x="226222" y="348216"/>
                        <a:pt x="287648" y="409642"/>
                        <a:pt x="363421" y="409642"/>
                      </a:cubicBezTo>
                      <a:cubicBezTo>
                        <a:pt x="439193" y="409642"/>
                        <a:pt x="500619" y="348216"/>
                        <a:pt x="500619" y="272443"/>
                      </a:cubicBezTo>
                      <a:cubicBezTo>
                        <a:pt x="500619" y="196671"/>
                        <a:pt x="439193" y="135244"/>
                        <a:pt x="363421" y="135244"/>
                      </a:cubicBezTo>
                      <a:close/>
                      <a:moveTo>
                        <a:pt x="196200" y="0"/>
                      </a:moveTo>
                      <a:cubicBezTo>
                        <a:pt x="300307" y="58658"/>
                        <a:pt x="427219" y="59450"/>
                        <a:pt x="531959" y="2129"/>
                      </a:cubicBezTo>
                      <a:cubicBezTo>
                        <a:pt x="645195" y="251105"/>
                        <a:pt x="615578" y="521951"/>
                        <a:pt x="565642" y="749813"/>
                      </a:cubicBezTo>
                      <a:lnTo>
                        <a:pt x="726841" y="904479"/>
                      </a:lnTo>
                      <a:lnTo>
                        <a:pt x="700460" y="1113326"/>
                      </a:lnTo>
                      <a:lnTo>
                        <a:pt x="510728" y="982128"/>
                      </a:lnTo>
                      <a:lnTo>
                        <a:pt x="503274" y="1014651"/>
                      </a:lnTo>
                      <a:lnTo>
                        <a:pt x="228241" y="1014651"/>
                      </a:lnTo>
                      <a:cubicBezTo>
                        <a:pt x="226194" y="1005458"/>
                        <a:pt x="223902" y="996068"/>
                        <a:pt x="221524" y="986461"/>
                      </a:cubicBezTo>
                      <a:lnTo>
                        <a:pt x="26381" y="1121399"/>
                      </a:lnTo>
                      <a:lnTo>
                        <a:pt x="0" y="912552"/>
                      </a:lnTo>
                      <a:lnTo>
                        <a:pt x="162681" y="756465"/>
                      </a:lnTo>
                      <a:lnTo>
                        <a:pt x="163137" y="757906"/>
                      </a:lnTo>
                      <a:lnTo>
                        <a:pt x="165881" y="748957"/>
                      </a:lnTo>
                      <a:cubicBezTo>
                        <a:pt x="117348" y="521774"/>
                        <a:pt x="87568" y="246912"/>
                        <a:pt x="1962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Freeform 46">
                  <a:extLst>
                    <a:ext uri="{FF2B5EF4-FFF2-40B4-BE49-F238E27FC236}">
                      <a16:creationId xmlns:a16="http://schemas.microsoft.com/office/drawing/2014/main" id="{77DE2258-B5FA-4C48-BB7F-A75D579F64DA}"/>
                    </a:ext>
                  </a:extLst>
                </p:cNvPr>
                <p:cNvSpPr/>
                <p:nvPr/>
              </p:nvSpPr>
              <p:spPr>
                <a:xfrm>
                  <a:off x="6997804" y="1654812"/>
                  <a:ext cx="298274" cy="244742"/>
                </a:xfrm>
                <a:custGeom>
                  <a:avLst/>
                  <a:gdLst/>
                  <a:ahLst/>
                  <a:cxnLst/>
                  <a:rect l="l" t="t" r="r" b="b"/>
                  <a:pathLst>
                    <a:path w="298274" h="244742">
                      <a:moveTo>
                        <a:pt x="147328" y="0"/>
                      </a:moveTo>
                      <a:cubicBezTo>
                        <a:pt x="212319" y="65590"/>
                        <a:pt x="261867" y="134854"/>
                        <a:pt x="298274" y="206570"/>
                      </a:cubicBezTo>
                      <a:cubicBezTo>
                        <a:pt x="205418" y="258299"/>
                        <a:pt x="92251" y="257374"/>
                        <a:pt x="0" y="204273"/>
                      </a:cubicBezTo>
                      <a:cubicBezTo>
                        <a:pt x="35363" y="132633"/>
                        <a:pt x="83678" y="64016"/>
                        <a:pt x="147328" y="0"/>
                      </a:cubicBezTo>
                      <a:close/>
                    </a:path>
                  </a:pathLst>
                </a:custGeom>
                <a:solidFill>
                  <a:srgbClr val="C9C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45" name="Freeform 44">
                <a:extLst>
                  <a:ext uri="{FF2B5EF4-FFF2-40B4-BE49-F238E27FC236}">
                    <a16:creationId xmlns:a16="http://schemas.microsoft.com/office/drawing/2014/main" id="{06D44946-54CC-B04C-9801-49975354BF3F}"/>
                  </a:ext>
                </a:extLst>
              </p:cNvPr>
              <p:cNvSpPr/>
              <p:nvPr/>
            </p:nvSpPr>
            <p:spPr>
              <a:xfrm>
                <a:off x="6777274" y="2572267"/>
                <a:ext cx="552841" cy="436431"/>
              </a:xfrm>
              <a:custGeom>
                <a:avLst/>
                <a:gdLst/>
                <a:ahLst/>
                <a:cxnLst/>
                <a:rect l="l" t="t" r="r" b="b"/>
                <a:pathLst>
                  <a:path w="935319" h="738371">
                    <a:moveTo>
                      <a:pt x="570246" y="5904"/>
                    </a:moveTo>
                    <a:cubicBezTo>
                      <a:pt x="462283" y="64891"/>
                      <a:pt x="426421" y="317189"/>
                      <a:pt x="649701" y="474399"/>
                    </a:cubicBezTo>
                    <a:cubicBezTo>
                      <a:pt x="593836" y="327977"/>
                      <a:pt x="630970" y="255746"/>
                      <a:pt x="667057" y="182470"/>
                    </a:cubicBezTo>
                    <a:cubicBezTo>
                      <a:pt x="667659" y="219721"/>
                      <a:pt x="629598" y="299814"/>
                      <a:pt x="723199" y="346469"/>
                    </a:cubicBezTo>
                    <a:cubicBezTo>
                      <a:pt x="679394" y="206128"/>
                      <a:pt x="864427" y="161920"/>
                      <a:pt x="670152" y="6949"/>
                    </a:cubicBezTo>
                    <a:cubicBezTo>
                      <a:pt x="951156" y="47548"/>
                      <a:pt x="868526" y="190548"/>
                      <a:pt x="935319" y="334595"/>
                    </a:cubicBezTo>
                    <a:cubicBezTo>
                      <a:pt x="886447" y="343095"/>
                      <a:pt x="815632" y="212619"/>
                      <a:pt x="831546" y="274410"/>
                    </a:cubicBezTo>
                    <a:cubicBezTo>
                      <a:pt x="915063" y="518579"/>
                      <a:pt x="665249" y="525551"/>
                      <a:pt x="744586" y="738371"/>
                    </a:cubicBezTo>
                    <a:cubicBezTo>
                      <a:pt x="498005" y="724435"/>
                      <a:pt x="570128" y="495242"/>
                      <a:pt x="454164" y="439509"/>
                    </a:cubicBezTo>
                    <a:cubicBezTo>
                      <a:pt x="422689" y="433882"/>
                      <a:pt x="384944" y="459601"/>
                      <a:pt x="454829" y="574141"/>
                    </a:cubicBezTo>
                    <a:cubicBezTo>
                      <a:pt x="47812" y="270832"/>
                      <a:pt x="333584" y="22904"/>
                      <a:pt x="570246" y="5904"/>
                    </a:cubicBezTo>
                    <a:close/>
                    <a:moveTo>
                      <a:pt x="0" y="0"/>
                    </a:moveTo>
                    <a:lnTo>
                      <a:pt x="9284" y="0"/>
                    </a:lnTo>
                    <a:lnTo>
                      <a:pt x="746" y="5904"/>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48" name="Oval 47">
              <a:extLst>
                <a:ext uri="{FF2B5EF4-FFF2-40B4-BE49-F238E27FC236}">
                  <a16:creationId xmlns:a16="http://schemas.microsoft.com/office/drawing/2014/main" id="{B4403F16-A1B7-E54D-A9C3-44388CDEF856}"/>
                </a:ext>
              </a:extLst>
            </p:cNvPr>
            <p:cNvSpPr/>
            <p:nvPr/>
          </p:nvSpPr>
          <p:spPr>
            <a:xfrm>
              <a:off x="690633" y="1445644"/>
              <a:ext cx="462096" cy="4620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Oval 48">
              <a:extLst>
                <a:ext uri="{FF2B5EF4-FFF2-40B4-BE49-F238E27FC236}">
                  <a16:creationId xmlns:a16="http://schemas.microsoft.com/office/drawing/2014/main" id="{F414FF85-8D88-B046-83AA-3427905539E1}"/>
                </a:ext>
              </a:extLst>
            </p:cNvPr>
            <p:cNvSpPr/>
            <p:nvPr/>
          </p:nvSpPr>
          <p:spPr>
            <a:xfrm>
              <a:off x="1442600" y="1445644"/>
              <a:ext cx="462096" cy="4620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0" name="Oval 49">
              <a:extLst>
                <a:ext uri="{FF2B5EF4-FFF2-40B4-BE49-F238E27FC236}">
                  <a16:creationId xmlns:a16="http://schemas.microsoft.com/office/drawing/2014/main" id="{154F7D7C-5102-3B4C-8D5D-B00247A6D836}"/>
                </a:ext>
              </a:extLst>
            </p:cNvPr>
            <p:cNvSpPr/>
            <p:nvPr/>
          </p:nvSpPr>
          <p:spPr>
            <a:xfrm>
              <a:off x="2194567" y="1445644"/>
              <a:ext cx="462096" cy="4620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1" name="Oval 50">
              <a:extLst>
                <a:ext uri="{FF2B5EF4-FFF2-40B4-BE49-F238E27FC236}">
                  <a16:creationId xmlns:a16="http://schemas.microsoft.com/office/drawing/2014/main" id="{CF714379-C303-3742-9E63-686B91F8AC64}"/>
                </a:ext>
              </a:extLst>
            </p:cNvPr>
            <p:cNvSpPr/>
            <p:nvPr/>
          </p:nvSpPr>
          <p:spPr>
            <a:xfrm>
              <a:off x="2946534" y="1445644"/>
              <a:ext cx="462096" cy="4620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2" name="Oval 51">
              <a:extLst>
                <a:ext uri="{FF2B5EF4-FFF2-40B4-BE49-F238E27FC236}">
                  <a16:creationId xmlns:a16="http://schemas.microsoft.com/office/drawing/2014/main" id="{BD937036-9AEF-8B4A-8728-C1FA9F3D48AE}"/>
                </a:ext>
              </a:extLst>
            </p:cNvPr>
            <p:cNvSpPr/>
            <p:nvPr/>
          </p:nvSpPr>
          <p:spPr>
            <a:xfrm>
              <a:off x="3698501" y="1445644"/>
              <a:ext cx="462096" cy="4620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3" name="TextBox 52">
              <a:extLst>
                <a:ext uri="{FF2B5EF4-FFF2-40B4-BE49-F238E27FC236}">
                  <a16:creationId xmlns:a16="http://schemas.microsoft.com/office/drawing/2014/main" id="{DAE9A1DF-225A-E546-8120-6A4F086A1C2C}"/>
                </a:ext>
              </a:extLst>
            </p:cNvPr>
            <p:cNvSpPr txBox="1"/>
            <p:nvPr/>
          </p:nvSpPr>
          <p:spPr>
            <a:xfrm>
              <a:off x="658962" y="1475862"/>
              <a:ext cx="533522" cy="400110"/>
            </a:xfrm>
            <a:prstGeom prst="rect">
              <a:avLst/>
            </a:prstGeom>
            <a:noFill/>
          </p:spPr>
          <p:txBody>
            <a:bodyPr wrap="square" rtlCol="0">
              <a:spAutoFit/>
            </a:bodyPr>
            <a:lstStyle/>
            <a:p>
              <a:pPr algn="ctr"/>
              <a:r>
                <a:rPr lang="en-US" altLang="ko-KR" sz="2000" b="1">
                  <a:solidFill>
                    <a:schemeClr val="accent1"/>
                  </a:solidFill>
                  <a:cs typeface="Arial" pitchFamily="34" charset="0"/>
                </a:rPr>
                <a:t>01</a:t>
              </a:r>
              <a:endParaRPr lang="ko-KR" altLang="en-US" sz="2000" b="1">
                <a:solidFill>
                  <a:schemeClr val="accent1"/>
                </a:solidFill>
                <a:cs typeface="Arial" pitchFamily="34" charset="0"/>
              </a:endParaRPr>
            </a:p>
          </p:txBody>
        </p:sp>
        <p:sp>
          <p:nvSpPr>
            <p:cNvPr id="54" name="TextBox 53">
              <a:extLst>
                <a:ext uri="{FF2B5EF4-FFF2-40B4-BE49-F238E27FC236}">
                  <a16:creationId xmlns:a16="http://schemas.microsoft.com/office/drawing/2014/main" id="{45EA6FDC-1EB5-EA41-AA43-97467E65D6D0}"/>
                </a:ext>
              </a:extLst>
            </p:cNvPr>
            <p:cNvSpPr txBox="1"/>
            <p:nvPr/>
          </p:nvSpPr>
          <p:spPr>
            <a:xfrm>
              <a:off x="1410126" y="1474107"/>
              <a:ext cx="533522" cy="400110"/>
            </a:xfrm>
            <a:prstGeom prst="rect">
              <a:avLst/>
            </a:prstGeom>
            <a:noFill/>
          </p:spPr>
          <p:txBody>
            <a:bodyPr wrap="square" rtlCol="0">
              <a:spAutoFit/>
            </a:bodyPr>
            <a:lstStyle/>
            <a:p>
              <a:pPr algn="ctr"/>
              <a:r>
                <a:rPr lang="en-US" altLang="ko-KR" sz="2000" b="1">
                  <a:solidFill>
                    <a:schemeClr val="accent2"/>
                  </a:solidFill>
                  <a:cs typeface="Arial" pitchFamily="34" charset="0"/>
                </a:rPr>
                <a:t>02</a:t>
              </a:r>
              <a:endParaRPr lang="ko-KR" altLang="en-US" sz="2000" b="1">
                <a:solidFill>
                  <a:schemeClr val="accent2"/>
                </a:solidFill>
                <a:cs typeface="Arial" pitchFamily="34" charset="0"/>
              </a:endParaRPr>
            </a:p>
          </p:txBody>
        </p:sp>
        <p:sp>
          <p:nvSpPr>
            <p:cNvPr id="55" name="TextBox 54">
              <a:extLst>
                <a:ext uri="{FF2B5EF4-FFF2-40B4-BE49-F238E27FC236}">
                  <a16:creationId xmlns:a16="http://schemas.microsoft.com/office/drawing/2014/main" id="{2BFFD424-14B7-FD47-B3EA-C0CCD167C3DE}"/>
                </a:ext>
              </a:extLst>
            </p:cNvPr>
            <p:cNvSpPr txBox="1"/>
            <p:nvPr/>
          </p:nvSpPr>
          <p:spPr>
            <a:xfrm>
              <a:off x="2161290" y="1472352"/>
              <a:ext cx="533522" cy="400110"/>
            </a:xfrm>
            <a:prstGeom prst="rect">
              <a:avLst/>
            </a:prstGeom>
            <a:noFill/>
          </p:spPr>
          <p:txBody>
            <a:bodyPr wrap="square" rtlCol="0">
              <a:spAutoFit/>
            </a:bodyPr>
            <a:lstStyle/>
            <a:p>
              <a:pPr algn="ctr"/>
              <a:r>
                <a:rPr lang="en-US" altLang="ko-KR" sz="2000" b="1">
                  <a:solidFill>
                    <a:schemeClr val="accent1"/>
                  </a:solidFill>
                  <a:cs typeface="Arial" pitchFamily="34" charset="0"/>
                </a:rPr>
                <a:t>03</a:t>
              </a:r>
              <a:endParaRPr lang="ko-KR" altLang="en-US" sz="2000" b="1">
                <a:solidFill>
                  <a:schemeClr val="accent1"/>
                </a:solidFill>
                <a:cs typeface="Arial" pitchFamily="34" charset="0"/>
              </a:endParaRPr>
            </a:p>
          </p:txBody>
        </p:sp>
        <p:sp>
          <p:nvSpPr>
            <p:cNvPr id="56" name="TextBox 55">
              <a:extLst>
                <a:ext uri="{FF2B5EF4-FFF2-40B4-BE49-F238E27FC236}">
                  <a16:creationId xmlns:a16="http://schemas.microsoft.com/office/drawing/2014/main" id="{70B81EDD-01CB-544E-A00A-CE8C5A478666}"/>
                </a:ext>
              </a:extLst>
            </p:cNvPr>
            <p:cNvSpPr txBox="1"/>
            <p:nvPr/>
          </p:nvSpPr>
          <p:spPr>
            <a:xfrm>
              <a:off x="2912454" y="1470597"/>
              <a:ext cx="533522" cy="400110"/>
            </a:xfrm>
            <a:prstGeom prst="rect">
              <a:avLst/>
            </a:prstGeom>
            <a:noFill/>
          </p:spPr>
          <p:txBody>
            <a:bodyPr wrap="square" rtlCol="0">
              <a:spAutoFit/>
            </a:bodyPr>
            <a:lstStyle/>
            <a:p>
              <a:pPr algn="ctr"/>
              <a:r>
                <a:rPr lang="en-US" altLang="ko-KR" sz="2000" b="1">
                  <a:solidFill>
                    <a:schemeClr val="accent1"/>
                  </a:solidFill>
                  <a:cs typeface="Arial" pitchFamily="34" charset="0"/>
                </a:rPr>
                <a:t>04</a:t>
              </a:r>
              <a:endParaRPr lang="ko-KR" altLang="en-US" sz="2000" b="1">
                <a:solidFill>
                  <a:schemeClr val="accent1"/>
                </a:solidFill>
                <a:cs typeface="Arial" pitchFamily="34" charset="0"/>
              </a:endParaRPr>
            </a:p>
          </p:txBody>
        </p:sp>
        <p:sp>
          <p:nvSpPr>
            <p:cNvPr id="57" name="TextBox 56">
              <a:extLst>
                <a:ext uri="{FF2B5EF4-FFF2-40B4-BE49-F238E27FC236}">
                  <a16:creationId xmlns:a16="http://schemas.microsoft.com/office/drawing/2014/main" id="{B3C21855-20D2-EE44-9EB0-7B1F2594E28D}"/>
                </a:ext>
              </a:extLst>
            </p:cNvPr>
            <p:cNvSpPr txBox="1"/>
            <p:nvPr/>
          </p:nvSpPr>
          <p:spPr>
            <a:xfrm>
              <a:off x="3663618" y="1468842"/>
              <a:ext cx="533522" cy="400110"/>
            </a:xfrm>
            <a:prstGeom prst="rect">
              <a:avLst/>
            </a:prstGeom>
            <a:noFill/>
          </p:spPr>
          <p:txBody>
            <a:bodyPr wrap="square" rtlCol="0">
              <a:spAutoFit/>
            </a:bodyPr>
            <a:lstStyle/>
            <a:p>
              <a:pPr algn="ctr"/>
              <a:r>
                <a:rPr lang="en-US" altLang="ko-KR" sz="2000" b="1">
                  <a:solidFill>
                    <a:schemeClr val="accent1"/>
                  </a:solidFill>
                  <a:cs typeface="Arial" pitchFamily="34" charset="0"/>
                </a:rPr>
                <a:t>05</a:t>
              </a:r>
              <a:endParaRPr lang="ko-KR" altLang="en-US" sz="2000" b="1">
                <a:solidFill>
                  <a:schemeClr val="accent1"/>
                </a:solidFill>
                <a:cs typeface="Arial" pitchFamily="34" charset="0"/>
              </a:endParaRPr>
            </a:p>
          </p:txBody>
        </p:sp>
        <p:sp>
          <p:nvSpPr>
            <p:cNvPr id="58" name="TextBox 57">
              <a:extLst>
                <a:ext uri="{FF2B5EF4-FFF2-40B4-BE49-F238E27FC236}">
                  <a16:creationId xmlns:a16="http://schemas.microsoft.com/office/drawing/2014/main" id="{13D3BBA2-D0FB-C047-A903-AE6DC428E76E}"/>
                </a:ext>
              </a:extLst>
            </p:cNvPr>
            <p:cNvSpPr txBox="1"/>
            <p:nvPr/>
          </p:nvSpPr>
          <p:spPr>
            <a:xfrm rot="16200000">
              <a:off x="-264216" y="3011307"/>
              <a:ext cx="2371794" cy="307777"/>
            </a:xfrm>
            <a:prstGeom prst="rect">
              <a:avLst/>
            </a:prstGeom>
            <a:noFill/>
          </p:spPr>
          <p:txBody>
            <a:bodyPr wrap="square" rtlCol="0">
              <a:spAutoFit/>
            </a:bodyPr>
            <a:lstStyle/>
            <a:p>
              <a:pPr algn="r"/>
              <a:r>
                <a:rPr lang="en-US" altLang="ko-KR" sz="1400" b="1">
                  <a:solidFill>
                    <a:schemeClr val="bg1"/>
                  </a:solidFill>
                  <a:cs typeface="Arial" pitchFamily="34" charset="0"/>
                </a:rPr>
                <a:t>Add Contents Title</a:t>
              </a:r>
              <a:endParaRPr lang="ko-KR" altLang="en-US" sz="1400" b="1">
                <a:solidFill>
                  <a:schemeClr val="bg1"/>
                </a:solidFill>
                <a:cs typeface="Arial" pitchFamily="34" charset="0"/>
              </a:endParaRPr>
            </a:p>
          </p:txBody>
        </p:sp>
        <p:sp>
          <p:nvSpPr>
            <p:cNvPr id="59" name="TextBox 58">
              <a:extLst>
                <a:ext uri="{FF2B5EF4-FFF2-40B4-BE49-F238E27FC236}">
                  <a16:creationId xmlns:a16="http://schemas.microsoft.com/office/drawing/2014/main" id="{E37142BD-04F4-094E-AEBA-07BB7DE8035C}"/>
                </a:ext>
              </a:extLst>
            </p:cNvPr>
            <p:cNvSpPr txBox="1"/>
            <p:nvPr/>
          </p:nvSpPr>
          <p:spPr>
            <a:xfrm rot="16200000">
              <a:off x="487751" y="3011308"/>
              <a:ext cx="2371794" cy="307777"/>
            </a:xfrm>
            <a:prstGeom prst="rect">
              <a:avLst/>
            </a:prstGeom>
            <a:noFill/>
          </p:spPr>
          <p:txBody>
            <a:bodyPr wrap="square" rtlCol="0">
              <a:spAutoFit/>
            </a:bodyPr>
            <a:lstStyle/>
            <a:p>
              <a:pPr algn="r"/>
              <a:r>
                <a:rPr lang="en-US" altLang="ko-KR" sz="1400" b="1">
                  <a:solidFill>
                    <a:schemeClr val="bg1"/>
                  </a:solidFill>
                  <a:cs typeface="Arial" pitchFamily="34" charset="0"/>
                </a:rPr>
                <a:t>Add Contents Title</a:t>
              </a:r>
              <a:endParaRPr lang="ko-KR" altLang="en-US" sz="1400" b="1">
                <a:solidFill>
                  <a:schemeClr val="bg1"/>
                </a:solidFill>
                <a:cs typeface="Arial" pitchFamily="34" charset="0"/>
              </a:endParaRPr>
            </a:p>
          </p:txBody>
        </p:sp>
        <p:sp>
          <p:nvSpPr>
            <p:cNvPr id="60" name="TextBox 59">
              <a:extLst>
                <a:ext uri="{FF2B5EF4-FFF2-40B4-BE49-F238E27FC236}">
                  <a16:creationId xmlns:a16="http://schemas.microsoft.com/office/drawing/2014/main" id="{F389103A-7787-7E4D-8939-500809E1C498}"/>
                </a:ext>
              </a:extLst>
            </p:cNvPr>
            <p:cNvSpPr txBox="1"/>
            <p:nvPr/>
          </p:nvSpPr>
          <p:spPr>
            <a:xfrm rot="16200000">
              <a:off x="1239718" y="3011309"/>
              <a:ext cx="2371794" cy="307777"/>
            </a:xfrm>
            <a:prstGeom prst="rect">
              <a:avLst/>
            </a:prstGeom>
            <a:noFill/>
          </p:spPr>
          <p:txBody>
            <a:bodyPr wrap="square" rtlCol="0">
              <a:spAutoFit/>
            </a:bodyPr>
            <a:lstStyle/>
            <a:p>
              <a:pPr algn="r"/>
              <a:r>
                <a:rPr lang="en-US" altLang="ko-KR" sz="1400" b="1">
                  <a:solidFill>
                    <a:schemeClr val="bg1"/>
                  </a:solidFill>
                  <a:cs typeface="Arial" pitchFamily="34" charset="0"/>
                </a:rPr>
                <a:t>Add Contents Title</a:t>
              </a:r>
              <a:endParaRPr lang="ko-KR" altLang="en-US" sz="1400" b="1">
                <a:solidFill>
                  <a:schemeClr val="bg1"/>
                </a:solidFill>
                <a:cs typeface="Arial" pitchFamily="34" charset="0"/>
              </a:endParaRPr>
            </a:p>
          </p:txBody>
        </p:sp>
        <p:sp>
          <p:nvSpPr>
            <p:cNvPr id="61" name="TextBox 60">
              <a:extLst>
                <a:ext uri="{FF2B5EF4-FFF2-40B4-BE49-F238E27FC236}">
                  <a16:creationId xmlns:a16="http://schemas.microsoft.com/office/drawing/2014/main" id="{F0646E56-5661-D942-A539-703B87AA1192}"/>
                </a:ext>
              </a:extLst>
            </p:cNvPr>
            <p:cNvSpPr txBox="1"/>
            <p:nvPr/>
          </p:nvSpPr>
          <p:spPr>
            <a:xfrm rot="16200000">
              <a:off x="1991685" y="3011310"/>
              <a:ext cx="2371794" cy="307777"/>
            </a:xfrm>
            <a:prstGeom prst="rect">
              <a:avLst/>
            </a:prstGeom>
            <a:noFill/>
          </p:spPr>
          <p:txBody>
            <a:bodyPr wrap="square" rtlCol="0">
              <a:spAutoFit/>
            </a:bodyPr>
            <a:lstStyle/>
            <a:p>
              <a:pPr algn="r"/>
              <a:r>
                <a:rPr lang="en-US" altLang="ko-KR" sz="1400" b="1">
                  <a:solidFill>
                    <a:schemeClr val="bg1"/>
                  </a:solidFill>
                  <a:cs typeface="Arial" pitchFamily="34" charset="0"/>
                </a:rPr>
                <a:t>Add Contents Title</a:t>
              </a:r>
              <a:endParaRPr lang="ko-KR" altLang="en-US" sz="1400" b="1">
                <a:solidFill>
                  <a:schemeClr val="bg1"/>
                </a:solidFill>
                <a:cs typeface="Arial" pitchFamily="34" charset="0"/>
              </a:endParaRPr>
            </a:p>
          </p:txBody>
        </p:sp>
        <p:sp>
          <p:nvSpPr>
            <p:cNvPr id="62" name="TextBox 61">
              <a:extLst>
                <a:ext uri="{FF2B5EF4-FFF2-40B4-BE49-F238E27FC236}">
                  <a16:creationId xmlns:a16="http://schemas.microsoft.com/office/drawing/2014/main" id="{5921DB42-0DE1-6A49-AC24-53F6CB1F1AD1}"/>
                </a:ext>
              </a:extLst>
            </p:cNvPr>
            <p:cNvSpPr txBox="1"/>
            <p:nvPr/>
          </p:nvSpPr>
          <p:spPr>
            <a:xfrm rot="16200000">
              <a:off x="2743652" y="3011311"/>
              <a:ext cx="2371794" cy="307777"/>
            </a:xfrm>
            <a:prstGeom prst="rect">
              <a:avLst/>
            </a:prstGeom>
            <a:noFill/>
          </p:spPr>
          <p:txBody>
            <a:bodyPr wrap="square" rtlCol="0">
              <a:spAutoFit/>
            </a:bodyPr>
            <a:lstStyle/>
            <a:p>
              <a:pPr algn="r"/>
              <a:r>
                <a:rPr lang="en-US" altLang="ko-KR" sz="1400" b="1">
                  <a:solidFill>
                    <a:schemeClr val="bg1"/>
                  </a:solidFill>
                  <a:cs typeface="Arial" pitchFamily="34" charset="0"/>
                </a:rPr>
                <a:t>Add Contents Title</a:t>
              </a:r>
              <a:endParaRPr lang="ko-KR" altLang="en-US" sz="1400" b="1">
                <a:solidFill>
                  <a:schemeClr val="bg1"/>
                </a:solidFill>
                <a:cs typeface="Arial" pitchFamily="34" charset="0"/>
              </a:endParaRPr>
            </a:p>
          </p:txBody>
        </p:sp>
      </p:grpSp>
    </p:spTree>
    <p:extLst>
      <p:ext uri="{BB962C8B-B14F-4D97-AF65-F5344CB8AC3E}">
        <p14:creationId xmlns:p14="http://schemas.microsoft.com/office/powerpoint/2010/main" val="250689918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09C9AE26-9655-DA47-B2AF-8A6B58DDA5BC}"/>
              </a:ext>
            </a:extLst>
          </p:cNvPr>
          <p:cNvGraphicFramePr>
            <a:graphicFrameLocks noChangeAspect="1"/>
          </p:cNvGraphicFramePr>
          <p:nvPr>
            <p:custDataLst>
              <p:tags r:id="rId1"/>
            </p:custDataLst>
            <p:extLst>
              <p:ext uri="{D42A27DB-BD31-4B8C-83A1-F6EECF244321}">
                <p14:modId xmlns:p14="http://schemas.microsoft.com/office/powerpoint/2010/main" val="923205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4" name="Object 33" hidden="1">
                        <a:extLst>
                          <a:ext uri="{FF2B5EF4-FFF2-40B4-BE49-F238E27FC236}">
                            <a16:creationId xmlns:a16="http://schemas.microsoft.com/office/drawing/2014/main" id="{09C9AE26-9655-DA47-B2AF-8A6B58DDA5B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8E4A9E1-A8BF-404D-9122-2CDF494AFCA5}"/>
              </a:ext>
            </a:extLst>
          </p:cNvPr>
          <p:cNvSpPr>
            <a:spLocks noGrp="1"/>
          </p:cNvSpPr>
          <p:nvPr>
            <p:ph type="sldNum" sz="quarter" idx="4"/>
          </p:nvPr>
        </p:nvSpPr>
        <p:spPr/>
        <p:txBody>
          <a:bodyPr/>
          <a:lstStyle/>
          <a:p>
            <a:fld id="{3D966009-6E5A-4F8C-8CA7-E37AFBF5FB92}" type="slidenum">
              <a:rPr lang="en-US" smtClean="0"/>
              <a:t>155</a:t>
            </a:fld>
            <a:endParaRPr lang="en-US"/>
          </a:p>
        </p:txBody>
      </p:sp>
      <p:sp>
        <p:nvSpPr>
          <p:cNvPr id="3" name="Title 2">
            <a:extLst>
              <a:ext uri="{FF2B5EF4-FFF2-40B4-BE49-F238E27FC236}">
                <a16:creationId xmlns:a16="http://schemas.microsoft.com/office/drawing/2014/main" id="{51F2BBEA-8828-E547-BC01-3DEAAEDD05FD}"/>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E06A0185-D0E9-204B-8F83-A3302646ED19}"/>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10A25690-7E9E-CC46-9D12-34FBB3BCA09F}"/>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96C3A85A-51D7-C04F-96B2-0038A7D701F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0DC6EC4C-B5B3-E74E-9405-21B1DB532595}"/>
              </a:ext>
            </a:extLst>
          </p:cNvPr>
          <p:cNvSpPr>
            <a:spLocks noGrp="1"/>
          </p:cNvSpPr>
          <p:nvPr>
            <p:ph sz="quarter" idx="14"/>
          </p:nvPr>
        </p:nvSpPr>
        <p:spPr/>
        <p:txBody>
          <a:bodyPr/>
          <a:lstStyle/>
          <a:p>
            <a:endParaRPr lang="en-GB"/>
          </a:p>
        </p:txBody>
      </p:sp>
      <p:grpSp>
        <p:nvGrpSpPr>
          <p:cNvPr id="33" name="Group 32">
            <a:extLst>
              <a:ext uri="{FF2B5EF4-FFF2-40B4-BE49-F238E27FC236}">
                <a16:creationId xmlns:a16="http://schemas.microsoft.com/office/drawing/2014/main" id="{6B0E9849-78D8-7348-9AD1-765A9F4C244C}"/>
              </a:ext>
            </a:extLst>
          </p:cNvPr>
          <p:cNvGrpSpPr/>
          <p:nvPr/>
        </p:nvGrpSpPr>
        <p:grpSpPr>
          <a:xfrm>
            <a:off x="1558075" y="1980982"/>
            <a:ext cx="8573037" cy="3576998"/>
            <a:chOff x="2167675" y="1980982"/>
            <a:chExt cx="8573037" cy="3576998"/>
          </a:xfrm>
        </p:grpSpPr>
        <p:grpSp>
          <p:nvGrpSpPr>
            <p:cNvPr id="9" name="Group 8">
              <a:extLst>
                <a:ext uri="{FF2B5EF4-FFF2-40B4-BE49-F238E27FC236}">
                  <a16:creationId xmlns:a16="http://schemas.microsoft.com/office/drawing/2014/main" id="{512B1134-C624-1140-A676-4A6CA33D8567}"/>
                </a:ext>
              </a:extLst>
            </p:cNvPr>
            <p:cNvGrpSpPr/>
            <p:nvPr/>
          </p:nvGrpSpPr>
          <p:grpSpPr>
            <a:xfrm>
              <a:off x="2167675" y="3264011"/>
              <a:ext cx="3149101" cy="2293969"/>
              <a:chOff x="247435" y="2414619"/>
              <a:chExt cx="3149101" cy="2293969"/>
            </a:xfrm>
          </p:grpSpPr>
          <p:sp>
            <p:nvSpPr>
              <p:cNvPr id="10" name="Rectangle 12">
                <a:extLst>
                  <a:ext uri="{FF2B5EF4-FFF2-40B4-BE49-F238E27FC236}">
                    <a16:creationId xmlns:a16="http://schemas.microsoft.com/office/drawing/2014/main" id="{E84598BF-BB5D-0840-8AED-15E4FF379336}"/>
                  </a:ext>
                </a:extLst>
              </p:cNvPr>
              <p:cNvSpPr/>
              <p:nvPr/>
            </p:nvSpPr>
            <p:spPr>
              <a:xfrm rot="2700000" flipH="1">
                <a:off x="1034951" y="1627103"/>
                <a:ext cx="1574070" cy="3149101"/>
              </a:xfrm>
              <a:custGeom>
                <a:avLst/>
                <a:gdLst/>
                <a:ahLst/>
                <a:cxnLst/>
                <a:rect l="l" t="t" r="r" b="b"/>
                <a:pathLst>
                  <a:path w="1574070" h="3149101">
                    <a:moveTo>
                      <a:pt x="1396232" y="177838"/>
                    </a:moveTo>
                    <a:cubicBezTo>
                      <a:pt x="1732682" y="514288"/>
                      <a:pt x="1732682" y="1059782"/>
                      <a:pt x="1396232" y="1396232"/>
                    </a:cubicBezTo>
                    <a:cubicBezTo>
                      <a:pt x="1059782" y="1732681"/>
                      <a:pt x="514289" y="1732681"/>
                      <a:pt x="177839" y="1396232"/>
                    </a:cubicBezTo>
                    <a:cubicBezTo>
                      <a:pt x="-158611" y="1059782"/>
                      <a:pt x="-158611" y="514288"/>
                      <a:pt x="177839" y="177838"/>
                    </a:cubicBezTo>
                    <a:cubicBezTo>
                      <a:pt x="514289" y="-158611"/>
                      <a:pt x="1059782" y="-158611"/>
                      <a:pt x="1396232" y="177838"/>
                    </a:cubicBezTo>
                    <a:close/>
                    <a:moveTo>
                      <a:pt x="1574070" y="0"/>
                    </a:moveTo>
                    <a:cubicBezTo>
                      <a:pt x="1139403" y="-434668"/>
                      <a:pt x="434668" y="-434668"/>
                      <a:pt x="0" y="0"/>
                    </a:cubicBezTo>
                    <a:cubicBezTo>
                      <a:pt x="-434668" y="434667"/>
                      <a:pt x="-434668" y="1139403"/>
                      <a:pt x="0" y="1574070"/>
                    </a:cubicBezTo>
                    <a:cubicBezTo>
                      <a:pt x="149565" y="1723636"/>
                      <a:pt x="331107" y="1821737"/>
                      <a:pt x="522925" y="1867116"/>
                    </a:cubicBezTo>
                    <a:lnTo>
                      <a:pt x="522925" y="3149101"/>
                    </a:lnTo>
                    <a:lnTo>
                      <a:pt x="1051145" y="3149101"/>
                    </a:lnTo>
                    <a:lnTo>
                      <a:pt x="1051145" y="1867115"/>
                    </a:lnTo>
                    <a:cubicBezTo>
                      <a:pt x="1242964" y="1821737"/>
                      <a:pt x="1424505" y="1723636"/>
                      <a:pt x="1574070" y="1574070"/>
                    </a:cubicBezTo>
                    <a:cubicBezTo>
                      <a:pt x="2008738" y="1139403"/>
                      <a:pt x="2008738" y="434667"/>
                      <a:pt x="157407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 name="Round Same Side Corner Rectangle 10">
                <a:extLst>
                  <a:ext uri="{FF2B5EF4-FFF2-40B4-BE49-F238E27FC236}">
                    <a16:creationId xmlns:a16="http://schemas.microsoft.com/office/drawing/2014/main" id="{89D68A15-1520-ED42-B6DF-31A2C4FAE029}"/>
                  </a:ext>
                </a:extLst>
              </p:cNvPr>
              <p:cNvSpPr/>
              <p:nvPr/>
            </p:nvSpPr>
            <p:spPr>
              <a:xfrm rot="13500000" flipH="1">
                <a:off x="299369" y="4293587"/>
                <a:ext cx="528162" cy="301840"/>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pic>
          <p:nvPicPr>
            <p:cNvPr id="12" name="Picture 3" descr="D:\KBM-정애\014-Fullppt\PNG이미지\지구본.png">
              <a:extLst>
                <a:ext uri="{FF2B5EF4-FFF2-40B4-BE49-F238E27FC236}">
                  <a16:creationId xmlns:a16="http://schemas.microsoft.com/office/drawing/2014/main" id="{8DC0CF15-5A69-2641-8EE3-DE6C839B7D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9281" y="2925767"/>
              <a:ext cx="1236428" cy="1238857"/>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a:extLst>
                <a:ext uri="{FF2B5EF4-FFF2-40B4-BE49-F238E27FC236}">
                  <a16:creationId xmlns:a16="http://schemas.microsoft.com/office/drawing/2014/main" id="{B527EC9E-7045-CB4B-8264-B5B6244D4ABA}"/>
                </a:ext>
              </a:extLst>
            </p:cNvPr>
            <p:cNvSpPr/>
            <p:nvPr/>
          </p:nvSpPr>
          <p:spPr>
            <a:xfrm>
              <a:off x="4911620" y="3682060"/>
              <a:ext cx="656698" cy="656698"/>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Oval 13">
              <a:extLst>
                <a:ext uri="{FF2B5EF4-FFF2-40B4-BE49-F238E27FC236}">
                  <a16:creationId xmlns:a16="http://schemas.microsoft.com/office/drawing/2014/main" id="{0399670F-56F5-0549-A021-31FBB518A33C}"/>
                </a:ext>
              </a:extLst>
            </p:cNvPr>
            <p:cNvSpPr/>
            <p:nvPr/>
          </p:nvSpPr>
          <p:spPr>
            <a:xfrm>
              <a:off x="4151980" y="2168544"/>
              <a:ext cx="656698" cy="656698"/>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Oval 14">
              <a:extLst>
                <a:ext uri="{FF2B5EF4-FFF2-40B4-BE49-F238E27FC236}">
                  <a16:creationId xmlns:a16="http://schemas.microsoft.com/office/drawing/2014/main" id="{773C5669-CFFE-2340-BBF6-0FCDE31FC94F}"/>
                </a:ext>
              </a:extLst>
            </p:cNvPr>
            <p:cNvSpPr/>
            <p:nvPr/>
          </p:nvSpPr>
          <p:spPr>
            <a:xfrm>
              <a:off x="4151980" y="4213230"/>
              <a:ext cx="656698" cy="656698"/>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Oval 15">
              <a:extLst>
                <a:ext uri="{FF2B5EF4-FFF2-40B4-BE49-F238E27FC236}">
                  <a16:creationId xmlns:a16="http://schemas.microsoft.com/office/drawing/2014/main" id="{FDD80FDD-FA8A-0247-B0DD-7A12F39CB5B8}"/>
                </a:ext>
              </a:extLst>
            </p:cNvPr>
            <p:cNvSpPr/>
            <p:nvPr/>
          </p:nvSpPr>
          <p:spPr>
            <a:xfrm>
              <a:off x="4911620" y="2748469"/>
              <a:ext cx="656698" cy="656698"/>
            </a:xfrm>
            <a:prstGeom prst="ellipse">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17" name="Group 16">
              <a:extLst>
                <a:ext uri="{FF2B5EF4-FFF2-40B4-BE49-F238E27FC236}">
                  <a16:creationId xmlns:a16="http://schemas.microsoft.com/office/drawing/2014/main" id="{61559F8B-47A3-1C41-A917-34CD89128F34}"/>
                </a:ext>
              </a:extLst>
            </p:cNvPr>
            <p:cNvGrpSpPr/>
            <p:nvPr/>
          </p:nvGrpSpPr>
          <p:grpSpPr>
            <a:xfrm>
              <a:off x="5124536" y="1980982"/>
              <a:ext cx="4896096" cy="708252"/>
              <a:chOff x="7164288" y="856926"/>
              <a:chExt cx="1439711" cy="708252"/>
            </a:xfrm>
          </p:grpSpPr>
          <p:sp>
            <p:nvSpPr>
              <p:cNvPr id="18" name="TextBox 17">
                <a:extLst>
                  <a:ext uri="{FF2B5EF4-FFF2-40B4-BE49-F238E27FC236}">
                    <a16:creationId xmlns:a16="http://schemas.microsoft.com/office/drawing/2014/main" id="{FB31314D-E3ED-CA4B-8E1F-AC8CB5CFB3F6}"/>
                  </a:ext>
                </a:extLst>
              </p:cNvPr>
              <p:cNvSpPr txBox="1"/>
              <p:nvPr/>
            </p:nvSpPr>
            <p:spPr>
              <a:xfrm>
                <a:off x="7164288" y="856926"/>
                <a:ext cx="1439711"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sp>
            <p:nvSpPr>
              <p:cNvPr id="19" name="TextBox 18">
                <a:extLst>
                  <a:ext uri="{FF2B5EF4-FFF2-40B4-BE49-F238E27FC236}">
                    <a16:creationId xmlns:a16="http://schemas.microsoft.com/office/drawing/2014/main" id="{21C0D02F-9187-B54B-B37C-4FD5657B741F}"/>
                  </a:ext>
                </a:extLst>
              </p:cNvPr>
              <p:cNvSpPr txBox="1"/>
              <p:nvPr/>
            </p:nvSpPr>
            <p:spPr>
              <a:xfrm>
                <a:off x="7164288" y="1103513"/>
                <a:ext cx="1439711"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You can simply impress your audience and add a unique zing.   </a:t>
                </a:r>
              </a:p>
            </p:txBody>
          </p:sp>
        </p:grpSp>
        <p:grpSp>
          <p:nvGrpSpPr>
            <p:cNvPr id="20" name="Group 19">
              <a:extLst>
                <a:ext uri="{FF2B5EF4-FFF2-40B4-BE49-F238E27FC236}">
                  <a16:creationId xmlns:a16="http://schemas.microsoft.com/office/drawing/2014/main" id="{7737D4FD-5531-8144-8BF9-B5D83244BA69}"/>
                </a:ext>
              </a:extLst>
            </p:cNvPr>
            <p:cNvGrpSpPr/>
            <p:nvPr/>
          </p:nvGrpSpPr>
          <p:grpSpPr>
            <a:xfrm>
              <a:off x="5124536" y="4432456"/>
              <a:ext cx="4896096" cy="708252"/>
              <a:chOff x="7164288" y="856926"/>
              <a:chExt cx="1439711" cy="708252"/>
            </a:xfrm>
          </p:grpSpPr>
          <p:sp>
            <p:nvSpPr>
              <p:cNvPr id="21" name="TextBox 20">
                <a:extLst>
                  <a:ext uri="{FF2B5EF4-FFF2-40B4-BE49-F238E27FC236}">
                    <a16:creationId xmlns:a16="http://schemas.microsoft.com/office/drawing/2014/main" id="{21BF7CD9-3472-D44E-B7EF-17CB3C465763}"/>
                  </a:ext>
                </a:extLst>
              </p:cNvPr>
              <p:cNvSpPr txBox="1"/>
              <p:nvPr/>
            </p:nvSpPr>
            <p:spPr>
              <a:xfrm>
                <a:off x="7164288" y="856926"/>
                <a:ext cx="1439711"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sp>
            <p:nvSpPr>
              <p:cNvPr id="22" name="TextBox 21">
                <a:extLst>
                  <a:ext uri="{FF2B5EF4-FFF2-40B4-BE49-F238E27FC236}">
                    <a16:creationId xmlns:a16="http://schemas.microsoft.com/office/drawing/2014/main" id="{C7E88A09-4B3A-3F4D-9DD3-AE34B289BE27}"/>
                  </a:ext>
                </a:extLst>
              </p:cNvPr>
              <p:cNvSpPr txBox="1"/>
              <p:nvPr/>
            </p:nvSpPr>
            <p:spPr>
              <a:xfrm>
                <a:off x="7164288" y="1103513"/>
                <a:ext cx="1439711"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You can simply impress your audience and add a unique zing.   </a:t>
                </a:r>
              </a:p>
            </p:txBody>
          </p:sp>
        </p:grpSp>
        <p:grpSp>
          <p:nvGrpSpPr>
            <p:cNvPr id="23" name="Group 22">
              <a:extLst>
                <a:ext uri="{FF2B5EF4-FFF2-40B4-BE49-F238E27FC236}">
                  <a16:creationId xmlns:a16="http://schemas.microsoft.com/office/drawing/2014/main" id="{A26EFCEF-7857-F640-98AC-2DE8EDA92C81}"/>
                </a:ext>
              </a:extLst>
            </p:cNvPr>
            <p:cNvGrpSpPr/>
            <p:nvPr/>
          </p:nvGrpSpPr>
          <p:grpSpPr>
            <a:xfrm>
              <a:off x="5844616" y="2798140"/>
              <a:ext cx="4896096" cy="708252"/>
              <a:chOff x="7164288" y="856926"/>
              <a:chExt cx="1439711" cy="708252"/>
            </a:xfrm>
          </p:grpSpPr>
          <p:sp>
            <p:nvSpPr>
              <p:cNvPr id="24" name="TextBox 23">
                <a:extLst>
                  <a:ext uri="{FF2B5EF4-FFF2-40B4-BE49-F238E27FC236}">
                    <a16:creationId xmlns:a16="http://schemas.microsoft.com/office/drawing/2014/main" id="{B88092A0-0C3D-3749-83E1-885325F2EA0F}"/>
                  </a:ext>
                </a:extLst>
              </p:cNvPr>
              <p:cNvSpPr txBox="1"/>
              <p:nvPr/>
            </p:nvSpPr>
            <p:spPr>
              <a:xfrm>
                <a:off x="7164288" y="856926"/>
                <a:ext cx="1439711"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sp>
            <p:nvSpPr>
              <p:cNvPr id="25" name="TextBox 24">
                <a:extLst>
                  <a:ext uri="{FF2B5EF4-FFF2-40B4-BE49-F238E27FC236}">
                    <a16:creationId xmlns:a16="http://schemas.microsoft.com/office/drawing/2014/main" id="{8BFF326F-11AD-2841-B4ED-616912D2A3A8}"/>
                  </a:ext>
                </a:extLst>
              </p:cNvPr>
              <p:cNvSpPr txBox="1"/>
              <p:nvPr/>
            </p:nvSpPr>
            <p:spPr>
              <a:xfrm>
                <a:off x="7164288" y="1103513"/>
                <a:ext cx="1439711"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You can simply impress your audience and add a unique zing.   </a:t>
                </a:r>
              </a:p>
            </p:txBody>
          </p:sp>
        </p:grpSp>
        <p:grpSp>
          <p:nvGrpSpPr>
            <p:cNvPr id="26" name="Group 25">
              <a:extLst>
                <a:ext uri="{FF2B5EF4-FFF2-40B4-BE49-F238E27FC236}">
                  <a16:creationId xmlns:a16="http://schemas.microsoft.com/office/drawing/2014/main" id="{567F3748-4BE9-B146-8152-C14337AA7115}"/>
                </a:ext>
              </a:extLst>
            </p:cNvPr>
            <p:cNvGrpSpPr/>
            <p:nvPr/>
          </p:nvGrpSpPr>
          <p:grpSpPr>
            <a:xfrm>
              <a:off x="5844616" y="3615298"/>
              <a:ext cx="4896096" cy="708252"/>
              <a:chOff x="7164288" y="856926"/>
              <a:chExt cx="1439711" cy="708252"/>
            </a:xfrm>
          </p:grpSpPr>
          <p:sp>
            <p:nvSpPr>
              <p:cNvPr id="27" name="TextBox 26">
                <a:extLst>
                  <a:ext uri="{FF2B5EF4-FFF2-40B4-BE49-F238E27FC236}">
                    <a16:creationId xmlns:a16="http://schemas.microsoft.com/office/drawing/2014/main" id="{B5155BC5-68FF-A546-85FD-B50728BD4F2E}"/>
                  </a:ext>
                </a:extLst>
              </p:cNvPr>
              <p:cNvSpPr txBox="1"/>
              <p:nvPr/>
            </p:nvSpPr>
            <p:spPr>
              <a:xfrm>
                <a:off x="7164288" y="856926"/>
                <a:ext cx="1439711"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r Text Here</a:t>
                </a:r>
                <a:endParaRPr lang="ko-KR" altLang="en-US" sz="1200">
                  <a:solidFill>
                    <a:schemeClr val="tx1">
                      <a:lumMod val="75000"/>
                      <a:lumOff val="25000"/>
                    </a:schemeClr>
                  </a:solidFill>
                  <a:cs typeface="Arial" pitchFamily="34" charset="0"/>
                </a:endParaRPr>
              </a:p>
            </p:txBody>
          </p:sp>
          <p:sp>
            <p:nvSpPr>
              <p:cNvPr id="28" name="TextBox 27">
                <a:extLst>
                  <a:ext uri="{FF2B5EF4-FFF2-40B4-BE49-F238E27FC236}">
                    <a16:creationId xmlns:a16="http://schemas.microsoft.com/office/drawing/2014/main" id="{58F9801F-F924-2E43-83F5-C8A946D7CA26}"/>
                  </a:ext>
                </a:extLst>
              </p:cNvPr>
              <p:cNvSpPr txBox="1"/>
              <p:nvPr/>
            </p:nvSpPr>
            <p:spPr>
              <a:xfrm>
                <a:off x="7164288" y="1103513"/>
                <a:ext cx="1439711" cy="461665"/>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You can simply impress your audience and add a unique zing.   </a:t>
                </a:r>
              </a:p>
            </p:txBody>
          </p:sp>
        </p:grpSp>
        <p:sp>
          <p:nvSpPr>
            <p:cNvPr id="29" name="TextBox 28">
              <a:extLst>
                <a:ext uri="{FF2B5EF4-FFF2-40B4-BE49-F238E27FC236}">
                  <a16:creationId xmlns:a16="http://schemas.microsoft.com/office/drawing/2014/main" id="{E87FB8B9-D067-D145-B019-BF8355B68044}"/>
                </a:ext>
              </a:extLst>
            </p:cNvPr>
            <p:cNvSpPr txBox="1"/>
            <p:nvPr/>
          </p:nvSpPr>
          <p:spPr>
            <a:xfrm>
              <a:off x="4245030" y="2343005"/>
              <a:ext cx="470598" cy="307777"/>
            </a:xfrm>
            <a:prstGeom prst="rect">
              <a:avLst/>
            </a:prstGeom>
            <a:noFill/>
          </p:spPr>
          <p:txBody>
            <a:bodyPr wrap="square" tIns="0" bIns="0" rtlCol="0" anchor="ctr">
              <a:spAutoFit/>
            </a:bodyPr>
            <a:lstStyle/>
            <a:p>
              <a:r>
                <a:rPr lang="en-US" altLang="ko-KR" sz="2000" b="1">
                  <a:solidFill>
                    <a:schemeClr val="bg1"/>
                  </a:solidFill>
                  <a:cs typeface="Arial" pitchFamily="34" charset="0"/>
                </a:rPr>
                <a:t>01</a:t>
              </a:r>
            </a:p>
          </p:txBody>
        </p:sp>
        <p:sp>
          <p:nvSpPr>
            <p:cNvPr id="30" name="TextBox 29">
              <a:extLst>
                <a:ext uri="{FF2B5EF4-FFF2-40B4-BE49-F238E27FC236}">
                  <a16:creationId xmlns:a16="http://schemas.microsoft.com/office/drawing/2014/main" id="{FA39E668-FD88-5D41-899D-06795F2D1C28}"/>
                </a:ext>
              </a:extLst>
            </p:cNvPr>
            <p:cNvSpPr txBox="1"/>
            <p:nvPr/>
          </p:nvSpPr>
          <p:spPr>
            <a:xfrm>
              <a:off x="5004670" y="2922930"/>
              <a:ext cx="470598" cy="307777"/>
            </a:xfrm>
            <a:prstGeom prst="rect">
              <a:avLst/>
            </a:prstGeom>
            <a:noFill/>
          </p:spPr>
          <p:txBody>
            <a:bodyPr wrap="square" tIns="0" bIns="0" rtlCol="0" anchor="ctr">
              <a:spAutoFit/>
            </a:bodyPr>
            <a:lstStyle/>
            <a:p>
              <a:r>
                <a:rPr lang="en-US" altLang="ko-KR" sz="2000" b="1">
                  <a:solidFill>
                    <a:schemeClr val="bg1"/>
                  </a:solidFill>
                  <a:cs typeface="Arial" pitchFamily="34" charset="0"/>
                </a:rPr>
                <a:t>02</a:t>
              </a:r>
            </a:p>
          </p:txBody>
        </p:sp>
        <p:sp>
          <p:nvSpPr>
            <p:cNvPr id="31" name="TextBox 30">
              <a:extLst>
                <a:ext uri="{FF2B5EF4-FFF2-40B4-BE49-F238E27FC236}">
                  <a16:creationId xmlns:a16="http://schemas.microsoft.com/office/drawing/2014/main" id="{7AA70132-46B3-BA4B-8A21-A0F87460158E}"/>
                </a:ext>
              </a:extLst>
            </p:cNvPr>
            <p:cNvSpPr txBox="1"/>
            <p:nvPr/>
          </p:nvSpPr>
          <p:spPr>
            <a:xfrm>
              <a:off x="5004670" y="3856520"/>
              <a:ext cx="470598" cy="307777"/>
            </a:xfrm>
            <a:prstGeom prst="rect">
              <a:avLst/>
            </a:prstGeom>
            <a:noFill/>
          </p:spPr>
          <p:txBody>
            <a:bodyPr wrap="square" tIns="0" bIns="0" rtlCol="0" anchor="ctr">
              <a:spAutoFit/>
            </a:bodyPr>
            <a:lstStyle/>
            <a:p>
              <a:r>
                <a:rPr lang="en-US" altLang="ko-KR" sz="2000" b="1">
                  <a:solidFill>
                    <a:schemeClr val="bg1"/>
                  </a:solidFill>
                  <a:cs typeface="Arial" pitchFamily="34" charset="0"/>
                </a:rPr>
                <a:t>03</a:t>
              </a:r>
            </a:p>
          </p:txBody>
        </p:sp>
        <p:sp>
          <p:nvSpPr>
            <p:cNvPr id="32" name="TextBox 31">
              <a:extLst>
                <a:ext uri="{FF2B5EF4-FFF2-40B4-BE49-F238E27FC236}">
                  <a16:creationId xmlns:a16="http://schemas.microsoft.com/office/drawing/2014/main" id="{401B3CAD-C2EC-CE44-BDA2-EB34B05C8EF5}"/>
                </a:ext>
              </a:extLst>
            </p:cNvPr>
            <p:cNvSpPr txBox="1"/>
            <p:nvPr/>
          </p:nvSpPr>
          <p:spPr>
            <a:xfrm>
              <a:off x="4245030" y="4393957"/>
              <a:ext cx="470598" cy="307777"/>
            </a:xfrm>
            <a:prstGeom prst="rect">
              <a:avLst/>
            </a:prstGeom>
            <a:noFill/>
          </p:spPr>
          <p:txBody>
            <a:bodyPr wrap="square" tIns="0" bIns="0" rtlCol="0" anchor="ctr">
              <a:spAutoFit/>
            </a:bodyPr>
            <a:lstStyle/>
            <a:p>
              <a:r>
                <a:rPr lang="en-US" altLang="ko-KR" sz="2000" b="1">
                  <a:solidFill>
                    <a:schemeClr val="bg1"/>
                  </a:solidFill>
                  <a:cs typeface="Arial" pitchFamily="34" charset="0"/>
                </a:rPr>
                <a:t>04</a:t>
              </a:r>
            </a:p>
          </p:txBody>
        </p:sp>
      </p:grpSp>
    </p:spTree>
    <p:extLst>
      <p:ext uri="{BB962C8B-B14F-4D97-AF65-F5344CB8AC3E}">
        <p14:creationId xmlns:p14="http://schemas.microsoft.com/office/powerpoint/2010/main" val="137507339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54F196-D67A-5C48-9B05-E93331AB48C7}"/>
              </a:ext>
            </a:extLst>
          </p:cNvPr>
          <p:cNvGraphicFramePr>
            <a:graphicFrameLocks noChangeAspect="1"/>
          </p:cNvGraphicFramePr>
          <p:nvPr>
            <p:custDataLst>
              <p:tags r:id="rId1"/>
            </p:custDataLst>
            <p:extLst>
              <p:ext uri="{D42A27DB-BD31-4B8C-83A1-F6EECF244321}">
                <p14:modId xmlns:p14="http://schemas.microsoft.com/office/powerpoint/2010/main" val="2248491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3F54F196-D67A-5C48-9B05-E93331AB48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092974B-32BB-2842-8ECE-C213B5DB66E6}"/>
              </a:ext>
            </a:extLst>
          </p:cNvPr>
          <p:cNvSpPr>
            <a:spLocks noGrp="1"/>
          </p:cNvSpPr>
          <p:nvPr>
            <p:ph type="sldNum" sz="quarter" idx="4"/>
          </p:nvPr>
        </p:nvSpPr>
        <p:spPr/>
        <p:txBody>
          <a:bodyPr/>
          <a:lstStyle/>
          <a:p>
            <a:fld id="{3D966009-6E5A-4F8C-8CA7-E37AFBF5FB92}" type="slidenum">
              <a:rPr lang="en-US" smtClean="0"/>
              <a:t>156</a:t>
            </a:fld>
            <a:endParaRPr lang="en-US"/>
          </a:p>
        </p:txBody>
      </p:sp>
      <p:sp>
        <p:nvSpPr>
          <p:cNvPr id="3" name="Title 2">
            <a:extLst>
              <a:ext uri="{FF2B5EF4-FFF2-40B4-BE49-F238E27FC236}">
                <a16:creationId xmlns:a16="http://schemas.microsoft.com/office/drawing/2014/main" id="{E478FCF8-7222-DC4F-A6CC-AF8E5FF56CC6}"/>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A6020234-46DD-DB43-B22B-46C975BADA2F}"/>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41C01007-F330-9A47-A801-E96218C5EC26}"/>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074C8791-70DD-4A42-A62A-9590FC424706}"/>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457E135A-B706-B644-80F4-DC61D14299C5}"/>
              </a:ext>
            </a:extLst>
          </p:cNvPr>
          <p:cNvSpPr>
            <a:spLocks noGrp="1"/>
          </p:cNvSpPr>
          <p:nvPr>
            <p:ph sz="quarter" idx="14"/>
          </p:nvPr>
        </p:nvSpPr>
        <p:spPr/>
        <p:txBody>
          <a:bodyPr/>
          <a:lstStyle/>
          <a:p>
            <a:endParaRPr lang="de-DE"/>
          </a:p>
        </p:txBody>
      </p:sp>
      <p:grpSp>
        <p:nvGrpSpPr>
          <p:cNvPr id="44" name="Group 43">
            <a:extLst>
              <a:ext uri="{FF2B5EF4-FFF2-40B4-BE49-F238E27FC236}">
                <a16:creationId xmlns:a16="http://schemas.microsoft.com/office/drawing/2014/main" id="{983F34D4-C548-B649-B8D9-5433AA60E244}"/>
              </a:ext>
            </a:extLst>
          </p:cNvPr>
          <p:cNvGrpSpPr/>
          <p:nvPr/>
        </p:nvGrpSpPr>
        <p:grpSpPr>
          <a:xfrm>
            <a:off x="767463" y="1700213"/>
            <a:ext cx="4912901" cy="4213225"/>
            <a:chOff x="72587" y="1845261"/>
            <a:chExt cx="3738094" cy="3342342"/>
          </a:xfrm>
        </p:grpSpPr>
        <p:sp>
          <p:nvSpPr>
            <p:cNvPr id="26" name="Rectangle 25">
              <a:extLst>
                <a:ext uri="{FF2B5EF4-FFF2-40B4-BE49-F238E27FC236}">
                  <a16:creationId xmlns:a16="http://schemas.microsoft.com/office/drawing/2014/main" id="{49F40436-D4AD-E944-B5AA-3C60B84A1C49}"/>
                </a:ext>
              </a:extLst>
            </p:cNvPr>
            <p:cNvSpPr/>
            <p:nvPr/>
          </p:nvSpPr>
          <p:spPr>
            <a:xfrm>
              <a:off x="2087782" y="2186127"/>
              <a:ext cx="1440000" cy="1188000"/>
            </a:xfrm>
            <a:prstGeom prst="rect">
              <a:avLst/>
            </a:prstGeom>
            <a:solidFill>
              <a:srgbClr val="8D8EA7"/>
            </a:solidFill>
            <a:ln w="3175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7" name="Rectangle 26">
              <a:extLst>
                <a:ext uri="{FF2B5EF4-FFF2-40B4-BE49-F238E27FC236}">
                  <a16:creationId xmlns:a16="http://schemas.microsoft.com/office/drawing/2014/main" id="{5B6E5B41-421B-A340-B2BF-3976AC87A7DB}"/>
                </a:ext>
              </a:extLst>
            </p:cNvPr>
            <p:cNvSpPr/>
            <p:nvPr/>
          </p:nvSpPr>
          <p:spPr>
            <a:xfrm>
              <a:off x="365682" y="2186127"/>
              <a:ext cx="1440000" cy="1188000"/>
            </a:xfrm>
            <a:prstGeom prst="rect">
              <a:avLst/>
            </a:prstGeom>
            <a:solidFill>
              <a:srgbClr val="8D8EA7"/>
            </a:solidFill>
            <a:ln w="3175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8" name="Rectangle 27">
              <a:extLst>
                <a:ext uri="{FF2B5EF4-FFF2-40B4-BE49-F238E27FC236}">
                  <a16:creationId xmlns:a16="http://schemas.microsoft.com/office/drawing/2014/main" id="{36ABFA03-455C-8540-AA65-92561D56265A}"/>
                </a:ext>
              </a:extLst>
            </p:cNvPr>
            <p:cNvSpPr/>
            <p:nvPr/>
          </p:nvSpPr>
          <p:spPr>
            <a:xfrm>
              <a:off x="365682" y="3667815"/>
              <a:ext cx="1440000" cy="1188000"/>
            </a:xfrm>
            <a:prstGeom prst="rect">
              <a:avLst/>
            </a:prstGeom>
            <a:solidFill>
              <a:srgbClr val="8D8EA7"/>
            </a:solidFill>
            <a:ln w="3175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9" name="Rectangle 28">
              <a:extLst>
                <a:ext uri="{FF2B5EF4-FFF2-40B4-BE49-F238E27FC236}">
                  <a16:creationId xmlns:a16="http://schemas.microsoft.com/office/drawing/2014/main" id="{EDF12ED3-523F-5446-ADAE-12ABC61DB949}"/>
                </a:ext>
              </a:extLst>
            </p:cNvPr>
            <p:cNvSpPr/>
            <p:nvPr/>
          </p:nvSpPr>
          <p:spPr>
            <a:xfrm>
              <a:off x="2087782" y="3667815"/>
              <a:ext cx="1440000" cy="1188000"/>
            </a:xfrm>
            <a:prstGeom prst="rect">
              <a:avLst/>
            </a:prstGeom>
            <a:solidFill>
              <a:srgbClr val="8D8EA7"/>
            </a:solidFill>
            <a:ln w="3175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0" name="TextBox 29">
              <a:extLst>
                <a:ext uri="{FF2B5EF4-FFF2-40B4-BE49-F238E27FC236}">
                  <a16:creationId xmlns:a16="http://schemas.microsoft.com/office/drawing/2014/main" id="{F19DD9C1-73CA-244D-A17C-6A28AB90E50D}"/>
                </a:ext>
              </a:extLst>
            </p:cNvPr>
            <p:cNvSpPr txBox="1"/>
            <p:nvPr/>
          </p:nvSpPr>
          <p:spPr>
            <a:xfrm>
              <a:off x="599507" y="2641627"/>
              <a:ext cx="972349" cy="276999"/>
            </a:xfrm>
            <a:prstGeom prst="rect">
              <a:avLst/>
            </a:prstGeom>
            <a:noFill/>
          </p:spPr>
          <p:txBody>
            <a:bodyPr wrap="square" rtlCol="0">
              <a:spAutoFit/>
            </a:bodyPr>
            <a:lstStyle/>
            <a:p>
              <a:pPr algn="ctr" latinLnBrk="1"/>
              <a:r>
                <a:rPr lang="en-US" altLang="ko-KR" sz="1200" b="1">
                  <a:solidFill>
                    <a:prstClr val="black">
                      <a:lumMod val="75000"/>
                      <a:lumOff val="25000"/>
                    </a:prstClr>
                  </a:solidFill>
                  <a:ea typeface="Arial Unicode MS"/>
                  <a:cs typeface="Arial" pitchFamily="34" charset="0"/>
                </a:rPr>
                <a:t>Text  Here</a:t>
              </a:r>
              <a:endParaRPr lang="ko-KR" altLang="en-US" sz="1200" b="1">
                <a:solidFill>
                  <a:prstClr val="black">
                    <a:lumMod val="75000"/>
                    <a:lumOff val="25000"/>
                  </a:prstClr>
                </a:solidFill>
                <a:ea typeface="Arial Unicode MS"/>
                <a:cs typeface="Arial" pitchFamily="34" charset="0"/>
              </a:endParaRPr>
            </a:p>
          </p:txBody>
        </p:sp>
        <p:sp>
          <p:nvSpPr>
            <p:cNvPr id="31" name="TextBox 30">
              <a:extLst>
                <a:ext uri="{FF2B5EF4-FFF2-40B4-BE49-F238E27FC236}">
                  <a16:creationId xmlns:a16="http://schemas.microsoft.com/office/drawing/2014/main" id="{1AE09A35-F561-E848-BB79-49DA49B07A46}"/>
                </a:ext>
              </a:extLst>
            </p:cNvPr>
            <p:cNvSpPr txBox="1"/>
            <p:nvPr/>
          </p:nvSpPr>
          <p:spPr>
            <a:xfrm>
              <a:off x="2321607" y="2641626"/>
              <a:ext cx="972349" cy="276999"/>
            </a:xfrm>
            <a:prstGeom prst="rect">
              <a:avLst/>
            </a:prstGeom>
            <a:noFill/>
          </p:spPr>
          <p:txBody>
            <a:bodyPr wrap="square" rtlCol="0">
              <a:spAutoFit/>
            </a:bodyPr>
            <a:lstStyle/>
            <a:p>
              <a:pPr algn="ctr" latinLnBrk="1"/>
              <a:r>
                <a:rPr lang="en-US" altLang="ko-KR" sz="1200" b="1">
                  <a:solidFill>
                    <a:prstClr val="black">
                      <a:lumMod val="75000"/>
                      <a:lumOff val="25000"/>
                    </a:prstClr>
                  </a:solidFill>
                  <a:ea typeface="Arial Unicode MS"/>
                  <a:cs typeface="Arial" pitchFamily="34" charset="0"/>
                </a:rPr>
                <a:t>Text  Here</a:t>
              </a:r>
              <a:endParaRPr lang="ko-KR" altLang="en-US" sz="1200" b="1">
                <a:solidFill>
                  <a:prstClr val="black">
                    <a:lumMod val="75000"/>
                    <a:lumOff val="25000"/>
                  </a:prstClr>
                </a:solidFill>
                <a:ea typeface="Arial Unicode MS"/>
                <a:cs typeface="Arial" pitchFamily="34" charset="0"/>
              </a:endParaRPr>
            </a:p>
          </p:txBody>
        </p:sp>
        <p:sp>
          <p:nvSpPr>
            <p:cNvPr id="32" name="TextBox 31">
              <a:extLst>
                <a:ext uri="{FF2B5EF4-FFF2-40B4-BE49-F238E27FC236}">
                  <a16:creationId xmlns:a16="http://schemas.microsoft.com/office/drawing/2014/main" id="{517203C7-69F6-F54B-8994-E0A3AA9EC356}"/>
                </a:ext>
              </a:extLst>
            </p:cNvPr>
            <p:cNvSpPr txBox="1"/>
            <p:nvPr/>
          </p:nvSpPr>
          <p:spPr>
            <a:xfrm>
              <a:off x="2321607" y="4123315"/>
              <a:ext cx="972349" cy="276999"/>
            </a:xfrm>
            <a:prstGeom prst="rect">
              <a:avLst/>
            </a:prstGeom>
            <a:noFill/>
          </p:spPr>
          <p:txBody>
            <a:bodyPr wrap="square" rtlCol="0">
              <a:spAutoFit/>
            </a:bodyPr>
            <a:lstStyle/>
            <a:p>
              <a:pPr algn="ctr" latinLnBrk="1"/>
              <a:r>
                <a:rPr lang="en-US" altLang="ko-KR" sz="1200" b="1">
                  <a:solidFill>
                    <a:prstClr val="black">
                      <a:lumMod val="75000"/>
                      <a:lumOff val="25000"/>
                    </a:prstClr>
                  </a:solidFill>
                  <a:ea typeface="Arial Unicode MS"/>
                  <a:cs typeface="Arial" pitchFamily="34" charset="0"/>
                </a:rPr>
                <a:t>Text  Here</a:t>
              </a:r>
              <a:endParaRPr lang="ko-KR" altLang="en-US" sz="1200" b="1">
                <a:solidFill>
                  <a:prstClr val="black">
                    <a:lumMod val="75000"/>
                    <a:lumOff val="25000"/>
                  </a:prstClr>
                </a:solidFill>
                <a:ea typeface="Arial Unicode MS"/>
                <a:cs typeface="Arial" pitchFamily="34" charset="0"/>
              </a:endParaRPr>
            </a:p>
          </p:txBody>
        </p:sp>
        <p:sp>
          <p:nvSpPr>
            <p:cNvPr id="33" name="TextBox 32">
              <a:extLst>
                <a:ext uri="{FF2B5EF4-FFF2-40B4-BE49-F238E27FC236}">
                  <a16:creationId xmlns:a16="http://schemas.microsoft.com/office/drawing/2014/main" id="{73017538-47BA-F841-979F-6F30E4070336}"/>
                </a:ext>
              </a:extLst>
            </p:cNvPr>
            <p:cNvSpPr txBox="1"/>
            <p:nvPr/>
          </p:nvSpPr>
          <p:spPr>
            <a:xfrm>
              <a:off x="599507" y="4123314"/>
              <a:ext cx="972349" cy="276999"/>
            </a:xfrm>
            <a:prstGeom prst="rect">
              <a:avLst/>
            </a:prstGeom>
            <a:noFill/>
          </p:spPr>
          <p:txBody>
            <a:bodyPr wrap="square" rtlCol="0">
              <a:spAutoFit/>
            </a:bodyPr>
            <a:lstStyle/>
            <a:p>
              <a:pPr algn="ctr" latinLnBrk="1"/>
              <a:r>
                <a:rPr lang="en-US" altLang="ko-KR" sz="1200" b="1">
                  <a:solidFill>
                    <a:prstClr val="black">
                      <a:lumMod val="75000"/>
                      <a:lumOff val="25000"/>
                    </a:prstClr>
                  </a:solidFill>
                  <a:ea typeface="Arial Unicode MS"/>
                  <a:cs typeface="Arial" pitchFamily="34" charset="0"/>
                </a:rPr>
                <a:t>Text  Here</a:t>
              </a:r>
              <a:endParaRPr lang="ko-KR" altLang="en-US" sz="1200" b="1">
                <a:solidFill>
                  <a:prstClr val="black">
                    <a:lumMod val="75000"/>
                    <a:lumOff val="25000"/>
                  </a:prstClr>
                </a:solidFill>
                <a:ea typeface="Arial Unicode MS"/>
                <a:cs typeface="Arial" pitchFamily="34" charset="0"/>
              </a:endParaRPr>
            </a:p>
          </p:txBody>
        </p:sp>
        <p:sp>
          <p:nvSpPr>
            <p:cNvPr id="43" name="Quad Arrow 42">
              <a:extLst>
                <a:ext uri="{FF2B5EF4-FFF2-40B4-BE49-F238E27FC236}">
                  <a16:creationId xmlns:a16="http://schemas.microsoft.com/office/drawing/2014/main" id="{C88BE7F8-1E14-0741-B254-0B43BA432462}"/>
                </a:ext>
              </a:extLst>
            </p:cNvPr>
            <p:cNvSpPr/>
            <p:nvPr/>
          </p:nvSpPr>
          <p:spPr>
            <a:xfrm>
              <a:off x="72587" y="1845261"/>
              <a:ext cx="3738094" cy="3342342"/>
            </a:xfrm>
            <a:prstGeom prst="quadArrow">
              <a:avLst>
                <a:gd name="adj1" fmla="val 3495"/>
                <a:gd name="adj2" fmla="val 4359"/>
                <a:gd name="adj3" fmla="val 565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86591288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E52049-A89A-BC47-A5F6-EE42BF697B71}"/>
              </a:ext>
            </a:extLst>
          </p:cNvPr>
          <p:cNvSpPr>
            <a:spLocks noGrp="1"/>
          </p:cNvSpPr>
          <p:nvPr>
            <p:ph type="sldNum" sz="quarter" idx="4"/>
          </p:nvPr>
        </p:nvSpPr>
        <p:spPr/>
        <p:txBody>
          <a:bodyPr/>
          <a:lstStyle/>
          <a:p>
            <a:fld id="{3D966009-6E5A-4F8C-8CA7-E37AFBF5FB92}" type="slidenum">
              <a:rPr lang="en-US" smtClean="0"/>
              <a:t>157</a:t>
            </a:fld>
            <a:endParaRPr lang="en-US"/>
          </a:p>
        </p:txBody>
      </p:sp>
      <p:sp>
        <p:nvSpPr>
          <p:cNvPr id="3" name="Title 2">
            <a:extLst>
              <a:ext uri="{FF2B5EF4-FFF2-40B4-BE49-F238E27FC236}">
                <a16:creationId xmlns:a16="http://schemas.microsoft.com/office/drawing/2014/main" id="{5601216A-C72A-FF45-B8DD-BFD388DA903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976135FC-44E5-E449-A450-7F070DBC114D}"/>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D41EBD0E-7B56-C642-82F5-1537338E4A4F}"/>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69E679E0-0D93-5848-887A-9EF0AAA7D9F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CDA56A0F-6C5C-4642-AAF3-4948BF426FF9}"/>
              </a:ext>
            </a:extLst>
          </p:cNvPr>
          <p:cNvSpPr>
            <a:spLocks noGrp="1"/>
          </p:cNvSpPr>
          <p:nvPr>
            <p:ph sz="quarter" idx="14"/>
          </p:nvPr>
        </p:nvSpPr>
        <p:spPr/>
        <p:txBody>
          <a:bodyPr/>
          <a:lstStyle/>
          <a:p>
            <a:endParaRPr lang="en-GB"/>
          </a:p>
        </p:txBody>
      </p:sp>
      <p:graphicFrame>
        <p:nvGraphicFramePr>
          <p:cNvPr id="9" name="Chart 8">
            <a:extLst>
              <a:ext uri="{FF2B5EF4-FFF2-40B4-BE49-F238E27FC236}">
                <a16:creationId xmlns:a16="http://schemas.microsoft.com/office/drawing/2014/main" id="{90A2430D-2235-0746-B0E7-C27D22CCBBFA}"/>
              </a:ext>
            </a:extLst>
          </p:cNvPr>
          <p:cNvGraphicFramePr/>
          <p:nvPr>
            <p:extLst>
              <p:ext uri="{D42A27DB-BD31-4B8C-83A1-F6EECF244321}">
                <p14:modId xmlns:p14="http://schemas.microsoft.com/office/powerpoint/2010/main" val="947500344"/>
              </p:ext>
            </p:extLst>
          </p:nvPr>
        </p:nvGraphicFramePr>
        <p:xfrm>
          <a:off x="4319955" y="2116874"/>
          <a:ext cx="3552089" cy="3323023"/>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7085F058-0BF5-9244-9CC9-DAE8638FE6B3}"/>
              </a:ext>
            </a:extLst>
          </p:cNvPr>
          <p:cNvSpPr txBox="1"/>
          <p:nvPr/>
        </p:nvSpPr>
        <p:spPr>
          <a:xfrm>
            <a:off x="6785348" y="3150731"/>
            <a:ext cx="799269" cy="400110"/>
          </a:xfrm>
          <a:prstGeom prst="rect">
            <a:avLst/>
          </a:prstGeom>
          <a:noFill/>
        </p:spPr>
        <p:txBody>
          <a:bodyPr wrap="square" rtlCol="0" anchor="ctr">
            <a:spAutoFit/>
          </a:bodyPr>
          <a:lstStyle/>
          <a:p>
            <a:pPr algn="ctr"/>
            <a:r>
              <a:rPr lang="en-US" altLang="ko-KR" sz="2000" b="1">
                <a:solidFill>
                  <a:schemeClr val="bg1"/>
                </a:solidFill>
                <a:latin typeface="Arial" pitchFamily="34" charset="0"/>
                <a:cs typeface="Arial" pitchFamily="34" charset="0"/>
              </a:rPr>
              <a:t>45%</a:t>
            </a:r>
            <a:endParaRPr lang="ko-KR" altLang="en-US" sz="2000" b="1">
              <a:solidFill>
                <a:schemeClr val="bg1"/>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BCB0624D-77C5-1A40-B7BD-8816FD2701E9}"/>
              </a:ext>
            </a:extLst>
          </p:cNvPr>
          <p:cNvSpPr txBox="1"/>
          <p:nvPr/>
        </p:nvSpPr>
        <p:spPr>
          <a:xfrm>
            <a:off x="4968027" y="4446875"/>
            <a:ext cx="799269" cy="400110"/>
          </a:xfrm>
          <a:prstGeom prst="rect">
            <a:avLst/>
          </a:prstGeom>
          <a:noFill/>
        </p:spPr>
        <p:txBody>
          <a:bodyPr wrap="square" rtlCol="0" anchor="ctr">
            <a:spAutoFit/>
          </a:bodyPr>
          <a:lstStyle/>
          <a:p>
            <a:pPr algn="ctr"/>
            <a:r>
              <a:rPr lang="en-US" altLang="ko-KR" sz="2000" b="1">
                <a:solidFill>
                  <a:schemeClr val="bg1"/>
                </a:solidFill>
                <a:latin typeface="Arial" pitchFamily="34" charset="0"/>
                <a:cs typeface="Arial" pitchFamily="34" charset="0"/>
              </a:rPr>
              <a:t>30%</a:t>
            </a:r>
            <a:endParaRPr lang="ko-KR" altLang="en-US" sz="2000" b="1">
              <a:solidFill>
                <a:schemeClr val="bg1"/>
              </a:solidFill>
              <a:latin typeface="Arial" pitchFamily="34" charset="0"/>
              <a:cs typeface="Arial" pitchFamily="34" charset="0"/>
            </a:endParaRPr>
          </a:p>
        </p:txBody>
      </p:sp>
      <p:sp>
        <p:nvSpPr>
          <p:cNvPr id="12" name="TextBox 11">
            <a:extLst>
              <a:ext uri="{FF2B5EF4-FFF2-40B4-BE49-F238E27FC236}">
                <a16:creationId xmlns:a16="http://schemas.microsoft.com/office/drawing/2014/main" id="{33674890-DB4B-5F45-81ED-6BAE81A7868E}"/>
              </a:ext>
            </a:extLst>
          </p:cNvPr>
          <p:cNvSpPr txBox="1"/>
          <p:nvPr/>
        </p:nvSpPr>
        <p:spPr>
          <a:xfrm>
            <a:off x="4888838" y="2726378"/>
            <a:ext cx="799269" cy="400110"/>
          </a:xfrm>
          <a:prstGeom prst="rect">
            <a:avLst/>
          </a:prstGeom>
          <a:noFill/>
        </p:spPr>
        <p:txBody>
          <a:bodyPr wrap="square" rtlCol="0" anchor="ctr">
            <a:spAutoFit/>
          </a:bodyPr>
          <a:lstStyle/>
          <a:p>
            <a:pPr algn="ctr"/>
            <a:r>
              <a:rPr lang="en-US" altLang="ko-KR" sz="2000" b="1">
                <a:solidFill>
                  <a:schemeClr val="bg1"/>
                </a:solidFill>
                <a:latin typeface="Arial" pitchFamily="34" charset="0"/>
                <a:cs typeface="Arial" pitchFamily="34" charset="0"/>
              </a:rPr>
              <a:t>25%</a:t>
            </a:r>
            <a:endParaRPr lang="ko-KR" altLang="en-US" sz="2000" b="1">
              <a:solidFill>
                <a:schemeClr val="bg1"/>
              </a:solidFill>
              <a:latin typeface="Arial" pitchFamily="34" charset="0"/>
              <a:cs typeface="Arial" pitchFamily="34" charset="0"/>
            </a:endParaRPr>
          </a:p>
        </p:txBody>
      </p:sp>
      <p:sp>
        <p:nvSpPr>
          <p:cNvPr id="13" name="Oval 12">
            <a:extLst>
              <a:ext uri="{FF2B5EF4-FFF2-40B4-BE49-F238E27FC236}">
                <a16:creationId xmlns:a16="http://schemas.microsoft.com/office/drawing/2014/main" id="{702488D5-C093-E04F-A463-BAFE6688AC07}"/>
              </a:ext>
            </a:extLst>
          </p:cNvPr>
          <p:cNvSpPr/>
          <p:nvPr/>
        </p:nvSpPr>
        <p:spPr>
          <a:xfrm>
            <a:off x="5244047" y="2926433"/>
            <a:ext cx="1703904" cy="1703904"/>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Block Arc 14">
            <a:extLst>
              <a:ext uri="{FF2B5EF4-FFF2-40B4-BE49-F238E27FC236}">
                <a16:creationId xmlns:a16="http://schemas.microsoft.com/office/drawing/2014/main" id="{ED6DB958-B387-8D41-861F-FFA2A1A2D68E}"/>
              </a:ext>
            </a:extLst>
          </p:cNvPr>
          <p:cNvSpPr/>
          <p:nvPr/>
        </p:nvSpPr>
        <p:spPr>
          <a:xfrm rot="16200000">
            <a:off x="5729112" y="3447283"/>
            <a:ext cx="661771" cy="662202"/>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nvGrpSpPr>
          <p:cNvPr id="15" name="Group 14">
            <a:extLst>
              <a:ext uri="{FF2B5EF4-FFF2-40B4-BE49-F238E27FC236}">
                <a16:creationId xmlns:a16="http://schemas.microsoft.com/office/drawing/2014/main" id="{B4D73CAF-92DA-DD45-8F12-0FE66B49860B}"/>
              </a:ext>
            </a:extLst>
          </p:cNvPr>
          <p:cNvGrpSpPr/>
          <p:nvPr/>
        </p:nvGrpSpPr>
        <p:grpSpPr>
          <a:xfrm>
            <a:off x="7728028" y="2326222"/>
            <a:ext cx="2376264" cy="2608807"/>
            <a:chOff x="803640" y="3362835"/>
            <a:chExt cx="2059657" cy="2608807"/>
          </a:xfrm>
        </p:grpSpPr>
        <p:sp>
          <p:nvSpPr>
            <p:cNvPr id="16" name="TextBox 15">
              <a:extLst>
                <a:ext uri="{FF2B5EF4-FFF2-40B4-BE49-F238E27FC236}">
                  <a16:creationId xmlns:a16="http://schemas.microsoft.com/office/drawing/2014/main" id="{8FE44E97-E508-AD41-A0EE-79609196052C}"/>
                </a:ext>
              </a:extLst>
            </p:cNvPr>
            <p:cNvSpPr txBox="1"/>
            <p:nvPr/>
          </p:nvSpPr>
          <p:spPr>
            <a:xfrm>
              <a:off x="803640" y="3663318"/>
              <a:ext cx="2059657" cy="2308324"/>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Get a modern PowerPoint  Presentation that is beautifully designed.  Easy to change colors, photos and Text. </a:t>
              </a:r>
            </a:p>
            <a:p>
              <a:endParaRPr lang="en-US" altLang="ko-KR" sz="1200">
                <a:solidFill>
                  <a:schemeClr val="tx1">
                    <a:lumMod val="75000"/>
                    <a:lumOff val="25000"/>
                  </a:schemeClr>
                </a:solidFill>
                <a:cs typeface="Arial" pitchFamily="34" charset="0"/>
              </a:endParaRPr>
            </a:p>
            <a:p>
              <a:r>
                <a:rPr lang="en-US" altLang="ko-KR" sz="1200">
                  <a:solidFill>
                    <a:schemeClr val="tx1">
                      <a:lumMod val="75000"/>
                      <a:lumOff val="25000"/>
                    </a:schemeClr>
                  </a:solidFill>
                  <a:cs typeface="Arial" pitchFamily="34" charset="0"/>
                </a:rPr>
                <a:t>Get a modern PowerPoint  Presentation that is beautifully designed.  Easy to change colors, photos and Text. </a:t>
              </a:r>
              <a:endParaRPr lang="ko-KR" altLang="en-US" sz="1200">
                <a:solidFill>
                  <a:schemeClr val="tx1">
                    <a:lumMod val="75000"/>
                    <a:lumOff val="25000"/>
                  </a:schemeClr>
                </a:solidFill>
                <a:cs typeface="Arial" pitchFamily="34" charset="0"/>
              </a:endParaRPr>
            </a:p>
          </p:txBody>
        </p:sp>
        <p:sp>
          <p:nvSpPr>
            <p:cNvPr id="17" name="TextBox 16">
              <a:extLst>
                <a:ext uri="{FF2B5EF4-FFF2-40B4-BE49-F238E27FC236}">
                  <a16:creationId xmlns:a16="http://schemas.microsoft.com/office/drawing/2014/main" id="{ED3229CA-50A5-6242-A43C-77174AAB82D2}"/>
                </a:ext>
              </a:extLst>
            </p:cNvPr>
            <p:cNvSpPr txBox="1"/>
            <p:nvPr/>
          </p:nvSpPr>
          <p:spPr>
            <a:xfrm>
              <a:off x="803640" y="3362835"/>
              <a:ext cx="2059657" cy="276999"/>
            </a:xfrm>
            <a:prstGeom prst="rect">
              <a:avLst/>
            </a:prstGeom>
            <a:solidFill>
              <a:schemeClr val="tx1">
                <a:lumMod val="75000"/>
                <a:lumOff val="25000"/>
              </a:schemeClr>
            </a:solidFill>
          </p:spPr>
          <p:txBody>
            <a:bodyPr wrap="square" rtlCol="0">
              <a:spAutoFit/>
            </a:bodyPr>
            <a:lstStyle/>
            <a:p>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grpSp>
        <p:nvGrpSpPr>
          <p:cNvPr id="18" name="Group 17">
            <a:extLst>
              <a:ext uri="{FF2B5EF4-FFF2-40B4-BE49-F238E27FC236}">
                <a16:creationId xmlns:a16="http://schemas.microsoft.com/office/drawing/2014/main" id="{ADBB13A9-B3EB-2348-B4F4-D0CBDAA41182}"/>
              </a:ext>
            </a:extLst>
          </p:cNvPr>
          <p:cNvGrpSpPr/>
          <p:nvPr/>
        </p:nvGrpSpPr>
        <p:grpSpPr>
          <a:xfrm>
            <a:off x="2039396" y="2326222"/>
            <a:ext cx="2376264" cy="1500812"/>
            <a:chOff x="803640" y="3362835"/>
            <a:chExt cx="2059657" cy="1500812"/>
          </a:xfrm>
        </p:grpSpPr>
        <p:sp>
          <p:nvSpPr>
            <p:cNvPr id="19" name="TextBox 18">
              <a:extLst>
                <a:ext uri="{FF2B5EF4-FFF2-40B4-BE49-F238E27FC236}">
                  <a16:creationId xmlns:a16="http://schemas.microsoft.com/office/drawing/2014/main" id="{E44E2640-B6FC-9449-9253-607240F8C1A5}"/>
                </a:ext>
              </a:extLst>
            </p:cNvPr>
            <p:cNvSpPr txBox="1"/>
            <p:nvPr/>
          </p:nvSpPr>
          <p:spPr>
            <a:xfrm>
              <a:off x="803640" y="3663318"/>
              <a:ext cx="2059657" cy="120032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20" name="TextBox 19">
              <a:extLst>
                <a:ext uri="{FF2B5EF4-FFF2-40B4-BE49-F238E27FC236}">
                  <a16:creationId xmlns:a16="http://schemas.microsoft.com/office/drawing/2014/main" id="{50E41277-C7F5-F344-83BF-DB0309673A54}"/>
                </a:ext>
              </a:extLst>
            </p:cNvPr>
            <p:cNvSpPr txBox="1"/>
            <p:nvPr/>
          </p:nvSpPr>
          <p:spPr>
            <a:xfrm>
              <a:off x="803640" y="3362835"/>
              <a:ext cx="2059657" cy="276999"/>
            </a:xfrm>
            <a:prstGeom prst="rect">
              <a:avLst/>
            </a:prstGeom>
            <a:solidFill>
              <a:schemeClr val="tx1">
                <a:lumMod val="75000"/>
                <a:lumOff val="25000"/>
              </a:schemeClr>
            </a:solidFill>
          </p:spPr>
          <p:txBody>
            <a:bodyPr wrap="square" rtlCol="0">
              <a:spAutoFit/>
            </a:bodyPr>
            <a:lstStyle/>
            <a:p>
              <a:pPr algn="r"/>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grpSp>
        <p:nvGrpSpPr>
          <p:cNvPr id="21" name="Group 20">
            <a:extLst>
              <a:ext uri="{FF2B5EF4-FFF2-40B4-BE49-F238E27FC236}">
                <a16:creationId xmlns:a16="http://schemas.microsoft.com/office/drawing/2014/main" id="{0E7646E7-C353-BB44-BC10-FF9299E4F976}"/>
              </a:ext>
            </a:extLst>
          </p:cNvPr>
          <p:cNvGrpSpPr/>
          <p:nvPr/>
        </p:nvGrpSpPr>
        <p:grpSpPr>
          <a:xfrm>
            <a:off x="2039396" y="3863309"/>
            <a:ext cx="2376264" cy="1500812"/>
            <a:chOff x="803640" y="3362835"/>
            <a:chExt cx="2059657" cy="1500812"/>
          </a:xfrm>
        </p:grpSpPr>
        <p:sp>
          <p:nvSpPr>
            <p:cNvPr id="22" name="TextBox 21">
              <a:extLst>
                <a:ext uri="{FF2B5EF4-FFF2-40B4-BE49-F238E27FC236}">
                  <a16:creationId xmlns:a16="http://schemas.microsoft.com/office/drawing/2014/main" id="{150E1039-3DDB-D64F-83B9-B292107F8E92}"/>
                </a:ext>
              </a:extLst>
            </p:cNvPr>
            <p:cNvSpPr txBox="1"/>
            <p:nvPr/>
          </p:nvSpPr>
          <p:spPr>
            <a:xfrm>
              <a:off x="803640" y="3663318"/>
              <a:ext cx="2059657" cy="1200329"/>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23" name="TextBox 22">
              <a:extLst>
                <a:ext uri="{FF2B5EF4-FFF2-40B4-BE49-F238E27FC236}">
                  <a16:creationId xmlns:a16="http://schemas.microsoft.com/office/drawing/2014/main" id="{03F8FF6A-AF40-1C4A-BD96-AED84A63A082}"/>
                </a:ext>
              </a:extLst>
            </p:cNvPr>
            <p:cNvSpPr txBox="1"/>
            <p:nvPr/>
          </p:nvSpPr>
          <p:spPr>
            <a:xfrm>
              <a:off x="803640" y="3362835"/>
              <a:ext cx="2059657" cy="276999"/>
            </a:xfrm>
            <a:prstGeom prst="rect">
              <a:avLst/>
            </a:prstGeom>
            <a:solidFill>
              <a:schemeClr val="tx1">
                <a:lumMod val="75000"/>
                <a:lumOff val="25000"/>
              </a:schemeClr>
            </a:solidFill>
          </p:spPr>
          <p:txBody>
            <a:bodyPr wrap="square" rtlCol="0">
              <a:spAutoFit/>
            </a:bodyPr>
            <a:lstStyle/>
            <a:p>
              <a:pPr algn="r"/>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spTree>
    <p:extLst>
      <p:ext uri="{BB962C8B-B14F-4D97-AF65-F5344CB8AC3E}">
        <p14:creationId xmlns:p14="http://schemas.microsoft.com/office/powerpoint/2010/main" val="33586787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D0CC420E-E78F-424D-9A88-251C719AF8D4}"/>
              </a:ext>
            </a:extLst>
          </p:cNvPr>
          <p:cNvGraphicFramePr>
            <a:graphicFrameLocks noChangeAspect="1"/>
          </p:cNvGraphicFramePr>
          <p:nvPr>
            <p:custDataLst>
              <p:tags r:id="rId1"/>
            </p:custDataLst>
            <p:extLst>
              <p:ext uri="{D42A27DB-BD31-4B8C-83A1-F6EECF244321}">
                <p14:modId xmlns:p14="http://schemas.microsoft.com/office/powerpoint/2010/main" val="2961030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20" name="Object 19" hidden="1">
                        <a:extLst>
                          <a:ext uri="{FF2B5EF4-FFF2-40B4-BE49-F238E27FC236}">
                            <a16:creationId xmlns:a16="http://schemas.microsoft.com/office/drawing/2014/main" id="{D0CC420E-E78F-424D-9A88-251C719AF8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A1683EF-CB81-0E48-BCC7-E82BA56B6780}"/>
              </a:ext>
            </a:extLst>
          </p:cNvPr>
          <p:cNvSpPr>
            <a:spLocks noGrp="1"/>
          </p:cNvSpPr>
          <p:nvPr>
            <p:ph type="sldNum" sz="quarter" idx="4"/>
          </p:nvPr>
        </p:nvSpPr>
        <p:spPr/>
        <p:txBody>
          <a:bodyPr/>
          <a:lstStyle/>
          <a:p>
            <a:fld id="{3D966009-6E5A-4F8C-8CA7-E37AFBF5FB92}" type="slidenum">
              <a:rPr lang="en-US" smtClean="0"/>
              <a:t>158</a:t>
            </a:fld>
            <a:endParaRPr lang="en-US"/>
          </a:p>
        </p:txBody>
      </p:sp>
      <p:sp>
        <p:nvSpPr>
          <p:cNvPr id="3" name="Title 2">
            <a:extLst>
              <a:ext uri="{FF2B5EF4-FFF2-40B4-BE49-F238E27FC236}">
                <a16:creationId xmlns:a16="http://schemas.microsoft.com/office/drawing/2014/main" id="{A54C8B9A-9BC5-C945-A32D-581B66F64ABE}"/>
              </a:ext>
            </a:extLst>
          </p:cNvPr>
          <p:cNvSpPr>
            <a:spLocks noGrp="1"/>
          </p:cNvSpPr>
          <p:nvPr>
            <p:ph type="title"/>
          </p:nvPr>
        </p:nvSpPr>
        <p:spPr/>
        <p:txBody>
          <a:bodyPr/>
          <a:lstStyle/>
          <a:p>
            <a:r>
              <a:rPr lang="en-GB"/>
              <a:t>Charts</a:t>
            </a:r>
          </a:p>
        </p:txBody>
      </p:sp>
      <p:sp>
        <p:nvSpPr>
          <p:cNvPr id="4" name="Content Placeholder 3">
            <a:extLst>
              <a:ext uri="{FF2B5EF4-FFF2-40B4-BE49-F238E27FC236}">
                <a16:creationId xmlns:a16="http://schemas.microsoft.com/office/drawing/2014/main" id="{A7E7E4B7-14EC-754D-AF3D-EB032DCD617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B0660E28-7BE7-D34B-BE1C-D55716DEF938}"/>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0C5DB9D4-2F10-914A-B50F-C1ABEEAC965D}"/>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3D9DEF2D-E83A-344C-999A-60C26F95288B}"/>
              </a:ext>
            </a:extLst>
          </p:cNvPr>
          <p:cNvSpPr>
            <a:spLocks noGrp="1"/>
          </p:cNvSpPr>
          <p:nvPr>
            <p:ph sz="quarter" idx="14"/>
          </p:nvPr>
        </p:nvSpPr>
        <p:spPr/>
        <p:txBody>
          <a:bodyPr/>
          <a:lstStyle/>
          <a:p>
            <a:endParaRPr lang="en-GB"/>
          </a:p>
        </p:txBody>
      </p:sp>
      <p:graphicFrame>
        <p:nvGraphicFramePr>
          <p:cNvPr id="9" name="차트 19">
            <a:extLst>
              <a:ext uri="{FF2B5EF4-FFF2-40B4-BE49-F238E27FC236}">
                <a16:creationId xmlns:a16="http://schemas.microsoft.com/office/drawing/2014/main" id="{78D84B15-F7B3-AC41-8D98-F6920BBC7C7D}"/>
              </a:ext>
            </a:extLst>
          </p:cNvPr>
          <p:cNvGraphicFramePr/>
          <p:nvPr>
            <p:extLst>
              <p:ext uri="{D42A27DB-BD31-4B8C-83A1-F6EECF244321}">
                <p14:modId xmlns:p14="http://schemas.microsoft.com/office/powerpoint/2010/main" val="1458633989"/>
              </p:ext>
            </p:extLst>
          </p:nvPr>
        </p:nvGraphicFramePr>
        <p:xfrm>
          <a:off x="945028" y="1752346"/>
          <a:ext cx="4341920" cy="4275920"/>
        </p:xfrm>
        <a:graphic>
          <a:graphicData uri="http://schemas.openxmlformats.org/drawingml/2006/chart">
            <c:chart xmlns:c="http://schemas.openxmlformats.org/drawingml/2006/chart" xmlns:r="http://schemas.openxmlformats.org/officeDocument/2006/relationships" r:id="rId5"/>
          </a:graphicData>
        </a:graphic>
      </p:graphicFrame>
      <p:sp>
        <p:nvSpPr>
          <p:cNvPr id="10" name="Title 1">
            <a:extLst>
              <a:ext uri="{FF2B5EF4-FFF2-40B4-BE49-F238E27FC236}">
                <a16:creationId xmlns:a16="http://schemas.microsoft.com/office/drawing/2014/main" id="{B10474CF-5D77-2A4E-9B79-94C1E2A5A590}"/>
              </a:ext>
            </a:extLst>
          </p:cNvPr>
          <p:cNvSpPr txBox="1">
            <a:spLocks/>
          </p:cNvSpPr>
          <p:nvPr/>
        </p:nvSpPr>
        <p:spPr bwMode="gray">
          <a:xfrm>
            <a:off x="480120" y="2316483"/>
            <a:ext cx="2267744" cy="1573823"/>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2800" b="1" kern="1200">
                <a:solidFill>
                  <a:srgbClr val="004149"/>
                </a:solidFill>
                <a:latin typeface="+mj-lt"/>
                <a:ea typeface="+mj-ea"/>
                <a:cs typeface="+mj-cs"/>
              </a:defRPr>
            </a:lvl1pPr>
          </a:lstStyle>
          <a:p>
            <a:pPr algn="r"/>
            <a:r>
              <a:rPr lang="en-US" altLang="ko-KR">
                <a:solidFill>
                  <a:schemeClr val="accent5"/>
                </a:solidFill>
              </a:rPr>
              <a:t>Chart </a:t>
            </a:r>
            <a:br>
              <a:rPr lang="en-US" altLang="ko-KR">
                <a:solidFill>
                  <a:schemeClr val="accent5"/>
                </a:solidFill>
              </a:rPr>
            </a:br>
            <a:r>
              <a:rPr lang="en-US" altLang="ko-KR"/>
              <a:t>Layout</a:t>
            </a:r>
            <a:endParaRPr lang="ko-KR" altLang="en-US"/>
          </a:p>
        </p:txBody>
      </p:sp>
      <p:grpSp>
        <p:nvGrpSpPr>
          <p:cNvPr id="11" name="Group 10">
            <a:extLst>
              <a:ext uri="{FF2B5EF4-FFF2-40B4-BE49-F238E27FC236}">
                <a16:creationId xmlns:a16="http://schemas.microsoft.com/office/drawing/2014/main" id="{CE9322C4-67CB-484C-B673-3511A381BDFC}"/>
              </a:ext>
            </a:extLst>
          </p:cNvPr>
          <p:cNvGrpSpPr/>
          <p:nvPr/>
        </p:nvGrpSpPr>
        <p:grpSpPr>
          <a:xfrm>
            <a:off x="3212772" y="2069965"/>
            <a:ext cx="1236458" cy="864603"/>
            <a:chOff x="4320399" y="1245513"/>
            <a:chExt cx="1884146" cy="864603"/>
          </a:xfrm>
        </p:grpSpPr>
        <p:sp>
          <p:nvSpPr>
            <p:cNvPr id="12" name="TextBox 11">
              <a:extLst>
                <a:ext uri="{FF2B5EF4-FFF2-40B4-BE49-F238E27FC236}">
                  <a16:creationId xmlns:a16="http://schemas.microsoft.com/office/drawing/2014/main" id="{B669ED65-765A-5C4B-9480-8F5BA93612AE}"/>
                </a:ext>
              </a:extLst>
            </p:cNvPr>
            <p:cNvSpPr txBox="1"/>
            <p:nvPr/>
          </p:nvSpPr>
          <p:spPr>
            <a:xfrm>
              <a:off x="4320399" y="1463785"/>
              <a:ext cx="1884146" cy="646331"/>
            </a:xfrm>
            <a:prstGeom prst="rect">
              <a:avLst/>
            </a:prstGeom>
            <a:noFill/>
          </p:spPr>
          <p:txBody>
            <a:bodyPr wrap="square" rtlCol="0">
              <a:spAutoFit/>
            </a:bodyPr>
            <a:lstStyle/>
            <a:p>
              <a:r>
                <a:rPr lang="en-US" altLang="ko-KR" sz="1200">
                  <a:solidFill>
                    <a:schemeClr val="bg1"/>
                  </a:solidFill>
                  <a:cs typeface="Arial" pitchFamily="34" charset="0"/>
                </a:rPr>
                <a:t>Easy to change colors, photos and Text.     </a:t>
              </a:r>
            </a:p>
          </p:txBody>
        </p:sp>
        <p:sp>
          <p:nvSpPr>
            <p:cNvPr id="13" name="TextBox 12">
              <a:extLst>
                <a:ext uri="{FF2B5EF4-FFF2-40B4-BE49-F238E27FC236}">
                  <a16:creationId xmlns:a16="http://schemas.microsoft.com/office/drawing/2014/main" id="{ED25C773-C826-A347-A86A-00AC186194D5}"/>
                </a:ext>
              </a:extLst>
            </p:cNvPr>
            <p:cNvSpPr txBox="1"/>
            <p:nvPr/>
          </p:nvSpPr>
          <p:spPr>
            <a:xfrm>
              <a:off x="4320399" y="1245513"/>
              <a:ext cx="1884146" cy="276999"/>
            </a:xfrm>
            <a:prstGeom prst="rect">
              <a:avLst/>
            </a:prstGeom>
            <a:noFill/>
          </p:spPr>
          <p:txBody>
            <a:bodyPr wrap="square" rtlCol="0">
              <a:spAutoFit/>
            </a:bodyPr>
            <a:lstStyle/>
            <a:p>
              <a:r>
                <a:rPr lang="en-US" altLang="ko-KR" sz="1200" b="1">
                  <a:solidFill>
                    <a:schemeClr val="bg1"/>
                  </a:solidFill>
                  <a:cs typeface="Arial" pitchFamily="34" charset="0"/>
                </a:rPr>
                <a:t>Text</a:t>
              </a:r>
              <a:endParaRPr lang="ko-KR" altLang="en-US" sz="1200" b="1">
                <a:solidFill>
                  <a:schemeClr val="bg1"/>
                </a:solidFill>
                <a:cs typeface="Arial" pitchFamily="34" charset="0"/>
              </a:endParaRPr>
            </a:p>
          </p:txBody>
        </p:sp>
      </p:grpSp>
      <p:grpSp>
        <p:nvGrpSpPr>
          <p:cNvPr id="14" name="Group 13">
            <a:extLst>
              <a:ext uri="{FF2B5EF4-FFF2-40B4-BE49-F238E27FC236}">
                <a16:creationId xmlns:a16="http://schemas.microsoft.com/office/drawing/2014/main" id="{90313D2C-DAA0-A343-8AB4-0F2019012848}"/>
              </a:ext>
            </a:extLst>
          </p:cNvPr>
          <p:cNvGrpSpPr/>
          <p:nvPr/>
        </p:nvGrpSpPr>
        <p:grpSpPr>
          <a:xfrm>
            <a:off x="3685743" y="3966004"/>
            <a:ext cx="1076849" cy="1233935"/>
            <a:chOff x="4320399" y="1245513"/>
            <a:chExt cx="1884146" cy="1233935"/>
          </a:xfrm>
        </p:grpSpPr>
        <p:sp>
          <p:nvSpPr>
            <p:cNvPr id="15" name="TextBox 14">
              <a:extLst>
                <a:ext uri="{FF2B5EF4-FFF2-40B4-BE49-F238E27FC236}">
                  <a16:creationId xmlns:a16="http://schemas.microsoft.com/office/drawing/2014/main" id="{9B5FE4D2-5DE5-AB4A-940B-D6F9878E2BF1}"/>
                </a:ext>
              </a:extLst>
            </p:cNvPr>
            <p:cNvSpPr txBox="1"/>
            <p:nvPr/>
          </p:nvSpPr>
          <p:spPr>
            <a:xfrm>
              <a:off x="4320399" y="1463785"/>
              <a:ext cx="1884146" cy="1015663"/>
            </a:xfrm>
            <a:prstGeom prst="rect">
              <a:avLst/>
            </a:prstGeom>
            <a:noFill/>
          </p:spPr>
          <p:txBody>
            <a:bodyPr wrap="square" rtlCol="0">
              <a:spAutoFit/>
            </a:bodyPr>
            <a:lstStyle/>
            <a:p>
              <a:pPr algn="r"/>
              <a:r>
                <a:rPr lang="en-US" altLang="ko-KR" sz="1200">
                  <a:solidFill>
                    <a:schemeClr val="bg1"/>
                  </a:solidFill>
                  <a:cs typeface="Arial" pitchFamily="34" charset="0"/>
                </a:rPr>
                <a:t>Easy to change colors, photos and Text.     </a:t>
              </a:r>
            </a:p>
          </p:txBody>
        </p:sp>
        <p:sp>
          <p:nvSpPr>
            <p:cNvPr id="16" name="TextBox 15">
              <a:extLst>
                <a:ext uri="{FF2B5EF4-FFF2-40B4-BE49-F238E27FC236}">
                  <a16:creationId xmlns:a16="http://schemas.microsoft.com/office/drawing/2014/main" id="{9596E2A3-71C2-6A43-9211-1FA6AC8339A3}"/>
                </a:ext>
              </a:extLst>
            </p:cNvPr>
            <p:cNvSpPr txBox="1"/>
            <p:nvPr/>
          </p:nvSpPr>
          <p:spPr>
            <a:xfrm>
              <a:off x="4320399" y="1245513"/>
              <a:ext cx="1884146" cy="276999"/>
            </a:xfrm>
            <a:prstGeom prst="rect">
              <a:avLst/>
            </a:prstGeom>
            <a:noFill/>
          </p:spPr>
          <p:txBody>
            <a:bodyPr wrap="square" rtlCol="0">
              <a:spAutoFit/>
            </a:bodyPr>
            <a:lstStyle/>
            <a:p>
              <a:pPr algn="r"/>
              <a:r>
                <a:rPr lang="en-US" altLang="ko-KR" sz="1200" b="1">
                  <a:solidFill>
                    <a:schemeClr val="bg1"/>
                  </a:solidFill>
                  <a:cs typeface="Arial" pitchFamily="34" charset="0"/>
                </a:rPr>
                <a:t>Text</a:t>
              </a:r>
              <a:endParaRPr lang="ko-KR" altLang="en-US" sz="1200" b="1">
                <a:solidFill>
                  <a:schemeClr val="bg1"/>
                </a:solidFill>
                <a:cs typeface="Arial" pitchFamily="34" charset="0"/>
              </a:endParaRPr>
            </a:p>
          </p:txBody>
        </p:sp>
      </p:grpSp>
      <p:grpSp>
        <p:nvGrpSpPr>
          <p:cNvPr id="17" name="Group 16">
            <a:extLst>
              <a:ext uri="{FF2B5EF4-FFF2-40B4-BE49-F238E27FC236}">
                <a16:creationId xmlns:a16="http://schemas.microsoft.com/office/drawing/2014/main" id="{FE0246E5-C1CF-7443-8C77-2F58B21701AF}"/>
              </a:ext>
            </a:extLst>
          </p:cNvPr>
          <p:cNvGrpSpPr/>
          <p:nvPr/>
        </p:nvGrpSpPr>
        <p:grpSpPr>
          <a:xfrm>
            <a:off x="1894169" y="4846045"/>
            <a:ext cx="1236458" cy="864603"/>
            <a:chOff x="4320399" y="1245513"/>
            <a:chExt cx="1884146" cy="864603"/>
          </a:xfrm>
        </p:grpSpPr>
        <p:sp>
          <p:nvSpPr>
            <p:cNvPr id="18" name="TextBox 17">
              <a:extLst>
                <a:ext uri="{FF2B5EF4-FFF2-40B4-BE49-F238E27FC236}">
                  <a16:creationId xmlns:a16="http://schemas.microsoft.com/office/drawing/2014/main" id="{728329D6-66A8-FD42-987D-BB773F84BEA9}"/>
                </a:ext>
              </a:extLst>
            </p:cNvPr>
            <p:cNvSpPr txBox="1"/>
            <p:nvPr/>
          </p:nvSpPr>
          <p:spPr>
            <a:xfrm>
              <a:off x="4320399" y="1463785"/>
              <a:ext cx="1884146" cy="646331"/>
            </a:xfrm>
            <a:prstGeom prst="rect">
              <a:avLst/>
            </a:prstGeom>
            <a:noFill/>
          </p:spPr>
          <p:txBody>
            <a:bodyPr wrap="square" rtlCol="0">
              <a:spAutoFit/>
            </a:bodyPr>
            <a:lstStyle/>
            <a:p>
              <a:pPr algn="r"/>
              <a:r>
                <a:rPr lang="en-US" altLang="ko-KR" sz="1200">
                  <a:solidFill>
                    <a:schemeClr val="bg1"/>
                  </a:solidFill>
                  <a:cs typeface="Arial" pitchFamily="34" charset="0"/>
                </a:rPr>
                <a:t>Easy to change colors, photos and Text.     </a:t>
              </a:r>
            </a:p>
          </p:txBody>
        </p:sp>
        <p:sp>
          <p:nvSpPr>
            <p:cNvPr id="19" name="TextBox 18">
              <a:extLst>
                <a:ext uri="{FF2B5EF4-FFF2-40B4-BE49-F238E27FC236}">
                  <a16:creationId xmlns:a16="http://schemas.microsoft.com/office/drawing/2014/main" id="{4E632B89-19D7-BF40-BECC-A1B1B3BBE606}"/>
                </a:ext>
              </a:extLst>
            </p:cNvPr>
            <p:cNvSpPr txBox="1"/>
            <p:nvPr/>
          </p:nvSpPr>
          <p:spPr>
            <a:xfrm>
              <a:off x="4320399" y="1245513"/>
              <a:ext cx="1884146" cy="276999"/>
            </a:xfrm>
            <a:prstGeom prst="rect">
              <a:avLst/>
            </a:prstGeom>
            <a:noFill/>
          </p:spPr>
          <p:txBody>
            <a:bodyPr wrap="square" rtlCol="0">
              <a:spAutoFit/>
            </a:bodyPr>
            <a:lstStyle/>
            <a:p>
              <a:pPr algn="r"/>
              <a:r>
                <a:rPr lang="en-US" altLang="ko-KR" sz="1200" b="1">
                  <a:solidFill>
                    <a:schemeClr val="bg1"/>
                  </a:solidFill>
                  <a:cs typeface="Arial" pitchFamily="34" charset="0"/>
                </a:rPr>
                <a:t>Text</a:t>
              </a:r>
              <a:endParaRPr lang="ko-KR" altLang="en-US" sz="1200" b="1">
                <a:solidFill>
                  <a:schemeClr val="bg1"/>
                </a:solidFill>
                <a:cs typeface="Arial" pitchFamily="34" charset="0"/>
              </a:endParaRPr>
            </a:p>
          </p:txBody>
        </p:sp>
      </p:grpSp>
      <p:grpSp>
        <p:nvGrpSpPr>
          <p:cNvPr id="42" name="Group 41">
            <a:extLst>
              <a:ext uri="{FF2B5EF4-FFF2-40B4-BE49-F238E27FC236}">
                <a16:creationId xmlns:a16="http://schemas.microsoft.com/office/drawing/2014/main" id="{B428B85A-DDD2-4D45-AC2C-DF2229DA687B}"/>
              </a:ext>
            </a:extLst>
          </p:cNvPr>
          <p:cNvGrpSpPr>
            <a:grpSpLocks noChangeAspect="1"/>
          </p:cNvGrpSpPr>
          <p:nvPr/>
        </p:nvGrpSpPr>
        <p:grpSpPr>
          <a:xfrm>
            <a:off x="5572637" y="1861783"/>
            <a:ext cx="5967991" cy="1117217"/>
            <a:chOff x="4833359" y="1795618"/>
            <a:chExt cx="7446548" cy="1394005"/>
          </a:xfrm>
        </p:grpSpPr>
        <p:graphicFrame>
          <p:nvGraphicFramePr>
            <p:cNvPr id="30" name="Chart 29">
              <a:extLst>
                <a:ext uri="{FF2B5EF4-FFF2-40B4-BE49-F238E27FC236}">
                  <a16:creationId xmlns:a16="http://schemas.microsoft.com/office/drawing/2014/main" id="{540BD504-B70C-F34A-9310-341C0944D636}"/>
                </a:ext>
              </a:extLst>
            </p:cNvPr>
            <p:cNvGraphicFramePr/>
            <p:nvPr>
              <p:extLst>
                <p:ext uri="{D42A27DB-BD31-4B8C-83A1-F6EECF244321}">
                  <p14:modId xmlns:p14="http://schemas.microsoft.com/office/powerpoint/2010/main" val="2898700253"/>
                </p:ext>
              </p:extLst>
            </p:nvPr>
          </p:nvGraphicFramePr>
          <p:xfrm>
            <a:off x="4833359" y="1795618"/>
            <a:ext cx="1542927" cy="13940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
              <a:extLst>
                <a:ext uri="{FF2B5EF4-FFF2-40B4-BE49-F238E27FC236}">
                  <a16:creationId xmlns:a16="http://schemas.microsoft.com/office/drawing/2014/main" id="{70861362-3237-AE45-9CF5-97ADF795774D}"/>
                </a:ext>
              </a:extLst>
            </p:cNvPr>
            <p:cNvGraphicFramePr/>
            <p:nvPr>
              <p:extLst>
                <p:ext uri="{D42A27DB-BD31-4B8C-83A1-F6EECF244321}">
                  <p14:modId xmlns:p14="http://schemas.microsoft.com/office/powerpoint/2010/main" val="2857794069"/>
                </p:ext>
              </p:extLst>
            </p:nvPr>
          </p:nvGraphicFramePr>
          <p:xfrm>
            <a:off x="6801233" y="1795618"/>
            <a:ext cx="1542927" cy="139400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
              <a:extLst>
                <a:ext uri="{FF2B5EF4-FFF2-40B4-BE49-F238E27FC236}">
                  <a16:creationId xmlns:a16="http://schemas.microsoft.com/office/drawing/2014/main" id="{7AA01631-B7A1-9C4E-83B4-78276FEC865E}"/>
                </a:ext>
              </a:extLst>
            </p:cNvPr>
            <p:cNvGraphicFramePr/>
            <p:nvPr>
              <p:extLst>
                <p:ext uri="{D42A27DB-BD31-4B8C-83A1-F6EECF244321}">
                  <p14:modId xmlns:p14="http://schemas.microsoft.com/office/powerpoint/2010/main" val="440197664"/>
                </p:ext>
              </p:extLst>
            </p:nvPr>
          </p:nvGraphicFramePr>
          <p:xfrm>
            <a:off x="8769107" y="1795618"/>
            <a:ext cx="1542927" cy="139400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 name="Chart 3">
              <a:extLst>
                <a:ext uri="{FF2B5EF4-FFF2-40B4-BE49-F238E27FC236}">
                  <a16:creationId xmlns:a16="http://schemas.microsoft.com/office/drawing/2014/main" id="{B4B514C7-247D-EF46-A914-D5744F1DDB97}"/>
                </a:ext>
              </a:extLst>
            </p:cNvPr>
            <p:cNvGraphicFramePr/>
            <p:nvPr>
              <p:extLst>
                <p:ext uri="{D42A27DB-BD31-4B8C-83A1-F6EECF244321}">
                  <p14:modId xmlns:p14="http://schemas.microsoft.com/office/powerpoint/2010/main" val="3425803612"/>
                </p:ext>
              </p:extLst>
            </p:nvPr>
          </p:nvGraphicFramePr>
          <p:xfrm>
            <a:off x="10736980" y="1795618"/>
            <a:ext cx="1542927" cy="1394005"/>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Box 33">
              <a:extLst>
                <a:ext uri="{FF2B5EF4-FFF2-40B4-BE49-F238E27FC236}">
                  <a16:creationId xmlns:a16="http://schemas.microsoft.com/office/drawing/2014/main" id="{DABE0180-693E-5641-AC52-DBFEBD8B3056}"/>
                </a:ext>
              </a:extLst>
            </p:cNvPr>
            <p:cNvSpPr txBox="1"/>
            <p:nvPr/>
          </p:nvSpPr>
          <p:spPr>
            <a:xfrm>
              <a:off x="5003160" y="2235790"/>
              <a:ext cx="1227157" cy="461665"/>
            </a:xfrm>
            <a:prstGeom prst="rect">
              <a:avLst/>
            </a:prstGeom>
            <a:noFill/>
          </p:spPr>
          <p:txBody>
            <a:bodyPr wrap="square" rtlCol="0" anchor="ctr">
              <a:spAutoFit/>
            </a:bodyPr>
            <a:lstStyle/>
            <a:p>
              <a:pPr algn="ctr"/>
              <a:r>
                <a:rPr lang="en-US" altLang="ko-KR" sz="2400" b="1">
                  <a:solidFill>
                    <a:schemeClr val="tx1">
                      <a:lumMod val="75000"/>
                      <a:lumOff val="25000"/>
                    </a:schemeClr>
                  </a:solidFill>
                  <a:cs typeface="Arial" pitchFamily="34" charset="0"/>
                </a:rPr>
                <a:t>55%</a:t>
              </a:r>
              <a:endParaRPr lang="ko-KR" altLang="en-US" sz="2400" b="1">
                <a:solidFill>
                  <a:schemeClr val="tx1">
                    <a:lumMod val="75000"/>
                    <a:lumOff val="25000"/>
                  </a:schemeClr>
                </a:solidFill>
                <a:cs typeface="Arial" pitchFamily="34" charset="0"/>
              </a:endParaRPr>
            </a:p>
          </p:txBody>
        </p:sp>
        <p:sp>
          <p:nvSpPr>
            <p:cNvPr id="35" name="TextBox 34">
              <a:extLst>
                <a:ext uri="{FF2B5EF4-FFF2-40B4-BE49-F238E27FC236}">
                  <a16:creationId xmlns:a16="http://schemas.microsoft.com/office/drawing/2014/main" id="{A2062F5F-494E-2648-A340-BE6101FCD539}"/>
                </a:ext>
              </a:extLst>
            </p:cNvPr>
            <p:cNvSpPr txBox="1"/>
            <p:nvPr/>
          </p:nvSpPr>
          <p:spPr>
            <a:xfrm>
              <a:off x="6967062" y="2235790"/>
              <a:ext cx="1227157" cy="461665"/>
            </a:xfrm>
            <a:prstGeom prst="rect">
              <a:avLst/>
            </a:prstGeom>
            <a:noFill/>
          </p:spPr>
          <p:txBody>
            <a:bodyPr wrap="square" rtlCol="0" anchor="ctr">
              <a:spAutoFit/>
            </a:bodyPr>
            <a:lstStyle/>
            <a:p>
              <a:pPr algn="ctr"/>
              <a:r>
                <a:rPr lang="en-US" altLang="ko-KR" sz="2400" b="1">
                  <a:solidFill>
                    <a:schemeClr val="tx1">
                      <a:lumMod val="75000"/>
                      <a:lumOff val="25000"/>
                    </a:schemeClr>
                  </a:solidFill>
                  <a:cs typeface="Arial" pitchFamily="34" charset="0"/>
                </a:rPr>
                <a:t>60%</a:t>
              </a:r>
              <a:endParaRPr lang="ko-KR" altLang="en-US" sz="2400" b="1">
                <a:solidFill>
                  <a:schemeClr val="tx1">
                    <a:lumMod val="75000"/>
                    <a:lumOff val="25000"/>
                  </a:schemeClr>
                </a:solidFill>
                <a:cs typeface="Arial" pitchFamily="34" charset="0"/>
              </a:endParaRPr>
            </a:p>
          </p:txBody>
        </p:sp>
        <p:sp>
          <p:nvSpPr>
            <p:cNvPr id="36" name="TextBox 35">
              <a:extLst>
                <a:ext uri="{FF2B5EF4-FFF2-40B4-BE49-F238E27FC236}">
                  <a16:creationId xmlns:a16="http://schemas.microsoft.com/office/drawing/2014/main" id="{8B1322CA-5D15-2049-9708-F160EC2B9EF1}"/>
                </a:ext>
              </a:extLst>
            </p:cNvPr>
            <p:cNvSpPr txBox="1"/>
            <p:nvPr/>
          </p:nvSpPr>
          <p:spPr>
            <a:xfrm>
              <a:off x="8930964" y="2235790"/>
              <a:ext cx="1227157" cy="461665"/>
            </a:xfrm>
            <a:prstGeom prst="rect">
              <a:avLst/>
            </a:prstGeom>
            <a:noFill/>
          </p:spPr>
          <p:txBody>
            <a:bodyPr wrap="square" rtlCol="0" anchor="ctr">
              <a:spAutoFit/>
            </a:bodyPr>
            <a:lstStyle/>
            <a:p>
              <a:pPr algn="ctr"/>
              <a:r>
                <a:rPr lang="en-US" altLang="ko-KR" sz="2400" b="1">
                  <a:solidFill>
                    <a:schemeClr val="tx1">
                      <a:lumMod val="75000"/>
                      <a:lumOff val="25000"/>
                    </a:schemeClr>
                  </a:solidFill>
                  <a:cs typeface="Arial" pitchFamily="34" charset="0"/>
                </a:rPr>
                <a:t>35%</a:t>
              </a:r>
              <a:endParaRPr lang="ko-KR" altLang="en-US" sz="2400" b="1">
                <a:solidFill>
                  <a:schemeClr val="tx1">
                    <a:lumMod val="75000"/>
                    <a:lumOff val="25000"/>
                  </a:schemeClr>
                </a:solidFill>
                <a:cs typeface="Arial" pitchFamily="34" charset="0"/>
              </a:endParaRPr>
            </a:p>
          </p:txBody>
        </p:sp>
        <p:sp>
          <p:nvSpPr>
            <p:cNvPr id="37" name="TextBox 36">
              <a:extLst>
                <a:ext uri="{FF2B5EF4-FFF2-40B4-BE49-F238E27FC236}">
                  <a16:creationId xmlns:a16="http://schemas.microsoft.com/office/drawing/2014/main" id="{35226F01-C983-3043-A05E-894ED5415FED}"/>
                </a:ext>
              </a:extLst>
            </p:cNvPr>
            <p:cNvSpPr txBox="1"/>
            <p:nvPr/>
          </p:nvSpPr>
          <p:spPr>
            <a:xfrm>
              <a:off x="10894865" y="2235790"/>
              <a:ext cx="1227157" cy="461665"/>
            </a:xfrm>
            <a:prstGeom prst="rect">
              <a:avLst/>
            </a:prstGeom>
            <a:noFill/>
          </p:spPr>
          <p:txBody>
            <a:bodyPr wrap="square" rtlCol="0" anchor="ctr">
              <a:spAutoFit/>
            </a:bodyPr>
            <a:lstStyle/>
            <a:p>
              <a:pPr algn="ctr"/>
              <a:r>
                <a:rPr lang="en-US" altLang="ko-KR" sz="2400" b="1">
                  <a:solidFill>
                    <a:schemeClr val="tx1">
                      <a:lumMod val="75000"/>
                      <a:lumOff val="25000"/>
                    </a:schemeClr>
                  </a:solidFill>
                  <a:cs typeface="Arial" pitchFamily="34" charset="0"/>
                </a:rPr>
                <a:t>70%</a:t>
              </a:r>
              <a:endParaRPr lang="ko-KR" altLang="en-US" sz="2400" b="1">
                <a:solidFill>
                  <a:schemeClr val="tx1">
                    <a:lumMod val="75000"/>
                    <a:lumOff val="25000"/>
                  </a:schemeClr>
                </a:solidFill>
                <a:cs typeface="Arial" pitchFamily="34" charset="0"/>
              </a:endParaRPr>
            </a:p>
          </p:txBody>
        </p:sp>
        <p:sp>
          <p:nvSpPr>
            <p:cNvPr id="38" name="Donut 37">
              <a:extLst>
                <a:ext uri="{FF2B5EF4-FFF2-40B4-BE49-F238E27FC236}">
                  <a16:creationId xmlns:a16="http://schemas.microsoft.com/office/drawing/2014/main" id="{7C0176E1-4EB3-3C4E-82B2-ACA3E5BE2942}"/>
                </a:ext>
              </a:extLst>
            </p:cNvPr>
            <p:cNvSpPr/>
            <p:nvPr/>
          </p:nvSpPr>
          <p:spPr>
            <a:xfrm>
              <a:off x="4918615" y="2656592"/>
              <a:ext cx="288032" cy="288032"/>
            </a:xfrm>
            <a:prstGeom prst="don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9" name="Donut 38">
              <a:extLst>
                <a:ext uri="{FF2B5EF4-FFF2-40B4-BE49-F238E27FC236}">
                  <a16:creationId xmlns:a16="http://schemas.microsoft.com/office/drawing/2014/main" id="{EACA3802-2807-3C4A-865C-93BD6ED4654A}"/>
                </a:ext>
              </a:extLst>
            </p:cNvPr>
            <p:cNvSpPr/>
            <p:nvPr/>
          </p:nvSpPr>
          <p:spPr>
            <a:xfrm>
              <a:off x="6954080" y="2791982"/>
              <a:ext cx="288032" cy="288032"/>
            </a:xfrm>
            <a:prstGeom prst="don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0" name="Donut 39">
              <a:extLst>
                <a:ext uri="{FF2B5EF4-FFF2-40B4-BE49-F238E27FC236}">
                  <a16:creationId xmlns:a16="http://schemas.microsoft.com/office/drawing/2014/main" id="{56A90356-8E56-1749-BCFB-D090F3CD04C2}"/>
                </a:ext>
              </a:extLst>
            </p:cNvPr>
            <p:cNvSpPr/>
            <p:nvPr/>
          </p:nvSpPr>
          <p:spPr>
            <a:xfrm>
              <a:off x="9852837" y="2781802"/>
              <a:ext cx="288032" cy="288032"/>
            </a:xfrm>
            <a:prstGeom prst="donu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1" name="Donut 40">
              <a:extLst>
                <a:ext uri="{FF2B5EF4-FFF2-40B4-BE49-F238E27FC236}">
                  <a16:creationId xmlns:a16="http://schemas.microsoft.com/office/drawing/2014/main" id="{41C2EC0F-EC03-E14B-9AA4-534A244B9377}"/>
                </a:ext>
              </a:extLst>
            </p:cNvPr>
            <p:cNvSpPr/>
            <p:nvPr/>
          </p:nvSpPr>
          <p:spPr>
            <a:xfrm>
              <a:off x="10728770" y="2440096"/>
              <a:ext cx="288032" cy="288032"/>
            </a:xfrm>
            <a:prstGeom prst="don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sp>
        <p:nvSpPr>
          <p:cNvPr id="43" name="TextBox 42">
            <a:extLst>
              <a:ext uri="{FF2B5EF4-FFF2-40B4-BE49-F238E27FC236}">
                <a16:creationId xmlns:a16="http://schemas.microsoft.com/office/drawing/2014/main" id="{A80ED544-840B-0646-81DD-99DEBD11EAC6}"/>
              </a:ext>
            </a:extLst>
          </p:cNvPr>
          <p:cNvSpPr txBox="1"/>
          <p:nvPr/>
        </p:nvSpPr>
        <p:spPr>
          <a:xfrm>
            <a:off x="7180409" y="3929995"/>
            <a:ext cx="936104" cy="461665"/>
          </a:xfrm>
          <a:prstGeom prst="rect">
            <a:avLst/>
          </a:prstGeom>
          <a:noFill/>
        </p:spPr>
        <p:txBody>
          <a:bodyPr wrap="square" rtlCol="0" anchor="ctr">
            <a:spAutoFit/>
          </a:bodyPr>
          <a:lstStyle/>
          <a:p>
            <a:pPr algn="ctr"/>
            <a:r>
              <a:rPr lang="en-US" altLang="ko-KR" sz="2400" b="1">
                <a:solidFill>
                  <a:schemeClr val="accent4"/>
                </a:solidFill>
                <a:cs typeface="Arial" pitchFamily="34" charset="0"/>
              </a:rPr>
              <a:t>60%</a:t>
            </a:r>
            <a:endParaRPr lang="ko-KR" altLang="en-US" sz="2400" b="1">
              <a:solidFill>
                <a:schemeClr val="accent4"/>
              </a:solidFill>
              <a:cs typeface="Arial" pitchFamily="34" charset="0"/>
            </a:endParaRPr>
          </a:p>
        </p:txBody>
      </p:sp>
      <p:grpSp>
        <p:nvGrpSpPr>
          <p:cNvPr id="44" name="Group 14">
            <a:extLst>
              <a:ext uri="{FF2B5EF4-FFF2-40B4-BE49-F238E27FC236}">
                <a16:creationId xmlns:a16="http://schemas.microsoft.com/office/drawing/2014/main" id="{AC6054D4-B258-F64C-9D30-8691FD84D483}"/>
              </a:ext>
            </a:extLst>
          </p:cNvPr>
          <p:cNvGrpSpPr/>
          <p:nvPr/>
        </p:nvGrpSpPr>
        <p:grpSpPr>
          <a:xfrm>
            <a:off x="7180409" y="4447972"/>
            <a:ext cx="3265170" cy="1232690"/>
            <a:chOff x="803640" y="3362835"/>
            <a:chExt cx="2059657" cy="1232690"/>
          </a:xfrm>
        </p:grpSpPr>
        <p:sp>
          <p:nvSpPr>
            <p:cNvPr id="45" name="TextBox 44">
              <a:extLst>
                <a:ext uri="{FF2B5EF4-FFF2-40B4-BE49-F238E27FC236}">
                  <a16:creationId xmlns:a16="http://schemas.microsoft.com/office/drawing/2014/main" id="{E38FAEE1-6EA6-504F-8D55-920C44AEB5E8}"/>
                </a:ext>
              </a:extLst>
            </p:cNvPr>
            <p:cNvSpPr txBox="1"/>
            <p:nvPr/>
          </p:nvSpPr>
          <p:spPr>
            <a:xfrm>
              <a:off x="803640" y="3579862"/>
              <a:ext cx="2059657" cy="1015663"/>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46" name="TextBox 45">
              <a:extLst>
                <a:ext uri="{FF2B5EF4-FFF2-40B4-BE49-F238E27FC236}">
                  <a16:creationId xmlns:a16="http://schemas.microsoft.com/office/drawing/2014/main" id="{9CB3DFD1-D4A2-784F-BCDC-89623C277CEC}"/>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aphicFrame>
        <p:nvGraphicFramePr>
          <p:cNvPr id="47" name="Chart 5">
            <a:extLst>
              <a:ext uri="{FF2B5EF4-FFF2-40B4-BE49-F238E27FC236}">
                <a16:creationId xmlns:a16="http://schemas.microsoft.com/office/drawing/2014/main" id="{1F822CF4-7209-0547-88DB-D035B147E006}"/>
              </a:ext>
            </a:extLst>
          </p:cNvPr>
          <p:cNvGraphicFramePr/>
          <p:nvPr>
            <p:extLst>
              <p:ext uri="{D42A27DB-BD31-4B8C-83A1-F6EECF244321}">
                <p14:modId xmlns:p14="http://schemas.microsoft.com/office/powerpoint/2010/main" val="2480480891"/>
              </p:ext>
            </p:extLst>
          </p:nvPr>
        </p:nvGraphicFramePr>
        <p:xfrm>
          <a:off x="5271638" y="4074010"/>
          <a:ext cx="1660648" cy="172116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8" name="Chart 10">
            <a:extLst>
              <a:ext uri="{FF2B5EF4-FFF2-40B4-BE49-F238E27FC236}">
                <a16:creationId xmlns:a16="http://schemas.microsoft.com/office/drawing/2014/main" id="{66FC2B64-3808-0940-A8FE-ADA06BE7378C}"/>
              </a:ext>
            </a:extLst>
          </p:cNvPr>
          <p:cNvGraphicFramePr/>
          <p:nvPr>
            <p:extLst>
              <p:ext uri="{D42A27DB-BD31-4B8C-83A1-F6EECF244321}">
                <p14:modId xmlns:p14="http://schemas.microsoft.com/office/powerpoint/2010/main" val="609429369"/>
              </p:ext>
            </p:extLst>
          </p:nvPr>
        </p:nvGraphicFramePr>
        <p:xfrm>
          <a:off x="5487662" y="4275572"/>
          <a:ext cx="1243450" cy="1224136"/>
        </p:xfrm>
        <a:graphic>
          <a:graphicData uri="http://schemas.openxmlformats.org/drawingml/2006/chart">
            <c:chart xmlns:c="http://schemas.openxmlformats.org/drawingml/2006/chart" xmlns:r="http://schemas.openxmlformats.org/officeDocument/2006/relationships" r:id="rId11"/>
          </a:graphicData>
        </a:graphic>
      </p:graphicFrame>
      <p:grpSp>
        <p:nvGrpSpPr>
          <p:cNvPr id="50" name="Group 49">
            <a:extLst>
              <a:ext uri="{FF2B5EF4-FFF2-40B4-BE49-F238E27FC236}">
                <a16:creationId xmlns:a16="http://schemas.microsoft.com/office/drawing/2014/main" id="{DC91DCEF-C84F-EB43-B56D-C813505B431B}"/>
              </a:ext>
            </a:extLst>
          </p:cNvPr>
          <p:cNvGrpSpPr/>
          <p:nvPr/>
        </p:nvGrpSpPr>
        <p:grpSpPr>
          <a:xfrm>
            <a:off x="10358342" y="5361937"/>
            <a:ext cx="1446225" cy="115686"/>
            <a:chOff x="2267745" y="2787775"/>
            <a:chExt cx="1800183" cy="144000"/>
          </a:xfrm>
          <a:solidFill>
            <a:srgbClr val="004149"/>
          </a:solidFill>
        </p:grpSpPr>
        <p:sp>
          <p:nvSpPr>
            <p:cNvPr id="150" name="Oval 149">
              <a:extLst>
                <a:ext uri="{FF2B5EF4-FFF2-40B4-BE49-F238E27FC236}">
                  <a16:creationId xmlns:a16="http://schemas.microsoft.com/office/drawing/2014/main" id="{A8EF9CC9-057D-0744-AB24-48E61DA91A8A}"/>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1" name="Oval 150">
              <a:extLst>
                <a:ext uri="{FF2B5EF4-FFF2-40B4-BE49-F238E27FC236}">
                  <a16:creationId xmlns:a16="http://schemas.microsoft.com/office/drawing/2014/main" id="{8FA57518-8079-9A43-88DD-107A79112CFC}"/>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2" name="Oval 151">
              <a:extLst>
                <a:ext uri="{FF2B5EF4-FFF2-40B4-BE49-F238E27FC236}">
                  <a16:creationId xmlns:a16="http://schemas.microsoft.com/office/drawing/2014/main" id="{A8A59159-B663-024E-AEFC-DF77A8D5E41A}"/>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3" name="Oval 152">
              <a:extLst>
                <a:ext uri="{FF2B5EF4-FFF2-40B4-BE49-F238E27FC236}">
                  <a16:creationId xmlns:a16="http://schemas.microsoft.com/office/drawing/2014/main" id="{2A0C460C-C566-1847-AD23-B7C4BA4A715C}"/>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4" name="Oval 153">
              <a:extLst>
                <a:ext uri="{FF2B5EF4-FFF2-40B4-BE49-F238E27FC236}">
                  <a16:creationId xmlns:a16="http://schemas.microsoft.com/office/drawing/2014/main" id="{6ADAD6C4-D0AE-904B-BB09-927108466117}"/>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5" name="Oval 154">
              <a:extLst>
                <a:ext uri="{FF2B5EF4-FFF2-40B4-BE49-F238E27FC236}">
                  <a16:creationId xmlns:a16="http://schemas.microsoft.com/office/drawing/2014/main" id="{1FB0D360-25BD-4C4D-B709-225400ED0286}"/>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6" name="Oval 155">
              <a:extLst>
                <a:ext uri="{FF2B5EF4-FFF2-40B4-BE49-F238E27FC236}">
                  <a16:creationId xmlns:a16="http://schemas.microsoft.com/office/drawing/2014/main" id="{9FAA228C-F8D4-624A-A8F0-33A024B4D72E}"/>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7" name="Oval 156">
              <a:extLst>
                <a:ext uri="{FF2B5EF4-FFF2-40B4-BE49-F238E27FC236}">
                  <a16:creationId xmlns:a16="http://schemas.microsoft.com/office/drawing/2014/main" id="{2F3AFBDE-39CB-784A-9F9D-7980404F1E5E}"/>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8" name="Oval 157">
              <a:extLst>
                <a:ext uri="{FF2B5EF4-FFF2-40B4-BE49-F238E27FC236}">
                  <a16:creationId xmlns:a16="http://schemas.microsoft.com/office/drawing/2014/main" id="{DD363DA0-8A80-4E44-B29E-5C7D9CCBD35E}"/>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59" name="Oval 158">
              <a:extLst>
                <a:ext uri="{FF2B5EF4-FFF2-40B4-BE49-F238E27FC236}">
                  <a16:creationId xmlns:a16="http://schemas.microsoft.com/office/drawing/2014/main" id="{DFD4BA48-EF18-8645-AA0A-17DCA7518608}"/>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1" name="Group 50">
            <a:extLst>
              <a:ext uri="{FF2B5EF4-FFF2-40B4-BE49-F238E27FC236}">
                <a16:creationId xmlns:a16="http://schemas.microsoft.com/office/drawing/2014/main" id="{168EEFA8-0334-DF4D-B96F-80F6E51D6296}"/>
              </a:ext>
            </a:extLst>
          </p:cNvPr>
          <p:cNvGrpSpPr/>
          <p:nvPr/>
        </p:nvGrpSpPr>
        <p:grpSpPr>
          <a:xfrm>
            <a:off x="10358342" y="5211224"/>
            <a:ext cx="1446225" cy="115686"/>
            <a:chOff x="2267745" y="2787775"/>
            <a:chExt cx="1800183" cy="144000"/>
          </a:xfrm>
          <a:solidFill>
            <a:srgbClr val="004149"/>
          </a:solidFill>
        </p:grpSpPr>
        <p:sp>
          <p:nvSpPr>
            <p:cNvPr id="140" name="Oval 139">
              <a:extLst>
                <a:ext uri="{FF2B5EF4-FFF2-40B4-BE49-F238E27FC236}">
                  <a16:creationId xmlns:a16="http://schemas.microsoft.com/office/drawing/2014/main" id="{1F5E627C-C925-C144-9286-0D3508308597}"/>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1" name="Oval 140">
              <a:extLst>
                <a:ext uri="{FF2B5EF4-FFF2-40B4-BE49-F238E27FC236}">
                  <a16:creationId xmlns:a16="http://schemas.microsoft.com/office/drawing/2014/main" id="{DB1CD5DE-33DC-E646-AA00-4FD3132AE41E}"/>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2" name="Oval 141">
              <a:extLst>
                <a:ext uri="{FF2B5EF4-FFF2-40B4-BE49-F238E27FC236}">
                  <a16:creationId xmlns:a16="http://schemas.microsoft.com/office/drawing/2014/main" id="{CBB0C537-57EE-CC45-8125-B70C0765858A}"/>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3" name="Oval 142">
              <a:extLst>
                <a:ext uri="{FF2B5EF4-FFF2-40B4-BE49-F238E27FC236}">
                  <a16:creationId xmlns:a16="http://schemas.microsoft.com/office/drawing/2014/main" id="{31B2D8C1-B43D-F047-962C-7AD0F5E37BB7}"/>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4" name="Oval 143">
              <a:extLst>
                <a:ext uri="{FF2B5EF4-FFF2-40B4-BE49-F238E27FC236}">
                  <a16:creationId xmlns:a16="http://schemas.microsoft.com/office/drawing/2014/main" id="{B25D1639-DD75-3D4E-81EE-ADE3A07F273E}"/>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5" name="Oval 144">
              <a:extLst>
                <a:ext uri="{FF2B5EF4-FFF2-40B4-BE49-F238E27FC236}">
                  <a16:creationId xmlns:a16="http://schemas.microsoft.com/office/drawing/2014/main" id="{826E22D3-D4DB-5345-A617-8DA6E1CDE591}"/>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6" name="Oval 145">
              <a:extLst>
                <a:ext uri="{FF2B5EF4-FFF2-40B4-BE49-F238E27FC236}">
                  <a16:creationId xmlns:a16="http://schemas.microsoft.com/office/drawing/2014/main" id="{BCEF8417-087D-454D-86AD-6E6C47E21B61}"/>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7" name="Oval 146">
              <a:extLst>
                <a:ext uri="{FF2B5EF4-FFF2-40B4-BE49-F238E27FC236}">
                  <a16:creationId xmlns:a16="http://schemas.microsoft.com/office/drawing/2014/main" id="{F65A2485-83D7-F742-8F45-752C88587928}"/>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8" name="Oval 147">
              <a:extLst>
                <a:ext uri="{FF2B5EF4-FFF2-40B4-BE49-F238E27FC236}">
                  <a16:creationId xmlns:a16="http://schemas.microsoft.com/office/drawing/2014/main" id="{8B934503-AD24-F24D-B0EE-D3EC4D918B18}"/>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9" name="Oval 148">
              <a:extLst>
                <a:ext uri="{FF2B5EF4-FFF2-40B4-BE49-F238E27FC236}">
                  <a16:creationId xmlns:a16="http://schemas.microsoft.com/office/drawing/2014/main" id="{2F566CD6-CEF7-414D-9109-E176B3B47002}"/>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2" name="Group 51">
            <a:extLst>
              <a:ext uri="{FF2B5EF4-FFF2-40B4-BE49-F238E27FC236}">
                <a16:creationId xmlns:a16="http://schemas.microsoft.com/office/drawing/2014/main" id="{5AF35271-2802-3C46-B458-BFCF6FF0D2E0}"/>
              </a:ext>
            </a:extLst>
          </p:cNvPr>
          <p:cNvGrpSpPr/>
          <p:nvPr/>
        </p:nvGrpSpPr>
        <p:grpSpPr>
          <a:xfrm>
            <a:off x="10358342" y="5060508"/>
            <a:ext cx="1446225" cy="115686"/>
            <a:chOff x="2267745" y="2787775"/>
            <a:chExt cx="1800183" cy="144000"/>
          </a:xfrm>
          <a:solidFill>
            <a:srgbClr val="004149"/>
          </a:solidFill>
        </p:grpSpPr>
        <p:sp>
          <p:nvSpPr>
            <p:cNvPr id="130" name="Oval 129">
              <a:extLst>
                <a:ext uri="{FF2B5EF4-FFF2-40B4-BE49-F238E27FC236}">
                  <a16:creationId xmlns:a16="http://schemas.microsoft.com/office/drawing/2014/main" id="{57EB900A-C402-8342-B9AD-17F9CAD30D1B}"/>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1" name="Oval 130">
              <a:extLst>
                <a:ext uri="{FF2B5EF4-FFF2-40B4-BE49-F238E27FC236}">
                  <a16:creationId xmlns:a16="http://schemas.microsoft.com/office/drawing/2014/main" id="{BA3001EF-51D2-0E42-8C7E-9699EB08D243}"/>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2" name="Oval 131">
              <a:extLst>
                <a:ext uri="{FF2B5EF4-FFF2-40B4-BE49-F238E27FC236}">
                  <a16:creationId xmlns:a16="http://schemas.microsoft.com/office/drawing/2014/main" id="{74A06773-C082-9C40-A89F-3D9B28541343}"/>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3" name="Oval 132">
              <a:extLst>
                <a:ext uri="{FF2B5EF4-FFF2-40B4-BE49-F238E27FC236}">
                  <a16:creationId xmlns:a16="http://schemas.microsoft.com/office/drawing/2014/main" id="{BB97EE6D-A7B7-A143-8BDA-84BC55209B25}"/>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4" name="Oval 133">
              <a:extLst>
                <a:ext uri="{FF2B5EF4-FFF2-40B4-BE49-F238E27FC236}">
                  <a16:creationId xmlns:a16="http://schemas.microsoft.com/office/drawing/2014/main" id="{FC5E086A-8D41-A24D-806D-E5C03F927E3E}"/>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5" name="Oval 134">
              <a:extLst>
                <a:ext uri="{FF2B5EF4-FFF2-40B4-BE49-F238E27FC236}">
                  <a16:creationId xmlns:a16="http://schemas.microsoft.com/office/drawing/2014/main" id="{B7352DC8-DD31-124C-B044-6E23760951B4}"/>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6" name="Oval 135">
              <a:extLst>
                <a:ext uri="{FF2B5EF4-FFF2-40B4-BE49-F238E27FC236}">
                  <a16:creationId xmlns:a16="http://schemas.microsoft.com/office/drawing/2014/main" id="{7172BEF2-5547-C141-88EE-613D17CF5277}"/>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7" name="Oval 136">
              <a:extLst>
                <a:ext uri="{FF2B5EF4-FFF2-40B4-BE49-F238E27FC236}">
                  <a16:creationId xmlns:a16="http://schemas.microsoft.com/office/drawing/2014/main" id="{56457CC1-7834-A44D-9198-C5BF28FB8B7C}"/>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8" name="Oval 137">
              <a:extLst>
                <a:ext uri="{FF2B5EF4-FFF2-40B4-BE49-F238E27FC236}">
                  <a16:creationId xmlns:a16="http://schemas.microsoft.com/office/drawing/2014/main" id="{23AF930A-0E82-6440-8D33-1DD9C85FD5E9}"/>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9" name="Oval 138">
              <a:extLst>
                <a:ext uri="{FF2B5EF4-FFF2-40B4-BE49-F238E27FC236}">
                  <a16:creationId xmlns:a16="http://schemas.microsoft.com/office/drawing/2014/main" id="{AF82B10A-1775-DC46-9DCA-E88E34FB6E0F}"/>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3" name="Group 52">
            <a:extLst>
              <a:ext uri="{FF2B5EF4-FFF2-40B4-BE49-F238E27FC236}">
                <a16:creationId xmlns:a16="http://schemas.microsoft.com/office/drawing/2014/main" id="{2EFE98F1-1A41-424F-A827-EBE4CD7217E7}"/>
              </a:ext>
            </a:extLst>
          </p:cNvPr>
          <p:cNvGrpSpPr/>
          <p:nvPr/>
        </p:nvGrpSpPr>
        <p:grpSpPr>
          <a:xfrm>
            <a:off x="10358342" y="4909792"/>
            <a:ext cx="1446225" cy="115686"/>
            <a:chOff x="2267745" y="2787775"/>
            <a:chExt cx="1800183" cy="144000"/>
          </a:xfrm>
          <a:solidFill>
            <a:srgbClr val="004149"/>
          </a:solidFill>
        </p:grpSpPr>
        <p:sp>
          <p:nvSpPr>
            <p:cNvPr id="120" name="Oval 119">
              <a:extLst>
                <a:ext uri="{FF2B5EF4-FFF2-40B4-BE49-F238E27FC236}">
                  <a16:creationId xmlns:a16="http://schemas.microsoft.com/office/drawing/2014/main" id="{EB0A2D6F-569F-5A4C-8EE0-EC029BE3AB25}"/>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1" name="Oval 120">
              <a:extLst>
                <a:ext uri="{FF2B5EF4-FFF2-40B4-BE49-F238E27FC236}">
                  <a16:creationId xmlns:a16="http://schemas.microsoft.com/office/drawing/2014/main" id="{932C8D8E-F2C6-4B48-9F5A-EFE844B66626}"/>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2" name="Oval 121">
              <a:extLst>
                <a:ext uri="{FF2B5EF4-FFF2-40B4-BE49-F238E27FC236}">
                  <a16:creationId xmlns:a16="http://schemas.microsoft.com/office/drawing/2014/main" id="{7633BFE1-FDD4-8E4B-A43B-1E15720A7614}"/>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3" name="Oval 122">
              <a:extLst>
                <a:ext uri="{FF2B5EF4-FFF2-40B4-BE49-F238E27FC236}">
                  <a16:creationId xmlns:a16="http://schemas.microsoft.com/office/drawing/2014/main" id="{13C3374D-FF3D-454E-8F2E-976DB8BD4813}"/>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4" name="Oval 123">
              <a:extLst>
                <a:ext uri="{FF2B5EF4-FFF2-40B4-BE49-F238E27FC236}">
                  <a16:creationId xmlns:a16="http://schemas.microsoft.com/office/drawing/2014/main" id="{79C82445-0681-3346-9811-7911064E1B02}"/>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5" name="Oval 124">
              <a:extLst>
                <a:ext uri="{FF2B5EF4-FFF2-40B4-BE49-F238E27FC236}">
                  <a16:creationId xmlns:a16="http://schemas.microsoft.com/office/drawing/2014/main" id="{1531DD2D-8F3F-DC49-B9EC-FAB2E8C4A87F}"/>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6" name="Oval 125">
              <a:extLst>
                <a:ext uri="{FF2B5EF4-FFF2-40B4-BE49-F238E27FC236}">
                  <a16:creationId xmlns:a16="http://schemas.microsoft.com/office/drawing/2014/main" id="{1FDBCF65-F4EB-0F47-8F05-C4D090558EF4}"/>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7" name="Oval 126">
              <a:extLst>
                <a:ext uri="{FF2B5EF4-FFF2-40B4-BE49-F238E27FC236}">
                  <a16:creationId xmlns:a16="http://schemas.microsoft.com/office/drawing/2014/main" id="{EC9E07F4-37D2-3648-859E-B4DB8D8737EE}"/>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8" name="Oval 127">
              <a:extLst>
                <a:ext uri="{FF2B5EF4-FFF2-40B4-BE49-F238E27FC236}">
                  <a16:creationId xmlns:a16="http://schemas.microsoft.com/office/drawing/2014/main" id="{92385D32-A051-D24E-BC1E-C8B7F78F07F1}"/>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9" name="Oval 128">
              <a:extLst>
                <a:ext uri="{FF2B5EF4-FFF2-40B4-BE49-F238E27FC236}">
                  <a16:creationId xmlns:a16="http://schemas.microsoft.com/office/drawing/2014/main" id="{3410A8CB-CA22-F849-B0F4-7EDC351D26E1}"/>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4" name="Group 53">
            <a:extLst>
              <a:ext uri="{FF2B5EF4-FFF2-40B4-BE49-F238E27FC236}">
                <a16:creationId xmlns:a16="http://schemas.microsoft.com/office/drawing/2014/main" id="{BC33BBC7-5336-8C4D-B729-1D01C8088E54}"/>
              </a:ext>
            </a:extLst>
          </p:cNvPr>
          <p:cNvGrpSpPr/>
          <p:nvPr/>
        </p:nvGrpSpPr>
        <p:grpSpPr>
          <a:xfrm>
            <a:off x="10358342" y="4759076"/>
            <a:ext cx="1446225" cy="115686"/>
            <a:chOff x="2267745" y="2787775"/>
            <a:chExt cx="1800183" cy="144000"/>
          </a:xfrm>
          <a:solidFill>
            <a:srgbClr val="004149"/>
          </a:solidFill>
        </p:grpSpPr>
        <p:sp>
          <p:nvSpPr>
            <p:cNvPr id="110" name="Oval 109">
              <a:extLst>
                <a:ext uri="{FF2B5EF4-FFF2-40B4-BE49-F238E27FC236}">
                  <a16:creationId xmlns:a16="http://schemas.microsoft.com/office/drawing/2014/main" id="{1627D656-51E7-AC40-8975-17ABB1322161}"/>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1" name="Oval 110">
              <a:extLst>
                <a:ext uri="{FF2B5EF4-FFF2-40B4-BE49-F238E27FC236}">
                  <a16:creationId xmlns:a16="http://schemas.microsoft.com/office/drawing/2014/main" id="{B84613A6-D664-2242-988D-B6C913B6978B}"/>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2" name="Oval 111">
              <a:extLst>
                <a:ext uri="{FF2B5EF4-FFF2-40B4-BE49-F238E27FC236}">
                  <a16:creationId xmlns:a16="http://schemas.microsoft.com/office/drawing/2014/main" id="{F6C284C5-8758-674B-B629-77F1DFFDFB8C}"/>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3" name="Oval 112">
              <a:extLst>
                <a:ext uri="{FF2B5EF4-FFF2-40B4-BE49-F238E27FC236}">
                  <a16:creationId xmlns:a16="http://schemas.microsoft.com/office/drawing/2014/main" id="{D6D74A5D-762E-314D-922F-17FB0DCC6F29}"/>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4" name="Oval 113">
              <a:extLst>
                <a:ext uri="{FF2B5EF4-FFF2-40B4-BE49-F238E27FC236}">
                  <a16:creationId xmlns:a16="http://schemas.microsoft.com/office/drawing/2014/main" id="{E067507D-B452-F14F-AC64-4D770D297740}"/>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5" name="Oval 114">
              <a:extLst>
                <a:ext uri="{FF2B5EF4-FFF2-40B4-BE49-F238E27FC236}">
                  <a16:creationId xmlns:a16="http://schemas.microsoft.com/office/drawing/2014/main" id="{1D6F08B8-EC47-8C44-8EBA-B61BB4ADB037}"/>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6" name="Oval 115">
              <a:extLst>
                <a:ext uri="{FF2B5EF4-FFF2-40B4-BE49-F238E27FC236}">
                  <a16:creationId xmlns:a16="http://schemas.microsoft.com/office/drawing/2014/main" id="{58200489-8211-4241-AF3B-BF939EB0677C}"/>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7" name="Oval 116">
              <a:extLst>
                <a:ext uri="{FF2B5EF4-FFF2-40B4-BE49-F238E27FC236}">
                  <a16:creationId xmlns:a16="http://schemas.microsoft.com/office/drawing/2014/main" id="{267EE031-7A9A-F649-9871-F05F36D84981}"/>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8" name="Oval 117">
              <a:extLst>
                <a:ext uri="{FF2B5EF4-FFF2-40B4-BE49-F238E27FC236}">
                  <a16:creationId xmlns:a16="http://schemas.microsoft.com/office/drawing/2014/main" id="{6CD63BEB-7BF1-B843-B73E-BBE60091F4DA}"/>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9" name="Oval 118">
              <a:extLst>
                <a:ext uri="{FF2B5EF4-FFF2-40B4-BE49-F238E27FC236}">
                  <a16:creationId xmlns:a16="http://schemas.microsoft.com/office/drawing/2014/main" id="{670163A6-2D29-AF47-93A7-7ABAA6BFF792}"/>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5" name="Group 54">
            <a:extLst>
              <a:ext uri="{FF2B5EF4-FFF2-40B4-BE49-F238E27FC236}">
                <a16:creationId xmlns:a16="http://schemas.microsoft.com/office/drawing/2014/main" id="{13EB91FA-3DD7-AD49-8CE2-C0C550E62E47}"/>
              </a:ext>
            </a:extLst>
          </p:cNvPr>
          <p:cNvGrpSpPr/>
          <p:nvPr/>
        </p:nvGrpSpPr>
        <p:grpSpPr>
          <a:xfrm>
            <a:off x="10358342" y="4608361"/>
            <a:ext cx="1446225" cy="115686"/>
            <a:chOff x="2267745" y="2787775"/>
            <a:chExt cx="1800183" cy="144000"/>
          </a:xfrm>
          <a:solidFill>
            <a:srgbClr val="004149"/>
          </a:solidFill>
        </p:grpSpPr>
        <p:sp>
          <p:nvSpPr>
            <p:cNvPr id="100" name="Oval 99">
              <a:extLst>
                <a:ext uri="{FF2B5EF4-FFF2-40B4-BE49-F238E27FC236}">
                  <a16:creationId xmlns:a16="http://schemas.microsoft.com/office/drawing/2014/main" id="{30FEBA0C-07BE-F54A-AEF7-7889BEDABE1E}"/>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1" name="Oval 100">
              <a:extLst>
                <a:ext uri="{FF2B5EF4-FFF2-40B4-BE49-F238E27FC236}">
                  <a16:creationId xmlns:a16="http://schemas.microsoft.com/office/drawing/2014/main" id="{2A30F002-8E66-C44C-B041-683DF05C7D5B}"/>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2" name="Oval 101">
              <a:extLst>
                <a:ext uri="{FF2B5EF4-FFF2-40B4-BE49-F238E27FC236}">
                  <a16:creationId xmlns:a16="http://schemas.microsoft.com/office/drawing/2014/main" id="{1A113BEB-E70F-F541-A474-9DC554FBE3B0}"/>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3" name="Oval 102">
              <a:extLst>
                <a:ext uri="{FF2B5EF4-FFF2-40B4-BE49-F238E27FC236}">
                  <a16:creationId xmlns:a16="http://schemas.microsoft.com/office/drawing/2014/main" id="{EA5D2EA1-E105-A14D-854C-F93E8E722962}"/>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4" name="Oval 103">
              <a:extLst>
                <a:ext uri="{FF2B5EF4-FFF2-40B4-BE49-F238E27FC236}">
                  <a16:creationId xmlns:a16="http://schemas.microsoft.com/office/drawing/2014/main" id="{0BE0D498-6CEA-6949-86BF-8A4657062F0B}"/>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5" name="Oval 104">
              <a:extLst>
                <a:ext uri="{FF2B5EF4-FFF2-40B4-BE49-F238E27FC236}">
                  <a16:creationId xmlns:a16="http://schemas.microsoft.com/office/drawing/2014/main" id="{1DA7A5A9-EF75-B84D-8FCB-316A681B79E2}"/>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6" name="Oval 105">
              <a:extLst>
                <a:ext uri="{FF2B5EF4-FFF2-40B4-BE49-F238E27FC236}">
                  <a16:creationId xmlns:a16="http://schemas.microsoft.com/office/drawing/2014/main" id="{E9B960CC-4C17-8145-B693-2FB644D99F98}"/>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7" name="Oval 106">
              <a:extLst>
                <a:ext uri="{FF2B5EF4-FFF2-40B4-BE49-F238E27FC236}">
                  <a16:creationId xmlns:a16="http://schemas.microsoft.com/office/drawing/2014/main" id="{1C43475A-B66D-AE41-88DE-D660DFDE4147}"/>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8" name="Oval 107">
              <a:extLst>
                <a:ext uri="{FF2B5EF4-FFF2-40B4-BE49-F238E27FC236}">
                  <a16:creationId xmlns:a16="http://schemas.microsoft.com/office/drawing/2014/main" id="{8A82B25C-5D4B-B045-9316-61EFBB54010C}"/>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9" name="Oval 108">
              <a:extLst>
                <a:ext uri="{FF2B5EF4-FFF2-40B4-BE49-F238E27FC236}">
                  <a16:creationId xmlns:a16="http://schemas.microsoft.com/office/drawing/2014/main" id="{1BE3CE8A-90BE-E24E-A9DA-C69DA5331FA9}"/>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6" name="Group 55">
            <a:extLst>
              <a:ext uri="{FF2B5EF4-FFF2-40B4-BE49-F238E27FC236}">
                <a16:creationId xmlns:a16="http://schemas.microsoft.com/office/drawing/2014/main" id="{50B6678B-0AAC-3043-AB31-B5CD5543922A}"/>
              </a:ext>
            </a:extLst>
          </p:cNvPr>
          <p:cNvGrpSpPr/>
          <p:nvPr/>
        </p:nvGrpSpPr>
        <p:grpSpPr>
          <a:xfrm>
            <a:off x="10358342" y="4457645"/>
            <a:ext cx="1446225" cy="115686"/>
            <a:chOff x="2267745" y="2787775"/>
            <a:chExt cx="1800183" cy="144000"/>
          </a:xfrm>
          <a:solidFill>
            <a:srgbClr val="004149"/>
          </a:solidFill>
        </p:grpSpPr>
        <p:sp>
          <p:nvSpPr>
            <p:cNvPr id="90" name="Oval 89">
              <a:extLst>
                <a:ext uri="{FF2B5EF4-FFF2-40B4-BE49-F238E27FC236}">
                  <a16:creationId xmlns:a16="http://schemas.microsoft.com/office/drawing/2014/main" id="{83B1203B-5FB3-C544-A75F-18EB8453E064}"/>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1" name="Oval 90">
              <a:extLst>
                <a:ext uri="{FF2B5EF4-FFF2-40B4-BE49-F238E27FC236}">
                  <a16:creationId xmlns:a16="http://schemas.microsoft.com/office/drawing/2014/main" id="{F207CFC5-B75C-5848-86CD-7B6F23DE06DE}"/>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2" name="Oval 91">
              <a:extLst>
                <a:ext uri="{FF2B5EF4-FFF2-40B4-BE49-F238E27FC236}">
                  <a16:creationId xmlns:a16="http://schemas.microsoft.com/office/drawing/2014/main" id="{3B380BC7-E43A-9346-9BDA-2DB18C8AFD19}"/>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3" name="Oval 92">
              <a:extLst>
                <a:ext uri="{FF2B5EF4-FFF2-40B4-BE49-F238E27FC236}">
                  <a16:creationId xmlns:a16="http://schemas.microsoft.com/office/drawing/2014/main" id="{D3F37734-8309-1347-A792-298DFD32B7E4}"/>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4" name="Oval 93">
              <a:extLst>
                <a:ext uri="{FF2B5EF4-FFF2-40B4-BE49-F238E27FC236}">
                  <a16:creationId xmlns:a16="http://schemas.microsoft.com/office/drawing/2014/main" id="{30BCDC82-AB6B-AF45-9F38-B9F84AD532D3}"/>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5" name="Oval 94">
              <a:extLst>
                <a:ext uri="{FF2B5EF4-FFF2-40B4-BE49-F238E27FC236}">
                  <a16:creationId xmlns:a16="http://schemas.microsoft.com/office/drawing/2014/main" id="{6C40884D-A517-094B-AC1E-BC1D74AC8CA4}"/>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6" name="Oval 95">
              <a:extLst>
                <a:ext uri="{FF2B5EF4-FFF2-40B4-BE49-F238E27FC236}">
                  <a16:creationId xmlns:a16="http://schemas.microsoft.com/office/drawing/2014/main" id="{E48BBBB5-54ED-5245-AFC9-BF2F32AA3E91}"/>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7" name="Oval 96">
              <a:extLst>
                <a:ext uri="{FF2B5EF4-FFF2-40B4-BE49-F238E27FC236}">
                  <a16:creationId xmlns:a16="http://schemas.microsoft.com/office/drawing/2014/main" id="{EC2D5524-4ED6-E348-9D53-DB7CEA35BD42}"/>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8" name="Oval 97">
              <a:extLst>
                <a:ext uri="{FF2B5EF4-FFF2-40B4-BE49-F238E27FC236}">
                  <a16:creationId xmlns:a16="http://schemas.microsoft.com/office/drawing/2014/main" id="{B5DB240F-B49D-6147-AD64-CC38D83AEF55}"/>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9" name="Oval 98">
              <a:extLst>
                <a:ext uri="{FF2B5EF4-FFF2-40B4-BE49-F238E27FC236}">
                  <a16:creationId xmlns:a16="http://schemas.microsoft.com/office/drawing/2014/main" id="{C78891BE-EB34-F847-AED0-6F0A9D934DF3}"/>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7" name="Group 56">
            <a:extLst>
              <a:ext uri="{FF2B5EF4-FFF2-40B4-BE49-F238E27FC236}">
                <a16:creationId xmlns:a16="http://schemas.microsoft.com/office/drawing/2014/main" id="{69536D93-9C45-4D43-9D49-95F0BD756D0D}"/>
              </a:ext>
            </a:extLst>
          </p:cNvPr>
          <p:cNvGrpSpPr/>
          <p:nvPr/>
        </p:nvGrpSpPr>
        <p:grpSpPr>
          <a:xfrm>
            <a:off x="10358342" y="4306929"/>
            <a:ext cx="1446225" cy="115686"/>
            <a:chOff x="2267745" y="2787775"/>
            <a:chExt cx="1800183" cy="144000"/>
          </a:xfrm>
          <a:solidFill>
            <a:srgbClr val="004149"/>
          </a:solidFill>
        </p:grpSpPr>
        <p:sp>
          <p:nvSpPr>
            <p:cNvPr id="80" name="Oval 79">
              <a:extLst>
                <a:ext uri="{FF2B5EF4-FFF2-40B4-BE49-F238E27FC236}">
                  <a16:creationId xmlns:a16="http://schemas.microsoft.com/office/drawing/2014/main" id="{BAE33894-AE35-E445-AC33-EE93CABC9002}"/>
                </a:ext>
              </a:extLst>
            </p:cNvPr>
            <p:cNvSpPr/>
            <p:nvPr/>
          </p:nvSpPr>
          <p:spPr>
            <a:xfrm>
              <a:off x="2267745" y="2787775"/>
              <a:ext cx="144000" cy="144000"/>
            </a:xfrm>
            <a:prstGeom prst="ellipse">
              <a:avLst/>
            </a:prstGeom>
            <a:solidFill>
              <a:srgbClr val="90D21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1" name="Oval 80">
              <a:extLst>
                <a:ext uri="{FF2B5EF4-FFF2-40B4-BE49-F238E27FC236}">
                  <a16:creationId xmlns:a16="http://schemas.microsoft.com/office/drawing/2014/main" id="{689F4BFF-B4D6-9145-96D9-C19803259782}"/>
                </a:ext>
              </a:extLst>
            </p:cNvPr>
            <p:cNvSpPr/>
            <p:nvPr/>
          </p:nvSpPr>
          <p:spPr>
            <a:xfrm>
              <a:off x="2451765" y="2787775"/>
              <a:ext cx="144000" cy="144000"/>
            </a:xfrm>
            <a:prstGeom prst="ellipse">
              <a:avLst/>
            </a:prstGeom>
            <a:solidFill>
              <a:srgbClr val="90D21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2" name="Oval 81">
              <a:extLst>
                <a:ext uri="{FF2B5EF4-FFF2-40B4-BE49-F238E27FC236}">
                  <a16:creationId xmlns:a16="http://schemas.microsoft.com/office/drawing/2014/main" id="{96678713-C871-5241-9040-CCB0EBCA7774}"/>
                </a:ext>
              </a:extLst>
            </p:cNvPr>
            <p:cNvSpPr/>
            <p:nvPr/>
          </p:nvSpPr>
          <p:spPr>
            <a:xfrm>
              <a:off x="2635785" y="2787775"/>
              <a:ext cx="144000" cy="144000"/>
            </a:xfrm>
            <a:prstGeom prst="ellipse">
              <a:avLst/>
            </a:prstGeom>
            <a:solidFill>
              <a:srgbClr val="90D21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3" name="Oval 82">
              <a:extLst>
                <a:ext uri="{FF2B5EF4-FFF2-40B4-BE49-F238E27FC236}">
                  <a16:creationId xmlns:a16="http://schemas.microsoft.com/office/drawing/2014/main" id="{30E8BC61-B0BA-644F-B2E1-351E31EF7E1E}"/>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4" name="Oval 83">
              <a:extLst>
                <a:ext uri="{FF2B5EF4-FFF2-40B4-BE49-F238E27FC236}">
                  <a16:creationId xmlns:a16="http://schemas.microsoft.com/office/drawing/2014/main" id="{DB5CD665-AE2E-FB48-B1EB-FE41B27E791F}"/>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5" name="Oval 84">
              <a:extLst>
                <a:ext uri="{FF2B5EF4-FFF2-40B4-BE49-F238E27FC236}">
                  <a16:creationId xmlns:a16="http://schemas.microsoft.com/office/drawing/2014/main" id="{0115D0BD-AF37-4A4B-9A73-3E3AD3467005}"/>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6" name="Oval 85">
              <a:extLst>
                <a:ext uri="{FF2B5EF4-FFF2-40B4-BE49-F238E27FC236}">
                  <a16:creationId xmlns:a16="http://schemas.microsoft.com/office/drawing/2014/main" id="{B9604A2F-322D-834F-9F7D-73123DBB3534}"/>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7" name="Oval 86">
              <a:extLst>
                <a:ext uri="{FF2B5EF4-FFF2-40B4-BE49-F238E27FC236}">
                  <a16:creationId xmlns:a16="http://schemas.microsoft.com/office/drawing/2014/main" id="{9B890778-5B53-7043-8F46-5815555DF967}"/>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8" name="Oval 87">
              <a:extLst>
                <a:ext uri="{FF2B5EF4-FFF2-40B4-BE49-F238E27FC236}">
                  <a16:creationId xmlns:a16="http://schemas.microsoft.com/office/drawing/2014/main" id="{C42ABD5B-9B52-6E43-8A93-0A71325FB4C1}"/>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89" name="Oval 88">
              <a:extLst>
                <a:ext uri="{FF2B5EF4-FFF2-40B4-BE49-F238E27FC236}">
                  <a16:creationId xmlns:a16="http://schemas.microsoft.com/office/drawing/2014/main" id="{BE6F7763-F1DC-A349-AACF-DEFCECB44EA8}"/>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8" name="Group 57">
            <a:extLst>
              <a:ext uri="{FF2B5EF4-FFF2-40B4-BE49-F238E27FC236}">
                <a16:creationId xmlns:a16="http://schemas.microsoft.com/office/drawing/2014/main" id="{836D828D-26CA-484E-83C8-45E6968183B8}"/>
              </a:ext>
            </a:extLst>
          </p:cNvPr>
          <p:cNvGrpSpPr/>
          <p:nvPr/>
        </p:nvGrpSpPr>
        <p:grpSpPr>
          <a:xfrm>
            <a:off x="10358342" y="4156213"/>
            <a:ext cx="1446225" cy="115686"/>
            <a:chOff x="2267745" y="2787775"/>
            <a:chExt cx="1800183" cy="144000"/>
          </a:xfrm>
          <a:solidFill>
            <a:srgbClr val="90D214"/>
          </a:solidFill>
        </p:grpSpPr>
        <p:sp>
          <p:nvSpPr>
            <p:cNvPr id="70" name="Oval 69">
              <a:extLst>
                <a:ext uri="{FF2B5EF4-FFF2-40B4-BE49-F238E27FC236}">
                  <a16:creationId xmlns:a16="http://schemas.microsoft.com/office/drawing/2014/main" id="{6AAFCAAD-D85A-3046-A30A-F501A2E1D343}"/>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1" name="Oval 70">
              <a:extLst>
                <a:ext uri="{FF2B5EF4-FFF2-40B4-BE49-F238E27FC236}">
                  <a16:creationId xmlns:a16="http://schemas.microsoft.com/office/drawing/2014/main" id="{2AF21DB6-6C7E-FB4E-BB23-5C0114462A3A}"/>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2" name="Oval 71">
              <a:extLst>
                <a:ext uri="{FF2B5EF4-FFF2-40B4-BE49-F238E27FC236}">
                  <a16:creationId xmlns:a16="http://schemas.microsoft.com/office/drawing/2014/main" id="{B3B9F50A-B8A9-BB49-9792-E7BE9A30E58F}"/>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3" name="Oval 72">
              <a:extLst>
                <a:ext uri="{FF2B5EF4-FFF2-40B4-BE49-F238E27FC236}">
                  <a16:creationId xmlns:a16="http://schemas.microsoft.com/office/drawing/2014/main" id="{888802F3-DF46-254F-BEA1-C90D9ED4749E}"/>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4" name="Oval 73">
              <a:extLst>
                <a:ext uri="{FF2B5EF4-FFF2-40B4-BE49-F238E27FC236}">
                  <a16:creationId xmlns:a16="http://schemas.microsoft.com/office/drawing/2014/main" id="{FDC9EF9D-1D28-3F47-B448-79CBE4AD9E5E}"/>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5" name="Oval 74">
              <a:extLst>
                <a:ext uri="{FF2B5EF4-FFF2-40B4-BE49-F238E27FC236}">
                  <a16:creationId xmlns:a16="http://schemas.microsoft.com/office/drawing/2014/main" id="{462229D1-7C34-2E47-B310-9B587ABFC854}"/>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6" name="Oval 75">
              <a:extLst>
                <a:ext uri="{FF2B5EF4-FFF2-40B4-BE49-F238E27FC236}">
                  <a16:creationId xmlns:a16="http://schemas.microsoft.com/office/drawing/2014/main" id="{9DF7D7F8-A7F0-1344-B70B-97EF9A8A9C12}"/>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7" name="Oval 76">
              <a:extLst>
                <a:ext uri="{FF2B5EF4-FFF2-40B4-BE49-F238E27FC236}">
                  <a16:creationId xmlns:a16="http://schemas.microsoft.com/office/drawing/2014/main" id="{57672095-8B06-F54D-BEDB-A5888ABF70E2}"/>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8" name="Oval 77">
              <a:extLst>
                <a:ext uri="{FF2B5EF4-FFF2-40B4-BE49-F238E27FC236}">
                  <a16:creationId xmlns:a16="http://schemas.microsoft.com/office/drawing/2014/main" id="{CFA0A811-7980-CA4D-9657-7A44B2AD25D5}"/>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79" name="Oval 78">
              <a:extLst>
                <a:ext uri="{FF2B5EF4-FFF2-40B4-BE49-F238E27FC236}">
                  <a16:creationId xmlns:a16="http://schemas.microsoft.com/office/drawing/2014/main" id="{6F5F4C9F-5600-C243-878A-03D080265FEC}"/>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59" name="Group 58">
            <a:extLst>
              <a:ext uri="{FF2B5EF4-FFF2-40B4-BE49-F238E27FC236}">
                <a16:creationId xmlns:a16="http://schemas.microsoft.com/office/drawing/2014/main" id="{73273E69-6288-934D-82E5-E06D19FB2001}"/>
              </a:ext>
            </a:extLst>
          </p:cNvPr>
          <p:cNvGrpSpPr/>
          <p:nvPr/>
        </p:nvGrpSpPr>
        <p:grpSpPr>
          <a:xfrm>
            <a:off x="10358342" y="4005497"/>
            <a:ext cx="1446225" cy="115686"/>
            <a:chOff x="2267745" y="2787775"/>
            <a:chExt cx="1800183" cy="144000"/>
          </a:xfrm>
          <a:solidFill>
            <a:schemeClr val="bg1"/>
          </a:solidFill>
        </p:grpSpPr>
        <p:sp>
          <p:nvSpPr>
            <p:cNvPr id="60" name="Oval 59">
              <a:extLst>
                <a:ext uri="{FF2B5EF4-FFF2-40B4-BE49-F238E27FC236}">
                  <a16:creationId xmlns:a16="http://schemas.microsoft.com/office/drawing/2014/main" id="{03972AF6-06EB-A140-9356-36F58ADC13FB}"/>
                </a:ext>
              </a:extLst>
            </p:cNvPr>
            <p:cNvSpPr/>
            <p:nvPr/>
          </p:nvSpPr>
          <p:spPr>
            <a:xfrm>
              <a:off x="22677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1" name="Oval 60">
              <a:extLst>
                <a:ext uri="{FF2B5EF4-FFF2-40B4-BE49-F238E27FC236}">
                  <a16:creationId xmlns:a16="http://schemas.microsoft.com/office/drawing/2014/main" id="{C5E2C7D7-B4B1-1644-8BE5-27D687E7BC11}"/>
                </a:ext>
              </a:extLst>
            </p:cNvPr>
            <p:cNvSpPr/>
            <p:nvPr/>
          </p:nvSpPr>
          <p:spPr>
            <a:xfrm>
              <a:off x="24517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2" name="Oval 61">
              <a:extLst>
                <a:ext uri="{FF2B5EF4-FFF2-40B4-BE49-F238E27FC236}">
                  <a16:creationId xmlns:a16="http://schemas.microsoft.com/office/drawing/2014/main" id="{31C1C92B-5896-9042-8BE3-D61F59663CF6}"/>
                </a:ext>
              </a:extLst>
            </p:cNvPr>
            <p:cNvSpPr/>
            <p:nvPr/>
          </p:nvSpPr>
          <p:spPr>
            <a:xfrm>
              <a:off x="26357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3" name="Oval 62">
              <a:extLst>
                <a:ext uri="{FF2B5EF4-FFF2-40B4-BE49-F238E27FC236}">
                  <a16:creationId xmlns:a16="http://schemas.microsoft.com/office/drawing/2014/main" id="{1C1E00F7-DB8F-4D43-B4F5-077B6C67F7C1}"/>
                </a:ext>
              </a:extLst>
            </p:cNvPr>
            <p:cNvSpPr/>
            <p:nvPr/>
          </p:nvSpPr>
          <p:spPr>
            <a:xfrm>
              <a:off x="28198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4" name="Oval 63">
              <a:extLst>
                <a:ext uri="{FF2B5EF4-FFF2-40B4-BE49-F238E27FC236}">
                  <a16:creationId xmlns:a16="http://schemas.microsoft.com/office/drawing/2014/main" id="{8BAC4E12-E2FB-5D47-B4A0-0241CE01F704}"/>
                </a:ext>
              </a:extLst>
            </p:cNvPr>
            <p:cNvSpPr/>
            <p:nvPr/>
          </p:nvSpPr>
          <p:spPr>
            <a:xfrm>
              <a:off x="300382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5" name="Oval 64">
              <a:extLst>
                <a:ext uri="{FF2B5EF4-FFF2-40B4-BE49-F238E27FC236}">
                  <a16:creationId xmlns:a16="http://schemas.microsoft.com/office/drawing/2014/main" id="{AD1A0264-3C3A-3C46-9540-B663BA1E9D22}"/>
                </a:ext>
              </a:extLst>
            </p:cNvPr>
            <p:cNvSpPr/>
            <p:nvPr/>
          </p:nvSpPr>
          <p:spPr>
            <a:xfrm>
              <a:off x="318784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6" name="Oval 65">
              <a:extLst>
                <a:ext uri="{FF2B5EF4-FFF2-40B4-BE49-F238E27FC236}">
                  <a16:creationId xmlns:a16="http://schemas.microsoft.com/office/drawing/2014/main" id="{0D3FC1F1-7063-8C46-BD19-337C53651F28}"/>
                </a:ext>
              </a:extLst>
            </p:cNvPr>
            <p:cNvSpPr/>
            <p:nvPr/>
          </p:nvSpPr>
          <p:spPr>
            <a:xfrm>
              <a:off x="337186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7" name="Oval 66">
              <a:extLst>
                <a:ext uri="{FF2B5EF4-FFF2-40B4-BE49-F238E27FC236}">
                  <a16:creationId xmlns:a16="http://schemas.microsoft.com/office/drawing/2014/main" id="{C2D720EC-751D-DF4E-B59E-9DD296517F28}"/>
                </a:ext>
              </a:extLst>
            </p:cNvPr>
            <p:cNvSpPr/>
            <p:nvPr/>
          </p:nvSpPr>
          <p:spPr>
            <a:xfrm>
              <a:off x="355588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8" name="Oval 67">
              <a:extLst>
                <a:ext uri="{FF2B5EF4-FFF2-40B4-BE49-F238E27FC236}">
                  <a16:creationId xmlns:a16="http://schemas.microsoft.com/office/drawing/2014/main" id="{E07B4EB3-62A4-7643-84DD-99708B58A414}"/>
                </a:ext>
              </a:extLst>
            </p:cNvPr>
            <p:cNvSpPr/>
            <p:nvPr/>
          </p:nvSpPr>
          <p:spPr>
            <a:xfrm>
              <a:off x="3739905"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69" name="Oval 68">
              <a:extLst>
                <a:ext uri="{FF2B5EF4-FFF2-40B4-BE49-F238E27FC236}">
                  <a16:creationId xmlns:a16="http://schemas.microsoft.com/office/drawing/2014/main" id="{C036594F-68A1-F046-9EF2-3F9D10B1C4ED}"/>
                </a:ext>
              </a:extLst>
            </p:cNvPr>
            <p:cNvSpPr/>
            <p:nvPr/>
          </p:nvSpPr>
          <p:spPr>
            <a:xfrm>
              <a:off x="3923928" y="2787775"/>
              <a:ext cx="144000" cy="144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sp>
        <p:nvSpPr>
          <p:cNvPr id="160" name="Oval 159">
            <a:extLst>
              <a:ext uri="{FF2B5EF4-FFF2-40B4-BE49-F238E27FC236}">
                <a16:creationId xmlns:a16="http://schemas.microsoft.com/office/drawing/2014/main" id="{10FFA86E-8A40-0243-8068-84621ADD5E61}"/>
              </a:ext>
            </a:extLst>
          </p:cNvPr>
          <p:cNvSpPr/>
          <p:nvPr/>
        </p:nvSpPr>
        <p:spPr>
          <a:xfrm>
            <a:off x="10807259" y="3395039"/>
            <a:ext cx="548391" cy="548391"/>
          </a:xfrm>
          <a:prstGeom prst="ellipse">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63" name="TextBox 162">
            <a:extLst>
              <a:ext uri="{FF2B5EF4-FFF2-40B4-BE49-F238E27FC236}">
                <a16:creationId xmlns:a16="http://schemas.microsoft.com/office/drawing/2014/main" id="{DF624120-B2E9-AC47-846C-B068FCD4FC20}"/>
              </a:ext>
            </a:extLst>
          </p:cNvPr>
          <p:cNvSpPr txBox="1"/>
          <p:nvPr/>
        </p:nvSpPr>
        <p:spPr>
          <a:xfrm>
            <a:off x="10361993" y="5709828"/>
            <a:ext cx="1451184" cy="276999"/>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TBD</a:t>
            </a:r>
            <a:endParaRPr lang="ko-KR" altLang="en-US" sz="1200">
              <a:solidFill>
                <a:schemeClr val="tx1">
                  <a:lumMod val="75000"/>
                  <a:lumOff val="25000"/>
                </a:schemeClr>
              </a:solidFill>
              <a:cs typeface="Arial" pitchFamily="34" charset="0"/>
            </a:endParaRPr>
          </a:p>
        </p:txBody>
      </p:sp>
      <p:sp>
        <p:nvSpPr>
          <p:cNvPr id="164" name="TextBox 163">
            <a:extLst>
              <a:ext uri="{FF2B5EF4-FFF2-40B4-BE49-F238E27FC236}">
                <a16:creationId xmlns:a16="http://schemas.microsoft.com/office/drawing/2014/main" id="{9CD9AAC0-EC64-BF47-A51D-D5CF4081B4DB}"/>
              </a:ext>
            </a:extLst>
          </p:cNvPr>
          <p:cNvSpPr txBox="1"/>
          <p:nvPr/>
        </p:nvSpPr>
        <p:spPr>
          <a:xfrm>
            <a:off x="10361993" y="5535473"/>
            <a:ext cx="1451184" cy="222535"/>
          </a:xfrm>
          <a:prstGeom prst="rect">
            <a:avLst/>
          </a:prstGeom>
          <a:noFill/>
        </p:spPr>
        <p:txBody>
          <a:bodyPr wrap="square" rtlCol="0">
            <a:spAutoFit/>
          </a:bodyPr>
          <a:lstStyle/>
          <a:p>
            <a:pPr algn="ct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sp>
        <p:nvSpPr>
          <p:cNvPr id="166" name="TextBox 165">
            <a:extLst>
              <a:ext uri="{FF2B5EF4-FFF2-40B4-BE49-F238E27FC236}">
                <a16:creationId xmlns:a16="http://schemas.microsoft.com/office/drawing/2014/main" id="{781F482E-5D8C-CA47-AE32-DA2C55F27DC8}"/>
              </a:ext>
            </a:extLst>
          </p:cNvPr>
          <p:cNvSpPr txBox="1"/>
          <p:nvPr/>
        </p:nvSpPr>
        <p:spPr>
          <a:xfrm>
            <a:off x="10757178" y="3475204"/>
            <a:ext cx="648551" cy="369332"/>
          </a:xfrm>
          <a:prstGeom prst="rect">
            <a:avLst/>
          </a:prstGeom>
          <a:noFill/>
        </p:spPr>
        <p:txBody>
          <a:bodyPr wrap="square" rtlCol="0" anchor="ctr">
            <a:spAutoFit/>
          </a:bodyPr>
          <a:lstStyle/>
          <a:p>
            <a:pPr algn="ctr"/>
            <a:r>
              <a:rPr lang="en-US" altLang="ko-KR" b="1">
                <a:solidFill>
                  <a:schemeClr val="bg1"/>
                </a:solidFill>
                <a:cs typeface="Arial" pitchFamily="34" charset="0"/>
              </a:rPr>
              <a:t>78%</a:t>
            </a:r>
            <a:endParaRPr lang="ko-KR" altLang="en-US" b="1">
              <a:solidFill>
                <a:schemeClr val="bg1"/>
              </a:solidFill>
              <a:cs typeface="Arial" pitchFamily="34" charset="0"/>
            </a:endParaRPr>
          </a:p>
        </p:txBody>
      </p:sp>
    </p:spTree>
    <p:extLst>
      <p:ext uri="{BB962C8B-B14F-4D97-AF65-F5344CB8AC3E}">
        <p14:creationId xmlns:p14="http://schemas.microsoft.com/office/powerpoint/2010/main" val="2851376604"/>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50C1DDA5-2669-574C-86FC-FCFC271A06CB}"/>
              </a:ext>
            </a:extLst>
          </p:cNvPr>
          <p:cNvGraphicFramePr>
            <a:graphicFrameLocks noChangeAspect="1"/>
          </p:cNvGraphicFramePr>
          <p:nvPr>
            <p:custDataLst>
              <p:tags r:id="rId1"/>
            </p:custDataLst>
            <p:extLst>
              <p:ext uri="{D42A27DB-BD31-4B8C-83A1-F6EECF244321}">
                <p14:modId xmlns:p14="http://schemas.microsoft.com/office/powerpoint/2010/main" val="2367094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23" name="Object 22" hidden="1">
                        <a:extLst>
                          <a:ext uri="{FF2B5EF4-FFF2-40B4-BE49-F238E27FC236}">
                            <a16:creationId xmlns:a16="http://schemas.microsoft.com/office/drawing/2014/main" id="{50C1DDA5-2669-574C-86FC-FCFC271A06C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B51E37C-5933-9B46-8D08-B06F8BF0D0AF}"/>
              </a:ext>
            </a:extLst>
          </p:cNvPr>
          <p:cNvSpPr>
            <a:spLocks noGrp="1"/>
          </p:cNvSpPr>
          <p:nvPr>
            <p:ph type="sldNum" sz="quarter" idx="4"/>
          </p:nvPr>
        </p:nvSpPr>
        <p:spPr/>
        <p:txBody>
          <a:bodyPr/>
          <a:lstStyle/>
          <a:p>
            <a:fld id="{3D966009-6E5A-4F8C-8CA7-E37AFBF5FB92}" type="slidenum">
              <a:rPr lang="en-US" smtClean="0"/>
              <a:t>159</a:t>
            </a:fld>
            <a:endParaRPr lang="en-US"/>
          </a:p>
        </p:txBody>
      </p:sp>
      <p:sp>
        <p:nvSpPr>
          <p:cNvPr id="3" name="Title 2">
            <a:extLst>
              <a:ext uri="{FF2B5EF4-FFF2-40B4-BE49-F238E27FC236}">
                <a16:creationId xmlns:a16="http://schemas.microsoft.com/office/drawing/2014/main" id="{B7FA7261-976A-274A-BC31-6EDB154921AC}"/>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ED3DD8DD-BD03-0740-B56D-467E51A0FC02}"/>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6F869731-DA31-7940-ABCA-577BE80BD3BB}"/>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75C63ED9-4779-6341-AF15-C729FD88469B}"/>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CB82F293-73B1-C54E-9038-5A477AA5B217}"/>
              </a:ext>
            </a:extLst>
          </p:cNvPr>
          <p:cNvSpPr>
            <a:spLocks noGrp="1"/>
          </p:cNvSpPr>
          <p:nvPr>
            <p:ph sz="quarter" idx="14"/>
          </p:nvPr>
        </p:nvSpPr>
        <p:spPr/>
        <p:txBody>
          <a:bodyPr/>
          <a:lstStyle/>
          <a:p>
            <a:endParaRPr lang="en-GB"/>
          </a:p>
        </p:txBody>
      </p:sp>
      <p:sp>
        <p:nvSpPr>
          <p:cNvPr id="9" name="Rounded Rectangle 8">
            <a:extLst>
              <a:ext uri="{FF2B5EF4-FFF2-40B4-BE49-F238E27FC236}">
                <a16:creationId xmlns:a16="http://schemas.microsoft.com/office/drawing/2014/main" id="{8916FB50-7997-864E-9961-389C03F19B1D}"/>
              </a:ext>
            </a:extLst>
          </p:cNvPr>
          <p:cNvSpPr/>
          <p:nvPr/>
        </p:nvSpPr>
        <p:spPr>
          <a:xfrm>
            <a:off x="932508" y="1945988"/>
            <a:ext cx="10320950" cy="1856747"/>
          </a:xfrm>
          <a:prstGeom prst="roundRect">
            <a:avLst>
              <a:gd name="adj" fmla="val 7849"/>
            </a:avLst>
          </a:prstGeom>
          <a:solidFill>
            <a:schemeClr val="bg1">
              <a:alpha val="5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lumMod val="75000"/>
                  <a:lumOff val="25000"/>
                </a:schemeClr>
              </a:solidFill>
            </a:endParaRPr>
          </a:p>
        </p:txBody>
      </p:sp>
      <p:graphicFrame>
        <p:nvGraphicFramePr>
          <p:cNvPr id="10" name="Table 9">
            <a:extLst>
              <a:ext uri="{FF2B5EF4-FFF2-40B4-BE49-F238E27FC236}">
                <a16:creationId xmlns:a16="http://schemas.microsoft.com/office/drawing/2014/main" id="{066310AB-4094-6740-BEC2-3E940949F6DE}"/>
              </a:ext>
            </a:extLst>
          </p:cNvPr>
          <p:cNvGraphicFramePr>
            <a:graphicFrameLocks noGrp="1"/>
          </p:cNvGraphicFramePr>
          <p:nvPr>
            <p:extLst>
              <p:ext uri="{D42A27DB-BD31-4B8C-83A1-F6EECF244321}">
                <p14:modId xmlns:p14="http://schemas.microsoft.com/office/powerpoint/2010/main" val="831429951"/>
              </p:ext>
            </p:extLst>
          </p:nvPr>
        </p:nvGraphicFramePr>
        <p:xfrm>
          <a:off x="6351015" y="2118056"/>
          <a:ext cx="4468901" cy="1483360"/>
        </p:xfrm>
        <a:graphic>
          <a:graphicData uri="http://schemas.openxmlformats.org/drawingml/2006/table">
            <a:tbl>
              <a:tblPr firstRow="1" bandRow="1">
                <a:tableStyleId>{5C22544A-7EE6-4342-B048-85BDC9FD1C3A}</a:tableStyleId>
              </a:tblPr>
              <a:tblGrid>
                <a:gridCol w="1276829">
                  <a:extLst>
                    <a:ext uri="{9D8B030D-6E8A-4147-A177-3AD203B41FA5}">
                      <a16:colId xmlns:a16="http://schemas.microsoft.com/office/drawing/2014/main" val="20000"/>
                    </a:ext>
                  </a:extLst>
                </a:gridCol>
                <a:gridCol w="1064024">
                  <a:extLst>
                    <a:ext uri="{9D8B030D-6E8A-4147-A177-3AD203B41FA5}">
                      <a16:colId xmlns:a16="http://schemas.microsoft.com/office/drawing/2014/main" val="20001"/>
                    </a:ext>
                  </a:extLst>
                </a:gridCol>
                <a:gridCol w="1064024">
                  <a:extLst>
                    <a:ext uri="{9D8B030D-6E8A-4147-A177-3AD203B41FA5}">
                      <a16:colId xmlns:a16="http://schemas.microsoft.com/office/drawing/2014/main" val="20002"/>
                    </a:ext>
                  </a:extLst>
                </a:gridCol>
                <a:gridCol w="1064024">
                  <a:extLst>
                    <a:ext uri="{9D8B030D-6E8A-4147-A177-3AD203B41FA5}">
                      <a16:colId xmlns:a16="http://schemas.microsoft.com/office/drawing/2014/main" val="20003"/>
                    </a:ext>
                  </a:extLst>
                </a:gridCol>
              </a:tblGrid>
              <a:tr h="370840">
                <a:tc>
                  <a:txBody>
                    <a:bodyPr/>
                    <a:lstStyle/>
                    <a:p>
                      <a:pPr algn="ctr" latinLnBrk="1"/>
                      <a:endParaRPr lang="ko-KR" altLang="en-US" sz="1200">
                        <a:latin typeface="+mn-lt"/>
                        <a:cs typeface="Arial" pitchFamily="34" charset="0"/>
                      </a:endParaRPr>
                    </a:p>
                  </a:txBody>
                  <a:tcPr anchor="ctr">
                    <a:solidFill>
                      <a:schemeClr val="accent2"/>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2"/>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2"/>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2"/>
                    </a:solidFill>
                  </a:tcPr>
                </a:tc>
                <a:extLst>
                  <a:ext uri="{0D108BD9-81ED-4DB2-BD59-A6C34878D82A}">
                    <a16:rowId xmlns:a16="http://schemas.microsoft.com/office/drawing/2014/main" val="10000"/>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extLst>
                  <a:ext uri="{0D108BD9-81ED-4DB2-BD59-A6C34878D82A}">
                    <a16:rowId xmlns:a16="http://schemas.microsoft.com/office/drawing/2014/main" val="10001"/>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extLst>
                  <a:ext uri="{0D108BD9-81ED-4DB2-BD59-A6C34878D82A}">
                    <a16:rowId xmlns:a16="http://schemas.microsoft.com/office/drawing/2014/main" val="10002"/>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B w="381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38100" cap="flat" cmpd="sng" algn="ctr">
                      <a:solidFill>
                        <a:schemeClr val="accent2"/>
                      </a:solidFill>
                      <a:prstDash val="solid"/>
                      <a:round/>
                      <a:headEnd type="none" w="med" len="med"/>
                      <a:tailEnd type="none" w="med" len="med"/>
                    </a:lnB>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38100" cap="flat" cmpd="sng" algn="ctr">
                      <a:solidFill>
                        <a:schemeClr val="accent2"/>
                      </a:solidFill>
                      <a:prstDash val="solid"/>
                      <a:round/>
                      <a:headEnd type="none" w="med" len="med"/>
                      <a:tailEnd type="none" w="med" len="med"/>
                    </a:lnB>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381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1" name="Rounded Rectangle 10">
            <a:extLst>
              <a:ext uri="{FF2B5EF4-FFF2-40B4-BE49-F238E27FC236}">
                <a16:creationId xmlns:a16="http://schemas.microsoft.com/office/drawing/2014/main" id="{5D64CD4A-AA7F-5B4D-BEDB-AFE472F3F788}"/>
              </a:ext>
            </a:extLst>
          </p:cNvPr>
          <p:cNvSpPr/>
          <p:nvPr/>
        </p:nvSpPr>
        <p:spPr>
          <a:xfrm>
            <a:off x="1372085" y="1729964"/>
            <a:ext cx="3301857" cy="46407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cxnSp>
        <p:nvCxnSpPr>
          <p:cNvPr id="12" name="Straight Connector 11">
            <a:extLst>
              <a:ext uri="{FF2B5EF4-FFF2-40B4-BE49-F238E27FC236}">
                <a16:creationId xmlns:a16="http://schemas.microsoft.com/office/drawing/2014/main" id="{034A6360-9C57-F046-A6A4-8285D00812C8}"/>
              </a:ext>
            </a:extLst>
          </p:cNvPr>
          <p:cNvCxnSpPr/>
          <p:nvPr/>
        </p:nvCxnSpPr>
        <p:spPr>
          <a:xfrm>
            <a:off x="1547111" y="2683603"/>
            <a:ext cx="43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4A289E1-0FF7-CD40-BA3D-9FE9A70BC021}"/>
              </a:ext>
            </a:extLst>
          </p:cNvPr>
          <p:cNvSpPr txBox="1"/>
          <p:nvPr/>
        </p:nvSpPr>
        <p:spPr>
          <a:xfrm>
            <a:off x="1657056" y="2823352"/>
            <a:ext cx="4182430" cy="830997"/>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 Money and Reputation. Easy to change colors, photos and Text.</a:t>
            </a:r>
            <a:endParaRPr lang="ko-KR" altLang="en-US" sz="1200">
              <a:solidFill>
                <a:schemeClr val="tx1">
                  <a:lumMod val="75000"/>
                  <a:lumOff val="25000"/>
                </a:schemeClr>
              </a:solidFill>
              <a:cs typeface="Arial" pitchFamily="34" charset="0"/>
            </a:endParaRPr>
          </a:p>
        </p:txBody>
      </p:sp>
      <p:sp>
        <p:nvSpPr>
          <p:cNvPr id="14" name="TextBox 13">
            <a:extLst>
              <a:ext uri="{FF2B5EF4-FFF2-40B4-BE49-F238E27FC236}">
                <a16:creationId xmlns:a16="http://schemas.microsoft.com/office/drawing/2014/main" id="{F66D6EEA-4C66-B94A-9C82-BA7CB3BCB85D}"/>
              </a:ext>
            </a:extLst>
          </p:cNvPr>
          <p:cNvSpPr txBox="1"/>
          <p:nvPr/>
        </p:nvSpPr>
        <p:spPr>
          <a:xfrm>
            <a:off x="1657054" y="2292310"/>
            <a:ext cx="2450706"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Your Text  Here</a:t>
            </a:r>
            <a:endParaRPr lang="ko-KR" altLang="en-US" sz="1400" b="1">
              <a:solidFill>
                <a:schemeClr val="tx1">
                  <a:lumMod val="75000"/>
                  <a:lumOff val="25000"/>
                </a:schemeClr>
              </a:solidFill>
              <a:cs typeface="Arial" pitchFamily="34" charset="0"/>
            </a:endParaRPr>
          </a:p>
        </p:txBody>
      </p:sp>
      <p:sp>
        <p:nvSpPr>
          <p:cNvPr id="15" name="TextBox 14">
            <a:extLst>
              <a:ext uri="{FF2B5EF4-FFF2-40B4-BE49-F238E27FC236}">
                <a16:creationId xmlns:a16="http://schemas.microsoft.com/office/drawing/2014/main" id="{186A7350-B717-4543-9080-5AB7B8A038B6}"/>
              </a:ext>
            </a:extLst>
          </p:cNvPr>
          <p:cNvSpPr txBox="1"/>
          <p:nvPr/>
        </p:nvSpPr>
        <p:spPr>
          <a:xfrm>
            <a:off x="1908752" y="1777334"/>
            <a:ext cx="2228523" cy="369332"/>
          </a:xfrm>
          <a:prstGeom prst="rect">
            <a:avLst/>
          </a:prstGeom>
          <a:noFill/>
        </p:spPr>
        <p:txBody>
          <a:bodyPr wrap="square" rtlCol="0">
            <a:spAutoFit/>
          </a:bodyPr>
          <a:lstStyle/>
          <a:p>
            <a:r>
              <a:rPr lang="en-US" altLang="ko-KR" b="1">
                <a:solidFill>
                  <a:schemeClr val="bg1"/>
                </a:solidFill>
                <a:cs typeface="Arial" pitchFamily="34" charset="0"/>
              </a:rPr>
              <a:t>Your Text  Here</a:t>
            </a:r>
            <a:endParaRPr lang="ko-KR" altLang="en-US" b="1">
              <a:solidFill>
                <a:schemeClr val="bg1"/>
              </a:solidFill>
              <a:cs typeface="Arial" pitchFamily="34" charset="0"/>
            </a:endParaRPr>
          </a:p>
        </p:txBody>
      </p:sp>
      <p:sp>
        <p:nvSpPr>
          <p:cNvPr id="16" name="Rounded Rectangle 15">
            <a:extLst>
              <a:ext uri="{FF2B5EF4-FFF2-40B4-BE49-F238E27FC236}">
                <a16:creationId xmlns:a16="http://schemas.microsoft.com/office/drawing/2014/main" id="{CD979DBF-4D54-5A4D-95DF-F1C665FB0D6F}"/>
              </a:ext>
            </a:extLst>
          </p:cNvPr>
          <p:cNvSpPr/>
          <p:nvPr/>
        </p:nvSpPr>
        <p:spPr>
          <a:xfrm>
            <a:off x="932508" y="4278312"/>
            <a:ext cx="10320950" cy="1856747"/>
          </a:xfrm>
          <a:prstGeom prst="roundRect">
            <a:avLst>
              <a:gd name="adj" fmla="val 7849"/>
            </a:avLst>
          </a:prstGeom>
          <a:solidFill>
            <a:schemeClr val="bg1">
              <a:alpha val="50000"/>
            </a:schemeClr>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aphicFrame>
        <p:nvGraphicFramePr>
          <p:cNvPr id="17" name="Table 16">
            <a:extLst>
              <a:ext uri="{FF2B5EF4-FFF2-40B4-BE49-F238E27FC236}">
                <a16:creationId xmlns:a16="http://schemas.microsoft.com/office/drawing/2014/main" id="{6902D97B-2F50-3448-9405-E8D44C71C677}"/>
              </a:ext>
            </a:extLst>
          </p:cNvPr>
          <p:cNvGraphicFramePr>
            <a:graphicFrameLocks noGrp="1"/>
          </p:cNvGraphicFramePr>
          <p:nvPr>
            <p:extLst>
              <p:ext uri="{D42A27DB-BD31-4B8C-83A1-F6EECF244321}">
                <p14:modId xmlns:p14="http://schemas.microsoft.com/office/powerpoint/2010/main" val="3511263225"/>
              </p:ext>
            </p:extLst>
          </p:nvPr>
        </p:nvGraphicFramePr>
        <p:xfrm>
          <a:off x="6351015" y="4450380"/>
          <a:ext cx="4468901" cy="1483360"/>
        </p:xfrm>
        <a:graphic>
          <a:graphicData uri="http://schemas.openxmlformats.org/drawingml/2006/table">
            <a:tbl>
              <a:tblPr firstRow="1" bandRow="1">
                <a:tableStyleId>{5C22544A-7EE6-4342-B048-85BDC9FD1C3A}</a:tableStyleId>
              </a:tblPr>
              <a:tblGrid>
                <a:gridCol w="1276829">
                  <a:extLst>
                    <a:ext uri="{9D8B030D-6E8A-4147-A177-3AD203B41FA5}">
                      <a16:colId xmlns:a16="http://schemas.microsoft.com/office/drawing/2014/main" val="20000"/>
                    </a:ext>
                  </a:extLst>
                </a:gridCol>
                <a:gridCol w="1064024">
                  <a:extLst>
                    <a:ext uri="{9D8B030D-6E8A-4147-A177-3AD203B41FA5}">
                      <a16:colId xmlns:a16="http://schemas.microsoft.com/office/drawing/2014/main" val="20001"/>
                    </a:ext>
                  </a:extLst>
                </a:gridCol>
                <a:gridCol w="1064024">
                  <a:extLst>
                    <a:ext uri="{9D8B030D-6E8A-4147-A177-3AD203B41FA5}">
                      <a16:colId xmlns:a16="http://schemas.microsoft.com/office/drawing/2014/main" val="20002"/>
                    </a:ext>
                  </a:extLst>
                </a:gridCol>
                <a:gridCol w="1064024">
                  <a:extLst>
                    <a:ext uri="{9D8B030D-6E8A-4147-A177-3AD203B41FA5}">
                      <a16:colId xmlns:a16="http://schemas.microsoft.com/office/drawing/2014/main" val="20003"/>
                    </a:ext>
                  </a:extLst>
                </a:gridCol>
              </a:tblGrid>
              <a:tr h="370840">
                <a:tc>
                  <a:txBody>
                    <a:bodyPr/>
                    <a:lstStyle/>
                    <a:p>
                      <a:pPr algn="ctr" latinLnBrk="1"/>
                      <a:endParaRPr lang="ko-KR" altLang="en-US" sz="1200">
                        <a:latin typeface="+mn-lt"/>
                        <a:cs typeface="Arial" pitchFamily="34" charset="0"/>
                      </a:endParaRPr>
                    </a:p>
                  </a:txBody>
                  <a:tcPr anchor="ctr">
                    <a:solidFill>
                      <a:schemeClr val="accent3"/>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3"/>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3"/>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a:t>
                      </a:r>
                      <a:endParaRPr lang="ko-KR" altLang="en-US" sz="1200">
                        <a:solidFill>
                          <a:schemeClr val="bg1"/>
                        </a:solidFill>
                        <a:latin typeface="+mn-lt"/>
                        <a:cs typeface="Arial" pitchFamily="34" charset="0"/>
                      </a:endParaRPr>
                    </a:p>
                  </a:txBody>
                  <a:tcPr anchor="ctr">
                    <a:solidFill>
                      <a:schemeClr val="accent3"/>
                    </a:solidFill>
                  </a:tcPr>
                </a:tc>
                <a:extLst>
                  <a:ext uri="{0D108BD9-81ED-4DB2-BD59-A6C34878D82A}">
                    <a16:rowId xmlns:a16="http://schemas.microsoft.com/office/drawing/2014/main" val="10000"/>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extLst>
                  <a:ext uri="{0D108BD9-81ED-4DB2-BD59-A6C34878D82A}">
                    <a16:rowId xmlns:a16="http://schemas.microsoft.com/office/drawing/2014/main" val="10001"/>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solidFill>
                      <a:schemeClr val="bg1"/>
                    </a:solidFill>
                  </a:tcPr>
                </a:tc>
                <a:extLst>
                  <a:ext uri="{0D108BD9-81ED-4DB2-BD59-A6C34878D82A}">
                    <a16:rowId xmlns:a16="http://schemas.microsoft.com/office/drawing/2014/main" val="10002"/>
                  </a:ext>
                </a:extLst>
              </a:tr>
              <a:tr h="370840">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B w="28575"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28575"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28575" cap="flat" cmpd="sng" algn="ctr">
                      <a:solidFill>
                        <a:schemeClr val="accent3"/>
                      </a:solidFill>
                      <a:prstDash val="solid"/>
                      <a:round/>
                      <a:headEnd type="none" w="med" len="med"/>
                      <a:tailEnd type="none" w="med" len="med"/>
                    </a:lnB>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a:solidFill>
                            <a:schemeClr val="tx1">
                              <a:lumMod val="75000"/>
                              <a:lumOff val="25000"/>
                            </a:schemeClr>
                          </a:solidFill>
                          <a:latin typeface="+mn-lt"/>
                          <a:cs typeface="Arial" pitchFamily="34" charset="0"/>
                        </a:rPr>
                        <a:t>Text</a:t>
                      </a:r>
                      <a:endParaRPr lang="ko-KR" altLang="en-US" sz="1200" b="0">
                        <a:solidFill>
                          <a:schemeClr val="tx1">
                            <a:lumMod val="75000"/>
                            <a:lumOff val="25000"/>
                          </a:schemeClr>
                        </a:solidFill>
                        <a:latin typeface="+mn-lt"/>
                        <a:cs typeface="Arial" pitchFamily="34" charset="0"/>
                      </a:endParaRPr>
                    </a:p>
                  </a:txBody>
                  <a:tcPr anchor="ctr">
                    <a:lnB w="2857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8" name="Rounded Rectangle 17">
            <a:extLst>
              <a:ext uri="{FF2B5EF4-FFF2-40B4-BE49-F238E27FC236}">
                <a16:creationId xmlns:a16="http://schemas.microsoft.com/office/drawing/2014/main" id="{3133294B-C9C7-3645-807F-3635265FC5D2}"/>
              </a:ext>
            </a:extLst>
          </p:cNvPr>
          <p:cNvSpPr/>
          <p:nvPr/>
        </p:nvSpPr>
        <p:spPr>
          <a:xfrm>
            <a:off x="1372085" y="4062288"/>
            <a:ext cx="3301857" cy="46407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cxnSp>
        <p:nvCxnSpPr>
          <p:cNvPr id="19" name="Straight Connector 18">
            <a:extLst>
              <a:ext uri="{FF2B5EF4-FFF2-40B4-BE49-F238E27FC236}">
                <a16:creationId xmlns:a16="http://schemas.microsoft.com/office/drawing/2014/main" id="{D755D7FE-DB1A-6A45-85A4-ACFDCC3E926F}"/>
              </a:ext>
            </a:extLst>
          </p:cNvPr>
          <p:cNvCxnSpPr/>
          <p:nvPr/>
        </p:nvCxnSpPr>
        <p:spPr>
          <a:xfrm>
            <a:off x="1547111" y="5015927"/>
            <a:ext cx="4320000" cy="0"/>
          </a:xfrm>
          <a:prstGeom prst="line">
            <a:avLst/>
          </a:prstGeom>
          <a:ln w="12700">
            <a:solidFill>
              <a:schemeClr val="accent3"/>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ED20C98-7C62-5F40-9A73-73D2B2345E65}"/>
              </a:ext>
            </a:extLst>
          </p:cNvPr>
          <p:cNvSpPr txBox="1"/>
          <p:nvPr/>
        </p:nvSpPr>
        <p:spPr>
          <a:xfrm>
            <a:off x="1657056" y="5155676"/>
            <a:ext cx="4182430" cy="830997"/>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Get a modern PowerPoint  Presentation that is beautifully designed. I hope and I believe that this Template will your Time, Money and Reputation. Easy to change colors, photos and Text.</a:t>
            </a:r>
            <a:endParaRPr lang="ko-KR" altLang="en-US" sz="1200">
              <a:solidFill>
                <a:schemeClr val="tx1">
                  <a:lumMod val="75000"/>
                  <a:lumOff val="25000"/>
                </a:schemeClr>
              </a:solidFill>
              <a:cs typeface="Arial" pitchFamily="34" charset="0"/>
            </a:endParaRPr>
          </a:p>
        </p:txBody>
      </p:sp>
      <p:sp>
        <p:nvSpPr>
          <p:cNvPr id="21" name="TextBox 20">
            <a:extLst>
              <a:ext uri="{FF2B5EF4-FFF2-40B4-BE49-F238E27FC236}">
                <a16:creationId xmlns:a16="http://schemas.microsoft.com/office/drawing/2014/main" id="{CD44B11B-7AA4-7B49-8C18-C97A200CDDAD}"/>
              </a:ext>
            </a:extLst>
          </p:cNvPr>
          <p:cNvSpPr txBox="1"/>
          <p:nvPr/>
        </p:nvSpPr>
        <p:spPr>
          <a:xfrm>
            <a:off x="1657054" y="4624634"/>
            <a:ext cx="2450706"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Your Text  Here</a:t>
            </a:r>
            <a:endParaRPr lang="ko-KR" altLang="en-US" sz="1400" b="1">
              <a:solidFill>
                <a:schemeClr val="tx1">
                  <a:lumMod val="75000"/>
                  <a:lumOff val="25000"/>
                </a:schemeClr>
              </a:solidFill>
              <a:cs typeface="Arial" pitchFamily="34" charset="0"/>
            </a:endParaRPr>
          </a:p>
        </p:txBody>
      </p:sp>
      <p:sp>
        <p:nvSpPr>
          <p:cNvPr id="22" name="TextBox 21">
            <a:extLst>
              <a:ext uri="{FF2B5EF4-FFF2-40B4-BE49-F238E27FC236}">
                <a16:creationId xmlns:a16="http://schemas.microsoft.com/office/drawing/2014/main" id="{6A880B5F-61B3-2142-B422-2DCB7BFCD2BD}"/>
              </a:ext>
            </a:extLst>
          </p:cNvPr>
          <p:cNvSpPr txBox="1"/>
          <p:nvPr/>
        </p:nvSpPr>
        <p:spPr>
          <a:xfrm>
            <a:off x="1908752" y="4109658"/>
            <a:ext cx="2228523" cy="369332"/>
          </a:xfrm>
          <a:prstGeom prst="rect">
            <a:avLst/>
          </a:prstGeom>
          <a:noFill/>
        </p:spPr>
        <p:txBody>
          <a:bodyPr wrap="square" rtlCol="0">
            <a:spAutoFit/>
          </a:bodyPr>
          <a:lstStyle/>
          <a:p>
            <a:r>
              <a:rPr lang="en-US" altLang="ko-KR" b="1">
                <a:solidFill>
                  <a:schemeClr val="bg1"/>
                </a:solidFill>
                <a:cs typeface="Arial" pitchFamily="34" charset="0"/>
              </a:rPr>
              <a:t>Your Text  Here</a:t>
            </a:r>
            <a:endParaRPr lang="ko-KR" altLang="en-US" b="1">
              <a:solidFill>
                <a:schemeClr val="bg1"/>
              </a:solidFill>
              <a:cs typeface="Arial" pitchFamily="34" charset="0"/>
            </a:endParaRPr>
          </a:p>
        </p:txBody>
      </p:sp>
    </p:spTree>
    <p:extLst>
      <p:ext uri="{BB962C8B-B14F-4D97-AF65-F5344CB8AC3E}">
        <p14:creationId xmlns:p14="http://schemas.microsoft.com/office/powerpoint/2010/main" val="1590663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3184943" y="1986669"/>
            <a:ext cx="4956739"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9" name="Rectangle 78">
            <a:extLst>
              <a:ext uri="{FF2B5EF4-FFF2-40B4-BE49-F238E27FC236}">
                <a16:creationId xmlns:a16="http://schemas.microsoft.com/office/drawing/2014/main" id="{0B167CCD-B821-4A23-9FA7-556FD079928B}"/>
              </a:ext>
            </a:extLst>
          </p:cNvPr>
          <p:cNvSpPr/>
          <p:nvPr/>
        </p:nvSpPr>
        <p:spPr>
          <a:xfrm>
            <a:off x="891273" y="198666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2851628"/>
            <a:ext cx="7776000"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p:nvPr/>
        </p:nvCxnSpPr>
        <p:spPr>
          <a:xfrm>
            <a:off x="365682" y="3897029"/>
            <a:ext cx="7776000"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891273" y="3032070"/>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2958830"/>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3184943" y="3032070"/>
            <a:ext cx="4956739"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tangle 55">
            <a:extLst>
              <a:ext uri="{FF2B5EF4-FFF2-40B4-BE49-F238E27FC236}">
                <a16:creationId xmlns:a16="http://schemas.microsoft.com/office/drawing/2014/main" id="{D9FF0F48-8BA1-4352-A8D1-8CD3B18F78E0}"/>
              </a:ext>
            </a:extLst>
          </p:cNvPr>
          <p:cNvSpPr/>
          <p:nvPr/>
        </p:nvSpPr>
        <p:spPr>
          <a:xfrm>
            <a:off x="891273" y="4077471"/>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4004231"/>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28" name="Rectangle 27">
            <a:extLst>
              <a:ext uri="{FF2B5EF4-FFF2-40B4-BE49-F238E27FC236}">
                <a16:creationId xmlns:a16="http://schemas.microsoft.com/office/drawing/2014/main" id="{B3925AB3-A14F-422D-90C2-088906BB6C96}"/>
              </a:ext>
            </a:extLst>
          </p:cNvPr>
          <p:cNvSpPr>
            <a:spLocks/>
          </p:cNvSpPr>
          <p:nvPr/>
        </p:nvSpPr>
        <p:spPr>
          <a:xfrm>
            <a:off x="3184943" y="4077471"/>
            <a:ext cx="4956739"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1" name="Rectangle 10">
            <a:extLst>
              <a:ext uri="{FF2B5EF4-FFF2-40B4-BE49-F238E27FC236}">
                <a16:creationId xmlns:a16="http://schemas.microsoft.com/office/drawing/2014/main" id="{9FD7097F-5451-492F-AD01-AF13FE2B5CCA}"/>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cxnSp>
        <p:nvCxnSpPr>
          <p:cNvPr id="25" name="Straight Connector 24">
            <a:extLst>
              <a:ext uri="{FF2B5EF4-FFF2-40B4-BE49-F238E27FC236}">
                <a16:creationId xmlns:a16="http://schemas.microsoft.com/office/drawing/2014/main" id="{D0CD7538-EB8C-4767-AB7D-3B144FFC874E}"/>
              </a:ext>
            </a:extLst>
          </p:cNvPr>
          <p:cNvCxnSpPr/>
          <p:nvPr/>
        </p:nvCxnSpPr>
        <p:spPr>
          <a:xfrm>
            <a:off x="365682" y="4942430"/>
            <a:ext cx="7776000" cy="0"/>
          </a:xfrm>
          <a:prstGeom prst="line">
            <a:avLst/>
          </a:prstGeom>
          <a:noFill/>
          <a:ln w="22225" cap="flat" cmpd="sng" algn="ctr">
            <a:solidFill>
              <a:srgbClr val="BBBEC2"/>
            </a:solidFill>
            <a:prstDash val="solid"/>
          </a:ln>
          <a:effectLst/>
        </p:spPr>
      </p:cxnSp>
      <p:sp>
        <p:nvSpPr>
          <p:cNvPr id="29" name="Rectangle 28">
            <a:extLst>
              <a:ext uri="{FF2B5EF4-FFF2-40B4-BE49-F238E27FC236}">
                <a16:creationId xmlns:a16="http://schemas.microsoft.com/office/drawing/2014/main" id="{80FFF5FB-625A-4E0C-8904-A0ED96BB23E5}"/>
              </a:ext>
            </a:extLst>
          </p:cNvPr>
          <p:cNvSpPr/>
          <p:nvPr/>
        </p:nvSpPr>
        <p:spPr>
          <a:xfrm>
            <a:off x="891273" y="5122872"/>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0" name="RBContent19">
            <a:extLst>
              <a:ext uri="{FF2B5EF4-FFF2-40B4-BE49-F238E27FC236}">
                <a16:creationId xmlns:a16="http://schemas.microsoft.com/office/drawing/2014/main" id="{3D7031D1-4BDE-4CE0-9758-EF3201ACAC24}"/>
              </a:ext>
            </a:extLst>
          </p:cNvPr>
          <p:cNvSpPr txBox="1"/>
          <p:nvPr/>
        </p:nvSpPr>
        <p:spPr>
          <a:xfrm>
            <a:off x="365682" y="5049632"/>
            <a:ext cx="37003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31" name="Rectangle 30">
            <a:extLst>
              <a:ext uri="{FF2B5EF4-FFF2-40B4-BE49-F238E27FC236}">
                <a16:creationId xmlns:a16="http://schemas.microsoft.com/office/drawing/2014/main" id="{2F7D4258-5B3E-4514-880A-0C61AF2A2217}"/>
              </a:ext>
            </a:extLst>
          </p:cNvPr>
          <p:cNvSpPr>
            <a:spLocks/>
          </p:cNvSpPr>
          <p:nvPr/>
        </p:nvSpPr>
        <p:spPr>
          <a:xfrm>
            <a:off x="3184943" y="5122872"/>
            <a:ext cx="4956739"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Content Placeholder 14">
            <a:extLst>
              <a:ext uri="{FF2B5EF4-FFF2-40B4-BE49-F238E27FC236}">
                <a16:creationId xmlns:a16="http://schemas.microsoft.com/office/drawing/2014/main" id="{355D58BC-DDF9-4AAA-A797-EF3E5B0C6217}"/>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391877393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70342D-11AF-2540-A8F7-6FC20B4850B7}"/>
              </a:ext>
            </a:extLst>
          </p:cNvPr>
          <p:cNvGraphicFramePr>
            <a:graphicFrameLocks noChangeAspect="1"/>
          </p:cNvGraphicFramePr>
          <p:nvPr>
            <p:custDataLst>
              <p:tags r:id="rId1"/>
            </p:custDataLst>
            <p:extLst>
              <p:ext uri="{D42A27DB-BD31-4B8C-83A1-F6EECF244321}">
                <p14:modId xmlns:p14="http://schemas.microsoft.com/office/powerpoint/2010/main" val="1911311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AD70342D-11AF-2540-A8F7-6FC20B4850B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9EA35CA-E5EB-CA4D-996B-92BE3F2A1CD2}"/>
              </a:ext>
            </a:extLst>
          </p:cNvPr>
          <p:cNvSpPr>
            <a:spLocks noGrp="1"/>
          </p:cNvSpPr>
          <p:nvPr>
            <p:ph type="sldNum" sz="quarter" idx="4"/>
          </p:nvPr>
        </p:nvSpPr>
        <p:spPr/>
        <p:txBody>
          <a:bodyPr/>
          <a:lstStyle/>
          <a:p>
            <a:fld id="{3D966009-6E5A-4F8C-8CA7-E37AFBF5FB92}" type="slidenum">
              <a:rPr lang="en-US" smtClean="0"/>
              <a:t>160</a:t>
            </a:fld>
            <a:endParaRPr lang="en-US"/>
          </a:p>
        </p:txBody>
      </p:sp>
      <p:sp>
        <p:nvSpPr>
          <p:cNvPr id="3" name="Title 2">
            <a:extLst>
              <a:ext uri="{FF2B5EF4-FFF2-40B4-BE49-F238E27FC236}">
                <a16:creationId xmlns:a16="http://schemas.microsoft.com/office/drawing/2014/main" id="{F2ACA27A-D74B-B54A-938B-0F3DDB9749F4}"/>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D9D736C8-82CF-7A4A-86CB-B9A00BCB0D39}"/>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2A2352FB-3148-6043-ADFC-CFD645B08A6B}"/>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BCEC274B-1BA3-9849-8929-EC979B282C4B}"/>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393744D0-E374-FF46-8834-466C2734B740}"/>
              </a:ext>
            </a:extLst>
          </p:cNvPr>
          <p:cNvSpPr>
            <a:spLocks noGrp="1"/>
          </p:cNvSpPr>
          <p:nvPr>
            <p:ph sz="quarter" idx="14"/>
          </p:nvPr>
        </p:nvSpPr>
        <p:spPr/>
        <p:txBody>
          <a:bodyPr/>
          <a:lstStyle/>
          <a:p>
            <a:endParaRPr lang="de-DE"/>
          </a:p>
        </p:txBody>
      </p:sp>
      <p:graphicFrame>
        <p:nvGraphicFramePr>
          <p:cNvPr id="10" name="Table 9">
            <a:extLst>
              <a:ext uri="{FF2B5EF4-FFF2-40B4-BE49-F238E27FC236}">
                <a16:creationId xmlns:a16="http://schemas.microsoft.com/office/drawing/2014/main" id="{89662BFE-999B-F94D-ADE8-3403D894B149}"/>
              </a:ext>
            </a:extLst>
          </p:cNvPr>
          <p:cNvGraphicFramePr>
            <a:graphicFrameLocks noGrp="1"/>
          </p:cNvGraphicFramePr>
          <p:nvPr>
            <p:extLst>
              <p:ext uri="{D42A27DB-BD31-4B8C-83A1-F6EECF244321}">
                <p14:modId xmlns:p14="http://schemas.microsoft.com/office/powerpoint/2010/main" val="644328829"/>
              </p:ext>
            </p:extLst>
          </p:nvPr>
        </p:nvGraphicFramePr>
        <p:xfrm>
          <a:off x="363915" y="1716194"/>
          <a:ext cx="11462400" cy="4197248"/>
        </p:xfrm>
        <a:graphic>
          <a:graphicData uri="http://schemas.openxmlformats.org/drawingml/2006/table">
            <a:tbl>
              <a:tblPr firstRow="1" bandRow="1"/>
              <a:tblGrid>
                <a:gridCol w="2865600">
                  <a:extLst>
                    <a:ext uri="{9D8B030D-6E8A-4147-A177-3AD203B41FA5}">
                      <a16:colId xmlns:a16="http://schemas.microsoft.com/office/drawing/2014/main" val="20000"/>
                    </a:ext>
                  </a:extLst>
                </a:gridCol>
                <a:gridCol w="2865600">
                  <a:extLst>
                    <a:ext uri="{9D8B030D-6E8A-4147-A177-3AD203B41FA5}">
                      <a16:colId xmlns:a16="http://schemas.microsoft.com/office/drawing/2014/main" val="20001"/>
                    </a:ext>
                  </a:extLst>
                </a:gridCol>
                <a:gridCol w="2865600">
                  <a:extLst>
                    <a:ext uri="{9D8B030D-6E8A-4147-A177-3AD203B41FA5}">
                      <a16:colId xmlns:a16="http://schemas.microsoft.com/office/drawing/2014/main" val="20002"/>
                    </a:ext>
                  </a:extLst>
                </a:gridCol>
                <a:gridCol w="2865600">
                  <a:extLst>
                    <a:ext uri="{9D8B030D-6E8A-4147-A177-3AD203B41FA5}">
                      <a16:colId xmlns:a16="http://schemas.microsoft.com/office/drawing/2014/main" val="20003"/>
                    </a:ext>
                  </a:extLst>
                </a:gridCol>
              </a:tblGrid>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400" b="1">
                          <a:solidFill>
                            <a:schemeClr val="tx1">
                              <a:lumMod val="75000"/>
                              <a:lumOff val="25000"/>
                            </a:schemeClr>
                          </a:solidFill>
                          <a:latin typeface="+mn-lt"/>
                          <a:cs typeface="Arial" pitchFamily="34" charset="0"/>
                        </a:rPr>
                        <a:t>Content  Here</a:t>
                      </a:r>
                      <a:endParaRPr lang="ko-KR" altLang="en-US" sz="1400" b="1">
                        <a:solidFill>
                          <a:schemeClr val="tx1">
                            <a:lumMod val="75000"/>
                            <a:lumOff val="25000"/>
                          </a:schemeClr>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algn="ctr"/>
                      <a:r>
                        <a:rPr lang="en-US" altLang="ko-KR" sz="1400" b="1">
                          <a:solidFill>
                            <a:schemeClr val="tx1">
                              <a:lumMod val="75000"/>
                              <a:lumOff val="25000"/>
                            </a:schemeClr>
                          </a:solidFill>
                          <a:latin typeface="+mn-lt"/>
                          <a:cs typeface="Arial" pitchFamily="34" charset="0"/>
                        </a:rPr>
                        <a:t>Content  Here</a:t>
                      </a:r>
                      <a:endParaRPr lang="ko-KR" altLang="en-US" sz="1400" b="1">
                        <a:solidFill>
                          <a:schemeClr val="tx1">
                            <a:lumMod val="75000"/>
                            <a:lumOff val="25000"/>
                          </a:schemeClr>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400" b="1">
                          <a:solidFill>
                            <a:schemeClr val="tx1">
                              <a:lumMod val="75000"/>
                              <a:lumOff val="25000"/>
                            </a:schemeClr>
                          </a:solidFill>
                          <a:latin typeface="+mn-lt"/>
                          <a:cs typeface="Arial" pitchFamily="34" charset="0"/>
                        </a:rPr>
                        <a:t>Content  Here</a:t>
                      </a:r>
                      <a:endParaRPr lang="ko-KR" altLang="en-US" sz="1400" b="1">
                        <a:solidFill>
                          <a:schemeClr val="tx1">
                            <a:lumMod val="75000"/>
                            <a:lumOff val="25000"/>
                          </a:schemeClr>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algn="ctr"/>
                      <a:r>
                        <a:rPr lang="en-US" altLang="ko-KR" sz="1400" b="1">
                          <a:solidFill>
                            <a:schemeClr val="tx1">
                              <a:lumMod val="75000"/>
                              <a:lumOff val="25000"/>
                            </a:schemeClr>
                          </a:solidFill>
                          <a:latin typeface="+mn-lt"/>
                          <a:cs typeface="Arial" pitchFamily="34" charset="0"/>
                        </a:rPr>
                        <a:t>Content  Here</a:t>
                      </a:r>
                      <a:endParaRPr lang="ko-KR" altLang="en-US" sz="1400" b="1">
                        <a:solidFill>
                          <a:schemeClr val="tx1">
                            <a:lumMod val="75000"/>
                            <a:lumOff val="25000"/>
                          </a:schemeClr>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0"/>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 Here</a:t>
                      </a:r>
                      <a:endParaRPr lang="en-JM" altLang="ko-KR"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 Here</a:t>
                      </a:r>
                      <a:endParaRPr lang="en-JM" altLang="ko-KR"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 Here</a:t>
                      </a:r>
                      <a:endParaRPr lang="en-JM" altLang="ko-KR"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ext Here</a:t>
                      </a:r>
                      <a:endParaRPr lang="en-JM" altLang="ko-KR"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extLst>
                  <a:ext uri="{0D108BD9-81ED-4DB2-BD59-A6C34878D82A}">
                    <a16:rowId xmlns:a16="http://schemas.microsoft.com/office/drawing/2014/main" val="10001"/>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2"/>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algn="ctr"/>
                      <a:r>
                        <a:rPr lang="en-US" altLang="ko-KR" sz="1200" b="1">
                          <a:solidFill>
                            <a:schemeClr val="bg1"/>
                          </a:solidFill>
                          <a:latin typeface="+mn-lt"/>
                          <a:cs typeface="Arial" pitchFamily="34" charset="0"/>
                        </a:rPr>
                        <a:t>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3"/>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4"/>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itle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itle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itle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Title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5"/>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Add 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algn="ctr"/>
                      <a:r>
                        <a:rPr lang="en-US" altLang="ko-KR" sz="1200" b="1">
                          <a:solidFill>
                            <a:schemeClr val="bg1"/>
                          </a:solidFill>
                          <a:latin typeface="+mn-lt"/>
                          <a:cs typeface="Arial" pitchFamily="34" charset="0"/>
                        </a:rPr>
                        <a:t>Add 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Add 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Add Content</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6"/>
                  </a:ext>
                </a:extLst>
              </a:tr>
              <a:tr h="524656">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D8EA7"/>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377" rtl="0" eaLnBrk="1" latinLnBrk="0" hangingPunct="1">
                        <a:defRPr sz="1800" kern="1200">
                          <a:solidFill>
                            <a:schemeClr val="tx1"/>
                          </a:solidFill>
                          <a:latin typeface="Arial"/>
                          <a:ea typeface="Arial Unicode MS"/>
                        </a:defRPr>
                      </a:lvl1pPr>
                      <a:lvl2pPr marL="457189" algn="l" defTabSz="914377" rtl="0" eaLnBrk="1" latinLnBrk="0" hangingPunct="1">
                        <a:defRPr sz="1800" kern="1200">
                          <a:solidFill>
                            <a:schemeClr val="tx1"/>
                          </a:solidFill>
                          <a:latin typeface="Arial"/>
                          <a:ea typeface="Arial Unicode MS"/>
                        </a:defRPr>
                      </a:lvl2pPr>
                      <a:lvl3pPr marL="914377" algn="l" defTabSz="914377" rtl="0" eaLnBrk="1" latinLnBrk="0" hangingPunct="1">
                        <a:defRPr sz="1800" kern="1200">
                          <a:solidFill>
                            <a:schemeClr val="tx1"/>
                          </a:solidFill>
                          <a:latin typeface="Arial"/>
                          <a:ea typeface="Arial Unicode MS"/>
                        </a:defRPr>
                      </a:lvl3pPr>
                      <a:lvl4pPr marL="1371566" algn="l" defTabSz="914377" rtl="0" eaLnBrk="1" latinLnBrk="0" hangingPunct="1">
                        <a:defRPr sz="1800" kern="1200">
                          <a:solidFill>
                            <a:schemeClr val="tx1"/>
                          </a:solidFill>
                          <a:latin typeface="Arial"/>
                          <a:ea typeface="Arial Unicode MS"/>
                        </a:defRPr>
                      </a:lvl4pPr>
                      <a:lvl5pPr marL="1828754" algn="l" defTabSz="914377" rtl="0" eaLnBrk="1" latinLnBrk="0" hangingPunct="1">
                        <a:defRPr sz="1800" kern="1200">
                          <a:solidFill>
                            <a:schemeClr val="tx1"/>
                          </a:solidFill>
                          <a:latin typeface="Arial"/>
                          <a:ea typeface="Arial Unicode MS"/>
                        </a:defRPr>
                      </a:lvl5pPr>
                      <a:lvl6pPr marL="2285943" algn="l" defTabSz="914377" rtl="0" eaLnBrk="1" latinLnBrk="0" hangingPunct="1">
                        <a:defRPr sz="1800" kern="1200">
                          <a:solidFill>
                            <a:schemeClr val="tx1"/>
                          </a:solidFill>
                          <a:latin typeface="Arial"/>
                          <a:ea typeface="Arial Unicode MS"/>
                        </a:defRPr>
                      </a:lvl6pPr>
                      <a:lvl7pPr marL="2743131" algn="l" defTabSz="914377" rtl="0" eaLnBrk="1" latinLnBrk="0" hangingPunct="1">
                        <a:defRPr sz="1800" kern="1200">
                          <a:solidFill>
                            <a:schemeClr val="tx1"/>
                          </a:solidFill>
                          <a:latin typeface="Arial"/>
                          <a:ea typeface="Arial Unicode MS"/>
                        </a:defRPr>
                      </a:lvl7pPr>
                      <a:lvl8pPr marL="3200320" algn="l" defTabSz="914377" rtl="0" eaLnBrk="1" latinLnBrk="0" hangingPunct="1">
                        <a:defRPr sz="1800" kern="1200">
                          <a:solidFill>
                            <a:schemeClr val="tx1"/>
                          </a:solidFill>
                          <a:latin typeface="Arial"/>
                          <a:ea typeface="Arial Unicode MS"/>
                        </a:defRPr>
                      </a:lvl8pPr>
                      <a:lvl9pPr marL="3657509" algn="l" defTabSz="914377"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1">
                          <a:solidFill>
                            <a:schemeClr val="bg1"/>
                          </a:solidFill>
                          <a:latin typeface="+mn-lt"/>
                          <a:cs typeface="Arial" pitchFamily="34" charset="0"/>
                        </a:rPr>
                        <a:t>Content  Here</a:t>
                      </a:r>
                      <a:endParaRPr lang="ko-KR" altLang="en-US" sz="1200" b="1">
                        <a:solidFill>
                          <a:schemeClr val="bg1"/>
                        </a:solidFill>
                        <a:latin typeface="+mn-lt"/>
                        <a:cs typeface="Arial" pitchFamily="34" charset="0"/>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36520877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9D16DE4A-DCDF-A84F-A615-7D2B416B07EF}"/>
              </a:ext>
            </a:extLst>
          </p:cNvPr>
          <p:cNvGraphicFramePr>
            <a:graphicFrameLocks noChangeAspect="1"/>
          </p:cNvGraphicFramePr>
          <p:nvPr>
            <p:custDataLst>
              <p:tags r:id="rId1"/>
            </p:custDataLst>
            <p:extLst>
              <p:ext uri="{D42A27DB-BD31-4B8C-83A1-F6EECF244321}">
                <p14:modId xmlns:p14="http://schemas.microsoft.com/office/powerpoint/2010/main" val="2759614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31" name="Object 30" hidden="1">
                        <a:extLst>
                          <a:ext uri="{FF2B5EF4-FFF2-40B4-BE49-F238E27FC236}">
                            <a16:creationId xmlns:a16="http://schemas.microsoft.com/office/drawing/2014/main" id="{9D16DE4A-DCDF-A84F-A615-7D2B416B07E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0E3EFD6-101A-084F-BF56-E557E9F1C124}"/>
              </a:ext>
            </a:extLst>
          </p:cNvPr>
          <p:cNvSpPr>
            <a:spLocks noGrp="1"/>
          </p:cNvSpPr>
          <p:nvPr>
            <p:ph type="sldNum" sz="quarter" idx="4"/>
          </p:nvPr>
        </p:nvSpPr>
        <p:spPr/>
        <p:txBody>
          <a:bodyPr/>
          <a:lstStyle/>
          <a:p>
            <a:fld id="{3D966009-6E5A-4F8C-8CA7-E37AFBF5FB92}" type="slidenum">
              <a:rPr lang="en-US" smtClean="0"/>
              <a:t>161</a:t>
            </a:fld>
            <a:endParaRPr lang="en-US"/>
          </a:p>
        </p:txBody>
      </p:sp>
      <p:sp>
        <p:nvSpPr>
          <p:cNvPr id="3" name="Title 2">
            <a:extLst>
              <a:ext uri="{FF2B5EF4-FFF2-40B4-BE49-F238E27FC236}">
                <a16:creationId xmlns:a16="http://schemas.microsoft.com/office/drawing/2014/main" id="{21096E0E-2355-BD4B-A5EA-F7B2D414C7E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592019D7-467A-CA4C-B8F9-EBFE824228BD}"/>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C9390E1C-C91A-2A49-9BB3-07BD410AAF6D}"/>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D5C0DA70-868E-0B45-AB2A-69207288DF2C}"/>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F4EDAFB7-3230-C942-86C9-56C2C9039F28}"/>
              </a:ext>
            </a:extLst>
          </p:cNvPr>
          <p:cNvSpPr>
            <a:spLocks noGrp="1"/>
          </p:cNvSpPr>
          <p:nvPr>
            <p:ph sz="quarter" idx="14"/>
          </p:nvPr>
        </p:nvSpPr>
        <p:spPr/>
        <p:txBody>
          <a:bodyPr/>
          <a:lstStyle/>
          <a:p>
            <a:endParaRPr lang="en-GB"/>
          </a:p>
        </p:txBody>
      </p:sp>
      <p:grpSp>
        <p:nvGrpSpPr>
          <p:cNvPr id="30" name="Group 29">
            <a:extLst>
              <a:ext uri="{FF2B5EF4-FFF2-40B4-BE49-F238E27FC236}">
                <a16:creationId xmlns:a16="http://schemas.microsoft.com/office/drawing/2014/main" id="{B9CE359B-FCD3-2343-9BDE-7725DBE1EC02}"/>
              </a:ext>
            </a:extLst>
          </p:cNvPr>
          <p:cNvGrpSpPr/>
          <p:nvPr/>
        </p:nvGrpSpPr>
        <p:grpSpPr>
          <a:xfrm>
            <a:off x="887241" y="1801641"/>
            <a:ext cx="10411489" cy="4183726"/>
            <a:chOff x="887241" y="1801641"/>
            <a:chExt cx="10411489" cy="4183726"/>
          </a:xfrm>
        </p:grpSpPr>
        <p:graphicFrame>
          <p:nvGraphicFramePr>
            <p:cNvPr id="9" name="Table Placeholder 5">
              <a:extLst>
                <a:ext uri="{FF2B5EF4-FFF2-40B4-BE49-F238E27FC236}">
                  <a16:creationId xmlns:a16="http://schemas.microsoft.com/office/drawing/2014/main" id="{18A736AF-A765-3849-93E6-2BA994DCAA26}"/>
                </a:ext>
              </a:extLst>
            </p:cNvPr>
            <p:cNvGraphicFramePr>
              <a:graphicFrameLocks/>
            </p:cNvGraphicFramePr>
            <p:nvPr>
              <p:extLst>
                <p:ext uri="{D42A27DB-BD31-4B8C-83A1-F6EECF244321}">
                  <p14:modId xmlns:p14="http://schemas.microsoft.com/office/powerpoint/2010/main" val="2093449756"/>
                </p:ext>
              </p:extLst>
            </p:nvPr>
          </p:nvGraphicFramePr>
          <p:xfrm>
            <a:off x="887241" y="1801641"/>
            <a:ext cx="10411485" cy="2529817"/>
          </p:xfrm>
          <a:graphic>
            <a:graphicData uri="http://schemas.openxmlformats.org/drawingml/2006/table">
              <a:tbl>
                <a:tblPr firstRow="1" bandRow="1">
                  <a:tableStyleId>{5FD0F851-EC5A-4D38-B0AD-8093EC10F338}</a:tableStyleId>
                </a:tblPr>
                <a:tblGrid>
                  <a:gridCol w="2082297">
                    <a:extLst>
                      <a:ext uri="{9D8B030D-6E8A-4147-A177-3AD203B41FA5}">
                        <a16:colId xmlns:a16="http://schemas.microsoft.com/office/drawing/2014/main" val="20000"/>
                      </a:ext>
                    </a:extLst>
                  </a:gridCol>
                  <a:gridCol w="2082297">
                    <a:extLst>
                      <a:ext uri="{9D8B030D-6E8A-4147-A177-3AD203B41FA5}">
                        <a16:colId xmlns:a16="http://schemas.microsoft.com/office/drawing/2014/main" val="20001"/>
                      </a:ext>
                    </a:extLst>
                  </a:gridCol>
                  <a:gridCol w="2082297">
                    <a:extLst>
                      <a:ext uri="{9D8B030D-6E8A-4147-A177-3AD203B41FA5}">
                        <a16:colId xmlns:a16="http://schemas.microsoft.com/office/drawing/2014/main" val="20002"/>
                      </a:ext>
                    </a:extLst>
                  </a:gridCol>
                  <a:gridCol w="2082297">
                    <a:extLst>
                      <a:ext uri="{9D8B030D-6E8A-4147-A177-3AD203B41FA5}">
                        <a16:colId xmlns:a16="http://schemas.microsoft.com/office/drawing/2014/main" val="20003"/>
                      </a:ext>
                    </a:extLst>
                  </a:gridCol>
                  <a:gridCol w="2082297">
                    <a:extLst>
                      <a:ext uri="{9D8B030D-6E8A-4147-A177-3AD203B41FA5}">
                        <a16:colId xmlns:a16="http://schemas.microsoft.com/office/drawing/2014/main" val="20004"/>
                      </a:ext>
                    </a:extLst>
                  </a:gridCol>
                </a:tblGrid>
                <a:tr h="375661">
                  <a:tc>
                    <a:txBody>
                      <a:bodyPr/>
                      <a:lstStyle/>
                      <a:p>
                        <a:pPr algn="l"/>
                        <a:endParaRPr lang="en-JM" sz="1200" b="0" spc="0">
                          <a:solidFill>
                            <a:schemeClr val="bg1"/>
                          </a:solidFill>
                          <a:latin typeface="+mn-lt"/>
                        </a:endParaRPr>
                      </a:p>
                    </a:txBody>
                    <a:tcPr anchor="ctr">
                      <a:lnL>
                        <a:noFill/>
                      </a:lnL>
                      <a:lnR w="19050" cap="flat" cmpd="sng" algn="ctr">
                        <a:no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alpha val="0"/>
                        </a:schemeClr>
                      </a:solidFill>
                    </a:tcPr>
                  </a:tc>
                  <a:tc>
                    <a:txBody>
                      <a:bodyPr/>
                      <a:lstStyle/>
                      <a:p>
                        <a:pPr algn="ctr"/>
                        <a:r>
                          <a:rPr lang="en-JM" altLang="ko-KR" sz="1600" b="1" spc="0">
                            <a:solidFill>
                              <a:schemeClr val="bg1"/>
                            </a:solidFill>
                            <a:latin typeface="+mn-lt"/>
                            <a:cs typeface="Arial" pitchFamily="34" charset="0"/>
                          </a:rPr>
                          <a:t>Option 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JM" altLang="ko-KR" sz="1600" b="1" spc="0">
                            <a:solidFill>
                              <a:schemeClr val="bg1"/>
                            </a:solidFill>
                            <a:latin typeface="+mn-lt"/>
                            <a:cs typeface="Arial" pitchFamily="34" charset="0"/>
                          </a:rPr>
                          <a:t>Option B</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JM" altLang="ko-KR" sz="1600" b="1" spc="0">
                            <a:solidFill>
                              <a:schemeClr val="bg1"/>
                            </a:solidFill>
                            <a:latin typeface="+mn-lt"/>
                            <a:cs typeface="Arial" pitchFamily="34" charset="0"/>
                          </a:rPr>
                          <a:t>Option C</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600" b="1" spc="0">
                            <a:solidFill>
                              <a:schemeClr val="bg1"/>
                            </a:solidFill>
                            <a:latin typeface="+mn-lt"/>
                            <a:cs typeface="Arial" pitchFamily="34" charset="0"/>
                          </a:rPr>
                          <a:t>Option D</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90000"/>
                        </a:schemeClr>
                      </a:solidFill>
                    </a:tcPr>
                  </a:tc>
                  <a:extLst>
                    <a:ext uri="{0D108BD9-81ED-4DB2-BD59-A6C34878D82A}">
                      <a16:rowId xmlns:a16="http://schemas.microsoft.com/office/drawing/2014/main" val="10000"/>
                    </a:ext>
                  </a:extLst>
                </a:tr>
                <a:tr h="359026">
                  <a:tc>
                    <a:txBody>
                      <a:bodyPr/>
                      <a:lstStyle/>
                      <a:p>
                        <a:pPr algn="ct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59026">
                  <a:tc>
                    <a:txBody>
                      <a:bodyPr/>
                      <a:lstStyle/>
                      <a:p>
                        <a:pPr algn="ct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5902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5902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902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902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baseline="0">
                            <a:solidFill>
                              <a:schemeClr val="bg1"/>
                            </a:solidFill>
                            <a:latin typeface="+mn-lt"/>
                            <a:cs typeface="Arial" pitchFamily="34" charset="0"/>
                          </a:rPr>
                          <a:t>Your Text Here</a:t>
                        </a:r>
                      </a:p>
                    </a:txBody>
                    <a:tcPr anchor="ctr">
                      <a:lnL>
                        <a:noFill/>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O</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altLang="ko-KR" sz="1100" b="1" baseline="0">
                            <a:solidFill>
                              <a:schemeClr val="tx1">
                                <a:lumMod val="75000"/>
                                <a:lumOff val="25000"/>
                              </a:schemeClr>
                            </a:solidFill>
                            <a:latin typeface="+mn-lt"/>
                            <a:cs typeface="Arial" pitchFamily="34" charset="0"/>
                          </a:rPr>
                          <a:t>x</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pSp>
          <p:nvGrpSpPr>
            <p:cNvPr id="10" name="Group 9">
              <a:extLst>
                <a:ext uri="{FF2B5EF4-FFF2-40B4-BE49-F238E27FC236}">
                  <a16:creationId xmlns:a16="http://schemas.microsoft.com/office/drawing/2014/main" id="{E4BEBC9C-C622-1A4F-B306-34B18F65BCEA}"/>
                </a:ext>
              </a:extLst>
            </p:cNvPr>
            <p:cNvGrpSpPr/>
            <p:nvPr/>
          </p:nvGrpSpPr>
          <p:grpSpPr>
            <a:xfrm>
              <a:off x="911384" y="5065862"/>
              <a:ext cx="2438282" cy="919505"/>
              <a:chOff x="395534" y="3607756"/>
              <a:chExt cx="3972999" cy="919505"/>
            </a:xfrm>
          </p:grpSpPr>
          <p:sp>
            <p:nvSpPr>
              <p:cNvPr id="11" name="TextBox 10">
                <a:extLst>
                  <a:ext uri="{FF2B5EF4-FFF2-40B4-BE49-F238E27FC236}">
                    <a16:creationId xmlns:a16="http://schemas.microsoft.com/office/drawing/2014/main" id="{B0CA62F6-AA8A-3849-AAC6-F321A4708D97}"/>
                  </a:ext>
                </a:extLst>
              </p:cNvPr>
              <p:cNvSpPr txBox="1"/>
              <p:nvPr/>
            </p:nvSpPr>
            <p:spPr>
              <a:xfrm>
                <a:off x="395534" y="3607756"/>
                <a:ext cx="3972999" cy="307777"/>
              </a:xfrm>
              <a:prstGeom prst="rect">
                <a:avLst/>
              </a:prstGeom>
              <a:noFill/>
            </p:spPr>
            <p:txBody>
              <a:bodyPr wrap="square" rtlCol="0" anchor="ctr">
                <a:spAutoFit/>
              </a:bodyPr>
              <a:lstStyle/>
              <a:p>
                <a:pPr algn="ctr"/>
                <a:r>
                  <a:rPr lang="en-JM" altLang="ko-KR" sz="1400" b="1">
                    <a:solidFill>
                      <a:schemeClr val="tx1">
                        <a:lumMod val="75000"/>
                        <a:lumOff val="25000"/>
                      </a:schemeClr>
                    </a:solidFill>
                    <a:cs typeface="Arial" pitchFamily="34" charset="0"/>
                  </a:rPr>
                  <a:t>Option A</a:t>
                </a:r>
              </a:p>
            </p:txBody>
          </p:sp>
          <p:sp>
            <p:nvSpPr>
              <p:cNvPr id="12" name="TextBox 11">
                <a:extLst>
                  <a:ext uri="{FF2B5EF4-FFF2-40B4-BE49-F238E27FC236}">
                    <a16:creationId xmlns:a16="http://schemas.microsoft.com/office/drawing/2014/main" id="{BF822DDD-CF30-9A41-8FCB-C642F942A583}"/>
                  </a:ext>
                </a:extLst>
              </p:cNvPr>
              <p:cNvSpPr txBox="1"/>
              <p:nvPr/>
            </p:nvSpPr>
            <p:spPr>
              <a:xfrm>
                <a:off x="395536" y="3880930"/>
                <a:ext cx="397299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 and appeal to your Presentations.</a:t>
                </a:r>
              </a:p>
            </p:txBody>
          </p:sp>
        </p:grpSp>
        <p:grpSp>
          <p:nvGrpSpPr>
            <p:cNvPr id="13" name="Group 12">
              <a:extLst>
                <a:ext uri="{FF2B5EF4-FFF2-40B4-BE49-F238E27FC236}">
                  <a16:creationId xmlns:a16="http://schemas.microsoft.com/office/drawing/2014/main" id="{A866036D-B2E0-D043-95EF-62E230C9B454}"/>
                </a:ext>
              </a:extLst>
            </p:cNvPr>
            <p:cNvGrpSpPr/>
            <p:nvPr/>
          </p:nvGrpSpPr>
          <p:grpSpPr>
            <a:xfrm>
              <a:off x="3561072" y="5065862"/>
              <a:ext cx="2438282" cy="919505"/>
              <a:chOff x="395534" y="3607756"/>
              <a:chExt cx="3972999" cy="919505"/>
            </a:xfrm>
          </p:grpSpPr>
          <p:sp>
            <p:nvSpPr>
              <p:cNvPr id="14" name="TextBox 13">
                <a:extLst>
                  <a:ext uri="{FF2B5EF4-FFF2-40B4-BE49-F238E27FC236}">
                    <a16:creationId xmlns:a16="http://schemas.microsoft.com/office/drawing/2014/main" id="{AABAF5F8-8B97-CE43-8FB0-A4BC911F019E}"/>
                  </a:ext>
                </a:extLst>
              </p:cNvPr>
              <p:cNvSpPr txBox="1"/>
              <p:nvPr/>
            </p:nvSpPr>
            <p:spPr>
              <a:xfrm>
                <a:off x="395534" y="3607756"/>
                <a:ext cx="3972999" cy="307777"/>
              </a:xfrm>
              <a:prstGeom prst="rect">
                <a:avLst/>
              </a:prstGeom>
              <a:noFill/>
            </p:spPr>
            <p:txBody>
              <a:bodyPr wrap="square" rtlCol="0" anchor="ctr">
                <a:spAutoFit/>
              </a:bodyPr>
              <a:lstStyle/>
              <a:p>
                <a:pPr algn="ctr"/>
                <a:r>
                  <a:rPr lang="en-JM" altLang="ko-KR" sz="1400" b="1">
                    <a:solidFill>
                      <a:schemeClr val="tx1">
                        <a:lumMod val="75000"/>
                        <a:lumOff val="25000"/>
                      </a:schemeClr>
                    </a:solidFill>
                    <a:cs typeface="Arial" pitchFamily="34" charset="0"/>
                  </a:rPr>
                  <a:t>Option B</a:t>
                </a:r>
              </a:p>
            </p:txBody>
          </p:sp>
          <p:sp>
            <p:nvSpPr>
              <p:cNvPr id="15" name="TextBox 14">
                <a:extLst>
                  <a:ext uri="{FF2B5EF4-FFF2-40B4-BE49-F238E27FC236}">
                    <a16:creationId xmlns:a16="http://schemas.microsoft.com/office/drawing/2014/main" id="{506199E7-B3A1-5E4A-A752-17E9F370BA3E}"/>
                  </a:ext>
                </a:extLst>
              </p:cNvPr>
              <p:cNvSpPr txBox="1"/>
              <p:nvPr/>
            </p:nvSpPr>
            <p:spPr>
              <a:xfrm>
                <a:off x="395536" y="3880930"/>
                <a:ext cx="397299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 and appeal to your Presentations.</a:t>
                </a:r>
              </a:p>
            </p:txBody>
          </p:sp>
        </p:grpSp>
        <p:grpSp>
          <p:nvGrpSpPr>
            <p:cNvPr id="16" name="Group 15">
              <a:extLst>
                <a:ext uri="{FF2B5EF4-FFF2-40B4-BE49-F238E27FC236}">
                  <a16:creationId xmlns:a16="http://schemas.microsoft.com/office/drawing/2014/main" id="{B5AF4D5F-8FC6-A041-A1D8-61E7E7BE7273}"/>
                </a:ext>
              </a:extLst>
            </p:cNvPr>
            <p:cNvGrpSpPr/>
            <p:nvPr/>
          </p:nvGrpSpPr>
          <p:grpSpPr>
            <a:xfrm>
              <a:off x="6210760" y="5065862"/>
              <a:ext cx="2438282" cy="919505"/>
              <a:chOff x="395534" y="3607756"/>
              <a:chExt cx="3972999" cy="919505"/>
            </a:xfrm>
          </p:grpSpPr>
          <p:sp>
            <p:nvSpPr>
              <p:cNvPr id="17" name="TextBox 16">
                <a:extLst>
                  <a:ext uri="{FF2B5EF4-FFF2-40B4-BE49-F238E27FC236}">
                    <a16:creationId xmlns:a16="http://schemas.microsoft.com/office/drawing/2014/main" id="{4D671768-A3C9-F54A-BB54-E933BFC53486}"/>
                  </a:ext>
                </a:extLst>
              </p:cNvPr>
              <p:cNvSpPr txBox="1"/>
              <p:nvPr/>
            </p:nvSpPr>
            <p:spPr>
              <a:xfrm>
                <a:off x="395534" y="3607756"/>
                <a:ext cx="3972999" cy="307777"/>
              </a:xfrm>
              <a:prstGeom prst="rect">
                <a:avLst/>
              </a:prstGeom>
              <a:noFill/>
            </p:spPr>
            <p:txBody>
              <a:bodyPr wrap="square" rtlCol="0" anchor="ctr">
                <a:spAutoFit/>
              </a:bodyPr>
              <a:lstStyle/>
              <a:p>
                <a:pPr algn="ctr"/>
                <a:r>
                  <a:rPr lang="en-JM" altLang="ko-KR" sz="1400" b="1">
                    <a:solidFill>
                      <a:schemeClr val="tx1">
                        <a:lumMod val="75000"/>
                        <a:lumOff val="25000"/>
                      </a:schemeClr>
                    </a:solidFill>
                    <a:cs typeface="Arial" pitchFamily="34" charset="0"/>
                  </a:rPr>
                  <a:t>Option C</a:t>
                </a:r>
              </a:p>
            </p:txBody>
          </p:sp>
          <p:sp>
            <p:nvSpPr>
              <p:cNvPr id="18" name="TextBox 17">
                <a:extLst>
                  <a:ext uri="{FF2B5EF4-FFF2-40B4-BE49-F238E27FC236}">
                    <a16:creationId xmlns:a16="http://schemas.microsoft.com/office/drawing/2014/main" id="{666F8C12-B83A-784B-8003-D8F3C34966BC}"/>
                  </a:ext>
                </a:extLst>
              </p:cNvPr>
              <p:cNvSpPr txBox="1"/>
              <p:nvPr/>
            </p:nvSpPr>
            <p:spPr>
              <a:xfrm>
                <a:off x="395536" y="3880930"/>
                <a:ext cx="397299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 and appeal to your Presentations.</a:t>
                </a:r>
              </a:p>
            </p:txBody>
          </p:sp>
        </p:grpSp>
        <p:grpSp>
          <p:nvGrpSpPr>
            <p:cNvPr id="19" name="Group 18">
              <a:extLst>
                <a:ext uri="{FF2B5EF4-FFF2-40B4-BE49-F238E27FC236}">
                  <a16:creationId xmlns:a16="http://schemas.microsoft.com/office/drawing/2014/main" id="{2E33DCFA-AA99-C54B-8FF6-E2F5F7AAB2DA}"/>
                </a:ext>
              </a:extLst>
            </p:cNvPr>
            <p:cNvGrpSpPr/>
            <p:nvPr/>
          </p:nvGrpSpPr>
          <p:grpSpPr>
            <a:xfrm>
              <a:off x="8860448" y="5065862"/>
              <a:ext cx="2438282" cy="919505"/>
              <a:chOff x="395534" y="3607756"/>
              <a:chExt cx="3972999" cy="919505"/>
            </a:xfrm>
          </p:grpSpPr>
          <p:sp>
            <p:nvSpPr>
              <p:cNvPr id="20" name="TextBox 19">
                <a:extLst>
                  <a:ext uri="{FF2B5EF4-FFF2-40B4-BE49-F238E27FC236}">
                    <a16:creationId xmlns:a16="http://schemas.microsoft.com/office/drawing/2014/main" id="{820A8522-25D7-874D-BF5B-6952BAA965B2}"/>
                  </a:ext>
                </a:extLst>
              </p:cNvPr>
              <p:cNvSpPr txBox="1"/>
              <p:nvPr/>
            </p:nvSpPr>
            <p:spPr>
              <a:xfrm>
                <a:off x="395534" y="3607756"/>
                <a:ext cx="3972999" cy="307777"/>
              </a:xfrm>
              <a:prstGeom prst="rect">
                <a:avLst/>
              </a:prstGeom>
              <a:noFill/>
            </p:spPr>
            <p:txBody>
              <a:bodyPr wrap="square" rtlCol="0" anchor="ctr">
                <a:spAutoFit/>
              </a:bodyPr>
              <a:lstStyle/>
              <a:p>
                <a:pPr algn="ctr"/>
                <a:r>
                  <a:rPr lang="en-JM" altLang="ko-KR" sz="1400" b="1">
                    <a:solidFill>
                      <a:schemeClr val="tx1">
                        <a:lumMod val="75000"/>
                        <a:lumOff val="25000"/>
                      </a:schemeClr>
                    </a:solidFill>
                    <a:cs typeface="Arial" pitchFamily="34" charset="0"/>
                  </a:rPr>
                  <a:t>Option D</a:t>
                </a:r>
              </a:p>
            </p:txBody>
          </p:sp>
          <p:sp>
            <p:nvSpPr>
              <p:cNvPr id="21" name="TextBox 20">
                <a:extLst>
                  <a:ext uri="{FF2B5EF4-FFF2-40B4-BE49-F238E27FC236}">
                    <a16:creationId xmlns:a16="http://schemas.microsoft.com/office/drawing/2014/main" id="{CBE8D7A6-FF92-3F45-8A82-56C89BCF1E02}"/>
                  </a:ext>
                </a:extLst>
              </p:cNvPr>
              <p:cNvSpPr txBox="1"/>
              <p:nvPr/>
            </p:nvSpPr>
            <p:spPr>
              <a:xfrm>
                <a:off x="395536" y="3880930"/>
                <a:ext cx="3972997" cy="646331"/>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You can simply impress your audience and add a unique zing and appeal to your Presentations.</a:t>
                </a:r>
              </a:p>
            </p:txBody>
          </p:sp>
        </p:grpSp>
        <p:sp>
          <p:nvSpPr>
            <p:cNvPr id="22" name="Oval 21">
              <a:extLst>
                <a:ext uri="{FF2B5EF4-FFF2-40B4-BE49-F238E27FC236}">
                  <a16:creationId xmlns:a16="http://schemas.microsoft.com/office/drawing/2014/main" id="{28B49BA1-D0F3-C741-A460-1A48CC3F347A}"/>
                </a:ext>
              </a:extLst>
            </p:cNvPr>
            <p:cNvSpPr/>
            <p:nvPr/>
          </p:nvSpPr>
          <p:spPr>
            <a:xfrm>
              <a:off x="9807618" y="4421869"/>
              <a:ext cx="543943" cy="543943"/>
            </a:xfrm>
            <a:prstGeom prst="ellipse">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 name="Oval 22">
              <a:extLst>
                <a:ext uri="{FF2B5EF4-FFF2-40B4-BE49-F238E27FC236}">
                  <a16:creationId xmlns:a16="http://schemas.microsoft.com/office/drawing/2014/main" id="{EE334513-06C8-0840-A316-F4C805483B9D}"/>
                </a:ext>
              </a:extLst>
            </p:cNvPr>
            <p:cNvSpPr/>
            <p:nvPr/>
          </p:nvSpPr>
          <p:spPr>
            <a:xfrm>
              <a:off x="7157930" y="4421869"/>
              <a:ext cx="543943" cy="543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4" name="Oval 23">
              <a:extLst>
                <a:ext uri="{FF2B5EF4-FFF2-40B4-BE49-F238E27FC236}">
                  <a16:creationId xmlns:a16="http://schemas.microsoft.com/office/drawing/2014/main" id="{BF9D89F4-465C-9C41-82FD-1E70EBEDA0B9}"/>
                </a:ext>
              </a:extLst>
            </p:cNvPr>
            <p:cNvSpPr/>
            <p:nvPr/>
          </p:nvSpPr>
          <p:spPr>
            <a:xfrm>
              <a:off x="4508242" y="4421869"/>
              <a:ext cx="543943" cy="5439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5" name="Oval 24">
              <a:extLst>
                <a:ext uri="{FF2B5EF4-FFF2-40B4-BE49-F238E27FC236}">
                  <a16:creationId xmlns:a16="http://schemas.microsoft.com/office/drawing/2014/main" id="{7EEE61E2-3B38-2E4A-9F7B-7DE5785EDFB7}"/>
                </a:ext>
              </a:extLst>
            </p:cNvPr>
            <p:cNvSpPr/>
            <p:nvPr/>
          </p:nvSpPr>
          <p:spPr>
            <a:xfrm>
              <a:off x="1858554" y="4421869"/>
              <a:ext cx="543943" cy="54394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6" name="Isosceles Triangle 51">
              <a:extLst>
                <a:ext uri="{FF2B5EF4-FFF2-40B4-BE49-F238E27FC236}">
                  <a16:creationId xmlns:a16="http://schemas.microsoft.com/office/drawing/2014/main" id="{1128B12A-0AAD-0440-B7D2-64B10C402F22}"/>
                </a:ext>
              </a:extLst>
            </p:cNvPr>
            <p:cNvSpPr/>
            <p:nvPr/>
          </p:nvSpPr>
          <p:spPr>
            <a:xfrm>
              <a:off x="1987266" y="4604951"/>
              <a:ext cx="286517" cy="210104"/>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7" name="Parallelogram 15">
              <a:extLst>
                <a:ext uri="{FF2B5EF4-FFF2-40B4-BE49-F238E27FC236}">
                  <a16:creationId xmlns:a16="http://schemas.microsoft.com/office/drawing/2014/main" id="{9FE6DA86-DFA1-ED4F-B8C0-F572C756E656}"/>
                </a:ext>
              </a:extLst>
            </p:cNvPr>
            <p:cNvSpPr/>
            <p:nvPr/>
          </p:nvSpPr>
          <p:spPr>
            <a:xfrm flipH="1">
              <a:off x="4635270" y="4544324"/>
              <a:ext cx="307706" cy="307706"/>
            </a:xfrm>
            <a:custGeom>
              <a:avLst/>
              <a:gdLst/>
              <a:ahLst/>
              <a:cxnLst/>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8" name="Oval 7">
              <a:extLst>
                <a:ext uri="{FF2B5EF4-FFF2-40B4-BE49-F238E27FC236}">
                  <a16:creationId xmlns:a16="http://schemas.microsoft.com/office/drawing/2014/main" id="{3A8A3AD3-9DCD-4442-9027-4A9230AC7971}"/>
                </a:ext>
              </a:extLst>
            </p:cNvPr>
            <p:cNvSpPr/>
            <p:nvPr/>
          </p:nvSpPr>
          <p:spPr>
            <a:xfrm>
              <a:off x="9924185" y="4561055"/>
              <a:ext cx="310807" cy="310807"/>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29" name="Rounded Rectangle 25">
              <a:extLst>
                <a:ext uri="{FF2B5EF4-FFF2-40B4-BE49-F238E27FC236}">
                  <a16:creationId xmlns:a16="http://schemas.microsoft.com/office/drawing/2014/main" id="{DEC15206-0346-0D4B-9F31-CDEC06BFD0F0}"/>
                </a:ext>
              </a:extLst>
            </p:cNvPr>
            <p:cNvSpPr/>
            <p:nvPr/>
          </p:nvSpPr>
          <p:spPr>
            <a:xfrm>
              <a:off x="7255913" y="4586531"/>
              <a:ext cx="354588" cy="259857"/>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grpSp>
    </p:spTree>
    <p:extLst>
      <p:ext uri="{BB962C8B-B14F-4D97-AF65-F5344CB8AC3E}">
        <p14:creationId xmlns:p14="http://schemas.microsoft.com/office/powerpoint/2010/main" val="279116030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77FC2D-BE50-314C-B007-C9C3A765013B}"/>
              </a:ext>
            </a:extLst>
          </p:cNvPr>
          <p:cNvSpPr>
            <a:spLocks noGrp="1"/>
          </p:cNvSpPr>
          <p:nvPr>
            <p:ph type="sldNum" sz="quarter" idx="4"/>
          </p:nvPr>
        </p:nvSpPr>
        <p:spPr/>
        <p:txBody>
          <a:bodyPr/>
          <a:lstStyle/>
          <a:p>
            <a:fld id="{3D966009-6E5A-4F8C-8CA7-E37AFBF5FB92}" type="slidenum">
              <a:rPr lang="en-US" smtClean="0"/>
              <a:t>162</a:t>
            </a:fld>
            <a:endParaRPr lang="en-US"/>
          </a:p>
        </p:txBody>
      </p:sp>
      <p:sp>
        <p:nvSpPr>
          <p:cNvPr id="3" name="Title 2">
            <a:extLst>
              <a:ext uri="{FF2B5EF4-FFF2-40B4-BE49-F238E27FC236}">
                <a16:creationId xmlns:a16="http://schemas.microsoft.com/office/drawing/2014/main" id="{B70D2D1C-ED30-B749-8A47-9966BDE3CA73}"/>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16BD974-C186-1849-97D2-B813C65C9508}"/>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43EDD16-33DC-CE41-8951-6031205F26BC}"/>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8D79F870-4530-934A-9025-05504D529728}"/>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5F4647B-017F-1C4A-82DF-255C5E3F84DB}"/>
              </a:ext>
            </a:extLst>
          </p:cNvPr>
          <p:cNvSpPr>
            <a:spLocks noGrp="1"/>
          </p:cNvSpPr>
          <p:nvPr>
            <p:ph sz="quarter" idx="14"/>
          </p:nvPr>
        </p:nvSpPr>
        <p:spPr/>
        <p:txBody>
          <a:bodyPr/>
          <a:lstStyle/>
          <a:p>
            <a:endParaRPr lang="en-GB"/>
          </a:p>
        </p:txBody>
      </p:sp>
      <p:graphicFrame>
        <p:nvGraphicFramePr>
          <p:cNvPr id="9" name="Table 3">
            <a:extLst>
              <a:ext uri="{FF2B5EF4-FFF2-40B4-BE49-F238E27FC236}">
                <a16:creationId xmlns:a16="http://schemas.microsoft.com/office/drawing/2014/main" id="{F33A0FA4-FDFF-F947-87B5-744F887247FF}"/>
              </a:ext>
            </a:extLst>
          </p:cNvPr>
          <p:cNvGraphicFramePr>
            <a:graphicFrameLocks noGrp="1"/>
          </p:cNvGraphicFramePr>
          <p:nvPr>
            <p:extLst>
              <p:ext uri="{D42A27DB-BD31-4B8C-83A1-F6EECF244321}">
                <p14:modId xmlns:p14="http://schemas.microsoft.com/office/powerpoint/2010/main" val="1068314977"/>
              </p:ext>
            </p:extLst>
          </p:nvPr>
        </p:nvGraphicFramePr>
        <p:xfrm>
          <a:off x="1012224" y="1716195"/>
          <a:ext cx="6247839" cy="4266928"/>
        </p:xfrm>
        <a:graphic>
          <a:graphicData uri="http://schemas.openxmlformats.org/drawingml/2006/table">
            <a:tbl>
              <a:tblPr firstRow="1" bandRow="1">
                <a:tableStyleId>{5940675A-B579-460E-94D1-54222C63F5DA}</a:tableStyleId>
              </a:tblPr>
              <a:tblGrid>
                <a:gridCol w="1559240">
                  <a:extLst>
                    <a:ext uri="{9D8B030D-6E8A-4147-A177-3AD203B41FA5}">
                      <a16:colId xmlns:a16="http://schemas.microsoft.com/office/drawing/2014/main" val="20000"/>
                    </a:ext>
                  </a:extLst>
                </a:gridCol>
                <a:gridCol w="1575219">
                  <a:extLst>
                    <a:ext uri="{9D8B030D-6E8A-4147-A177-3AD203B41FA5}">
                      <a16:colId xmlns:a16="http://schemas.microsoft.com/office/drawing/2014/main" val="20001"/>
                    </a:ext>
                  </a:extLst>
                </a:gridCol>
                <a:gridCol w="1575219">
                  <a:extLst>
                    <a:ext uri="{9D8B030D-6E8A-4147-A177-3AD203B41FA5}">
                      <a16:colId xmlns:a16="http://schemas.microsoft.com/office/drawing/2014/main" val="20002"/>
                    </a:ext>
                  </a:extLst>
                </a:gridCol>
                <a:gridCol w="1538161">
                  <a:extLst>
                    <a:ext uri="{9D8B030D-6E8A-4147-A177-3AD203B41FA5}">
                      <a16:colId xmlns:a16="http://schemas.microsoft.com/office/drawing/2014/main" val="20003"/>
                    </a:ext>
                  </a:extLst>
                </a:gridCol>
              </a:tblGrid>
              <a:tr h="498468">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400" b="1">
                          <a:solidFill>
                            <a:schemeClr val="bg1"/>
                          </a:solidFill>
                          <a:latin typeface="+mn-lt"/>
                          <a:cs typeface="Arial" charset="0"/>
                        </a:rPr>
                        <a:t>Text</a:t>
                      </a:r>
                      <a:r>
                        <a:rPr lang="en-US" altLang="ko-KR" sz="1400" b="1" baseline="0">
                          <a:solidFill>
                            <a:schemeClr val="bg1"/>
                          </a:solidFill>
                          <a:latin typeface="+mn-lt"/>
                          <a:cs typeface="Arial" charset="0"/>
                        </a:rPr>
                        <a:t> </a:t>
                      </a:r>
                      <a:r>
                        <a:rPr lang="en-US" altLang="ko-KR" sz="1400" b="1">
                          <a:solidFill>
                            <a:schemeClr val="bg1"/>
                          </a:solidFill>
                          <a:latin typeface="+mn-lt"/>
                          <a:cs typeface="Arial" charset="0"/>
                        </a:rPr>
                        <a:t>Here</a:t>
                      </a:r>
                      <a:endParaRPr lang="ko-KR" altLang="en-US" sz="140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400" b="1">
                          <a:solidFill>
                            <a:schemeClr val="bg1"/>
                          </a:solidFill>
                          <a:latin typeface="+mn-lt"/>
                          <a:cs typeface="Arial" charset="0"/>
                        </a:rPr>
                        <a:t>Text</a:t>
                      </a:r>
                      <a:r>
                        <a:rPr lang="en-US" altLang="ko-KR" sz="1400" b="1" baseline="0">
                          <a:solidFill>
                            <a:schemeClr val="bg1"/>
                          </a:solidFill>
                          <a:latin typeface="+mn-lt"/>
                          <a:cs typeface="Arial" charset="0"/>
                        </a:rPr>
                        <a:t> </a:t>
                      </a:r>
                      <a:r>
                        <a:rPr lang="en-US" altLang="ko-KR" sz="1400" b="1">
                          <a:solidFill>
                            <a:schemeClr val="bg1"/>
                          </a:solidFill>
                          <a:latin typeface="+mn-lt"/>
                          <a:cs typeface="Arial" charset="0"/>
                        </a:rPr>
                        <a:t>Here</a:t>
                      </a:r>
                      <a:endParaRPr lang="ko-KR" altLang="en-US" sz="140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400" b="1">
                          <a:solidFill>
                            <a:schemeClr val="bg1"/>
                          </a:solidFill>
                          <a:latin typeface="+mn-lt"/>
                          <a:cs typeface="Arial" charset="0"/>
                        </a:rPr>
                        <a:t>Text Here</a:t>
                      </a:r>
                      <a:endParaRPr lang="ko-KR" altLang="en-US" sz="1400">
                        <a:solidFill>
                          <a:schemeClr val="bg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400" b="1">
                          <a:solidFill>
                            <a:schemeClr val="bg1"/>
                          </a:solidFill>
                          <a:latin typeface="+mn-lt"/>
                          <a:cs typeface="Arial" charset="0"/>
                        </a:rPr>
                        <a:t>Text Here</a:t>
                      </a:r>
                      <a:endParaRPr lang="ko-KR" altLang="en-US" sz="1400">
                        <a:solidFill>
                          <a:schemeClr val="bg1"/>
                        </a:solidFill>
                        <a:latin typeface="+mn-lt"/>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37684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6846">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7684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76846">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684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6846">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684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76846">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76846">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Text  Here</a:t>
                      </a: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376846">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1" hangingPunct="1">
                        <a:lnSpc>
                          <a:spcPct val="150000"/>
                        </a:lnSpc>
                        <a:spcBef>
                          <a:spcPts val="0"/>
                        </a:spcBef>
                        <a:spcAft>
                          <a:spcPts val="0"/>
                        </a:spcAft>
                        <a:buClrTx/>
                        <a:buSzTx/>
                        <a:buFontTx/>
                        <a:buNone/>
                        <a:tabLst/>
                        <a:defRPr/>
                      </a:pPr>
                      <a:r>
                        <a:rPr lang="en-US" altLang="ko-KR" sz="1200">
                          <a:solidFill>
                            <a:schemeClr val="tx1">
                              <a:lumMod val="75000"/>
                              <a:lumOff val="25000"/>
                            </a:schemeClr>
                          </a:solidFill>
                          <a:latin typeface="+mn-lt"/>
                          <a:cs typeface="Arial" pitchFamily="34" charset="0"/>
                        </a:rPr>
                        <a:t>Add Text</a:t>
                      </a:r>
                      <a:endParaRPr lang="ko-KR" altLang="en-US" sz="1200" b="0">
                        <a:solidFill>
                          <a:schemeClr val="tx1">
                            <a:lumMod val="75000"/>
                            <a:lumOff val="25000"/>
                          </a:schemeClr>
                        </a:solidFill>
                        <a:latin typeface="+mn-lt"/>
                        <a:cs typeface="Arial" pitchFamily="34" charset="0"/>
                      </a:endParaRPr>
                    </a:p>
                  </a:txBody>
                  <a:tcPr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941308459"/>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75BA197D-F468-2146-8709-48741D944F6E}"/>
              </a:ext>
            </a:extLst>
          </p:cNvPr>
          <p:cNvGraphicFramePr>
            <a:graphicFrameLocks noChangeAspect="1"/>
          </p:cNvGraphicFramePr>
          <p:nvPr>
            <p:custDataLst>
              <p:tags r:id="rId1"/>
            </p:custDataLst>
            <p:extLst>
              <p:ext uri="{D42A27DB-BD31-4B8C-83A1-F6EECF244321}">
                <p14:modId xmlns:p14="http://schemas.microsoft.com/office/powerpoint/2010/main" val="264666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8" name="Object 47" hidden="1">
                        <a:extLst>
                          <a:ext uri="{FF2B5EF4-FFF2-40B4-BE49-F238E27FC236}">
                            <a16:creationId xmlns:a16="http://schemas.microsoft.com/office/drawing/2014/main" id="{75BA197D-F468-2146-8709-48741D944F6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A9F927F-8683-7E4B-9C39-B5FD9228D696}"/>
              </a:ext>
            </a:extLst>
          </p:cNvPr>
          <p:cNvSpPr>
            <a:spLocks noGrp="1"/>
          </p:cNvSpPr>
          <p:nvPr>
            <p:ph type="sldNum" sz="quarter" idx="4"/>
          </p:nvPr>
        </p:nvSpPr>
        <p:spPr/>
        <p:txBody>
          <a:bodyPr/>
          <a:lstStyle/>
          <a:p>
            <a:fld id="{3D966009-6E5A-4F8C-8CA7-E37AFBF5FB92}" type="slidenum">
              <a:rPr lang="en-US" smtClean="0"/>
              <a:t>163</a:t>
            </a:fld>
            <a:endParaRPr lang="en-US"/>
          </a:p>
        </p:txBody>
      </p:sp>
      <p:sp>
        <p:nvSpPr>
          <p:cNvPr id="3" name="Title 2">
            <a:extLst>
              <a:ext uri="{FF2B5EF4-FFF2-40B4-BE49-F238E27FC236}">
                <a16:creationId xmlns:a16="http://schemas.microsoft.com/office/drawing/2014/main" id="{1C30D4F2-D17B-C54C-A1DC-933F0938F531}"/>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1944451-CB08-2045-A6AF-624238A6303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06412883-3AAD-224D-975F-C11F7FBCF7BD}"/>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1A400741-699A-204B-B7C0-CBF1DCD9404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8D9467A6-6849-8443-969A-D25E80D7175F}"/>
              </a:ext>
            </a:extLst>
          </p:cNvPr>
          <p:cNvSpPr>
            <a:spLocks noGrp="1"/>
          </p:cNvSpPr>
          <p:nvPr>
            <p:ph sz="quarter" idx="14"/>
          </p:nvPr>
        </p:nvSpPr>
        <p:spPr/>
        <p:txBody>
          <a:bodyPr/>
          <a:lstStyle/>
          <a:p>
            <a:endParaRPr lang="en-GB"/>
          </a:p>
        </p:txBody>
      </p:sp>
      <p:sp>
        <p:nvSpPr>
          <p:cNvPr id="10" name="사각형: 둥근 모서리 3">
            <a:extLst>
              <a:ext uri="{FF2B5EF4-FFF2-40B4-BE49-F238E27FC236}">
                <a16:creationId xmlns:a16="http://schemas.microsoft.com/office/drawing/2014/main" id="{940D0F08-5C07-9649-92F4-FA73D1FA126E}"/>
              </a:ext>
            </a:extLst>
          </p:cNvPr>
          <p:cNvSpPr/>
          <p:nvPr/>
        </p:nvSpPr>
        <p:spPr>
          <a:xfrm>
            <a:off x="946528" y="1795044"/>
            <a:ext cx="5091726" cy="2076485"/>
          </a:xfrm>
          <a:prstGeom prst="roundRect">
            <a:avLst>
              <a:gd name="adj" fmla="val 12588"/>
            </a:avLst>
          </a:prstGeom>
          <a:solidFill>
            <a:schemeClr val="bg1"/>
          </a:solidFill>
          <a:ln w="38100">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1" name="사각형: 둥근 모서리 32">
            <a:extLst>
              <a:ext uri="{FF2B5EF4-FFF2-40B4-BE49-F238E27FC236}">
                <a16:creationId xmlns:a16="http://schemas.microsoft.com/office/drawing/2014/main" id="{62B2F183-DD8C-2544-953F-03DB0D93C3B4}"/>
              </a:ext>
            </a:extLst>
          </p:cNvPr>
          <p:cNvSpPr/>
          <p:nvPr/>
        </p:nvSpPr>
        <p:spPr>
          <a:xfrm>
            <a:off x="6146916" y="1795044"/>
            <a:ext cx="5107986" cy="2076485"/>
          </a:xfrm>
          <a:prstGeom prst="roundRect">
            <a:avLst>
              <a:gd name="adj" fmla="val 12588"/>
            </a:avLst>
          </a:prstGeom>
          <a:solidFill>
            <a:schemeClr val="bg1"/>
          </a:solidFill>
          <a:ln w="38100">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2" name="사각형: 둥근 모서리 44">
            <a:extLst>
              <a:ext uri="{FF2B5EF4-FFF2-40B4-BE49-F238E27FC236}">
                <a16:creationId xmlns:a16="http://schemas.microsoft.com/office/drawing/2014/main" id="{2D684FD6-A98F-8D45-9040-610C124820E5}"/>
              </a:ext>
            </a:extLst>
          </p:cNvPr>
          <p:cNvSpPr/>
          <p:nvPr/>
        </p:nvSpPr>
        <p:spPr>
          <a:xfrm>
            <a:off x="946528" y="3962377"/>
            <a:ext cx="5091726" cy="2076485"/>
          </a:xfrm>
          <a:prstGeom prst="roundRect">
            <a:avLst>
              <a:gd name="adj" fmla="val 12588"/>
            </a:avLst>
          </a:prstGeom>
          <a:solidFill>
            <a:schemeClr val="bg1"/>
          </a:solidFill>
          <a:ln w="38100">
            <a:solidFill>
              <a:srgbClr val="8D9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3" name="사각형: 둥근 모서리 60">
            <a:extLst>
              <a:ext uri="{FF2B5EF4-FFF2-40B4-BE49-F238E27FC236}">
                <a16:creationId xmlns:a16="http://schemas.microsoft.com/office/drawing/2014/main" id="{6E5A8864-FF73-6248-9DDB-2DB2B9AAEEA1}"/>
              </a:ext>
            </a:extLst>
          </p:cNvPr>
          <p:cNvSpPr/>
          <p:nvPr/>
        </p:nvSpPr>
        <p:spPr>
          <a:xfrm>
            <a:off x="6146916" y="3962377"/>
            <a:ext cx="5107986" cy="2076485"/>
          </a:xfrm>
          <a:prstGeom prst="roundRect">
            <a:avLst>
              <a:gd name="adj" fmla="val 12588"/>
            </a:avLst>
          </a:prstGeom>
          <a:solidFill>
            <a:schemeClr val="bg1"/>
          </a:solidFill>
          <a:ln w="38100">
            <a:solidFill>
              <a:srgbClr val="4C4D6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4" name="Block Arc 13">
            <a:extLst>
              <a:ext uri="{FF2B5EF4-FFF2-40B4-BE49-F238E27FC236}">
                <a16:creationId xmlns:a16="http://schemas.microsoft.com/office/drawing/2014/main" id="{827B7965-2C97-8143-BADC-1C647731B437}"/>
              </a:ext>
            </a:extLst>
          </p:cNvPr>
          <p:cNvSpPr/>
          <p:nvPr/>
        </p:nvSpPr>
        <p:spPr>
          <a:xfrm rot="5400000">
            <a:off x="4239239" y="2078435"/>
            <a:ext cx="3709895" cy="3709895"/>
          </a:xfrm>
          <a:prstGeom prst="blockArc">
            <a:avLst>
              <a:gd name="adj1" fmla="val 16229915"/>
              <a:gd name="adj2" fmla="val 21506646"/>
              <a:gd name="adj3" fmla="val 15477"/>
            </a:avLst>
          </a:prstGeom>
          <a:solidFill>
            <a:srgbClr val="3336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15" name="Block Arc 14">
            <a:extLst>
              <a:ext uri="{FF2B5EF4-FFF2-40B4-BE49-F238E27FC236}">
                <a16:creationId xmlns:a16="http://schemas.microsoft.com/office/drawing/2014/main" id="{45DB5AC9-575C-A842-8773-56B3B38F3ADB}"/>
              </a:ext>
            </a:extLst>
          </p:cNvPr>
          <p:cNvSpPr/>
          <p:nvPr/>
        </p:nvSpPr>
        <p:spPr>
          <a:xfrm>
            <a:off x="4239239" y="2060850"/>
            <a:ext cx="3709895" cy="3709895"/>
          </a:xfrm>
          <a:prstGeom prst="blockArc">
            <a:avLst>
              <a:gd name="adj1" fmla="val 16267252"/>
              <a:gd name="adj2" fmla="val 21557561"/>
              <a:gd name="adj3" fmla="val 15233"/>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16" name="Block Arc 15">
            <a:extLst>
              <a:ext uri="{FF2B5EF4-FFF2-40B4-BE49-F238E27FC236}">
                <a16:creationId xmlns:a16="http://schemas.microsoft.com/office/drawing/2014/main" id="{C9382D72-4601-5B42-AC4F-CFB137B6B357}"/>
              </a:ext>
            </a:extLst>
          </p:cNvPr>
          <p:cNvSpPr/>
          <p:nvPr/>
        </p:nvSpPr>
        <p:spPr>
          <a:xfrm rot="10800000">
            <a:off x="4239239" y="2078434"/>
            <a:ext cx="3709895" cy="3709895"/>
          </a:xfrm>
          <a:prstGeom prst="blockArc">
            <a:avLst>
              <a:gd name="adj1" fmla="val 16302188"/>
              <a:gd name="adj2" fmla="val 21556929"/>
              <a:gd name="adj3" fmla="val 15741"/>
            </a:avLst>
          </a:prstGeom>
          <a:solidFill>
            <a:srgbClr val="8D93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17" name="Block Arc 16">
            <a:extLst>
              <a:ext uri="{FF2B5EF4-FFF2-40B4-BE49-F238E27FC236}">
                <a16:creationId xmlns:a16="http://schemas.microsoft.com/office/drawing/2014/main" id="{13AC494B-6E32-6D42-9667-ADBBCBD9B645}"/>
              </a:ext>
            </a:extLst>
          </p:cNvPr>
          <p:cNvSpPr/>
          <p:nvPr/>
        </p:nvSpPr>
        <p:spPr>
          <a:xfrm rot="16200000">
            <a:off x="4239239" y="2060851"/>
            <a:ext cx="3709895" cy="3709895"/>
          </a:xfrm>
          <a:prstGeom prst="blockArc">
            <a:avLst>
              <a:gd name="adj1" fmla="val 16302188"/>
              <a:gd name="adj2" fmla="val 21530925"/>
              <a:gd name="adj3" fmla="val 15991"/>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tLang="ko-KR" sz="2700">
              <a:solidFill>
                <a:schemeClr val="tx1"/>
              </a:solidFill>
            </a:endParaRPr>
          </a:p>
        </p:txBody>
      </p:sp>
      <p:grpSp>
        <p:nvGrpSpPr>
          <p:cNvPr id="24" name="Group 51">
            <a:extLst>
              <a:ext uri="{FF2B5EF4-FFF2-40B4-BE49-F238E27FC236}">
                <a16:creationId xmlns:a16="http://schemas.microsoft.com/office/drawing/2014/main" id="{13DA8EB0-AD8B-684E-895F-2C249D125AA6}"/>
              </a:ext>
            </a:extLst>
          </p:cNvPr>
          <p:cNvGrpSpPr/>
          <p:nvPr/>
        </p:nvGrpSpPr>
        <p:grpSpPr>
          <a:xfrm>
            <a:off x="1386250" y="2141772"/>
            <a:ext cx="2936722" cy="1470776"/>
            <a:chOff x="270023" y="1638319"/>
            <a:chExt cx="2605242" cy="1485485"/>
          </a:xfrm>
        </p:grpSpPr>
        <p:sp>
          <p:nvSpPr>
            <p:cNvPr id="25" name="TextBox 24">
              <a:extLst>
                <a:ext uri="{FF2B5EF4-FFF2-40B4-BE49-F238E27FC236}">
                  <a16:creationId xmlns:a16="http://schemas.microsoft.com/office/drawing/2014/main" id="{2F389D01-B60E-B845-AEE3-5811FBF41EBE}"/>
                </a:ext>
              </a:extLst>
            </p:cNvPr>
            <p:cNvSpPr txBox="1"/>
            <p:nvPr/>
          </p:nvSpPr>
          <p:spPr>
            <a:xfrm>
              <a:off x="270024" y="1911471"/>
              <a:ext cx="2605241" cy="1212333"/>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26" name="TextBox 25">
              <a:extLst>
                <a:ext uri="{FF2B5EF4-FFF2-40B4-BE49-F238E27FC236}">
                  <a16:creationId xmlns:a16="http://schemas.microsoft.com/office/drawing/2014/main" id="{7628A4A3-463C-6E46-9CE2-C5972077029B}"/>
                </a:ext>
              </a:extLst>
            </p:cNvPr>
            <p:cNvSpPr txBox="1"/>
            <p:nvPr/>
          </p:nvSpPr>
          <p:spPr>
            <a:xfrm>
              <a:off x="270023" y="1638319"/>
              <a:ext cx="2605241" cy="310855"/>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Title</a:t>
              </a:r>
              <a:endParaRPr lang="ko-KR" altLang="en-US" sz="1400" b="1">
                <a:solidFill>
                  <a:schemeClr val="tx1">
                    <a:lumMod val="75000"/>
                    <a:lumOff val="25000"/>
                  </a:schemeClr>
                </a:solidFill>
                <a:cs typeface="Arial" pitchFamily="34" charset="0"/>
              </a:endParaRPr>
            </a:p>
          </p:txBody>
        </p:sp>
      </p:grpSp>
      <p:grpSp>
        <p:nvGrpSpPr>
          <p:cNvPr id="27" name="Group 59">
            <a:extLst>
              <a:ext uri="{FF2B5EF4-FFF2-40B4-BE49-F238E27FC236}">
                <a16:creationId xmlns:a16="http://schemas.microsoft.com/office/drawing/2014/main" id="{02007BC9-EB20-1441-B9D6-D15F5175DEFD}"/>
              </a:ext>
            </a:extLst>
          </p:cNvPr>
          <p:cNvGrpSpPr/>
          <p:nvPr/>
        </p:nvGrpSpPr>
        <p:grpSpPr>
          <a:xfrm>
            <a:off x="1386250" y="4249900"/>
            <a:ext cx="2936722" cy="1470776"/>
            <a:chOff x="270023" y="1638319"/>
            <a:chExt cx="2605242" cy="1485485"/>
          </a:xfrm>
        </p:grpSpPr>
        <p:sp>
          <p:nvSpPr>
            <p:cNvPr id="28" name="TextBox 27">
              <a:extLst>
                <a:ext uri="{FF2B5EF4-FFF2-40B4-BE49-F238E27FC236}">
                  <a16:creationId xmlns:a16="http://schemas.microsoft.com/office/drawing/2014/main" id="{7F596096-ED9B-1244-9053-321FDCF69621}"/>
                </a:ext>
              </a:extLst>
            </p:cNvPr>
            <p:cNvSpPr txBox="1"/>
            <p:nvPr/>
          </p:nvSpPr>
          <p:spPr>
            <a:xfrm>
              <a:off x="270024" y="1911471"/>
              <a:ext cx="2605241" cy="1212333"/>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29" name="TextBox 28">
              <a:extLst>
                <a:ext uri="{FF2B5EF4-FFF2-40B4-BE49-F238E27FC236}">
                  <a16:creationId xmlns:a16="http://schemas.microsoft.com/office/drawing/2014/main" id="{AEBCBF34-04E8-7E4F-A6CB-1B738C1B2E84}"/>
                </a:ext>
              </a:extLst>
            </p:cNvPr>
            <p:cNvSpPr txBox="1"/>
            <p:nvPr/>
          </p:nvSpPr>
          <p:spPr>
            <a:xfrm>
              <a:off x="270023" y="1638319"/>
              <a:ext cx="2605241" cy="310855"/>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Title</a:t>
              </a:r>
              <a:endParaRPr lang="ko-KR" altLang="en-US" sz="1400" b="1">
                <a:solidFill>
                  <a:schemeClr val="tx1">
                    <a:lumMod val="75000"/>
                    <a:lumOff val="25000"/>
                  </a:schemeClr>
                </a:solidFill>
                <a:cs typeface="Arial" pitchFamily="34" charset="0"/>
              </a:endParaRPr>
            </a:p>
          </p:txBody>
        </p:sp>
      </p:grpSp>
      <p:grpSp>
        <p:nvGrpSpPr>
          <p:cNvPr id="30" name="Group 62">
            <a:extLst>
              <a:ext uri="{FF2B5EF4-FFF2-40B4-BE49-F238E27FC236}">
                <a16:creationId xmlns:a16="http://schemas.microsoft.com/office/drawing/2014/main" id="{EDA6C649-ECA5-FB43-8E44-3349D0C436CE}"/>
              </a:ext>
            </a:extLst>
          </p:cNvPr>
          <p:cNvGrpSpPr/>
          <p:nvPr/>
        </p:nvGrpSpPr>
        <p:grpSpPr>
          <a:xfrm>
            <a:off x="7854124" y="2141772"/>
            <a:ext cx="2936722" cy="1470776"/>
            <a:chOff x="270023" y="1638319"/>
            <a:chExt cx="2605242" cy="1485485"/>
          </a:xfrm>
        </p:grpSpPr>
        <p:sp>
          <p:nvSpPr>
            <p:cNvPr id="31" name="TextBox 30">
              <a:extLst>
                <a:ext uri="{FF2B5EF4-FFF2-40B4-BE49-F238E27FC236}">
                  <a16:creationId xmlns:a16="http://schemas.microsoft.com/office/drawing/2014/main" id="{DD1168FD-F4F1-0A49-9DF3-9A381CA06669}"/>
                </a:ext>
              </a:extLst>
            </p:cNvPr>
            <p:cNvSpPr txBox="1"/>
            <p:nvPr/>
          </p:nvSpPr>
          <p:spPr>
            <a:xfrm>
              <a:off x="270024" y="1911471"/>
              <a:ext cx="2605241" cy="1212333"/>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32" name="TextBox 31">
              <a:extLst>
                <a:ext uri="{FF2B5EF4-FFF2-40B4-BE49-F238E27FC236}">
                  <a16:creationId xmlns:a16="http://schemas.microsoft.com/office/drawing/2014/main" id="{3F63EA83-3BA4-B44B-9740-4E9B110D0100}"/>
                </a:ext>
              </a:extLst>
            </p:cNvPr>
            <p:cNvSpPr txBox="1"/>
            <p:nvPr/>
          </p:nvSpPr>
          <p:spPr>
            <a:xfrm>
              <a:off x="270023" y="1638319"/>
              <a:ext cx="2605241" cy="310855"/>
            </a:xfrm>
            <a:prstGeom prst="rect">
              <a:avLst/>
            </a:prstGeom>
            <a:noFill/>
          </p:spPr>
          <p:txBody>
            <a:bodyPr wrap="square" rtlCol="0">
              <a:spAutoFit/>
            </a:bodyPr>
            <a:lstStyle/>
            <a:p>
              <a:pPr algn="r"/>
              <a:r>
                <a:rPr lang="en-US" altLang="ko-KR" sz="1400" b="1">
                  <a:solidFill>
                    <a:schemeClr val="tx1">
                      <a:lumMod val="75000"/>
                      <a:lumOff val="25000"/>
                    </a:schemeClr>
                  </a:solidFill>
                  <a:cs typeface="Arial" pitchFamily="34" charset="0"/>
                </a:rPr>
                <a:t>Add Title</a:t>
              </a:r>
              <a:endParaRPr lang="ko-KR" altLang="en-US" sz="1400" b="1">
                <a:solidFill>
                  <a:schemeClr val="tx1">
                    <a:lumMod val="75000"/>
                    <a:lumOff val="25000"/>
                  </a:schemeClr>
                </a:solidFill>
                <a:cs typeface="Arial" pitchFamily="34" charset="0"/>
              </a:endParaRPr>
            </a:p>
          </p:txBody>
        </p:sp>
      </p:grpSp>
      <p:grpSp>
        <p:nvGrpSpPr>
          <p:cNvPr id="33" name="Group 74">
            <a:extLst>
              <a:ext uri="{FF2B5EF4-FFF2-40B4-BE49-F238E27FC236}">
                <a16:creationId xmlns:a16="http://schemas.microsoft.com/office/drawing/2014/main" id="{2912629D-DACF-BB4F-B324-52379848A134}"/>
              </a:ext>
            </a:extLst>
          </p:cNvPr>
          <p:cNvGrpSpPr/>
          <p:nvPr/>
        </p:nvGrpSpPr>
        <p:grpSpPr>
          <a:xfrm>
            <a:off x="7858316" y="4249900"/>
            <a:ext cx="2936722" cy="1470776"/>
            <a:chOff x="270023" y="1638319"/>
            <a:chExt cx="2605242" cy="1485485"/>
          </a:xfrm>
        </p:grpSpPr>
        <p:sp>
          <p:nvSpPr>
            <p:cNvPr id="34" name="TextBox 33">
              <a:extLst>
                <a:ext uri="{FF2B5EF4-FFF2-40B4-BE49-F238E27FC236}">
                  <a16:creationId xmlns:a16="http://schemas.microsoft.com/office/drawing/2014/main" id="{16A8247F-EA14-9F48-96B4-265C97834E58}"/>
                </a:ext>
              </a:extLst>
            </p:cNvPr>
            <p:cNvSpPr txBox="1"/>
            <p:nvPr/>
          </p:nvSpPr>
          <p:spPr>
            <a:xfrm>
              <a:off x="270024" y="1911471"/>
              <a:ext cx="2605241" cy="1212333"/>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Get a modern PowerPoint  Presentation that is beautifully designed.  </a:t>
              </a:r>
              <a:endParaRPr lang="ko-KR" altLang="en-US" sz="1200">
                <a:solidFill>
                  <a:schemeClr val="tx1">
                    <a:lumMod val="75000"/>
                    <a:lumOff val="25000"/>
                  </a:schemeClr>
                </a:solidFill>
                <a:cs typeface="Arial" pitchFamily="34" charset="0"/>
              </a:endParaRPr>
            </a:p>
          </p:txBody>
        </p:sp>
        <p:sp>
          <p:nvSpPr>
            <p:cNvPr id="35" name="TextBox 34">
              <a:extLst>
                <a:ext uri="{FF2B5EF4-FFF2-40B4-BE49-F238E27FC236}">
                  <a16:creationId xmlns:a16="http://schemas.microsoft.com/office/drawing/2014/main" id="{C3A48D24-5D22-5E4E-9C56-7B34DBB3EAFE}"/>
                </a:ext>
              </a:extLst>
            </p:cNvPr>
            <p:cNvSpPr txBox="1"/>
            <p:nvPr/>
          </p:nvSpPr>
          <p:spPr>
            <a:xfrm>
              <a:off x="270023" y="1638319"/>
              <a:ext cx="2605241" cy="310855"/>
            </a:xfrm>
            <a:prstGeom prst="rect">
              <a:avLst/>
            </a:prstGeom>
            <a:noFill/>
          </p:spPr>
          <p:txBody>
            <a:bodyPr wrap="square" rtlCol="0">
              <a:spAutoFit/>
            </a:bodyPr>
            <a:lstStyle/>
            <a:p>
              <a:pPr algn="r"/>
              <a:r>
                <a:rPr lang="en-US" altLang="ko-KR" sz="1400" b="1">
                  <a:solidFill>
                    <a:schemeClr val="tx1">
                      <a:lumMod val="75000"/>
                      <a:lumOff val="25000"/>
                    </a:schemeClr>
                  </a:solidFill>
                  <a:cs typeface="Arial" pitchFamily="34" charset="0"/>
                </a:rPr>
                <a:t>Add Title</a:t>
              </a:r>
              <a:endParaRPr lang="ko-KR" altLang="en-US" sz="1400" b="1">
                <a:solidFill>
                  <a:schemeClr val="tx1">
                    <a:lumMod val="75000"/>
                    <a:lumOff val="25000"/>
                  </a:schemeClr>
                </a:solidFill>
                <a:cs typeface="Arial" pitchFamily="34" charset="0"/>
              </a:endParaRPr>
            </a:p>
          </p:txBody>
        </p:sp>
      </p:grpSp>
      <p:sp>
        <p:nvSpPr>
          <p:cNvPr id="47" name="TextBox 46">
            <a:extLst>
              <a:ext uri="{FF2B5EF4-FFF2-40B4-BE49-F238E27FC236}">
                <a16:creationId xmlns:a16="http://schemas.microsoft.com/office/drawing/2014/main" id="{6312B13D-3ACB-4D41-A487-39D3DD517A23}"/>
              </a:ext>
            </a:extLst>
          </p:cNvPr>
          <p:cNvSpPr txBox="1"/>
          <p:nvPr/>
        </p:nvSpPr>
        <p:spPr>
          <a:xfrm>
            <a:off x="4889500" y="3592411"/>
            <a:ext cx="2418610" cy="646331"/>
          </a:xfrm>
          <a:prstGeom prst="rect">
            <a:avLst/>
          </a:prstGeom>
          <a:solidFill>
            <a:schemeClr val="bg1"/>
          </a:solidFill>
        </p:spPr>
        <p:txBody>
          <a:bodyPr wrap="square" rtlCol="0">
            <a:spAutoFit/>
          </a:bodyPr>
          <a:lstStyle/>
          <a:p>
            <a:pPr algn="ctr"/>
            <a:r>
              <a:rPr lang="en-US" altLang="ko-KR" sz="3600" b="1">
                <a:solidFill>
                  <a:schemeClr val="accent4"/>
                </a:solidFill>
                <a:cs typeface="Arial" pitchFamily="34" charset="0"/>
              </a:rPr>
              <a:t>SWOT</a:t>
            </a:r>
            <a:endParaRPr lang="ko-KR" altLang="en-US" sz="3600" b="1">
              <a:solidFill>
                <a:schemeClr val="accent4"/>
              </a:solidFill>
              <a:cs typeface="Arial" pitchFamily="34" charset="0"/>
            </a:endParaRPr>
          </a:p>
        </p:txBody>
      </p:sp>
      <p:sp>
        <p:nvSpPr>
          <p:cNvPr id="41" name="TextBox 40">
            <a:extLst>
              <a:ext uri="{FF2B5EF4-FFF2-40B4-BE49-F238E27FC236}">
                <a16:creationId xmlns:a16="http://schemas.microsoft.com/office/drawing/2014/main" id="{881E631D-D95F-C645-9C98-333E1594A978}"/>
              </a:ext>
            </a:extLst>
          </p:cNvPr>
          <p:cNvSpPr txBox="1"/>
          <p:nvPr/>
        </p:nvSpPr>
        <p:spPr>
          <a:xfrm rot="2979303">
            <a:off x="5354895" y="2542327"/>
            <a:ext cx="2300361" cy="1835428"/>
          </a:xfrm>
          <a:prstGeom prst="rect">
            <a:avLst/>
          </a:prstGeom>
          <a:noFill/>
        </p:spPr>
        <p:txBody>
          <a:bodyPr wrap="square" rtlCol="0">
            <a:prstTxWarp prst="textArchUp">
              <a:avLst>
                <a:gd name="adj" fmla="val 12348932"/>
              </a:avLst>
            </a:prstTxWarp>
            <a:spAutoFit/>
          </a:bodyPr>
          <a:lstStyle/>
          <a:p>
            <a:pPr algn="ctr"/>
            <a:r>
              <a:rPr lang="en-US" altLang="ko-KR" sz="1600" b="1">
                <a:solidFill>
                  <a:schemeClr val="bg1"/>
                </a:solidFill>
                <a:cs typeface="Arial" pitchFamily="34" charset="0"/>
              </a:rPr>
              <a:t>WEAKNESS</a:t>
            </a:r>
            <a:endParaRPr lang="ko-KR" altLang="en-US" sz="1600" b="1">
              <a:solidFill>
                <a:schemeClr val="bg1"/>
              </a:solidFill>
              <a:cs typeface="Arial" pitchFamily="34" charset="0"/>
            </a:endParaRPr>
          </a:p>
        </p:txBody>
      </p:sp>
      <p:sp>
        <p:nvSpPr>
          <p:cNvPr id="42" name="TextBox 41">
            <a:extLst>
              <a:ext uri="{FF2B5EF4-FFF2-40B4-BE49-F238E27FC236}">
                <a16:creationId xmlns:a16="http://schemas.microsoft.com/office/drawing/2014/main" id="{952FEBF5-2C86-6F4F-80F4-3630F57F09CD}"/>
              </a:ext>
            </a:extLst>
          </p:cNvPr>
          <p:cNvSpPr txBox="1"/>
          <p:nvPr/>
        </p:nvSpPr>
        <p:spPr>
          <a:xfrm rot="18900000">
            <a:off x="4491711" y="2578816"/>
            <a:ext cx="2300361" cy="1835428"/>
          </a:xfrm>
          <a:prstGeom prst="rect">
            <a:avLst/>
          </a:prstGeom>
          <a:noFill/>
        </p:spPr>
        <p:txBody>
          <a:bodyPr wrap="square" rtlCol="0">
            <a:prstTxWarp prst="textArchUp">
              <a:avLst>
                <a:gd name="adj" fmla="val 12348932"/>
              </a:avLst>
            </a:prstTxWarp>
            <a:spAutoFit/>
          </a:bodyPr>
          <a:lstStyle/>
          <a:p>
            <a:pPr algn="ctr"/>
            <a:r>
              <a:rPr lang="en-US" altLang="ko-KR" sz="1600" b="1">
                <a:solidFill>
                  <a:schemeClr val="bg1"/>
                </a:solidFill>
                <a:cs typeface="Arial" pitchFamily="34" charset="0"/>
              </a:rPr>
              <a:t>STRENGTHS</a:t>
            </a:r>
            <a:endParaRPr lang="ko-KR" altLang="en-US" sz="1600" b="1">
              <a:solidFill>
                <a:schemeClr val="bg1"/>
              </a:solidFill>
              <a:cs typeface="Arial" pitchFamily="34" charset="0"/>
            </a:endParaRPr>
          </a:p>
        </p:txBody>
      </p:sp>
      <p:sp>
        <p:nvSpPr>
          <p:cNvPr id="43" name="TextBox 42">
            <a:extLst>
              <a:ext uri="{FF2B5EF4-FFF2-40B4-BE49-F238E27FC236}">
                <a16:creationId xmlns:a16="http://schemas.microsoft.com/office/drawing/2014/main" id="{6A884F0D-AAD6-A544-8D6A-2A79F06A59B0}"/>
              </a:ext>
            </a:extLst>
          </p:cNvPr>
          <p:cNvSpPr txBox="1"/>
          <p:nvPr/>
        </p:nvSpPr>
        <p:spPr>
          <a:xfrm rot="13500000">
            <a:off x="4491711" y="3442912"/>
            <a:ext cx="2300361" cy="1835428"/>
          </a:xfrm>
          <a:prstGeom prst="rect">
            <a:avLst/>
          </a:prstGeom>
          <a:noFill/>
        </p:spPr>
        <p:txBody>
          <a:bodyPr wrap="square" rtlCol="0">
            <a:prstTxWarp prst="textArchUp">
              <a:avLst>
                <a:gd name="adj" fmla="val 12348932"/>
              </a:avLst>
            </a:prstTxWarp>
            <a:spAutoFit/>
          </a:bodyPr>
          <a:lstStyle/>
          <a:p>
            <a:pPr algn="ctr"/>
            <a:r>
              <a:rPr lang="en-US" altLang="ko-KR" sz="1600" b="1">
                <a:solidFill>
                  <a:schemeClr val="bg1"/>
                </a:solidFill>
                <a:cs typeface="Arial" pitchFamily="34" charset="0"/>
              </a:rPr>
              <a:t>OPPORTUNITIES</a:t>
            </a:r>
            <a:endParaRPr lang="ko-KR" altLang="en-US" sz="1600" b="1">
              <a:solidFill>
                <a:schemeClr val="bg1"/>
              </a:solidFill>
              <a:cs typeface="Arial" pitchFamily="34" charset="0"/>
            </a:endParaRPr>
          </a:p>
        </p:txBody>
      </p:sp>
      <p:sp>
        <p:nvSpPr>
          <p:cNvPr id="44" name="TextBox 43">
            <a:extLst>
              <a:ext uri="{FF2B5EF4-FFF2-40B4-BE49-F238E27FC236}">
                <a16:creationId xmlns:a16="http://schemas.microsoft.com/office/drawing/2014/main" id="{C66A84A2-9CE8-2548-AD9D-9F0406FFB819}"/>
              </a:ext>
            </a:extLst>
          </p:cNvPr>
          <p:cNvSpPr txBox="1"/>
          <p:nvPr/>
        </p:nvSpPr>
        <p:spPr>
          <a:xfrm rot="8100000">
            <a:off x="5409359" y="3415030"/>
            <a:ext cx="2300361" cy="1835428"/>
          </a:xfrm>
          <a:prstGeom prst="rect">
            <a:avLst/>
          </a:prstGeom>
          <a:noFill/>
        </p:spPr>
        <p:txBody>
          <a:bodyPr wrap="square" rtlCol="0">
            <a:prstTxWarp prst="textArchUp">
              <a:avLst>
                <a:gd name="adj" fmla="val 12348932"/>
              </a:avLst>
            </a:prstTxWarp>
            <a:spAutoFit/>
          </a:bodyPr>
          <a:lstStyle/>
          <a:p>
            <a:pPr algn="ctr"/>
            <a:r>
              <a:rPr lang="en-US" altLang="ko-KR" sz="1600" b="1">
                <a:solidFill>
                  <a:schemeClr val="bg1"/>
                </a:solidFill>
                <a:cs typeface="Arial" pitchFamily="34" charset="0"/>
              </a:rPr>
              <a:t>THREATS</a:t>
            </a:r>
            <a:endParaRPr lang="ko-KR" altLang="en-US" sz="1600" b="1">
              <a:solidFill>
                <a:schemeClr val="bg1"/>
              </a:solidFill>
              <a:cs typeface="Arial" pitchFamily="34" charset="0"/>
            </a:endParaRPr>
          </a:p>
        </p:txBody>
      </p:sp>
    </p:spTree>
    <p:extLst>
      <p:ext uri="{BB962C8B-B14F-4D97-AF65-F5344CB8AC3E}">
        <p14:creationId xmlns:p14="http://schemas.microsoft.com/office/powerpoint/2010/main" val="162717151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9D7BFA-563D-A84E-9DDE-C6A0E05503C4}"/>
              </a:ext>
            </a:extLst>
          </p:cNvPr>
          <p:cNvSpPr>
            <a:spLocks noGrp="1"/>
          </p:cNvSpPr>
          <p:nvPr>
            <p:ph type="sldNum" sz="quarter" idx="4"/>
          </p:nvPr>
        </p:nvSpPr>
        <p:spPr/>
        <p:txBody>
          <a:bodyPr/>
          <a:lstStyle/>
          <a:p>
            <a:fld id="{3D966009-6E5A-4F8C-8CA7-E37AFBF5FB92}" type="slidenum">
              <a:rPr lang="en-US" smtClean="0"/>
              <a:t>164</a:t>
            </a:fld>
            <a:endParaRPr lang="en-US"/>
          </a:p>
        </p:txBody>
      </p:sp>
      <p:sp>
        <p:nvSpPr>
          <p:cNvPr id="3" name="Title 2">
            <a:extLst>
              <a:ext uri="{FF2B5EF4-FFF2-40B4-BE49-F238E27FC236}">
                <a16:creationId xmlns:a16="http://schemas.microsoft.com/office/drawing/2014/main" id="{1B12FCE1-6A67-214D-B72B-208E7C05BDF4}"/>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149350DB-CC74-E64B-B8B8-2D8B0563E0B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2FC3083-76DC-614A-8629-FEBB878E4579}"/>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3DD782D-7F44-524F-AAC3-4D1CE399EC5D}"/>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CFD2BE0-8B4C-D949-9DCE-41DEC3744666}"/>
              </a:ext>
            </a:extLst>
          </p:cNvPr>
          <p:cNvSpPr>
            <a:spLocks noGrp="1"/>
          </p:cNvSpPr>
          <p:nvPr>
            <p:ph sz="quarter" idx="14"/>
          </p:nvPr>
        </p:nvSpPr>
        <p:spPr/>
        <p:txBody>
          <a:bodyPr/>
          <a:lstStyle/>
          <a:p>
            <a:endParaRPr lang="en-GB"/>
          </a:p>
        </p:txBody>
      </p:sp>
      <p:grpSp>
        <p:nvGrpSpPr>
          <p:cNvPr id="9" name="그룹 29">
            <a:extLst>
              <a:ext uri="{FF2B5EF4-FFF2-40B4-BE49-F238E27FC236}">
                <a16:creationId xmlns:a16="http://schemas.microsoft.com/office/drawing/2014/main" id="{3A7C763B-EE1E-3245-B176-7D2BC15C34FE}"/>
              </a:ext>
            </a:extLst>
          </p:cNvPr>
          <p:cNvGrpSpPr/>
          <p:nvPr/>
        </p:nvGrpSpPr>
        <p:grpSpPr>
          <a:xfrm>
            <a:off x="9208982" y="3468699"/>
            <a:ext cx="2006603" cy="896255"/>
            <a:chOff x="6683638" y="3478363"/>
            <a:chExt cx="1773386" cy="792088"/>
          </a:xfrm>
          <a:solidFill>
            <a:schemeClr val="accent3"/>
          </a:solidFill>
        </p:grpSpPr>
        <p:sp>
          <p:nvSpPr>
            <p:cNvPr id="10" name="Chevron 7">
              <a:extLst>
                <a:ext uri="{FF2B5EF4-FFF2-40B4-BE49-F238E27FC236}">
                  <a16:creationId xmlns:a16="http://schemas.microsoft.com/office/drawing/2014/main" id="{B357EB95-97A5-D946-869F-3436C0354857}"/>
                </a:ext>
              </a:extLst>
            </p:cNvPr>
            <p:cNvSpPr/>
            <p:nvPr/>
          </p:nvSpPr>
          <p:spPr>
            <a:xfrm rot="10800000">
              <a:off x="6683638" y="3478363"/>
              <a:ext cx="1492744" cy="79208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1" name="Chevron 9">
              <a:extLst>
                <a:ext uri="{FF2B5EF4-FFF2-40B4-BE49-F238E27FC236}">
                  <a16:creationId xmlns:a16="http://schemas.microsoft.com/office/drawing/2014/main" id="{11B26794-C6CB-6147-857C-A16DC7861212}"/>
                </a:ext>
              </a:extLst>
            </p:cNvPr>
            <p:cNvSpPr/>
            <p:nvPr/>
          </p:nvSpPr>
          <p:spPr>
            <a:xfrm rot="10800000">
              <a:off x="7880960" y="3478363"/>
              <a:ext cx="576064" cy="792088"/>
            </a:xfrm>
            <a:prstGeom prst="chevron">
              <a:avLst>
                <a:gd name="adj" fmla="val 636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12" name="그룹 32">
            <a:extLst>
              <a:ext uri="{FF2B5EF4-FFF2-40B4-BE49-F238E27FC236}">
                <a16:creationId xmlns:a16="http://schemas.microsoft.com/office/drawing/2014/main" id="{30902AFD-046A-6C4B-9BBF-DE2334687F4A}"/>
              </a:ext>
            </a:extLst>
          </p:cNvPr>
          <p:cNvGrpSpPr/>
          <p:nvPr/>
        </p:nvGrpSpPr>
        <p:grpSpPr>
          <a:xfrm>
            <a:off x="8684442" y="3976294"/>
            <a:ext cx="896255" cy="2014965"/>
            <a:chOff x="6220062" y="3926963"/>
            <a:chExt cx="792088" cy="1780776"/>
          </a:xfrm>
          <a:solidFill>
            <a:schemeClr val="accent2"/>
          </a:solidFill>
        </p:grpSpPr>
        <p:sp>
          <p:nvSpPr>
            <p:cNvPr id="13" name="Chevron 8">
              <a:extLst>
                <a:ext uri="{FF2B5EF4-FFF2-40B4-BE49-F238E27FC236}">
                  <a16:creationId xmlns:a16="http://schemas.microsoft.com/office/drawing/2014/main" id="{EC0E1886-D8E9-E644-A362-A719A97F0102}"/>
                </a:ext>
              </a:extLst>
            </p:cNvPr>
            <p:cNvSpPr/>
            <p:nvPr/>
          </p:nvSpPr>
          <p:spPr>
            <a:xfrm rot="16200000">
              <a:off x="5869734" y="4277291"/>
              <a:ext cx="1492744" cy="79208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4" name="Chevron 10">
              <a:extLst>
                <a:ext uri="{FF2B5EF4-FFF2-40B4-BE49-F238E27FC236}">
                  <a16:creationId xmlns:a16="http://schemas.microsoft.com/office/drawing/2014/main" id="{E95AFC1C-401E-1444-A61D-B050BEA5666D}"/>
                </a:ext>
              </a:extLst>
            </p:cNvPr>
            <p:cNvSpPr/>
            <p:nvPr/>
          </p:nvSpPr>
          <p:spPr>
            <a:xfrm rot="16200000">
              <a:off x="6328074" y="5023663"/>
              <a:ext cx="576064" cy="792088"/>
            </a:xfrm>
            <a:prstGeom prst="chevron">
              <a:avLst>
                <a:gd name="adj" fmla="val 636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15" name="그룹 35">
            <a:extLst>
              <a:ext uri="{FF2B5EF4-FFF2-40B4-BE49-F238E27FC236}">
                <a16:creationId xmlns:a16="http://schemas.microsoft.com/office/drawing/2014/main" id="{AC03B12D-14C0-5545-B2C8-DCABA97B4536}"/>
              </a:ext>
            </a:extLst>
          </p:cNvPr>
          <p:cNvGrpSpPr/>
          <p:nvPr/>
        </p:nvGrpSpPr>
        <p:grpSpPr>
          <a:xfrm>
            <a:off x="7060221" y="3468699"/>
            <a:ext cx="1996530" cy="896255"/>
            <a:chOff x="4784616" y="3478363"/>
            <a:chExt cx="1764484" cy="792088"/>
          </a:xfrm>
          <a:solidFill>
            <a:schemeClr val="accent1"/>
          </a:solidFill>
        </p:grpSpPr>
        <p:sp>
          <p:nvSpPr>
            <p:cNvPr id="16" name="Chevron 5">
              <a:extLst>
                <a:ext uri="{FF2B5EF4-FFF2-40B4-BE49-F238E27FC236}">
                  <a16:creationId xmlns:a16="http://schemas.microsoft.com/office/drawing/2014/main" id="{F606AAB9-7139-1A45-A714-46295E1647EF}"/>
                </a:ext>
              </a:extLst>
            </p:cNvPr>
            <p:cNvSpPr/>
            <p:nvPr/>
          </p:nvSpPr>
          <p:spPr>
            <a:xfrm>
              <a:off x="5056356" y="3478363"/>
              <a:ext cx="1492744" cy="79208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7" name="Chevron 11">
              <a:extLst>
                <a:ext uri="{FF2B5EF4-FFF2-40B4-BE49-F238E27FC236}">
                  <a16:creationId xmlns:a16="http://schemas.microsoft.com/office/drawing/2014/main" id="{D370088B-6386-D94B-A186-C600C366D524}"/>
                </a:ext>
              </a:extLst>
            </p:cNvPr>
            <p:cNvSpPr/>
            <p:nvPr/>
          </p:nvSpPr>
          <p:spPr>
            <a:xfrm>
              <a:off x="4784616" y="3478363"/>
              <a:ext cx="576064" cy="792088"/>
            </a:xfrm>
            <a:prstGeom prst="chevron">
              <a:avLst>
                <a:gd name="adj" fmla="val 636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18" name="그룹 38">
            <a:extLst>
              <a:ext uri="{FF2B5EF4-FFF2-40B4-BE49-F238E27FC236}">
                <a16:creationId xmlns:a16="http://schemas.microsoft.com/office/drawing/2014/main" id="{329732B8-290A-8143-9815-BB9931448975}"/>
              </a:ext>
            </a:extLst>
          </p:cNvPr>
          <p:cNvGrpSpPr/>
          <p:nvPr/>
        </p:nvGrpSpPr>
        <p:grpSpPr>
          <a:xfrm>
            <a:off x="8684442" y="1853594"/>
            <a:ext cx="896255" cy="2014965"/>
            <a:chOff x="6220062" y="2050973"/>
            <a:chExt cx="792088" cy="1780776"/>
          </a:xfrm>
          <a:solidFill>
            <a:schemeClr val="accent4"/>
          </a:solidFill>
        </p:grpSpPr>
        <p:sp>
          <p:nvSpPr>
            <p:cNvPr id="19" name="Chevron 6">
              <a:extLst>
                <a:ext uri="{FF2B5EF4-FFF2-40B4-BE49-F238E27FC236}">
                  <a16:creationId xmlns:a16="http://schemas.microsoft.com/office/drawing/2014/main" id="{4F9F5687-AA88-6B4C-A786-D46D33F43F29}"/>
                </a:ext>
              </a:extLst>
            </p:cNvPr>
            <p:cNvSpPr/>
            <p:nvPr/>
          </p:nvSpPr>
          <p:spPr>
            <a:xfrm rot="5400000">
              <a:off x="5869734" y="2689333"/>
              <a:ext cx="1492744" cy="79208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0" name="Chevron 12">
              <a:extLst>
                <a:ext uri="{FF2B5EF4-FFF2-40B4-BE49-F238E27FC236}">
                  <a16:creationId xmlns:a16="http://schemas.microsoft.com/office/drawing/2014/main" id="{A750E0CE-645B-8648-807A-4C5CF788E442}"/>
                </a:ext>
              </a:extLst>
            </p:cNvPr>
            <p:cNvSpPr/>
            <p:nvPr/>
          </p:nvSpPr>
          <p:spPr>
            <a:xfrm rot="5400000">
              <a:off x="6328074" y="1942961"/>
              <a:ext cx="576064" cy="792088"/>
            </a:xfrm>
            <a:prstGeom prst="chevron">
              <a:avLst>
                <a:gd name="adj" fmla="val 6368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
        <p:nvSpPr>
          <p:cNvPr id="21" name="Rectangle 13">
            <a:extLst>
              <a:ext uri="{FF2B5EF4-FFF2-40B4-BE49-F238E27FC236}">
                <a16:creationId xmlns:a16="http://schemas.microsoft.com/office/drawing/2014/main" id="{09074126-15FA-C642-A655-8499759680FE}"/>
              </a:ext>
            </a:extLst>
          </p:cNvPr>
          <p:cNvSpPr/>
          <p:nvPr/>
        </p:nvSpPr>
        <p:spPr>
          <a:xfrm>
            <a:off x="8771519" y="2700867"/>
            <a:ext cx="722101" cy="646331"/>
          </a:xfrm>
          <a:prstGeom prst="rect">
            <a:avLst/>
          </a:prstGeom>
        </p:spPr>
        <p:txBody>
          <a:bodyPr wrap="square" anchor="ctr">
            <a:spAutoFit/>
          </a:bodyPr>
          <a:lstStyle/>
          <a:p>
            <a:pPr algn="ctr"/>
            <a:r>
              <a:rPr lang="en-US" altLang="ko-KR" sz="3600" b="1">
                <a:solidFill>
                  <a:schemeClr val="bg1"/>
                </a:solidFill>
                <a:cs typeface="Arial" pitchFamily="34" charset="0"/>
              </a:rPr>
              <a:t>S</a:t>
            </a:r>
            <a:endParaRPr lang="ko-KR" altLang="en-US" sz="3600">
              <a:cs typeface="Arial" pitchFamily="34" charset="0"/>
            </a:endParaRPr>
          </a:p>
        </p:txBody>
      </p:sp>
      <p:sp>
        <p:nvSpPr>
          <p:cNvPr id="22" name="Rectangle 14">
            <a:extLst>
              <a:ext uri="{FF2B5EF4-FFF2-40B4-BE49-F238E27FC236}">
                <a16:creationId xmlns:a16="http://schemas.microsoft.com/office/drawing/2014/main" id="{07EFFCF0-633D-0B45-BE24-789FA551CF09}"/>
              </a:ext>
            </a:extLst>
          </p:cNvPr>
          <p:cNvSpPr/>
          <p:nvPr/>
        </p:nvSpPr>
        <p:spPr>
          <a:xfrm>
            <a:off x="7851174" y="3604124"/>
            <a:ext cx="722101" cy="646331"/>
          </a:xfrm>
          <a:prstGeom prst="rect">
            <a:avLst/>
          </a:prstGeom>
        </p:spPr>
        <p:txBody>
          <a:bodyPr wrap="square" anchor="ctr">
            <a:spAutoFit/>
          </a:bodyPr>
          <a:lstStyle/>
          <a:p>
            <a:pPr algn="ctr"/>
            <a:r>
              <a:rPr lang="en-US" altLang="ko-KR" sz="3600" b="1">
                <a:solidFill>
                  <a:schemeClr val="bg1"/>
                </a:solidFill>
                <a:cs typeface="Arial" pitchFamily="34" charset="0"/>
              </a:rPr>
              <a:t>T</a:t>
            </a:r>
            <a:endParaRPr lang="ko-KR" altLang="en-US" sz="3600">
              <a:cs typeface="Arial" pitchFamily="34" charset="0"/>
            </a:endParaRPr>
          </a:p>
        </p:txBody>
      </p:sp>
      <p:sp>
        <p:nvSpPr>
          <p:cNvPr id="23" name="Rectangle 15">
            <a:extLst>
              <a:ext uri="{FF2B5EF4-FFF2-40B4-BE49-F238E27FC236}">
                <a16:creationId xmlns:a16="http://schemas.microsoft.com/office/drawing/2014/main" id="{7CA3746D-D120-114E-9782-23F6B96A0454}"/>
              </a:ext>
            </a:extLst>
          </p:cNvPr>
          <p:cNvSpPr/>
          <p:nvPr/>
        </p:nvSpPr>
        <p:spPr>
          <a:xfrm>
            <a:off x="9692458" y="3604124"/>
            <a:ext cx="722101" cy="646331"/>
          </a:xfrm>
          <a:prstGeom prst="rect">
            <a:avLst/>
          </a:prstGeom>
        </p:spPr>
        <p:txBody>
          <a:bodyPr wrap="square" anchor="ctr">
            <a:spAutoFit/>
          </a:bodyPr>
          <a:lstStyle/>
          <a:p>
            <a:pPr algn="ctr"/>
            <a:r>
              <a:rPr lang="en-US" altLang="ko-KR" sz="3600" b="1">
                <a:solidFill>
                  <a:schemeClr val="bg1"/>
                </a:solidFill>
                <a:cs typeface="Arial" pitchFamily="34" charset="0"/>
              </a:rPr>
              <a:t>W</a:t>
            </a:r>
            <a:endParaRPr lang="ko-KR" altLang="en-US" sz="3600">
              <a:cs typeface="Arial" pitchFamily="34" charset="0"/>
            </a:endParaRPr>
          </a:p>
        </p:txBody>
      </p:sp>
      <p:sp>
        <p:nvSpPr>
          <p:cNvPr id="24" name="Rectangle 16">
            <a:extLst>
              <a:ext uri="{FF2B5EF4-FFF2-40B4-BE49-F238E27FC236}">
                <a16:creationId xmlns:a16="http://schemas.microsoft.com/office/drawing/2014/main" id="{AA361E6E-6EA5-EB49-96C3-2F08E0F07AC7}"/>
              </a:ext>
            </a:extLst>
          </p:cNvPr>
          <p:cNvSpPr/>
          <p:nvPr/>
        </p:nvSpPr>
        <p:spPr>
          <a:xfrm>
            <a:off x="8771519" y="4497655"/>
            <a:ext cx="722101" cy="646331"/>
          </a:xfrm>
          <a:prstGeom prst="rect">
            <a:avLst/>
          </a:prstGeom>
        </p:spPr>
        <p:txBody>
          <a:bodyPr wrap="square" anchor="ctr">
            <a:spAutoFit/>
          </a:bodyPr>
          <a:lstStyle/>
          <a:p>
            <a:pPr algn="ctr"/>
            <a:r>
              <a:rPr lang="en-US" altLang="ko-KR" sz="3600" b="1">
                <a:solidFill>
                  <a:schemeClr val="bg1"/>
                </a:solidFill>
                <a:cs typeface="Arial" pitchFamily="34" charset="0"/>
              </a:rPr>
              <a:t>O</a:t>
            </a:r>
            <a:endParaRPr lang="ko-KR" altLang="en-US" sz="3600">
              <a:cs typeface="Arial" pitchFamily="34" charset="0"/>
            </a:endParaRPr>
          </a:p>
        </p:txBody>
      </p:sp>
      <p:sp>
        <p:nvSpPr>
          <p:cNvPr id="25" name="TextBox 24">
            <a:extLst>
              <a:ext uri="{FF2B5EF4-FFF2-40B4-BE49-F238E27FC236}">
                <a16:creationId xmlns:a16="http://schemas.microsoft.com/office/drawing/2014/main" id="{C28FE98D-A718-0B43-B734-27A0D7F25857}"/>
              </a:ext>
            </a:extLst>
          </p:cNvPr>
          <p:cNvSpPr txBox="1"/>
          <p:nvPr/>
        </p:nvSpPr>
        <p:spPr>
          <a:xfrm>
            <a:off x="850213" y="1880637"/>
            <a:ext cx="1513664" cy="281256"/>
          </a:xfrm>
          <a:prstGeom prst="rect">
            <a:avLst/>
          </a:prstGeom>
          <a:noFill/>
        </p:spPr>
        <p:txBody>
          <a:bodyPr wrap="square" rtlCol="0">
            <a:spAutoFit/>
          </a:bodyPr>
          <a:lstStyle/>
          <a:p>
            <a:pPr algn="r"/>
            <a:r>
              <a:rPr lang="en-US" altLang="ko-KR" sz="1200" b="1">
                <a:solidFill>
                  <a:schemeClr val="accent4"/>
                </a:solidFill>
                <a:cs typeface="Arial" pitchFamily="34" charset="0"/>
              </a:rPr>
              <a:t>STRENGTHS</a:t>
            </a:r>
            <a:endParaRPr lang="ko-KR" altLang="en-US" sz="1200" b="1">
              <a:solidFill>
                <a:schemeClr val="accent4"/>
              </a:solidFill>
              <a:cs typeface="Arial" pitchFamily="34" charset="0"/>
            </a:endParaRPr>
          </a:p>
        </p:txBody>
      </p:sp>
      <p:sp>
        <p:nvSpPr>
          <p:cNvPr id="26" name="TextBox 25">
            <a:extLst>
              <a:ext uri="{FF2B5EF4-FFF2-40B4-BE49-F238E27FC236}">
                <a16:creationId xmlns:a16="http://schemas.microsoft.com/office/drawing/2014/main" id="{349872DB-F582-1F45-8506-AB204D2C460C}"/>
              </a:ext>
            </a:extLst>
          </p:cNvPr>
          <p:cNvSpPr txBox="1"/>
          <p:nvPr/>
        </p:nvSpPr>
        <p:spPr>
          <a:xfrm>
            <a:off x="2859287" y="1786368"/>
            <a:ext cx="362943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27" name="Chevron 25">
            <a:extLst>
              <a:ext uri="{FF2B5EF4-FFF2-40B4-BE49-F238E27FC236}">
                <a16:creationId xmlns:a16="http://schemas.microsoft.com/office/drawing/2014/main" id="{E2D4B6F3-1B63-E446-8EB5-3D423D8672B3}"/>
              </a:ext>
            </a:extLst>
          </p:cNvPr>
          <p:cNvSpPr/>
          <p:nvPr/>
        </p:nvSpPr>
        <p:spPr>
          <a:xfrm>
            <a:off x="2474703" y="1920773"/>
            <a:ext cx="194565" cy="200987"/>
          </a:xfrm>
          <a:prstGeom prst="chevron">
            <a:avLst>
              <a:gd name="adj" fmla="val 548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8" name="TextBox 27">
            <a:extLst>
              <a:ext uri="{FF2B5EF4-FFF2-40B4-BE49-F238E27FC236}">
                <a16:creationId xmlns:a16="http://schemas.microsoft.com/office/drawing/2014/main" id="{8D4E28BE-1F3C-8844-9522-8A4C171E190C}"/>
              </a:ext>
            </a:extLst>
          </p:cNvPr>
          <p:cNvSpPr txBox="1"/>
          <p:nvPr/>
        </p:nvSpPr>
        <p:spPr>
          <a:xfrm>
            <a:off x="850213" y="3088757"/>
            <a:ext cx="1513664" cy="281256"/>
          </a:xfrm>
          <a:prstGeom prst="rect">
            <a:avLst/>
          </a:prstGeom>
          <a:noFill/>
        </p:spPr>
        <p:txBody>
          <a:bodyPr wrap="square" rtlCol="0">
            <a:spAutoFit/>
          </a:bodyPr>
          <a:lstStyle/>
          <a:p>
            <a:pPr algn="r"/>
            <a:r>
              <a:rPr lang="en-US" altLang="ko-KR" sz="1200" b="1">
                <a:solidFill>
                  <a:schemeClr val="accent3"/>
                </a:solidFill>
                <a:cs typeface="Arial" pitchFamily="34" charset="0"/>
              </a:rPr>
              <a:t>WEAKNESS</a:t>
            </a:r>
            <a:endParaRPr lang="ko-KR" altLang="en-US" sz="1200" b="1">
              <a:solidFill>
                <a:schemeClr val="accent3"/>
              </a:solidFill>
              <a:cs typeface="Arial" pitchFamily="34" charset="0"/>
            </a:endParaRPr>
          </a:p>
        </p:txBody>
      </p:sp>
      <p:sp>
        <p:nvSpPr>
          <p:cNvPr id="29" name="TextBox 28">
            <a:extLst>
              <a:ext uri="{FF2B5EF4-FFF2-40B4-BE49-F238E27FC236}">
                <a16:creationId xmlns:a16="http://schemas.microsoft.com/office/drawing/2014/main" id="{C1A42C05-7574-1947-B4B7-A452298B0B15}"/>
              </a:ext>
            </a:extLst>
          </p:cNvPr>
          <p:cNvSpPr txBox="1"/>
          <p:nvPr/>
        </p:nvSpPr>
        <p:spPr>
          <a:xfrm>
            <a:off x="2859287" y="2993069"/>
            <a:ext cx="362943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30" name="Chevron 26">
            <a:extLst>
              <a:ext uri="{FF2B5EF4-FFF2-40B4-BE49-F238E27FC236}">
                <a16:creationId xmlns:a16="http://schemas.microsoft.com/office/drawing/2014/main" id="{ECB3995C-CFA3-7544-BFB5-D8EA9BD1A570}"/>
              </a:ext>
            </a:extLst>
          </p:cNvPr>
          <p:cNvSpPr/>
          <p:nvPr/>
        </p:nvSpPr>
        <p:spPr>
          <a:xfrm>
            <a:off x="2480645" y="3127474"/>
            <a:ext cx="194565" cy="200987"/>
          </a:xfrm>
          <a:prstGeom prst="chevron">
            <a:avLst>
              <a:gd name="adj" fmla="val 5486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1" name="TextBox 30">
            <a:extLst>
              <a:ext uri="{FF2B5EF4-FFF2-40B4-BE49-F238E27FC236}">
                <a16:creationId xmlns:a16="http://schemas.microsoft.com/office/drawing/2014/main" id="{023BF365-4015-C748-950E-EA8067F0759A}"/>
              </a:ext>
            </a:extLst>
          </p:cNvPr>
          <p:cNvSpPr txBox="1"/>
          <p:nvPr/>
        </p:nvSpPr>
        <p:spPr>
          <a:xfrm>
            <a:off x="850213" y="4296878"/>
            <a:ext cx="1513664" cy="276999"/>
          </a:xfrm>
          <a:prstGeom prst="rect">
            <a:avLst/>
          </a:prstGeom>
          <a:noFill/>
        </p:spPr>
        <p:txBody>
          <a:bodyPr wrap="square" rtlCol="0">
            <a:spAutoFit/>
          </a:bodyPr>
          <a:lstStyle/>
          <a:p>
            <a:pPr algn="r"/>
            <a:r>
              <a:rPr lang="en-US" altLang="ko-KR" sz="1200" b="1">
                <a:solidFill>
                  <a:schemeClr val="accent2"/>
                </a:solidFill>
                <a:cs typeface="Arial" pitchFamily="34" charset="0"/>
              </a:rPr>
              <a:t>OPPORTUNITIES</a:t>
            </a:r>
            <a:endParaRPr lang="ko-KR" altLang="en-US" sz="1200" b="1">
              <a:solidFill>
                <a:schemeClr val="accent2"/>
              </a:solidFill>
              <a:cs typeface="Arial" pitchFamily="34" charset="0"/>
            </a:endParaRPr>
          </a:p>
        </p:txBody>
      </p:sp>
      <p:sp>
        <p:nvSpPr>
          <p:cNvPr id="32" name="TextBox 31">
            <a:extLst>
              <a:ext uri="{FF2B5EF4-FFF2-40B4-BE49-F238E27FC236}">
                <a16:creationId xmlns:a16="http://schemas.microsoft.com/office/drawing/2014/main" id="{C673DBC0-1E62-034E-894A-278201FE3844}"/>
              </a:ext>
            </a:extLst>
          </p:cNvPr>
          <p:cNvSpPr txBox="1"/>
          <p:nvPr/>
        </p:nvSpPr>
        <p:spPr>
          <a:xfrm>
            <a:off x="2859287" y="4199770"/>
            <a:ext cx="362943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33" name="Chevron 27">
            <a:extLst>
              <a:ext uri="{FF2B5EF4-FFF2-40B4-BE49-F238E27FC236}">
                <a16:creationId xmlns:a16="http://schemas.microsoft.com/office/drawing/2014/main" id="{61FE0EE4-DE5C-8E49-A8BF-46C4D11B9973}"/>
              </a:ext>
            </a:extLst>
          </p:cNvPr>
          <p:cNvSpPr/>
          <p:nvPr/>
        </p:nvSpPr>
        <p:spPr>
          <a:xfrm>
            <a:off x="2486587" y="4334175"/>
            <a:ext cx="194565" cy="200987"/>
          </a:xfrm>
          <a:prstGeom prst="chevron">
            <a:avLst>
              <a:gd name="adj" fmla="val 5486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34" name="TextBox 33">
            <a:extLst>
              <a:ext uri="{FF2B5EF4-FFF2-40B4-BE49-F238E27FC236}">
                <a16:creationId xmlns:a16="http://schemas.microsoft.com/office/drawing/2014/main" id="{4F83F498-0ED7-624C-8451-2896074DD379}"/>
              </a:ext>
            </a:extLst>
          </p:cNvPr>
          <p:cNvSpPr txBox="1"/>
          <p:nvPr/>
        </p:nvSpPr>
        <p:spPr>
          <a:xfrm>
            <a:off x="850213" y="5500741"/>
            <a:ext cx="1513664" cy="281256"/>
          </a:xfrm>
          <a:prstGeom prst="rect">
            <a:avLst/>
          </a:prstGeom>
          <a:noFill/>
        </p:spPr>
        <p:txBody>
          <a:bodyPr wrap="square" rtlCol="0">
            <a:spAutoFit/>
          </a:bodyPr>
          <a:lstStyle/>
          <a:p>
            <a:pPr algn="r"/>
            <a:r>
              <a:rPr lang="en-US" altLang="ko-KR" sz="1200" b="1">
                <a:solidFill>
                  <a:schemeClr val="accent1"/>
                </a:solidFill>
                <a:cs typeface="Arial" pitchFamily="34" charset="0"/>
              </a:rPr>
              <a:t>THREATS</a:t>
            </a:r>
            <a:endParaRPr lang="ko-KR" altLang="en-US" sz="1200" b="1">
              <a:solidFill>
                <a:schemeClr val="accent1"/>
              </a:solidFill>
              <a:cs typeface="Arial" pitchFamily="34" charset="0"/>
            </a:endParaRPr>
          </a:p>
        </p:txBody>
      </p:sp>
      <p:sp>
        <p:nvSpPr>
          <p:cNvPr id="35" name="TextBox 34">
            <a:extLst>
              <a:ext uri="{FF2B5EF4-FFF2-40B4-BE49-F238E27FC236}">
                <a16:creationId xmlns:a16="http://schemas.microsoft.com/office/drawing/2014/main" id="{B9F2C203-A691-B84C-B304-122EA2A00C1A}"/>
              </a:ext>
            </a:extLst>
          </p:cNvPr>
          <p:cNvSpPr txBox="1"/>
          <p:nvPr/>
        </p:nvSpPr>
        <p:spPr>
          <a:xfrm>
            <a:off x="2859287" y="5406472"/>
            <a:ext cx="3629432" cy="646331"/>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36" name="Chevron 28">
            <a:extLst>
              <a:ext uri="{FF2B5EF4-FFF2-40B4-BE49-F238E27FC236}">
                <a16:creationId xmlns:a16="http://schemas.microsoft.com/office/drawing/2014/main" id="{F9284FC7-7D53-5248-9438-1B7C8E192F94}"/>
              </a:ext>
            </a:extLst>
          </p:cNvPr>
          <p:cNvSpPr/>
          <p:nvPr/>
        </p:nvSpPr>
        <p:spPr>
          <a:xfrm>
            <a:off x="2492529" y="5540877"/>
            <a:ext cx="194565" cy="200987"/>
          </a:xfrm>
          <a:prstGeom prst="chevron">
            <a:avLst>
              <a:gd name="adj" fmla="val 5486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Tree>
    <p:extLst>
      <p:ext uri="{BB962C8B-B14F-4D97-AF65-F5344CB8AC3E}">
        <p14:creationId xmlns:p14="http://schemas.microsoft.com/office/powerpoint/2010/main" val="311193982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CA6F44-E293-D74D-92A2-71C464111C58}"/>
              </a:ext>
            </a:extLst>
          </p:cNvPr>
          <p:cNvGraphicFramePr>
            <a:graphicFrameLocks noChangeAspect="1"/>
          </p:cNvGraphicFramePr>
          <p:nvPr>
            <p:custDataLst>
              <p:tags r:id="rId1"/>
            </p:custDataLst>
            <p:extLst>
              <p:ext uri="{D42A27DB-BD31-4B8C-83A1-F6EECF244321}">
                <p14:modId xmlns:p14="http://schemas.microsoft.com/office/powerpoint/2010/main" val="3939692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33CA6F44-E293-D74D-92A2-71C464111C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B7203B5-27B0-3448-8870-5041A8EE8601}"/>
              </a:ext>
            </a:extLst>
          </p:cNvPr>
          <p:cNvSpPr>
            <a:spLocks noGrp="1"/>
          </p:cNvSpPr>
          <p:nvPr>
            <p:ph type="sldNum" sz="quarter" idx="4"/>
          </p:nvPr>
        </p:nvSpPr>
        <p:spPr/>
        <p:txBody>
          <a:bodyPr/>
          <a:lstStyle/>
          <a:p>
            <a:fld id="{3D966009-6E5A-4F8C-8CA7-E37AFBF5FB92}" type="slidenum">
              <a:rPr lang="en-US" smtClean="0"/>
              <a:t>165</a:t>
            </a:fld>
            <a:endParaRPr lang="en-US"/>
          </a:p>
        </p:txBody>
      </p:sp>
      <p:sp>
        <p:nvSpPr>
          <p:cNvPr id="3" name="Title 2">
            <a:extLst>
              <a:ext uri="{FF2B5EF4-FFF2-40B4-BE49-F238E27FC236}">
                <a16:creationId xmlns:a16="http://schemas.microsoft.com/office/drawing/2014/main" id="{962F000D-3AA6-9248-BBA5-D1217A90F595}"/>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A76B85A2-A4F4-1E47-A1B0-D93603882A9E}"/>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93E23A48-6004-4D46-8477-EC7363338D39}"/>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BCFEB7BD-4E1F-5F4B-A939-7AAAD7FBC85B}"/>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A6C0B381-0CA6-B74E-BE06-AE9ED3A3B6E4}"/>
              </a:ext>
            </a:extLst>
          </p:cNvPr>
          <p:cNvSpPr>
            <a:spLocks noGrp="1"/>
          </p:cNvSpPr>
          <p:nvPr>
            <p:ph sz="quarter" idx="14"/>
          </p:nvPr>
        </p:nvSpPr>
        <p:spPr/>
        <p:txBody>
          <a:bodyPr/>
          <a:lstStyle/>
          <a:p>
            <a:endParaRPr lang="de-DE"/>
          </a:p>
        </p:txBody>
      </p:sp>
      <p:grpSp>
        <p:nvGrpSpPr>
          <p:cNvPr id="78" name="Group 77">
            <a:extLst>
              <a:ext uri="{FF2B5EF4-FFF2-40B4-BE49-F238E27FC236}">
                <a16:creationId xmlns:a16="http://schemas.microsoft.com/office/drawing/2014/main" id="{84D565C4-836E-014D-973B-30258B9E362D}"/>
              </a:ext>
            </a:extLst>
          </p:cNvPr>
          <p:cNvGrpSpPr/>
          <p:nvPr/>
        </p:nvGrpSpPr>
        <p:grpSpPr>
          <a:xfrm>
            <a:off x="1039928" y="1694101"/>
            <a:ext cx="4104456" cy="4103588"/>
            <a:chOff x="4184973" y="1314731"/>
            <a:chExt cx="4491483" cy="4490533"/>
          </a:xfrm>
        </p:grpSpPr>
        <p:sp>
          <p:nvSpPr>
            <p:cNvPr id="79" name="Oval 3">
              <a:extLst>
                <a:ext uri="{FF2B5EF4-FFF2-40B4-BE49-F238E27FC236}">
                  <a16:creationId xmlns:a16="http://schemas.microsoft.com/office/drawing/2014/main" id="{EE4B5B55-1A85-F541-8C49-8D9AB6C16937}"/>
                </a:ext>
              </a:extLst>
            </p:cNvPr>
            <p:cNvSpPr/>
            <p:nvPr/>
          </p:nvSpPr>
          <p:spPr>
            <a:xfrm>
              <a:off x="4308587" y="4255750"/>
              <a:ext cx="2738396" cy="1549514"/>
            </a:xfrm>
            <a:custGeom>
              <a:avLst/>
              <a:gdLst/>
              <a:ahLst/>
              <a:cxnLst/>
              <a:rect l="l" t="t" r="r" b="b"/>
              <a:pathLst>
                <a:path w="2738396" h="1549514">
                  <a:moveTo>
                    <a:pt x="0" y="0"/>
                  </a:moveTo>
                  <a:lnTo>
                    <a:pt x="1441874" y="0"/>
                  </a:lnTo>
                  <a:lnTo>
                    <a:pt x="1441874" y="483"/>
                  </a:lnTo>
                  <a:lnTo>
                    <a:pt x="2738018" y="483"/>
                  </a:lnTo>
                  <a:lnTo>
                    <a:pt x="2738018" y="0"/>
                  </a:lnTo>
                  <a:lnTo>
                    <a:pt x="2738396" y="0"/>
                  </a:lnTo>
                  <a:lnTo>
                    <a:pt x="2738396" y="1449998"/>
                  </a:lnTo>
                  <a:cubicBezTo>
                    <a:pt x="2533861" y="1515204"/>
                    <a:pt x="2315911" y="1549514"/>
                    <a:pt x="2089946" y="1549514"/>
                  </a:cubicBezTo>
                  <a:cubicBezTo>
                    <a:pt x="1104429" y="1549514"/>
                    <a:pt x="271346" y="896868"/>
                    <a:pt x="0" y="0"/>
                  </a:cubicBezTo>
                  <a:close/>
                </a:path>
              </a:pathLst>
            </a:custGeom>
            <a:solidFill>
              <a:srgbClr val="33365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80" name="Oval 3">
              <a:extLst>
                <a:ext uri="{FF2B5EF4-FFF2-40B4-BE49-F238E27FC236}">
                  <a16:creationId xmlns:a16="http://schemas.microsoft.com/office/drawing/2014/main" id="{3626D315-D312-4C47-98E9-DB094ACD3CE0}"/>
                </a:ext>
              </a:extLst>
            </p:cNvPr>
            <p:cNvSpPr/>
            <p:nvPr/>
          </p:nvSpPr>
          <p:spPr>
            <a:xfrm rot="16200000">
              <a:off x="6532501" y="3531332"/>
              <a:ext cx="2738396" cy="1549514"/>
            </a:xfrm>
            <a:custGeom>
              <a:avLst/>
              <a:gdLst/>
              <a:ahLst/>
              <a:cxnLst/>
              <a:rect l="l" t="t" r="r" b="b"/>
              <a:pathLst>
                <a:path w="2738396" h="1549514">
                  <a:moveTo>
                    <a:pt x="0" y="0"/>
                  </a:moveTo>
                  <a:lnTo>
                    <a:pt x="1441874" y="0"/>
                  </a:lnTo>
                  <a:lnTo>
                    <a:pt x="1441874" y="483"/>
                  </a:lnTo>
                  <a:lnTo>
                    <a:pt x="2738018" y="483"/>
                  </a:lnTo>
                  <a:lnTo>
                    <a:pt x="2738018" y="0"/>
                  </a:lnTo>
                  <a:lnTo>
                    <a:pt x="2738396" y="0"/>
                  </a:lnTo>
                  <a:lnTo>
                    <a:pt x="2738396" y="1449998"/>
                  </a:lnTo>
                  <a:cubicBezTo>
                    <a:pt x="2533861" y="1515204"/>
                    <a:pt x="2315911" y="1549514"/>
                    <a:pt x="2089946" y="1549514"/>
                  </a:cubicBezTo>
                  <a:cubicBezTo>
                    <a:pt x="1104429" y="1549514"/>
                    <a:pt x="271346" y="896868"/>
                    <a:pt x="0" y="0"/>
                  </a:cubicBezTo>
                  <a:close/>
                </a:path>
              </a:pathLst>
            </a:custGeom>
            <a:solidFill>
              <a:schemeClr val="bg1">
                <a:lumMod val="50000"/>
              </a:scheme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81" name="Oval 3">
              <a:extLst>
                <a:ext uri="{FF2B5EF4-FFF2-40B4-BE49-F238E27FC236}">
                  <a16:creationId xmlns:a16="http://schemas.microsoft.com/office/drawing/2014/main" id="{D483F294-2DA5-3D46-9744-24069140D640}"/>
                </a:ext>
              </a:extLst>
            </p:cNvPr>
            <p:cNvSpPr/>
            <p:nvPr/>
          </p:nvSpPr>
          <p:spPr>
            <a:xfrm rot="10800000">
              <a:off x="5805450" y="1314731"/>
              <a:ext cx="2738396" cy="1549514"/>
            </a:xfrm>
            <a:custGeom>
              <a:avLst/>
              <a:gdLst/>
              <a:ahLst/>
              <a:cxnLst/>
              <a:rect l="l" t="t" r="r" b="b"/>
              <a:pathLst>
                <a:path w="2738396" h="1549514">
                  <a:moveTo>
                    <a:pt x="0" y="0"/>
                  </a:moveTo>
                  <a:lnTo>
                    <a:pt x="1441874" y="0"/>
                  </a:lnTo>
                  <a:lnTo>
                    <a:pt x="1441874" y="483"/>
                  </a:lnTo>
                  <a:lnTo>
                    <a:pt x="2738018" y="483"/>
                  </a:lnTo>
                  <a:lnTo>
                    <a:pt x="2738018" y="0"/>
                  </a:lnTo>
                  <a:lnTo>
                    <a:pt x="2738396" y="0"/>
                  </a:lnTo>
                  <a:lnTo>
                    <a:pt x="2738396" y="1449998"/>
                  </a:lnTo>
                  <a:cubicBezTo>
                    <a:pt x="2533861" y="1515204"/>
                    <a:pt x="2315911" y="1549514"/>
                    <a:pt x="2089946" y="1549514"/>
                  </a:cubicBezTo>
                  <a:cubicBezTo>
                    <a:pt x="1104429" y="1549514"/>
                    <a:pt x="271346" y="896868"/>
                    <a:pt x="0" y="0"/>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82" name="Oval 3">
              <a:extLst>
                <a:ext uri="{FF2B5EF4-FFF2-40B4-BE49-F238E27FC236}">
                  <a16:creationId xmlns:a16="http://schemas.microsoft.com/office/drawing/2014/main" id="{237C5A01-B93A-8E46-B71C-69FD8C70F6F6}"/>
                </a:ext>
              </a:extLst>
            </p:cNvPr>
            <p:cNvSpPr/>
            <p:nvPr/>
          </p:nvSpPr>
          <p:spPr>
            <a:xfrm rot="5400000">
              <a:off x="3590532" y="2049734"/>
              <a:ext cx="2738396" cy="1549514"/>
            </a:xfrm>
            <a:custGeom>
              <a:avLst/>
              <a:gdLst/>
              <a:ahLst/>
              <a:cxnLst/>
              <a:rect l="l" t="t" r="r" b="b"/>
              <a:pathLst>
                <a:path w="2738396" h="1549514">
                  <a:moveTo>
                    <a:pt x="0" y="0"/>
                  </a:moveTo>
                  <a:lnTo>
                    <a:pt x="1441874" y="0"/>
                  </a:lnTo>
                  <a:lnTo>
                    <a:pt x="1441874" y="483"/>
                  </a:lnTo>
                  <a:lnTo>
                    <a:pt x="2738018" y="483"/>
                  </a:lnTo>
                  <a:lnTo>
                    <a:pt x="2738018" y="0"/>
                  </a:lnTo>
                  <a:lnTo>
                    <a:pt x="2738396" y="0"/>
                  </a:lnTo>
                  <a:lnTo>
                    <a:pt x="2738396" y="1449998"/>
                  </a:lnTo>
                  <a:cubicBezTo>
                    <a:pt x="2533861" y="1515204"/>
                    <a:pt x="2315911" y="1549514"/>
                    <a:pt x="2089946" y="1549514"/>
                  </a:cubicBezTo>
                  <a:cubicBezTo>
                    <a:pt x="1104429" y="1549514"/>
                    <a:pt x="271346" y="896868"/>
                    <a:pt x="0" y="0"/>
                  </a:cubicBezTo>
                  <a:close/>
                </a:path>
              </a:pathLst>
            </a:custGeom>
            <a:solidFill>
              <a:srgbClr val="024049"/>
            </a:solidFill>
            <a:ln w="12700" cap="flat" cmpd="sng" algn="ctr">
              <a:solidFill>
                <a:schemeClr val="tx1"/>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grpSp>
      <p:sp>
        <p:nvSpPr>
          <p:cNvPr id="91" name="TextBox 90">
            <a:extLst>
              <a:ext uri="{FF2B5EF4-FFF2-40B4-BE49-F238E27FC236}">
                <a16:creationId xmlns:a16="http://schemas.microsoft.com/office/drawing/2014/main" id="{49DF737E-BA6E-6B42-B8F2-1944DB0B03A2}"/>
              </a:ext>
            </a:extLst>
          </p:cNvPr>
          <p:cNvSpPr txBox="1"/>
          <p:nvPr/>
        </p:nvSpPr>
        <p:spPr>
          <a:xfrm>
            <a:off x="3343219" y="2688211"/>
            <a:ext cx="1613225" cy="276999"/>
          </a:xfrm>
          <a:prstGeom prst="rect">
            <a:avLst/>
          </a:prstGeom>
          <a:noFill/>
        </p:spPr>
        <p:txBody>
          <a:bodyPr wrap="square" rtlCol="0">
            <a:spAutoFit/>
          </a:bodyPr>
          <a:lstStyle/>
          <a:p>
            <a:pPr defTabSz="914286"/>
            <a:r>
              <a:rPr lang="en-US" altLang="ko-KR" sz="1200" b="1">
                <a:solidFill>
                  <a:prstClr val="white"/>
                </a:solidFill>
                <a:ea typeface="Arial Unicode MS"/>
                <a:cs typeface="Arial" pitchFamily="34" charset="0"/>
              </a:rPr>
              <a:t>STRENGTHS</a:t>
            </a:r>
            <a:endParaRPr lang="ko-KR" altLang="en-US" sz="1200" b="1">
              <a:solidFill>
                <a:prstClr val="white"/>
              </a:solidFill>
              <a:ea typeface="Arial Unicode MS"/>
              <a:cs typeface="Arial" pitchFamily="34" charset="0"/>
            </a:endParaRPr>
          </a:p>
        </p:txBody>
      </p:sp>
      <p:sp>
        <p:nvSpPr>
          <p:cNvPr id="92" name="TextBox 91">
            <a:extLst>
              <a:ext uri="{FF2B5EF4-FFF2-40B4-BE49-F238E27FC236}">
                <a16:creationId xmlns:a16="http://schemas.microsoft.com/office/drawing/2014/main" id="{F0004248-A43B-0043-B32A-D942F2A37436}"/>
              </a:ext>
            </a:extLst>
          </p:cNvPr>
          <p:cNvSpPr txBox="1"/>
          <p:nvPr/>
        </p:nvSpPr>
        <p:spPr>
          <a:xfrm>
            <a:off x="992978" y="3046046"/>
            <a:ext cx="1492418" cy="276999"/>
          </a:xfrm>
          <a:prstGeom prst="rect">
            <a:avLst/>
          </a:prstGeom>
          <a:noFill/>
        </p:spPr>
        <p:txBody>
          <a:bodyPr wrap="square" rtlCol="0">
            <a:spAutoFit/>
          </a:bodyPr>
          <a:lstStyle/>
          <a:p>
            <a:pPr algn="r" defTabSz="914286"/>
            <a:r>
              <a:rPr lang="en-US" altLang="ko-KR" sz="1200" b="1">
                <a:solidFill>
                  <a:prstClr val="white"/>
                </a:solidFill>
                <a:ea typeface="Arial Unicode MS"/>
                <a:cs typeface="Arial" pitchFamily="34" charset="0"/>
              </a:rPr>
              <a:t>WEAKNESS</a:t>
            </a:r>
            <a:endParaRPr lang="ko-KR" altLang="en-US" sz="1200" b="1">
              <a:solidFill>
                <a:prstClr val="white"/>
              </a:solidFill>
              <a:ea typeface="Arial Unicode MS"/>
              <a:cs typeface="Arial" pitchFamily="34" charset="0"/>
            </a:endParaRPr>
          </a:p>
        </p:txBody>
      </p:sp>
      <p:sp>
        <p:nvSpPr>
          <p:cNvPr id="93" name="TextBox 92">
            <a:extLst>
              <a:ext uri="{FF2B5EF4-FFF2-40B4-BE49-F238E27FC236}">
                <a16:creationId xmlns:a16="http://schemas.microsoft.com/office/drawing/2014/main" id="{8EFB118E-1F8C-344F-BB4D-F1CC7A5CF39C}"/>
              </a:ext>
            </a:extLst>
          </p:cNvPr>
          <p:cNvSpPr txBox="1"/>
          <p:nvPr/>
        </p:nvSpPr>
        <p:spPr>
          <a:xfrm>
            <a:off x="1271466" y="4476273"/>
            <a:ext cx="1554406" cy="276999"/>
          </a:xfrm>
          <a:prstGeom prst="rect">
            <a:avLst/>
          </a:prstGeom>
          <a:noFill/>
        </p:spPr>
        <p:txBody>
          <a:bodyPr wrap="square" rtlCol="0">
            <a:spAutoFit/>
          </a:bodyPr>
          <a:lstStyle/>
          <a:p>
            <a:pPr algn="r" defTabSz="914286"/>
            <a:r>
              <a:rPr lang="en-US" altLang="ko-KR" sz="1200" b="1">
                <a:solidFill>
                  <a:prstClr val="white"/>
                </a:solidFill>
                <a:ea typeface="Arial Unicode MS"/>
                <a:cs typeface="Arial" pitchFamily="34" charset="0"/>
              </a:rPr>
              <a:t>OPPORTUNITIES</a:t>
            </a:r>
            <a:endParaRPr lang="ko-KR" altLang="en-US" sz="1200" b="1">
              <a:solidFill>
                <a:prstClr val="white"/>
              </a:solidFill>
              <a:ea typeface="Arial Unicode MS"/>
              <a:cs typeface="Arial" pitchFamily="34" charset="0"/>
            </a:endParaRPr>
          </a:p>
        </p:txBody>
      </p:sp>
      <p:sp>
        <p:nvSpPr>
          <p:cNvPr id="94" name="TextBox 93">
            <a:extLst>
              <a:ext uri="{FF2B5EF4-FFF2-40B4-BE49-F238E27FC236}">
                <a16:creationId xmlns:a16="http://schemas.microsoft.com/office/drawing/2014/main" id="{F5F7541C-743E-8340-861A-61C9AF4C36AF}"/>
              </a:ext>
            </a:extLst>
          </p:cNvPr>
          <p:cNvSpPr txBox="1"/>
          <p:nvPr/>
        </p:nvSpPr>
        <p:spPr>
          <a:xfrm>
            <a:off x="3771985" y="4118121"/>
            <a:ext cx="1416548" cy="276999"/>
          </a:xfrm>
          <a:prstGeom prst="rect">
            <a:avLst/>
          </a:prstGeom>
          <a:noFill/>
        </p:spPr>
        <p:txBody>
          <a:bodyPr wrap="square" rtlCol="0">
            <a:spAutoFit/>
          </a:bodyPr>
          <a:lstStyle/>
          <a:p>
            <a:pPr defTabSz="914286"/>
            <a:r>
              <a:rPr lang="en-US" altLang="ko-KR" sz="1200" b="1">
                <a:solidFill>
                  <a:prstClr val="white"/>
                </a:solidFill>
                <a:ea typeface="Arial Unicode MS"/>
                <a:cs typeface="Arial" pitchFamily="34" charset="0"/>
              </a:rPr>
              <a:t>THREATS</a:t>
            </a:r>
            <a:endParaRPr lang="ko-KR" altLang="en-US" sz="1200" b="1">
              <a:solidFill>
                <a:prstClr val="white"/>
              </a:solidFill>
              <a:ea typeface="Arial Unicode MS"/>
              <a:cs typeface="Arial" pitchFamily="34" charset="0"/>
            </a:endParaRPr>
          </a:p>
        </p:txBody>
      </p:sp>
      <p:sp>
        <p:nvSpPr>
          <p:cNvPr id="95" name="TextBox 94">
            <a:extLst>
              <a:ext uri="{FF2B5EF4-FFF2-40B4-BE49-F238E27FC236}">
                <a16:creationId xmlns:a16="http://schemas.microsoft.com/office/drawing/2014/main" id="{EA2B04B2-4D78-C045-9FA1-D652189F999C}"/>
              </a:ext>
            </a:extLst>
          </p:cNvPr>
          <p:cNvSpPr txBox="1"/>
          <p:nvPr/>
        </p:nvSpPr>
        <p:spPr>
          <a:xfrm>
            <a:off x="2518882" y="3473921"/>
            <a:ext cx="1176733" cy="461665"/>
          </a:xfrm>
          <a:prstGeom prst="rect">
            <a:avLst/>
          </a:prstGeom>
          <a:noFill/>
        </p:spPr>
        <p:txBody>
          <a:bodyPr wrap="square" rtlCol="0">
            <a:spAutoFit/>
          </a:bodyPr>
          <a:lstStyle/>
          <a:p>
            <a:pPr algn="ctr" defTabSz="914286"/>
            <a:r>
              <a:rPr lang="en-US" altLang="ko-KR" sz="2400" b="1">
                <a:solidFill>
                  <a:prstClr val="black">
                    <a:lumMod val="75000"/>
                    <a:lumOff val="25000"/>
                  </a:prstClr>
                </a:solidFill>
                <a:ea typeface="Arial Unicode MS"/>
                <a:cs typeface="Arial" pitchFamily="34" charset="0"/>
              </a:rPr>
              <a:t>SWOT</a:t>
            </a:r>
            <a:endParaRPr lang="ko-KR" altLang="en-US" sz="2400" b="1">
              <a:solidFill>
                <a:prstClr val="black">
                  <a:lumMod val="75000"/>
                  <a:lumOff val="25000"/>
                </a:prstClr>
              </a:solidFill>
              <a:ea typeface="Arial Unicode MS"/>
              <a:cs typeface="Arial" pitchFamily="34" charset="0"/>
            </a:endParaRPr>
          </a:p>
        </p:txBody>
      </p:sp>
      <p:sp>
        <p:nvSpPr>
          <p:cNvPr id="96" name="Parallelogram 15">
            <a:extLst>
              <a:ext uri="{FF2B5EF4-FFF2-40B4-BE49-F238E27FC236}">
                <a16:creationId xmlns:a16="http://schemas.microsoft.com/office/drawing/2014/main" id="{A8F23BBD-1B6B-6C45-88FA-F7B6E0BB5BDA}"/>
              </a:ext>
            </a:extLst>
          </p:cNvPr>
          <p:cNvSpPr/>
          <p:nvPr/>
        </p:nvSpPr>
        <p:spPr>
          <a:xfrm flipH="1">
            <a:off x="2094156" y="4852105"/>
            <a:ext cx="361766" cy="361766"/>
          </a:xfrm>
          <a:custGeom>
            <a:avLst/>
            <a:gdLst/>
            <a:ahLst/>
            <a:cxnLst/>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7" name="Frame 17">
            <a:extLst>
              <a:ext uri="{FF2B5EF4-FFF2-40B4-BE49-F238E27FC236}">
                <a16:creationId xmlns:a16="http://schemas.microsoft.com/office/drawing/2014/main" id="{46940CA1-6FF8-C145-A16D-B9C715D3334D}"/>
              </a:ext>
            </a:extLst>
          </p:cNvPr>
          <p:cNvSpPr/>
          <p:nvPr/>
        </p:nvSpPr>
        <p:spPr>
          <a:xfrm>
            <a:off x="1817192" y="2588841"/>
            <a:ext cx="343730" cy="343730"/>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Arial Unicode MS"/>
              <a:cs typeface="+mn-cs"/>
            </a:endParaRPr>
          </a:p>
        </p:txBody>
      </p:sp>
      <p:sp>
        <p:nvSpPr>
          <p:cNvPr id="98" name="Round Same Side Corner Rectangle 11">
            <a:extLst>
              <a:ext uri="{FF2B5EF4-FFF2-40B4-BE49-F238E27FC236}">
                <a16:creationId xmlns:a16="http://schemas.microsoft.com/office/drawing/2014/main" id="{01DA69B0-1DC0-C246-93C7-7BE5FA1AEDDD}"/>
              </a:ext>
            </a:extLst>
          </p:cNvPr>
          <p:cNvSpPr>
            <a:spLocks noChangeAspect="1"/>
          </p:cNvSpPr>
          <p:nvPr/>
        </p:nvSpPr>
        <p:spPr>
          <a:xfrm rot="9900000">
            <a:off x="3711970" y="2205523"/>
            <a:ext cx="396000" cy="336326"/>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99" name="Rectangle 36">
            <a:extLst>
              <a:ext uri="{FF2B5EF4-FFF2-40B4-BE49-F238E27FC236}">
                <a16:creationId xmlns:a16="http://schemas.microsoft.com/office/drawing/2014/main" id="{76114F0B-CA37-DC47-B7E0-266AF8B0EF36}"/>
              </a:ext>
            </a:extLst>
          </p:cNvPr>
          <p:cNvSpPr/>
          <p:nvPr/>
        </p:nvSpPr>
        <p:spPr>
          <a:xfrm>
            <a:off x="3996050" y="4555949"/>
            <a:ext cx="365319" cy="305377"/>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grpSp>
        <p:nvGrpSpPr>
          <p:cNvPr id="100" name="Group 99">
            <a:extLst>
              <a:ext uri="{FF2B5EF4-FFF2-40B4-BE49-F238E27FC236}">
                <a16:creationId xmlns:a16="http://schemas.microsoft.com/office/drawing/2014/main" id="{4E66E38A-23A5-844E-BEDD-E5E9E75CAA31}"/>
              </a:ext>
            </a:extLst>
          </p:cNvPr>
          <p:cNvGrpSpPr/>
          <p:nvPr/>
        </p:nvGrpSpPr>
        <p:grpSpPr>
          <a:xfrm>
            <a:off x="5796860" y="1851345"/>
            <a:ext cx="2540244" cy="1477328"/>
            <a:chOff x="6210998" y="1433695"/>
            <a:chExt cx="2229890" cy="1051006"/>
          </a:xfrm>
        </p:grpSpPr>
        <p:sp>
          <p:nvSpPr>
            <p:cNvPr id="101" name="TextBox 100">
              <a:extLst>
                <a:ext uri="{FF2B5EF4-FFF2-40B4-BE49-F238E27FC236}">
                  <a16:creationId xmlns:a16="http://schemas.microsoft.com/office/drawing/2014/main" id="{0035300E-F459-7E45-BE1C-7094568D51EB}"/>
                </a:ext>
              </a:extLst>
            </p:cNvPr>
            <p:cNvSpPr txBox="1"/>
            <p:nvPr/>
          </p:nvSpPr>
          <p:spPr>
            <a:xfrm>
              <a:off x="6210999" y="1433695"/>
              <a:ext cx="2229889" cy="197064"/>
            </a:xfrm>
            <a:prstGeom prst="rect">
              <a:avLst/>
            </a:prstGeom>
            <a:solidFill>
              <a:srgbClr val="8D8EA7"/>
            </a:solid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white"/>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white"/>
                </a:solidFill>
                <a:effectLst/>
                <a:uLnTx/>
                <a:uFillTx/>
                <a:ea typeface="Arial Unicode MS"/>
                <a:cs typeface="Arial" pitchFamily="34" charset="0"/>
              </a:endParaRPr>
            </a:p>
          </p:txBody>
        </p:sp>
        <p:sp>
          <p:nvSpPr>
            <p:cNvPr id="102" name="TextBox 101">
              <a:extLst>
                <a:ext uri="{FF2B5EF4-FFF2-40B4-BE49-F238E27FC236}">
                  <a16:creationId xmlns:a16="http://schemas.microsoft.com/office/drawing/2014/main" id="{43001DF4-BC1A-9F4E-A884-902BE70C9D87}"/>
                </a:ext>
              </a:extLst>
            </p:cNvPr>
            <p:cNvSpPr txBox="1"/>
            <p:nvPr/>
          </p:nvSpPr>
          <p:spPr>
            <a:xfrm>
              <a:off x="6210998" y="1630759"/>
              <a:ext cx="2229889" cy="853942"/>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You can simply impress your audience and add a unique zing and appeal to your Presentations Get a modern PowerPoint  Presentation that is beautifully designed.  </a:t>
              </a:r>
              <a:endParaRPr kumimoji="0" lang="ko-KR" altLang="en-US"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endParaRPr>
            </a:p>
          </p:txBody>
        </p:sp>
      </p:grpSp>
      <p:grpSp>
        <p:nvGrpSpPr>
          <p:cNvPr id="103" name="Group 102">
            <a:extLst>
              <a:ext uri="{FF2B5EF4-FFF2-40B4-BE49-F238E27FC236}">
                <a16:creationId xmlns:a16="http://schemas.microsoft.com/office/drawing/2014/main" id="{AF1333EA-9BF0-AC40-A403-3681D55CD8AE}"/>
              </a:ext>
            </a:extLst>
          </p:cNvPr>
          <p:cNvGrpSpPr/>
          <p:nvPr/>
        </p:nvGrpSpPr>
        <p:grpSpPr>
          <a:xfrm>
            <a:off x="8994727" y="1851345"/>
            <a:ext cx="2540244" cy="1477328"/>
            <a:chOff x="6210998" y="1433695"/>
            <a:chExt cx="2229890" cy="1051006"/>
          </a:xfrm>
        </p:grpSpPr>
        <p:sp>
          <p:nvSpPr>
            <p:cNvPr id="104" name="TextBox 103">
              <a:extLst>
                <a:ext uri="{FF2B5EF4-FFF2-40B4-BE49-F238E27FC236}">
                  <a16:creationId xmlns:a16="http://schemas.microsoft.com/office/drawing/2014/main" id="{DF509940-D323-B049-A399-901549203DFB}"/>
                </a:ext>
              </a:extLst>
            </p:cNvPr>
            <p:cNvSpPr txBox="1"/>
            <p:nvPr/>
          </p:nvSpPr>
          <p:spPr>
            <a:xfrm>
              <a:off x="6210999" y="1433695"/>
              <a:ext cx="2229889" cy="197064"/>
            </a:xfrm>
            <a:prstGeom prst="rect">
              <a:avLst/>
            </a:prstGeom>
            <a:solidFill>
              <a:srgbClr val="024049"/>
            </a:solid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white"/>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white"/>
                </a:solidFill>
                <a:effectLst/>
                <a:uLnTx/>
                <a:uFillTx/>
                <a:ea typeface="Arial Unicode MS"/>
                <a:cs typeface="Arial" pitchFamily="34" charset="0"/>
              </a:endParaRPr>
            </a:p>
          </p:txBody>
        </p:sp>
        <p:sp>
          <p:nvSpPr>
            <p:cNvPr id="105" name="TextBox 104">
              <a:extLst>
                <a:ext uri="{FF2B5EF4-FFF2-40B4-BE49-F238E27FC236}">
                  <a16:creationId xmlns:a16="http://schemas.microsoft.com/office/drawing/2014/main" id="{37EDCC81-E82A-8A41-B837-62946B364D5E}"/>
                </a:ext>
              </a:extLst>
            </p:cNvPr>
            <p:cNvSpPr txBox="1"/>
            <p:nvPr/>
          </p:nvSpPr>
          <p:spPr>
            <a:xfrm>
              <a:off x="6210998" y="1630759"/>
              <a:ext cx="2229889" cy="853942"/>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You can simply impress your audience and add a unique zing and appeal to your Presentations Get a modern PowerPoint  Presentation that is beautifully designed.  </a:t>
              </a:r>
              <a:endParaRPr kumimoji="0" lang="ko-KR" altLang="en-US"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endParaRPr>
            </a:p>
          </p:txBody>
        </p:sp>
      </p:grpSp>
      <p:grpSp>
        <p:nvGrpSpPr>
          <p:cNvPr id="106" name="Group 105">
            <a:extLst>
              <a:ext uri="{FF2B5EF4-FFF2-40B4-BE49-F238E27FC236}">
                <a16:creationId xmlns:a16="http://schemas.microsoft.com/office/drawing/2014/main" id="{8099A0CC-045E-B94D-B0F4-E20AC6ABF130}"/>
              </a:ext>
            </a:extLst>
          </p:cNvPr>
          <p:cNvGrpSpPr/>
          <p:nvPr/>
        </p:nvGrpSpPr>
        <p:grpSpPr>
          <a:xfrm>
            <a:off x="5796860" y="4201585"/>
            <a:ext cx="2540244" cy="1477328"/>
            <a:chOff x="6210998" y="1433695"/>
            <a:chExt cx="2229890" cy="1051006"/>
          </a:xfrm>
        </p:grpSpPr>
        <p:sp>
          <p:nvSpPr>
            <p:cNvPr id="107" name="TextBox 106">
              <a:extLst>
                <a:ext uri="{FF2B5EF4-FFF2-40B4-BE49-F238E27FC236}">
                  <a16:creationId xmlns:a16="http://schemas.microsoft.com/office/drawing/2014/main" id="{2320E4D6-144C-154F-926F-4F56CE184B3B}"/>
                </a:ext>
              </a:extLst>
            </p:cNvPr>
            <p:cNvSpPr txBox="1"/>
            <p:nvPr/>
          </p:nvSpPr>
          <p:spPr>
            <a:xfrm>
              <a:off x="6210999" y="1433695"/>
              <a:ext cx="2229889" cy="197064"/>
            </a:xfrm>
            <a:prstGeom prst="rect">
              <a:avLst/>
            </a:prstGeom>
            <a:solidFill>
              <a:srgbClr val="AAAAAA"/>
            </a:solid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white"/>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white"/>
                </a:solidFill>
                <a:effectLst/>
                <a:uLnTx/>
                <a:uFillTx/>
                <a:ea typeface="Arial Unicode MS"/>
                <a:cs typeface="Arial" pitchFamily="34" charset="0"/>
              </a:endParaRPr>
            </a:p>
          </p:txBody>
        </p:sp>
        <p:sp>
          <p:nvSpPr>
            <p:cNvPr id="108" name="TextBox 107">
              <a:extLst>
                <a:ext uri="{FF2B5EF4-FFF2-40B4-BE49-F238E27FC236}">
                  <a16:creationId xmlns:a16="http://schemas.microsoft.com/office/drawing/2014/main" id="{451837C1-F390-2F4C-8146-CE7D0151E73A}"/>
                </a:ext>
              </a:extLst>
            </p:cNvPr>
            <p:cNvSpPr txBox="1"/>
            <p:nvPr/>
          </p:nvSpPr>
          <p:spPr>
            <a:xfrm>
              <a:off x="6210998" y="1630759"/>
              <a:ext cx="2229889" cy="853942"/>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You can simply impress your audience and add a unique zing and appeal to your Presentations.</a:t>
              </a:r>
              <a:r>
                <a:rPr kumimoji="0" lang="ko-KR" altLang="en-US"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 </a:t>
              </a:r>
              <a:r>
                <a:rPr kumimoji="0" lang="en-US" altLang="ko-KR"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Get a modern PowerPoint  Presentation that is beautifully designed.  </a:t>
              </a:r>
              <a:endParaRPr kumimoji="0" lang="ko-KR" altLang="en-US"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endParaRPr>
            </a:p>
          </p:txBody>
        </p:sp>
      </p:grpSp>
      <p:grpSp>
        <p:nvGrpSpPr>
          <p:cNvPr id="109" name="Group 108">
            <a:extLst>
              <a:ext uri="{FF2B5EF4-FFF2-40B4-BE49-F238E27FC236}">
                <a16:creationId xmlns:a16="http://schemas.microsoft.com/office/drawing/2014/main" id="{6DC19213-8B4C-B64A-BE03-009650EB95E4}"/>
              </a:ext>
            </a:extLst>
          </p:cNvPr>
          <p:cNvGrpSpPr/>
          <p:nvPr/>
        </p:nvGrpSpPr>
        <p:grpSpPr>
          <a:xfrm>
            <a:off x="8994727" y="4201585"/>
            <a:ext cx="2540244" cy="1477328"/>
            <a:chOff x="6210998" y="1433695"/>
            <a:chExt cx="2229890" cy="1051006"/>
          </a:xfrm>
        </p:grpSpPr>
        <p:sp>
          <p:nvSpPr>
            <p:cNvPr id="110" name="TextBox 109">
              <a:extLst>
                <a:ext uri="{FF2B5EF4-FFF2-40B4-BE49-F238E27FC236}">
                  <a16:creationId xmlns:a16="http://schemas.microsoft.com/office/drawing/2014/main" id="{7B37841C-6111-D143-B96A-520DF6942278}"/>
                </a:ext>
              </a:extLst>
            </p:cNvPr>
            <p:cNvSpPr txBox="1"/>
            <p:nvPr/>
          </p:nvSpPr>
          <p:spPr>
            <a:xfrm>
              <a:off x="6210999" y="1433695"/>
              <a:ext cx="2229889" cy="197064"/>
            </a:xfrm>
            <a:prstGeom prst="rect">
              <a:avLst/>
            </a:prstGeom>
            <a:solidFill>
              <a:schemeClr val="tx1"/>
            </a:solid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a:ln>
                    <a:noFill/>
                  </a:ln>
                  <a:solidFill>
                    <a:prstClr val="white"/>
                  </a:solidFill>
                  <a:effectLst/>
                  <a:uLnTx/>
                  <a:uFillTx/>
                  <a:ea typeface="Arial Unicode MS"/>
                  <a:cs typeface="Arial" pitchFamily="34" charset="0"/>
                </a:rPr>
                <a:t>Your Text  Here</a:t>
              </a:r>
              <a:endParaRPr kumimoji="0" lang="ko-KR" altLang="en-US" sz="1200" b="1" i="0" u="none" strike="noStrike" kern="0" cap="none" spc="0" normalizeH="0" baseline="0" noProof="0">
                <a:ln>
                  <a:noFill/>
                </a:ln>
                <a:solidFill>
                  <a:prstClr val="white"/>
                </a:solidFill>
                <a:effectLst/>
                <a:uLnTx/>
                <a:uFillTx/>
                <a:ea typeface="Arial Unicode MS"/>
                <a:cs typeface="Arial" pitchFamily="34" charset="0"/>
              </a:endParaRPr>
            </a:p>
          </p:txBody>
        </p:sp>
        <p:sp>
          <p:nvSpPr>
            <p:cNvPr id="111" name="TextBox 110">
              <a:extLst>
                <a:ext uri="{FF2B5EF4-FFF2-40B4-BE49-F238E27FC236}">
                  <a16:creationId xmlns:a16="http://schemas.microsoft.com/office/drawing/2014/main" id="{9DB06E3C-BA59-5C47-8024-FD1C972C1E9B}"/>
                </a:ext>
              </a:extLst>
            </p:cNvPr>
            <p:cNvSpPr txBox="1"/>
            <p:nvPr/>
          </p:nvSpPr>
          <p:spPr>
            <a:xfrm>
              <a:off x="6210998" y="1630759"/>
              <a:ext cx="2229889" cy="853942"/>
            </a:xfrm>
            <a:prstGeom prst="rect">
              <a:avLst/>
            </a:prstGeom>
            <a:noFill/>
          </p:spPr>
          <p:txBody>
            <a:bodyPr wrap="square" rtlCol="0">
              <a:spAutoFit/>
            </a:bodyP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rPr>
                <a:t>You can simply impress your audience and add a unique zing and appeal to your Presentations Get a modern PowerPoint  Presentation that is beautifully designed.  </a:t>
              </a:r>
              <a:endParaRPr kumimoji="0" lang="ko-KR" altLang="en-US" sz="1200" b="0" i="0" u="none" strike="noStrike" kern="0" cap="none" spc="0" normalizeH="0" baseline="0" noProof="0">
                <a:ln>
                  <a:noFill/>
                </a:ln>
                <a:solidFill>
                  <a:prstClr val="black">
                    <a:lumMod val="75000"/>
                    <a:lumOff val="25000"/>
                  </a:prstClr>
                </a:solidFill>
                <a:effectLst/>
                <a:uLnTx/>
                <a:uFillTx/>
                <a:ea typeface="Arial Unicode MS"/>
                <a:cs typeface="Arial" pitchFamily="34" charset="0"/>
              </a:endParaRPr>
            </a:p>
          </p:txBody>
        </p:sp>
      </p:grpSp>
      <p:sp>
        <p:nvSpPr>
          <p:cNvPr id="113" name="TextBox 112">
            <a:extLst>
              <a:ext uri="{FF2B5EF4-FFF2-40B4-BE49-F238E27FC236}">
                <a16:creationId xmlns:a16="http://schemas.microsoft.com/office/drawing/2014/main" id="{7CA59FF8-0F41-A24D-9961-634913B1965D}"/>
              </a:ext>
            </a:extLst>
          </p:cNvPr>
          <p:cNvSpPr txBox="1"/>
          <p:nvPr/>
        </p:nvSpPr>
        <p:spPr>
          <a:xfrm>
            <a:off x="1672688" y="3528921"/>
            <a:ext cx="743968" cy="769441"/>
          </a:xfrm>
          <a:prstGeom prst="rect">
            <a:avLst/>
          </a:prstGeom>
          <a:noFill/>
          <a:ln>
            <a:solidFill>
              <a:schemeClr val="tx1"/>
            </a:solidFill>
          </a:ln>
        </p:spPr>
        <p:txBody>
          <a:bodyPr wrap="square" rtlCol="0">
            <a:spAutoFit/>
          </a:bodyPr>
          <a:lstStyle/>
          <a:p>
            <a:pPr algn="ctr" defTabSz="914286"/>
            <a:r>
              <a:rPr lang="en-US" altLang="ko-KR" sz="4400" b="1">
                <a:solidFill>
                  <a:prstClr val="white"/>
                </a:solidFill>
                <a:ea typeface="Arial Unicode MS"/>
                <a:cs typeface="Arial" pitchFamily="34" charset="0"/>
              </a:rPr>
              <a:t>W</a:t>
            </a:r>
            <a:endParaRPr lang="ko-KR" altLang="en-US" sz="4400" b="1">
              <a:solidFill>
                <a:prstClr val="white"/>
              </a:solidFill>
              <a:ea typeface="Arial Unicode MS"/>
              <a:cs typeface="Arial" pitchFamily="34" charset="0"/>
            </a:endParaRPr>
          </a:p>
        </p:txBody>
      </p:sp>
      <p:sp>
        <p:nvSpPr>
          <p:cNvPr id="114" name="TextBox 113">
            <a:extLst>
              <a:ext uri="{FF2B5EF4-FFF2-40B4-BE49-F238E27FC236}">
                <a16:creationId xmlns:a16="http://schemas.microsoft.com/office/drawing/2014/main" id="{A252A41E-097A-644C-9E9C-0F96066A436F}"/>
              </a:ext>
            </a:extLst>
          </p:cNvPr>
          <p:cNvSpPr txBox="1"/>
          <p:nvPr/>
        </p:nvSpPr>
        <p:spPr>
          <a:xfrm>
            <a:off x="2867093" y="4429403"/>
            <a:ext cx="743968" cy="769441"/>
          </a:xfrm>
          <a:prstGeom prst="rect">
            <a:avLst/>
          </a:prstGeom>
          <a:noFill/>
        </p:spPr>
        <p:txBody>
          <a:bodyPr wrap="square" rtlCol="0">
            <a:spAutoFit/>
          </a:bodyPr>
          <a:lstStyle/>
          <a:p>
            <a:pPr algn="ctr" defTabSz="914286"/>
            <a:r>
              <a:rPr lang="en-US" altLang="ko-KR" sz="4400" b="1">
                <a:solidFill>
                  <a:prstClr val="white"/>
                </a:solidFill>
                <a:ea typeface="Arial Unicode MS"/>
                <a:cs typeface="Arial" pitchFamily="34" charset="0"/>
              </a:rPr>
              <a:t>O</a:t>
            </a:r>
            <a:endParaRPr lang="ko-KR" altLang="en-US" sz="4400" b="1">
              <a:solidFill>
                <a:prstClr val="white"/>
              </a:solidFill>
              <a:ea typeface="Arial Unicode MS"/>
              <a:cs typeface="Arial" pitchFamily="34" charset="0"/>
            </a:endParaRPr>
          </a:p>
        </p:txBody>
      </p:sp>
      <p:sp>
        <p:nvSpPr>
          <p:cNvPr id="115" name="TextBox 114">
            <a:extLst>
              <a:ext uri="{FF2B5EF4-FFF2-40B4-BE49-F238E27FC236}">
                <a16:creationId xmlns:a16="http://schemas.microsoft.com/office/drawing/2014/main" id="{E6797C61-80E4-3D46-AA8A-A7D71D9DC019}"/>
              </a:ext>
            </a:extLst>
          </p:cNvPr>
          <p:cNvSpPr txBox="1"/>
          <p:nvPr/>
        </p:nvSpPr>
        <p:spPr>
          <a:xfrm>
            <a:off x="2566268" y="2314035"/>
            <a:ext cx="743968" cy="769441"/>
          </a:xfrm>
          <a:prstGeom prst="rect">
            <a:avLst/>
          </a:prstGeom>
          <a:noFill/>
        </p:spPr>
        <p:txBody>
          <a:bodyPr wrap="square" rtlCol="0">
            <a:spAutoFit/>
          </a:bodyPr>
          <a:lstStyle/>
          <a:p>
            <a:pPr algn="ctr" defTabSz="914286"/>
            <a:r>
              <a:rPr lang="en-US" altLang="ko-KR" sz="4400" b="1">
                <a:solidFill>
                  <a:prstClr val="white"/>
                </a:solidFill>
                <a:ea typeface="Arial Unicode MS"/>
                <a:cs typeface="Arial" pitchFamily="34" charset="0"/>
              </a:rPr>
              <a:t>S</a:t>
            </a:r>
            <a:endParaRPr lang="ko-KR" altLang="en-US" sz="4400" b="1">
              <a:solidFill>
                <a:prstClr val="white"/>
              </a:solidFill>
              <a:ea typeface="Arial Unicode MS"/>
              <a:cs typeface="Arial" pitchFamily="34" charset="0"/>
            </a:endParaRPr>
          </a:p>
        </p:txBody>
      </p:sp>
      <p:sp>
        <p:nvSpPr>
          <p:cNvPr id="116" name="TextBox 115">
            <a:extLst>
              <a:ext uri="{FF2B5EF4-FFF2-40B4-BE49-F238E27FC236}">
                <a16:creationId xmlns:a16="http://schemas.microsoft.com/office/drawing/2014/main" id="{DC4B1A7D-3671-6445-8176-A7AC460BF81C}"/>
              </a:ext>
            </a:extLst>
          </p:cNvPr>
          <p:cNvSpPr txBox="1"/>
          <p:nvPr/>
        </p:nvSpPr>
        <p:spPr>
          <a:xfrm>
            <a:off x="3779936" y="3223033"/>
            <a:ext cx="743968" cy="769441"/>
          </a:xfrm>
          <a:prstGeom prst="rect">
            <a:avLst/>
          </a:prstGeom>
          <a:solidFill>
            <a:schemeClr val="bg1">
              <a:lumMod val="50000"/>
            </a:schemeClr>
          </a:solidFill>
        </p:spPr>
        <p:txBody>
          <a:bodyPr wrap="square" rtlCol="0">
            <a:spAutoFit/>
          </a:bodyPr>
          <a:lstStyle/>
          <a:p>
            <a:pPr algn="ctr" defTabSz="914286"/>
            <a:r>
              <a:rPr lang="en-US" altLang="ko-KR" sz="4400" b="1">
                <a:solidFill>
                  <a:prstClr val="white"/>
                </a:solidFill>
                <a:ea typeface="Arial Unicode MS"/>
                <a:cs typeface="Arial" pitchFamily="34" charset="0"/>
              </a:rPr>
              <a:t>T</a:t>
            </a:r>
            <a:endParaRPr lang="ko-KR" altLang="en-US" sz="4400" b="1">
              <a:solidFill>
                <a:prstClr val="white"/>
              </a:solidFill>
              <a:ea typeface="Arial Unicode MS"/>
              <a:cs typeface="Arial" pitchFamily="34" charset="0"/>
            </a:endParaRPr>
          </a:p>
        </p:txBody>
      </p:sp>
    </p:spTree>
    <p:extLst>
      <p:ext uri="{BB962C8B-B14F-4D97-AF65-F5344CB8AC3E}">
        <p14:creationId xmlns:p14="http://schemas.microsoft.com/office/powerpoint/2010/main" val="27691570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2C55A14-D34B-B244-AA82-6ACA38297BC1}"/>
              </a:ext>
            </a:extLst>
          </p:cNvPr>
          <p:cNvGraphicFramePr>
            <a:graphicFrameLocks noChangeAspect="1"/>
          </p:cNvGraphicFramePr>
          <p:nvPr>
            <p:custDataLst>
              <p:tags r:id="rId1"/>
            </p:custDataLst>
            <p:extLst>
              <p:ext uri="{D42A27DB-BD31-4B8C-83A1-F6EECF244321}">
                <p14:modId xmlns:p14="http://schemas.microsoft.com/office/powerpoint/2010/main" val="3485557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1" name="Object 10" hidden="1">
                        <a:extLst>
                          <a:ext uri="{FF2B5EF4-FFF2-40B4-BE49-F238E27FC236}">
                            <a16:creationId xmlns:a16="http://schemas.microsoft.com/office/drawing/2014/main" id="{12C55A14-D34B-B244-AA82-6ACA38297B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64FB6F3-AEBB-804D-A5B7-C2BED0B6ACA2}"/>
              </a:ext>
            </a:extLst>
          </p:cNvPr>
          <p:cNvSpPr>
            <a:spLocks noGrp="1"/>
          </p:cNvSpPr>
          <p:nvPr>
            <p:ph type="sldNum" sz="quarter" idx="4"/>
          </p:nvPr>
        </p:nvSpPr>
        <p:spPr/>
        <p:txBody>
          <a:bodyPr/>
          <a:lstStyle/>
          <a:p>
            <a:fld id="{3D966009-6E5A-4F8C-8CA7-E37AFBF5FB92}" type="slidenum">
              <a:rPr lang="en-US" smtClean="0"/>
              <a:t>166</a:t>
            </a:fld>
            <a:endParaRPr lang="en-US"/>
          </a:p>
        </p:txBody>
      </p:sp>
      <p:sp>
        <p:nvSpPr>
          <p:cNvPr id="3" name="Title 2">
            <a:extLst>
              <a:ext uri="{FF2B5EF4-FFF2-40B4-BE49-F238E27FC236}">
                <a16:creationId xmlns:a16="http://schemas.microsoft.com/office/drawing/2014/main" id="{783186FB-4851-2543-8D6D-2F82D8C29F08}"/>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0DAD6E48-8F7D-8B4D-A62C-0C145E743FC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56B30577-099C-C14B-B7B3-1764E88C0B65}"/>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A6E9105-48D7-D44D-8373-48B7F9DA815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01E62B14-D223-6A48-8FDC-85914A253A9E}"/>
              </a:ext>
            </a:extLst>
          </p:cNvPr>
          <p:cNvSpPr>
            <a:spLocks noGrp="1"/>
          </p:cNvSpPr>
          <p:nvPr>
            <p:ph sz="quarter" idx="14"/>
          </p:nvPr>
        </p:nvSpPr>
        <p:spPr/>
        <p:txBody>
          <a:bodyPr/>
          <a:lstStyle/>
          <a:p>
            <a:endParaRPr lang="en-GB"/>
          </a:p>
        </p:txBody>
      </p:sp>
      <p:grpSp>
        <p:nvGrpSpPr>
          <p:cNvPr id="83" name="Group 82">
            <a:extLst>
              <a:ext uri="{FF2B5EF4-FFF2-40B4-BE49-F238E27FC236}">
                <a16:creationId xmlns:a16="http://schemas.microsoft.com/office/drawing/2014/main" id="{A3C94839-1041-934C-A3DD-824D1C1FB3B1}"/>
              </a:ext>
            </a:extLst>
          </p:cNvPr>
          <p:cNvGrpSpPr/>
          <p:nvPr/>
        </p:nvGrpSpPr>
        <p:grpSpPr>
          <a:xfrm>
            <a:off x="9160015" y="2099073"/>
            <a:ext cx="2867454" cy="4320691"/>
            <a:chOff x="371475" y="2035661"/>
            <a:chExt cx="2867454" cy="4320691"/>
          </a:xfrm>
        </p:grpSpPr>
        <p:grpSp>
          <p:nvGrpSpPr>
            <p:cNvPr id="24" name="그룹 3">
              <a:extLst>
                <a:ext uri="{FF2B5EF4-FFF2-40B4-BE49-F238E27FC236}">
                  <a16:creationId xmlns:a16="http://schemas.microsoft.com/office/drawing/2014/main" id="{206E734C-8929-1549-BE9B-05067B8D3A56}"/>
                </a:ext>
              </a:extLst>
            </p:cNvPr>
            <p:cNvGrpSpPr/>
            <p:nvPr/>
          </p:nvGrpSpPr>
          <p:grpSpPr>
            <a:xfrm>
              <a:off x="371475" y="4141354"/>
              <a:ext cx="2867454" cy="2214998"/>
              <a:chOff x="3023754" y="3403834"/>
              <a:chExt cx="2867454" cy="2214998"/>
            </a:xfrm>
          </p:grpSpPr>
          <p:sp>
            <p:nvSpPr>
              <p:cNvPr id="25" name="Trapezoid 33">
                <a:extLst>
                  <a:ext uri="{FF2B5EF4-FFF2-40B4-BE49-F238E27FC236}">
                    <a16:creationId xmlns:a16="http://schemas.microsoft.com/office/drawing/2014/main" id="{E3839196-2DF3-4241-9A5A-A2AF0FEE1C26}"/>
                  </a:ext>
                </a:extLst>
              </p:cNvPr>
              <p:cNvSpPr/>
              <p:nvPr/>
            </p:nvSpPr>
            <p:spPr>
              <a:xfrm>
                <a:off x="3965894" y="3403834"/>
                <a:ext cx="914400" cy="1739666"/>
              </a:xfrm>
              <a:custGeom>
                <a:avLst/>
                <a:gdLst>
                  <a:gd name="connsiteX0" fmla="*/ 0 w 914400"/>
                  <a:gd name="connsiteY0" fmla="*/ 1739666 h 1739666"/>
                  <a:gd name="connsiteX1" fmla="*/ 260357 w 914400"/>
                  <a:gd name="connsiteY1" fmla="*/ 0 h 1739666"/>
                  <a:gd name="connsiteX2" fmla="*/ 654043 w 914400"/>
                  <a:gd name="connsiteY2" fmla="*/ 0 h 1739666"/>
                  <a:gd name="connsiteX3" fmla="*/ 914400 w 914400"/>
                  <a:gd name="connsiteY3" fmla="*/ 1739666 h 1739666"/>
                  <a:gd name="connsiteX4" fmla="*/ 0 w 914400"/>
                  <a:gd name="connsiteY4" fmla="*/ 1739666 h 1739666"/>
                  <a:gd name="connsiteX0" fmla="*/ 0 w 914400"/>
                  <a:gd name="connsiteY0" fmla="*/ 1739666 h 1739666"/>
                  <a:gd name="connsiteX1" fmla="*/ 260357 w 914400"/>
                  <a:gd name="connsiteY1" fmla="*/ 0 h 1739666"/>
                  <a:gd name="connsiteX2" fmla="*/ 502739 w 914400"/>
                  <a:gd name="connsiteY2" fmla="*/ 142448 h 1739666"/>
                  <a:gd name="connsiteX3" fmla="*/ 654043 w 914400"/>
                  <a:gd name="connsiteY3" fmla="*/ 0 h 1739666"/>
                  <a:gd name="connsiteX4" fmla="*/ 914400 w 914400"/>
                  <a:gd name="connsiteY4" fmla="*/ 1739666 h 1739666"/>
                  <a:gd name="connsiteX5" fmla="*/ 0 w 914400"/>
                  <a:gd name="connsiteY5" fmla="*/ 1739666 h 173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1739666">
                    <a:moveTo>
                      <a:pt x="0" y="1739666"/>
                    </a:moveTo>
                    <a:lnTo>
                      <a:pt x="260357" y="0"/>
                    </a:lnTo>
                    <a:cubicBezTo>
                      <a:pt x="311996" y="-225"/>
                      <a:pt x="451100" y="142673"/>
                      <a:pt x="502739" y="142448"/>
                    </a:cubicBezTo>
                    <a:lnTo>
                      <a:pt x="654043" y="0"/>
                    </a:lnTo>
                    <a:lnTo>
                      <a:pt x="914400" y="1739666"/>
                    </a:lnTo>
                    <a:lnTo>
                      <a:pt x="0" y="1739666"/>
                    </a:lnTo>
                    <a:close/>
                  </a:path>
                </a:pathLst>
              </a:cu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6" name="Chord 25">
                <a:extLst>
                  <a:ext uri="{FF2B5EF4-FFF2-40B4-BE49-F238E27FC236}">
                    <a16:creationId xmlns:a16="http://schemas.microsoft.com/office/drawing/2014/main" id="{7DE2DD0E-4931-C640-B4B7-58F5EE4EA592}"/>
                  </a:ext>
                </a:extLst>
              </p:cNvPr>
              <p:cNvSpPr/>
              <p:nvPr/>
            </p:nvSpPr>
            <p:spPr>
              <a:xfrm>
                <a:off x="3269506" y="4673600"/>
                <a:ext cx="914400" cy="914400"/>
              </a:xfrm>
              <a:prstGeom prst="chord">
                <a:avLst>
                  <a:gd name="adj1" fmla="val 10613644"/>
                  <a:gd name="adj2" fmla="val 141198"/>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7" name="Chord 26">
                <a:extLst>
                  <a:ext uri="{FF2B5EF4-FFF2-40B4-BE49-F238E27FC236}">
                    <a16:creationId xmlns:a16="http://schemas.microsoft.com/office/drawing/2014/main" id="{9D33FF10-734C-224B-B93F-FF6F09BD1CB4}"/>
                  </a:ext>
                </a:extLst>
              </p:cNvPr>
              <p:cNvSpPr/>
              <p:nvPr/>
            </p:nvSpPr>
            <p:spPr>
              <a:xfrm>
                <a:off x="4321538" y="4501320"/>
                <a:ext cx="1117512" cy="1117512"/>
              </a:xfrm>
              <a:prstGeom prst="chord">
                <a:avLst>
                  <a:gd name="adj1" fmla="val 10342302"/>
                  <a:gd name="adj2" fmla="val 655841"/>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8" name="Chord 27">
                <a:extLst>
                  <a:ext uri="{FF2B5EF4-FFF2-40B4-BE49-F238E27FC236}">
                    <a16:creationId xmlns:a16="http://schemas.microsoft.com/office/drawing/2014/main" id="{95D77EA6-EAD6-2344-B872-2472B7A904E6}"/>
                  </a:ext>
                </a:extLst>
              </p:cNvPr>
              <p:cNvSpPr/>
              <p:nvPr/>
            </p:nvSpPr>
            <p:spPr>
              <a:xfrm>
                <a:off x="3726496" y="4402596"/>
                <a:ext cx="1010970" cy="1010970"/>
              </a:xfrm>
              <a:prstGeom prst="chord">
                <a:avLst>
                  <a:gd name="adj1" fmla="val 10613644"/>
                  <a:gd name="adj2" fmla="val 141198"/>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9" name="Chord 28">
                <a:extLst>
                  <a:ext uri="{FF2B5EF4-FFF2-40B4-BE49-F238E27FC236}">
                    <a16:creationId xmlns:a16="http://schemas.microsoft.com/office/drawing/2014/main" id="{4A7F88D2-F680-7048-A685-D105999CBA34}"/>
                  </a:ext>
                </a:extLst>
              </p:cNvPr>
              <p:cNvSpPr/>
              <p:nvPr/>
            </p:nvSpPr>
            <p:spPr>
              <a:xfrm>
                <a:off x="5109845" y="4752818"/>
                <a:ext cx="781363" cy="781363"/>
              </a:xfrm>
              <a:prstGeom prst="chord">
                <a:avLst>
                  <a:gd name="adj1" fmla="val 10613644"/>
                  <a:gd name="adj2" fmla="val 141198"/>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0" name="Chord 29">
                <a:extLst>
                  <a:ext uri="{FF2B5EF4-FFF2-40B4-BE49-F238E27FC236}">
                    <a16:creationId xmlns:a16="http://schemas.microsoft.com/office/drawing/2014/main" id="{55FC4B03-C166-7340-8576-F37D702AC309}"/>
                  </a:ext>
                </a:extLst>
              </p:cNvPr>
              <p:cNvSpPr/>
              <p:nvPr/>
            </p:nvSpPr>
            <p:spPr>
              <a:xfrm>
                <a:off x="3023754" y="4873433"/>
                <a:ext cx="540133" cy="540133"/>
              </a:xfrm>
              <a:prstGeom prst="chord">
                <a:avLst>
                  <a:gd name="adj1" fmla="val 10613644"/>
                  <a:gd name="adj2" fmla="val 141198"/>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31" name="Group 30">
              <a:extLst>
                <a:ext uri="{FF2B5EF4-FFF2-40B4-BE49-F238E27FC236}">
                  <a16:creationId xmlns:a16="http://schemas.microsoft.com/office/drawing/2014/main" id="{4620798F-11A9-DA4A-9085-D611BBE0B446}"/>
                </a:ext>
              </a:extLst>
            </p:cNvPr>
            <p:cNvGrpSpPr/>
            <p:nvPr/>
          </p:nvGrpSpPr>
          <p:grpSpPr>
            <a:xfrm>
              <a:off x="1127709" y="2035661"/>
              <a:ext cx="1304431" cy="2461875"/>
              <a:chOff x="3779988" y="1298141"/>
              <a:chExt cx="1304431" cy="2461875"/>
            </a:xfrm>
            <a:solidFill>
              <a:srgbClr val="90D214"/>
            </a:solidFill>
          </p:grpSpPr>
          <p:sp>
            <p:nvSpPr>
              <p:cNvPr id="32" name="Freeform 31">
                <a:extLst>
                  <a:ext uri="{FF2B5EF4-FFF2-40B4-BE49-F238E27FC236}">
                    <a16:creationId xmlns:a16="http://schemas.microsoft.com/office/drawing/2014/main" id="{C431BB22-1147-BE49-B2A9-BBD13ABDB52D}"/>
                  </a:ext>
                </a:extLst>
              </p:cNvPr>
              <p:cNvSpPr/>
              <p:nvPr/>
            </p:nvSpPr>
            <p:spPr>
              <a:xfrm>
                <a:off x="4333425" y="1298141"/>
                <a:ext cx="200205" cy="1710412"/>
              </a:xfrm>
              <a:custGeom>
                <a:avLst/>
                <a:gdLst>
                  <a:gd name="connsiteX0" fmla="*/ 86265 w 181155"/>
                  <a:gd name="connsiteY0" fmla="*/ 0 h 1708031"/>
                  <a:gd name="connsiteX1" fmla="*/ 0 w 181155"/>
                  <a:gd name="connsiteY1" fmla="*/ 1682151 h 1708031"/>
                  <a:gd name="connsiteX2" fmla="*/ 181155 w 181155"/>
                  <a:gd name="connsiteY2" fmla="*/ 1708031 h 1708031"/>
                  <a:gd name="connsiteX3" fmla="*/ 86265 w 181155"/>
                  <a:gd name="connsiteY3" fmla="*/ 0 h 1708031"/>
                  <a:gd name="connsiteX0" fmla="*/ 86265 w 181155"/>
                  <a:gd name="connsiteY0" fmla="*/ 0 h 1708031"/>
                  <a:gd name="connsiteX1" fmla="*/ 0 w 181155"/>
                  <a:gd name="connsiteY1" fmla="*/ 1682151 h 1708031"/>
                  <a:gd name="connsiteX2" fmla="*/ 181155 w 181155"/>
                  <a:gd name="connsiteY2" fmla="*/ 1708031 h 1708031"/>
                  <a:gd name="connsiteX3" fmla="*/ 100462 w 181155"/>
                  <a:gd name="connsiteY3" fmla="*/ 4405 h 1708031"/>
                  <a:gd name="connsiteX4" fmla="*/ 86265 w 181155"/>
                  <a:gd name="connsiteY4" fmla="*/ 0 h 1708031"/>
                  <a:gd name="connsiteX0" fmla="*/ 76740 w 181155"/>
                  <a:gd name="connsiteY0" fmla="*/ 5120 h 1703626"/>
                  <a:gd name="connsiteX1" fmla="*/ 0 w 181155"/>
                  <a:gd name="connsiteY1" fmla="*/ 1677746 h 1703626"/>
                  <a:gd name="connsiteX2" fmla="*/ 181155 w 181155"/>
                  <a:gd name="connsiteY2" fmla="*/ 1703626 h 1703626"/>
                  <a:gd name="connsiteX3" fmla="*/ 100462 w 181155"/>
                  <a:gd name="connsiteY3" fmla="*/ 0 h 1703626"/>
                  <a:gd name="connsiteX4" fmla="*/ 76740 w 181155"/>
                  <a:gd name="connsiteY4" fmla="*/ 5120 h 1703626"/>
                  <a:gd name="connsiteX0" fmla="*/ 76740 w 181155"/>
                  <a:gd name="connsiteY0" fmla="*/ 0 h 1698506"/>
                  <a:gd name="connsiteX1" fmla="*/ 0 w 181155"/>
                  <a:gd name="connsiteY1" fmla="*/ 1672626 h 1698506"/>
                  <a:gd name="connsiteX2" fmla="*/ 181155 w 181155"/>
                  <a:gd name="connsiteY2" fmla="*/ 1698506 h 1698506"/>
                  <a:gd name="connsiteX3" fmla="*/ 93318 w 181155"/>
                  <a:gd name="connsiteY3" fmla="*/ 6786 h 1698506"/>
                  <a:gd name="connsiteX4" fmla="*/ 76740 w 181155"/>
                  <a:gd name="connsiteY4" fmla="*/ 0 h 1698506"/>
                  <a:gd name="connsiteX0" fmla="*/ 79122 w 181155"/>
                  <a:gd name="connsiteY0" fmla="*/ 5120 h 1691720"/>
                  <a:gd name="connsiteX1" fmla="*/ 0 w 181155"/>
                  <a:gd name="connsiteY1" fmla="*/ 1665840 h 1691720"/>
                  <a:gd name="connsiteX2" fmla="*/ 181155 w 181155"/>
                  <a:gd name="connsiteY2" fmla="*/ 1691720 h 1691720"/>
                  <a:gd name="connsiteX3" fmla="*/ 93318 w 181155"/>
                  <a:gd name="connsiteY3" fmla="*/ 0 h 1691720"/>
                  <a:gd name="connsiteX4" fmla="*/ 79122 w 181155"/>
                  <a:gd name="connsiteY4" fmla="*/ 5120 h 1691720"/>
                  <a:gd name="connsiteX0" fmla="*/ 79122 w 181155"/>
                  <a:gd name="connsiteY0" fmla="*/ 0 h 1686600"/>
                  <a:gd name="connsiteX1" fmla="*/ 0 w 181155"/>
                  <a:gd name="connsiteY1" fmla="*/ 1660720 h 1686600"/>
                  <a:gd name="connsiteX2" fmla="*/ 181155 w 181155"/>
                  <a:gd name="connsiteY2" fmla="*/ 1686600 h 1686600"/>
                  <a:gd name="connsiteX3" fmla="*/ 93318 w 181155"/>
                  <a:gd name="connsiteY3" fmla="*/ 4405 h 1686600"/>
                  <a:gd name="connsiteX4" fmla="*/ 79122 w 181155"/>
                  <a:gd name="connsiteY4" fmla="*/ 0 h 1686600"/>
                  <a:gd name="connsiteX0" fmla="*/ 93410 w 195443"/>
                  <a:gd name="connsiteY0" fmla="*/ 0 h 1708345"/>
                  <a:gd name="connsiteX1" fmla="*/ 0 w 195443"/>
                  <a:gd name="connsiteY1" fmla="*/ 1708345 h 1708345"/>
                  <a:gd name="connsiteX2" fmla="*/ 195443 w 195443"/>
                  <a:gd name="connsiteY2" fmla="*/ 1686600 h 1708345"/>
                  <a:gd name="connsiteX3" fmla="*/ 107606 w 195443"/>
                  <a:gd name="connsiteY3" fmla="*/ 4405 h 1708345"/>
                  <a:gd name="connsiteX4" fmla="*/ 93410 w 195443"/>
                  <a:gd name="connsiteY4" fmla="*/ 0 h 1708345"/>
                  <a:gd name="connsiteX0" fmla="*/ 93410 w 200205"/>
                  <a:gd name="connsiteY0" fmla="*/ 0 h 1710412"/>
                  <a:gd name="connsiteX1" fmla="*/ 0 w 200205"/>
                  <a:gd name="connsiteY1" fmla="*/ 1708345 h 1710412"/>
                  <a:gd name="connsiteX2" fmla="*/ 200205 w 200205"/>
                  <a:gd name="connsiteY2" fmla="*/ 1710412 h 1710412"/>
                  <a:gd name="connsiteX3" fmla="*/ 107606 w 200205"/>
                  <a:gd name="connsiteY3" fmla="*/ 4405 h 1710412"/>
                  <a:gd name="connsiteX4" fmla="*/ 93410 w 200205"/>
                  <a:gd name="connsiteY4" fmla="*/ 0 h 1710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05" h="1710412">
                    <a:moveTo>
                      <a:pt x="93410" y="0"/>
                    </a:moveTo>
                    <a:lnTo>
                      <a:pt x="0" y="1708345"/>
                    </a:lnTo>
                    <a:lnTo>
                      <a:pt x="200205" y="1710412"/>
                    </a:lnTo>
                    <a:cubicBezTo>
                      <a:pt x="171720" y="1183812"/>
                      <a:pt x="136091" y="531005"/>
                      <a:pt x="107606" y="4405"/>
                    </a:cubicBezTo>
                    <a:lnTo>
                      <a:pt x="93410" y="0"/>
                    </a:lnTo>
                    <a:close/>
                  </a:path>
                </a:pathLst>
              </a:custGeom>
              <a:solidFill>
                <a:srgbClr val="004149"/>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3" name="Freeform 32">
                <a:extLst>
                  <a:ext uri="{FF2B5EF4-FFF2-40B4-BE49-F238E27FC236}">
                    <a16:creationId xmlns:a16="http://schemas.microsoft.com/office/drawing/2014/main" id="{56688745-6B17-A84A-A010-1C5061ECB8F6}"/>
                  </a:ext>
                </a:extLst>
              </p:cNvPr>
              <p:cNvSpPr/>
              <p:nvPr/>
            </p:nvSpPr>
            <p:spPr>
              <a:xfrm flipH="1">
                <a:off x="4441313" y="1380365"/>
                <a:ext cx="643106" cy="1707892"/>
              </a:xfrm>
              <a:custGeom>
                <a:avLst/>
                <a:gdLst>
                  <a:gd name="connsiteX0" fmla="*/ 621102 w 621102"/>
                  <a:gd name="connsiteY0" fmla="*/ 0 h 1690778"/>
                  <a:gd name="connsiteX1" fmla="*/ 0 w 621102"/>
                  <a:gd name="connsiteY1" fmla="*/ 1690778 h 1690778"/>
                  <a:gd name="connsiteX2" fmla="*/ 560717 w 621102"/>
                  <a:gd name="connsiteY2" fmla="*/ 1492370 h 1690778"/>
                  <a:gd name="connsiteX3" fmla="*/ 621102 w 621102"/>
                  <a:gd name="connsiteY3" fmla="*/ 0 h 1690778"/>
                  <a:gd name="connsiteX0" fmla="*/ 643106 w 643106"/>
                  <a:gd name="connsiteY0" fmla="*/ 0 h 1707892"/>
                  <a:gd name="connsiteX1" fmla="*/ 0 w 643106"/>
                  <a:gd name="connsiteY1" fmla="*/ 1707892 h 1707892"/>
                  <a:gd name="connsiteX2" fmla="*/ 560717 w 643106"/>
                  <a:gd name="connsiteY2" fmla="*/ 1509484 h 1707892"/>
                  <a:gd name="connsiteX3" fmla="*/ 643106 w 643106"/>
                  <a:gd name="connsiteY3" fmla="*/ 0 h 1707892"/>
                </a:gdLst>
                <a:ahLst/>
                <a:cxnLst>
                  <a:cxn ang="0">
                    <a:pos x="connsiteX0" y="connsiteY0"/>
                  </a:cxn>
                  <a:cxn ang="0">
                    <a:pos x="connsiteX1" y="connsiteY1"/>
                  </a:cxn>
                  <a:cxn ang="0">
                    <a:pos x="connsiteX2" y="connsiteY2"/>
                  </a:cxn>
                  <a:cxn ang="0">
                    <a:pos x="connsiteX3" y="connsiteY3"/>
                  </a:cxn>
                </a:cxnLst>
                <a:rect l="l" t="t" r="r" b="b"/>
                <a:pathLst>
                  <a:path w="643106" h="1707892">
                    <a:moveTo>
                      <a:pt x="643106" y="0"/>
                    </a:moveTo>
                    <a:lnTo>
                      <a:pt x="0" y="1707892"/>
                    </a:lnTo>
                    <a:lnTo>
                      <a:pt x="560717" y="1509484"/>
                    </a:lnTo>
                    <a:lnTo>
                      <a:pt x="643106" y="0"/>
                    </a:lnTo>
                    <a:close/>
                  </a:path>
                </a:pathLst>
              </a:custGeom>
              <a:solidFill>
                <a:srgbClr val="8D8EA7"/>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4" name="Freeform 33">
                <a:extLst>
                  <a:ext uri="{FF2B5EF4-FFF2-40B4-BE49-F238E27FC236}">
                    <a16:creationId xmlns:a16="http://schemas.microsoft.com/office/drawing/2014/main" id="{3D5CCCC3-E131-F042-8CFA-906808363228}"/>
                  </a:ext>
                </a:extLst>
              </p:cNvPr>
              <p:cNvSpPr/>
              <p:nvPr/>
            </p:nvSpPr>
            <p:spPr>
              <a:xfrm>
                <a:off x="3779988" y="1380365"/>
                <a:ext cx="643106" cy="1707892"/>
              </a:xfrm>
              <a:custGeom>
                <a:avLst/>
                <a:gdLst>
                  <a:gd name="connsiteX0" fmla="*/ 621102 w 621102"/>
                  <a:gd name="connsiteY0" fmla="*/ 0 h 1690778"/>
                  <a:gd name="connsiteX1" fmla="*/ 0 w 621102"/>
                  <a:gd name="connsiteY1" fmla="*/ 1690778 h 1690778"/>
                  <a:gd name="connsiteX2" fmla="*/ 560717 w 621102"/>
                  <a:gd name="connsiteY2" fmla="*/ 1492370 h 1690778"/>
                  <a:gd name="connsiteX3" fmla="*/ 621102 w 621102"/>
                  <a:gd name="connsiteY3" fmla="*/ 0 h 1690778"/>
                  <a:gd name="connsiteX0" fmla="*/ 643106 w 643106"/>
                  <a:gd name="connsiteY0" fmla="*/ 0 h 1707892"/>
                  <a:gd name="connsiteX1" fmla="*/ 0 w 643106"/>
                  <a:gd name="connsiteY1" fmla="*/ 1707892 h 1707892"/>
                  <a:gd name="connsiteX2" fmla="*/ 560717 w 643106"/>
                  <a:gd name="connsiteY2" fmla="*/ 1509484 h 1707892"/>
                  <a:gd name="connsiteX3" fmla="*/ 643106 w 643106"/>
                  <a:gd name="connsiteY3" fmla="*/ 0 h 1707892"/>
                </a:gdLst>
                <a:ahLst/>
                <a:cxnLst>
                  <a:cxn ang="0">
                    <a:pos x="connsiteX0" y="connsiteY0"/>
                  </a:cxn>
                  <a:cxn ang="0">
                    <a:pos x="connsiteX1" y="connsiteY1"/>
                  </a:cxn>
                  <a:cxn ang="0">
                    <a:pos x="connsiteX2" y="connsiteY2"/>
                  </a:cxn>
                  <a:cxn ang="0">
                    <a:pos x="connsiteX3" y="connsiteY3"/>
                  </a:cxn>
                </a:cxnLst>
                <a:rect l="l" t="t" r="r" b="b"/>
                <a:pathLst>
                  <a:path w="643106" h="1707892">
                    <a:moveTo>
                      <a:pt x="643106" y="0"/>
                    </a:moveTo>
                    <a:lnTo>
                      <a:pt x="0" y="1707892"/>
                    </a:lnTo>
                    <a:lnTo>
                      <a:pt x="560717" y="1509484"/>
                    </a:lnTo>
                    <a:lnTo>
                      <a:pt x="643106" y="0"/>
                    </a:lnTo>
                    <a:close/>
                  </a:path>
                </a:pathLst>
              </a:custGeom>
              <a:solidFill>
                <a:srgbClr val="8D8EA7"/>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35" name="Freeform 34">
                <a:extLst>
                  <a:ext uri="{FF2B5EF4-FFF2-40B4-BE49-F238E27FC236}">
                    <a16:creationId xmlns:a16="http://schemas.microsoft.com/office/drawing/2014/main" id="{DAD5F5C3-C8E8-EC4B-BDBF-5AB714E669AE}"/>
                  </a:ext>
                </a:extLst>
              </p:cNvPr>
              <p:cNvSpPr/>
              <p:nvPr/>
            </p:nvSpPr>
            <p:spPr>
              <a:xfrm>
                <a:off x="3810452" y="3008553"/>
                <a:ext cx="1186798" cy="751463"/>
              </a:xfrm>
              <a:custGeom>
                <a:avLst/>
                <a:gdLst/>
                <a:ahLst/>
                <a:cxnLst/>
                <a:rect l="l" t="t" r="r" b="b"/>
                <a:pathLst>
                  <a:path w="1186798" h="751463">
                    <a:moveTo>
                      <a:pt x="571900" y="18996"/>
                    </a:moveTo>
                    <a:cubicBezTo>
                      <a:pt x="463937" y="77983"/>
                      <a:pt x="428075" y="330281"/>
                      <a:pt x="651355" y="487491"/>
                    </a:cubicBezTo>
                    <a:cubicBezTo>
                      <a:pt x="595490" y="341069"/>
                      <a:pt x="632624" y="268838"/>
                      <a:pt x="668711" y="195562"/>
                    </a:cubicBezTo>
                    <a:cubicBezTo>
                      <a:pt x="669313" y="232813"/>
                      <a:pt x="631252" y="312906"/>
                      <a:pt x="724853" y="359561"/>
                    </a:cubicBezTo>
                    <a:cubicBezTo>
                      <a:pt x="681048" y="219220"/>
                      <a:pt x="866081" y="175012"/>
                      <a:pt x="671806" y="20041"/>
                    </a:cubicBezTo>
                    <a:cubicBezTo>
                      <a:pt x="952810" y="60640"/>
                      <a:pt x="870180" y="203640"/>
                      <a:pt x="936973" y="347687"/>
                    </a:cubicBezTo>
                    <a:cubicBezTo>
                      <a:pt x="888101" y="356187"/>
                      <a:pt x="817286" y="225711"/>
                      <a:pt x="833200" y="287502"/>
                    </a:cubicBezTo>
                    <a:cubicBezTo>
                      <a:pt x="916717" y="531671"/>
                      <a:pt x="666903" y="538643"/>
                      <a:pt x="746240" y="751463"/>
                    </a:cubicBezTo>
                    <a:cubicBezTo>
                      <a:pt x="499659" y="737527"/>
                      <a:pt x="571782" y="508334"/>
                      <a:pt x="455818" y="452601"/>
                    </a:cubicBezTo>
                    <a:cubicBezTo>
                      <a:pt x="424343" y="446974"/>
                      <a:pt x="386598" y="472693"/>
                      <a:pt x="456483" y="587233"/>
                    </a:cubicBezTo>
                    <a:cubicBezTo>
                      <a:pt x="49466" y="283924"/>
                      <a:pt x="335238" y="35996"/>
                      <a:pt x="571900" y="18996"/>
                    </a:cubicBezTo>
                    <a:close/>
                    <a:moveTo>
                      <a:pt x="1179221" y="0"/>
                    </a:moveTo>
                    <a:lnTo>
                      <a:pt x="1186798" y="0"/>
                    </a:lnTo>
                    <a:lnTo>
                      <a:pt x="1186190" y="4819"/>
                    </a:lnTo>
                    <a:close/>
                    <a:moveTo>
                      <a:pt x="0" y="0"/>
                    </a:moveTo>
                    <a:lnTo>
                      <a:pt x="29871" y="0"/>
                    </a:lnTo>
                    <a:lnTo>
                      <a:pt x="2400" y="18996"/>
                    </a:lnTo>
                    <a:close/>
                  </a:path>
                </a:pathLst>
              </a:custGeom>
              <a:solidFill>
                <a:schemeClr val="tx1"/>
              </a:solidFill>
              <a:ln w="25400" cap="flat" cmpd="sng" algn="ctr">
                <a:noFill/>
                <a:prstDash val="solid"/>
              </a:ln>
              <a:effectLst/>
            </p:spPr>
            <p:txBody>
              <a:bodyPr rtlCol="0" anchor="ct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grpSp>
        <p:nvGrpSpPr>
          <p:cNvPr id="94" name="Group 93">
            <a:extLst>
              <a:ext uri="{FF2B5EF4-FFF2-40B4-BE49-F238E27FC236}">
                <a16:creationId xmlns:a16="http://schemas.microsoft.com/office/drawing/2014/main" id="{214C796B-3ABD-E346-A2EF-04BF074A1EAC}"/>
              </a:ext>
            </a:extLst>
          </p:cNvPr>
          <p:cNvGrpSpPr>
            <a:grpSpLocks noChangeAspect="1"/>
          </p:cNvGrpSpPr>
          <p:nvPr/>
        </p:nvGrpSpPr>
        <p:grpSpPr>
          <a:xfrm>
            <a:off x="445468" y="1912910"/>
            <a:ext cx="2491150" cy="1257968"/>
            <a:chOff x="3932498" y="3495585"/>
            <a:chExt cx="2709346" cy="1368152"/>
          </a:xfrm>
        </p:grpSpPr>
        <p:sp>
          <p:nvSpPr>
            <p:cNvPr id="36" name="Oval 1">
              <a:extLst>
                <a:ext uri="{FF2B5EF4-FFF2-40B4-BE49-F238E27FC236}">
                  <a16:creationId xmlns:a16="http://schemas.microsoft.com/office/drawing/2014/main" id="{C272AFF3-05DD-7B4C-80E4-0AA271CF179B}"/>
                </a:ext>
              </a:extLst>
            </p:cNvPr>
            <p:cNvSpPr/>
            <p:nvPr/>
          </p:nvSpPr>
          <p:spPr>
            <a:xfrm>
              <a:off x="3932498" y="3495585"/>
              <a:ext cx="1319480" cy="1368152"/>
            </a:xfrm>
            <a:custGeom>
              <a:avLst/>
              <a:gdLst/>
              <a:ahLst/>
              <a:cxnLst/>
              <a:rect l="l" t="t" r="r" b="b"/>
              <a:pathLst>
                <a:path w="1319480" h="1368152">
                  <a:moveTo>
                    <a:pt x="635404" y="0"/>
                  </a:moveTo>
                  <a:cubicBezTo>
                    <a:pt x="1013209" y="0"/>
                    <a:pt x="1319480" y="306271"/>
                    <a:pt x="1319480" y="684076"/>
                  </a:cubicBezTo>
                  <a:cubicBezTo>
                    <a:pt x="1319480" y="1061881"/>
                    <a:pt x="1013209" y="1368152"/>
                    <a:pt x="635404" y="1368152"/>
                  </a:cubicBezTo>
                  <a:cubicBezTo>
                    <a:pt x="345994" y="1368152"/>
                    <a:pt x="98560" y="1188431"/>
                    <a:pt x="0" y="933963"/>
                  </a:cubicBezTo>
                  <a:lnTo>
                    <a:pt x="680705" y="933963"/>
                  </a:lnTo>
                  <a:lnTo>
                    <a:pt x="680705" y="1183850"/>
                  </a:lnTo>
                  <a:lnTo>
                    <a:pt x="1304843" y="684076"/>
                  </a:lnTo>
                  <a:lnTo>
                    <a:pt x="680705" y="184302"/>
                  </a:lnTo>
                  <a:lnTo>
                    <a:pt x="680705" y="434189"/>
                  </a:lnTo>
                  <a:lnTo>
                    <a:pt x="0" y="434189"/>
                  </a:lnTo>
                  <a:cubicBezTo>
                    <a:pt x="98560" y="179721"/>
                    <a:pt x="345994" y="0"/>
                    <a:pt x="63540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E46C0A"/>
                </a:solidFill>
              </a:endParaRPr>
            </a:p>
          </p:txBody>
        </p:sp>
        <p:sp>
          <p:nvSpPr>
            <p:cNvPr id="37" name="Oval 1">
              <a:extLst>
                <a:ext uri="{FF2B5EF4-FFF2-40B4-BE49-F238E27FC236}">
                  <a16:creationId xmlns:a16="http://schemas.microsoft.com/office/drawing/2014/main" id="{0A21B9D6-AFCA-8C4C-B9DD-BF982CE20F3D}"/>
                </a:ext>
              </a:extLst>
            </p:cNvPr>
            <p:cNvSpPr/>
            <p:nvPr/>
          </p:nvSpPr>
          <p:spPr>
            <a:xfrm rot="10800000">
              <a:off x="5322364" y="3495585"/>
              <a:ext cx="1319480" cy="1368152"/>
            </a:xfrm>
            <a:custGeom>
              <a:avLst/>
              <a:gdLst/>
              <a:ahLst/>
              <a:cxnLst/>
              <a:rect l="l" t="t" r="r" b="b"/>
              <a:pathLst>
                <a:path w="1319480" h="1368152">
                  <a:moveTo>
                    <a:pt x="635404" y="0"/>
                  </a:moveTo>
                  <a:cubicBezTo>
                    <a:pt x="1013209" y="0"/>
                    <a:pt x="1319480" y="306271"/>
                    <a:pt x="1319480" y="684076"/>
                  </a:cubicBezTo>
                  <a:cubicBezTo>
                    <a:pt x="1319480" y="1061881"/>
                    <a:pt x="1013209" y="1368152"/>
                    <a:pt x="635404" y="1368152"/>
                  </a:cubicBezTo>
                  <a:cubicBezTo>
                    <a:pt x="345994" y="1368152"/>
                    <a:pt x="98560" y="1188431"/>
                    <a:pt x="0" y="933963"/>
                  </a:cubicBezTo>
                  <a:lnTo>
                    <a:pt x="680705" y="933963"/>
                  </a:lnTo>
                  <a:lnTo>
                    <a:pt x="680705" y="1183850"/>
                  </a:lnTo>
                  <a:lnTo>
                    <a:pt x="1304843" y="684076"/>
                  </a:lnTo>
                  <a:lnTo>
                    <a:pt x="680705" y="184302"/>
                  </a:lnTo>
                  <a:lnTo>
                    <a:pt x="680705" y="434189"/>
                  </a:lnTo>
                  <a:lnTo>
                    <a:pt x="0" y="434189"/>
                  </a:lnTo>
                  <a:cubicBezTo>
                    <a:pt x="98560" y="179721"/>
                    <a:pt x="345994" y="0"/>
                    <a:pt x="63540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E46C0A"/>
                </a:solidFill>
              </a:endParaRPr>
            </a:p>
          </p:txBody>
        </p:sp>
      </p:grpSp>
      <p:sp>
        <p:nvSpPr>
          <p:cNvPr id="84" name="Freeform 9">
            <a:extLst>
              <a:ext uri="{FF2B5EF4-FFF2-40B4-BE49-F238E27FC236}">
                <a16:creationId xmlns:a16="http://schemas.microsoft.com/office/drawing/2014/main" id="{43FBDC62-CFCF-F446-8D47-768C81660905}"/>
              </a:ext>
            </a:extLst>
          </p:cNvPr>
          <p:cNvSpPr>
            <a:spLocks noChangeAspect="1"/>
          </p:cNvSpPr>
          <p:nvPr/>
        </p:nvSpPr>
        <p:spPr bwMode="auto">
          <a:xfrm>
            <a:off x="3122766" y="1832962"/>
            <a:ext cx="411153" cy="1466873"/>
          </a:xfrm>
          <a:custGeom>
            <a:avLst/>
            <a:gdLst>
              <a:gd name="T0" fmla="*/ 453 w 768"/>
              <a:gd name="T1" fmla="*/ 45 h 2740"/>
              <a:gd name="T2" fmla="*/ 508 w 768"/>
              <a:gd name="T3" fmla="*/ 200 h 2740"/>
              <a:gd name="T4" fmla="*/ 464 w 768"/>
              <a:gd name="T5" fmla="*/ 287 h 2740"/>
              <a:gd name="T6" fmla="*/ 479 w 768"/>
              <a:gd name="T7" fmla="*/ 389 h 2740"/>
              <a:gd name="T8" fmla="*/ 628 w 768"/>
              <a:gd name="T9" fmla="*/ 445 h 2740"/>
              <a:gd name="T10" fmla="*/ 691 w 768"/>
              <a:gd name="T11" fmla="*/ 583 h 2740"/>
              <a:gd name="T12" fmla="*/ 719 w 768"/>
              <a:gd name="T13" fmla="*/ 858 h 2740"/>
              <a:gd name="T14" fmla="*/ 748 w 768"/>
              <a:gd name="T15" fmla="*/ 1287 h 2740"/>
              <a:gd name="T16" fmla="*/ 768 w 768"/>
              <a:gd name="T17" fmla="*/ 1416 h 2740"/>
              <a:gd name="T18" fmla="*/ 713 w 768"/>
              <a:gd name="T19" fmla="*/ 1478 h 2740"/>
              <a:gd name="T20" fmla="*/ 677 w 768"/>
              <a:gd name="T21" fmla="*/ 1427 h 2740"/>
              <a:gd name="T22" fmla="*/ 691 w 768"/>
              <a:gd name="T23" fmla="*/ 1320 h 2740"/>
              <a:gd name="T24" fmla="*/ 639 w 768"/>
              <a:gd name="T25" fmla="*/ 934 h 2740"/>
              <a:gd name="T26" fmla="*/ 595 w 768"/>
              <a:gd name="T27" fmla="*/ 745 h 2740"/>
              <a:gd name="T28" fmla="*/ 555 w 768"/>
              <a:gd name="T29" fmla="*/ 792 h 2740"/>
              <a:gd name="T30" fmla="*/ 535 w 768"/>
              <a:gd name="T31" fmla="*/ 947 h 2740"/>
              <a:gd name="T32" fmla="*/ 611 w 768"/>
              <a:gd name="T33" fmla="*/ 1125 h 2740"/>
              <a:gd name="T34" fmla="*/ 639 w 768"/>
              <a:gd name="T35" fmla="*/ 1351 h 2740"/>
              <a:gd name="T36" fmla="*/ 617 w 768"/>
              <a:gd name="T37" fmla="*/ 1912 h 2740"/>
              <a:gd name="T38" fmla="*/ 544 w 768"/>
              <a:gd name="T39" fmla="*/ 2387 h 2740"/>
              <a:gd name="T40" fmla="*/ 559 w 768"/>
              <a:gd name="T41" fmla="*/ 2711 h 2740"/>
              <a:gd name="T42" fmla="*/ 455 w 768"/>
              <a:gd name="T43" fmla="*/ 2687 h 2740"/>
              <a:gd name="T44" fmla="*/ 451 w 768"/>
              <a:gd name="T45" fmla="*/ 2523 h 2740"/>
              <a:gd name="T46" fmla="*/ 468 w 768"/>
              <a:gd name="T47" fmla="*/ 2363 h 2740"/>
              <a:gd name="T48" fmla="*/ 448 w 768"/>
              <a:gd name="T49" fmla="*/ 2136 h 2740"/>
              <a:gd name="T50" fmla="*/ 455 w 768"/>
              <a:gd name="T51" fmla="*/ 1894 h 2740"/>
              <a:gd name="T52" fmla="*/ 406 w 768"/>
              <a:gd name="T53" fmla="*/ 1598 h 2740"/>
              <a:gd name="T54" fmla="*/ 351 w 768"/>
              <a:gd name="T55" fmla="*/ 1680 h 2740"/>
              <a:gd name="T56" fmla="*/ 330 w 768"/>
              <a:gd name="T57" fmla="*/ 2018 h 2740"/>
              <a:gd name="T58" fmla="*/ 310 w 768"/>
              <a:gd name="T59" fmla="*/ 2223 h 2740"/>
              <a:gd name="T60" fmla="*/ 308 w 768"/>
              <a:gd name="T61" fmla="*/ 2411 h 2740"/>
              <a:gd name="T62" fmla="*/ 324 w 768"/>
              <a:gd name="T63" fmla="*/ 2647 h 2740"/>
              <a:gd name="T64" fmla="*/ 253 w 768"/>
              <a:gd name="T65" fmla="*/ 2729 h 2740"/>
              <a:gd name="T66" fmla="*/ 217 w 768"/>
              <a:gd name="T67" fmla="*/ 2616 h 2740"/>
              <a:gd name="T68" fmla="*/ 231 w 768"/>
              <a:gd name="T69" fmla="*/ 2376 h 2740"/>
              <a:gd name="T70" fmla="*/ 180 w 768"/>
              <a:gd name="T71" fmla="*/ 2118 h 2740"/>
              <a:gd name="T72" fmla="*/ 168 w 768"/>
              <a:gd name="T73" fmla="*/ 1867 h 2740"/>
              <a:gd name="T74" fmla="*/ 175 w 768"/>
              <a:gd name="T75" fmla="*/ 1607 h 2740"/>
              <a:gd name="T76" fmla="*/ 126 w 768"/>
              <a:gd name="T77" fmla="*/ 1363 h 2740"/>
              <a:gd name="T78" fmla="*/ 166 w 768"/>
              <a:gd name="T79" fmla="*/ 1107 h 2740"/>
              <a:gd name="T80" fmla="*/ 235 w 768"/>
              <a:gd name="T81" fmla="*/ 869 h 2740"/>
              <a:gd name="T82" fmla="*/ 182 w 768"/>
              <a:gd name="T83" fmla="*/ 711 h 2740"/>
              <a:gd name="T84" fmla="*/ 128 w 768"/>
              <a:gd name="T85" fmla="*/ 931 h 2740"/>
              <a:gd name="T86" fmla="*/ 119 w 768"/>
              <a:gd name="T87" fmla="*/ 1111 h 2740"/>
              <a:gd name="T88" fmla="*/ 64 w 768"/>
              <a:gd name="T89" fmla="*/ 1311 h 2740"/>
              <a:gd name="T90" fmla="*/ 100 w 768"/>
              <a:gd name="T91" fmla="*/ 1460 h 2740"/>
              <a:gd name="T92" fmla="*/ 79 w 768"/>
              <a:gd name="T93" fmla="*/ 1481 h 2740"/>
              <a:gd name="T94" fmla="*/ 4 w 768"/>
              <a:gd name="T95" fmla="*/ 1423 h 2740"/>
              <a:gd name="T96" fmla="*/ 22 w 768"/>
              <a:gd name="T97" fmla="*/ 1251 h 2740"/>
              <a:gd name="T98" fmla="*/ 70 w 768"/>
              <a:gd name="T99" fmla="*/ 623 h 2740"/>
              <a:gd name="T100" fmla="*/ 117 w 768"/>
              <a:gd name="T101" fmla="*/ 458 h 2740"/>
              <a:gd name="T102" fmla="*/ 251 w 768"/>
              <a:gd name="T103" fmla="*/ 412 h 2740"/>
              <a:gd name="T104" fmla="*/ 320 w 768"/>
              <a:gd name="T105" fmla="*/ 325 h 2740"/>
              <a:gd name="T106" fmla="*/ 253 w 768"/>
              <a:gd name="T107" fmla="*/ 221 h 2740"/>
              <a:gd name="T108" fmla="*/ 250 w 768"/>
              <a:gd name="T109" fmla="*/ 136 h 2740"/>
              <a:gd name="T110" fmla="*/ 322 w 768"/>
              <a:gd name="T111" fmla="*/ 3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8" h="2740">
                <a:moveTo>
                  <a:pt x="339" y="0"/>
                </a:moveTo>
                <a:lnTo>
                  <a:pt x="375" y="3"/>
                </a:lnTo>
                <a:lnTo>
                  <a:pt x="406" y="12"/>
                </a:lnTo>
                <a:lnTo>
                  <a:pt x="431" y="27"/>
                </a:lnTo>
                <a:lnTo>
                  <a:pt x="453" y="45"/>
                </a:lnTo>
                <a:lnTo>
                  <a:pt x="471" y="69"/>
                </a:lnTo>
                <a:lnTo>
                  <a:pt x="486" y="94"/>
                </a:lnTo>
                <a:lnTo>
                  <a:pt x="495" y="123"/>
                </a:lnTo>
                <a:lnTo>
                  <a:pt x="495" y="183"/>
                </a:lnTo>
                <a:lnTo>
                  <a:pt x="508" y="200"/>
                </a:lnTo>
                <a:lnTo>
                  <a:pt x="502" y="221"/>
                </a:lnTo>
                <a:lnTo>
                  <a:pt x="495" y="240"/>
                </a:lnTo>
                <a:lnTo>
                  <a:pt x="484" y="256"/>
                </a:lnTo>
                <a:lnTo>
                  <a:pt x="475" y="271"/>
                </a:lnTo>
                <a:lnTo>
                  <a:pt x="464" y="287"/>
                </a:lnTo>
                <a:lnTo>
                  <a:pt x="455" y="303"/>
                </a:lnTo>
                <a:lnTo>
                  <a:pt x="451" y="323"/>
                </a:lnTo>
                <a:lnTo>
                  <a:pt x="450" y="349"/>
                </a:lnTo>
                <a:lnTo>
                  <a:pt x="455" y="380"/>
                </a:lnTo>
                <a:lnTo>
                  <a:pt x="479" y="389"/>
                </a:lnTo>
                <a:lnTo>
                  <a:pt x="508" y="400"/>
                </a:lnTo>
                <a:lnTo>
                  <a:pt x="539" y="409"/>
                </a:lnTo>
                <a:lnTo>
                  <a:pt x="570" y="420"/>
                </a:lnTo>
                <a:lnTo>
                  <a:pt x="600" y="431"/>
                </a:lnTo>
                <a:lnTo>
                  <a:pt x="628" y="445"/>
                </a:lnTo>
                <a:lnTo>
                  <a:pt x="650" y="460"/>
                </a:lnTo>
                <a:lnTo>
                  <a:pt x="668" y="480"/>
                </a:lnTo>
                <a:lnTo>
                  <a:pt x="682" y="511"/>
                </a:lnTo>
                <a:lnTo>
                  <a:pt x="690" y="545"/>
                </a:lnTo>
                <a:lnTo>
                  <a:pt x="691" y="583"/>
                </a:lnTo>
                <a:lnTo>
                  <a:pt x="693" y="623"/>
                </a:lnTo>
                <a:lnTo>
                  <a:pt x="693" y="665"/>
                </a:lnTo>
                <a:lnTo>
                  <a:pt x="699" y="707"/>
                </a:lnTo>
                <a:lnTo>
                  <a:pt x="710" y="781"/>
                </a:lnTo>
                <a:lnTo>
                  <a:pt x="719" y="858"/>
                </a:lnTo>
                <a:lnTo>
                  <a:pt x="728" y="931"/>
                </a:lnTo>
                <a:lnTo>
                  <a:pt x="739" y="1000"/>
                </a:lnTo>
                <a:lnTo>
                  <a:pt x="742" y="1183"/>
                </a:lnTo>
                <a:lnTo>
                  <a:pt x="742" y="1267"/>
                </a:lnTo>
                <a:lnTo>
                  <a:pt x="748" y="1287"/>
                </a:lnTo>
                <a:lnTo>
                  <a:pt x="753" y="1311"/>
                </a:lnTo>
                <a:lnTo>
                  <a:pt x="759" y="1336"/>
                </a:lnTo>
                <a:lnTo>
                  <a:pt x="762" y="1363"/>
                </a:lnTo>
                <a:lnTo>
                  <a:pt x="766" y="1391"/>
                </a:lnTo>
                <a:lnTo>
                  <a:pt x="768" y="1416"/>
                </a:lnTo>
                <a:lnTo>
                  <a:pt x="764" y="1440"/>
                </a:lnTo>
                <a:lnTo>
                  <a:pt x="757" y="1458"/>
                </a:lnTo>
                <a:lnTo>
                  <a:pt x="742" y="1474"/>
                </a:lnTo>
                <a:lnTo>
                  <a:pt x="722" y="1483"/>
                </a:lnTo>
                <a:lnTo>
                  <a:pt x="713" y="1478"/>
                </a:lnTo>
                <a:lnTo>
                  <a:pt x="699" y="1478"/>
                </a:lnTo>
                <a:lnTo>
                  <a:pt x="682" y="1480"/>
                </a:lnTo>
                <a:lnTo>
                  <a:pt x="668" y="1480"/>
                </a:lnTo>
                <a:lnTo>
                  <a:pt x="659" y="1443"/>
                </a:lnTo>
                <a:lnTo>
                  <a:pt x="677" y="1427"/>
                </a:lnTo>
                <a:lnTo>
                  <a:pt x="686" y="1411"/>
                </a:lnTo>
                <a:lnTo>
                  <a:pt x="688" y="1394"/>
                </a:lnTo>
                <a:lnTo>
                  <a:pt x="688" y="1372"/>
                </a:lnTo>
                <a:lnTo>
                  <a:pt x="688" y="1349"/>
                </a:lnTo>
                <a:lnTo>
                  <a:pt x="691" y="1320"/>
                </a:lnTo>
                <a:lnTo>
                  <a:pt x="695" y="1305"/>
                </a:lnTo>
                <a:lnTo>
                  <a:pt x="700" y="1287"/>
                </a:lnTo>
                <a:lnTo>
                  <a:pt x="699" y="1267"/>
                </a:lnTo>
                <a:lnTo>
                  <a:pt x="642" y="1096"/>
                </a:lnTo>
                <a:lnTo>
                  <a:pt x="639" y="934"/>
                </a:lnTo>
                <a:lnTo>
                  <a:pt x="608" y="827"/>
                </a:lnTo>
                <a:lnTo>
                  <a:pt x="604" y="809"/>
                </a:lnTo>
                <a:lnTo>
                  <a:pt x="600" y="789"/>
                </a:lnTo>
                <a:lnTo>
                  <a:pt x="599" y="767"/>
                </a:lnTo>
                <a:lnTo>
                  <a:pt x="595" y="745"/>
                </a:lnTo>
                <a:lnTo>
                  <a:pt x="588" y="727"/>
                </a:lnTo>
                <a:lnTo>
                  <a:pt x="579" y="714"/>
                </a:lnTo>
                <a:lnTo>
                  <a:pt x="573" y="741"/>
                </a:lnTo>
                <a:lnTo>
                  <a:pt x="566" y="767"/>
                </a:lnTo>
                <a:lnTo>
                  <a:pt x="555" y="792"/>
                </a:lnTo>
                <a:lnTo>
                  <a:pt x="544" y="820"/>
                </a:lnTo>
                <a:lnTo>
                  <a:pt x="535" y="849"/>
                </a:lnTo>
                <a:lnTo>
                  <a:pt x="530" y="880"/>
                </a:lnTo>
                <a:lnTo>
                  <a:pt x="530" y="912"/>
                </a:lnTo>
                <a:lnTo>
                  <a:pt x="535" y="947"/>
                </a:lnTo>
                <a:lnTo>
                  <a:pt x="546" y="983"/>
                </a:lnTo>
                <a:lnTo>
                  <a:pt x="560" y="1018"/>
                </a:lnTo>
                <a:lnTo>
                  <a:pt x="577" y="1052"/>
                </a:lnTo>
                <a:lnTo>
                  <a:pt x="595" y="1089"/>
                </a:lnTo>
                <a:lnTo>
                  <a:pt x="611" y="1125"/>
                </a:lnTo>
                <a:lnTo>
                  <a:pt x="626" y="1165"/>
                </a:lnTo>
                <a:lnTo>
                  <a:pt x="637" y="1207"/>
                </a:lnTo>
                <a:lnTo>
                  <a:pt x="644" y="1251"/>
                </a:lnTo>
                <a:lnTo>
                  <a:pt x="646" y="1300"/>
                </a:lnTo>
                <a:lnTo>
                  <a:pt x="639" y="1351"/>
                </a:lnTo>
                <a:lnTo>
                  <a:pt x="582" y="1680"/>
                </a:lnTo>
                <a:lnTo>
                  <a:pt x="590" y="1734"/>
                </a:lnTo>
                <a:lnTo>
                  <a:pt x="599" y="1792"/>
                </a:lnTo>
                <a:lnTo>
                  <a:pt x="608" y="1851"/>
                </a:lnTo>
                <a:lnTo>
                  <a:pt x="617" y="1912"/>
                </a:lnTo>
                <a:lnTo>
                  <a:pt x="617" y="1972"/>
                </a:lnTo>
                <a:lnTo>
                  <a:pt x="611" y="2034"/>
                </a:lnTo>
                <a:lnTo>
                  <a:pt x="559" y="2320"/>
                </a:lnTo>
                <a:lnTo>
                  <a:pt x="551" y="2351"/>
                </a:lnTo>
                <a:lnTo>
                  <a:pt x="544" y="2387"/>
                </a:lnTo>
                <a:lnTo>
                  <a:pt x="537" y="2425"/>
                </a:lnTo>
                <a:lnTo>
                  <a:pt x="535" y="2463"/>
                </a:lnTo>
                <a:lnTo>
                  <a:pt x="539" y="2503"/>
                </a:lnTo>
                <a:lnTo>
                  <a:pt x="582" y="2696"/>
                </a:lnTo>
                <a:lnTo>
                  <a:pt x="559" y="2711"/>
                </a:lnTo>
                <a:lnTo>
                  <a:pt x="533" y="2723"/>
                </a:lnTo>
                <a:lnTo>
                  <a:pt x="504" y="2734"/>
                </a:lnTo>
                <a:lnTo>
                  <a:pt x="471" y="2740"/>
                </a:lnTo>
                <a:lnTo>
                  <a:pt x="460" y="2714"/>
                </a:lnTo>
                <a:lnTo>
                  <a:pt x="455" y="2687"/>
                </a:lnTo>
                <a:lnTo>
                  <a:pt x="453" y="2656"/>
                </a:lnTo>
                <a:lnTo>
                  <a:pt x="455" y="2625"/>
                </a:lnTo>
                <a:lnTo>
                  <a:pt x="457" y="2591"/>
                </a:lnTo>
                <a:lnTo>
                  <a:pt x="455" y="2556"/>
                </a:lnTo>
                <a:lnTo>
                  <a:pt x="451" y="2523"/>
                </a:lnTo>
                <a:lnTo>
                  <a:pt x="448" y="2492"/>
                </a:lnTo>
                <a:lnTo>
                  <a:pt x="450" y="2461"/>
                </a:lnTo>
                <a:lnTo>
                  <a:pt x="455" y="2431"/>
                </a:lnTo>
                <a:lnTo>
                  <a:pt x="460" y="2398"/>
                </a:lnTo>
                <a:lnTo>
                  <a:pt x="468" y="2363"/>
                </a:lnTo>
                <a:lnTo>
                  <a:pt x="471" y="2327"/>
                </a:lnTo>
                <a:lnTo>
                  <a:pt x="471" y="2287"/>
                </a:lnTo>
                <a:lnTo>
                  <a:pt x="468" y="2243"/>
                </a:lnTo>
                <a:lnTo>
                  <a:pt x="457" y="2192"/>
                </a:lnTo>
                <a:lnTo>
                  <a:pt x="448" y="2136"/>
                </a:lnTo>
                <a:lnTo>
                  <a:pt x="439" y="2074"/>
                </a:lnTo>
                <a:lnTo>
                  <a:pt x="437" y="2012"/>
                </a:lnTo>
                <a:lnTo>
                  <a:pt x="442" y="1951"/>
                </a:lnTo>
                <a:lnTo>
                  <a:pt x="448" y="1925"/>
                </a:lnTo>
                <a:lnTo>
                  <a:pt x="455" y="1894"/>
                </a:lnTo>
                <a:lnTo>
                  <a:pt x="457" y="1863"/>
                </a:lnTo>
                <a:lnTo>
                  <a:pt x="455" y="1831"/>
                </a:lnTo>
                <a:lnTo>
                  <a:pt x="439" y="1754"/>
                </a:lnTo>
                <a:lnTo>
                  <a:pt x="422" y="1678"/>
                </a:lnTo>
                <a:lnTo>
                  <a:pt x="406" y="1598"/>
                </a:lnTo>
                <a:lnTo>
                  <a:pt x="395" y="1516"/>
                </a:lnTo>
                <a:lnTo>
                  <a:pt x="388" y="1431"/>
                </a:lnTo>
                <a:lnTo>
                  <a:pt x="382" y="1431"/>
                </a:lnTo>
                <a:lnTo>
                  <a:pt x="382" y="1436"/>
                </a:lnTo>
                <a:lnTo>
                  <a:pt x="351" y="1680"/>
                </a:lnTo>
                <a:lnTo>
                  <a:pt x="319" y="1807"/>
                </a:lnTo>
                <a:lnTo>
                  <a:pt x="313" y="1861"/>
                </a:lnTo>
                <a:lnTo>
                  <a:pt x="317" y="1914"/>
                </a:lnTo>
                <a:lnTo>
                  <a:pt x="322" y="1965"/>
                </a:lnTo>
                <a:lnTo>
                  <a:pt x="330" y="2018"/>
                </a:lnTo>
                <a:lnTo>
                  <a:pt x="331" y="2072"/>
                </a:lnTo>
                <a:lnTo>
                  <a:pt x="328" y="2127"/>
                </a:lnTo>
                <a:lnTo>
                  <a:pt x="322" y="2152"/>
                </a:lnTo>
                <a:lnTo>
                  <a:pt x="317" y="2185"/>
                </a:lnTo>
                <a:lnTo>
                  <a:pt x="310" y="2223"/>
                </a:lnTo>
                <a:lnTo>
                  <a:pt x="304" y="2263"/>
                </a:lnTo>
                <a:lnTo>
                  <a:pt x="300" y="2303"/>
                </a:lnTo>
                <a:lnTo>
                  <a:pt x="299" y="2343"/>
                </a:lnTo>
                <a:lnTo>
                  <a:pt x="300" y="2380"/>
                </a:lnTo>
                <a:lnTo>
                  <a:pt x="308" y="2411"/>
                </a:lnTo>
                <a:lnTo>
                  <a:pt x="339" y="2474"/>
                </a:lnTo>
                <a:lnTo>
                  <a:pt x="328" y="2511"/>
                </a:lnTo>
                <a:lnTo>
                  <a:pt x="320" y="2556"/>
                </a:lnTo>
                <a:lnTo>
                  <a:pt x="320" y="2603"/>
                </a:lnTo>
                <a:lnTo>
                  <a:pt x="324" y="2647"/>
                </a:lnTo>
                <a:lnTo>
                  <a:pt x="324" y="2689"/>
                </a:lnTo>
                <a:lnTo>
                  <a:pt x="319" y="2727"/>
                </a:lnTo>
                <a:lnTo>
                  <a:pt x="299" y="2734"/>
                </a:lnTo>
                <a:lnTo>
                  <a:pt x="275" y="2736"/>
                </a:lnTo>
                <a:lnTo>
                  <a:pt x="253" y="2729"/>
                </a:lnTo>
                <a:lnTo>
                  <a:pt x="231" y="2718"/>
                </a:lnTo>
                <a:lnTo>
                  <a:pt x="213" y="2700"/>
                </a:lnTo>
                <a:lnTo>
                  <a:pt x="202" y="2678"/>
                </a:lnTo>
                <a:lnTo>
                  <a:pt x="199" y="2651"/>
                </a:lnTo>
                <a:lnTo>
                  <a:pt x="217" y="2616"/>
                </a:lnTo>
                <a:lnTo>
                  <a:pt x="230" y="2574"/>
                </a:lnTo>
                <a:lnTo>
                  <a:pt x="235" y="2529"/>
                </a:lnTo>
                <a:lnTo>
                  <a:pt x="239" y="2480"/>
                </a:lnTo>
                <a:lnTo>
                  <a:pt x="237" y="2429"/>
                </a:lnTo>
                <a:lnTo>
                  <a:pt x="231" y="2376"/>
                </a:lnTo>
                <a:lnTo>
                  <a:pt x="222" y="2321"/>
                </a:lnTo>
                <a:lnTo>
                  <a:pt x="213" y="2267"/>
                </a:lnTo>
                <a:lnTo>
                  <a:pt x="202" y="2216"/>
                </a:lnTo>
                <a:lnTo>
                  <a:pt x="191" y="2165"/>
                </a:lnTo>
                <a:lnTo>
                  <a:pt x="180" y="2118"/>
                </a:lnTo>
                <a:lnTo>
                  <a:pt x="171" y="2074"/>
                </a:lnTo>
                <a:lnTo>
                  <a:pt x="162" y="2034"/>
                </a:lnTo>
                <a:lnTo>
                  <a:pt x="157" y="1980"/>
                </a:lnTo>
                <a:lnTo>
                  <a:pt x="160" y="1923"/>
                </a:lnTo>
                <a:lnTo>
                  <a:pt x="168" y="1867"/>
                </a:lnTo>
                <a:lnTo>
                  <a:pt x="179" y="1812"/>
                </a:lnTo>
                <a:lnTo>
                  <a:pt x="186" y="1756"/>
                </a:lnTo>
                <a:lnTo>
                  <a:pt x="190" y="1700"/>
                </a:lnTo>
                <a:lnTo>
                  <a:pt x="182" y="1643"/>
                </a:lnTo>
                <a:lnTo>
                  <a:pt x="175" y="1607"/>
                </a:lnTo>
                <a:lnTo>
                  <a:pt x="166" y="1565"/>
                </a:lnTo>
                <a:lnTo>
                  <a:pt x="155" y="1518"/>
                </a:lnTo>
                <a:lnTo>
                  <a:pt x="144" y="1467"/>
                </a:lnTo>
                <a:lnTo>
                  <a:pt x="133" y="1414"/>
                </a:lnTo>
                <a:lnTo>
                  <a:pt x="126" y="1363"/>
                </a:lnTo>
                <a:lnTo>
                  <a:pt x="122" y="1312"/>
                </a:lnTo>
                <a:lnTo>
                  <a:pt x="122" y="1265"/>
                </a:lnTo>
                <a:lnTo>
                  <a:pt x="128" y="1223"/>
                </a:lnTo>
                <a:lnTo>
                  <a:pt x="144" y="1163"/>
                </a:lnTo>
                <a:lnTo>
                  <a:pt x="166" y="1107"/>
                </a:lnTo>
                <a:lnTo>
                  <a:pt x="190" y="1051"/>
                </a:lnTo>
                <a:lnTo>
                  <a:pt x="213" y="998"/>
                </a:lnTo>
                <a:lnTo>
                  <a:pt x="231" y="943"/>
                </a:lnTo>
                <a:lnTo>
                  <a:pt x="237" y="905"/>
                </a:lnTo>
                <a:lnTo>
                  <a:pt x="235" y="869"/>
                </a:lnTo>
                <a:lnTo>
                  <a:pt x="228" y="832"/>
                </a:lnTo>
                <a:lnTo>
                  <a:pt x="215" y="800"/>
                </a:lnTo>
                <a:lnTo>
                  <a:pt x="202" y="769"/>
                </a:lnTo>
                <a:lnTo>
                  <a:pt x="191" y="740"/>
                </a:lnTo>
                <a:lnTo>
                  <a:pt x="182" y="711"/>
                </a:lnTo>
                <a:lnTo>
                  <a:pt x="179" y="711"/>
                </a:lnTo>
                <a:lnTo>
                  <a:pt x="170" y="769"/>
                </a:lnTo>
                <a:lnTo>
                  <a:pt x="157" y="825"/>
                </a:lnTo>
                <a:lnTo>
                  <a:pt x="140" y="878"/>
                </a:lnTo>
                <a:lnTo>
                  <a:pt x="128" y="931"/>
                </a:lnTo>
                <a:lnTo>
                  <a:pt x="122" y="969"/>
                </a:lnTo>
                <a:lnTo>
                  <a:pt x="122" y="1005"/>
                </a:lnTo>
                <a:lnTo>
                  <a:pt x="124" y="1041"/>
                </a:lnTo>
                <a:lnTo>
                  <a:pt x="124" y="1078"/>
                </a:lnTo>
                <a:lnTo>
                  <a:pt x="119" y="1111"/>
                </a:lnTo>
                <a:lnTo>
                  <a:pt x="110" y="1145"/>
                </a:lnTo>
                <a:lnTo>
                  <a:pt x="95" y="1181"/>
                </a:lnTo>
                <a:lnTo>
                  <a:pt x="82" y="1223"/>
                </a:lnTo>
                <a:lnTo>
                  <a:pt x="71" y="1267"/>
                </a:lnTo>
                <a:lnTo>
                  <a:pt x="64" y="1311"/>
                </a:lnTo>
                <a:lnTo>
                  <a:pt x="62" y="1358"/>
                </a:lnTo>
                <a:lnTo>
                  <a:pt x="71" y="1403"/>
                </a:lnTo>
                <a:lnTo>
                  <a:pt x="108" y="1451"/>
                </a:lnTo>
                <a:lnTo>
                  <a:pt x="104" y="1456"/>
                </a:lnTo>
                <a:lnTo>
                  <a:pt x="100" y="1460"/>
                </a:lnTo>
                <a:lnTo>
                  <a:pt x="100" y="1463"/>
                </a:lnTo>
                <a:lnTo>
                  <a:pt x="100" y="1469"/>
                </a:lnTo>
                <a:lnTo>
                  <a:pt x="99" y="1472"/>
                </a:lnTo>
                <a:lnTo>
                  <a:pt x="99" y="1480"/>
                </a:lnTo>
                <a:lnTo>
                  <a:pt x="79" y="1481"/>
                </a:lnTo>
                <a:lnTo>
                  <a:pt x="62" y="1481"/>
                </a:lnTo>
                <a:lnTo>
                  <a:pt x="48" y="1481"/>
                </a:lnTo>
                <a:lnTo>
                  <a:pt x="31" y="1483"/>
                </a:lnTo>
                <a:lnTo>
                  <a:pt x="13" y="1452"/>
                </a:lnTo>
                <a:lnTo>
                  <a:pt x="4" y="1423"/>
                </a:lnTo>
                <a:lnTo>
                  <a:pt x="0" y="1392"/>
                </a:lnTo>
                <a:lnTo>
                  <a:pt x="2" y="1361"/>
                </a:lnTo>
                <a:lnTo>
                  <a:pt x="8" y="1327"/>
                </a:lnTo>
                <a:lnTo>
                  <a:pt x="15" y="1291"/>
                </a:lnTo>
                <a:lnTo>
                  <a:pt x="22" y="1251"/>
                </a:lnTo>
                <a:lnTo>
                  <a:pt x="22" y="1036"/>
                </a:lnTo>
                <a:lnTo>
                  <a:pt x="62" y="751"/>
                </a:lnTo>
                <a:lnTo>
                  <a:pt x="68" y="709"/>
                </a:lnTo>
                <a:lnTo>
                  <a:pt x="70" y="665"/>
                </a:lnTo>
                <a:lnTo>
                  <a:pt x="70" y="623"/>
                </a:lnTo>
                <a:lnTo>
                  <a:pt x="71" y="581"/>
                </a:lnTo>
                <a:lnTo>
                  <a:pt x="75" y="541"/>
                </a:lnTo>
                <a:lnTo>
                  <a:pt x="84" y="507"/>
                </a:lnTo>
                <a:lnTo>
                  <a:pt x="99" y="476"/>
                </a:lnTo>
                <a:lnTo>
                  <a:pt x="117" y="458"/>
                </a:lnTo>
                <a:lnTo>
                  <a:pt x="139" y="445"/>
                </a:lnTo>
                <a:lnTo>
                  <a:pt x="164" y="436"/>
                </a:lnTo>
                <a:lnTo>
                  <a:pt x="193" y="429"/>
                </a:lnTo>
                <a:lnTo>
                  <a:pt x="222" y="421"/>
                </a:lnTo>
                <a:lnTo>
                  <a:pt x="251" y="412"/>
                </a:lnTo>
                <a:lnTo>
                  <a:pt x="275" y="403"/>
                </a:lnTo>
                <a:lnTo>
                  <a:pt x="297" y="389"/>
                </a:lnTo>
                <a:lnTo>
                  <a:pt x="311" y="371"/>
                </a:lnTo>
                <a:lnTo>
                  <a:pt x="322" y="347"/>
                </a:lnTo>
                <a:lnTo>
                  <a:pt x="320" y="325"/>
                </a:lnTo>
                <a:lnTo>
                  <a:pt x="313" y="303"/>
                </a:lnTo>
                <a:lnTo>
                  <a:pt x="299" y="281"/>
                </a:lnTo>
                <a:lnTo>
                  <a:pt x="282" y="261"/>
                </a:lnTo>
                <a:lnTo>
                  <a:pt x="266" y="241"/>
                </a:lnTo>
                <a:lnTo>
                  <a:pt x="253" y="221"/>
                </a:lnTo>
                <a:lnTo>
                  <a:pt x="248" y="203"/>
                </a:lnTo>
                <a:lnTo>
                  <a:pt x="253" y="191"/>
                </a:lnTo>
                <a:lnTo>
                  <a:pt x="253" y="174"/>
                </a:lnTo>
                <a:lnTo>
                  <a:pt x="250" y="154"/>
                </a:lnTo>
                <a:lnTo>
                  <a:pt x="250" y="136"/>
                </a:lnTo>
                <a:lnTo>
                  <a:pt x="251" y="116"/>
                </a:lnTo>
                <a:lnTo>
                  <a:pt x="262" y="83"/>
                </a:lnTo>
                <a:lnTo>
                  <a:pt x="280" y="54"/>
                </a:lnTo>
                <a:lnTo>
                  <a:pt x="302" y="27"/>
                </a:lnTo>
                <a:lnTo>
                  <a:pt x="322" y="3"/>
                </a:lnTo>
                <a:lnTo>
                  <a:pt x="33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a:p>
        </p:txBody>
      </p:sp>
      <p:sp>
        <p:nvSpPr>
          <p:cNvPr id="85" name="Freeform 18">
            <a:extLst>
              <a:ext uri="{FF2B5EF4-FFF2-40B4-BE49-F238E27FC236}">
                <a16:creationId xmlns:a16="http://schemas.microsoft.com/office/drawing/2014/main" id="{0CE65892-0B37-6642-9B78-02F9D894EB1C}"/>
              </a:ext>
            </a:extLst>
          </p:cNvPr>
          <p:cNvSpPr>
            <a:spLocks noChangeAspect="1"/>
          </p:cNvSpPr>
          <p:nvPr/>
        </p:nvSpPr>
        <p:spPr bwMode="auto">
          <a:xfrm>
            <a:off x="3596617" y="1741228"/>
            <a:ext cx="474515" cy="1650340"/>
          </a:xfrm>
          <a:custGeom>
            <a:avLst/>
            <a:gdLst>
              <a:gd name="T0" fmla="*/ 564 w 862"/>
              <a:gd name="T1" fmla="*/ 78 h 2998"/>
              <a:gd name="T2" fmla="*/ 579 w 862"/>
              <a:gd name="T3" fmla="*/ 156 h 2998"/>
              <a:gd name="T4" fmla="*/ 570 w 862"/>
              <a:gd name="T5" fmla="*/ 282 h 2998"/>
              <a:gd name="T6" fmla="*/ 531 w 862"/>
              <a:gd name="T7" fmla="*/ 420 h 2998"/>
              <a:gd name="T8" fmla="*/ 675 w 862"/>
              <a:gd name="T9" fmla="*/ 489 h 2998"/>
              <a:gd name="T10" fmla="*/ 819 w 862"/>
              <a:gd name="T11" fmla="*/ 589 h 2998"/>
              <a:gd name="T12" fmla="*/ 851 w 862"/>
              <a:gd name="T13" fmla="*/ 876 h 2998"/>
              <a:gd name="T14" fmla="*/ 846 w 862"/>
              <a:gd name="T15" fmla="*/ 1427 h 2998"/>
              <a:gd name="T16" fmla="*/ 817 w 862"/>
              <a:gd name="T17" fmla="*/ 1724 h 2998"/>
              <a:gd name="T18" fmla="*/ 739 w 862"/>
              <a:gd name="T19" fmla="*/ 1745 h 2998"/>
              <a:gd name="T20" fmla="*/ 753 w 862"/>
              <a:gd name="T21" fmla="*/ 1714 h 2998"/>
              <a:gd name="T22" fmla="*/ 750 w 862"/>
              <a:gd name="T23" fmla="*/ 1698 h 2998"/>
              <a:gd name="T24" fmla="*/ 790 w 862"/>
              <a:gd name="T25" fmla="*/ 1658 h 2998"/>
              <a:gd name="T26" fmla="*/ 788 w 862"/>
              <a:gd name="T27" fmla="*/ 1607 h 2998"/>
              <a:gd name="T28" fmla="*/ 742 w 862"/>
              <a:gd name="T29" fmla="*/ 1660 h 2998"/>
              <a:gd name="T30" fmla="*/ 751 w 862"/>
              <a:gd name="T31" fmla="*/ 1380 h 2998"/>
              <a:gd name="T32" fmla="*/ 702 w 862"/>
              <a:gd name="T33" fmla="*/ 1000 h 2998"/>
              <a:gd name="T34" fmla="*/ 684 w 862"/>
              <a:gd name="T35" fmla="*/ 831 h 2998"/>
              <a:gd name="T36" fmla="*/ 642 w 862"/>
              <a:gd name="T37" fmla="*/ 1014 h 2998"/>
              <a:gd name="T38" fmla="*/ 730 w 862"/>
              <a:gd name="T39" fmla="*/ 1656 h 2998"/>
              <a:gd name="T40" fmla="*/ 708 w 862"/>
              <a:gd name="T41" fmla="*/ 1924 h 2998"/>
              <a:gd name="T42" fmla="*/ 753 w 862"/>
              <a:gd name="T43" fmla="*/ 2256 h 2998"/>
              <a:gd name="T44" fmla="*/ 671 w 862"/>
              <a:gd name="T45" fmla="*/ 2687 h 2998"/>
              <a:gd name="T46" fmla="*/ 722 w 862"/>
              <a:gd name="T47" fmla="*/ 2894 h 2998"/>
              <a:gd name="T48" fmla="*/ 568 w 862"/>
              <a:gd name="T49" fmla="*/ 2989 h 2998"/>
              <a:gd name="T50" fmla="*/ 551 w 862"/>
              <a:gd name="T51" fmla="*/ 2773 h 2998"/>
              <a:gd name="T52" fmla="*/ 570 w 862"/>
              <a:gd name="T53" fmla="*/ 2627 h 2998"/>
              <a:gd name="T54" fmla="*/ 539 w 862"/>
              <a:gd name="T55" fmla="*/ 2349 h 2998"/>
              <a:gd name="T56" fmla="*/ 515 w 862"/>
              <a:gd name="T57" fmla="*/ 1994 h 2998"/>
              <a:gd name="T58" fmla="*/ 422 w 862"/>
              <a:gd name="T59" fmla="*/ 1576 h 2998"/>
              <a:gd name="T60" fmla="*/ 386 w 862"/>
              <a:gd name="T61" fmla="*/ 1833 h 2998"/>
              <a:gd name="T62" fmla="*/ 319 w 862"/>
              <a:gd name="T63" fmla="*/ 2120 h 2998"/>
              <a:gd name="T64" fmla="*/ 311 w 862"/>
              <a:gd name="T65" fmla="*/ 2525 h 2998"/>
              <a:gd name="T66" fmla="*/ 339 w 862"/>
              <a:gd name="T67" fmla="*/ 2773 h 2998"/>
              <a:gd name="T68" fmla="*/ 331 w 862"/>
              <a:gd name="T69" fmla="*/ 2984 h 2998"/>
              <a:gd name="T70" fmla="*/ 210 w 862"/>
              <a:gd name="T71" fmla="*/ 2989 h 2998"/>
              <a:gd name="T72" fmla="*/ 195 w 862"/>
              <a:gd name="T73" fmla="*/ 2838 h 2998"/>
              <a:gd name="T74" fmla="*/ 191 w 862"/>
              <a:gd name="T75" fmla="*/ 2504 h 2998"/>
              <a:gd name="T76" fmla="*/ 130 w 862"/>
              <a:gd name="T77" fmla="*/ 2254 h 2998"/>
              <a:gd name="T78" fmla="*/ 171 w 862"/>
              <a:gd name="T79" fmla="*/ 1971 h 2998"/>
              <a:gd name="T80" fmla="*/ 148 w 862"/>
              <a:gd name="T81" fmla="*/ 1718 h 2998"/>
              <a:gd name="T82" fmla="*/ 204 w 862"/>
              <a:gd name="T83" fmla="*/ 1189 h 2998"/>
              <a:gd name="T84" fmla="*/ 195 w 862"/>
              <a:gd name="T85" fmla="*/ 809 h 2998"/>
              <a:gd name="T86" fmla="*/ 168 w 862"/>
              <a:gd name="T87" fmla="*/ 962 h 2998"/>
              <a:gd name="T88" fmla="*/ 144 w 862"/>
              <a:gd name="T89" fmla="*/ 1229 h 2998"/>
              <a:gd name="T90" fmla="*/ 110 w 862"/>
              <a:gd name="T91" fmla="*/ 1402 h 2998"/>
              <a:gd name="T92" fmla="*/ 122 w 862"/>
              <a:gd name="T93" fmla="*/ 1656 h 2998"/>
              <a:gd name="T94" fmla="*/ 82 w 862"/>
              <a:gd name="T95" fmla="*/ 1656 h 2998"/>
              <a:gd name="T96" fmla="*/ 110 w 862"/>
              <a:gd name="T97" fmla="*/ 1704 h 2998"/>
              <a:gd name="T98" fmla="*/ 124 w 862"/>
              <a:gd name="T99" fmla="*/ 1729 h 2998"/>
              <a:gd name="T100" fmla="*/ 95 w 862"/>
              <a:gd name="T101" fmla="*/ 1751 h 2998"/>
              <a:gd name="T102" fmla="*/ 2 w 862"/>
              <a:gd name="T103" fmla="*/ 1640 h 2998"/>
              <a:gd name="T104" fmla="*/ 2 w 862"/>
              <a:gd name="T105" fmla="*/ 1140 h 2998"/>
              <a:gd name="T106" fmla="*/ 11 w 862"/>
              <a:gd name="T107" fmla="*/ 933 h 2998"/>
              <a:gd name="T108" fmla="*/ 22 w 862"/>
              <a:gd name="T109" fmla="*/ 693 h 2998"/>
              <a:gd name="T110" fmla="*/ 99 w 862"/>
              <a:gd name="T111" fmla="*/ 524 h 2998"/>
              <a:gd name="T112" fmla="*/ 288 w 862"/>
              <a:gd name="T113" fmla="*/ 453 h 2998"/>
              <a:gd name="T114" fmla="*/ 339 w 862"/>
              <a:gd name="T115" fmla="*/ 311 h 2998"/>
              <a:gd name="T116" fmla="*/ 299 w 862"/>
              <a:gd name="T117" fmla="*/ 224 h 2998"/>
              <a:gd name="T118" fmla="*/ 313 w 862"/>
              <a:gd name="T119" fmla="*/ 104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2" h="2998">
                <a:moveTo>
                  <a:pt x="439" y="0"/>
                </a:moveTo>
                <a:lnTo>
                  <a:pt x="522" y="27"/>
                </a:lnTo>
                <a:lnTo>
                  <a:pt x="551" y="73"/>
                </a:lnTo>
                <a:lnTo>
                  <a:pt x="555" y="76"/>
                </a:lnTo>
                <a:lnTo>
                  <a:pt x="560" y="78"/>
                </a:lnTo>
                <a:lnTo>
                  <a:pt x="564" y="78"/>
                </a:lnTo>
                <a:lnTo>
                  <a:pt x="568" y="80"/>
                </a:lnTo>
                <a:lnTo>
                  <a:pt x="570" y="80"/>
                </a:lnTo>
                <a:lnTo>
                  <a:pt x="573" y="84"/>
                </a:lnTo>
                <a:lnTo>
                  <a:pt x="575" y="87"/>
                </a:lnTo>
                <a:lnTo>
                  <a:pt x="579" y="93"/>
                </a:lnTo>
                <a:lnTo>
                  <a:pt x="579" y="156"/>
                </a:lnTo>
                <a:lnTo>
                  <a:pt x="580" y="180"/>
                </a:lnTo>
                <a:lnTo>
                  <a:pt x="584" y="202"/>
                </a:lnTo>
                <a:lnTo>
                  <a:pt x="588" y="222"/>
                </a:lnTo>
                <a:lnTo>
                  <a:pt x="588" y="240"/>
                </a:lnTo>
                <a:lnTo>
                  <a:pt x="580" y="262"/>
                </a:lnTo>
                <a:lnTo>
                  <a:pt x="570" y="282"/>
                </a:lnTo>
                <a:lnTo>
                  <a:pt x="557" y="302"/>
                </a:lnTo>
                <a:lnTo>
                  <a:pt x="544" y="324"/>
                </a:lnTo>
                <a:lnTo>
                  <a:pt x="533" y="344"/>
                </a:lnTo>
                <a:lnTo>
                  <a:pt x="526" y="367"/>
                </a:lnTo>
                <a:lnTo>
                  <a:pt x="524" y="393"/>
                </a:lnTo>
                <a:lnTo>
                  <a:pt x="531" y="420"/>
                </a:lnTo>
                <a:lnTo>
                  <a:pt x="544" y="438"/>
                </a:lnTo>
                <a:lnTo>
                  <a:pt x="562" y="453"/>
                </a:lnTo>
                <a:lnTo>
                  <a:pt x="586" y="464"/>
                </a:lnTo>
                <a:lnTo>
                  <a:pt x="613" y="473"/>
                </a:lnTo>
                <a:lnTo>
                  <a:pt x="644" y="482"/>
                </a:lnTo>
                <a:lnTo>
                  <a:pt x="675" y="489"/>
                </a:lnTo>
                <a:lnTo>
                  <a:pt x="706" y="498"/>
                </a:lnTo>
                <a:lnTo>
                  <a:pt x="737" y="507"/>
                </a:lnTo>
                <a:lnTo>
                  <a:pt x="762" y="520"/>
                </a:lnTo>
                <a:lnTo>
                  <a:pt x="786" y="536"/>
                </a:lnTo>
                <a:lnTo>
                  <a:pt x="802" y="556"/>
                </a:lnTo>
                <a:lnTo>
                  <a:pt x="819" y="589"/>
                </a:lnTo>
                <a:lnTo>
                  <a:pt x="831" y="629"/>
                </a:lnTo>
                <a:lnTo>
                  <a:pt x="840" y="674"/>
                </a:lnTo>
                <a:lnTo>
                  <a:pt x="846" y="722"/>
                </a:lnTo>
                <a:lnTo>
                  <a:pt x="850" y="774"/>
                </a:lnTo>
                <a:lnTo>
                  <a:pt x="851" y="825"/>
                </a:lnTo>
                <a:lnTo>
                  <a:pt x="851" y="876"/>
                </a:lnTo>
                <a:lnTo>
                  <a:pt x="851" y="925"/>
                </a:lnTo>
                <a:lnTo>
                  <a:pt x="851" y="973"/>
                </a:lnTo>
                <a:lnTo>
                  <a:pt x="862" y="1127"/>
                </a:lnTo>
                <a:lnTo>
                  <a:pt x="850" y="1227"/>
                </a:lnTo>
                <a:lnTo>
                  <a:pt x="844" y="1329"/>
                </a:lnTo>
                <a:lnTo>
                  <a:pt x="846" y="1427"/>
                </a:lnTo>
                <a:lnTo>
                  <a:pt x="853" y="1524"/>
                </a:lnTo>
                <a:lnTo>
                  <a:pt x="862" y="1616"/>
                </a:lnTo>
                <a:lnTo>
                  <a:pt x="862" y="1649"/>
                </a:lnTo>
                <a:lnTo>
                  <a:pt x="853" y="1676"/>
                </a:lnTo>
                <a:lnTo>
                  <a:pt x="839" y="1702"/>
                </a:lnTo>
                <a:lnTo>
                  <a:pt x="817" y="1724"/>
                </a:lnTo>
                <a:lnTo>
                  <a:pt x="793" y="1742"/>
                </a:lnTo>
                <a:lnTo>
                  <a:pt x="768" y="1754"/>
                </a:lnTo>
                <a:lnTo>
                  <a:pt x="742" y="1764"/>
                </a:lnTo>
                <a:lnTo>
                  <a:pt x="742" y="1756"/>
                </a:lnTo>
                <a:lnTo>
                  <a:pt x="740" y="1751"/>
                </a:lnTo>
                <a:lnTo>
                  <a:pt x="739" y="1745"/>
                </a:lnTo>
                <a:lnTo>
                  <a:pt x="739" y="1742"/>
                </a:lnTo>
                <a:lnTo>
                  <a:pt x="739" y="1736"/>
                </a:lnTo>
                <a:lnTo>
                  <a:pt x="739" y="1729"/>
                </a:lnTo>
                <a:lnTo>
                  <a:pt x="744" y="1724"/>
                </a:lnTo>
                <a:lnTo>
                  <a:pt x="750" y="1720"/>
                </a:lnTo>
                <a:lnTo>
                  <a:pt x="753" y="1714"/>
                </a:lnTo>
                <a:lnTo>
                  <a:pt x="757" y="1707"/>
                </a:lnTo>
                <a:lnTo>
                  <a:pt x="759" y="1700"/>
                </a:lnTo>
                <a:lnTo>
                  <a:pt x="755" y="1698"/>
                </a:lnTo>
                <a:lnTo>
                  <a:pt x="751" y="1698"/>
                </a:lnTo>
                <a:lnTo>
                  <a:pt x="750" y="1698"/>
                </a:lnTo>
                <a:lnTo>
                  <a:pt x="750" y="1698"/>
                </a:lnTo>
                <a:lnTo>
                  <a:pt x="750" y="1696"/>
                </a:lnTo>
                <a:lnTo>
                  <a:pt x="750" y="1694"/>
                </a:lnTo>
                <a:lnTo>
                  <a:pt x="748" y="1693"/>
                </a:lnTo>
                <a:lnTo>
                  <a:pt x="748" y="1687"/>
                </a:lnTo>
                <a:lnTo>
                  <a:pt x="770" y="1674"/>
                </a:lnTo>
                <a:lnTo>
                  <a:pt x="790" y="1658"/>
                </a:lnTo>
                <a:lnTo>
                  <a:pt x="808" y="1640"/>
                </a:lnTo>
                <a:lnTo>
                  <a:pt x="806" y="1631"/>
                </a:lnTo>
                <a:lnTo>
                  <a:pt x="804" y="1624"/>
                </a:lnTo>
                <a:lnTo>
                  <a:pt x="802" y="1618"/>
                </a:lnTo>
                <a:lnTo>
                  <a:pt x="799" y="1613"/>
                </a:lnTo>
                <a:lnTo>
                  <a:pt x="788" y="1607"/>
                </a:lnTo>
                <a:lnTo>
                  <a:pt x="779" y="1613"/>
                </a:lnTo>
                <a:lnTo>
                  <a:pt x="775" y="1625"/>
                </a:lnTo>
                <a:lnTo>
                  <a:pt x="771" y="1638"/>
                </a:lnTo>
                <a:lnTo>
                  <a:pt x="766" y="1647"/>
                </a:lnTo>
                <a:lnTo>
                  <a:pt x="757" y="1656"/>
                </a:lnTo>
                <a:lnTo>
                  <a:pt x="742" y="1660"/>
                </a:lnTo>
                <a:lnTo>
                  <a:pt x="735" y="1547"/>
                </a:lnTo>
                <a:lnTo>
                  <a:pt x="768" y="1493"/>
                </a:lnTo>
                <a:lnTo>
                  <a:pt x="768" y="1469"/>
                </a:lnTo>
                <a:lnTo>
                  <a:pt x="766" y="1442"/>
                </a:lnTo>
                <a:lnTo>
                  <a:pt x="759" y="1413"/>
                </a:lnTo>
                <a:lnTo>
                  <a:pt x="751" y="1380"/>
                </a:lnTo>
                <a:lnTo>
                  <a:pt x="742" y="1349"/>
                </a:lnTo>
                <a:lnTo>
                  <a:pt x="733" y="1318"/>
                </a:lnTo>
                <a:lnTo>
                  <a:pt x="724" y="1291"/>
                </a:lnTo>
                <a:lnTo>
                  <a:pt x="719" y="1267"/>
                </a:lnTo>
                <a:lnTo>
                  <a:pt x="722" y="1056"/>
                </a:lnTo>
                <a:lnTo>
                  <a:pt x="702" y="1000"/>
                </a:lnTo>
                <a:lnTo>
                  <a:pt x="699" y="974"/>
                </a:lnTo>
                <a:lnTo>
                  <a:pt x="697" y="945"/>
                </a:lnTo>
                <a:lnTo>
                  <a:pt x="695" y="914"/>
                </a:lnTo>
                <a:lnTo>
                  <a:pt x="695" y="884"/>
                </a:lnTo>
                <a:lnTo>
                  <a:pt x="691" y="854"/>
                </a:lnTo>
                <a:lnTo>
                  <a:pt x="684" y="831"/>
                </a:lnTo>
                <a:lnTo>
                  <a:pt x="671" y="813"/>
                </a:lnTo>
                <a:lnTo>
                  <a:pt x="668" y="809"/>
                </a:lnTo>
                <a:lnTo>
                  <a:pt x="668" y="889"/>
                </a:lnTo>
                <a:lnTo>
                  <a:pt x="653" y="927"/>
                </a:lnTo>
                <a:lnTo>
                  <a:pt x="644" y="969"/>
                </a:lnTo>
                <a:lnTo>
                  <a:pt x="642" y="1014"/>
                </a:lnTo>
                <a:lnTo>
                  <a:pt x="642" y="1060"/>
                </a:lnTo>
                <a:lnTo>
                  <a:pt x="648" y="1105"/>
                </a:lnTo>
                <a:lnTo>
                  <a:pt x="655" y="1149"/>
                </a:lnTo>
                <a:lnTo>
                  <a:pt x="662" y="1187"/>
                </a:lnTo>
                <a:lnTo>
                  <a:pt x="728" y="1620"/>
                </a:lnTo>
                <a:lnTo>
                  <a:pt x="730" y="1656"/>
                </a:lnTo>
                <a:lnTo>
                  <a:pt x="728" y="1698"/>
                </a:lnTo>
                <a:lnTo>
                  <a:pt x="722" y="1744"/>
                </a:lnTo>
                <a:lnTo>
                  <a:pt x="717" y="1789"/>
                </a:lnTo>
                <a:lnTo>
                  <a:pt x="710" y="1836"/>
                </a:lnTo>
                <a:lnTo>
                  <a:pt x="708" y="1882"/>
                </a:lnTo>
                <a:lnTo>
                  <a:pt x="708" y="1924"/>
                </a:lnTo>
                <a:lnTo>
                  <a:pt x="713" y="1974"/>
                </a:lnTo>
                <a:lnTo>
                  <a:pt x="722" y="2027"/>
                </a:lnTo>
                <a:lnTo>
                  <a:pt x="733" y="2082"/>
                </a:lnTo>
                <a:lnTo>
                  <a:pt x="744" y="2140"/>
                </a:lnTo>
                <a:lnTo>
                  <a:pt x="751" y="2198"/>
                </a:lnTo>
                <a:lnTo>
                  <a:pt x="753" y="2256"/>
                </a:lnTo>
                <a:lnTo>
                  <a:pt x="748" y="2313"/>
                </a:lnTo>
                <a:lnTo>
                  <a:pt x="731" y="2387"/>
                </a:lnTo>
                <a:lnTo>
                  <a:pt x="715" y="2458"/>
                </a:lnTo>
                <a:lnTo>
                  <a:pt x="699" y="2531"/>
                </a:lnTo>
                <a:lnTo>
                  <a:pt x="684" y="2607"/>
                </a:lnTo>
                <a:lnTo>
                  <a:pt x="671" y="2687"/>
                </a:lnTo>
                <a:lnTo>
                  <a:pt x="670" y="2727"/>
                </a:lnTo>
                <a:lnTo>
                  <a:pt x="675" y="2762"/>
                </a:lnTo>
                <a:lnTo>
                  <a:pt x="684" y="2796"/>
                </a:lnTo>
                <a:lnTo>
                  <a:pt x="697" y="2829"/>
                </a:lnTo>
                <a:lnTo>
                  <a:pt x="710" y="2862"/>
                </a:lnTo>
                <a:lnTo>
                  <a:pt x="722" y="2894"/>
                </a:lnTo>
                <a:lnTo>
                  <a:pt x="731" y="2927"/>
                </a:lnTo>
                <a:lnTo>
                  <a:pt x="735" y="2964"/>
                </a:lnTo>
                <a:lnTo>
                  <a:pt x="699" y="2980"/>
                </a:lnTo>
                <a:lnTo>
                  <a:pt x="659" y="2989"/>
                </a:lnTo>
                <a:lnTo>
                  <a:pt x="615" y="2991"/>
                </a:lnTo>
                <a:lnTo>
                  <a:pt x="568" y="2989"/>
                </a:lnTo>
                <a:lnTo>
                  <a:pt x="559" y="2962"/>
                </a:lnTo>
                <a:lnTo>
                  <a:pt x="551" y="2929"/>
                </a:lnTo>
                <a:lnTo>
                  <a:pt x="548" y="2894"/>
                </a:lnTo>
                <a:lnTo>
                  <a:pt x="551" y="2856"/>
                </a:lnTo>
                <a:lnTo>
                  <a:pt x="555" y="2784"/>
                </a:lnTo>
                <a:lnTo>
                  <a:pt x="551" y="2773"/>
                </a:lnTo>
                <a:lnTo>
                  <a:pt x="546" y="2760"/>
                </a:lnTo>
                <a:lnTo>
                  <a:pt x="542" y="2745"/>
                </a:lnTo>
                <a:lnTo>
                  <a:pt x="542" y="2727"/>
                </a:lnTo>
                <a:lnTo>
                  <a:pt x="551" y="2696"/>
                </a:lnTo>
                <a:lnTo>
                  <a:pt x="560" y="2664"/>
                </a:lnTo>
                <a:lnTo>
                  <a:pt x="570" y="2627"/>
                </a:lnTo>
                <a:lnTo>
                  <a:pt x="575" y="2589"/>
                </a:lnTo>
                <a:lnTo>
                  <a:pt x="577" y="2545"/>
                </a:lnTo>
                <a:lnTo>
                  <a:pt x="571" y="2500"/>
                </a:lnTo>
                <a:lnTo>
                  <a:pt x="560" y="2453"/>
                </a:lnTo>
                <a:lnTo>
                  <a:pt x="550" y="2402"/>
                </a:lnTo>
                <a:lnTo>
                  <a:pt x="539" y="2349"/>
                </a:lnTo>
                <a:lnTo>
                  <a:pt x="535" y="2294"/>
                </a:lnTo>
                <a:lnTo>
                  <a:pt x="539" y="2240"/>
                </a:lnTo>
                <a:lnTo>
                  <a:pt x="559" y="2116"/>
                </a:lnTo>
                <a:lnTo>
                  <a:pt x="548" y="2076"/>
                </a:lnTo>
                <a:lnTo>
                  <a:pt x="531" y="2036"/>
                </a:lnTo>
                <a:lnTo>
                  <a:pt x="515" y="1994"/>
                </a:lnTo>
                <a:lnTo>
                  <a:pt x="502" y="1953"/>
                </a:lnTo>
                <a:lnTo>
                  <a:pt x="491" y="1784"/>
                </a:lnTo>
                <a:lnTo>
                  <a:pt x="439" y="1540"/>
                </a:lnTo>
                <a:lnTo>
                  <a:pt x="431" y="1540"/>
                </a:lnTo>
                <a:lnTo>
                  <a:pt x="426" y="1556"/>
                </a:lnTo>
                <a:lnTo>
                  <a:pt x="422" y="1576"/>
                </a:lnTo>
                <a:lnTo>
                  <a:pt x="422" y="1600"/>
                </a:lnTo>
                <a:lnTo>
                  <a:pt x="406" y="1642"/>
                </a:lnTo>
                <a:lnTo>
                  <a:pt x="397" y="1685"/>
                </a:lnTo>
                <a:lnTo>
                  <a:pt x="391" y="1733"/>
                </a:lnTo>
                <a:lnTo>
                  <a:pt x="390" y="1782"/>
                </a:lnTo>
                <a:lnTo>
                  <a:pt x="386" y="1833"/>
                </a:lnTo>
                <a:lnTo>
                  <a:pt x="382" y="1885"/>
                </a:lnTo>
                <a:lnTo>
                  <a:pt x="375" y="1936"/>
                </a:lnTo>
                <a:lnTo>
                  <a:pt x="362" y="1985"/>
                </a:lnTo>
                <a:lnTo>
                  <a:pt x="346" y="2031"/>
                </a:lnTo>
                <a:lnTo>
                  <a:pt x="330" y="2076"/>
                </a:lnTo>
                <a:lnTo>
                  <a:pt x="319" y="2120"/>
                </a:lnTo>
                <a:lnTo>
                  <a:pt x="339" y="2209"/>
                </a:lnTo>
                <a:lnTo>
                  <a:pt x="339" y="2364"/>
                </a:lnTo>
                <a:lnTo>
                  <a:pt x="331" y="2400"/>
                </a:lnTo>
                <a:lnTo>
                  <a:pt x="322" y="2438"/>
                </a:lnTo>
                <a:lnTo>
                  <a:pt x="315" y="2482"/>
                </a:lnTo>
                <a:lnTo>
                  <a:pt x="311" y="2525"/>
                </a:lnTo>
                <a:lnTo>
                  <a:pt x="315" y="2569"/>
                </a:lnTo>
                <a:lnTo>
                  <a:pt x="319" y="2664"/>
                </a:lnTo>
                <a:lnTo>
                  <a:pt x="348" y="2727"/>
                </a:lnTo>
                <a:lnTo>
                  <a:pt x="348" y="2744"/>
                </a:lnTo>
                <a:lnTo>
                  <a:pt x="344" y="2758"/>
                </a:lnTo>
                <a:lnTo>
                  <a:pt x="339" y="2773"/>
                </a:lnTo>
                <a:lnTo>
                  <a:pt x="335" y="2784"/>
                </a:lnTo>
                <a:lnTo>
                  <a:pt x="331" y="2822"/>
                </a:lnTo>
                <a:lnTo>
                  <a:pt x="333" y="2862"/>
                </a:lnTo>
                <a:lnTo>
                  <a:pt x="335" y="2902"/>
                </a:lnTo>
                <a:lnTo>
                  <a:pt x="337" y="2944"/>
                </a:lnTo>
                <a:lnTo>
                  <a:pt x="331" y="2984"/>
                </a:lnTo>
                <a:lnTo>
                  <a:pt x="322" y="2984"/>
                </a:lnTo>
                <a:lnTo>
                  <a:pt x="304" y="2993"/>
                </a:lnTo>
                <a:lnTo>
                  <a:pt x="280" y="2998"/>
                </a:lnTo>
                <a:lnTo>
                  <a:pt x="257" y="2998"/>
                </a:lnTo>
                <a:lnTo>
                  <a:pt x="233" y="2996"/>
                </a:lnTo>
                <a:lnTo>
                  <a:pt x="210" y="2989"/>
                </a:lnTo>
                <a:lnTo>
                  <a:pt x="190" y="2980"/>
                </a:lnTo>
                <a:lnTo>
                  <a:pt x="173" y="2965"/>
                </a:lnTo>
                <a:lnTo>
                  <a:pt x="162" y="2949"/>
                </a:lnTo>
                <a:lnTo>
                  <a:pt x="159" y="2929"/>
                </a:lnTo>
                <a:lnTo>
                  <a:pt x="179" y="2885"/>
                </a:lnTo>
                <a:lnTo>
                  <a:pt x="195" y="2838"/>
                </a:lnTo>
                <a:lnTo>
                  <a:pt x="206" y="2784"/>
                </a:lnTo>
                <a:lnTo>
                  <a:pt x="211" y="2727"/>
                </a:lnTo>
                <a:lnTo>
                  <a:pt x="213" y="2671"/>
                </a:lnTo>
                <a:lnTo>
                  <a:pt x="210" y="2613"/>
                </a:lnTo>
                <a:lnTo>
                  <a:pt x="202" y="2556"/>
                </a:lnTo>
                <a:lnTo>
                  <a:pt x="191" y="2504"/>
                </a:lnTo>
                <a:lnTo>
                  <a:pt x="179" y="2467"/>
                </a:lnTo>
                <a:lnTo>
                  <a:pt x="166" y="2431"/>
                </a:lnTo>
                <a:lnTo>
                  <a:pt x="153" y="2389"/>
                </a:lnTo>
                <a:lnTo>
                  <a:pt x="140" y="2347"/>
                </a:lnTo>
                <a:lnTo>
                  <a:pt x="133" y="2302"/>
                </a:lnTo>
                <a:lnTo>
                  <a:pt x="130" y="2254"/>
                </a:lnTo>
                <a:lnTo>
                  <a:pt x="135" y="2204"/>
                </a:lnTo>
                <a:lnTo>
                  <a:pt x="142" y="2165"/>
                </a:lnTo>
                <a:lnTo>
                  <a:pt x="151" y="2120"/>
                </a:lnTo>
                <a:lnTo>
                  <a:pt x="159" y="2071"/>
                </a:lnTo>
                <a:lnTo>
                  <a:pt x="166" y="2022"/>
                </a:lnTo>
                <a:lnTo>
                  <a:pt x="171" y="1971"/>
                </a:lnTo>
                <a:lnTo>
                  <a:pt x="171" y="1924"/>
                </a:lnTo>
                <a:lnTo>
                  <a:pt x="168" y="1880"/>
                </a:lnTo>
                <a:lnTo>
                  <a:pt x="162" y="1847"/>
                </a:lnTo>
                <a:lnTo>
                  <a:pt x="157" y="1809"/>
                </a:lnTo>
                <a:lnTo>
                  <a:pt x="151" y="1765"/>
                </a:lnTo>
                <a:lnTo>
                  <a:pt x="148" y="1718"/>
                </a:lnTo>
                <a:lnTo>
                  <a:pt x="144" y="1673"/>
                </a:lnTo>
                <a:lnTo>
                  <a:pt x="142" y="1629"/>
                </a:lnTo>
                <a:lnTo>
                  <a:pt x="144" y="1591"/>
                </a:lnTo>
                <a:lnTo>
                  <a:pt x="148" y="1560"/>
                </a:lnTo>
                <a:lnTo>
                  <a:pt x="195" y="1224"/>
                </a:lnTo>
                <a:lnTo>
                  <a:pt x="204" y="1189"/>
                </a:lnTo>
                <a:lnTo>
                  <a:pt x="213" y="1153"/>
                </a:lnTo>
                <a:lnTo>
                  <a:pt x="222" y="1113"/>
                </a:lnTo>
                <a:lnTo>
                  <a:pt x="226" y="1071"/>
                </a:lnTo>
                <a:lnTo>
                  <a:pt x="222" y="1029"/>
                </a:lnTo>
                <a:lnTo>
                  <a:pt x="199" y="904"/>
                </a:lnTo>
                <a:lnTo>
                  <a:pt x="195" y="809"/>
                </a:lnTo>
                <a:lnTo>
                  <a:pt x="191" y="813"/>
                </a:lnTo>
                <a:lnTo>
                  <a:pt x="180" y="836"/>
                </a:lnTo>
                <a:lnTo>
                  <a:pt x="175" y="865"/>
                </a:lnTo>
                <a:lnTo>
                  <a:pt x="171" y="896"/>
                </a:lnTo>
                <a:lnTo>
                  <a:pt x="171" y="929"/>
                </a:lnTo>
                <a:lnTo>
                  <a:pt x="168" y="962"/>
                </a:lnTo>
                <a:lnTo>
                  <a:pt x="162" y="993"/>
                </a:lnTo>
                <a:lnTo>
                  <a:pt x="139" y="1067"/>
                </a:lnTo>
                <a:lnTo>
                  <a:pt x="135" y="1107"/>
                </a:lnTo>
                <a:lnTo>
                  <a:pt x="135" y="1147"/>
                </a:lnTo>
                <a:lnTo>
                  <a:pt x="140" y="1189"/>
                </a:lnTo>
                <a:lnTo>
                  <a:pt x="144" y="1229"/>
                </a:lnTo>
                <a:lnTo>
                  <a:pt x="144" y="1269"/>
                </a:lnTo>
                <a:lnTo>
                  <a:pt x="139" y="1309"/>
                </a:lnTo>
                <a:lnTo>
                  <a:pt x="135" y="1325"/>
                </a:lnTo>
                <a:lnTo>
                  <a:pt x="128" y="1347"/>
                </a:lnTo>
                <a:lnTo>
                  <a:pt x="119" y="1373"/>
                </a:lnTo>
                <a:lnTo>
                  <a:pt x="110" y="1402"/>
                </a:lnTo>
                <a:lnTo>
                  <a:pt x="102" y="1429"/>
                </a:lnTo>
                <a:lnTo>
                  <a:pt x="99" y="1456"/>
                </a:lnTo>
                <a:lnTo>
                  <a:pt x="97" y="1480"/>
                </a:lnTo>
                <a:lnTo>
                  <a:pt x="99" y="1500"/>
                </a:lnTo>
                <a:lnTo>
                  <a:pt x="128" y="1544"/>
                </a:lnTo>
                <a:lnTo>
                  <a:pt x="122" y="1656"/>
                </a:lnTo>
                <a:lnTo>
                  <a:pt x="108" y="1660"/>
                </a:lnTo>
                <a:lnTo>
                  <a:pt x="99" y="1640"/>
                </a:lnTo>
                <a:lnTo>
                  <a:pt x="91" y="1616"/>
                </a:lnTo>
                <a:lnTo>
                  <a:pt x="68" y="1607"/>
                </a:lnTo>
                <a:lnTo>
                  <a:pt x="62" y="1636"/>
                </a:lnTo>
                <a:lnTo>
                  <a:pt x="82" y="1656"/>
                </a:lnTo>
                <a:lnTo>
                  <a:pt x="104" y="1678"/>
                </a:lnTo>
                <a:lnTo>
                  <a:pt x="119" y="1700"/>
                </a:lnTo>
                <a:lnTo>
                  <a:pt x="115" y="1702"/>
                </a:lnTo>
                <a:lnTo>
                  <a:pt x="111" y="1702"/>
                </a:lnTo>
                <a:lnTo>
                  <a:pt x="110" y="1702"/>
                </a:lnTo>
                <a:lnTo>
                  <a:pt x="110" y="1704"/>
                </a:lnTo>
                <a:lnTo>
                  <a:pt x="110" y="1704"/>
                </a:lnTo>
                <a:lnTo>
                  <a:pt x="110" y="1705"/>
                </a:lnTo>
                <a:lnTo>
                  <a:pt x="108" y="1707"/>
                </a:lnTo>
                <a:lnTo>
                  <a:pt x="108" y="1713"/>
                </a:lnTo>
                <a:lnTo>
                  <a:pt x="119" y="1718"/>
                </a:lnTo>
                <a:lnTo>
                  <a:pt x="124" y="1729"/>
                </a:lnTo>
                <a:lnTo>
                  <a:pt x="128" y="1744"/>
                </a:lnTo>
                <a:lnTo>
                  <a:pt x="124" y="1749"/>
                </a:lnTo>
                <a:lnTo>
                  <a:pt x="122" y="1754"/>
                </a:lnTo>
                <a:lnTo>
                  <a:pt x="119" y="1760"/>
                </a:lnTo>
                <a:lnTo>
                  <a:pt x="115" y="1764"/>
                </a:lnTo>
                <a:lnTo>
                  <a:pt x="95" y="1751"/>
                </a:lnTo>
                <a:lnTo>
                  <a:pt x="75" y="1740"/>
                </a:lnTo>
                <a:lnTo>
                  <a:pt x="57" y="1729"/>
                </a:lnTo>
                <a:lnTo>
                  <a:pt x="39" y="1714"/>
                </a:lnTo>
                <a:lnTo>
                  <a:pt x="24" y="1696"/>
                </a:lnTo>
                <a:lnTo>
                  <a:pt x="11" y="1673"/>
                </a:lnTo>
                <a:lnTo>
                  <a:pt x="2" y="1640"/>
                </a:lnTo>
                <a:lnTo>
                  <a:pt x="2" y="1607"/>
                </a:lnTo>
                <a:lnTo>
                  <a:pt x="6" y="1574"/>
                </a:lnTo>
                <a:lnTo>
                  <a:pt x="11" y="1540"/>
                </a:lnTo>
                <a:lnTo>
                  <a:pt x="17" y="1505"/>
                </a:lnTo>
                <a:lnTo>
                  <a:pt x="19" y="1473"/>
                </a:lnTo>
                <a:lnTo>
                  <a:pt x="2" y="1140"/>
                </a:lnTo>
                <a:lnTo>
                  <a:pt x="0" y="1105"/>
                </a:lnTo>
                <a:lnTo>
                  <a:pt x="2" y="1071"/>
                </a:lnTo>
                <a:lnTo>
                  <a:pt x="8" y="1038"/>
                </a:lnTo>
                <a:lnTo>
                  <a:pt x="13" y="1005"/>
                </a:lnTo>
                <a:lnTo>
                  <a:pt x="15" y="969"/>
                </a:lnTo>
                <a:lnTo>
                  <a:pt x="11" y="933"/>
                </a:lnTo>
                <a:lnTo>
                  <a:pt x="8" y="904"/>
                </a:lnTo>
                <a:lnTo>
                  <a:pt x="6" y="867"/>
                </a:lnTo>
                <a:lnTo>
                  <a:pt x="8" y="825"/>
                </a:lnTo>
                <a:lnTo>
                  <a:pt x="11" y="782"/>
                </a:lnTo>
                <a:lnTo>
                  <a:pt x="17" y="736"/>
                </a:lnTo>
                <a:lnTo>
                  <a:pt x="22" y="693"/>
                </a:lnTo>
                <a:lnTo>
                  <a:pt x="30" y="653"/>
                </a:lnTo>
                <a:lnTo>
                  <a:pt x="39" y="616"/>
                </a:lnTo>
                <a:lnTo>
                  <a:pt x="46" y="587"/>
                </a:lnTo>
                <a:lnTo>
                  <a:pt x="55" y="567"/>
                </a:lnTo>
                <a:lnTo>
                  <a:pt x="75" y="544"/>
                </a:lnTo>
                <a:lnTo>
                  <a:pt x="99" y="524"/>
                </a:lnTo>
                <a:lnTo>
                  <a:pt x="128" y="509"/>
                </a:lnTo>
                <a:lnTo>
                  <a:pt x="159" y="496"/>
                </a:lnTo>
                <a:lnTo>
                  <a:pt x="191" y="485"/>
                </a:lnTo>
                <a:lnTo>
                  <a:pt x="224" y="476"/>
                </a:lnTo>
                <a:lnTo>
                  <a:pt x="257" y="465"/>
                </a:lnTo>
                <a:lnTo>
                  <a:pt x="288" y="453"/>
                </a:lnTo>
                <a:lnTo>
                  <a:pt x="315" y="436"/>
                </a:lnTo>
                <a:lnTo>
                  <a:pt x="339" y="416"/>
                </a:lnTo>
                <a:lnTo>
                  <a:pt x="339" y="391"/>
                </a:lnTo>
                <a:lnTo>
                  <a:pt x="340" y="364"/>
                </a:lnTo>
                <a:lnTo>
                  <a:pt x="340" y="336"/>
                </a:lnTo>
                <a:lnTo>
                  <a:pt x="339" y="311"/>
                </a:lnTo>
                <a:lnTo>
                  <a:pt x="331" y="293"/>
                </a:lnTo>
                <a:lnTo>
                  <a:pt x="322" y="280"/>
                </a:lnTo>
                <a:lnTo>
                  <a:pt x="313" y="269"/>
                </a:lnTo>
                <a:lnTo>
                  <a:pt x="304" y="254"/>
                </a:lnTo>
                <a:lnTo>
                  <a:pt x="299" y="236"/>
                </a:lnTo>
                <a:lnTo>
                  <a:pt x="299" y="224"/>
                </a:lnTo>
                <a:lnTo>
                  <a:pt x="302" y="214"/>
                </a:lnTo>
                <a:lnTo>
                  <a:pt x="306" y="207"/>
                </a:lnTo>
                <a:lnTo>
                  <a:pt x="311" y="200"/>
                </a:lnTo>
                <a:lnTo>
                  <a:pt x="315" y="193"/>
                </a:lnTo>
                <a:lnTo>
                  <a:pt x="302" y="133"/>
                </a:lnTo>
                <a:lnTo>
                  <a:pt x="313" y="104"/>
                </a:lnTo>
                <a:lnTo>
                  <a:pt x="330" y="74"/>
                </a:lnTo>
                <a:lnTo>
                  <a:pt x="353" y="47"/>
                </a:lnTo>
                <a:lnTo>
                  <a:pt x="380" y="25"/>
                </a:lnTo>
                <a:lnTo>
                  <a:pt x="410" y="9"/>
                </a:lnTo>
                <a:lnTo>
                  <a:pt x="43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ko-KR" altLang="en-US"/>
          </a:p>
        </p:txBody>
      </p:sp>
      <p:grpSp>
        <p:nvGrpSpPr>
          <p:cNvPr id="86" name="Group 14">
            <a:extLst>
              <a:ext uri="{FF2B5EF4-FFF2-40B4-BE49-F238E27FC236}">
                <a16:creationId xmlns:a16="http://schemas.microsoft.com/office/drawing/2014/main" id="{4294D070-DBD0-044B-B21C-6BA181B10894}"/>
              </a:ext>
            </a:extLst>
          </p:cNvPr>
          <p:cNvGrpSpPr/>
          <p:nvPr/>
        </p:nvGrpSpPr>
        <p:grpSpPr>
          <a:xfrm>
            <a:off x="8859089" y="1625993"/>
            <a:ext cx="1052368" cy="3696329"/>
            <a:chOff x="4058860" y="987781"/>
            <a:chExt cx="1052368" cy="3696329"/>
          </a:xfrm>
        </p:grpSpPr>
        <p:sp>
          <p:nvSpPr>
            <p:cNvPr id="87" name="Rectangle 8">
              <a:extLst>
                <a:ext uri="{FF2B5EF4-FFF2-40B4-BE49-F238E27FC236}">
                  <a16:creationId xmlns:a16="http://schemas.microsoft.com/office/drawing/2014/main" id="{7AD9AB51-B557-8A4F-9381-39D442AF2F6A}"/>
                </a:ext>
              </a:extLst>
            </p:cNvPr>
            <p:cNvSpPr/>
            <p:nvPr/>
          </p:nvSpPr>
          <p:spPr>
            <a:xfrm rot="36931">
              <a:off x="4276045" y="3801165"/>
              <a:ext cx="592195" cy="863021"/>
            </a:xfrm>
            <a:custGeom>
              <a:avLst/>
              <a:gdLst/>
              <a:ahLst/>
              <a:cxnLst/>
              <a:rect l="l" t="t" r="r" b="b"/>
              <a:pathLst>
                <a:path w="1802378" h="1800199">
                  <a:moveTo>
                    <a:pt x="0" y="0"/>
                  </a:moveTo>
                  <a:lnTo>
                    <a:pt x="1802378" y="0"/>
                  </a:lnTo>
                  <a:lnTo>
                    <a:pt x="1802378" y="289727"/>
                  </a:lnTo>
                  <a:lnTo>
                    <a:pt x="1801366" y="289727"/>
                  </a:lnTo>
                  <a:lnTo>
                    <a:pt x="901188" y="1800199"/>
                  </a:lnTo>
                  <a:lnTo>
                    <a:pt x="1012" y="289727"/>
                  </a:lnTo>
                  <a:lnTo>
                    <a:pt x="0" y="289727"/>
                  </a:lnTo>
                  <a:lnTo>
                    <a:pt x="0" y="288030"/>
                  </a:lnTo>
                  <a:close/>
                </a:path>
              </a:pathLst>
            </a:custGeom>
            <a:gradFill>
              <a:gsLst>
                <a:gs pos="0">
                  <a:schemeClr val="accent2">
                    <a:lumMod val="70000"/>
                    <a:lumOff val="30000"/>
                  </a:schemeClr>
                </a:gs>
                <a:gs pos="100000">
                  <a:schemeClr val="accent2">
                    <a:lumMod val="70000"/>
                    <a:lumOff val="3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8" name="Rectangle 8">
              <a:extLst>
                <a:ext uri="{FF2B5EF4-FFF2-40B4-BE49-F238E27FC236}">
                  <a16:creationId xmlns:a16="http://schemas.microsoft.com/office/drawing/2014/main" id="{A5DE8735-EB2D-9743-88E5-394DAEA7BA3B}"/>
                </a:ext>
              </a:extLst>
            </p:cNvPr>
            <p:cNvSpPr/>
            <p:nvPr/>
          </p:nvSpPr>
          <p:spPr>
            <a:xfrm>
              <a:off x="4468857" y="3793500"/>
              <a:ext cx="200342" cy="872829"/>
            </a:xfrm>
            <a:custGeom>
              <a:avLst/>
              <a:gdLst>
                <a:gd name="connsiteX0" fmla="*/ 0 w 1359043"/>
                <a:gd name="connsiteY0" fmla="*/ 0 h 1813992"/>
                <a:gd name="connsiteX1" fmla="*/ 1359043 w 1359043"/>
                <a:gd name="connsiteY1" fmla="*/ 0 h 1813992"/>
                <a:gd name="connsiteX2" fmla="*/ 1359043 w 1359043"/>
                <a:gd name="connsiteY2" fmla="*/ 212596 h 1813992"/>
                <a:gd name="connsiteX3" fmla="*/ 806822 w 1359043"/>
                <a:gd name="connsiteY3" fmla="*/ 1813992 h 1813992"/>
                <a:gd name="connsiteX4" fmla="*/ 1012 w 1359043"/>
                <a:gd name="connsiteY4" fmla="*/ 289727 h 1813992"/>
                <a:gd name="connsiteX5" fmla="*/ 0 w 1359043"/>
                <a:gd name="connsiteY5" fmla="*/ 289727 h 1813992"/>
                <a:gd name="connsiteX6" fmla="*/ 0 w 1359043"/>
                <a:gd name="connsiteY6" fmla="*/ 288030 h 1813992"/>
                <a:gd name="connsiteX7" fmla="*/ 0 w 1359043"/>
                <a:gd name="connsiteY7" fmla="*/ 0 h 1813992"/>
                <a:gd name="connsiteX0" fmla="*/ 0 w 1359043"/>
                <a:gd name="connsiteY0" fmla="*/ 0 h 1820658"/>
                <a:gd name="connsiteX1" fmla="*/ 1359043 w 1359043"/>
                <a:gd name="connsiteY1" fmla="*/ 0 h 1820658"/>
                <a:gd name="connsiteX2" fmla="*/ 1359043 w 1359043"/>
                <a:gd name="connsiteY2" fmla="*/ 212596 h 1820658"/>
                <a:gd name="connsiteX3" fmla="*/ 720119 w 1359043"/>
                <a:gd name="connsiteY3" fmla="*/ 1820658 h 1820658"/>
                <a:gd name="connsiteX4" fmla="*/ 1012 w 1359043"/>
                <a:gd name="connsiteY4" fmla="*/ 289727 h 1820658"/>
                <a:gd name="connsiteX5" fmla="*/ 0 w 1359043"/>
                <a:gd name="connsiteY5" fmla="*/ 289727 h 1820658"/>
                <a:gd name="connsiteX6" fmla="*/ 0 w 1359043"/>
                <a:gd name="connsiteY6" fmla="*/ 288030 h 1820658"/>
                <a:gd name="connsiteX7" fmla="*/ 0 w 1359043"/>
                <a:gd name="connsiteY7" fmla="*/ 0 h 182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9043" h="1820658">
                  <a:moveTo>
                    <a:pt x="0" y="0"/>
                  </a:moveTo>
                  <a:lnTo>
                    <a:pt x="1359043" y="0"/>
                  </a:lnTo>
                  <a:lnTo>
                    <a:pt x="1359043" y="212596"/>
                  </a:lnTo>
                  <a:lnTo>
                    <a:pt x="720119" y="1820658"/>
                  </a:lnTo>
                  <a:lnTo>
                    <a:pt x="1012" y="289727"/>
                  </a:lnTo>
                  <a:lnTo>
                    <a:pt x="0" y="289727"/>
                  </a:lnTo>
                  <a:lnTo>
                    <a:pt x="0" y="288030"/>
                  </a:lnTo>
                  <a:lnTo>
                    <a:pt x="0" y="0"/>
                  </a:lnTo>
                  <a:close/>
                </a:path>
              </a:pathLst>
            </a:custGeom>
            <a:gradFill>
              <a:gsLst>
                <a:gs pos="0">
                  <a:schemeClr val="accent2">
                    <a:lumMod val="50000"/>
                    <a:lumOff val="50000"/>
                  </a:schemeClr>
                </a:gs>
                <a:gs pos="100000">
                  <a:schemeClr val="accent2">
                    <a:lumMod val="50000"/>
                    <a:lumOff val="5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9" name="Rectangle 2">
              <a:extLst>
                <a:ext uri="{FF2B5EF4-FFF2-40B4-BE49-F238E27FC236}">
                  <a16:creationId xmlns:a16="http://schemas.microsoft.com/office/drawing/2014/main" id="{124974F1-C63C-8C46-9C94-6754D2AAA065}"/>
                </a:ext>
              </a:extLst>
            </p:cNvPr>
            <p:cNvSpPr/>
            <p:nvPr/>
          </p:nvSpPr>
          <p:spPr>
            <a:xfrm>
              <a:off x="4291066" y="1891296"/>
              <a:ext cx="196906" cy="2011393"/>
            </a:xfrm>
            <a:custGeom>
              <a:avLst/>
              <a:gdLst/>
              <a:ahLst/>
              <a:cxnLst/>
              <a:rect l="l" t="t" r="r" b="b"/>
              <a:pathLst>
                <a:path w="196906" h="2011393">
                  <a:moveTo>
                    <a:pt x="0" y="0"/>
                  </a:moveTo>
                  <a:lnTo>
                    <a:pt x="99616" y="0"/>
                  </a:lnTo>
                  <a:lnTo>
                    <a:pt x="196906" y="63491"/>
                  </a:lnTo>
                  <a:lnTo>
                    <a:pt x="196906" y="2011393"/>
                  </a:lnTo>
                  <a:lnTo>
                    <a:pt x="193201" y="2011393"/>
                  </a:lnTo>
                  <a:cubicBezTo>
                    <a:pt x="183184" y="1954476"/>
                    <a:pt x="144512" y="1912472"/>
                    <a:pt x="98453" y="1912472"/>
                  </a:cubicBezTo>
                  <a:cubicBezTo>
                    <a:pt x="52394" y="1912472"/>
                    <a:pt x="13723" y="1954476"/>
                    <a:pt x="3706" y="2011393"/>
                  </a:cubicBezTo>
                  <a:lnTo>
                    <a:pt x="0" y="2011393"/>
                  </a:lnTo>
                  <a:close/>
                </a:path>
              </a:pathLst>
            </a:custGeom>
            <a:gradFill>
              <a:gsLst>
                <a:gs pos="0">
                  <a:schemeClr val="accent1">
                    <a:lumMod val="30000"/>
                    <a:lumOff val="70000"/>
                  </a:schemeClr>
                </a:gs>
                <a:gs pos="100000">
                  <a:schemeClr val="accent1">
                    <a:lumMod val="30000"/>
                    <a:lumOff val="7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0" name="Rectangle 2">
              <a:extLst>
                <a:ext uri="{FF2B5EF4-FFF2-40B4-BE49-F238E27FC236}">
                  <a16:creationId xmlns:a16="http://schemas.microsoft.com/office/drawing/2014/main" id="{2659E56D-3415-AF40-925A-73CCA12DDE22}"/>
                </a:ext>
              </a:extLst>
            </p:cNvPr>
            <p:cNvSpPr/>
            <p:nvPr/>
          </p:nvSpPr>
          <p:spPr>
            <a:xfrm>
              <a:off x="4486591" y="1953886"/>
              <a:ext cx="196906" cy="1950905"/>
            </a:xfrm>
            <a:custGeom>
              <a:avLst/>
              <a:gdLst/>
              <a:ahLst/>
              <a:cxnLst/>
              <a:rect l="l" t="t" r="r" b="b"/>
              <a:pathLst>
                <a:path w="196906" h="1950905">
                  <a:moveTo>
                    <a:pt x="0" y="0"/>
                  </a:moveTo>
                  <a:lnTo>
                    <a:pt x="101941" y="66527"/>
                  </a:lnTo>
                  <a:lnTo>
                    <a:pt x="196906" y="4552"/>
                  </a:lnTo>
                  <a:lnTo>
                    <a:pt x="196906" y="1950905"/>
                  </a:lnTo>
                  <a:lnTo>
                    <a:pt x="193201" y="1950905"/>
                  </a:lnTo>
                  <a:cubicBezTo>
                    <a:pt x="183184" y="1893988"/>
                    <a:pt x="144512" y="1851984"/>
                    <a:pt x="98453" y="1851984"/>
                  </a:cubicBezTo>
                  <a:cubicBezTo>
                    <a:pt x="52394" y="1851984"/>
                    <a:pt x="13723" y="1893988"/>
                    <a:pt x="3706" y="1950905"/>
                  </a:cubicBezTo>
                  <a:lnTo>
                    <a:pt x="0" y="1950905"/>
                  </a:lnTo>
                  <a:close/>
                </a:path>
              </a:pathLst>
            </a:custGeom>
            <a:gradFill>
              <a:gsLst>
                <a:gs pos="0">
                  <a:schemeClr val="accent1">
                    <a:lumMod val="50000"/>
                    <a:lumOff val="50000"/>
                  </a:schemeClr>
                </a:gs>
                <a:gs pos="100000">
                  <a:schemeClr val="accent1">
                    <a:lumMod val="50000"/>
                    <a:lumOff val="5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Rectangle 2">
              <a:extLst>
                <a:ext uri="{FF2B5EF4-FFF2-40B4-BE49-F238E27FC236}">
                  <a16:creationId xmlns:a16="http://schemas.microsoft.com/office/drawing/2014/main" id="{32B9DC10-6B69-E148-B00D-528682C442B8}"/>
                </a:ext>
              </a:extLst>
            </p:cNvPr>
            <p:cNvSpPr/>
            <p:nvPr/>
          </p:nvSpPr>
          <p:spPr>
            <a:xfrm>
              <a:off x="4683483" y="1895514"/>
              <a:ext cx="196906" cy="2011393"/>
            </a:xfrm>
            <a:custGeom>
              <a:avLst/>
              <a:gdLst/>
              <a:ahLst/>
              <a:cxnLst/>
              <a:rect l="l" t="t" r="r" b="b"/>
              <a:pathLst>
                <a:path w="196906" h="2011393">
                  <a:moveTo>
                    <a:pt x="96435" y="0"/>
                  </a:moveTo>
                  <a:lnTo>
                    <a:pt x="196906" y="0"/>
                  </a:lnTo>
                  <a:lnTo>
                    <a:pt x="196906" y="2011393"/>
                  </a:lnTo>
                  <a:lnTo>
                    <a:pt x="193201" y="2011393"/>
                  </a:lnTo>
                  <a:cubicBezTo>
                    <a:pt x="183184" y="1954476"/>
                    <a:pt x="144512" y="1912472"/>
                    <a:pt x="98453" y="1912472"/>
                  </a:cubicBezTo>
                  <a:cubicBezTo>
                    <a:pt x="52394" y="1912472"/>
                    <a:pt x="13723" y="1954476"/>
                    <a:pt x="3706" y="2011393"/>
                  </a:cubicBezTo>
                  <a:lnTo>
                    <a:pt x="0" y="2011393"/>
                  </a:lnTo>
                  <a:lnTo>
                    <a:pt x="0" y="6293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2" name="Isosceles Triangle 10">
              <a:extLst>
                <a:ext uri="{FF2B5EF4-FFF2-40B4-BE49-F238E27FC236}">
                  <a16:creationId xmlns:a16="http://schemas.microsoft.com/office/drawing/2014/main" id="{89A303EC-02E2-814B-83A3-A02BAB05EAA7}"/>
                </a:ext>
              </a:extLst>
            </p:cNvPr>
            <p:cNvSpPr/>
            <p:nvPr/>
          </p:nvSpPr>
          <p:spPr>
            <a:xfrm rot="10800000">
              <a:off x="4468813" y="4423239"/>
              <a:ext cx="196906" cy="260871"/>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3" name="Parallelogram 15">
              <a:extLst>
                <a:ext uri="{FF2B5EF4-FFF2-40B4-BE49-F238E27FC236}">
                  <a16:creationId xmlns:a16="http://schemas.microsoft.com/office/drawing/2014/main" id="{1191F922-5FFB-D44F-A851-4B3049685ACC}"/>
                </a:ext>
              </a:extLst>
            </p:cNvPr>
            <p:cNvSpPr/>
            <p:nvPr/>
          </p:nvSpPr>
          <p:spPr>
            <a:xfrm rot="16200000">
              <a:off x="4098945" y="947696"/>
              <a:ext cx="972197" cy="1052368"/>
            </a:xfrm>
            <a:custGeom>
              <a:avLst/>
              <a:gdLst/>
              <a:ahLst/>
              <a:cxnLst/>
              <a:rect l="l" t="t" r="r" b="b"/>
              <a:pathLst>
                <a:path w="2993176" h="3240001">
                  <a:moveTo>
                    <a:pt x="1299907" y="647892"/>
                  </a:moveTo>
                  <a:lnTo>
                    <a:pt x="665509" y="1620000"/>
                  </a:lnTo>
                  <a:lnTo>
                    <a:pt x="1299907" y="2592108"/>
                  </a:lnTo>
                  <a:lnTo>
                    <a:pt x="634398" y="2592108"/>
                  </a:lnTo>
                  <a:lnTo>
                    <a:pt x="0" y="1620000"/>
                  </a:lnTo>
                  <a:lnTo>
                    <a:pt x="634398" y="647892"/>
                  </a:lnTo>
                  <a:close/>
                  <a:moveTo>
                    <a:pt x="2993176" y="1620001"/>
                  </a:moveTo>
                  <a:lnTo>
                    <a:pt x="1913056" y="3240001"/>
                  </a:lnTo>
                  <a:lnTo>
                    <a:pt x="1782206" y="3043749"/>
                  </a:lnTo>
                  <a:lnTo>
                    <a:pt x="1110064" y="3043749"/>
                  </a:lnTo>
                  <a:cubicBezTo>
                    <a:pt x="1089036" y="3096599"/>
                    <a:pt x="1037333" y="3133759"/>
                    <a:pt x="976952" y="3133759"/>
                  </a:cubicBezTo>
                  <a:cubicBezTo>
                    <a:pt x="923853" y="3133759"/>
                    <a:pt x="877466" y="3105022"/>
                    <a:pt x="854540" y="3061058"/>
                  </a:cubicBezTo>
                  <a:lnTo>
                    <a:pt x="302383" y="3169763"/>
                  </a:lnTo>
                  <a:lnTo>
                    <a:pt x="302383" y="2809723"/>
                  </a:lnTo>
                  <a:lnTo>
                    <a:pt x="854540" y="2918427"/>
                  </a:lnTo>
                  <a:cubicBezTo>
                    <a:pt x="877466" y="2874463"/>
                    <a:pt x="923853" y="2845727"/>
                    <a:pt x="976952" y="2845727"/>
                  </a:cubicBezTo>
                  <a:cubicBezTo>
                    <a:pt x="1037333" y="2845727"/>
                    <a:pt x="1089036" y="2882887"/>
                    <a:pt x="1110064" y="2935737"/>
                  </a:cubicBezTo>
                  <a:lnTo>
                    <a:pt x="1710190" y="2935737"/>
                  </a:lnTo>
                  <a:lnTo>
                    <a:pt x="832936" y="1620001"/>
                  </a:lnTo>
                  <a:lnTo>
                    <a:pt x="1913056" y="0"/>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95" name="Group 13">
            <a:extLst>
              <a:ext uri="{FF2B5EF4-FFF2-40B4-BE49-F238E27FC236}">
                <a16:creationId xmlns:a16="http://schemas.microsoft.com/office/drawing/2014/main" id="{419BD673-A1F7-FE4A-88C9-F171F1AC2592}"/>
              </a:ext>
            </a:extLst>
          </p:cNvPr>
          <p:cNvGrpSpPr/>
          <p:nvPr/>
        </p:nvGrpSpPr>
        <p:grpSpPr>
          <a:xfrm>
            <a:off x="6996748" y="1882422"/>
            <a:ext cx="1296144" cy="2760467"/>
            <a:chOff x="6777274" y="1831284"/>
            <a:chExt cx="552841" cy="1177414"/>
          </a:xfrm>
        </p:grpSpPr>
        <p:grpSp>
          <p:nvGrpSpPr>
            <p:cNvPr id="96" name="Group 14">
              <a:extLst>
                <a:ext uri="{FF2B5EF4-FFF2-40B4-BE49-F238E27FC236}">
                  <a16:creationId xmlns:a16="http://schemas.microsoft.com/office/drawing/2014/main" id="{0678549D-2853-144A-A237-873148D3509A}"/>
                </a:ext>
              </a:extLst>
            </p:cNvPr>
            <p:cNvGrpSpPr/>
            <p:nvPr/>
          </p:nvGrpSpPr>
          <p:grpSpPr>
            <a:xfrm>
              <a:off x="6939980" y="1831284"/>
              <a:ext cx="385719" cy="718117"/>
              <a:chOff x="6783521" y="1654812"/>
              <a:chExt cx="726841" cy="1353205"/>
            </a:xfrm>
          </p:grpSpPr>
          <p:sp>
            <p:nvSpPr>
              <p:cNvPr id="98" name="Freeform 16">
                <a:extLst>
                  <a:ext uri="{FF2B5EF4-FFF2-40B4-BE49-F238E27FC236}">
                    <a16:creationId xmlns:a16="http://schemas.microsoft.com/office/drawing/2014/main" id="{79301420-966F-B647-97A3-DD74DC3F5625}"/>
                  </a:ext>
                </a:extLst>
              </p:cNvPr>
              <p:cNvSpPr/>
              <p:nvPr/>
            </p:nvSpPr>
            <p:spPr>
              <a:xfrm>
                <a:off x="6783521" y="1886618"/>
                <a:ext cx="726841" cy="1121399"/>
              </a:xfrm>
              <a:custGeom>
                <a:avLst/>
                <a:gdLst/>
                <a:ahLst/>
                <a:cxnLst/>
                <a:rect l="l" t="t" r="r" b="b"/>
                <a:pathLst>
                  <a:path w="726841" h="1121399">
                    <a:moveTo>
                      <a:pt x="236325" y="1049494"/>
                    </a:moveTo>
                    <a:lnTo>
                      <a:pt x="495287" y="1049494"/>
                    </a:lnTo>
                    <a:cubicBezTo>
                      <a:pt x="491080" y="1064561"/>
                      <a:pt x="487966" y="1079199"/>
                      <a:pt x="485273" y="1093187"/>
                    </a:cubicBezTo>
                    <a:lnTo>
                      <a:pt x="245258" y="1092728"/>
                    </a:lnTo>
                    <a:close/>
                    <a:moveTo>
                      <a:pt x="363421" y="203844"/>
                    </a:moveTo>
                    <a:cubicBezTo>
                      <a:pt x="401307" y="203844"/>
                      <a:pt x="432020" y="234557"/>
                      <a:pt x="432020" y="272443"/>
                    </a:cubicBezTo>
                    <a:cubicBezTo>
                      <a:pt x="432020" y="310329"/>
                      <a:pt x="401307" y="341042"/>
                      <a:pt x="363421" y="341042"/>
                    </a:cubicBezTo>
                    <a:cubicBezTo>
                      <a:pt x="325534" y="341042"/>
                      <a:pt x="294821" y="310329"/>
                      <a:pt x="294821" y="272443"/>
                    </a:cubicBezTo>
                    <a:cubicBezTo>
                      <a:pt x="294821" y="234557"/>
                      <a:pt x="325534" y="203844"/>
                      <a:pt x="363421" y="203844"/>
                    </a:cubicBezTo>
                    <a:close/>
                    <a:moveTo>
                      <a:pt x="363421" y="135244"/>
                    </a:moveTo>
                    <a:cubicBezTo>
                      <a:pt x="287648" y="135244"/>
                      <a:pt x="226222" y="196671"/>
                      <a:pt x="226222" y="272443"/>
                    </a:cubicBezTo>
                    <a:cubicBezTo>
                      <a:pt x="226222" y="348216"/>
                      <a:pt x="287648" y="409642"/>
                      <a:pt x="363421" y="409642"/>
                    </a:cubicBezTo>
                    <a:cubicBezTo>
                      <a:pt x="439193" y="409642"/>
                      <a:pt x="500619" y="348216"/>
                      <a:pt x="500619" y="272443"/>
                    </a:cubicBezTo>
                    <a:cubicBezTo>
                      <a:pt x="500619" y="196671"/>
                      <a:pt x="439193" y="135244"/>
                      <a:pt x="363421" y="135244"/>
                    </a:cubicBezTo>
                    <a:close/>
                    <a:moveTo>
                      <a:pt x="196200" y="0"/>
                    </a:moveTo>
                    <a:cubicBezTo>
                      <a:pt x="300307" y="58658"/>
                      <a:pt x="427219" y="59450"/>
                      <a:pt x="531959" y="2129"/>
                    </a:cubicBezTo>
                    <a:cubicBezTo>
                      <a:pt x="645195" y="251105"/>
                      <a:pt x="615578" y="521951"/>
                      <a:pt x="565642" y="749813"/>
                    </a:cubicBezTo>
                    <a:lnTo>
                      <a:pt x="726841" y="904479"/>
                    </a:lnTo>
                    <a:lnTo>
                      <a:pt x="700460" y="1113326"/>
                    </a:lnTo>
                    <a:lnTo>
                      <a:pt x="510728" y="982128"/>
                    </a:lnTo>
                    <a:lnTo>
                      <a:pt x="503274" y="1014651"/>
                    </a:lnTo>
                    <a:lnTo>
                      <a:pt x="228241" y="1014651"/>
                    </a:lnTo>
                    <a:cubicBezTo>
                      <a:pt x="226194" y="1005458"/>
                      <a:pt x="223902" y="996068"/>
                      <a:pt x="221524" y="986461"/>
                    </a:cubicBezTo>
                    <a:lnTo>
                      <a:pt x="26381" y="1121399"/>
                    </a:lnTo>
                    <a:lnTo>
                      <a:pt x="0" y="912552"/>
                    </a:lnTo>
                    <a:lnTo>
                      <a:pt x="162681" y="756465"/>
                    </a:lnTo>
                    <a:lnTo>
                      <a:pt x="163137" y="757906"/>
                    </a:lnTo>
                    <a:lnTo>
                      <a:pt x="165881" y="748957"/>
                    </a:lnTo>
                    <a:cubicBezTo>
                      <a:pt x="117348" y="521774"/>
                      <a:pt x="87568" y="246912"/>
                      <a:pt x="1962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9" name="Freeform 17">
                <a:extLst>
                  <a:ext uri="{FF2B5EF4-FFF2-40B4-BE49-F238E27FC236}">
                    <a16:creationId xmlns:a16="http://schemas.microsoft.com/office/drawing/2014/main" id="{41C5590D-E29A-EF45-8A73-776C922E0CC7}"/>
                  </a:ext>
                </a:extLst>
              </p:cNvPr>
              <p:cNvSpPr/>
              <p:nvPr/>
            </p:nvSpPr>
            <p:spPr>
              <a:xfrm>
                <a:off x="6997804" y="1654812"/>
                <a:ext cx="298274" cy="244742"/>
              </a:xfrm>
              <a:custGeom>
                <a:avLst/>
                <a:gdLst/>
                <a:ahLst/>
                <a:cxnLst/>
                <a:rect l="l" t="t" r="r" b="b"/>
                <a:pathLst>
                  <a:path w="298274" h="244742">
                    <a:moveTo>
                      <a:pt x="147328" y="0"/>
                    </a:moveTo>
                    <a:cubicBezTo>
                      <a:pt x="212319" y="65590"/>
                      <a:pt x="261867" y="134854"/>
                      <a:pt x="298274" y="206570"/>
                    </a:cubicBezTo>
                    <a:cubicBezTo>
                      <a:pt x="205418" y="258299"/>
                      <a:pt x="92251" y="257374"/>
                      <a:pt x="0" y="204273"/>
                    </a:cubicBezTo>
                    <a:cubicBezTo>
                      <a:pt x="35363" y="132633"/>
                      <a:pt x="83678" y="64016"/>
                      <a:pt x="1473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97" name="Freeform 15">
              <a:extLst>
                <a:ext uri="{FF2B5EF4-FFF2-40B4-BE49-F238E27FC236}">
                  <a16:creationId xmlns:a16="http://schemas.microsoft.com/office/drawing/2014/main" id="{14E436C9-E453-AA4D-A395-8E18BC582A17}"/>
                </a:ext>
              </a:extLst>
            </p:cNvPr>
            <p:cNvSpPr/>
            <p:nvPr/>
          </p:nvSpPr>
          <p:spPr>
            <a:xfrm>
              <a:off x="6777274" y="2572267"/>
              <a:ext cx="552841" cy="436431"/>
            </a:xfrm>
            <a:custGeom>
              <a:avLst/>
              <a:gdLst/>
              <a:ahLst/>
              <a:cxnLst/>
              <a:rect l="l" t="t" r="r" b="b"/>
              <a:pathLst>
                <a:path w="935319" h="738371">
                  <a:moveTo>
                    <a:pt x="570246" y="5904"/>
                  </a:moveTo>
                  <a:cubicBezTo>
                    <a:pt x="462283" y="64891"/>
                    <a:pt x="426421" y="317189"/>
                    <a:pt x="649701" y="474399"/>
                  </a:cubicBezTo>
                  <a:cubicBezTo>
                    <a:pt x="593836" y="327977"/>
                    <a:pt x="630970" y="255746"/>
                    <a:pt x="667057" y="182470"/>
                  </a:cubicBezTo>
                  <a:cubicBezTo>
                    <a:pt x="667659" y="219721"/>
                    <a:pt x="629598" y="299814"/>
                    <a:pt x="723199" y="346469"/>
                  </a:cubicBezTo>
                  <a:cubicBezTo>
                    <a:pt x="679394" y="206128"/>
                    <a:pt x="864427" y="161920"/>
                    <a:pt x="670152" y="6949"/>
                  </a:cubicBezTo>
                  <a:cubicBezTo>
                    <a:pt x="951156" y="47548"/>
                    <a:pt x="868526" y="190548"/>
                    <a:pt x="935319" y="334595"/>
                  </a:cubicBezTo>
                  <a:cubicBezTo>
                    <a:pt x="886447" y="343095"/>
                    <a:pt x="815632" y="212619"/>
                    <a:pt x="831546" y="274410"/>
                  </a:cubicBezTo>
                  <a:cubicBezTo>
                    <a:pt x="915063" y="518579"/>
                    <a:pt x="665249" y="525551"/>
                    <a:pt x="744586" y="738371"/>
                  </a:cubicBezTo>
                  <a:cubicBezTo>
                    <a:pt x="498005" y="724435"/>
                    <a:pt x="570128" y="495242"/>
                    <a:pt x="454164" y="439509"/>
                  </a:cubicBezTo>
                  <a:cubicBezTo>
                    <a:pt x="422689" y="433882"/>
                    <a:pt x="384944" y="459601"/>
                    <a:pt x="454829" y="574141"/>
                  </a:cubicBezTo>
                  <a:cubicBezTo>
                    <a:pt x="47812" y="270832"/>
                    <a:pt x="333584" y="22904"/>
                    <a:pt x="570246" y="5904"/>
                  </a:cubicBezTo>
                  <a:close/>
                  <a:moveTo>
                    <a:pt x="0" y="0"/>
                  </a:moveTo>
                  <a:lnTo>
                    <a:pt x="9284" y="0"/>
                  </a:lnTo>
                  <a:lnTo>
                    <a:pt x="746" y="590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pic>
        <p:nvPicPr>
          <p:cNvPr id="143" name="Picture 142">
            <a:extLst>
              <a:ext uri="{FF2B5EF4-FFF2-40B4-BE49-F238E27FC236}">
                <a16:creationId xmlns:a16="http://schemas.microsoft.com/office/drawing/2014/main" id="{55224089-75E0-CC44-B61A-BE246C8C63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71475" y="3674360"/>
            <a:ext cx="1665534" cy="2224949"/>
          </a:xfrm>
          <a:prstGeom prst="rect">
            <a:avLst/>
          </a:prstGeom>
        </p:spPr>
      </p:pic>
      <p:pic>
        <p:nvPicPr>
          <p:cNvPr id="145" name="Picture 144">
            <a:extLst>
              <a:ext uri="{FF2B5EF4-FFF2-40B4-BE49-F238E27FC236}">
                <a16:creationId xmlns:a16="http://schemas.microsoft.com/office/drawing/2014/main" id="{204AF4C9-02BE-234A-A515-357238DDBC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03950" y="3709431"/>
            <a:ext cx="799849" cy="2265693"/>
          </a:xfrm>
          <a:prstGeom prst="rect">
            <a:avLst/>
          </a:prstGeom>
        </p:spPr>
      </p:pic>
      <p:grpSp>
        <p:nvGrpSpPr>
          <p:cNvPr id="146" name="Group 145">
            <a:extLst>
              <a:ext uri="{FF2B5EF4-FFF2-40B4-BE49-F238E27FC236}">
                <a16:creationId xmlns:a16="http://schemas.microsoft.com/office/drawing/2014/main" id="{BA050AF7-118D-8C46-9F31-1755745DF335}"/>
              </a:ext>
            </a:extLst>
          </p:cNvPr>
          <p:cNvGrpSpPr>
            <a:grpSpLocks noChangeAspect="1"/>
          </p:cNvGrpSpPr>
          <p:nvPr/>
        </p:nvGrpSpPr>
        <p:grpSpPr>
          <a:xfrm>
            <a:off x="3177424" y="3535204"/>
            <a:ext cx="870141" cy="2557673"/>
            <a:chOff x="6471827" y="627534"/>
            <a:chExt cx="1298611" cy="4144897"/>
          </a:xfrm>
        </p:grpSpPr>
        <p:sp>
          <p:nvSpPr>
            <p:cNvPr id="147" name="Oval 146">
              <a:extLst>
                <a:ext uri="{FF2B5EF4-FFF2-40B4-BE49-F238E27FC236}">
                  <a16:creationId xmlns:a16="http://schemas.microsoft.com/office/drawing/2014/main" id="{3EF12A12-A6F2-4F40-9373-048703379D5F}"/>
                </a:ext>
              </a:extLst>
            </p:cNvPr>
            <p:cNvSpPr/>
            <p:nvPr/>
          </p:nvSpPr>
          <p:spPr>
            <a:xfrm rot="1887332">
              <a:off x="6471827" y="3934512"/>
              <a:ext cx="1298611" cy="837919"/>
            </a:xfrm>
            <a:prstGeom prst="ellipse">
              <a:avLst/>
            </a:prstGeom>
            <a:solidFill>
              <a:schemeClr val="tx1">
                <a:lumMod val="75000"/>
                <a:lumOff val="25000"/>
                <a:alpha val="48000"/>
              </a:scheme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48" name="Group 147">
              <a:extLst>
                <a:ext uri="{FF2B5EF4-FFF2-40B4-BE49-F238E27FC236}">
                  <a16:creationId xmlns:a16="http://schemas.microsoft.com/office/drawing/2014/main" id="{72A488AA-CF6A-E54A-BF75-438445ACEBA6}"/>
                </a:ext>
              </a:extLst>
            </p:cNvPr>
            <p:cNvGrpSpPr/>
            <p:nvPr/>
          </p:nvGrpSpPr>
          <p:grpSpPr>
            <a:xfrm>
              <a:off x="6588224" y="627534"/>
              <a:ext cx="1091041" cy="3865265"/>
              <a:chOff x="1962627" y="587921"/>
              <a:chExt cx="1606904" cy="5692831"/>
            </a:xfrm>
          </p:grpSpPr>
          <p:sp>
            <p:nvSpPr>
              <p:cNvPr id="149" name="Freeform 10">
                <a:extLst>
                  <a:ext uri="{FF2B5EF4-FFF2-40B4-BE49-F238E27FC236}">
                    <a16:creationId xmlns:a16="http://schemas.microsoft.com/office/drawing/2014/main" id="{AD328ADF-AEE0-D74C-B5CF-5D88B295193C}"/>
                  </a:ext>
                </a:extLst>
              </p:cNvPr>
              <p:cNvSpPr/>
              <p:nvPr/>
            </p:nvSpPr>
            <p:spPr>
              <a:xfrm>
                <a:off x="2733325" y="5823612"/>
                <a:ext cx="372189" cy="457140"/>
              </a:xfrm>
              <a:custGeom>
                <a:avLst/>
                <a:gdLst>
                  <a:gd name="connsiteX0" fmla="*/ 295625 w 372189"/>
                  <a:gd name="connsiteY0" fmla="*/ 926 h 457140"/>
                  <a:gd name="connsiteX1" fmla="*/ 147988 w 372189"/>
                  <a:gd name="connsiteY1" fmla="*/ 53313 h 457140"/>
                  <a:gd name="connsiteX2" fmla="*/ 114650 w 372189"/>
                  <a:gd name="connsiteY2" fmla="*/ 91413 h 457140"/>
                  <a:gd name="connsiteX3" fmla="*/ 100363 w 372189"/>
                  <a:gd name="connsiteY3" fmla="*/ 134276 h 457140"/>
                  <a:gd name="connsiteX4" fmla="*/ 67025 w 372189"/>
                  <a:gd name="connsiteY4" fmla="*/ 181901 h 457140"/>
                  <a:gd name="connsiteX5" fmla="*/ 81313 w 372189"/>
                  <a:gd name="connsiteY5" fmla="*/ 239051 h 457140"/>
                  <a:gd name="connsiteX6" fmla="*/ 57500 w 372189"/>
                  <a:gd name="connsiteY6" fmla="*/ 286676 h 457140"/>
                  <a:gd name="connsiteX7" fmla="*/ 38450 w 372189"/>
                  <a:gd name="connsiteY7" fmla="*/ 310488 h 457140"/>
                  <a:gd name="connsiteX8" fmla="*/ 24163 w 372189"/>
                  <a:gd name="connsiteY8" fmla="*/ 348588 h 457140"/>
                  <a:gd name="connsiteX9" fmla="*/ 5113 w 372189"/>
                  <a:gd name="connsiteY9" fmla="*/ 391451 h 457140"/>
                  <a:gd name="connsiteX10" fmla="*/ 14638 w 372189"/>
                  <a:gd name="connsiteY10" fmla="*/ 453363 h 457140"/>
                  <a:gd name="connsiteX11" fmla="*/ 152750 w 372189"/>
                  <a:gd name="connsiteY11" fmla="*/ 448601 h 457140"/>
                  <a:gd name="connsiteX12" fmla="*/ 276575 w 372189"/>
                  <a:gd name="connsiteY12" fmla="*/ 434313 h 457140"/>
                  <a:gd name="connsiteX13" fmla="*/ 333725 w 372189"/>
                  <a:gd name="connsiteY13" fmla="*/ 391451 h 457140"/>
                  <a:gd name="connsiteX14" fmla="*/ 338488 w 372189"/>
                  <a:gd name="connsiteY14" fmla="*/ 320013 h 457140"/>
                  <a:gd name="connsiteX15" fmla="*/ 357538 w 372189"/>
                  <a:gd name="connsiteY15" fmla="*/ 339063 h 457140"/>
                  <a:gd name="connsiteX16" fmla="*/ 371825 w 372189"/>
                  <a:gd name="connsiteY16" fmla="*/ 310488 h 457140"/>
                  <a:gd name="connsiteX17" fmla="*/ 367063 w 372189"/>
                  <a:gd name="connsiteY17" fmla="*/ 229526 h 457140"/>
                  <a:gd name="connsiteX18" fmla="*/ 357538 w 372189"/>
                  <a:gd name="connsiteY18" fmla="*/ 177138 h 457140"/>
                  <a:gd name="connsiteX19" fmla="*/ 343250 w 372189"/>
                  <a:gd name="connsiteY19" fmla="*/ 100938 h 457140"/>
                  <a:gd name="connsiteX20" fmla="*/ 295625 w 372189"/>
                  <a:gd name="connsiteY20" fmla="*/ 926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189" h="457140">
                    <a:moveTo>
                      <a:pt x="295625" y="926"/>
                    </a:moveTo>
                    <a:cubicBezTo>
                      <a:pt x="263081" y="-7012"/>
                      <a:pt x="178150" y="38232"/>
                      <a:pt x="147988" y="53313"/>
                    </a:cubicBezTo>
                    <a:cubicBezTo>
                      <a:pt x="117826" y="68394"/>
                      <a:pt x="122587" y="77919"/>
                      <a:pt x="114650" y="91413"/>
                    </a:cubicBezTo>
                    <a:cubicBezTo>
                      <a:pt x="106713" y="104907"/>
                      <a:pt x="108300" y="119195"/>
                      <a:pt x="100363" y="134276"/>
                    </a:cubicBezTo>
                    <a:cubicBezTo>
                      <a:pt x="92425" y="149357"/>
                      <a:pt x="70200" y="164439"/>
                      <a:pt x="67025" y="181901"/>
                    </a:cubicBezTo>
                    <a:cubicBezTo>
                      <a:pt x="63850" y="199364"/>
                      <a:pt x="82900" y="221589"/>
                      <a:pt x="81313" y="239051"/>
                    </a:cubicBezTo>
                    <a:cubicBezTo>
                      <a:pt x="79726" y="256513"/>
                      <a:pt x="64644" y="274770"/>
                      <a:pt x="57500" y="286676"/>
                    </a:cubicBezTo>
                    <a:cubicBezTo>
                      <a:pt x="50356" y="298582"/>
                      <a:pt x="44006" y="300169"/>
                      <a:pt x="38450" y="310488"/>
                    </a:cubicBezTo>
                    <a:cubicBezTo>
                      <a:pt x="32894" y="320807"/>
                      <a:pt x="29719" y="335094"/>
                      <a:pt x="24163" y="348588"/>
                    </a:cubicBezTo>
                    <a:cubicBezTo>
                      <a:pt x="18607" y="362082"/>
                      <a:pt x="6700" y="373989"/>
                      <a:pt x="5113" y="391451"/>
                    </a:cubicBezTo>
                    <a:cubicBezTo>
                      <a:pt x="3526" y="408913"/>
                      <a:pt x="-9968" y="443838"/>
                      <a:pt x="14638" y="453363"/>
                    </a:cubicBezTo>
                    <a:cubicBezTo>
                      <a:pt x="39244" y="462888"/>
                      <a:pt x="109094" y="451776"/>
                      <a:pt x="152750" y="448601"/>
                    </a:cubicBezTo>
                    <a:cubicBezTo>
                      <a:pt x="196406" y="445426"/>
                      <a:pt x="246413" y="443838"/>
                      <a:pt x="276575" y="434313"/>
                    </a:cubicBezTo>
                    <a:cubicBezTo>
                      <a:pt x="306737" y="424788"/>
                      <a:pt x="323406" y="410501"/>
                      <a:pt x="333725" y="391451"/>
                    </a:cubicBezTo>
                    <a:cubicBezTo>
                      <a:pt x="344044" y="372401"/>
                      <a:pt x="334519" y="328744"/>
                      <a:pt x="338488" y="320013"/>
                    </a:cubicBezTo>
                    <a:cubicBezTo>
                      <a:pt x="342457" y="311282"/>
                      <a:pt x="351982" y="340650"/>
                      <a:pt x="357538" y="339063"/>
                    </a:cubicBezTo>
                    <a:cubicBezTo>
                      <a:pt x="363094" y="337476"/>
                      <a:pt x="370238" y="328744"/>
                      <a:pt x="371825" y="310488"/>
                    </a:cubicBezTo>
                    <a:cubicBezTo>
                      <a:pt x="373413" y="292232"/>
                      <a:pt x="369444" y="251751"/>
                      <a:pt x="367063" y="229526"/>
                    </a:cubicBezTo>
                    <a:cubicBezTo>
                      <a:pt x="364682" y="207301"/>
                      <a:pt x="361507" y="198569"/>
                      <a:pt x="357538" y="177138"/>
                    </a:cubicBezTo>
                    <a:cubicBezTo>
                      <a:pt x="353569" y="155707"/>
                      <a:pt x="353569" y="130307"/>
                      <a:pt x="343250" y="100938"/>
                    </a:cubicBezTo>
                    <a:cubicBezTo>
                      <a:pt x="332931" y="71569"/>
                      <a:pt x="328169" y="8864"/>
                      <a:pt x="295625" y="926"/>
                    </a:cubicBezTo>
                    <a:close/>
                  </a:path>
                </a:pathLst>
              </a:custGeom>
              <a:solidFill>
                <a:srgbClr val="8D9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700"/>
                  <a:t> </a:t>
                </a:r>
                <a:endParaRPr lang="ko-KR" altLang="en-US" sz="2700"/>
              </a:p>
            </p:txBody>
          </p:sp>
          <p:sp>
            <p:nvSpPr>
              <p:cNvPr id="150" name="Freeform 11">
                <a:extLst>
                  <a:ext uri="{FF2B5EF4-FFF2-40B4-BE49-F238E27FC236}">
                    <a16:creationId xmlns:a16="http://schemas.microsoft.com/office/drawing/2014/main" id="{DC898A3B-C66B-5046-BD57-83464E6D6732}"/>
                  </a:ext>
                </a:extLst>
              </p:cNvPr>
              <p:cNvSpPr/>
              <p:nvPr/>
            </p:nvSpPr>
            <p:spPr>
              <a:xfrm>
                <a:off x="2355309" y="5349401"/>
                <a:ext cx="349372" cy="622774"/>
              </a:xfrm>
              <a:custGeom>
                <a:avLst/>
                <a:gdLst>
                  <a:gd name="connsiteX0" fmla="*/ 245016 w 349372"/>
                  <a:gd name="connsiteY0" fmla="*/ 3649 h 622774"/>
                  <a:gd name="connsiteX1" fmla="*/ 325979 w 349372"/>
                  <a:gd name="connsiteY1" fmla="*/ 32224 h 622774"/>
                  <a:gd name="connsiteX2" fmla="*/ 345029 w 349372"/>
                  <a:gd name="connsiteY2" fmla="*/ 136999 h 622774"/>
                  <a:gd name="connsiteX3" fmla="*/ 345029 w 349372"/>
                  <a:gd name="connsiteY3" fmla="*/ 160812 h 622774"/>
                  <a:gd name="connsiteX4" fmla="*/ 297404 w 349372"/>
                  <a:gd name="connsiteY4" fmla="*/ 251299 h 622774"/>
                  <a:gd name="connsiteX5" fmla="*/ 283116 w 349372"/>
                  <a:gd name="connsiteY5" fmla="*/ 256062 h 622774"/>
                  <a:gd name="connsiteX6" fmla="*/ 273591 w 349372"/>
                  <a:gd name="connsiteY6" fmla="*/ 313212 h 622774"/>
                  <a:gd name="connsiteX7" fmla="*/ 273591 w 349372"/>
                  <a:gd name="connsiteY7" fmla="*/ 360837 h 622774"/>
                  <a:gd name="connsiteX8" fmla="*/ 278354 w 349372"/>
                  <a:gd name="connsiteY8" fmla="*/ 413224 h 622774"/>
                  <a:gd name="connsiteX9" fmla="*/ 259304 w 349372"/>
                  <a:gd name="connsiteY9" fmla="*/ 498949 h 622774"/>
                  <a:gd name="connsiteX10" fmla="*/ 235491 w 349372"/>
                  <a:gd name="connsiteY10" fmla="*/ 551337 h 622774"/>
                  <a:gd name="connsiteX11" fmla="*/ 168816 w 349372"/>
                  <a:gd name="connsiteY11" fmla="*/ 598962 h 622774"/>
                  <a:gd name="connsiteX12" fmla="*/ 92616 w 349372"/>
                  <a:gd name="connsiteY12" fmla="*/ 622774 h 622774"/>
                  <a:gd name="connsiteX13" fmla="*/ 21179 w 349372"/>
                  <a:gd name="connsiteY13" fmla="*/ 598962 h 622774"/>
                  <a:gd name="connsiteX14" fmla="*/ 2129 w 349372"/>
                  <a:gd name="connsiteY14" fmla="*/ 556099 h 622774"/>
                  <a:gd name="connsiteX15" fmla="*/ 6891 w 349372"/>
                  <a:gd name="connsiteY15" fmla="*/ 465612 h 622774"/>
                  <a:gd name="connsiteX16" fmla="*/ 59279 w 349372"/>
                  <a:gd name="connsiteY16" fmla="*/ 346549 h 622774"/>
                  <a:gd name="connsiteX17" fmla="*/ 106904 w 349372"/>
                  <a:gd name="connsiteY17" fmla="*/ 227487 h 622774"/>
                  <a:gd name="connsiteX18" fmla="*/ 130716 w 349372"/>
                  <a:gd name="connsiteY18" fmla="*/ 151287 h 622774"/>
                  <a:gd name="connsiteX19" fmla="*/ 168816 w 349372"/>
                  <a:gd name="connsiteY19" fmla="*/ 17937 h 622774"/>
                  <a:gd name="connsiteX20" fmla="*/ 245016 w 349372"/>
                  <a:gd name="connsiteY20" fmla="*/ 3649 h 62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9372" h="622774">
                    <a:moveTo>
                      <a:pt x="245016" y="3649"/>
                    </a:moveTo>
                    <a:cubicBezTo>
                      <a:pt x="271210" y="6030"/>
                      <a:pt x="309310" y="9999"/>
                      <a:pt x="325979" y="32224"/>
                    </a:cubicBezTo>
                    <a:cubicBezTo>
                      <a:pt x="342648" y="54449"/>
                      <a:pt x="341854" y="115568"/>
                      <a:pt x="345029" y="136999"/>
                    </a:cubicBezTo>
                    <a:cubicBezTo>
                      <a:pt x="348204" y="158430"/>
                      <a:pt x="352966" y="141762"/>
                      <a:pt x="345029" y="160812"/>
                    </a:cubicBezTo>
                    <a:cubicBezTo>
                      <a:pt x="337092" y="179862"/>
                      <a:pt x="307723" y="235424"/>
                      <a:pt x="297404" y="251299"/>
                    </a:cubicBezTo>
                    <a:cubicBezTo>
                      <a:pt x="287085" y="267174"/>
                      <a:pt x="287085" y="245743"/>
                      <a:pt x="283116" y="256062"/>
                    </a:cubicBezTo>
                    <a:cubicBezTo>
                      <a:pt x="279147" y="266381"/>
                      <a:pt x="275178" y="295750"/>
                      <a:pt x="273591" y="313212"/>
                    </a:cubicBezTo>
                    <a:cubicBezTo>
                      <a:pt x="272004" y="330674"/>
                      <a:pt x="272797" y="344168"/>
                      <a:pt x="273591" y="360837"/>
                    </a:cubicBezTo>
                    <a:cubicBezTo>
                      <a:pt x="274385" y="377506"/>
                      <a:pt x="280735" y="390205"/>
                      <a:pt x="278354" y="413224"/>
                    </a:cubicBezTo>
                    <a:cubicBezTo>
                      <a:pt x="275973" y="436243"/>
                      <a:pt x="266448" y="475930"/>
                      <a:pt x="259304" y="498949"/>
                    </a:cubicBezTo>
                    <a:cubicBezTo>
                      <a:pt x="252160" y="521968"/>
                      <a:pt x="250572" y="534668"/>
                      <a:pt x="235491" y="551337"/>
                    </a:cubicBezTo>
                    <a:cubicBezTo>
                      <a:pt x="220410" y="568006"/>
                      <a:pt x="192628" y="587056"/>
                      <a:pt x="168816" y="598962"/>
                    </a:cubicBezTo>
                    <a:cubicBezTo>
                      <a:pt x="145004" y="610868"/>
                      <a:pt x="117222" y="622774"/>
                      <a:pt x="92616" y="622774"/>
                    </a:cubicBezTo>
                    <a:cubicBezTo>
                      <a:pt x="68010" y="622774"/>
                      <a:pt x="36260" y="610075"/>
                      <a:pt x="21179" y="598962"/>
                    </a:cubicBezTo>
                    <a:cubicBezTo>
                      <a:pt x="6098" y="587849"/>
                      <a:pt x="4510" y="578324"/>
                      <a:pt x="2129" y="556099"/>
                    </a:cubicBezTo>
                    <a:cubicBezTo>
                      <a:pt x="-252" y="533874"/>
                      <a:pt x="-2634" y="500537"/>
                      <a:pt x="6891" y="465612"/>
                    </a:cubicBezTo>
                    <a:cubicBezTo>
                      <a:pt x="16416" y="430687"/>
                      <a:pt x="42610" y="386236"/>
                      <a:pt x="59279" y="346549"/>
                    </a:cubicBezTo>
                    <a:cubicBezTo>
                      <a:pt x="75948" y="306862"/>
                      <a:pt x="94998" y="260031"/>
                      <a:pt x="106904" y="227487"/>
                    </a:cubicBezTo>
                    <a:cubicBezTo>
                      <a:pt x="118810" y="194943"/>
                      <a:pt x="120397" y="186212"/>
                      <a:pt x="130716" y="151287"/>
                    </a:cubicBezTo>
                    <a:cubicBezTo>
                      <a:pt x="141035" y="116362"/>
                      <a:pt x="150560" y="44131"/>
                      <a:pt x="168816" y="17937"/>
                    </a:cubicBezTo>
                    <a:cubicBezTo>
                      <a:pt x="187072" y="-8257"/>
                      <a:pt x="218822" y="1268"/>
                      <a:pt x="245016" y="3649"/>
                    </a:cubicBezTo>
                    <a:close/>
                  </a:path>
                </a:pathLst>
              </a:custGeom>
              <a:solidFill>
                <a:srgbClr val="8D9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1" name="Freeform 12">
                <a:extLst>
                  <a:ext uri="{FF2B5EF4-FFF2-40B4-BE49-F238E27FC236}">
                    <a16:creationId xmlns:a16="http://schemas.microsoft.com/office/drawing/2014/main" id="{8658E2C8-40E2-9E40-9788-7D12ECED1873}"/>
                  </a:ext>
                </a:extLst>
              </p:cNvPr>
              <p:cNvSpPr/>
              <p:nvPr/>
            </p:nvSpPr>
            <p:spPr>
              <a:xfrm>
                <a:off x="2385747" y="3258503"/>
                <a:ext cx="987690" cy="2696464"/>
              </a:xfrm>
              <a:custGeom>
                <a:avLst/>
                <a:gdLst>
                  <a:gd name="connsiteX0" fmla="*/ 905141 w 987690"/>
                  <a:gd name="connsiteY0" fmla="*/ 46672 h 2696464"/>
                  <a:gd name="connsiteX1" fmla="*/ 786078 w 987690"/>
                  <a:gd name="connsiteY1" fmla="*/ 3810 h 2696464"/>
                  <a:gd name="connsiteX2" fmla="*/ 409841 w 987690"/>
                  <a:gd name="connsiteY2" fmla="*/ 8572 h 2696464"/>
                  <a:gd name="connsiteX3" fmla="*/ 166953 w 987690"/>
                  <a:gd name="connsiteY3" fmla="*/ 60960 h 2696464"/>
                  <a:gd name="connsiteX4" fmla="*/ 52653 w 987690"/>
                  <a:gd name="connsiteY4" fmla="*/ 137160 h 2696464"/>
                  <a:gd name="connsiteX5" fmla="*/ 28841 w 987690"/>
                  <a:gd name="connsiteY5" fmla="*/ 284797 h 2696464"/>
                  <a:gd name="connsiteX6" fmla="*/ 266 w 987690"/>
                  <a:gd name="connsiteY6" fmla="*/ 513397 h 2696464"/>
                  <a:gd name="connsiteX7" fmla="*/ 14553 w 987690"/>
                  <a:gd name="connsiteY7" fmla="*/ 589597 h 2696464"/>
                  <a:gd name="connsiteX8" fmla="*/ 14553 w 987690"/>
                  <a:gd name="connsiteY8" fmla="*/ 661035 h 2696464"/>
                  <a:gd name="connsiteX9" fmla="*/ 28841 w 987690"/>
                  <a:gd name="connsiteY9" fmla="*/ 761047 h 2696464"/>
                  <a:gd name="connsiteX10" fmla="*/ 38366 w 987690"/>
                  <a:gd name="connsiteY10" fmla="*/ 861060 h 2696464"/>
                  <a:gd name="connsiteX11" fmla="*/ 43128 w 987690"/>
                  <a:gd name="connsiteY11" fmla="*/ 956310 h 2696464"/>
                  <a:gd name="connsiteX12" fmla="*/ 52653 w 987690"/>
                  <a:gd name="connsiteY12" fmla="*/ 1046797 h 2696464"/>
                  <a:gd name="connsiteX13" fmla="*/ 38366 w 987690"/>
                  <a:gd name="connsiteY13" fmla="*/ 1122997 h 2696464"/>
                  <a:gd name="connsiteX14" fmla="*/ 66941 w 987690"/>
                  <a:gd name="connsiteY14" fmla="*/ 1175385 h 2696464"/>
                  <a:gd name="connsiteX15" fmla="*/ 76466 w 987690"/>
                  <a:gd name="connsiteY15" fmla="*/ 1265872 h 2696464"/>
                  <a:gd name="connsiteX16" fmla="*/ 43128 w 987690"/>
                  <a:gd name="connsiteY16" fmla="*/ 1389697 h 2696464"/>
                  <a:gd name="connsiteX17" fmla="*/ 47891 w 987690"/>
                  <a:gd name="connsiteY17" fmla="*/ 1442085 h 2696464"/>
                  <a:gd name="connsiteX18" fmla="*/ 28841 w 987690"/>
                  <a:gd name="connsiteY18" fmla="*/ 1537335 h 2696464"/>
                  <a:gd name="connsiteX19" fmla="*/ 19316 w 987690"/>
                  <a:gd name="connsiteY19" fmla="*/ 1642110 h 2696464"/>
                  <a:gd name="connsiteX20" fmla="*/ 38366 w 987690"/>
                  <a:gd name="connsiteY20" fmla="*/ 1780222 h 2696464"/>
                  <a:gd name="connsiteX21" fmla="*/ 38366 w 987690"/>
                  <a:gd name="connsiteY21" fmla="*/ 1942147 h 2696464"/>
                  <a:gd name="connsiteX22" fmla="*/ 52653 w 987690"/>
                  <a:gd name="connsiteY22" fmla="*/ 2042160 h 2696464"/>
                  <a:gd name="connsiteX23" fmla="*/ 43128 w 987690"/>
                  <a:gd name="connsiteY23" fmla="*/ 2085022 h 2696464"/>
                  <a:gd name="connsiteX24" fmla="*/ 76466 w 987690"/>
                  <a:gd name="connsiteY24" fmla="*/ 2189797 h 2696464"/>
                  <a:gd name="connsiteX25" fmla="*/ 109803 w 987690"/>
                  <a:gd name="connsiteY25" fmla="*/ 2299335 h 2696464"/>
                  <a:gd name="connsiteX26" fmla="*/ 166953 w 987690"/>
                  <a:gd name="connsiteY26" fmla="*/ 2337435 h 2696464"/>
                  <a:gd name="connsiteX27" fmla="*/ 243153 w 987690"/>
                  <a:gd name="connsiteY27" fmla="*/ 2246947 h 2696464"/>
                  <a:gd name="connsiteX28" fmla="*/ 300303 w 987690"/>
                  <a:gd name="connsiteY28" fmla="*/ 2142172 h 2696464"/>
                  <a:gd name="connsiteX29" fmla="*/ 295541 w 987690"/>
                  <a:gd name="connsiteY29" fmla="*/ 2032635 h 2696464"/>
                  <a:gd name="connsiteX30" fmla="*/ 319353 w 987690"/>
                  <a:gd name="connsiteY30" fmla="*/ 1842135 h 2696464"/>
                  <a:gd name="connsiteX31" fmla="*/ 328878 w 987690"/>
                  <a:gd name="connsiteY31" fmla="*/ 1723072 h 2696464"/>
                  <a:gd name="connsiteX32" fmla="*/ 328878 w 987690"/>
                  <a:gd name="connsiteY32" fmla="*/ 1604010 h 2696464"/>
                  <a:gd name="connsiteX33" fmla="*/ 343166 w 987690"/>
                  <a:gd name="connsiteY33" fmla="*/ 1503997 h 2696464"/>
                  <a:gd name="connsiteX34" fmla="*/ 362216 w 987690"/>
                  <a:gd name="connsiteY34" fmla="*/ 1475422 h 2696464"/>
                  <a:gd name="connsiteX35" fmla="*/ 366978 w 987690"/>
                  <a:gd name="connsiteY35" fmla="*/ 1432560 h 2696464"/>
                  <a:gd name="connsiteX36" fmla="*/ 381266 w 987690"/>
                  <a:gd name="connsiteY36" fmla="*/ 1418272 h 2696464"/>
                  <a:gd name="connsiteX37" fmla="*/ 362216 w 987690"/>
                  <a:gd name="connsiteY37" fmla="*/ 1337310 h 2696464"/>
                  <a:gd name="connsiteX38" fmla="*/ 390791 w 987690"/>
                  <a:gd name="connsiteY38" fmla="*/ 1237297 h 2696464"/>
                  <a:gd name="connsiteX39" fmla="*/ 419366 w 987690"/>
                  <a:gd name="connsiteY39" fmla="*/ 1199197 h 2696464"/>
                  <a:gd name="connsiteX40" fmla="*/ 419366 w 987690"/>
                  <a:gd name="connsiteY40" fmla="*/ 1046797 h 2696464"/>
                  <a:gd name="connsiteX41" fmla="*/ 438416 w 987690"/>
                  <a:gd name="connsiteY41" fmla="*/ 994410 h 2696464"/>
                  <a:gd name="connsiteX42" fmla="*/ 443178 w 987690"/>
                  <a:gd name="connsiteY42" fmla="*/ 899160 h 2696464"/>
                  <a:gd name="connsiteX43" fmla="*/ 462228 w 987690"/>
                  <a:gd name="connsiteY43" fmla="*/ 822960 h 2696464"/>
                  <a:gd name="connsiteX44" fmla="*/ 481278 w 987690"/>
                  <a:gd name="connsiteY44" fmla="*/ 784860 h 2696464"/>
                  <a:gd name="connsiteX45" fmla="*/ 486041 w 987690"/>
                  <a:gd name="connsiteY45" fmla="*/ 913447 h 2696464"/>
                  <a:gd name="connsiteX46" fmla="*/ 509853 w 987690"/>
                  <a:gd name="connsiteY46" fmla="*/ 1027747 h 2696464"/>
                  <a:gd name="connsiteX47" fmla="*/ 519378 w 987690"/>
                  <a:gd name="connsiteY47" fmla="*/ 1127760 h 2696464"/>
                  <a:gd name="connsiteX48" fmla="*/ 500328 w 987690"/>
                  <a:gd name="connsiteY48" fmla="*/ 1284922 h 2696464"/>
                  <a:gd name="connsiteX49" fmla="*/ 519378 w 987690"/>
                  <a:gd name="connsiteY49" fmla="*/ 1323022 h 2696464"/>
                  <a:gd name="connsiteX50" fmla="*/ 514616 w 987690"/>
                  <a:gd name="connsiteY50" fmla="*/ 1437322 h 2696464"/>
                  <a:gd name="connsiteX51" fmla="*/ 509853 w 987690"/>
                  <a:gd name="connsiteY51" fmla="*/ 1503997 h 2696464"/>
                  <a:gd name="connsiteX52" fmla="*/ 538428 w 987690"/>
                  <a:gd name="connsiteY52" fmla="*/ 1556385 h 2696464"/>
                  <a:gd name="connsiteX53" fmla="*/ 524141 w 987690"/>
                  <a:gd name="connsiteY53" fmla="*/ 1637347 h 2696464"/>
                  <a:gd name="connsiteX54" fmla="*/ 543191 w 987690"/>
                  <a:gd name="connsiteY54" fmla="*/ 1718310 h 2696464"/>
                  <a:gd name="connsiteX55" fmla="*/ 519378 w 987690"/>
                  <a:gd name="connsiteY55" fmla="*/ 1799272 h 2696464"/>
                  <a:gd name="connsiteX56" fmla="*/ 514616 w 987690"/>
                  <a:gd name="connsiteY56" fmla="*/ 2004060 h 2696464"/>
                  <a:gd name="connsiteX57" fmla="*/ 486041 w 987690"/>
                  <a:gd name="connsiteY57" fmla="*/ 2170747 h 2696464"/>
                  <a:gd name="connsiteX58" fmla="*/ 481278 w 987690"/>
                  <a:gd name="connsiteY58" fmla="*/ 2256472 h 2696464"/>
                  <a:gd name="connsiteX59" fmla="*/ 514616 w 987690"/>
                  <a:gd name="connsiteY59" fmla="*/ 2351722 h 2696464"/>
                  <a:gd name="connsiteX60" fmla="*/ 524141 w 987690"/>
                  <a:gd name="connsiteY60" fmla="*/ 2385060 h 2696464"/>
                  <a:gd name="connsiteX61" fmla="*/ 462228 w 987690"/>
                  <a:gd name="connsiteY61" fmla="*/ 2475547 h 2696464"/>
                  <a:gd name="connsiteX62" fmla="*/ 428891 w 987690"/>
                  <a:gd name="connsiteY62" fmla="*/ 2513647 h 2696464"/>
                  <a:gd name="connsiteX63" fmla="*/ 457466 w 987690"/>
                  <a:gd name="connsiteY63" fmla="*/ 2570797 h 2696464"/>
                  <a:gd name="connsiteX64" fmla="*/ 438416 w 987690"/>
                  <a:gd name="connsiteY64" fmla="*/ 2642235 h 2696464"/>
                  <a:gd name="connsiteX65" fmla="*/ 505091 w 987690"/>
                  <a:gd name="connsiteY65" fmla="*/ 2651760 h 2696464"/>
                  <a:gd name="connsiteX66" fmla="*/ 614628 w 987690"/>
                  <a:gd name="connsiteY66" fmla="*/ 2675572 h 2696464"/>
                  <a:gd name="connsiteX67" fmla="*/ 690828 w 987690"/>
                  <a:gd name="connsiteY67" fmla="*/ 2694622 h 2696464"/>
                  <a:gd name="connsiteX68" fmla="*/ 743216 w 987690"/>
                  <a:gd name="connsiteY68" fmla="*/ 2627947 h 2696464"/>
                  <a:gd name="connsiteX69" fmla="*/ 757503 w 987690"/>
                  <a:gd name="connsiteY69" fmla="*/ 2532697 h 2696464"/>
                  <a:gd name="connsiteX70" fmla="*/ 743216 w 987690"/>
                  <a:gd name="connsiteY70" fmla="*/ 2485072 h 2696464"/>
                  <a:gd name="connsiteX71" fmla="*/ 743216 w 987690"/>
                  <a:gd name="connsiteY71" fmla="*/ 2437447 h 2696464"/>
                  <a:gd name="connsiteX72" fmla="*/ 795603 w 987690"/>
                  <a:gd name="connsiteY72" fmla="*/ 2356485 h 2696464"/>
                  <a:gd name="connsiteX73" fmla="*/ 809891 w 987690"/>
                  <a:gd name="connsiteY73" fmla="*/ 2223135 h 2696464"/>
                  <a:gd name="connsiteX74" fmla="*/ 819416 w 987690"/>
                  <a:gd name="connsiteY74" fmla="*/ 2094547 h 2696464"/>
                  <a:gd name="connsiteX75" fmla="*/ 838466 w 987690"/>
                  <a:gd name="connsiteY75" fmla="*/ 1913572 h 2696464"/>
                  <a:gd name="connsiteX76" fmla="*/ 862278 w 987690"/>
                  <a:gd name="connsiteY76" fmla="*/ 1699260 h 2696464"/>
                  <a:gd name="connsiteX77" fmla="*/ 857516 w 987690"/>
                  <a:gd name="connsiteY77" fmla="*/ 1608772 h 2696464"/>
                  <a:gd name="connsiteX78" fmla="*/ 871803 w 987690"/>
                  <a:gd name="connsiteY78" fmla="*/ 1484947 h 2696464"/>
                  <a:gd name="connsiteX79" fmla="*/ 895616 w 987690"/>
                  <a:gd name="connsiteY79" fmla="*/ 1170622 h 2696464"/>
                  <a:gd name="connsiteX80" fmla="*/ 924191 w 987690"/>
                  <a:gd name="connsiteY80" fmla="*/ 908685 h 2696464"/>
                  <a:gd name="connsiteX81" fmla="*/ 914666 w 987690"/>
                  <a:gd name="connsiteY81" fmla="*/ 780097 h 2696464"/>
                  <a:gd name="connsiteX82" fmla="*/ 948003 w 987690"/>
                  <a:gd name="connsiteY82" fmla="*/ 613410 h 2696464"/>
                  <a:gd name="connsiteX83" fmla="*/ 981341 w 987690"/>
                  <a:gd name="connsiteY83" fmla="*/ 441960 h 2696464"/>
                  <a:gd name="connsiteX84" fmla="*/ 981341 w 987690"/>
                  <a:gd name="connsiteY84" fmla="*/ 337185 h 2696464"/>
                  <a:gd name="connsiteX85" fmla="*/ 981341 w 987690"/>
                  <a:gd name="connsiteY85" fmla="*/ 137160 h 2696464"/>
                  <a:gd name="connsiteX86" fmla="*/ 905141 w 987690"/>
                  <a:gd name="connsiteY86" fmla="*/ 46672 h 26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987690" h="2696464">
                    <a:moveTo>
                      <a:pt x="905141" y="46672"/>
                    </a:moveTo>
                    <a:cubicBezTo>
                      <a:pt x="872597" y="24447"/>
                      <a:pt x="868628" y="10160"/>
                      <a:pt x="786078" y="3810"/>
                    </a:cubicBezTo>
                    <a:cubicBezTo>
                      <a:pt x="703528" y="-2540"/>
                      <a:pt x="513028" y="-953"/>
                      <a:pt x="409841" y="8572"/>
                    </a:cubicBezTo>
                    <a:cubicBezTo>
                      <a:pt x="306654" y="18097"/>
                      <a:pt x="226484" y="39529"/>
                      <a:pt x="166953" y="60960"/>
                    </a:cubicBezTo>
                    <a:cubicBezTo>
                      <a:pt x="107422" y="82391"/>
                      <a:pt x="75672" y="99854"/>
                      <a:pt x="52653" y="137160"/>
                    </a:cubicBezTo>
                    <a:cubicBezTo>
                      <a:pt x="29634" y="174466"/>
                      <a:pt x="37572" y="222091"/>
                      <a:pt x="28841" y="284797"/>
                    </a:cubicBezTo>
                    <a:cubicBezTo>
                      <a:pt x="20110" y="347503"/>
                      <a:pt x="2647" y="462597"/>
                      <a:pt x="266" y="513397"/>
                    </a:cubicBezTo>
                    <a:cubicBezTo>
                      <a:pt x="-2115" y="564197"/>
                      <a:pt x="12172" y="564991"/>
                      <a:pt x="14553" y="589597"/>
                    </a:cubicBezTo>
                    <a:cubicBezTo>
                      <a:pt x="16934" y="614203"/>
                      <a:pt x="12172" y="632460"/>
                      <a:pt x="14553" y="661035"/>
                    </a:cubicBezTo>
                    <a:cubicBezTo>
                      <a:pt x="16934" y="689610"/>
                      <a:pt x="24872" y="727710"/>
                      <a:pt x="28841" y="761047"/>
                    </a:cubicBezTo>
                    <a:cubicBezTo>
                      <a:pt x="32810" y="794384"/>
                      <a:pt x="35985" y="828516"/>
                      <a:pt x="38366" y="861060"/>
                    </a:cubicBezTo>
                    <a:cubicBezTo>
                      <a:pt x="40747" y="893604"/>
                      <a:pt x="40747" y="925354"/>
                      <a:pt x="43128" y="956310"/>
                    </a:cubicBezTo>
                    <a:cubicBezTo>
                      <a:pt x="45509" y="987266"/>
                      <a:pt x="53447" y="1019016"/>
                      <a:pt x="52653" y="1046797"/>
                    </a:cubicBezTo>
                    <a:cubicBezTo>
                      <a:pt x="51859" y="1074578"/>
                      <a:pt x="35985" y="1101566"/>
                      <a:pt x="38366" y="1122997"/>
                    </a:cubicBezTo>
                    <a:cubicBezTo>
                      <a:pt x="40747" y="1144428"/>
                      <a:pt x="60591" y="1151573"/>
                      <a:pt x="66941" y="1175385"/>
                    </a:cubicBezTo>
                    <a:cubicBezTo>
                      <a:pt x="73291" y="1199197"/>
                      <a:pt x="80435" y="1230153"/>
                      <a:pt x="76466" y="1265872"/>
                    </a:cubicBezTo>
                    <a:cubicBezTo>
                      <a:pt x="72497" y="1301591"/>
                      <a:pt x="47890" y="1360328"/>
                      <a:pt x="43128" y="1389697"/>
                    </a:cubicBezTo>
                    <a:cubicBezTo>
                      <a:pt x="38366" y="1419066"/>
                      <a:pt x="50272" y="1417479"/>
                      <a:pt x="47891" y="1442085"/>
                    </a:cubicBezTo>
                    <a:cubicBezTo>
                      <a:pt x="45510" y="1466691"/>
                      <a:pt x="33603" y="1503998"/>
                      <a:pt x="28841" y="1537335"/>
                    </a:cubicBezTo>
                    <a:cubicBezTo>
                      <a:pt x="24079" y="1570672"/>
                      <a:pt x="17729" y="1601629"/>
                      <a:pt x="19316" y="1642110"/>
                    </a:cubicBezTo>
                    <a:cubicBezTo>
                      <a:pt x="20903" y="1682591"/>
                      <a:pt x="35191" y="1730216"/>
                      <a:pt x="38366" y="1780222"/>
                    </a:cubicBezTo>
                    <a:cubicBezTo>
                      <a:pt x="41541" y="1830228"/>
                      <a:pt x="35985" y="1898491"/>
                      <a:pt x="38366" y="1942147"/>
                    </a:cubicBezTo>
                    <a:cubicBezTo>
                      <a:pt x="40747" y="1985803"/>
                      <a:pt x="51859" y="2018348"/>
                      <a:pt x="52653" y="2042160"/>
                    </a:cubicBezTo>
                    <a:cubicBezTo>
                      <a:pt x="53447" y="2065972"/>
                      <a:pt x="39159" y="2060416"/>
                      <a:pt x="43128" y="2085022"/>
                    </a:cubicBezTo>
                    <a:cubicBezTo>
                      <a:pt x="47097" y="2109628"/>
                      <a:pt x="65353" y="2154078"/>
                      <a:pt x="76466" y="2189797"/>
                    </a:cubicBezTo>
                    <a:cubicBezTo>
                      <a:pt x="87578" y="2225516"/>
                      <a:pt x="94722" y="2274729"/>
                      <a:pt x="109803" y="2299335"/>
                    </a:cubicBezTo>
                    <a:cubicBezTo>
                      <a:pt x="124884" y="2323941"/>
                      <a:pt x="144728" y="2346166"/>
                      <a:pt x="166953" y="2337435"/>
                    </a:cubicBezTo>
                    <a:cubicBezTo>
                      <a:pt x="189178" y="2328704"/>
                      <a:pt x="220928" y="2279491"/>
                      <a:pt x="243153" y="2246947"/>
                    </a:cubicBezTo>
                    <a:cubicBezTo>
                      <a:pt x="265378" y="2214403"/>
                      <a:pt x="291572" y="2177891"/>
                      <a:pt x="300303" y="2142172"/>
                    </a:cubicBezTo>
                    <a:cubicBezTo>
                      <a:pt x="309034" y="2106453"/>
                      <a:pt x="292366" y="2082641"/>
                      <a:pt x="295541" y="2032635"/>
                    </a:cubicBezTo>
                    <a:cubicBezTo>
                      <a:pt x="298716" y="1982629"/>
                      <a:pt x="313797" y="1893729"/>
                      <a:pt x="319353" y="1842135"/>
                    </a:cubicBezTo>
                    <a:cubicBezTo>
                      <a:pt x="324909" y="1790541"/>
                      <a:pt x="327291" y="1762759"/>
                      <a:pt x="328878" y="1723072"/>
                    </a:cubicBezTo>
                    <a:cubicBezTo>
                      <a:pt x="330465" y="1683385"/>
                      <a:pt x="326497" y="1640522"/>
                      <a:pt x="328878" y="1604010"/>
                    </a:cubicBezTo>
                    <a:cubicBezTo>
                      <a:pt x="331259" y="1567498"/>
                      <a:pt x="337610" y="1525428"/>
                      <a:pt x="343166" y="1503997"/>
                    </a:cubicBezTo>
                    <a:cubicBezTo>
                      <a:pt x="348722" y="1482566"/>
                      <a:pt x="358247" y="1487328"/>
                      <a:pt x="362216" y="1475422"/>
                    </a:cubicBezTo>
                    <a:cubicBezTo>
                      <a:pt x="366185" y="1463516"/>
                      <a:pt x="363803" y="1442085"/>
                      <a:pt x="366978" y="1432560"/>
                    </a:cubicBezTo>
                    <a:cubicBezTo>
                      <a:pt x="370153" y="1423035"/>
                      <a:pt x="382060" y="1434147"/>
                      <a:pt x="381266" y="1418272"/>
                    </a:cubicBezTo>
                    <a:cubicBezTo>
                      <a:pt x="380472" y="1402397"/>
                      <a:pt x="360629" y="1367472"/>
                      <a:pt x="362216" y="1337310"/>
                    </a:cubicBezTo>
                    <a:cubicBezTo>
                      <a:pt x="363803" y="1307148"/>
                      <a:pt x="381266" y="1260316"/>
                      <a:pt x="390791" y="1237297"/>
                    </a:cubicBezTo>
                    <a:cubicBezTo>
                      <a:pt x="400316" y="1214278"/>
                      <a:pt x="414604" y="1230947"/>
                      <a:pt x="419366" y="1199197"/>
                    </a:cubicBezTo>
                    <a:cubicBezTo>
                      <a:pt x="424128" y="1167447"/>
                      <a:pt x="416191" y="1080928"/>
                      <a:pt x="419366" y="1046797"/>
                    </a:cubicBezTo>
                    <a:cubicBezTo>
                      <a:pt x="422541" y="1012666"/>
                      <a:pt x="434447" y="1019016"/>
                      <a:pt x="438416" y="994410"/>
                    </a:cubicBezTo>
                    <a:cubicBezTo>
                      <a:pt x="442385" y="969804"/>
                      <a:pt x="439209" y="927735"/>
                      <a:pt x="443178" y="899160"/>
                    </a:cubicBezTo>
                    <a:cubicBezTo>
                      <a:pt x="447147" y="870585"/>
                      <a:pt x="455878" y="842010"/>
                      <a:pt x="462228" y="822960"/>
                    </a:cubicBezTo>
                    <a:cubicBezTo>
                      <a:pt x="468578" y="803910"/>
                      <a:pt x="477309" y="769779"/>
                      <a:pt x="481278" y="784860"/>
                    </a:cubicBezTo>
                    <a:cubicBezTo>
                      <a:pt x="485247" y="799941"/>
                      <a:pt x="481279" y="872966"/>
                      <a:pt x="486041" y="913447"/>
                    </a:cubicBezTo>
                    <a:cubicBezTo>
                      <a:pt x="490803" y="953928"/>
                      <a:pt x="504297" y="992028"/>
                      <a:pt x="509853" y="1027747"/>
                    </a:cubicBezTo>
                    <a:cubicBezTo>
                      <a:pt x="515409" y="1063466"/>
                      <a:pt x="520965" y="1084898"/>
                      <a:pt x="519378" y="1127760"/>
                    </a:cubicBezTo>
                    <a:cubicBezTo>
                      <a:pt x="517791" y="1170622"/>
                      <a:pt x="500328" y="1252378"/>
                      <a:pt x="500328" y="1284922"/>
                    </a:cubicBezTo>
                    <a:cubicBezTo>
                      <a:pt x="500328" y="1317466"/>
                      <a:pt x="516997" y="1297622"/>
                      <a:pt x="519378" y="1323022"/>
                    </a:cubicBezTo>
                    <a:cubicBezTo>
                      <a:pt x="521759" y="1348422"/>
                      <a:pt x="516203" y="1407160"/>
                      <a:pt x="514616" y="1437322"/>
                    </a:cubicBezTo>
                    <a:cubicBezTo>
                      <a:pt x="513029" y="1467484"/>
                      <a:pt x="505884" y="1484153"/>
                      <a:pt x="509853" y="1503997"/>
                    </a:cubicBezTo>
                    <a:cubicBezTo>
                      <a:pt x="513822" y="1523841"/>
                      <a:pt x="536047" y="1534160"/>
                      <a:pt x="538428" y="1556385"/>
                    </a:cubicBezTo>
                    <a:cubicBezTo>
                      <a:pt x="540809" y="1578610"/>
                      <a:pt x="523347" y="1610360"/>
                      <a:pt x="524141" y="1637347"/>
                    </a:cubicBezTo>
                    <a:cubicBezTo>
                      <a:pt x="524935" y="1664334"/>
                      <a:pt x="543985" y="1691323"/>
                      <a:pt x="543191" y="1718310"/>
                    </a:cubicBezTo>
                    <a:cubicBezTo>
                      <a:pt x="542397" y="1745297"/>
                      <a:pt x="524140" y="1751647"/>
                      <a:pt x="519378" y="1799272"/>
                    </a:cubicBezTo>
                    <a:cubicBezTo>
                      <a:pt x="514616" y="1846897"/>
                      <a:pt x="520172" y="1942147"/>
                      <a:pt x="514616" y="2004060"/>
                    </a:cubicBezTo>
                    <a:cubicBezTo>
                      <a:pt x="509060" y="2065973"/>
                      <a:pt x="491597" y="2128678"/>
                      <a:pt x="486041" y="2170747"/>
                    </a:cubicBezTo>
                    <a:cubicBezTo>
                      <a:pt x="480485" y="2212816"/>
                      <a:pt x="476515" y="2226310"/>
                      <a:pt x="481278" y="2256472"/>
                    </a:cubicBezTo>
                    <a:cubicBezTo>
                      <a:pt x="486040" y="2286635"/>
                      <a:pt x="507472" y="2330291"/>
                      <a:pt x="514616" y="2351722"/>
                    </a:cubicBezTo>
                    <a:cubicBezTo>
                      <a:pt x="521760" y="2373153"/>
                      <a:pt x="532872" y="2364422"/>
                      <a:pt x="524141" y="2385060"/>
                    </a:cubicBezTo>
                    <a:cubicBezTo>
                      <a:pt x="515410" y="2405698"/>
                      <a:pt x="478103" y="2454116"/>
                      <a:pt x="462228" y="2475547"/>
                    </a:cubicBezTo>
                    <a:cubicBezTo>
                      <a:pt x="446353" y="2496978"/>
                      <a:pt x="429685" y="2497772"/>
                      <a:pt x="428891" y="2513647"/>
                    </a:cubicBezTo>
                    <a:cubicBezTo>
                      <a:pt x="428097" y="2529522"/>
                      <a:pt x="455878" y="2549366"/>
                      <a:pt x="457466" y="2570797"/>
                    </a:cubicBezTo>
                    <a:cubicBezTo>
                      <a:pt x="459054" y="2592228"/>
                      <a:pt x="430479" y="2628741"/>
                      <a:pt x="438416" y="2642235"/>
                    </a:cubicBezTo>
                    <a:cubicBezTo>
                      <a:pt x="446353" y="2655729"/>
                      <a:pt x="475722" y="2646204"/>
                      <a:pt x="505091" y="2651760"/>
                    </a:cubicBezTo>
                    <a:cubicBezTo>
                      <a:pt x="534460" y="2657316"/>
                      <a:pt x="583672" y="2668428"/>
                      <a:pt x="614628" y="2675572"/>
                    </a:cubicBezTo>
                    <a:cubicBezTo>
                      <a:pt x="645584" y="2682716"/>
                      <a:pt x="669397" y="2702559"/>
                      <a:pt x="690828" y="2694622"/>
                    </a:cubicBezTo>
                    <a:cubicBezTo>
                      <a:pt x="712259" y="2686685"/>
                      <a:pt x="732104" y="2654934"/>
                      <a:pt x="743216" y="2627947"/>
                    </a:cubicBezTo>
                    <a:cubicBezTo>
                      <a:pt x="754328" y="2600960"/>
                      <a:pt x="757503" y="2556509"/>
                      <a:pt x="757503" y="2532697"/>
                    </a:cubicBezTo>
                    <a:cubicBezTo>
                      <a:pt x="757503" y="2508885"/>
                      <a:pt x="745597" y="2500947"/>
                      <a:pt x="743216" y="2485072"/>
                    </a:cubicBezTo>
                    <a:cubicBezTo>
                      <a:pt x="740835" y="2469197"/>
                      <a:pt x="734485" y="2458878"/>
                      <a:pt x="743216" y="2437447"/>
                    </a:cubicBezTo>
                    <a:cubicBezTo>
                      <a:pt x="751947" y="2416016"/>
                      <a:pt x="784490" y="2392204"/>
                      <a:pt x="795603" y="2356485"/>
                    </a:cubicBezTo>
                    <a:cubicBezTo>
                      <a:pt x="806715" y="2320766"/>
                      <a:pt x="805922" y="2266791"/>
                      <a:pt x="809891" y="2223135"/>
                    </a:cubicBezTo>
                    <a:cubicBezTo>
                      <a:pt x="813860" y="2179479"/>
                      <a:pt x="814654" y="2146141"/>
                      <a:pt x="819416" y="2094547"/>
                    </a:cubicBezTo>
                    <a:cubicBezTo>
                      <a:pt x="824178" y="2042953"/>
                      <a:pt x="831322" y="1979453"/>
                      <a:pt x="838466" y="1913572"/>
                    </a:cubicBezTo>
                    <a:cubicBezTo>
                      <a:pt x="845610" y="1847691"/>
                      <a:pt x="859103" y="1750060"/>
                      <a:pt x="862278" y="1699260"/>
                    </a:cubicBezTo>
                    <a:cubicBezTo>
                      <a:pt x="865453" y="1648460"/>
                      <a:pt x="855929" y="1644491"/>
                      <a:pt x="857516" y="1608772"/>
                    </a:cubicBezTo>
                    <a:cubicBezTo>
                      <a:pt x="859103" y="1573053"/>
                      <a:pt x="865453" y="1557972"/>
                      <a:pt x="871803" y="1484947"/>
                    </a:cubicBezTo>
                    <a:cubicBezTo>
                      <a:pt x="878153" y="1411922"/>
                      <a:pt x="886885" y="1266665"/>
                      <a:pt x="895616" y="1170622"/>
                    </a:cubicBezTo>
                    <a:cubicBezTo>
                      <a:pt x="904347" y="1074579"/>
                      <a:pt x="921016" y="973773"/>
                      <a:pt x="924191" y="908685"/>
                    </a:cubicBezTo>
                    <a:cubicBezTo>
                      <a:pt x="927366" y="843598"/>
                      <a:pt x="910697" y="829309"/>
                      <a:pt x="914666" y="780097"/>
                    </a:cubicBezTo>
                    <a:cubicBezTo>
                      <a:pt x="918635" y="730885"/>
                      <a:pt x="936891" y="669766"/>
                      <a:pt x="948003" y="613410"/>
                    </a:cubicBezTo>
                    <a:cubicBezTo>
                      <a:pt x="959115" y="557054"/>
                      <a:pt x="975785" y="487998"/>
                      <a:pt x="981341" y="441960"/>
                    </a:cubicBezTo>
                    <a:cubicBezTo>
                      <a:pt x="986897" y="395923"/>
                      <a:pt x="981341" y="337185"/>
                      <a:pt x="981341" y="337185"/>
                    </a:cubicBezTo>
                    <a:cubicBezTo>
                      <a:pt x="981341" y="286385"/>
                      <a:pt x="995628" y="189547"/>
                      <a:pt x="981341" y="137160"/>
                    </a:cubicBezTo>
                    <a:cubicBezTo>
                      <a:pt x="967054" y="84773"/>
                      <a:pt x="937685" y="68897"/>
                      <a:pt x="905141" y="46672"/>
                    </a:cubicBez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2" name="Freeform 13">
                <a:extLst>
                  <a:ext uri="{FF2B5EF4-FFF2-40B4-BE49-F238E27FC236}">
                    <a16:creationId xmlns:a16="http://schemas.microsoft.com/office/drawing/2014/main" id="{8846FA4C-E957-7F42-85DA-6465566BC479}"/>
                  </a:ext>
                </a:extLst>
              </p:cNvPr>
              <p:cNvSpPr/>
              <p:nvPr/>
            </p:nvSpPr>
            <p:spPr>
              <a:xfrm>
                <a:off x="3327354" y="3615547"/>
                <a:ext cx="234996" cy="523697"/>
              </a:xfrm>
              <a:custGeom>
                <a:avLst/>
                <a:gdLst/>
                <a:ahLst/>
                <a:cxnLst/>
                <a:rect l="l" t="t" r="r" b="b"/>
                <a:pathLst>
                  <a:path w="221335" h="493253">
                    <a:moveTo>
                      <a:pt x="77834" y="328437"/>
                    </a:moveTo>
                    <a:cubicBezTo>
                      <a:pt x="65239" y="329495"/>
                      <a:pt x="52963" y="333729"/>
                      <a:pt x="50846" y="340502"/>
                    </a:cubicBezTo>
                    <a:cubicBezTo>
                      <a:pt x="46613" y="354049"/>
                      <a:pt x="50846" y="372675"/>
                      <a:pt x="50846" y="386222"/>
                    </a:cubicBezTo>
                    <a:cubicBezTo>
                      <a:pt x="50846" y="386222"/>
                      <a:pt x="44073" y="417549"/>
                      <a:pt x="50846" y="421782"/>
                    </a:cubicBezTo>
                    <a:cubicBezTo>
                      <a:pt x="57619" y="426015"/>
                      <a:pt x="82173" y="426015"/>
                      <a:pt x="91486" y="411622"/>
                    </a:cubicBezTo>
                    <a:cubicBezTo>
                      <a:pt x="100799" y="397229"/>
                      <a:pt x="113499" y="347275"/>
                      <a:pt x="106726" y="335422"/>
                    </a:cubicBezTo>
                    <a:cubicBezTo>
                      <a:pt x="103340" y="329496"/>
                      <a:pt x="90428" y="327379"/>
                      <a:pt x="77834" y="328437"/>
                    </a:cubicBezTo>
                    <a:close/>
                    <a:moveTo>
                      <a:pt x="121966" y="142"/>
                    </a:moveTo>
                    <a:cubicBezTo>
                      <a:pt x="139746" y="4375"/>
                      <a:pt x="172766" y="90735"/>
                      <a:pt x="188006" y="132222"/>
                    </a:cubicBezTo>
                    <a:cubicBezTo>
                      <a:pt x="203246" y="173709"/>
                      <a:pt x="208326" y="212655"/>
                      <a:pt x="213406" y="249062"/>
                    </a:cubicBezTo>
                    <a:cubicBezTo>
                      <a:pt x="218486" y="285469"/>
                      <a:pt x="225259" y="315102"/>
                      <a:pt x="218486" y="350662"/>
                    </a:cubicBezTo>
                    <a:cubicBezTo>
                      <a:pt x="211713" y="386222"/>
                      <a:pt x="186313" y="438715"/>
                      <a:pt x="172766" y="462422"/>
                    </a:cubicBezTo>
                    <a:cubicBezTo>
                      <a:pt x="159219" y="486129"/>
                      <a:pt x="154139" y="490362"/>
                      <a:pt x="137206" y="492902"/>
                    </a:cubicBezTo>
                    <a:cubicBezTo>
                      <a:pt x="120273" y="495442"/>
                      <a:pt x="88946" y="483589"/>
                      <a:pt x="71166" y="477662"/>
                    </a:cubicBezTo>
                    <a:cubicBezTo>
                      <a:pt x="53386" y="471735"/>
                      <a:pt x="39839" y="466655"/>
                      <a:pt x="30526" y="457342"/>
                    </a:cubicBezTo>
                    <a:cubicBezTo>
                      <a:pt x="21213" y="448029"/>
                      <a:pt x="20366" y="428555"/>
                      <a:pt x="15286" y="421782"/>
                    </a:cubicBezTo>
                    <a:cubicBezTo>
                      <a:pt x="10206" y="415009"/>
                      <a:pt x="-801" y="425169"/>
                      <a:pt x="46" y="416702"/>
                    </a:cubicBezTo>
                    <a:cubicBezTo>
                      <a:pt x="893" y="408235"/>
                      <a:pt x="16133" y="391302"/>
                      <a:pt x="20366" y="370982"/>
                    </a:cubicBezTo>
                    <a:cubicBezTo>
                      <a:pt x="24599" y="350662"/>
                      <a:pt x="22059" y="316795"/>
                      <a:pt x="25446" y="294782"/>
                    </a:cubicBezTo>
                    <a:cubicBezTo>
                      <a:pt x="28833" y="272769"/>
                      <a:pt x="29679" y="266842"/>
                      <a:pt x="40686" y="238902"/>
                    </a:cubicBezTo>
                    <a:cubicBezTo>
                      <a:pt x="51693" y="210962"/>
                      <a:pt x="77939" y="166935"/>
                      <a:pt x="91486" y="127142"/>
                    </a:cubicBezTo>
                    <a:cubicBezTo>
                      <a:pt x="105033" y="87349"/>
                      <a:pt x="104186" y="-4091"/>
                      <a:pt x="121966" y="142"/>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3" name="Freeform 14">
                <a:extLst>
                  <a:ext uri="{FF2B5EF4-FFF2-40B4-BE49-F238E27FC236}">
                    <a16:creationId xmlns:a16="http://schemas.microsoft.com/office/drawing/2014/main" id="{91B282C9-1BC3-5145-992F-DC07AE9EC218}"/>
                  </a:ext>
                </a:extLst>
              </p:cNvPr>
              <p:cNvSpPr/>
              <p:nvPr/>
            </p:nvSpPr>
            <p:spPr>
              <a:xfrm>
                <a:off x="2019921" y="587921"/>
                <a:ext cx="342320" cy="748473"/>
              </a:xfrm>
              <a:custGeom>
                <a:avLst/>
                <a:gdLst>
                  <a:gd name="connsiteX0" fmla="*/ 108599 w 342320"/>
                  <a:gd name="connsiteY0" fmla="*/ 748119 h 748473"/>
                  <a:gd name="connsiteX1" fmla="*/ 154319 w 342320"/>
                  <a:gd name="connsiteY1" fmla="*/ 529679 h 748473"/>
                  <a:gd name="connsiteX2" fmla="*/ 149239 w 342320"/>
                  <a:gd name="connsiteY2" fmla="*/ 443319 h 748473"/>
                  <a:gd name="connsiteX3" fmla="*/ 159399 w 342320"/>
                  <a:gd name="connsiteY3" fmla="*/ 377279 h 748473"/>
                  <a:gd name="connsiteX4" fmla="*/ 179719 w 342320"/>
                  <a:gd name="connsiteY4" fmla="*/ 341719 h 748473"/>
                  <a:gd name="connsiteX5" fmla="*/ 210199 w 342320"/>
                  <a:gd name="connsiteY5" fmla="*/ 301079 h 748473"/>
                  <a:gd name="connsiteX6" fmla="*/ 230519 w 342320"/>
                  <a:gd name="connsiteY6" fmla="*/ 295999 h 748473"/>
                  <a:gd name="connsiteX7" fmla="*/ 276239 w 342320"/>
                  <a:gd name="connsiteY7" fmla="*/ 255359 h 748473"/>
                  <a:gd name="connsiteX8" fmla="*/ 306719 w 342320"/>
                  <a:gd name="connsiteY8" fmla="*/ 219799 h 748473"/>
                  <a:gd name="connsiteX9" fmla="*/ 337199 w 342320"/>
                  <a:gd name="connsiteY9" fmla="*/ 148679 h 748473"/>
                  <a:gd name="connsiteX10" fmla="*/ 342279 w 342320"/>
                  <a:gd name="connsiteY10" fmla="*/ 87719 h 748473"/>
                  <a:gd name="connsiteX11" fmla="*/ 337199 w 342320"/>
                  <a:gd name="connsiteY11" fmla="*/ 67399 h 748473"/>
                  <a:gd name="connsiteX12" fmla="*/ 311799 w 342320"/>
                  <a:gd name="connsiteY12" fmla="*/ 52159 h 748473"/>
                  <a:gd name="connsiteX13" fmla="*/ 281319 w 342320"/>
                  <a:gd name="connsiteY13" fmla="*/ 21679 h 748473"/>
                  <a:gd name="connsiteX14" fmla="*/ 260999 w 342320"/>
                  <a:gd name="connsiteY14" fmla="*/ 16599 h 748473"/>
                  <a:gd name="connsiteX15" fmla="*/ 225439 w 342320"/>
                  <a:gd name="connsiteY15" fmla="*/ 16599 h 748473"/>
                  <a:gd name="connsiteX16" fmla="*/ 154319 w 342320"/>
                  <a:gd name="connsiteY16" fmla="*/ 6439 h 748473"/>
                  <a:gd name="connsiteX17" fmla="*/ 113679 w 342320"/>
                  <a:gd name="connsiteY17" fmla="*/ 1359 h 748473"/>
                  <a:gd name="connsiteX18" fmla="*/ 93359 w 342320"/>
                  <a:gd name="connsiteY18" fmla="*/ 31839 h 748473"/>
                  <a:gd name="connsiteX19" fmla="*/ 93359 w 342320"/>
                  <a:gd name="connsiteY19" fmla="*/ 67399 h 748473"/>
                  <a:gd name="connsiteX20" fmla="*/ 78119 w 342320"/>
                  <a:gd name="connsiteY20" fmla="*/ 123279 h 748473"/>
                  <a:gd name="connsiteX21" fmla="*/ 47639 w 342320"/>
                  <a:gd name="connsiteY21" fmla="*/ 168999 h 748473"/>
                  <a:gd name="connsiteX22" fmla="*/ 37479 w 342320"/>
                  <a:gd name="connsiteY22" fmla="*/ 265519 h 748473"/>
                  <a:gd name="connsiteX23" fmla="*/ 22239 w 342320"/>
                  <a:gd name="connsiteY23" fmla="*/ 321399 h 748473"/>
                  <a:gd name="connsiteX24" fmla="*/ 6999 w 342320"/>
                  <a:gd name="connsiteY24" fmla="*/ 397599 h 748473"/>
                  <a:gd name="connsiteX25" fmla="*/ 6999 w 342320"/>
                  <a:gd name="connsiteY25" fmla="*/ 473799 h 748473"/>
                  <a:gd name="connsiteX26" fmla="*/ 108599 w 342320"/>
                  <a:gd name="connsiteY26" fmla="*/ 748119 h 7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2320" h="748473">
                    <a:moveTo>
                      <a:pt x="108599" y="748119"/>
                    </a:moveTo>
                    <a:cubicBezTo>
                      <a:pt x="133152" y="757432"/>
                      <a:pt x="147546" y="580479"/>
                      <a:pt x="154319" y="529679"/>
                    </a:cubicBezTo>
                    <a:cubicBezTo>
                      <a:pt x="161092" y="478879"/>
                      <a:pt x="148392" y="468719"/>
                      <a:pt x="149239" y="443319"/>
                    </a:cubicBezTo>
                    <a:cubicBezTo>
                      <a:pt x="150086" y="417919"/>
                      <a:pt x="154319" y="394212"/>
                      <a:pt x="159399" y="377279"/>
                    </a:cubicBezTo>
                    <a:cubicBezTo>
                      <a:pt x="164479" y="360346"/>
                      <a:pt x="171252" y="354419"/>
                      <a:pt x="179719" y="341719"/>
                    </a:cubicBezTo>
                    <a:cubicBezTo>
                      <a:pt x="188186" y="329019"/>
                      <a:pt x="201732" y="308699"/>
                      <a:pt x="210199" y="301079"/>
                    </a:cubicBezTo>
                    <a:cubicBezTo>
                      <a:pt x="218666" y="293459"/>
                      <a:pt x="219512" y="303619"/>
                      <a:pt x="230519" y="295999"/>
                    </a:cubicBezTo>
                    <a:cubicBezTo>
                      <a:pt x="241526" y="288379"/>
                      <a:pt x="263539" y="268059"/>
                      <a:pt x="276239" y="255359"/>
                    </a:cubicBezTo>
                    <a:cubicBezTo>
                      <a:pt x="288939" y="242659"/>
                      <a:pt x="296559" y="237579"/>
                      <a:pt x="306719" y="219799"/>
                    </a:cubicBezTo>
                    <a:cubicBezTo>
                      <a:pt x="316879" y="202019"/>
                      <a:pt x="331272" y="170692"/>
                      <a:pt x="337199" y="148679"/>
                    </a:cubicBezTo>
                    <a:cubicBezTo>
                      <a:pt x="343126" y="126666"/>
                      <a:pt x="342279" y="101266"/>
                      <a:pt x="342279" y="87719"/>
                    </a:cubicBezTo>
                    <a:cubicBezTo>
                      <a:pt x="342279" y="74172"/>
                      <a:pt x="342279" y="73326"/>
                      <a:pt x="337199" y="67399"/>
                    </a:cubicBezTo>
                    <a:cubicBezTo>
                      <a:pt x="332119" y="61472"/>
                      <a:pt x="321112" y="59779"/>
                      <a:pt x="311799" y="52159"/>
                    </a:cubicBezTo>
                    <a:cubicBezTo>
                      <a:pt x="302486" y="44539"/>
                      <a:pt x="289786" y="27606"/>
                      <a:pt x="281319" y="21679"/>
                    </a:cubicBezTo>
                    <a:cubicBezTo>
                      <a:pt x="272852" y="15752"/>
                      <a:pt x="270312" y="17446"/>
                      <a:pt x="260999" y="16599"/>
                    </a:cubicBezTo>
                    <a:cubicBezTo>
                      <a:pt x="251686" y="15752"/>
                      <a:pt x="243219" y="18292"/>
                      <a:pt x="225439" y="16599"/>
                    </a:cubicBezTo>
                    <a:cubicBezTo>
                      <a:pt x="207659" y="14906"/>
                      <a:pt x="172946" y="8979"/>
                      <a:pt x="154319" y="6439"/>
                    </a:cubicBezTo>
                    <a:cubicBezTo>
                      <a:pt x="135692" y="3899"/>
                      <a:pt x="123839" y="-2874"/>
                      <a:pt x="113679" y="1359"/>
                    </a:cubicBezTo>
                    <a:cubicBezTo>
                      <a:pt x="103519" y="5592"/>
                      <a:pt x="96746" y="20832"/>
                      <a:pt x="93359" y="31839"/>
                    </a:cubicBezTo>
                    <a:cubicBezTo>
                      <a:pt x="89972" y="42846"/>
                      <a:pt x="95899" y="52159"/>
                      <a:pt x="93359" y="67399"/>
                    </a:cubicBezTo>
                    <a:cubicBezTo>
                      <a:pt x="90819" y="82639"/>
                      <a:pt x="85739" y="106346"/>
                      <a:pt x="78119" y="123279"/>
                    </a:cubicBezTo>
                    <a:cubicBezTo>
                      <a:pt x="70499" y="140212"/>
                      <a:pt x="54412" y="145292"/>
                      <a:pt x="47639" y="168999"/>
                    </a:cubicBezTo>
                    <a:cubicBezTo>
                      <a:pt x="40866" y="192706"/>
                      <a:pt x="41712" y="240119"/>
                      <a:pt x="37479" y="265519"/>
                    </a:cubicBezTo>
                    <a:cubicBezTo>
                      <a:pt x="33246" y="290919"/>
                      <a:pt x="27319" y="299386"/>
                      <a:pt x="22239" y="321399"/>
                    </a:cubicBezTo>
                    <a:cubicBezTo>
                      <a:pt x="17159" y="343412"/>
                      <a:pt x="9539" y="372199"/>
                      <a:pt x="6999" y="397599"/>
                    </a:cubicBezTo>
                    <a:cubicBezTo>
                      <a:pt x="4459" y="422999"/>
                      <a:pt x="-7394" y="414532"/>
                      <a:pt x="6999" y="473799"/>
                    </a:cubicBezTo>
                    <a:cubicBezTo>
                      <a:pt x="21392" y="533066"/>
                      <a:pt x="84046" y="738806"/>
                      <a:pt x="108599" y="74811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4" name="Freeform 15">
                <a:extLst>
                  <a:ext uri="{FF2B5EF4-FFF2-40B4-BE49-F238E27FC236}">
                    <a16:creationId xmlns:a16="http://schemas.microsoft.com/office/drawing/2014/main" id="{5458A52A-4FFE-104D-9429-470237C1ABA0}"/>
                  </a:ext>
                </a:extLst>
              </p:cNvPr>
              <p:cNvSpPr/>
              <p:nvPr/>
            </p:nvSpPr>
            <p:spPr>
              <a:xfrm>
                <a:off x="2643475" y="1349662"/>
                <a:ext cx="523167" cy="762969"/>
              </a:xfrm>
              <a:custGeom>
                <a:avLst/>
                <a:gdLst>
                  <a:gd name="connsiteX0" fmla="*/ 17663 w 523167"/>
                  <a:gd name="connsiteY0" fmla="*/ 221230 h 762969"/>
                  <a:gd name="connsiteX1" fmla="*/ 79 w 523167"/>
                  <a:gd name="connsiteY1" fmla="*/ 268123 h 762969"/>
                  <a:gd name="connsiteX2" fmla="*/ 11802 w 523167"/>
                  <a:gd name="connsiteY2" fmla="*/ 332600 h 762969"/>
                  <a:gd name="connsiteX3" fmla="*/ 26456 w 523167"/>
                  <a:gd name="connsiteY3" fmla="*/ 370700 h 762969"/>
                  <a:gd name="connsiteX4" fmla="*/ 58694 w 523167"/>
                  <a:gd name="connsiteY4" fmla="*/ 385353 h 762969"/>
                  <a:gd name="connsiteX5" fmla="*/ 67487 w 523167"/>
                  <a:gd name="connsiteY5" fmla="*/ 432246 h 762969"/>
                  <a:gd name="connsiteX6" fmla="*/ 85071 w 523167"/>
                  <a:gd name="connsiteY6" fmla="*/ 485000 h 762969"/>
                  <a:gd name="connsiteX7" fmla="*/ 108517 w 523167"/>
                  <a:gd name="connsiteY7" fmla="*/ 523100 h 762969"/>
                  <a:gd name="connsiteX8" fmla="*/ 102656 w 523167"/>
                  <a:gd name="connsiteY8" fmla="*/ 549476 h 762969"/>
                  <a:gd name="connsiteX9" fmla="*/ 140756 w 523167"/>
                  <a:gd name="connsiteY9" fmla="*/ 678430 h 762969"/>
                  <a:gd name="connsiteX10" fmla="*/ 249194 w 523167"/>
                  <a:gd name="connsiteY10" fmla="*/ 760492 h 762969"/>
                  <a:gd name="connsiteX11" fmla="*/ 351771 w 523167"/>
                  <a:gd name="connsiteY11" fmla="*/ 734115 h 762969"/>
                  <a:gd name="connsiteX12" fmla="*/ 404525 w 523167"/>
                  <a:gd name="connsiteY12" fmla="*/ 657915 h 762969"/>
                  <a:gd name="connsiteX13" fmla="*/ 392802 w 523167"/>
                  <a:gd name="connsiteY13" fmla="*/ 602230 h 762969"/>
                  <a:gd name="connsiteX14" fmla="*/ 389871 w 523167"/>
                  <a:gd name="connsiteY14" fmla="*/ 567061 h 762969"/>
                  <a:gd name="connsiteX15" fmla="*/ 404525 w 523167"/>
                  <a:gd name="connsiteY15" fmla="*/ 517238 h 762969"/>
                  <a:gd name="connsiteX16" fmla="*/ 433833 w 523167"/>
                  <a:gd name="connsiteY16" fmla="*/ 461553 h 762969"/>
                  <a:gd name="connsiteX17" fmla="*/ 454348 w 523167"/>
                  <a:gd name="connsiteY17" fmla="*/ 414661 h 762969"/>
                  <a:gd name="connsiteX18" fmla="*/ 460210 w 523167"/>
                  <a:gd name="connsiteY18" fmla="*/ 376561 h 762969"/>
                  <a:gd name="connsiteX19" fmla="*/ 480725 w 523167"/>
                  <a:gd name="connsiteY19" fmla="*/ 379492 h 762969"/>
                  <a:gd name="connsiteX20" fmla="*/ 501240 w 523167"/>
                  <a:gd name="connsiteY20" fmla="*/ 353115 h 762969"/>
                  <a:gd name="connsiteX21" fmla="*/ 521756 w 523167"/>
                  <a:gd name="connsiteY21" fmla="*/ 297430 h 762969"/>
                  <a:gd name="connsiteX22" fmla="*/ 518825 w 523167"/>
                  <a:gd name="connsiteY22" fmla="*/ 238815 h 762969"/>
                  <a:gd name="connsiteX23" fmla="*/ 498310 w 523167"/>
                  <a:gd name="connsiteY23" fmla="*/ 203646 h 762969"/>
                  <a:gd name="connsiteX24" fmla="*/ 489517 w 523167"/>
                  <a:gd name="connsiteY24" fmla="*/ 206576 h 762969"/>
                  <a:gd name="connsiteX25" fmla="*/ 445556 w 523167"/>
                  <a:gd name="connsiteY25" fmla="*/ 142100 h 762969"/>
                  <a:gd name="connsiteX26" fmla="*/ 445556 w 523167"/>
                  <a:gd name="connsiteY26" fmla="*/ 80553 h 762969"/>
                  <a:gd name="connsiteX27" fmla="*/ 369356 w 523167"/>
                  <a:gd name="connsiteY27" fmla="*/ 24869 h 762969"/>
                  <a:gd name="connsiteX28" fmla="*/ 211094 w 523167"/>
                  <a:gd name="connsiteY28" fmla="*/ 1423 h 762969"/>
                  <a:gd name="connsiteX29" fmla="*/ 82140 w 523167"/>
                  <a:gd name="connsiteY29" fmla="*/ 16076 h 762969"/>
                  <a:gd name="connsiteX30" fmla="*/ 41110 w 523167"/>
                  <a:gd name="connsiteY30" fmla="*/ 124515 h 762969"/>
                  <a:gd name="connsiteX31" fmla="*/ 17663 w 523167"/>
                  <a:gd name="connsiteY31" fmla="*/ 221230 h 7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67" h="762969">
                    <a:moveTo>
                      <a:pt x="17663" y="221230"/>
                    </a:moveTo>
                    <a:cubicBezTo>
                      <a:pt x="10825" y="245165"/>
                      <a:pt x="1056" y="249561"/>
                      <a:pt x="79" y="268123"/>
                    </a:cubicBezTo>
                    <a:cubicBezTo>
                      <a:pt x="-898" y="286685"/>
                      <a:pt x="7406" y="315504"/>
                      <a:pt x="11802" y="332600"/>
                    </a:cubicBezTo>
                    <a:cubicBezTo>
                      <a:pt x="16198" y="349696"/>
                      <a:pt x="18641" y="361908"/>
                      <a:pt x="26456" y="370700"/>
                    </a:cubicBezTo>
                    <a:cubicBezTo>
                      <a:pt x="34271" y="379492"/>
                      <a:pt x="51856" y="375095"/>
                      <a:pt x="58694" y="385353"/>
                    </a:cubicBezTo>
                    <a:cubicBezTo>
                      <a:pt x="65533" y="395611"/>
                      <a:pt x="63091" y="415638"/>
                      <a:pt x="67487" y="432246"/>
                    </a:cubicBezTo>
                    <a:cubicBezTo>
                      <a:pt x="71883" y="448854"/>
                      <a:pt x="78233" y="469858"/>
                      <a:pt x="85071" y="485000"/>
                    </a:cubicBezTo>
                    <a:cubicBezTo>
                      <a:pt x="91909" y="500142"/>
                      <a:pt x="105586" y="512354"/>
                      <a:pt x="108517" y="523100"/>
                    </a:cubicBezTo>
                    <a:cubicBezTo>
                      <a:pt x="111448" y="533846"/>
                      <a:pt x="97283" y="523588"/>
                      <a:pt x="102656" y="549476"/>
                    </a:cubicBezTo>
                    <a:cubicBezTo>
                      <a:pt x="108029" y="575364"/>
                      <a:pt x="116333" y="643261"/>
                      <a:pt x="140756" y="678430"/>
                    </a:cubicBezTo>
                    <a:cubicBezTo>
                      <a:pt x="165179" y="713599"/>
                      <a:pt x="214025" y="751211"/>
                      <a:pt x="249194" y="760492"/>
                    </a:cubicBezTo>
                    <a:cubicBezTo>
                      <a:pt x="284363" y="769773"/>
                      <a:pt x="325882" y="751211"/>
                      <a:pt x="351771" y="734115"/>
                    </a:cubicBezTo>
                    <a:cubicBezTo>
                      <a:pt x="377660" y="717019"/>
                      <a:pt x="397687" y="679896"/>
                      <a:pt x="404525" y="657915"/>
                    </a:cubicBezTo>
                    <a:cubicBezTo>
                      <a:pt x="411364" y="635934"/>
                      <a:pt x="395244" y="617372"/>
                      <a:pt x="392802" y="602230"/>
                    </a:cubicBezTo>
                    <a:cubicBezTo>
                      <a:pt x="390360" y="587088"/>
                      <a:pt x="387917" y="581226"/>
                      <a:pt x="389871" y="567061"/>
                    </a:cubicBezTo>
                    <a:cubicBezTo>
                      <a:pt x="391825" y="552896"/>
                      <a:pt x="397198" y="534823"/>
                      <a:pt x="404525" y="517238"/>
                    </a:cubicBezTo>
                    <a:cubicBezTo>
                      <a:pt x="411852" y="499653"/>
                      <a:pt x="425529" y="478649"/>
                      <a:pt x="433833" y="461553"/>
                    </a:cubicBezTo>
                    <a:cubicBezTo>
                      <a:pt x="442137" y="444457"/>
                      <a:pt x="449952" y="428826"/>
                      <a:pt x="454348" y="414661"/>
                    </a:cubicBezTo>
                    <a:cubicBezTo>
                      <a:pt x="458744" y="400496"/>
                      <a:pt x="455814" y="382422"/>
                      <a:pt x="460210" y="376561"/>
                    </a:cubicBezTo>
                    <a:cubicBezTo>
                      <a:pt x="464606" y="370700"/>
                      <a:pt x="473887" y="383400"/>
                      <a:pt x="480725" y="379492"/>
                    </a:cubicBezTo>
                    <a:cubicBezTo>
                      <a:pt x="487563" y="375584"/>
                      <a:pt x="494401" y="366792"/>
                      <a:pt x="501240" y="353115"/>
                    </a:cubicBezTo>
                    <a:cubicBezTo>
                      <a:pt x="508079" y="339438"/>
                      <a:pt x="518825" y="316480"/>
                      <a:pt x="521756" y="297430"/>
                    </a:cubicBezTo>
                    <a:cubicBezTo>
                      <a:pt x="524687" y="278380"/>
                      <a:pt x="522733" y="254446"/>
                      <a:pt x="518825" y="238815"/>
                    </a:cubicBezTo>
                    <a:cubicBezTo>
                      <a:pt x="514917" y="223184"/>
                      <a:pt x="503195" y="209019"/>
                      <a:pt x="498310" y="203646"/>
                    </a:cubicBezTo>
                    <a:cubicBezTo>
                      <a:pt x="493425" y="198273"/>
                      <a:pt x="498309" y="216834"/>
                      <a:pt x="489517" y="206576"/>
                    </a:cubicBezTo>
                    <a:cubicBezTo>
                      <a:pt x="480725" y="196318"/>
                      <a:pt x="452883" y="163104"/>
                      <a:pt x="445556" y="142100"/>
                    </a:cubicBezTo>
                    <a:cubicBezTo>
                      <a:pt x="438229" y="121096"/>
                      <a:pt x="458256" y="100091"/>
                      <a:pt x="445556" y="80553"/>
                    </a:cubicBezTo>
                    <a:cubicBezTo>
                      <a:pt x="432856" y="61014"/>
                      <a:pt x="408433" y="38057"/>
                      <a:pt x="369356" y="24869"/>
                    </a:cubicBezTo>
                    <a:cubicBezTo>
                      <a:pt x="330279" y="11681"/>
                      <a:pt x="258963" y="2888"/>
                      <a:pt x="211094" y="1423"/>
                    </a:cubicBezTo>
                    <a:cubicBezTo>
                      <a:pt x="163225" y="-43"/>
                      <a:pt x="110471" y="-4439"/>
                      <a:pt x="82140" y="16076"/>
                    </a:cubicBezTo>
                    <a:cubicBezTo>
                      <a:pt x="53809" y="36591"/>
                      <a:pt x="51368" y="95207"/>
                      <a:pt x="41110" y="124515"/>
                    </a:cubicBezTo>
                    <a:cubicBezTo>
                      <a:pt x="30852" y="153823"/>
                      <a:pt x="24501" y="197295"/>
                      <a:pt x="17663" y="22123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5" name="Freeform 16">
                <a:extLst>
                  <a:ext uri="{FF2B5EF4-FFF2-40B4-BE49-F238E27FC236}">
                    <a16:creationId xmlns:a16="http://schemas.microsoft.com/office/drawing/2014/main" id="{019CE061-9F44-2144-9B46-5A219C4BB3BD}"/>
                  </a:ext>
                </a:extLst>
              </p:cNvPr>
              <p:cNvSpPr/>
              <p:nvPr/>
            </p:nvSpPr>
            <p:spPr>
              <a:xfrm>
                <a:off x="2637394" y="1199203"/>
                <a:ext cx="516208" cy="478107"/>
              </a:xfrm>
              <a:custGeom>
                <a:avLst/>
                <a:gdLst>
                  <a:gd name="connsiteX0" fmla="*/ 50121 w 516208"/>
                  <a:gd name="connsiteY0" fmla="*/ 477197 h 478107"/>
                  <a:gd name="connsiteX1" fmla="*/ 26675 w 516208"/>
                  <a:gd name="connsiteY1" fmla="*/ 371689 h 478107"/>
                  <a:gd name="connsiteX2" fmla="*/ 12021 w 516208"/>
                  <a:gd name="connsiteY2" fmla="*/ 345312 h 478107"/>
                  <a:gd name="connsiteX3" fmla="*/ 298 w 516208"/>
                  <a:gd name="connsiteY3" fmla="*/ 313074 h 478107"/>
                  <a:gd name="connsiteX4" fmla="*/ 3229 w 516208"/>
                  <a:gd name="connsiteY4" fmla="*/ 277905 h 478107"/>
                  <a:gd name="connsiteX5" fmla="*/ 298 w 516208"/>
                  <a:gd name="connsiteY5" fmla="*/ 231012 h 478107"/>
                  <a:gd name="connsiteX6" fmla="*/ 6160 w 516208"/>
                  <a:gd name="connsiteY6" fmla="*/ 184120 h 478107"/>
                  <a:gd name="connsiteX7" fmla="*/ 23744 w 516208"/>
                  <a:gd name="connsiteY7" fmla="*/ 134297 h 478107"/>
                  <a:gd name="connsiteX8" fmla="*/ 64775 w 516208"/>
                  <a:gd name="connsiteY8" fmla="*/ 90335 h 478107"/>
                  <a:gd name="connsiteX9" fmla="*/ 102875 w 516208"/>
                  <a:gd name="connsiteY9" fmla="*/ 52235 h 478107"/>
                  <a:gd name="connsiteX10" fmla="*/ 179075 w 516208"/>
                  <a:gd name="connsiteY10" fmla="*/ 25859 h 478107"/>
                  <a:gd name="connsiteX11" fmla="*/ 214244 w 516208"/>
                  <a:gd name="connsiteY11" fmla="*/ 2412 h 478107"/>
                  <a:gd name="connsiteX12" fmla="*/ 281652 w 516208"/>
                  <a:gd name="connsiteY12" fmla="*/ 2412 h 478107"/>
                  <a:gd name="connsiteX13" fmla="*/ 357852 w 516208"/>
                  <a:gd name="connsiteY13" fmla="*/ 17066 h 478107"/>
                  <a:gd name="connsiteX14" fmla="*/ 401814 w 516208"/>
                  <a:gd name="connsiteY14" fmla="*/ 52235 h 478107"/>
                  <a:gd name="connsiteX15" fmla="*/ 454568 w 516208"/>
                  <a:gd name="connsiteY15" fmla="*/ 81543 h 478107"/>
                  <a:gd name="connsiteX16" fmla="*/ 498529 w 516208"/>
                  <a:gd name="connsiteY16" fmla="*/ 140159 h 478107"/>
                  <a:gd name="connsiteX17" fmla="*/ 507321 w 516208"/>
                  <a:gd name="connsiteY17" fmla="*/ 207566 h 478107"/>
                  <a:gd name="connsiteX18" fmla="*/ 516114 w 516208"/>
                  <a:gd name="connsiteY18" fmla="*/ 266182 h 478107"/>
                  <a:gd name="connsiteX19" fmla="*/ 501460 w 516208"/>
                  <a:gd name="connsiteY19" fmla="*/ 324797 h 478107"/>
                  <a:gd name="connsiteX20" fmla="*/ 495598 w 516208"/>
                  <a:gd name="connsiteY20" fmla="*/ 354105 h 478107"/>
                  <a:gd name="connsiteX21" fmla="*/ 489737 w 516208"/>
                  <a:gd name="connsiteY21" fmla="*/ 403928 h 478107"/>
                  <a:gd name="connsiteX22" fmla="*/ 475083 w 516208"/>
                  <a:gd name="connsiteY22" fmla="*/ 444959 h 478107"/>
                  <a:gd name="connsiteX23" fmla="*/ 457498 w 516208"/>
                  <a:gd name="connsiteY23" fmla="*/ 380482 h 478107"/>
                  <a:gd name="connsiteX24" fmla="*/ 448706 w 516208"/>
                  <a:gd name="connsiteY24" fmla="*/ 351174 h 478107"/>
                  <a:gd name="connsiteX25" fmla="*/ 422329 w 516208"/>
                  <a:gd name="connsiteY25" fmla="*/ 304282 h 478107"/>
                  <a:gd name="connsiteX26" fmla="*/ 419398 w 516208"/>
                  <a:gd name="connsiteY26" fmla="*/ 248597 h 478107"/>
                  <a:gd name="connsiteX27" fmla="*/ 381298 w 516208"/>
                  <a:gd name="connsiteY27" fmla="*/ 225151 h 478107"/>
                  <a:gd name="connsiteX28" fmla="*/ 357852 w 516208"/>
                  <a:gd name="connsiteY28" fmla="*/ 233943 h 478107"/>
                  <a:gd name="connsiteX29" fmla="*/ 322683 w 516208"/>
                  <a:gd name="connsiteY29" fmla="*/ 216359 h 478107"/>
                  <a:gd name="connsiteX30" fmla="*/ 278721 w 516208"/>
                  <a:gd name="connsiteY30" fmla="*/ 228082 h 478107"/>
                  <a:gd name="connsiteX31" fmla="*/ 249414 w 516208"/>
                  <a:gd name="connsiteY31" fmla="*/ 236874 h 478107"/>
                  <a:gd name="connsiteX32" fmla="*/ 199591 w 516208"/>
                  <a:gd name="connsiteY32" fmla="*/ 231012 h 478107"/>
                  <a:gd name="connsiteX33" fmla="*/ 143906 w 516208"/>
                  <a:gd name="connsiteY33" fmla="*/ 242735 h 478107"/>
                  <a:gd name="connsiteX34" fmla="*/ 111668 w 516208"/>
                  <a:gd name="connsiteY34" fmla="*/ 245666 h 478107"/>
                  <a:gd name="connsiteX35" fmla="*/ 94083 w 516208"/>
                  <a:gd name="connsiteY35" fmla="*/ 260320 h 478107"/>
                  <a:gd name="connsiteX36" fmla="*/ 88221 w 516208"/>
                  <a:gd name="connsiteY36" fmla="*/ 304282 h 478107"/>
                  <a:gd name="connsiteX37" fmla="*/ 67706 w 516208"/>
                  <a:gd name="connsiteY37" fmla="*/ 333589 h 478107"/>
                  <a:gd name="connsiteX38" fmla="*/ 67706 w 516208"/>
                  <a:gd name="connsiteY38" fmla="*/ 418582 h 478107"/>
                  <a:gd name="connsiteX39" fmla="*/ 50121 w 516208"/>
                  <a:gd name="connsiteY39" fmla="*/ 477197 h 47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6208" h="478107">
                    <a:moveTo>
                      <a:pt x="50121" y="477197"/>
                    </a:moveTo>
                    <a:cubicBezTo>
                      <a:pt x="43283" y="469382"/>
                      <a:pt x="33025" y="393670"/>
                      <a:pt x="26675" y="371689"/>
                    </a:cubicBezTo>
                    <a:cubicBezTo>
                      <a:pt x="20325" y="349708"/>
                      <a:pt x="16417" y="355081"/>
                      <a:pt x="12021" y="345312"/>
                    </a:cubicBezTo>
                    <a:cubicBezTo>
                      <a:pt x="7625" y="335543"/>
                      <a:pt x="1763" y="324308"/>
                      <a:pt x="298" y="313074"/>
                    </a:cubicBezTo>
                    <a:cubicBezTo>
                      <a:pt x="-1167" y="301840"/>
                      <a:pt x="3229" y="291582"/>
                      <a:pt x="3229" y="277905"/>
                    </a:cubicBezTo>
                    <a:cubicBezTo>
                      <a:pt x="3229" y="264228"/>
                      <a:pt x="-191" y="246643"/>
                      <a:pt x="298" y="231012"/>
                    </a:cubicBezTo>
                    <a:cubicBezTo>
                      <a:pt x="786" y="215381"/>
                      <a:pt x="2252" y="200239"/>
                      <a:pt x="6160" y="184120"/>
                    </a:cubicBezTo>
                    <a:cubicBezTo>
                      <a:pt x="10068" y="168001"/>
                      <a:pt x="13975" y="149928"/>
                      <a:pt x="23744" y="134297"/>
                    </a:cubicBezTo>
                    <a:cubicBezTo>
                      <a:pt x="33513" y="118666"/>
                      <a:pt x="51587" y="104012"/>
                      <a:pt x="64775" y="90335"/>
                    </a:cubicBezTo>
                    <a:cubicBezTo>
                      <a:pt x="77964" y="76658"/>
                      <a:pt x="83825" y="62981"/>
                      <a:pt x="102875" y="52235"/>
                    </a:cubicBezTo>
                    <a:cubicBezTo>
                      <a:pt x="121925" y="41489"/>
                      <a:pt x="160513" y="34163"/>
                      <a:pt x="179075" y="25859"/>
                    </a:cubicBezTo>
                    <a:cubicBezTo>
                      <a:pt x="197637" y="17555"/>
                      <a:pt x="197148" y="6320"/>
                      <a:pt x="214244" y="2412"/>
                    </a:cubicBezTo>
                    <a:cubicBezTo>
                      <a:pt x="231340" y="-1496"/>
                      <a:pt x="257717" y="-30"/>
                      <a:pt x="281652" y="2412"/>
                    </a:cubicBezTo>
                    <a:cubicBezTo>
                      <a:pt x="305587" y="4854"/>
                      <a:pt x="337825" y="8762"/>
                      <a:pt x="357852" y="17066"/>
                    </a:cubicBezTo>
                    <a:cubicBezTo>
                      <a:pt x="377879" y="25370"/>
                      <a:pt x="385695" y="41489"/>
                      <a:pt x="401814" y="52235"/>
                    </a:cubicBezTo>
                    <a:cubicBezTo>
                      <a:pt x="417933" y="62981"/>
                      <a:pt x="438449" y="66889"/>
                      <a:pt x="454568" y="81543"/>
                    </a:cubicBezTo>
                    <a:cubicBezTo>
                      <a:pt x="470687" y="96197"/>
                      <a:pt x="489737" y="119155"/>
                      <a:pt x="498529" y="140159"/>
                    </a:cubicBezTo>
                    <a:cubicBezTo>
                      <a:pt x="507321" y="161163"/>
                      <a:pt x="504390" y="186562"/>
                      <a:pt x="507321" y="207566"/>
                    </a:cubicBezTo>
                    <a:cubicBezTo>
                      <a:pt x="510252" y="228570"/>
                      <a:pt x="517091" y="246644"/>
                      <a:pt x="516114" y="266182"/>
                    </a:cubicBezTo>
                    <a:cubicBezTo>
                      <a:pt x="515137" y="285720"/>
                      <a:pt x="504879" y="310143"/>
                      <a:pt x="501460" y="324797"/>
                    </a:cubicBezTo>
                    <a:cubicBezTo>
                      <a:pt x="498041" y="339451"/>
                      <a:pt x="497552" y="340917"/>
                      <a:pt x="495598" y="354105"/>
                    </a:cubicBezTo>
                    <a:cubicBezTo>
                      <a:pt x="493644" y="367293"/>
                      <a:pt x="493156" y="388786"/>
                      <a:pt x="489737" y="403928"/>
                    </a:cubicBezTo>
                    <a:cubicBezTo>
                      <a:pt x="486318" y="419070"/>
                      <a:pt x="480456" y="448867"/>
                      <a:pt x="475083" y="444959"/>
                    </a:cubicBezTo>
                    <a:cubicBezTo>
                      <a:pt x="469710" y="441051"/>
                      <a:pt x="461894" y="396113"/>
                      <a:pt x="457498" y="380482"/>
                    </a:cubicBezTo>
                    <a:cubicBezTo>
                      <a:pt x="453102" y="364851"/>
                      <a:pt x="454567" y="363874"/>
                      <a:pt x="448706" y="351174"/>
                    </a:cubicBezTo>
                    <a:cubicBezTo>
                      <a:pt x="442845" y="338474"/>
                      <a:pt x="427214" y="321378"/>
                      <a:pt x="422329" y="304282"/>
                    </a:cubicBezTo>
                    <a:cubicBezTo>
                      <a:pt x="417444" y="287186"/>
                      <a:pt x="426236" y="261785"/>
                      <a:pt x="419398" y="248597"/>
                    </a:cubicBezTo>
                    <a:cubicBezTo>
                      <a:pt x="412560" y="235409"/>
                      <a:pt x="391556" y="227593"/>
                      <a:pt x="381298" y="225151"/>
                    </a:cubicBezTo>
                    <a:cubicBezTo>
                      <a:pt x="371040" y="222709"/>
                      <a:pt x="367621" y="235408"/>
                      <a:pt x="357852" y="233943"/>
                    </a:cubicBezTo>
                    <a:cubicBezTo>
                      <a:pt x="348083" y="232478"/>
                      <a:pt x="335871" y="217336"/>
                      <a:pt x="322683" y="216359"/>
                    </a:cubicBezTo>
                    <a:cubicBezTo>
                      <a:pt x="309495" y="215382"/>
                      <a:pt x="290933" y="224663"/>
                      <a:pt x="278721" y="228082"/>
                    </a:cubicBezTo>
                    <a:cubicBezTo>
                      <a:pt x="266509" y="231501"/>
                      <a:pt x="262602" y="236386"/>
                      <a:pt x="249414" y="236874"/>
                    </a:cubicBezTo>
                    <a:cubicBezTo>
                      <a:pt x="236226" y="237362"/>
                      <a:pt x="217176" y="230035"/>
                      <a:pt x="199591" y="231012"/>
                    </a:cubicBezTo>
                    <a:cubicBezTo>
                      <a:pt x="182006" y="231989"/>
                      <a:pt x="158560" y="240293"/>
                      <a:pt x="143906" y="242735"/>
                    </a:cubicBezTo>
                    <a:cubicBezTo>
                      <a:pt x="129252" y="245177"/>
                      <a:pt x="119972" y="242735"/>
                      <a:pt x="111668" y="245666"/>
                    </a:cubicBezTo>
                    <a:cubicBezTo>
                      <a:pt x="103364" y="248597"/>
                      <a:pt x="97991" y="250551"/>
                      <a:pt x="94083" y="260320"/>
                    </a:cubicBezTo>
                    <a:cubicBezTo>
                      <a:pt x="90175" y="270089"/>
                      <a:pt x="92617" y="292071"/>
                      <a:pt x="88221" y="304282"/>
                    </a:cubicBezTo>
                    <a:cubicBezTo>
                      <a:pt x="83825" y="316493"/>
                      <a:pt x="71125" y="314539"/>
                      <a:pt x="67706" y="333589"/>
                    </a:cubicBezTo>
                    <a:cubicBezTo>
                      <a:pt x="64287" y="352639"/>
                      <a:pt x="69171" y="396601"/>
                      <a:pt x="67706" y="418582"/>
                    </a:cubicBezTo>
                    <a:cubicBezTo>
                      <a:pt x="66241" y="440563"/>
                      <a:pt x="56959" y="485012"/>
                      <a:pt x="50121" y="477197"/>
                    </a:cubicBezTo>
                    <a:close/>
                  </a:path>
                </a:pathLst>
              </a:custGeom>
              <a:solidFill>
                <a:srgbClr val="8D9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6" name="Freeform 17">
                <a:extLst>
                  <a:ext uri="{FF2B5EF4-FFF2-40B4-BE49-F238E27FC236}">
                    <a16:creationId xmlns:a16="http://schemas.microsoft.com/office/drawing/2014/main" id="{D94E5EF3-7341-EF45-9A44-593521C0F428}"/>
                  </a:ext>
                </a:extLst>
              </p:cNvPr>
              <p:cNvSpPr/>
              <p:nvPr/>
            </p:nvSpPr>
            <p:spPr>
              <a:xfrm>
                <a:off x="2460680" y="1873253"/>
                <a:ext cx="902625" cy="1510983"/>
              </a:xfrm>
              <a:custGeom>
                <a:avLst/>
                <a:gdLst>
                  <a:gd name="connsiteX0" fmla="*/ 285568 w 902625"/>
                  <a:gd name="connsiteY0" fmla="*/ 1267 h 1510983"/>
                  <a:gd name="connsiteX1" fmla="*/ 294712 w 902625"/>
                  <a:gd name="connsiteY1" fmla="*/ 68323 h 1510983"/>
                  <a:gd name="connsiteX2" fmla="*/ 352624 w 902625"/>
                  <a:gd name="connsiteY2" fmla="*/ 117091 h 1510983"/>
                  <a:gd name="connsiteX3" fmla="*/ 410536 w 902625"/>
                  <a:gd name="connsiteY3" fmla="*/ 171955 h 1510983"/>
                  <a:gd name="connsiteX4" fmla="*/ 462352 w 902625"/>
                  <a:gd name="connsiteY4" fmla="*/ 184147 h 1510983"/>
                  <a:gd name="connsiteX5" fmla="*/ 529408 w 902625"/>
                  <a:gd name="connsiteY5" fmla="*/ 150619 h 1510983"/>
                  <a:gd name="connsiteX6" fmla="*/ 584272 w 902625"/>
                  <a:gd name="connsiteY6" fmla="*/ 104899 h 1510983"/>
                  <a:gd name="connsiteX7" fmla="*/ 593416 w 902625"/>
                  <a:gd name="connsiteY7" fmla="*/ 83563 h 1510983"/>
                  <a:gd name="connsiteX8" fmla="*/ 581224 w 902625"/>
                  <a:gd name="connsiteY8" fmla="*/ 65275 h 1510983"/>
                  <a:gd name="connsiteX9" fmla="*/ 608656 w 902625"/>
                  <a:gd name="connsiteY9" fmla="*/ 101851 h 1510983"/>
                  <a:gd name="connsiteX10" fmla="*/ 608656 w 902625"/>
                  <a:gd name="connsiteY10" fmla="*/ 138427 h 1510983"/>
                  <a:gd name="connsiteX11" fmla="*/ 605608 w 902625"/>
                  <a:gd name="connsiteY11" fmla="*/ 175003 h 1510983"/>
                  <a:gd name="connsiteX12" fmla="*/ 654376 w 902625"/>
                  <a:gd name="connsiteY12" fmla="*/ 217675 h 1510983"/>
                  <a:gd name="connsiteX13" fmla="*/ 761056 w 902625"/>
                  <a:gd name="connsiteY13" fmla="*/ 406651 h 1510983"/>
                  <a:gd name="connsiteX14" fmla="*/ 773248 w 902625"/>
                  <a:gd name="connsiteY14" fmla="*/ 836419 h 1510983"/>
                  <a:gd name="connsiteX15" fmla="*/ 861640 w 902625"/>
                  <a:gd name="connsiteY15" fmla="*/ 1214371 h 1510983"/>
                  <a:gd name="connsiteX16" fmla="*/ 901264 w 902625"/>
                  <a:gd name="connsiteY16" fmla="*/ 1397251 h 1510983"/>
                  <a:gd name="connsiteX17" fmla="*/ 815920 w 902625"/>
                  <a:gd name="connsiteY17" fmla="*/ 1427731 h 1510983"/>
                  <a:gd name="connsiteX18" fmla="*/ 742768 w 902625"/>
                  <a:gd name="connsiteY18" fmla="*/ 1436875 h 1510983"/>
                  <a:gd name="connsiteX19" fmla="*/ 681808 w 902625"/>
                  <a:gd name="connsiteY19" fmla="*/ 1433827 h 1510983"/>
                  <a:gd name="connsiteX20" fmla="*/ 559888 w 902625"/>
                  <a:gd name="connsiteY20" fmla="*/ 1461259 h 1510983"/>
                  <a:gd name="connsiteX21" fmla="*/ 434920 w 902625"/>
                  <a:gd name="connsiteY21" fmla="*/ 1491739 h 1510983"/>
                  <a:gd name="connsiteX22" fmla="*/ 355672 w 902625"/>
                  <a:gd name="connsiteY22" fmla="*/ 1506979 h 1510983"/>
                  <a:gd name="connsiteX23" fmla="*/ 230704 w 902625"/>
                  <a:gd name="connsiteY23" fmla="*/ 1510027 h 1510983"/>
                  <a:gd name="connsiteX24" fmla="*/ 133168 w 902625"/>
                  <a:gd name="connsiteY24" fmla="*/ 1506979 h 1510983"/>
                  <a:gd name="connsiteX25" fmla="*/ 14296 w 902625"/>
                  <a:gd name="connsiteY25" fmla="*/ 1470403 h 1510983"/>
                  <a:gd name="connsiteX26" fmla="*/ 5152 w 902625"/>
                  <a:gd name="connsiteY26" fmla="*/ 1196083 h 1510983"/>
                  <a:gd name="connsiteX27" fmla="*/ 41728 w 902625"/>
                  <a:gd name="connsiteY27" fmla="*/ 702307 h 1510983"/>
                  <a:gd name="connsiteX28" fmla="*/ 145360 w 902625"/>
                  <a:gd name="connsiteY28" fmla="*/ 226819 h 1510983"/>
                  <a:gd name="connsiteX29" fmla="*/ 245944 w 902625"/>
                  <a:gd name="connsiteY29" fmla="*/ 40891 h 1510983"/>
                  <a:gd name="connsiteX30" fmla="*/ 285568 w 902625"/>
                  <a:gd name="connsiteY30" fmla="*/ 1267 h 151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2625" h="1510983">
                    <a:moveTo>
                      <a:pt x="285568" y="1267"/>
                    </a:moveTo>
                    <a:cubicBezTo>
                      <a:pt x="293696" y="5839"/>
                      <a:pt x="283536" y="49019"/>
                      <a:pt x="294712" y="68323"/>
                    </a:cubicBezTo>
                    <a:cubicBezTo>
                      <a:pt x="305888" y="87627"/>
                      <a:pt x="333320" y="99819"/>
                      <a:pt x="352624" y="117091"/>
                    </a:cubicBezTo>
                    <a:cubicBezTo>
                      <a:pt x="371928" y="134363"/>
                      <a:pt x="392248" y="160779"/>
                      <a:pt x="410536" y="171955"/>
                    </a:cubicBezTo>
                    <a:cubicBezTo>
                      <a:pt x="428824" y="183131"/>
                      <a:pt x="442540" y="187703"/>
                      <a:pt x="462352" y="184147"/>
                    </a:cubicBezTo>
                    <a:cubicBezTo>
                      <a:pt x="482164" y="180591"/>
                      <a:pt x="509088" y="163827"/>
                      <a:pt x="529408" y="150619"/>
                    </a:cubicBezTo>
                    <a:cubicBezTo>
                      <a:pt x="549728" y="137411"/>
                      <a:pt x="573604" y="116075"/>
                      <a:pt x="584272" y="104899"/>
                    </a:cubicBezTo>
                    <a:cubicBezTo>
                      <a:pt x="594940" y="93723"/>
                      <a:pt x="593924" y="90167"/>
                      <a:pt x="593416" y="83563"/>
                    </a:cubicBezTo>
                    <a:cubicBezTo>
                      <a:pt x="592908" y="76959"/>
                      <a:pt x="578684" y="62227"/>
                      <a:pt x="581224" y="65275"/>
                    </a:cubicBezTo>
                    <a:cubicBezTo>
                      <a:pt x="583764" y="68323"/>
                      <a:pt x="604084" y="89659"/>
                      <a:pt x="608656" y="101851"/>
                    </a:cubicBezTo>
                    <a:cubicBezTo>
                      <a:pt x="613228" y="114043"/>
                      <a:pt x="609164" y="126235"/>
                      <a:pt x="608656" y="138427"/>
                    </a:cubicBezTo>
                    <a:cubicBezTo>
                      <a:pt x="608148" y="150619"/>
                      <a:pt x="597988" y="161795"/>
                      <a:pt x="605608" y="175003"/>
                    </a:cubicBezTo>
                    <a:cubicBezTo>
                      <a:pt x="613228" y="188211"/>
                      <a:pt x="628468" y="179067"/>
                      <a:pt x="654376" y="217675"/>
                    </a:cubicBezTo>
                    <a:cubicBezTo>
                      <a:pt x="680284" y="256283"/>
                      <a:pt x="741244" y="303527"/>
                      <a:pt x="761056" y="406651"/>
                    </a:cubicBezTo>
                    <a:cubicBezTo>
                      <a:pt x="780868" y="509775"/>
                      <a:pt x="756484" y="701799"/>
                      <a:pt x="773248" y="836419"/>
                    </a:cubicBezTo>
                    <a:cubicBezTo>
                      <a:pt x="790012" y="971039"/>
                      <a:pt x="840304" y="1120899"/>
                      <a:pt x="861640" y="1214371"/>
                    </a:cubicBezTo>
                    <a:cubicBezTo>
                      <a:pt x="882976" y="1307843"/>
                      <a:pt x="908884" y="1361691"/>
                      <a:pt x="901264" y="1397251"/>
                    </a:cubicBezTo>
                    <a:cubicBezTo>
                      <a:pt x="893644" y="1432811"/>
                      <a:pt x="842336" y="1421127"/>
                      <a:pt x="815920" y="1427731"/>
                    </a:cubicBezTo>
                    <a:cubicBezTo>
                      <a:pt x="789504" y="1434335"/>
                      <a:pt x="765120" y="1435859"/>
                      <a:pt x="742768" y="1436875"/>
                    </a:cubicBezTo>
                    <a:cubicBezTo>
                      <a:pt x="720416" y="1437891"/>
                      <a:pt x="712288" y="1429763"/>
                      <a:pt x="681808" y="1433827"/>
                    </a:cubicBezTo>
                    <a:cubicBezTo>
                      <a:pt x="651328" y="1437891"/>
                      <a:pt x="559888" y="1461259"/>
                      <a:pt x="559888" y="1461259"/>
                    </a:cubicBezTo>
                    <a:lnTo>
                      <a:pt x="434920" y="1491739"/>
                    </a:lnTo>
                    <a:cubicBezTo>
                      <a:pt x="400884" y="1499359"/>
                      <a:pt x="389708" y="1503931"/>
                      <a:pt x="355672" y="1506979"/>
                    </a:cubicBezTo>
                    <a:cubicBezTo>
                      <a:pt x="321636" y="1510027"/>
                      <a:pt x="267788" y="1510027"/>
                      <a:pt x="230704" y="1510027"/>
                    </a:cubicBezTo>
                    <a:cubicBezTo>
                      <a:pt x="193620" y="1510027"/>
                      <a:pt x="169236" y="1513583"/>
                      <a:pt x="133168" y="1506979"/>
                    </a:cubicBezTo>
                    <a:cubicBezTo>
                      <a:pt x="97100" y="1500375"/>
                      <a:pt x="35632" y="1522219"/>
                      <a:pt x="14296" y="1470403"/>
                    </a:cubicBezTo>
                    <a:cubicBezTo>
                      <a:pt x="-7040" y="1418587"/>
                      <a:pt x="580" y="1324099"/>
                      <a:pt x="5152" y="1196083"/>
                    </a:cubicBezTo>
                    <a:cubicBezTo>
                      <a:pt x="9724" y="1068067"/>
                      <a:pt x="18360" y="863851"/>
                      <a:pt x="41728" y="702307"/>
                    </a:cubicBezTo>
                    <a:cubicBezTo>
                      <a:pt x="65096" y="540763"/>
                      <a:pt x="111324" y="337055"/>
                      <a:pt x="145360" y="226819"/>
                    </a:cubicBezTo>
                    <a:cubicBezTo>
                      <a:pt x="179396" y="116583"/>
                      <a:pt x="222068" y="78483"/>
                      <a:pt x="245944" y="40891"/>
                    </a:cubicBezTo>
                    <a:cubicBezTo>
                      <a:pt x="269820" y="3299"/>
                      <a:pt x="277440" y="-3305"/>
                      <a:pt x="285568" y="1267"/>
                    </a:cubicBez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7" name="Freeform 18">
                <a:extLst>
                  <a:ext uri="{FF2B5EF4-FFF2-40B4-BE49-F238E27FC236}">
                    <a16:creationId xmlns:a16="http://schemas.microsoft.com/office/drawing/2014/main" id="{12050141-3882-2448-8A68-DEC1AEFD673D}"/>
                  </a:ext>
                </a:extLst>
              </p:cNvPr>
              <p:cNvSpPr/>
              <p:nvPr/>
            </p:nvSpPr>
            <p:spPr>
              <a:xfrm>
                <a:off x="2823398" y="2045097"/>
                <a:ext cx="372325" cy="1206936"/>
              </a:xfrm>
              <a:custGeom>
                <a:avLst/>
                <a:gdLst>
                  <a:gd name="connsiteX0" fmla="*/ 60010 w 372325"/>
                  <a:gd name="connsiteY0" fmla="*/ 111 h 1206936"/>
                  <a:gd name="connsiteX1" fmla="*/ 2098 w 372325"/>
                  <a:gd name="connsiteY1" fmla="*/ 42783 h 1206936"/>
                  <a:gd name="connsiteX2" fmla="*/ 14290 w 372325"/>
                  <a:gd name="connsiteY2" fmla="*/ 79359 h 1206936"/>
                  <a:gd name="connsiteX3" fmla="*/ 29530 w 372325"/>
                  <a:gd name="connsiteY3" fmla="*/ 97647 h 1206936"/>
                  <a:gd name="connsiteX4" fmla="*/ 44770 w 372325"/>
                  <a:gd name="connsiteY4" fmla="*/ 122031 h 1206936"/>
                  <a:gd name="connsiteX5" fmla="*/ 29530 w 372325"/>
                  <a:gd name="connsiteY5" fmla="*/ 170799 h 1206936"/>
                  <a:gd name="connsiteX6" fmla="*/ 32578 w 372325"/>
                  <a:gd name="connsiteY6" fmla="*/ 259191 h 1206936"/>
                  <a:gd name="connsiteX7" fmla="*/ 50866 w 372325"/>
                  <a:gd name="connsiteY7" fmla="*/ 393303 h 1206936"/>
                  <a:gd name="connsiteX8" fmla="*/ 133162 w 372325"/>
                  <a:gd name="connsiteY8" fmla="*/ 926703 h 1206936"/>
                  <a:gd name="connsiteX9" fmla="*/ 166690 w 372325"/>
                  <a:gd name="connsiteY9" fmla="*/ 1097391 h 1206936"/>
                  <a:gd name="connsiteX10" fmla="*/ 178882 w 372325"/>
                  <a:gd name="connsiteY10" fmla="*/ 1124823 h 1206936"/>
                  <a:gd name="connsiteX11" fmla="*/ 227650 w 372325"/>
                  <a:gd name="connsiteY11" fmla="*/ 1158351 h 1206936"/>
                  <a:gd name="connsiteX12" fmla="*/ 297754 w 372325"/>
                  <a:gd name="connsiteY12" fmla="*/ 1201023 h 1206936"/>
                  <a:gd name="connsiteX13" fmla="*/ 316042 w 372325"/>
                  <a:gd name="connsiteY13" fmla="*/ 1191879 h 1206936"/>
                  <a:gd name="connsiteX14" fmla="*/ 367858 w 372325"/>
                  <a:gd name="connsiteY14" fmla="*/ 1066911 h 1206936"/>
                  <a:gd name="connsiteX15" fmla="*/ 367858 w 372325"/>
                  <a:gd name="connsiteY15" fmla="*/ 1036431 h 1206936"/>
                  <a:gd name="connsiteX16" fmla="*/ 352618 w 372325"/>
                  <a:gd name="connsiteY16" fmla="*/ 990711 h 1206936"/>
                  <a:gd name="connsiteX17" fmla="*/ 306898 w 372325"/>
                  <a:gd name="connsiteY17" fmla="*/ 810879 h 1206936"/>
                  <a:gd name="connsiteX18" fmla="*/ 230698 w 372325"/>
                  <a:gd name="connsiteY18" fmla="*/ 457311 h 1206936"/>
                  <a:gd name="connsiteX19" fmla="*/ 188026 w 372325"/>
                  <a:gd name="connsiteY19" fmla="*/ 289671 h 1206936"/>
                  <a:gd name="connsiteX20" fmla="*/ 166690 w 372325"/>
                  <a:gd name="connsiteY20" fmla="*/ 210423 h 1206936"/>
                  <a:gd name="connsiteX21" fmla="*/ 142306 w 372325"/>
                  <a:gd name="connsiteY21" fmla="*/ 173847 h 1206936"/>
                  <a:gd name="connsiteX22" fmla="*/ 124018 w 372325"/>
                  <a:gd name="connsiteY22" fmla="*/ 131175 h 1206936"/>
                  <a:gd name="connsiteX23" fmla="*/ 117922 w 372325"/>
                  <a:gd name="connsiteY23" fmla="*/ 100695 h 1206936"/>
                  <a:gd name="connsiteX24" fmla="*/ 148402 w 372325"/>
                  <a:gd name="connsiteY24" fmla="*/ 82407 h 1206936"/>
                  <a:gd name="connsiteX25" fmla="*/ 154498 w 372325"/>
                  <a:gd name="connsiteY25" fmla="*/ 54975 h 1206936"/>
                  <a:gd name="connsiteX26" fmla="*/ 136210 w 372325"/>
                  <a:gd name="connsiteY26" fmla="*/ 30591 h 1206936"/>
                  <a:gd name="connsiteX27" fmla="*/ 60010 w 372325"/>
                  <a:gd name="connsiteY27" fmla="*/ 111 h 12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2325" h="1206936">
                    <a:moveTo>
                      <a:pt x="60010" y="111"/>
                    </a:moveTo>
                    <a:cubicBezTo>
                      <a:pt x="37658" y="2143"/>
                      <a:pt x="9718" y="29575"/>
                      <a:pt x="2098" y="42783"/>
                    </a:cubicBezTo>
                    <a:cubicBezTo>
                      <a:pt x="-5522" y="55991"/>
                      <a:pt x="9718" y="70215"/>
                      <a:pt x="14290" y="79359"/>
                    </a:cubicBezTo>
                    <a:cubicBezTo>
                      <a:pt x="18862" y="88503"/>
                      <a:pt x="24450" y="90535"/>
                      <a:pt x="29530" y="97647"/>
                    </a:cubicBezTo>
                    <a:cubicBezTo>
                      <a:pt x="34610" y="104759"/>
                      <a:pt x="44770" y="109839"/>
                      <a:pt x="44770" y="122031"/>
                    </a:cubicBezTo>
                    <a:cubicBezTo>
                      <a:pt x="44770" y="134223"/>
                      <a:pt x="31562" y="147939"/>
                      <a:pt x="29530" y="170799"/>
                    </a:cubicBezTo>
                    <a:cubicBezTo>
                      <a:pt x="27498" y="193659"/>
                      <a:pt x="29022" y="222107"/>
                      <a:pt x="32578" y="259191"/>
                    </a:cubicBezTo>
                    <a:cubicBezTo>
                      <a:pt x="36134" y="296275"/>
                      <a:pt x="34102" y="282051"/>
                      <a:pt x="50866" y="393303"/>
                    </a:cubicBezTo>
                    <a:cubicBezTo>
                      <a:pt x="67630" y="504555"/>
                      <a:pt x="113858" y="809355"/>
                      <a:pt x="133162" y="926703"/>
                    </a:cubicBezTo>
                    <a:cubicBezTo>
                      <a:pt x="152466" y="1044051"/>
                      <a:pt x="159070" y="1064371"/>
                      <a:pt x="166690" y="1097391"/>
                    </a:cubicBezTo>
                    <a:cubicBezTo>
                      <a:pt x="174310" y="1130411"/>
                      <a:pt x="168722" y="1114663"/>
                      <a:pt x="178882" y="1124823"/>
                    </a:cubicBezTo>
                    <a:cubicBezTo>
                      <a:pt x="189042" y="1134983"/>
                      <a:pt x="207838" y="1145651"/>
                      <a:pt x="227650" y="1158351"/>
                    </a:cubicBezTo>
                    <a:cubicBezTo>
                      <a:pt x="247462" y="1171051"/>
                      <a:pt x="283022" y="1195435"/>
                      <a:pt x="297754" y="1201023"/>
                    </a:cubicBezTo>
                    <a:cubicBezTo>
                      <a:pt x="312486" y="1206611"/>
                      <a:pt x="304358" y="1214231"/>
                      <a:pt x="316042" y="1191879"/>
                    </a:cubicBezTo>
                    <a:cubicBezTo>
                      <a:pt x="327726" y="1169527"/>
                      <a:pt x="359222" y="1092819"/>
                      <a:pt x="367858" y="1066911"/>
                    </a:cubicBezTo>
                    <a:cubicBezTo>
                      <a:pt x="376494" y="1041003"/>
                      <a:pt x="370398" y="1049131"/>
                      <a:pt x="367858" y="1036431"/>
                    </a:cubicBezTo>
                    <a:cubicBezTo>
                      <a:pt x="365318" y="1023731"/>
                      <a:pt x="362778" y="1028303"/>
                      <a:pt x="352618" y="990711"/>
                    </a:cubicBezTo>
                    <a:cubicBezTo>
                      <a:pt x="342458" y="953119"/>
                      <a:pt x="327218" y="899779"/>
                      <a:pt x="306898" y="810879"/>
                    </a:cubicBezTo>
                    <a:cubicBezTo>
                      <a:pt x="286578" y="721979"/>
                      <a:pt x="250510" y="544179"/>
                      <a:pt x="230698" y="457311"/>
                    </a:cubicBezTo>
                    <a:cubicBezTo>
                      <a:pt x="210886" y="370443"/>
                      <a:pt x="198694" y="330819"/>
                      <a:pt x="188026" y="289671"/>
                    </a:cubicBezTo>
                    <a:cubicBezTo>
                      <a:pt x="177358" y="248523"/>
                      <a:pt x="174310" y="229727"/>
                      <a:pt x="166690" y="210423"/>
                    </a:cubicBezTo>
                    <a:cubicBezTo>
                      <a:pt x="159070" y="191119"/>
                      <a:pt x="149418" y="187055"/>
                      <a:pt x="142306" y="173847"/>
                    </a:cubicBezTo>
                    <a:cubicBezTo>
                      <a:pt x="135194" y="160639"/>
                      <a:pt x="128082" y="143367"/>
                      <a:pt x="124018" y="131175"/>
                    </a:cubicBezTo>
                    <a:cubicBezTo>
                      <a:pt x="119954" y="118983"/>
                      <a:pt x="113858" y="108823"/>
                      <a:pt x="117922" y="100695"/>
                    </a:cubicBezTo>
                    <a:cubicBezTo>
                      <a:pt x="121986" y="92567"/>
                      <a:pt x="142306" y="90027"/>
                      <a:pt x="148402" y="82407"/>
                    </a:cubicBezTo>
                    <a:cubicBezTo>
                      <a:pt x="154498" y="74787"/>
                      <a:pt x="156530" y="63611"/>
                      <a:pt x="154498" y="54975"/>
                    </a:cubicBezTo>
                    <a:cubicBezTo>
                      <a:pt x="152466" y="46339"/>
                      <a:pt x="144846" y="36687"/>
                      <a:pt x="136210" y="30591"/>
                    </a:cubicBezTo>
                    <a:cubicBezTo>
                      <a:pt x="127574" y="24495"/>
                      <a:pt x="82362" y="-1921"/>
                      <a:pt x="60010" y="111"/>
                    </a:cubicBezTo>
                    <a:close/>
                  </a:path>
                </a:pathLst>
              </a:custGeom>
              <a:solidFill>
                <a:srgbClr val="90D2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8" name="Freeform 19">
                <a:extLst>
                  <a:ext uri="{FF2B5EF4-FFF2-40B4-BE49-F238E27FC236}">
                    <a16:creationId xmlns:a16="http://schemas.microsoft.com/office/drawing/2014/main" id="{B14538A8-EE21-AC44-BF1F-3CB25C245FC4}"/>
                  </a:ext>
                </a:extLst>
              </p:cNvPr>
              <p:cNvSpPr/>
              <p:nvPr/>
            </p:nvSpPr>
            <p:spPr>
              <a:xfrm>
                <a:off x="3067836" y="1975406"/>
                <a:ext cx="501695" cy="1929431"/>
              </a:xfrm>
              <a:custGeom>
                <a:avLst/>
                <a:gdLst>
                  <a:gd name="connsiteX0" fmla="*/ 217 w 501695"/>
                  <a:gd name="connsiteY0" fmla="*/ 1783 h 1929431"/>
                  <a:gd name="connsiteX1" fmla="*/ 44332 w 501695"/>
                  <a:gd name="connsiteY1" fmla="*/ 73973 h 1929431"/>
                  <a:gd name="connsiteX2" fmla="*/ 96469 w 501695"/>
                  <a:gd name="connsiteY2" fmla="*/ 122099 h 1929431"/>
                  <a:gd name="connsiteX3" fmla="*/ 196732 w 501695"/>
                  <a:gd name="connsiteY3" fmla="*/ 154183 h 1929431"/>
                  <a:gd name="connsiteX4" fmla="*/ 317048 w 501695"/>
                  <a:gd name="connsiteY4" fmla="*/ 238405 h 1929431"/>
                  <a:gd name="connsiteX5" fmla="*/ 353143 w 501695"/>
                  <a:gd name="connsiteY5" fmla="*/ 270489 h 1929431"/>
                  <a:gd name="connsiteX6" fmla="*/ 365175 w 501695"/>
                  <a:gd name="connsiteY6" fmla="*/ 358720 h 1929431"/>
                  <a:gd name="connsiteX7" fmla="*/ 369185 w 501695"/>
                  <a:gd name="connsiteY7" fmla="*/ 406847 h 1929431"/>
                  <a:gd name="connsiteX8" fmla="*/ 369185 w 501695"/>
                  <a:gd name="connsiteY8" fmla="*/ 454973 h 1929431"/>
                  <a:gd name="connsiteX9" fmla="*/ 381217 w 501695"/>
                  <a:gd name="connsiteY9" fmla="*/ 527162 h 1929431"/>
                  <a:gd name="connsiteX10" fmla="*/ 401269 w 501695"/>
                  <a:gd name="connsiteY10" fmla="*/ 579299 h 1929431"/>
                  <a:gd name="connsiteX11" fmla="*/ 397259 w 501695"/>
                  <a:gd name="connsiteY11" fmla="*/ 631436 h 1929431"/>
                  <a:gd name="connsiteX12" fmla="*/ 409290 w 501695"/>
                  <a:gd name="connsiteY12" fmla="*/ 707636 h 1929431"/>
                  <a:gd name="connsiteX13" fmla="*/ 433353 w 501695"/>
                  <a:gd name="connsiteY13" fmla="*/ 852015 h 1929431"/>
                  <a:gd name="connsiteX14" fmla="*/ 449396 w 501695"/>
                  <a:gd name="connsiteY14" fmla="*/ 1020457 h 1929431"/>
                  <a:gd name="connsiteX15" fmla="*/ 461427 w 501695"/>
                  <a:gd name="connsiteY15" fmla="*/ 1060562 h 1929431"/>
                  <a:gd name="connsiteX16" fmla="*/ 469448 w 501695"/>
                  <a:gd name="connsiteY16" fmla="*/ 1092647 h 1929431"/>
                  <a:gd name="connsiteX17" fmla="*/ 473459 w 501695"/>
                  <a:gd name="connsiteY17" fmla="*/ 1220983 h 1929431"/>
                  <a:gd name="connsiteX18" fmla="*/ 489501 w 501695"/>
                  <a:gd name="connsiteY18" fmla="*/ 1401457 h 1929431"/>
                  <a:gd name="connsiteX19" fmla="*/ 493511 w 501695"/>
                  <a:gd name="connsiteY19" fmla="*/ 1545836 h 1929431"/>
                  <a:gd name="connsiteX20" fmla="*/ 501532 w 501695"/>
                  <a:gd name="connsiteY20" fmla="*/ 1706257 h 1929431"/>
                  <a:gd name="connsiteX21" fmla="*/ 493511 w 501695"/>
                  <a:gd name="connsiteY21" fmla="*/ 1798499 h 1929431"/>
                  <a:gd name="connsiteX22" fmla="*/ 441375 w 501695"/>
                  <a:gd name="connsiteY22" fmla="*/ 1782457 h 1929431"/>
                  <a:gd name="connsiteX23" fmla="*/ 369185 w 501695"/>
                  <a:gd name="connsiteY23" fmla="*/ 1782457 h 1929431"/>
                  <a:gd name="connsiteX24" fmla="*/ 345122 w 501695"/>
                  <a:gd name="connsiteY24" fmla="*/ 1874699 h 1929431"/>
                  <a:gd name="connsiteX25" fmla="*/ 260901 w 501695"/>
                  <a:gd name="connsiteY25" fmla="*/ 1926836 h 1929431"/>
                  <a:gd name="connsiteX26" fmla="*/ 280953 w 501695"/>
                  <a:gd name="connsiteY26" fmla="*/ 1794489 h 1929431"/>
                  <a:gd name="connsiteX27" fmla="*/ 292985 w 501695"/>
                  <a:gd name="connsiteY27" fmla="*/ 1694226 h 1929431"/>
                  <a:gd name="connsiteX28" fmla="*/ 264911 w 501695"/>
                  <a:gd name="connsiteY28" fmla="*/ 1618026 h 1929431"/>
                  <a:gd name="connsiteX29" fmla="*/ 260901 w 501695"/>
                  <a:gd name="connsiteY29" fmla="*/ 1469636 h 1929431"/>
                  <a:gd name="connsiteX30" fmla="*/ 216785 w 501695"/>
                  <a:gd name="connsiteY30" fmla="*/ 1313226 h 1929431"/>
                  <a:gd name="connsiteX31" fmla="*/ 160638 w 501695"/>
                  <a:gd name="connsiteY31" fmla="*/ 1092647 h 1929431"/>
                  <a:gd name="connsiteX32" fmla="*/ 124543 w 501695"/>
                  <a:gd name="connsiteY32" fmla="*/ 952278 h 1929431"/>
                  <a:gd name="connsiteX33" fmla="*/ 112511 w 501695"/>
                  <a:gd name="connsiteY33" fmla="*/ 663520 h 1929431"/>
                  <a:gd name="connsiteX34" fmla="*/ 48343 w 501695"/>
                  <a:gd name="connsiteY34" fmla="*/ 334657 h 1929431"/>
                  <a:gd name="connsiteX35" fmla="*/ 28290 w 501695"/>
                  <a:gd name="connsiteY35" fmla="*/ 154183 h 1929431"/>
                  <a:gd name="connsiteX36" fmla="*/ 217 w 501695"/>
                  <a:gd name="connsiteY36" fmla="*/ 1783 h 192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95" h="1929431">
                    <a:moveTo>
                      <a:pt x="217" y="1783"/>
                    </a:moveTo>
                    <a:cubicBezTo>
                      <a:pt x="2891" y="-11585"/>
                      <a:pt x="28290" y="53920"/>
                      <a:pt x="44332" y="73973"/>
                    </a:cubicBezTo>
                    <a:cubicBezTo>
                      <a:pt x="60374" y="94026"/>
                      <a:pt x="71069" y="108731"/>
                      <a:pt x="96469" y="122099"/>
                    </a:cubicBezTo>
                    <a:cubicBezTo>
                      <a:pt x="121869" y="135467"/>
                      <a:pt x="159969" y="134799"/>
                      <a:pt x="196732" y="154183"/>
                    </a:cubicBezTo>
                    <a:cubicBezTo>
                      <a:pt x="233495" y="173567"/>
                      <a:pt x="290980" y="219021"/>
                      <a:pt x="317048" y="238405"/>
                    </a:cubicBezTo>
                    <a:cubicBezTo>
                      <a:pt x="343116" y="257789"/>
                      <a:pt x="345122" y="250437"/>
                      <a:pt x="353143" y="270489"/>
                    </a:cubicBezTo>
                    <a:cubicBezTo>
                      <a:pt x="361164" y="290541"/>
                      <a:pt x="362501" y="335994"/>
                      <a:pt x="365175" y="358720"/>
                    </a:cubicBezTo>
                    <a:cubicBezTo>
                      <a:pt x="367849" y="381446"/>
                      <a:pt x="368517" y="390805"/>
                      <a:pt x="369185" y="406847"/>
                    </a:cubicBezTo>
                    <a:cubicBezTo>
                      <a:pt x="369853" y="422889"/>
                      <a:pt x="367180" y="434921"/>
                      <a:pt x="369185" y="454973"/>
                    </a:cubicBezTo>
                    <a:cubicBezTo>
                      <a:pt x="371190" y="475025"/>
                      <a:pt x="375870" y="506441"/>
                      <a:pt x="381217" y="527162"/>
                    </a:cubicBezTo>
                    <a:cubicBezTo>
                      <a:pt x="386564" y="547883"/>
                      <a:pt x="398595" y="561920"/>
                      <a:pt x="401269" y="579299"/>
                    </a:cubicBezTo>
                    <a:cubicBezTo>
                      <a:pt x="403943" y="596678"/>
                      <a:pt x="395922" y="610047"/>
                      <a:pt x="397259" y="631436"/>
                    </a:cubicBezTo>
                    <a:cubicBezTo>
                      <a:pt x="398596" y="652825"/>
                      <a:pt x="403274" y="670873"/>
                      <a:pt x="409290" y="707636"/>
                    </a:cubicBezTo>
                    <a:cubicBezTo>
                      <a:pt x="415306" y="744399"/>
                      <a:pt x="426669" y="799878"/>
                      <a:pt x="433353" y="852015"/>
                    </a:cubicBezTo>
                    <a:cubicBezTo>
                      <a:pt x="440037" y="904152"/>
                      <a:pt x="444717" y="985699"/>
                      <a:pt x="449396" y="1020457"/>
                    </a:cubicBezTo>
                    <a:cubicBezTo>
                      <a:pt x="454075" y="1055215"/>
                      <a:pt x="458085" y="1048530"/>
                      <a:pt x="461427" y="1060562"/>
                    </a:cubicBezTo>
                    <a:cubicBezTo>
                      <a:pt x="464769" y="1072594"/>
                      <a:pt x="467443" y="1065910"/>
                      <a:pt x="469448" y="1092647"/>
                    </a:cubicBezTo>
                    <a:cubicBezTo>
                      <a:pt x="471453" y="1119384"/>
                      <a:pt x="470117" y="1169515"/>
                      <a:pt x="473459" y="1220983"/>
                    </a:cubicBezTo>
                    <a:cubicBezTo>
                      <a:pt x="476801" y="1272451"/>
                      <a:pt x="486159" y="1347315"/>
                      <a:pt x="489501" y="1401457"/>
                    </a:cubicBezTo>
                    <a:cubicBezTo>
                      <a:pt x="492843" y="1455599"/>
                      <a:pt x="491506" y="1495036"/>
                      <a:pt x="493511" y="1545836"/>
                    </a:cubicBezTo>
                    <a:cubicBezTo>
                      <a:pt x="495516" y="1596636"/>
                      <a:pt x="501532" y="1664147"/>
                      <a:pt x="501532" y="1706257"/>
                    </a:cubicBezTo>
                    <a:cubicBezTo>
                      <a:pt x="501532" y="1748367"/>
                      <a:pt x="503537" y="1785799"/>
                      <a:pt x="493511" y="1798499"/>
                    </a:cubicBezTo>
                    <a:cubicBezTo>
                      <a:pt x="483485" y="1811199"/>
                      <a:pt x="462096" y="1785131"/>
                      <a:pt x="441375" y="1782457"/>
                    </a:cubicBezTo>
                    <a:cubicBezTo>
                      <a:pt x="420654" y="1779783"/>
                      <a:pt x="385227" y="1767083"/>
                      <a:pt x="369185" y="1782457"/>
                    </a:cubicBezTo>
                    <a:cubicBezTo>
                      <a:pt x="353143" y="1797831"/>
                      <a:pt x="363169" y="1850636"/>
                      <a:pt x="345122" y="1874699"/>
                    </a:cubicBezTo>
                    <a:cubicBezTo>
                      <a:pt x="327075" y="1898762"/>
                      <a:pt x="271596" y="1940204"/>
                      <a:pt x="260901" y="1926836"/>
                    </a:cubicBezTo>
                    <a:cubicBezTo>
                      <a:pt x="250206" y="1913468"/>
                      <a:pt x="275606" y="1833257"/>
                      <a:pt x="280953" y="1794489"/>
                    </a:cubicBezTo>
                    <a:cubicBezTo>
                      <a:pt x="286300" y="1755721"/>
                      <a:pt x="295659" y="1723636"/>
                      <a:pt x="292985" y="1694226"/>
                    </a:cubicBezTo>
                    <a:cubicBezTo>
                      <a:pt x="290311" y="1664816"/>
                      <a:pt x="270258" y="1655458"/>
                      <a:pt x="264911" y="1618026"/>
                    </a:cubicBezTo>
                    <a:cubicBezTo>
                      <a:pt x="259564" y="1580594"/>
                      <a:pt x="268922" y="1520436"/>
                      <a:pt x="260901" y="1469636"/>
                    </a:cubicBezTo>
                    <a:cubicBezTo>
                      <a:pt x="252880" y="1418836"/>
                      <a:pt x="233495" y="1376057"/>
                      <a:pt x="216785" y="1313226"/>
                    </a:cubicBezTo>
                    <a:cubicBezTo>
                      <a:pt x="200075" y="1250395"/>
                      <a:pt x="176012" y="1152805"/>
                      <a:pt x="160638" y="1092647"/>
                    </a:cubicBezTo>
                    <a:cubicBezTo>
                      <a:pt x="145264" y="1032489"/>
                      <a:pt x="132564" y="1023799"/>
                      <a:pt x="124543" y="952278"/>
                    </a:cubicBezTo>
                    <a:cubicBezTo>
                      <a:pt x="116522" y="880757"/>
                      <a:pt x="125211" y="766457"/>
                      <a:pt x="112511" y="663520"/>
                    </a:cubicBezTo>
                    <a:cubicBezTo>
                      <a:pt x="99811" y="560583"/>
                      <a:pt x="62380" y="419546"/>
                      <a:pt x="48343" y="334657"/>
                    </a:cubicBezTo>
                    <a:cubicBezTo>
                      <a:pt x="34306" y="249768"/>
                      <a:pt x="36311" y="208993"/>
                      <a:pt x="28290" y="154183"/>
                    </a:cubicBezTo>
                    <a:cubicBezTo>
                      <a:pt x="20269" y="99373"/>
                      <a:pt x="-2457" y="15151"/>
                      <a:pt x="217" y="1783"/>
                    </a:cubicBez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9" name="Freeform 20">
                <a:extLst>
                  <a:ext uri="{FF2B5EF4-FFF2-40B4-BE49-F238E27FC236}">
                    <a16:creationId xmlns:a16="http://schemas.microsoft.com/office/drawing/2014/main" id="{A2F6C0D9-6F26-1947-A372-26BF844BD54F}"/>
                  </a:ext>
                </a:extLst>
              </p:cNvPr>
              <p:cNvSpPr/>
              <p:nvPr/>
            </p:nvSpPr>
            <p:spPr>
              <a:xfrm>
                <a:off x="1962627" y="1061611"/>
                <a:ext cx="820807" cy="2475960"/>
              </a:xfrm>
              <a:custGeom>
                <a:avLst/>
                <a:gdLst>
                  <a:gd name="connsiteX0" fmla="*/ 46647 w 820807"/>
                  <a:gd name="connsiteY0" fmla="*/ 1178 h 2475960"/>
                  <a:gd name="connsiteX1" fmla="*/ 90762 w 820807"/>
                  <a:gd name="connsiteY1" fmla="*/ 117484 h 2475960"/>
                  <a:gd name="connsiteX2" fmla="*/ 154931 w 820807"/>
                  <a:gd name="connsiteY2" fmla="*/ 117484 h 2475960"/>
                  <a:gd name="connsiteX3" fmla="*/ 207068 w 820807"/>
                  <a:gd name="connsiteY3" fmla="*/ 93421 h 2475960"/>
                  <a:gd name="connsiteX4" fmla="*/ 239152 w 820807"/>
                  <a:gd name="connsiteY4" fmla="*/ 53315 h 2475960"/>
                  <a:gd name="connsiteX5" fmla="*/ 247173 w 820807"/>
                  <a:gd name="connsiteY5" fmla="*/ 41284 h 2475960"/>
                  <a:gd name="connsiteX6" fmla="*/ 239152 w 820807"/>
                  <a:gd name="connsiteY6" fmla="*/ 69357 h 2475960"/>
                  <a:gd name="connsiteX7" fmla="*/ 239152 w 820807"/>
                  <a:gd name="connsiteY7" fmla="*/ 149568 h 2475960"/>
                  <a:gd name="connsiteX8" fmla="*/ 247173 w 820807"/>
                  <a:gd name="connsiteY8" fmla="*/ 217747 h 2475960"/>
                  <a:gd name="connsiteX9" fmla="*/ 239152 w 820807"/>
                  <a:gd name="connsiteY9" fmla="*/ 326031 h 2475960"/>
                  <a:gd name="connsiteX10" fmla="*/ 251184 w 820807"/>
                  <a:gd name="connsiteY10" fmla="*/ 406242 h 2475960"/>
                  <a:gd name="connsiteX11" fmla="*/ 247173 w 820807"/>
                  <a:gd name="connsiteY11" fmla="*/ 494473 h 2475960"/>
                  <a:gd name="connsiteX12" fmla="*/ 315352 w 820807"/>
                  <a:gd name="connsiteY12" fmla="*/ 622810 h 2475960"/>
                  <a:gd name="connsiteX13" fmla="*/ 391552 w 820807"/>
                  <a:gd name="connsiteY13" fmla="*/ 735105 h 2475960"/>
                  <a:gd name="connsiteX14" fmla="*/ 431657 w 820807"/>
                  <a:gd name="connsiteY14" fmla="*/ 779221 h 2475960"/>
                  <a:gd name="connsiteX15" fmla="*/ 447699 w 820807"/>
                  <a:gd name="connsiteY15" fmla="*/ 743126 h 2475960"/>
                  <a:gd name="connsiteX16" fmla="*/ 491815 w 820807"/>
                  <a:gd name="connsiteY16" fmla="*/ 739115 h 2475960"/>
                  <a:gd name="connsiteX17" fmla="*/ 572026 w 820807"/>
                  <a:gd name="connsiteY17" fmla="*/ 763178 h 2475960"/>
                  <a:gd name="connsiteX18" fmla="*/ 640205 w 820807"/>
                  <a:gd name="connsiteY18" fmla="*/ 811305 h 2475960"/>
                  <a:gd name="connsiteX19" fmla="*/ 684320 w 820807"/>
                  <a:gd name="connsiteY19" fmla="*/ 839378 h 2475960"/>
                  <a:gd name="connsiteX20" fmla="*/ 728436 w 820807"/>
                  <a:gd name="connsiteY20" fmla="*/ 851410 h 2475960"/>
                  <a:gd name="connsiteX21" fmla="*/ 760520 w 820807"/>
                  <a:gd name="connsiteY21" fmla="*/ 827347 h 2475960"/>
                  <a:gd name="connsiteX22" fmla="*/ 780573 w 820807"/>
                  <a:gd name="connsiteY22" fmla="*/ 795263 h 2475960"/>
                  <a:gd name="connsiteX23" fmla="*/ 780573 w 820807"/>
                  <a:gd name="connsiteY23" fmla="*/ 871463 h 2475960"/>
                  <a:gd name="connsiteX24" fmla="*/ 804636 w 820807"/>
                  <a:gd name="connsiteY24" fmla="*/ 943652 h 2475960"/>
                  <a:gd name="connsiteX25" fmla="*/ 816668 w 820807"/>
                  <a:gd name="connsiteY25" fmla="*/ 999800 h 2475960"/>
                  <a:gd name="connsiteX26" fmla="*/ 820678 w 820807"/>
                  <a:gd name="connsiteY26" fmla="*/ 1051936 h 2475960"/>
                  <a:gd name="connsiteX27" fmla="*/ 812657 w 820807"/>
                  <a:gd name="connsiteY27" fmla="*/ 1140168 h 2475960"/>
                  <a:gd name="connsiteX28" fmla="*/ 792605 w 820807"/>
                  <a:gd name="connsiteY28" fmla="*/ 1264494 h 2475960"/>
                  <a:gd name="connsiteX29" fmla="*/ 728436 w 820807"/>
                  <a:gd name="connsiteY29" fmla="*/ 1384810 h 2475960"/>
                  <a:gd name="connsiteX30" fmla="*/ 668278 w 820807"/>
                  <a:gd name="connsiteY30" fmla="*/ 1521168 h 2475960"/>
                  <a:gd name="connsiteX31" fmla="*/ 628173 w 820807"/>
                  <a:gd name="connsiteY31" fmla="*/ 1621431 h 2475960"/>
                  <a:gd name="connsiteX32" fmla="*/ 588068 w 820807"/>
                  <a:gd name="connsiteY32" fmla="*/ 1833989 h 2475960"/>
                  <a:gd name="connsiteX33" fmla="*/ 576036 w 820807"/>
                  <a:gd name="connsiteY33" fmla="*/ 2042536 h 2475960"/>
                  <a:gd name="connsiteX34" fmla="*/ 572026 w 820807"/>
                  <a:gd name="connsiteY34" fmla="*/ 2303221 h 2475960"/>
                  <a:gd name="connsiteX35" fmla="*/ 539941 w 820807"/>
                  <a:gd name="connsiteY35" fmla="*/ 2443589 h 2475960"/>
                  <a:gd name="connsiteX36" fmla="*/ 515878 w 820807"/>
                  <a:gd name="connsiteY36" fmla="*/ 2475673 h 2475960"/>
                  <a:gd name="connsiteX37" fmla="*/ 443689 w 820807"/>
                  <a:gd name="connsiteY37" fmla="*/ 2455621 h 2475960"/>
                  <a:gd name="connsiteX38" fmla="*/ 415615 w 820807"/>
                  <a:gd name="connsiteY38" fmla="*/ 2395463 h 2475960"/>
                  <a:gd name="connsiteX39" fmla="*/ 395562 w 820807"/>
                  <a:gd name="connsiteY39" fmla="*/ 2231031 h 2475960"/>
                  <a:gd name="connsiteX40" fmla="*/ 383531 w 820807"/>
                  <a:gd name="connsiteY40" fmla="*/ 2046547 h 2475960"/>
                  <a:gd name="connsiteX41" fmla="*/ 379520 w 820807"/>
                  <a:gd name="connsiteY41" fmla="*/ 1918210 h 2475960"/>
                  <a:gd name="connsiteX42" fmla="*/ 383531 w 820807"/>
                  <a:gd name="connsiteY42" fmla="*/ 1886126 h 2475960"/>
                  <a:gd name="connsiteX43" fmla="*/ 367489 w 820807"/>
                  <a:gd name="connsiteY43" fmla="*/ 1878105 h 2475960"/>
                  <a:gd name="connsiteX44" fmla="*/ 383531 w 820807"/>
                  <a:gd name="connsiteY44" fmla="*/ 1805915 h 2475960"/>
                  <a:gd name="connsiteX45" fmla="*/ 395562 w 820807"/>
                  <a:gd name="connsiteY45" fmla="*/ 1725705 h 2475960"/>
                  <a:gd name="connsiteX46" fmla="*/ 399573 w 820807"/>
                  <a:gd name="connsiteY46" fmla="*/ 1613410 h 2475960"/>
                  <a:gd name="connsiteX47" fmla="*/ 395562 w 820807"/>
                  <a:gd name="connsiteY47" fmla="*/ 1517157 h 2475960"/>
                  <a:gd name="connsiteX48" fmla="*/ 383531 w 820807"/>
                  <a:gd name="connsiteY48" fmla="*/ 1364757 h 2475960"/>
                  <a:gd name="connsiteX49" fmla="*/ 351447 w 820807"/>
                  <a:gd name="connsiteY49" fmla="*/ 1280536 h 2475960"/>
                  <a:gd name="connsiteX50" fmla="*/ 327384 w 820807"/>
                  <a:gd name="connsiteY50" fmla="*/ 1152200 h 2475960"/>
                  <a:gd name="connsiteX51" fmla="*/ 291289 w 820807"/>
                  <a:gd name="connsiteY51" fmla="*/ 1084021 h 2475960"/>
                  <a:gd name="connsiteX52" fmla="*/ 183005 w 820807"/>
                  <a:gd name="connsiteY52" fmla="*/ 971726 h 2475960"/>
                  <a:gd name="connsiteX53" fmla="*/ 146910 w 820807"/>
                  <a:gd name="connsiteY53" fmla="*/ 887505 h 2475960"/>
                  <a:gd name="connsiteX54" fmla="*/ 74720 w 820807"/>
                  <a:gd name="connsiteY54" fmla="*/ 743126 h 2475960"/>
                  <a:gd name="connsiteX55" fmla="*/ 50657 w 820807"/>
                  <a:gd name="connsiteY55" fmla="*/ 695000 h 2475960"/>
                  <a:gd name="connsiteX56" fmla="*/ 30605 w 820807"/>
                  <a:gd name="connsiteY56" fmla="*/ 642863 h 2475960"/>
                  <a:gd name="connsiteX57" fmla="*/ 14562 w 820807"/>
                  <a:gd name="connsiteY57" fmla="*/ 486452 h 2475960"/>
                  <a:gd name="connsiteX58" fmla="*/ 6541 w 820807"/>
                  <a:gd name="connsiteY58" fmla="*/ 374157 h 2475960"/>
                  <a:gd name="connsiteX59" fmla="*/ 2531 w 820807"/>
                  <a:gd name="connsiteY59" fmla="*/ 261863 h 2475960"/>
                  <a:gd name="connsiteX60" fmla="*/ 2531 w 820807"/>
                  <a:gd name="connsiteY60" fmla="*/ 249831 h 2475960"/>
                  <a:gd name="connsiteX61" fmla="*/ 34615 w 820807"/>
                  <a:gd name="connsiteY61" fmla="*/ 129515 h 2475960"/>
                  <a:gd name="connsiteX62" fmla="*/ 46647 w 820807"/>
                  <a:gd name="connsiteY62" fmla="*/ 61336 h 2475960"/>
                  <a:gd name="connsiteX63" fmla="*/ 46647 w 820807"/>
                  <a:gd name="connsiteY63" fmla="*/ 1178 h 247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0807" h="2475960">
                    <a:moveTo>
                      <a:pt x="46647" y="1178"/>
                    </a:moveTo>
                    <a:cubicBezTo>
                      <a:pt x="53999" y="10536"/>
                      <a:pt x="72715" y="98100"/>
                      <a:pt x="90762" y="117484"/>
                    </a:cubicBezTo>
                    <a:cubicBezTo>
                      <a:pt x="108809" y="136868"/>
                      <a:pt x="135547" y="121494"/>
                      <a:pt x="154931" y="117484"/>
                    </a:cubicBezTo>
                    <a:cubicBezTo>
                      <a:pt x="174315" y="113474"/>
                      <a:pt x="193031" y="104116"/>
                      <a:pt x="207068" y="93421"/>
                    </a:cubicBezTo>
                    <a:cubicBezTo>
                      <a:pt x="221105" y="82726"/>
                      <a:pt x="232468" y="62004"/>
                      <a:pt x="239152" y="53315"/>
                    </a:cubicBezTo>
                    <a:cubicBezTo>
                      <a:pt x="245836" y="44626"/>
                      <a:pt x="247173" y="38610"/>
                      <a:pt x="247173" y="41284"/>
                    </a:cubicBezTo>
                    <a:cubicBezTo>
                      <a:pt x="247173" y="43958"/>
                      <a:pt x="240489" y="51310"/>
                      <a:pt x="239152" y="69357"/>
                    </a:cubicBezTo>
                    <a:cubicBezTo>
                      <a:pt x="237815" y="87404"/>
                      <a:pt x="237815" y="124837"/>
                      <a:pt x="239152" y="149568"/>
                    </a:cubicBezTo>
                    <a:cubicBezTo>
                      <a:pt x="240489" y="174299"/>
                      <a:pt x="247173" y="188337"/>
                      <a:pt x="247173" y="217747"/>
                    </a:cubicBezTo>
                    <a:cubicBezTo>
                      <a:pt x="247173" y="247157"/>
                      <a:pt x="238484" y="294615"/>
                      <a:pt x="239152" y="326031"/>
                    </a:cubicBezTo>
                    <a:cubicBezTo>
                      <a:pt x="239820" y="357447"/>
                      <a:pt x="249847" y="378168"/>
                      <a:pt x="251184" y="406242"/>
                    </a:cubicBezTo>
                    <a:cubicBezTo>
                      <a:pt x="252521" y="434316"/>
                      <a:pt x="236478" y="458378"/>
                      <a:pt x="247173" y="494473"/>
                    </a:cubicBezTo>
                    <a:cubicBezTo>
                      <a:pt x="257868" y="530568"/>
                      <a:pt x="291289" y="582705"/>
                      <a:pt x="315352" y="622810"/>
                    </a:cubicBezTo>
                    <a:cubicBezTo>
                      <a:pt x="339415" y="662915"/>
                      <a:pt x="372168" y="709037"/>
                      <a:pt x="391552" y="735105"/>
                    </a:cubicBezTo>
                    <a:cubicBezTo>
                      <a:pt x="410936" y="761173"/>
                      <a:pt x="422299" y="777884"/>
                      <a:pt x="431657" y="779221"/>
                    </a:cubicBezTo>
                    <a:cubicBezTo>
                      <a:pt x="441015" y="780558"/>
                      <a:pt x="437673" y="749810"/>
                      <a:pt x="447699" y="743126"/>
                    </a:cubicBezTo>
                    <a:cubicBezTo>
                      <a:pt x="457725" y="736442"/>
                      <a:pt x="471094" y="735773"/>
                      <a:pt x="491815" y="739115"/>
                    </a:cubicBezTo>
                    <a:cubicBezTo>
                      <a:pt x="512536" y="742457"/>
                      <a:pt x="547294" y="751146"/>
                      <a:pt x="572026" y="763178"/>
                    </a:cubicBezTo>
                    <a:cubicBezTo>
                      <a:pt x="596758" y="775210"/>
                      <a:pt x="621489" y="798605"/>
                      <a:pt x="640205" y="811305"/>
                    </a:cubicBezTo>
                    <a:cubicBezTo>
                      <a:pt x="658921" y="824005"/>
                      <a:pt x="669615" y="832694"/>
                      <a:pt x="684320" y="839378"/>
                    </a:cubicBezTo>
                    <a:cubicBezTo>
                      <a:pt x="699025" y="846062"/>
                      <a:pt x="715736" y="853415"/>
                      <a:pt x="728436" y="851410"/>
                    </a:cubicBezTo>
                    <a:cubicBezTo>
                      <a:pt x="741136" y="849405"/>
                      <a:pt x="751831" y="836705"/>
                      <a:pt x="760520" y="827347"/>
                    </a:cubicBezTo>
                    <a:cubicBezTo>
                      <a:pt x="769209" y="817989"/>
                      <a:pt x="777231" y="787910"/>
                      <a:pt x="780573" y="795263"/>
                    </a:cubicBezTo>
                    <a:cubicBezTo>
                      <a:pt x="783915" y="802616"/>
                      <a:pt x="776563" y="846732"/>
                      <a:pt x="780573" y="871463"/>
                    </a:cubicBezTo>
                    <a:cubicBezTo>
                      <a:pt x="784583" y="896194"/>
                      <a:pt x="798620" y="922263"/>
                      <a:pt x="804636" y="943652"/>
                    </a:cubicBezTo>
                    <a:cubicBezTo>
                      <a:pt x="810652" y="965042"/>
                      <a:pt x="813994" y="981753"/>
                      <a:pt x="816668" y="999800"/>
                    </a:cubicBezTo>
                    <a:cubicBezTo>
                      <a:pt x="819342" y="1017847"/>
                      <a:pt x="821346" y="1028541"/>
                      <a:pt x="820678" y="1051936"/>
                    </a:cubicBezTo>
                    <a:cubicBezTo>
                      <a:pt x="820010" y="1075331"/>
                      <a:pt x="817336" y="1104742"/>
                      <a:pt x="812657" y="1140168"/>
                    </a:cubicBezTo>
                    <a:cubicBezTo>
                      <a:pt x="807978" y="1175594"/>
                      <a:pt x="806642" y="1223720"/>
                      <a:pt x="792605" y="1264494"/>
                    </a:cubicBezTo>
                    <a:cubicBezTo>
                      <a:pt x="778568" y="1305268"/>
                      <a:pt x="749157" y="1342031"/>
                      <a:pt x="728436" y="1384810"/>
                    </a:cubicBezTo>
                    <a:cubicBezTo>
                      <a:pt x="707715" y="1427589"/>
                      <a:pt x="684989" y="1481731"/>
                      <a:pt x="668278" y="1521168"/>
                    </a:cubicBezTo>
                    <a:cubicBezTo>
                      <a:pt x="651568" y="1560605"/>
                      <a:pt x="641541" y="1569294"/>
                      <a:pt x="628173" y="1621431"/>
                    </a:cubicBezTo>
                    <a:cubicBezTo>
                      <a:pt x="614805" y="1673568"/>
                      <a:pt x="596758" y="1763805"/>
                      <a:pt x="588068" y="1833989"/>
                    </a:cubicBezTo>
                    <a:cubicBezTo>
                      <a:pt x="579379" y="1904173"/>
                      <a:pt x="578710" y="1964331"/>
                      <a:pt x="576036" y="2042536"/>
                    </a:cubicBezTo>
                    <a:cubicBezTo>
                      <a:pt x="573362" y="2120741"/>
                      <a:pt x="578042" y="2236379"/>
                      <a:pt x="572026" y="2303221"/>
                    </a:cubicBezTo>
                    <a:cubicBezTo>
                      <a:pt x="566010" y="2370063"/>
                      <a:pt x="549299" y="2414847"/>
                      <a:pt x="539941" y="2443589"/>
                    </a:cubicBezTo>
                    <a:cubicBezTo>
                      <a:pt x="530583" y="2472331"/>
                      <a:pt x="531920" y="2473668"/>
                      <a:pt x="515878" y="2475673"/>
                    </a:cubicBezTo>
                    <a:cubicBezTo>
                      <a:pt x="499836" y="2477678"/>
                      <a:pt x="460399" y="2468989"/>
                      <a:pt x="443689" y="2455621"/>
                    </a:cubicBezTo>
                    <a:cubicBezTo>
                      <a:pt x="426979" y="2442253"/>
                      <a:pt x="423636" y="2432895"/>
                      <a:pt x="415615" y="2395463"/>
                    </a:cubicBezTo>
                    <a:cubicBezTo>
                      <a:pt x="407594" y="2358031"/>
                      <a:pt x="400909" y="2289184"/>
                      <a:pt x="395562" y="2231031"/>
                    </a:cubicBezTo>
                    <a:cubicBezTo>
                      <a:pt x="390215" y="2172878"/>
                      <a:pt x="386205" y="2098684"/>
                      <a:pt x="383531" y="2046547"/>
                    </a:cubicBezTo>
                    <a:cubicBezTo>
                      <a:pt x="380857" y="1994410"/>
                      <a:pt x="379520" y="1944947"/>
                      <a:pt x="379520" y="1918210"/>
                    </a:cubicBezTo>
                    <a:cubicBezTo>
                      <a:pt x="379520" y="1891473"/>
                      <a:pt x="385536" y="1892810"/>
                      <a:pt x="383531" y="1886126"/>
                    </a:cubicBezTo>
                    <a:cubicBezTo>
                      <a:pt x="381526" y="1879442"/>
                      <a:pt x="367489" y="1891473"/>
                      <a:pt x="367489" y="1878105"/>
                    </a:cubicBezTo>
                    <a:cubicBezTo>
                      <a:pt x="367489" y="1864737"/>
                      <a:pt x="378852" y="1831315"/>
                      <a:pt x="383531" y="1805915"/>
                    </a:cubicBezTo>
                    <a:cubicBezTo>
                      <a:pt x="388210" y="1780515"/>
                      <a:pt x="392888" y="1757789"/>
                      <a:pt x="395562" y="1725705"/>
                    </a:cubicBezTo>
                    <a:cubicBezTo>
                      <a:pt x="398236" y="1693621"/>
                      <a:pt x="399573" y="1648168"/>
                      <a:pt x="399573" y="1613410"/>
                    </a:cubicBezTo>
                    <a:cubicBezTo>
                      <a:pt x="399573" y="1578652"/>
                      <a:pt x="398236" y="1558599"/>
                      <a:pt x="395562" y="1517157"/>
                    </a:cubicBezTo>
                    <a:cubicBezTo>
                      <a:pt x="392888" y="1475715"/>
                      <a:pt x="390884" y="1404194"/>
                      <a:pt x="383531" y="1364757"/>
                    </a:cubicBezTo>
                    <a:cubicBezTo>
                      <a:pt x="376179" y="1325320"/>
                      <a:pt x="360805" y="1315962"/>
                      <a:pt x="351447" y="1280536"/>
                    </a:cubicBezTo>
                    <a:cubicBezTo>
                      <a:pt x="342089" y="1245110"/>
                      <a:pt x="337410" y="1184953"/>
                      <a:pt x="327384" y="1152200"/>
                    </a:cubicBezTo>
                    <a:cubicBezTo>
                      <a:pt x="317358" y="1119447"/>
                      <a:pt x="315352" y="1114100"/>
                      <a:pt x="291289" y="1084021"/>
                    </a:cubicBezTo>
                    <a:cubicBezTo>
                      <a:pt x="267226" y="1053942"/>
                      <a:pt x="207068" y="1004479"/>
                      <a:pt x="183005" y="971726"/>
                    </a:cubicBezTo>
                    <a:cubicBezTo>
                      <a:pt x="158942" y="938973"/>
                      <a:pt x="164957" y="925605"/>
                      <a:pt x="146910" y="887505"/>
                    </a:cubicBezTo>
                    <a:cubicBezTo>
                      <a:pt x="128863" y="849405"/>
                      <a:pt x="74720" y="743126"/>
                      <a:pt x="74720" y="743126"/>
                    </a:cubicBezTo>
                    <a:cubicBezTo>
                      <a:pt x="58678" y="711042"/>
                      <a:pt x="58009" y="711710"/>
                      <a:pt x="50657" y="695000"/>
                    </a:cubicBezTo>
                    <a:cubicBezTo>
                      <a:pt x="43305" y="678290"/>
                      <a:pt x="36621" y="677621"/>
                      <a:pt x="30605" y="642863"/>
                    </a:cubicBezTo>
                    <a:cubicBezTo>
                      <a:pt x="24589" y="608105"/>
                      <a:pt x="18573" y="531236"/>
                      <a:pt x="14562" y="486452"/>
                    </a:cubicBezTo>
                    <a:cubicBezTo>
                      <a:pt x="10551" y="441668"/>
                      <a:pt x="8546" y="411588"/>
                      <a:pt x="6541" y="374157"/>
                    </a:cubicBezTo>
                    <a:cubicBezTo>
                      <a:pt x="4536" y="336726"/>
                      <a:pt x="3199" y="282584"/>
                      <a:pt x="2531" y="261863"/>
                    </a:cubicBezTo>
                    <a:cubicBezTo>
                      <a:pt x="1863" y="241142"/>
                      <a:pt x="-2816" y="271889"/>
                      <a:pt x="2531" y="249831"/>
                    </a:cubicBezTo>
                    <a:cubicBezTo>
                      <a:pt x="7878" y="227773"/>
                      <a:pt x="27262" y="160931"/>
                      <a:pt x="34615" y="129515"/>
                    </a:cubicBezTo>
                    <a:cubicBezTo>
                      <a:pt x="41968" y="98099"/>
                      <a:pt x="43973" y="82057"/>
                      <a:pt x="46647" y="61336"/>
                    </a:cubicBezTo>
                    <a:cubicBezTo>
                      <a:pt x="49321" y="40615"/>
                      <a:pt x="39295" y="-8180"/>
                      <a:pt x="46647" y="1178"/>
                    </a:cubicBez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0" name="Freeform 21">
                <a:extLst>
                  <a:ext uri="{FF2B5EF4-FFF2-40B4-BE49-F238E27FC236}">
                    <a16:creationId xmlns:a16="http://schemas.microsoft.com/office/drawing/2014/main" id="{870AA4D8-5B59-1F42-85B0-DDA5DC70F625}"/>
                  </a:ext>
                </a:extLst>
              </p:cNvPr>
              <p:cNvSpPr/>
              <p:nvPr/>
            </p:nvSpPr>
            <p:spPr>
              <a:xfrm>
                <a:off x="3369294" y="3701664"/>
                <a:ext cx="188144" cy="101390"/>
              </a:xfrm>
              <a:custGeom>
                <a:avLst/>
                <a:gdLst>
                  <a:gd name="connsiteX0" fmla="*/ 176546 w 188144"/>
                  <a:gd name="connsiteY0" fmla="*/ 11816 h 101390"/>
                  <a:gd name="connsiteX1" fmla="*/ 181626 w 188144"/>
                  <a:gd name="connsiteY1" fmla="*/ 98176 h 101390"/>
                  <a:gd name="connsiteX2" fmla="*/ 156226 w 188144"/>
                  <a:gd name="connsiteY2" fmla="*/ 82936 h 101390"/>
                  <a:gd name="connsiteX3" fmla="*/ 105426 w 188144"/>
                  <a:gd name="connsiteY3" fmla="*/ 82936 h 101390"/>
                  <a:gd name="connsiteX4" fmla="*/ 49546 w 188144"/>
                  <a:gd name="connsiteY4" fmla="*/ 88016 h 101390"/>
                  <a:gd name="connsiteX5" fmla="*/ 3826 w 188144"/>
                  <a:gd name="connsiteY5" fmla="*/ 98176 h 101390"/>
                  <a:gd name="connsiteX6" fmla="*/ 8906 w 188144"/>
                  <a:gd name="connsiteY6" fmla="*/ 52456 h 101390"/>
                  <a:gd name="connsiteX7" fmla="*/ 59706 w 188144"/>
                  <a:gd name="connsiteY7" fmla="*/ 6736 h 101390"/>
                  <a:gd name="connsiteX8" fmla="*/ 176546 w 188144"/>
                  <a:gd name="connsiteY8" fmla="*/ 11816 h 10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144" h="101390">
                    <a:moveTo>
                      <a:pt x="176546" y="11816"/>
                    </a:moveTo>
                    <a:cubicBezTo>
                      <a:pt x="196866" y="27056"/>
                      <a:pt x="185013" y="86323"/>
                      <a:pt x="181626" y="98176"/>
                    </a:cubicBezTo>
                    <a:cubicBezTo>
                      <a:pt x="178239" y="110029"/>
                      <a:pt x="168926" y="85476"/>
                      <a:pt x="156226" y="82936"/>
                    </a:cubicBezTo>
                    <a:cubicBezTo>
                      <a:pt x="143526" y="80396"/>
                      <a:pt x="123206" y="82089"/>
                      <a:pt x="105426" y="82936"/>
                    </a:cubicBezTo>
                    <a:cubicBezTo>
                      <a:pt x="87646" y="83783"/>
                      <a:pt x="66479" y="85476"/>
                      <a:pt x="49546" y="88016"/>
                    </a:cubicBezTo>
                    <a:cubicBezTo>
                      <a:pt x="32613" y="90556"/>
                      <a:pt x="10599" y="104103"/>
                      <a:pt x="3826" y="98176"/>
                    </a:cubicBezTo>
                    <a:cubicBezTo>
                      <a:pt x="-2947" y="92249"/>
                      <a:pt x="-407" y="67696"/>
                      <a:pt x="8906" y="52456"/>
                    </a:cubicBezTo>
                    <a:cubicBezTo>
                      <a:pt x="18219" y="37216"/>
                      <a:pt x="39386" y="16049"/>
                      <a:pt x="59706" y="6736"/>
                    </a:cubicBezTo>
                    <a:cubicBezTo>
                      <a:pt x="80026" y="-2577"/>
                      <a:pt x="156226" y="-3424"/>
                      <a:pt x="176546" y="1181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1" name="Freeform 22">
                <a:extLst>
                  <a:ext uri="{FF2B5EF4-FFF2-40B4-BE49-F238E27FC236}">
                    <a16:creationId xmlns:a16="http://schemas.microsoft.com/office/drawing/2014/main" id="{682B4223-77F9-FE45-9BE3-1F7D32A20C31}"/>
                  </a:ext>
                </a:extLst>
              </p:cNvPr>
              <p:cNvSpPr/>
              <p:nvPr/>
            </p:nvSpPr>
            <p:spPr>
              <a:xfrm>
                <a:off x="2013205" y="1026478"/>
                <a:ext cx="200477" cy="252445"/>
              </a:xfrm>
              <a:custGeom>
                <a:avLst/>
                <a:gdLst>
                  <a:gd name="connsiteX0" fmla="*/ 196595 w 198015"/>
                  <a:gd name="connsiteY0" fmla="*/ 136842 h 252445"/>
                  <a:gd name="connsiteX1" fmla="*/ 176275 w 198015"/>
                  <a:gd name="connsiteY1" fmla="*/ 86042 h 252445"/>
                  <a:gd name="connsiteX2" fmla="*/ 181355 w 198015"/>
                  <a:gd name="connsiteY2" fmla="*/ 40322 h 252445"/>
                  <a:gd name="connsiteX3" fmla="*/ 155955 w 198015"/>
                  <a:gd name="connsiteY3" fmla="*/ 9842 h 252445"/>
                  <a:gd name="connsiteX4" fmla="*/ 155955 w 198015"/>
                  <a:gd name="connsiteY4" fmla="*/ 50482 h 252445"/>
                  <a:gd name="connsiteX5" fmla="*/ 110235 w 198015"/>
                  <a:gd name="connsiteY5" fmla="*/ 65722 h 252445"/>
                  <a:gd name="connsiteX6" fmla="*/ 64515 w 198015"/>
                  <a:gd name="connsiteY6" fmla="*/ 65722 h 252445"/>
                  <a:gd name="connsiteX7" fmla="*/ 23875 w 198015"/>
                  <a:gd name="connsiteY7" fmla="*/ 20002 h 252445"/>
                  <a:gd name="connsiteX8" fmla="*/ 3555 w 198015"/>
                  <a:gd name="connsiteY8" fmla="*/ 4762 h 252445"/>
                  <a:gd name="connsiteX9" fmla="*/ 3555 w 198015"/>
                  <a:gd name="connsiteY9" fmla="*/ 101282 h 252445"/>
                  <a:gd name="connsiteX10" fmla="*/ 39115 w 198015"/>
                  <a:gd name="connsiteY10" fmla="*/ 243522 h 252445"/>
                  <a:gd name="connsiteX11" fmla="*/ 130555 w 198015"/>
                  <a:gd name="connsiteY11" fmla="*/ 228282 h 252445"/>
                  <a:gd name="connsiteX12" fmla="*/ 196595 w 198015"/>
                  <a:gd name="connsiteY12" fmla="*/ 136842 h 252445"/>
                  <a:gd name="connsiteX0" fmla="*/ 196595 w 200477"/>
                  <a:gd name="connsiteY0" fmla="*/ 136842 h 252445"/>
                  <a:gd name="connsiteX1" fmla="*/ 191515 w 200477"/>
                  <a:gd name="connsiteY1" fmla="*/ 80962 h 252445"/>
                  <a:gd name="connsiteX2" fmla="*/ 181355 w 200477"/>
                  <a:gd name="connsiteY2" fmla="*/ 40322 h 252445"/>
                  <a:gd name="connsiteX3" fmla="*/ 155955 w 200477"/>
                  <a:gd name="connsiteY3" fmla="*/ 9842 h 252445"/>
                  <a:gd name="connsiteX4" fmla="*/ 155955 w 200477"/>
                  <a:gd name="connsiteY4" fmla="*/ 50482 h 252445"/>
                  <a:gd name="connsiteX5" fmla="*/ 110235 w 200477"/>
                  <a:gd name="connsiteY5" fmla="*/ 65722 h 252445"/>
                  <a:gd name="connsiteX6" fmla="*/ 64515 w 200477"/>
                  <a:gd name="connsiteY6" fmla="*/ 65722 h 252445"/>
                  <a:gd name="connsiteX7" fmla="*/ 23875 w 200477"/>
                  <a:gd name="connsiteY7" fmla="*/ 20002 h 252445"/>
                  <a:gd name="connsiteX8" fmla="*/ 3555 w 200477"/>
                  <a:gd name="connsiteY8" fmla="*/ 4762 h 252445"/>
                  <a:gd name="connsiteX9" fmla="*/ 3555 w 200477"/>
                  <a:gd name="connsiteY9" fmla="*/ 101282 h 252445"/>
                  <a:gd name="connsiteX10" fmla="*/ 39115 w 200477"/>
                  <a:gd name="connsiteY10" fmla="*/ 243522 h 252445"/>
                  <a:gd name="connsiteX11" fmla="*/ 130555 w 200477"/>
                  <a:gd name="connsiteY11" fmla="*/ 228282 h 252445"/>
                  <a:gd name="connsiteX12" fmla="*/ 196595 w 200477"/>
                  <a:gd name="connsiteY12" fmla="*/ 136842 h 2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477" h="252445">
                    <a:moveTo>
                      <a:pt x="196595" y="136842"/>
                    </a:moveTo>
                    <a:cubicBezTo>
                      <a:pt x="206755" y="112289"/>
                      <a:pt x="194055" y="97049"/>
                      <a:pt x="191515" y="80962"/>
                    </a:cubicBezTo>
                    <a:cubicBezTo>
                      <a:pt x="188975" y="64875"/>
                      <a:pt x="187282" y="52175"/>
                      <a:pt x="181355" y="40322"/>
                    </a:cubicBezTo>
                    <a:cubicBezTo>
                      <a:pt x="175428" y="28469"/>
                      <a:pt x="160188" y="8149"/>
                      <a:pt x="155955" y="9842"/>
                    </a:cubicBezTo>
                    <a:cubicBezTo>
                      <a:pt x="151722" y="11535"/>
                      <a:pt x="163575" y="41169"/>
                      <a:pt x="155955" y="50482"/>
                    </a:cubicBezTo>
                    <a:cubicBezTo>
                      <a:pt x="148335" y="59795"/>
                      <a:pt x="125475" y="63182"/>
                      <a:pt x="110235" y="65722"/>
                    </a:cubicBezTo>
                    <a:cubicBezTo>
                      <a:pt x="94995" y="68262"/>
                      <a:pt x="78908" y="73342"/>
                      <a:pt x="64515" y="65722"/>
                    </a:cubicBezTo>
                    <a:cubicBezTo>
                      <a:pt x="50122" y="58102"/>
                      <a:pt x="34035" y="30162"/>
                      <a:pt x="23875" y="20002"/>
                    </a:cubicBezTo>
                    <a:cubicBezTo>
                      <a:pt x="13715" y="9842"/>
                      <a:pt x="6942" y="-8785"/>
                      <a:pt x="3555" y="4762"/>
                    </a:cubicBezTo>
                    <a:cubicBezTo>
                      <a:pt x="168" y="18309"/>
                      <a:pt x="-2372" y="61489"/>
                      <a:pt x="3555" y="101282"/>
                    </a:cubicBezTo>
                    <a:cubicBezTo>
                      <a:pt x="9482" y="141075"/>
                      <a:pt x="17948" y="222355"/>
                      <a:pt x="39115" y="243522"/>
                    </a:cubicBezTo>
                    <a:cubicBezTo>
                      <a:pt x="60282" y="264689"/>
                      <a:pt x="106848" y="243522"/>
                      <a:pt x="130555" y="228282"/>
                    </a:cubicBezTo>
                    <a:cubicBezTo>
                      <a:pt x="154262" y="213042"/>
                      <a:pt x="186435" y="161395"/>
                      <a:pt x="196595" y="136842"/>
                    </a:cubicBez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grpSp>
        <p:nvGrpSpPr>
          <p:cNvPr id="162" name="Group 161">
            <a:extLst>
              <a:ext uri="{FF2B5EF4-FFF2-40B4-BE49-F238E27FC236}">
                <a16:creationId xmlns:a16="http://schemas.microsoft.com/office/drawing/2014/main" id="{0412E8A7-FD48-D14E-BAA8-F9577FD6B13A}"/>
              </a:ext>
            </a:extLst>
          </p:cNvPr>
          <p:cNvGrpSpPr>
            <a:grpSpLocks noChangeAspect="1"/>
          </p:cNvGrpSpPr>
          <p:nvPr/>
        </p:nvGrpSpPr>
        <p:grpSpPr>
          <a:xfrm>
            <a:off x="4459734" y="1919750"/>
            <a:ext cx="1251188" cy="3963441"/>
            <a:chOff x="5716900" y="189000"/>
            <a:chExt cx="2044833" cy="6477496"/>
          </a:xfrm>
          <a:solidFill>
            <a:schemeClr val="accent1"/>
          </a:solidFill>
        </p:grpSpPr>
        <p:sp>
          <p:nvSpPr>
            <p:cNvPr id="163" name="Freeform 23">
              <a:extLst>
                <a:ext uri="{FF2B5EF4-FFF2-40B4-BE49-F238E27FC236}">
                  <a16:creationId xmlns:a16="http://schemas.microsoft.com/office/drawing/2014/main" id="{60E331FA-BB0E-9C42-BA13-D3DB92D077AD}"/>
                </a:ext>
              </a:extLst>
            </p:cNvPr>
            <p:cNvSpPr>
              <a:spLocks noChangeAspect="1"/>
            </p:cNvSpPr>
            <p:nvPr/>
          </p:nvSpPr>
          <p:spPr>
            <a:xfrm flipH="1">
              <a:off x="5716900" y="5586496"/>
              <a:ext cx="1677800" cy="1080000"/>
            </a:xfrm>
            <a:custGeom>
              <a:avLst/>
              <a:gdLst/>
              <a:ahLst/>
              <a:cxnLst/>
              <a:rect l="l" t="t" r="r" b="b"/>
              <a:pathLst>
                <a:path w="1677800" h="1080000">
                  <a:moveTo>
                    <a:pt x="405990" y="0"/>
                  </a:moveTo>
                  <a:lnTo>
                    <a:pt x="14920" y="0"/>
                  </a:lnTo>
                  <a:cubicBezTo>
                    <a:pt x="19605" y="40861"/>
                    <a:pt x="26348" y="78676"/>
                    <a:pt x="34570" y="112368"/>
                  </a:cubicBezTo>
                  <a:cubicBezTo>
                    <a:pt x="56813" y="198254"/>
                    <a:pt x="-16492" y="426415"/>
                    <a:pt x="3492" y="516654"/>
                  </a:cubicBezTo>
                  <a:cubicBezTo>
                    <a:pt x="35886" y="602873"/>
                    <a:pt x="36262" y="644518"/>
                    <a:pt x="67996" y="716963"/>
                  </a:cubicBezTo>
                  <a:cubicBezTo>
                    <a:pt x="82935" y="759571"/>
                    <a:pt x="3595" y="835901"/>
                    <a:pt x="12035" y="880935"/>
                  </a:cubicBezTo>
                  <a:cubicBezTo>
                    <a:pt x="41943" y="992172"/>
                    <a:pt x="160178" y="1029192"/>
                    <a:pt x="283931" y="1072154"/>
                  </a:cubicBezTo>
                  <a:cubicBezTo>
                    <a:pt x="540578" y="1100381"/>
                    <a:pt x="654781" y="1048819"/>
                    <a:pt x="559322" y="975547"/>
                  </a:cubicBezTo>
                  <a:cubicBezTo>
                    <a:pt x="436895" y="872565"/>
                    <a:pt x="421362" y="856532"/>
                    <a:pt x="327639" y="743522"/>
                  </a:cubicBezTo>
                  <a:cubicBezTo>
                    <a:pt x="314896" y="682482"/>
                    <a:pt x="322099" y="585132"/>
                    <a:pt x="366827" y="494613"/>
                  </a:cubicBezTo>
                  <a:cubicBezTo>
                    <a:pt x="388784" y="396535"/>
                    <a:pt x="334869" y="246001"/>
                    <a:pt x="354121" y="198669"/>
                  </a:cubicBezTo>
                  <a:cubicBezTo>
                    <a:pt x="371449" y="145407"/>
                    <a:pt x="389780" y="75715"/>
                    <a:pt x="405990" y="0"/>
                  </a:cubicBezTo>
                  <a:close/>
                  <a:moveTo>
                    <a:pt x="1188635" y="0"/>
                  </a:moveTo>
                  <a:lnTo>
                    <a:pt x="822159" y="0"/>
                  </a:lnTo>
                  <a:cubicBezTo>
                    <a:pt x="826325" y="117417"/>
                    <a:pt x="829883" y="229278"/>
                    <a:pt x="824855" y="297516"/>
                  </a:cubicBezTo>
                  <a:cubicBezTo>
                    <a:pt x="828187" y="395859"/>
                    <a:pt x="899040" y="428947"/>
                    <a:pt x="874015" y="453628"/>
                  </a:cubicBezTo>
                  <a:cubicBezTo>
                    <a:pt x="794935" y="508734"/>
                    <a:pt x="897970" y="570621"/>
                    <a:pt x="844953" y="639996"/>
                  </a:cubicBezTo>
                  <a:cubicBezTo>
                    <a:pt x="828354" y="663075"/>
                    <a:pt x="869609" y="691667"/>
                    <a:pt x="861274" y="717502"/>
                  </a:cubicBezTo>
                  <a:cubicBezTo>
                    <a:pt x="858163" y="765703"/>
                    <a:pt x="821384" y="864430"/>
                    <a:pt x="870069" y="890591"/>
                  </a:cubicBezTo>
                  <a:cubicBezTo>
                    <a:pt x="1027088" y="956498"/>
                    <a:pt x="1111591" y="1017224"/>
                    <a:pt x="1271200" y="1041692"/>
                  </a:cubicBezTo>
                  <a:cubicBezTo>
                    <a:pt x="1421068" y="1058498"/>
                    <a:pt x="1596837" y="1072717"/>
                    <a:pt x="1656062" y="1050676"/>
                  </a:cubicBezTo>
                  <a:cubicBezTo>
                    <a:pt x="1693035" y="1020314"/>
                    <a:pt x="1679483" y="943603"/>
                    <a:pt x="1640658" y="913901"/>
                  </a:cubicBezTo>
                  <a:cubicBezTo>
                    <a:pt x="1417953" y="775424"/>
                    <a:pt x="1164022" y="643347"/>
                    <a:pt x="1205563" y="584990"/>
                  </a:cubicBezTo>
                  <a:cubicBezTo>
                    <a:pt x="1270516" y="495899"/>
                    <a:pt x="1246641" y="485610"/>
                    <a:pt x="1224312" y="467932"/>
                  </a:cubicBezTo>
                  <a:cubicBezTo>
                    <a:pt x="1176229" y="446071"/>
                    <a:pt x="1168262" y="421787"/>
                    <a:pt x="1188836" y="379042"/>
                  </a:cubicBezTo>
                  <a:cubicBezTo>
                    <a:pt x="1216542" y="318917"/>
                    <a:pt x="1210581" y="266563"/>
                    <a:pt x="1178720" y="198669"/>
                  </a:cubicBezTo>
                  <a:cubicBezTo>
                    <a:pt x="1164609" y="142192"/>
                    <a:pt x="1169753" y="86082"/>
                    <a:pt x="1188635"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4" name="Freeform 24">
              <a:extLst>
                <a:ext uri="{FF2B5EF4-FFF2-40B4-BE49-F238E27FC236}">
                  <a16:creationId xmlns:a16="http://schemas.microsoft.com/office/drawing/2014/main" id="{5E302710-BB21-F140-81D8-D2559C034B9D}"/>
                </a:ext>
              </a:extLst>
            </p:cNvPr>
            <p:cNvSpPr>
              <a:spLocks noChangeAspect="1"/>
            </p:cNvSpPr>
            <p:nvPr/>
          </p:nvSpPr>
          <p:spPr>
            <a:xfrm flipH="1">
              <a:off x="6019147" y="4509000"/>
              <a:ext cx="1376807" cy="1080000"/>
            </a:xfrm>
            <a:custGeom>
              <a:avLst/>
              <a:gdLst/>
              <a:ahLst/>
              <a:cxnLst/>
              <a:rect l="l" t="t" r="r" b="b"/>
              <a:pathLst>
                <a:path w="1376807" h="1080000">
                  <a:moveTo>
                    <a:pt x="624339" y="0"/>
                  </a:moveTo>
                  <a:lnTo>
                    <a:pt x="127193" y="0"/>
                  </a:lnTo>
                  <a:cubicBezTo>
                    <a:pt x="109123" y="58470"/>
                    <a:pt x="161935" y="118842"/>
                    <a:pt x="129399" y="139055"/>
                  </a:cubicBezTo>
                  <a:cubicBezTo>
                    <a:pt x="78465" y="177453"/>
                    <a:pt x="124181" y="231720"/>
                    <a:pt x="100910" y="269789"/>
                  </a:cubicBezTo>
                  <a:cubicBezTo>
                    <a:pt x="5954" y="483070"/>
                    <a:pt x="-18596" y="835256"/>
                    <a:pt x="13088" y="1080000"/>
                  </a:cubicBezTo>
                  <a:lnTo>
                    <a:pt x="404158" y="1080000"/>
                  </a:lnTo>
                  <a:cubicBezTo>
                    <a:pt x="442184" y="908174"/>
                    <a:pt x="470765" y="705566"/>
                    <a:pt x="457854" y="595381"/>
                  </a:cubicBezTo>
                  <a:cubicBezTo>
                    <a:pt x="449621" y="550671"/>
                    <a:pt x="511134" y="530620"/>
                    <a:pt x="502312" y="497614"/>
                  </a:cubicBezTo>
                  <a:cubicBezTo>
                    <a:pt x="487977" y="466779"/>
                    <a:pt x="481413" y="454072"/>
                    <a:pt x="495566" y="433596"/>
                  </a:cubicBezTo>
                  <a:cubicBezTo>
                    <a:pt x="504111" y="396469"/>
                    <a:pt x="538832" y="394329"/>
                    <a:pt x="561150" y="346512"/>
                  </a:cubicBezTo>
                  <a:cubicBezTo>
                    <a:pt x="571249" y="299677"/>
                    <a:pt x="539910" y="268762"/>
                    <a:pt x="562958" y="218234"/>
                  </a:cubicBezTo>
                  <a:cubicBezTo>
                    <a:pt x="587661" y="145363"/>
                    <a:pt x="607863" y="71522"/>
                    <a:pt x="624339" y="0"/>
                  </a:cubicBezTo>
                  <a:close/>
                  <a:moveTo>
                    <a:pt x="1372033" y="0"/>
                  </a:moveTo>
                  <a:lnTo>
                    <a:pt x="880103" y="0"/>
                  </a:lnTo>
                  <a:cubicBezTo>
                    <a:pt x="879880" y="17298"/>
                    <a:pt x="883247" y="33852"/>
                    <a:pt x="892867" y="48518"/>
                  </a:cubicBezTo>
                  <a:cubicBezTo>
                    <a:pt x="930548" y="84866"/>
                    <a:pt x="866295" y="101931"/>
                    <a:pt x="868160" y="143789"/>
                  </a:cubicBezTo>
                  <a:cubicBezTo>
                    <a:pt x="872106" y="192834"/>
                    <a:pt x="917376" y="208817"/>
                    <a:pt x="904792" y="257864"/>
                  </a:cubicBezTo>
                  <a:cubicBezTo>
                    <a:pt x="864280" y="356188"/>
                    <a:pt x="849667" y="521848"/>
                    <a:pt x="822105" y="653841"/>
                  </a:cubicBezTo>
                  <a:cubicBezTo>
                    <a:pt x="807236" y="733337"/>
                    <a:pt x="814397" y="912334"/>
                    <a:pt x="820327" y="1080000"/>
                  </a:cubicBezTo>
                  <a:lnTo>
                    <a:pt x="1186803" y="1080000"/>
                  </a:lnTo>
                  <a:cubicBezTo>
                    <a:pt x="1189377" y="1066045"/>
                    <a:pt x="1192698" y="1051397"/>
                    <a:pt x="1196339" y="1035844"/>
                  </a:cubicBezTo>
                  <a:cubicBezTo>
                    <a:pt x="1211172" y="931891"/>
                    <a:pt x="1260788" y="736716"/>
                    <a:pt x="1239989" y="629875"/>
                  </a:cubicBezTo>
                  <a:cubicBezTo>
                    <a:pt x="1229549" y="590371"/>
                    <a:pt x="1298967" y="576349"/>
                    <a:pt x="1250241" y="482857"/>
                  </a:cubicBezTo>
                  <a:cubicBezTo>
                    <a:pt x="1240218" y="455170"/>
                    <a:pt x="1304579" y="441259"/>
                    <a:pt x="1308330" y="413573"/>
                  </a:cubicBezTo>
                  <a:cubicBezTo>
                    <a:pt x="1321131" y="312306"/>
                    <a:pt x="1332498" y="304657"/>
                    <a:pt x="1366794" y="210830"/>
                  </a:cubicBezTo>
                  <a:cubicBezTo>
                    <a:pt x="1387798" y="141891"/>
                    <a:pt x="1368703" y="57481"/>
                    <a:pt x="1372033"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5" name="Freeform 25">
              <a:extLst>
                <a:ext uri="{FF2B5EF4-FFF2-40B4-BE49-F238E27FC236}">
                  <a16:creationId xmlns:a16="http://schemas.microsoft.com/office/drawing/2014/main" id="{AE226BF9-5D06-5B48-A872-7F8F428D5274}"/>
                </a:ext>
              </a:extLst>
            </p:cNvPr>
            <p:cNvSpPr>
              <a:spLocks noChangeAspect="1"/>
            </p:cNvSpPr>
            <p:nvPr/>
          </p:nvSpPr>
          <p:spPr>
            <a:xfrm flipH="1">
              <a:off x="5855893" y="3429000"/>
              <a:ext cx="1637989" cy="1080000"/>
            </a:xfrm>
            <a:custGeom>
              <a:avLst/>
              <a:gdLst/>
              <a:ahLst/>
              <a:cxnLst/>
              <a:rect l="l" t="t" r="r" b="b"/>
              <a:pathLst>
                <a:path w="1637989" h="1080000">
                  <a:moveTo>
                    <a:pt x="1581228" y="0"/>
                  </a:moveTo>
                  <a:lnTo>
                    <a:pt x="14898" y="0"/>
                  </a:lnTo>
                  <a:cubicBezTo>
                    <a:pt x="7741" y="70595"/>
                    <a:pt x="2484" y="130483"/>
                    <a:pt x="0" y="171730"/>
                  </a:cubicBezTo>
                  <a:cubicBezTo>
                    <a:pt x="8970" y="270077"/>
                    <a:pt x="141878" y="236077"/>
                    <a:pt x="121535" y="324397"/>
                  </a:cubicBezTo>
                  <a:cubicBezTo>
                    <a:pt x="66652" y="496577"/>
                    <a:pt x="180570" y="498359"/>
                    <a:pt x="173143" y="544398"/>
                  </a:cubicBezTo>
                  <a:cubicBezTo>
                    <a:pt x="137813" y="748412"/>
                    <a:pt x="238554" y="849452"/>
                    <a:pt x="228097" y="903607"/>
                  </a:cubicBezTo>
                  <a:cubicBezTo>
                    <a:pt x="185459" y="993082"/>
                    <a:pt x="254276" y="1034203"/>
                    <a:pt x="235867" y="1051228"/>
                  </a:cubicBezTo>
                  <a:cubicBezTo>
                    <a:pt x="228442" y="1060601"/>
                    <a:pt x="223626" y="1070209"/>
                    <a:pt x="221169" y="1080000"/>
                  </a:cubicBezTo>
                  <a:lnTo>
                    <a:pt x="718315" y="1080000"/>
                  </a:lnTo>
                  <a:cubicBezTo>
                    <a:pt x="785005" y="804481"/>
                    <a:pt x="804830" y="565660"/>
                    <a:pt x="859097" y="561924"/>
                  </a:cubicBezTo>
                  <a:cubicBezTo>
                    <a:pt x="964079" y="553426"/>
                    <a:pt x="908245" y="814820"/>
                    <a:pt x="983003" y="929696"/>
                  </a:cubicBezTo>
                  <a:cubicBezTo>
                    <a:pt x="1007464" y="963054"/>
                    <a:pt x="973827" y="1025251"/>
                    <a:pt x="974079" y="1080000"/>
                  </a:cubicBezTo>
                  <a:lnTo>
                    <a:pt x="1466009" y="1080000"/>
                  </a:lnTo>
                  <a:cubicBezTo>
                    <a:pt x="1466755" y="1061368"/>
                    <a:pt x="1470077" y="1045572"/>
                    <a:pt x="1477840" y="1034038"/>
                  </a:cubicBezTo>
                  <a:cubicBezTo>
                    <a:pt x="1495851" y="929912"/>
                    <a:pt x="1488979" y="803475"/>
                    <a:pt x="1489060" y="651527"/>
                  </a:cubicBezTo>
                  <a:cubicBezTo>
                    <a:pt x="1489523" y="478810"/>
                    <a:pt x="1501667" y="415527"/>
                    <a:pt x="1471712" y="250910"/>
                  </a:cubicBezTo>
                  <a:cubicBezTo>
                    <a:pt x="1554481" y="196934"/>
                    <a:pt x="1657191" y="236991"/>
                    <a:pt x="1634895" y="166833"/>
                  </a:cubicBezTo>
                  <a:cubicBezTo>
                    <a:pt x="1619175" y="115995"/>
                    <a:pt x="1600950" y="59533"/>
                    <a:pt x="1581228"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6" name="Freeform 26">
              <a:extLst>
                <a:ext uri="{FF2B5EF4-FFF2-40B4-BE49-F238E27FC236}">
                  <a16:creationId xmlns:a16="http://schemas.microsoft.com/office/drawing/2014/main" id="{F24A2205-8865-534A-9641-E90C3C122214}"/>
                </a:ext>
              </a:extLst>
            </p:cNvPr>
            <p:cNvSpPr>
              <a:spLocks noChangeAspect="1"/>
            </p:cNvSpPr>
            <p:nvPr/>
          </p:nvSpPr>
          <p:spPr>
            <a:xfrm flipH="1">
              <a:off x="5805995" y="2340365"/>
              <a:ext cx="1917474" cy="1098364"/>
            </a:xfrm>
            <a:custGeom>
              <a:avLst/>
              <a:gdLst/>
              <a:ahLst/>
              <a:cxnLst/>
              <a:rect l="l" t="t" r="r" b="b"/>
              <a:pathLst>
                <a:path w="1917474" h="1080000">
                  <a:moveTo>
                    <a:pt x="1917474" y="0"/>
                  </a:moveTo>
                  <a:lnTo>
                    <a:pt x="0" y="0"/>
                  </a:lnTo>
                  <a:cubicBezTo>
                    <a:pt x="64046" y="206244"/>
                    <a:pt x="170600" y="189898"/>
                    <a:pt x="339667" y="296160"/>
                  </a:cubicBezTo>
                  <a:cubicBezTo>
                    <a:pt x="313133" y="471359"/>
                    <a:pt x="268077" y="838410"/>
                    <a:pt x="244076" y="1080000"/>
                  </a:cubicBezTo>
                  <a:lnTo>
                    <a:pt x="1810406" y="1080000"/>
                  </a:lnTo>
                  <a:cubicBezTo>
                    <a:pt x="1707448" y="766922"/>
                    <a:pt x="1566054" y="368071"/>
                    <a:pt x="1548391" y="248688"/>
                  </a:cubicBezTo>
                  <a:cubicBezTo>
                    <a:pt x="1667467" y="235938"/>
                    <a:pt x="1874282" y="233670"/>
                    <a:pt x="1915736" y="4026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7" name="Freeform 27">
              <a:extLst>
                <a:ext uri="{FF2B5EF4-FFF2-40B4-BE49-F238E27FC236}">
                  <a16:creationId xmlns:a16="http://schemas.microsoft.com/office/drawing/2014/main" id="{FBDAB619-4D9D-444F-A218-0BE321CBEA53}"/>
                </a:ext>
              </a:extLst>
            </p:cNvPr>
            <p:cNvSpPr>
              <a:spLocks noChangeAspect="1"/>
            </p:cNvSpPr>
            <p:nvPr/>
          </p:nvSpPr>
          <p:spPr>
            <a:xfrm flipH="1">
              <a:off x="5806739" y="1269000"/>
              <a:ext cx="1954994" cy="1080000"/>
            </a:xfrm>
            <a:custGeom>
              <a:avLst/>
              <a:gdLst/>
              <a:ahLst/>
              <a:cxnLst/>
              <a:rect l="l" t="t" r="r" b="b"/>
              <a:pathLst>
                <a:path w="1954994" h="1080000">
                  <a:moveTo>
                    <a:pt x="1523764" y="0"/>
                  </a:moveTo>
                  <a:lnTo>
                    <a:pt x="189283" y="0"/>
                  </a:lnTo>
                  <a:cubicBezTo>
                    <a:pt x="170637" y="12530"/>
                    <a:pt x="153375" y="27483"/>
                    <a:pt x="137291" y="44705"/>
                  </a:cubicBezTo>
                  <a:cubicBezTo>
                    <a:pt x="105152" y="92546"/>
                    <a:pt x="-33051" y="694368"/>
                    <a:pt x="7327" y="970116"/>
                  </a:cubicBezTo>
                  <a:cubicBezTo>
                    <a:pt x="15204" y="1012663"/>
                    <a:pt x="23976" y="1048928"/>
                    <a:pt x="34044" y="1080000"/>
                  </a:cubicBezTo>
                  <a:lnTo>
                    <a:pt x="1951518" y="1080000"/>
                  </a:lnTo>
                  <a:cubicBezTo>
                    <a:pt x="1968247" y="904659"/>
                    <a:pt x="1924376" y="781971"/>
                    <a:pt x="1824851" y="581424"/>
                  </a:cubicBezTo>
                  <a:cubicBezTo>
                    <a:pt x="1782972" y="535628"/>
                    <a:pt x="1838570" y="467072"/>
                    <a:pt x="1787436" y="401715"/>
                  </a:cubicBezTo>
                  <a:cubicBezTo>
                    <a:pt x="1766665" y="389849"/>
                    <a:pt x="1818567" y="300845"/>
                    <a:pt x="1771732" y="193217"/>
                  </a:cubicBezTo>
                  <a:cubicBezTo>
                    <a:pt x="1761300" y="157871"/>
                    <a:pt x="1794452" y="107151"/>
                    <a:pt x="1717953" y="73568"/>
                  </a:cubicBezTo>
                  <a:cubicBezTo>
                    <a:pt x="1654306" y="44207"/>
                    <a:pt x="1586764" y="20219"/>
                    <a:pt x="15237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68" name="Freeform 28">
              <a:extLst>
                <a:ext uri="{FF2B5EF4-FFF2-40B4-BE49-F238E27FC236}">
                  <a16:creationId xmlns:a16="http://schemas.microsoft.com/office/drawing/2014/main" id="{8063EAFF-77E5-2048-95D6-CFE0021D09FF}"/>
                </a:ext>
              </a:extLst>
            </p:cNvPr>
            <p:cNvSpPr>
              <a:spLocks noChangeAspect="1"/>
            </p:cNvSpPr>
            <p:nvPr/>
          </p:nvSpPr>
          <p:spPr>
            <a:xfrm flipH="1">
              <a:off x="6215467" y="189000"/>
              <a:ext cx="1334481" cy="1080000"/>
            </a:xfrm>
            <a:custGeom>
              <a:avLst/>
              <a:gdLst/>
              <a:ahLst/>
              <a:cxnLst/>
              <a:rect l="l" t="t" r="r" b="b"/>
              <a:pathLst>
                <a:path w="1334481" h="1080000">
                  <a:moveTo>
                    <a:pt x="798803" y="495"/>
                  </a:moveTo>
                  <a:cubicBezTo>
                    <a:pt x="669255" y="10891"/>
                    <a:pt x="653662" y="70492"/>
                    <a:pt x="573322" y="106786"/>
                  </a:cubicBezTo>
                  <a:lnTo>
                    <a:pt x="485457" y="256323"/>
                  </a:lnTo>
                  <a:cubicBezTo>
                    <a:pt x="485979" y="343749"/>
                    <a:pt x="470959" y="425994"/>
                    <a:pt x="489610" y="508239"/>
                  </a:cubicBezTo>
                  <a:cubicBezTo>
                    <a:pt x="564050" y="589181"/>
                    <a:pt x="584104" y="701201"/>
                    <a:pt x="614517" y="792502"/>
                  </a:cubicBezTo>
                  <a:cubicBezTo>
                    <a:pt x="583420" y="835342"/>
                    <a:pt x="575633" y="893723"/>
                    <a:pt x="516049" y="921024"/>
                  </a:cubicBezTo>
                  <a:cubicBezTo>
                    <a:pt x="345841" y="988886"/>
                    <a:pt x="142528" y="976932"/>
                    <a:pt x="0" y="1080000"/>
                  </a:cubicBezTo>
                  <a:lnTo>
                    <a:pt x="1334481" y="1080000"/>
                  </a:lnTo>
                  <a:cubicBezTo>
                    <a:pt x="1245907" y="1050367"/>
                    <a:pt x="1166529" y="1027797"/>
                    <a:pt x="1120646" y="1006058"/>
                  </a:cubicBezTo>
                  <a:cubicBezTo>
                    <a:pt x="1072185" y="970808"/>
                    <a:pt x="1049621" y="945916"/>
                    <a:pt x="1032239" y="902896"/>
                  </a:cubicBezTo>
                  <a:cubicBezTo>
                    <a:pt x="1014470" y="851243"/>
                    <a:pt x="1066627" y="778870"/>
                    <a:pt x="1082526" y="724627"/>
                  </a:cubicBezTo>
                  <a:cubicBezTo>
                    <a:pt x="1099814" y="659584"/>
                    <a:pt x="1099442" y="612693"/>
                    <a:pt x="1143738" y="546306"/>
                  </a:cubicBezTo>
                  <a:cubicBezTo>
                    <a:pt x="1133648" y="464379"/>
                    <a:pt x="1157749" y="411814"/>
                    <a:pt x="1154071" y="328893"/>
                  </a:cubicBezTo>
                  <a:cubicBezTo>
                    <a:pt x="1155358" y="272643"/>
                    <a:pt x="1146284" y="182728"/>
                    <a:pt x="1080233" y="131659"/>
                  </a:cubicBezTo>
                  <a:cubicBezTo>
                    <a:pt x="1053759" y="66356"/>
                    <a:pt x="931460" y="-6717"/>
                    <a:pt x="798803" y="49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Tree>
    <p:extLst>
      <p:ext uri="{BB962C8B-B14F-4D97-AF65-F5344CB8AC3E}">
        <p14:creationId xmlns:p14="http://schemas.microsoft.com/office/powerpoint/2010/main" val="90502467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82278B-340C-614A-B287-86714843A0F3}"/>
              </a:ext>
            </a:extLst>
          </p:cNvPr>
          <p:cNvSpPr>
            <a:spLocks noGrp="1"/>
          </p:cNvSpPr>
          <p:nvPr>
            <p:ph type="sldNum" sz="quarter" idx="4"/>
          </p:nvPr>
        </p:nvSpPr>
        <p:spPr/>
        <p:txBody>
          <a:bodyPr/>
          <a:lstStyle/>
          <a:p>
            <a:fld id="{3D966009-6E5A-4F8C-8CA7-E37AFBF5FB92}" type="slidenum">
              <a:rPr lang="en-US" smtClean="0"/>
              <a:t>167</a:t>
            </a:fld>
            <a:endParaRPr lang="en-US"/>
          </a:p>
        </p:txBody>
      </p:sp>
      <p:sp>
        <p:nvSpPr>
          <p:cNvPr id="3" name="Title 2">
            <a:extLst>
              <a:ext uri="{FF2B5EF4-FFF2-40B4-BE49-F238E27FC236}">
                <a16:creationId xmlns:a16="http://schemas.microsoft.com/office/drawing/2014/main" id="{BF9CB0B4-6148-E342-995F-D177C0D891FB}"/>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EC3A5EF0-E0DF-4143-A60D-BDC8AD5D7B7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53476FF6-647B-3A46-8AB5-946407147BB4}"/>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FEA11598-3F3E-BB40-8966-7EA1077BC13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DED483CD-9E17-CB49-9A02-9C113F800343}"/>
              </a:ext>
            </a:extLst>
          </p:cNvPr>
          <p:cNvSpPr>
            <a:spLocks noGrp="1"/>
          </p:cNvSpPr>
          <p:nvPr>
            <p:ph sz="quarter" idx="14"/>
          </p:nvPr>
        </p:nvSpPr>
        <p:spPr/>
        <p:txBody>
          <a:bodyPr/>
          <a:lstStyle/>
          <a:p>
            <a:endParaRPr lang="en-GB"/>
          </a:p>
        </p:txBody>
      </p:sp>
      <p:grpSp>
        <p:nvGrpSpPr>
          <p:cNvPr id="9" name="Group 8">
            <a:extLst>
              <a:ext uri="{FF2B5EF4-FFF2-40B4-BE49-F238E27FC236}">
                <a16:creationId xmlns:a16="http://schemas.microsoft.com/office/drawing/2014/main" id="{D26C2450-DEFB-2845-A410-2663160783BF}"/>
              </a:ext>
            </a:extLst>
          </p:cNvPr>
          <p:cNvGrpSpPr/>
          <p:nvPr/>
        </p:nvGrpSpPr>
        <p:grpSpPr>
          <a:xfrm>
            <a:off x="9517074" y="1817929"/>
            <a:ext cx="2303451" cy="2001159"/>
            <a:chOff x="4070449" y="2766517"/>
            <a:chExt cx="2346599" cy="2038644"/>
          </a:xfrm>
        </p:grpSpPr>
        <p:sp>
          <p:nvSpPr>
            <p:cNvPr id="10" name="Diagonal Stripe 18">
              <a:extLst>
                <a:ext uri="{FF2B5EF4-FFF2-40B4-BE49-F238E27FC236}">
                  <a16:creationId xmlns:a16="http://schemas.microsoft.com/office/drawing/2014/main" id="{0C1C33B7-360C-E745-B16C-12CC19AF1355}"/>
                </a:ext>
              </a:extLst>
            </p:cNvPr>
            <p:cNvSpPr>
              <a:spLocks noChangeAspect="1"/>
            </p:cNvSpPr>
            <p:nvPr/>
          </p:nvSpPr>
          <p:spPr>
            <a:xfrm rot="2848566">
              <a:off x="4228697" y="3717695"/>
              <a:ext cx="1076813" cy="1098119"/>
            </a:xfrm>
            <a:custGeom>
              <a:avLst/>
              <a:gdLst>
                <a:gd name="connsiteX0" fmla="*/ 348904 w 675990"/>
                <a:gd name="connsiteY0" fmla="*/ 312950 h 675086"/>
                <a:gd name="connsiteX1" fmla="*/ 361744 w 675990"/>
                <a:gd name="connsiteY1" fmla="*/ 304427 h 675086"/>
                <a:gd name="connsiteX2" fmla="*/ 387609 w 675990"/>
                <a:gd name="connsiteY2" fmla="*/ 311914 h 675086"/>
                <a:gd name="connsiteX3" fmla="*/ 399673 w 675990"/>
                <a:gd name="connsiteY3" fmla="*/ 352981 h 675086"/>
                <a:gd name="connsiteX4" fmla="*/ 398092 w 675990"/>
                <a:gd name="connsiteY4" fmla="*/ 358061 h 675086"/>
                <a:gd name="connsiteX5" fmla="*/ 348904 w 675990"/>
                <a:gd name="connsiteY5" fmla="*/ 312950 h 675086"/>
                <a:gd name="connsiteX6" fmla="*/ 230585 w 675990"/>
                <a:gd name="connsiteY6" fmla="*/ 257376 h 675086"/>
                <a:gd name="connsiteX7" fmla="*/ 274797 w 675990"/>
                <a:gd name="connsiteY7" fmla="*/ 297922 h 675086"/>
                <a:gd name="connsiteX8" fmla="*/ 274337 w 675990"/>
                <a:gd name="connsiteY8" fmla="*/ 298038 h 675086"/>
                <a:gd name="connsiteX9" fmla="*/ 239961 w 675990"/>
                <a:gd name="connsiteY9" fmla="*/ 288170 h 675086"/>
                <a:gd name="connsiteX10" fmla="*/ 239716 w 675990"/>
                <a:gd name="connsiteY10" fmla="*/ 288461 h 675086"/>
                <a:gd name="connsiteX11" fmla="*/ 230585 w 675990"/>
                <a:gd name="connsiteY11" fmla="*/ 257376 h 675086"/>
                <a:gd name="connsiteX12" fmla="*/ 175280 w 675990"/>
                <a:gd name="connsiteY12" fmla="*/ 206655 h 675086"/>
                <a:gd name="connsiteX13" fmla="*/ 188018 w 675990"/>
                <a:gd name="connsiteY13" fmla="*/ 218337 h 675086"/>
                <a:gd name="connsiteX14" fmla="*/ 176767 w 675990"/>
                <a:gd name="connsiteY14" fmla="*/ 241787 h 675086"/>
                <a:gd name="connsiteX15" fmla="*/ 204569 w 675990"/>
                <a:gd name="connsiteY15" fmla="*/ 330107 h 675086"/>
                <a:gd name="connsiteX16" fmla="*/ 280866 w 675990"/>
                <a:gd name="connsiteY16" fmla="*/ 352529 h 675086"/>
                <a:gd name="connsiteX17" fmla="*/ 318697 w 675990"/>
                <a:gd name="connsiteY17" fmla="*/ 338182 h 675086"/>
                <a:gd name="connsiteX18" fmla="*/ 369250 w 675990"/>
                <a:gd name="connsiteY18" fmla="*/ 384545 h 675086"/>
                <a:gd name="connsiteX19" fmla="*/ 327006 w 675990"/>
                <a:gd name="connsiteY19" fmla="*/ 373364 h 675086"/>
                <a:gd name="connsiteX20" fmla="*/ 284812 w 675990"/>
                <a:gd name="connsiteY20" fmla="*/ 415213 h 675086"/>
                <a:gd name="connsiteX21" fmla="*/ 385381 w 675990"/>
                <a:gd name="connsiteY21" fmla="*/ 441752 h 675086"/>
                <a:gd name="connsiteX22" fmla="*/ 415805 w 675990"/>
                <a:gd name="connsiteY22" fmla="*/ 427239 h 675086"/>
                <a:gd name="connsiteX23" fmla="*/ 428627 w 675990"/>
                <a:gd name="connsiteY23" fmla="*/ 438999 h 675086"/>
                <a:gd name="connsiteX24" fmla="*/ 454996 w 675990"/>
                <a:gd name="connsiteY24" fmla="*/ 410247 h 675086"/>
                <a:gd name="connsiteX25" fmla="*/ 443131 w 675990"/>
                <a:gd name="connsiteY25" fmla="*/ 399365 h 675086"/>
                <a:gd name="connsiteX26" fmla="*/ 457476 w 675990"/>
                <a:gd name="connsiteY26" fmla="*/ 366780 h 675086"/>
                <a:gd name="connsiteX27" fmla="*/ 428374 w 675990"/>
                <a:gd name="connsiteY27" fmla="*/ 268744 h 675086"/>
                <a:gd name="connsiteX28" fmla="*/ 428534 w 675990"/>
                <a:gd name="connsiteY28" fmla="*/ 268557 h 675086"/>
                <a:gd name="connsiteX29" fmla="*/ 427407 w 675990"/>
                <a:gd name="connsiteY29" fmla="*/ 267729 h 675086"/>
                <a:gd name="connsiteX30" fmla="*/ 427024 w 675990"/>
                <a:gd name="connsiteY30" fmla="*/ 267327 h 675086"/>
                <a:gd name="connsiteX31" fmla="*/ 426958 w 675990"/>
                <a:gd name="connsiteY31" fmla="*/ 267399 h 675086"/>
                <a:gd name="connsiteX32" fmla="*/ 352832 w 675990"/>
                <a:gd name="connsiteY32" fmla="*/ 248366 h 675086"/>
                <a:gd name="connsiteX33" fmla="*/ 307533 w 675990"/>
                <a:gd name="connsiteY33" fmla="*/ 275010 h 675086"/>
                <a:gd name="connsiteX34" fmla="*/ 255217 w 675990"/>
                <a:gd name="connsiteY34" fmla="*/ 227031 h 675086"/>
                <a:gd name="connsiteX35" fmla="*/ 258272 w 675990"/>
                <a:gd name="connsiteY35" fmla="*/ 225712 h 675086"/>
                <a:gd name="connsiteX36" fmla="*/ 296374 w 675990"/>
                <a:gd name="connsiteY36" fmla="*/ 235767 h 675086"/>
                <a:gd name="connsiteX37" fmla="*/ 334358 w 675990"/>
                <a:gd name="connsiteY37" fmla="*/ 198094 h 675086"/>
                <a:gd name="connsiteX38" fmla="*/ 243823 w 675990"/>
                <a:gd name="connsiteY38" fmla="*/ 174203 h 675086"/>
                <a:gd name="connsiteX39" fmla="*/ 213832 w 675990"/>
                <a:gd name="connsiteY39" fmla="*/ 189078 h 675086"/>
                <a:gd name="connsiteX40" fmla="*/ 201648 w 675990"/>
                <a:gd name="connsiteY40" fmla="*/ 177904 h 675086"/>
                <a:gd name="connsiteX41" fmla="*/ 175280 w 675990"/>
                <a:gd name="connsiteY41" fmla="*/ 206655 h 675086"/>
                <a:gd name="connsiteX42" fmla="*/ 12 w 675990"/>
                <a:gd name="connsiteY42" fmla="*/ 293155 h 675086"/>
                <a:gd name="connsiteX43" fmla="*/ 249809 w 675990"/>
                <a:gd name="connsiteY43" fmla="*/ 1624 h 675086"/>
                <a:gd name="connsiteX44" fmla="*/ 594173 w 675990"/>
                <a:gd name="connsiteY44" fmla="*/ 64966 h 675086"/>
                <a:gd name="connsiteX45" fmla="*/ 510663 w 675990"/>
                <a:gd name="connsiteY45" fmla="*/ 486821 h 675086"/>
                <a:gd name="connsiteX46" fmla="*/ 71150 w 675990"/>
                <a:gd name="connsiteY46" fmla="*/ 602445 h 675086"/>
                <a:gd name="connsiteX47" fmla="*/ 70567 w 675990"/>
                <a:gd name="connsiteY47" fmla="*/ 601568 h 675086"/>
                <a:gd name="connsiteX48" fmla="*/ 12 w 675990"/>
                <a:gd name="connsiteY48" fmla="*/ 293155 h 675086"/>
                <a:gd name="connsiteX0" fmla="*/ 348904 w 650157"/>
                <a:gd name="connsiteY0" fmla="*/ 335888 h 698024"/>
                <a:gd name="connsiteX1" fmla="*/ 361744 w 650157"/>
                <a:gd name="connsiteY1" fmla="*/ 327365 h 698024"/>
                <a:gd name="connsiteX2" fmla="*/ 387609 w 650157"/>
                <a:gd name="connsiteY2" fmla="*/ 334852 h 698024"/>
                <a:gd name="connsiteX3" fmla="*/ 399673 w 650157"/>
                <a:gd name="connsiteY3" fmla="*/ 375919 h 698024"/>
                <a:gd name="connsiteX4" fmla="*/ 398092 w 650157"/>
                <a:gd name="connsiteY4" fmla="*/ 380999 h 698024"/>
                <a:gd name="connsiteX5" fmla="*/ 348904 w 650157"/>
                <a:gd name="connsiteY5" fmla="*/ 335888 h 698024"/>
                <a:gd name="connsiteX6" fmla="*/ 230585 w 650157"/>
                <a:gd name="connsiteY6" fmla="*/ 280314 h 698024"/>
                <a:gd name="connsiteX7" fmla="*/ 274797 w 650157"/>
                <a:gd name="connsiteY7" fmla="*/ 320860 h 698024"/>
                <a:gd name="connsiteX8" fmla="*/ 274337 w 650157"/>
                <a:gd name="connsiteY8" fmla="*/ 320976 h 698024"/>
                <a:gd name="connsiteX9" fmla="*/ 239961 w 650157"/>
                <a:gd name="connsiteY9" fmla="*/ 311108 h 698024"/>
                <a:gd name="connsiteX10" fmla="*/ 239716 w 650157"/>
                <a:gd name="connsiteY10" fmla="*/ 311399 h 698024"/>
                <a:gd name="connsiteX11" fmla="*/ 230585 w 650157"/>
                <a:gd name="connsiteY11" fmla="*/ 280314 h 698024"/>
                <a:gd name="connsiteX12" fmla="*/ 175280 w 650157"/>
                <a:gd name="connsiteY12" fmla="*/ 229593 h 698024"/>
                <a:gd name="connsiteX13" fmla="*/ 188018 w 650157"/>
                <a:gd name="connsiteY13" fmla="*/ 241275 h 698024"/>
                <a:gd name="connsiteX14" fmla="*/ 176767 w 650157"/>
                <a:gd name="connsiteY14" fmla="*/ 264725 h 698024"/>
                <a:gd name="connsiteX15" fmla="*/ 204569 w 650157"/>
                <a:gd name="connsiteY15" fmla="*/ 353045 h 698024"/>
                <a:gd name="connsiteX16" fmla="*/ 280866 w 650157"/>
                <a:gd name="connsiteY16" fmla="*/ 375467 h 698024"/>
                <a:gd name="connsiteX17" fmla="*/ 318697 w 650157"/>
                <a:gd name="connsiteY17" fmla="*/ 361120 h 698024"/>
                <a:gd name="connsiteX18" fmla="*/ 369250 w 650157"/>
                <a:gd name="connsiteY18" fmla="*/ 407483 h 698024"/>
                <a:gd name="connsiteX19" fmla="*/ 327006 w 650157"/>
                <a:gd name="connsiteY19" fmla="*/ 396302 h 698024"/>
                <a:gd name="connsiteX20" fmla="*/ 284812 w 650157"/>
                <a:gd name="connsiteY20" fmla="*/ 438151 h 698024"/>
                <a:gd name="connsiteX21" fmla="*/ 385381 w 650157"/>
                <a:gd name="connsiteY21" fmla="*/ 464690 h 698024"/>
                <a:gd name="connsiteX22" fmla="*/ 415805 w 650157"/>
                <a:gd name="connsiteY22" fmla="*/ 450177 h 698024"/>
                <a:gd name="connsiteX23" fmla="*/ 428627 w 650157"/>
                <a:gd name="connsiteY23" fmla="*/ 461937 h 698024"/>
                <a:gd name="connsiteX24" fmla="*/ 454996 w 650157"/>
                <a:gd name="connsiteY24" fmla="*/ 433185 h 698024"/>
                <a:gd name="connsiteX25" fmla="*/ 443131 w 650157"/>
                <a:gd name="connsiteY25" fmla="*/ 422303 h 698024"/>
                <a:gd name="connsiteX26" fmla="*/ 457476 w 650157"/>
                <a:gd name="connsiteY26" fmla="*/ 389718 h 698024"/>
                <a:gd name="connsiteX27" fmla="*/ 428374 w 650157"/>
                <a:gd name="connsiteY27" fmla="*/ 291682 h 698024"/>
                <a:gd name="connsiteX28" fmla="*/ 428534 w 650157"/>
                <a:gd name="connsiteY28" fmla="*/ 291495 h 698024"/>
                <a:gd name="connsiteX29" fmla="*/ 427407 w 650157"/>
                <a:gd name="connsiteY29" fmla="*/ 290667 h 698024"/>
                <a:gd name="connsiteX30" fmla="*/ 427024 w 650157"/>
                <a:gd name="connsiteY30" fmla="*/ 290265 h 698024"/>
                <a:gd name="connsiteX31" fmla="*/ 426958 w 650157"/>
                <a:gd name="connsiteY31" fmla="*/ 290337 h 698024"/>
                <a:gd name="connsiteX32" fmla="*/ 352832 w 650157"/>
                <a:gd name="connsiteY32" fmla="*/ 271304 h 698024"/>
                <a:gd name="connsiteX33" fmla="*/ 307533 w 650157"/>
                <a:gd name="connsiteY33" fmla="*/ 297948 h 698024"/>
                <a:gd name="connsiteX34" fmla="*/ 255217 w 650157"/>
                <a:gd name="connsiteY34" fmla="*/ 249969 h 698024"/>
                <a:gd name="connsiteX35" fmla="*/ 258272 w 650157"/>
                <a:gd name="connsiteY35" fmla="*/ 248650 h 698024"/>
                <a:gd name="connsiteX36" fmla="*/ 296374 w 650157"/>
                <a:gd name="connsiteY36" fmla="*/ 258705 h 698024"/>
                <a:gd name="connsiteX37" fmla="*/ 334358 w 650157"/>
                <a:gd name="connsiteY37" fmla="*/ 221032 h 698024"/>
                <a:gd name="connsiteX38" fmla="*/ 243823 w 650157"/>
                <a:gd name="connsiteY38" fmla="*/ 197141 h 698024"/>
                <a:gd name="connsiteX39" fmla="*/ 213832 w 650157"/>
                <a:gd name="connsiteY39" fmla="*/ 212016 h 698024"/>
                <a:gd name="connsiteX40" fmla="*/ 201648 w 650157"/>
                <a:gd name="connsiteY40" fmla="*/ 200842 h 698024"/>
                <a:gd name="connsiteX41" fmla="*/ 175280 w 650157"/>
                <a:gd name="connsiteY41" fmla="*/ 229593 h 698024"/>
                <a:gd name="connsiteX42" fmla="*/ 12 w 650157"/>
                <a:gd name="connsiteY42" fmla="*/ 316093 h 698024"/>
                <a:gd name="connsiteX43" fmla="*/ 225239 w 650157"/>
                <a:gd name="connsiteY43" fmla="*/ 2029 h 698024"/>
                <a:gd name="connsiteX44" fmla="*/ 594173 w 650157"/>
                <a:gd name="connsiteY44" fmla="*/ 87904 h 698024"/>
                <a:gd name="connsiteX45" fmla="*/ 510663 w 650157"/>
                <a:gd name="connsiteY45" fmla="*/ 509759 h 698024"/>
                <a:gd name="connsiteX46" fmla="*/ 71150 w 650157"/>
                <a:gd name="connsiteY46" fmla="*/ 625383 h 698024"/>
                <a:gd name="connsiteX47" fmla="*/ 70567 w 650157"/>
                <a:gd name="connsiteY47" fmla="*/ 624506 h 698024"/>
                <a:gd name="connsiteX48" fmla="*/ 12 w 650157"/>
                <a:gd name="connsiteY48" fmla="*/ 316093 h 698024"/>
                <a:gd name="connsiteX0" fmla="*/ 348904 w 650157"/>
                <a:gd name="connsiteY0" fmla="*/ 335888 h 698024"/>
                <a:gd name="connsiteX1" fmla="*/ 361744 w 650157"/>
                <a:gd name="connsiteY1" fmla="*/ 327365 h 698024"/>
                <a:gd name="connsiteX2" fmla="*/ 387609 w 650157"/>
                <a:gd name="connsiteY2" fmla="*/ 334852 h 698024"/>
                <a:gd name="connsiteX3" fmla="*/ 399673 w 650157"/>
                <a:gd name="connsiteY3" fmla="*/ 375919 h 698024"/>
                <a:gd name="connsiteX4" fmla="*/ 398092 w 650157"/>
                <a:gd name="connsiteY4" fmla="*/ 380999 h 698024"/>
                <a:gd name="connsiteX5" fmla="*/ 348904 w 650157"/>
                <a:gd name="connsiteY5" fmla="*/ 335888 h 698024"/>
                <a:gd name="connsiteX6" fmla="*/ 230585 w 650157"/>
                <a:gd name="connsiteY6" fmla="*/ 280314 h 698024"/>
                <a:gd name="connsiteX7" fmla="*/ 274797 w 650157"/>
                <a:gd name="connsiteY7" fmla="*/ 320860 h 698024"/>
                <a:gd name="connsiteX8" fmla="*/ 274337 w 650157"/>
                <a:gd name="connsiteY8" fmla="*/ 320976 h 698024"/>
                <a:gd name="connsiteX9" fmla="*/ 239961 w 650157"/>
                <a:gd name="connsiteY9" fmla="*/ 311108 h 698024"/>
                <a:gd name="connsiteX10" fmla="*/ 239716 w 650157"/>
                <a:gd name="connsiteY10" fmla="*/ 311399 h 698024"/>
                <a:gd name="connsiteX11" fmla="*/ 230585 w 650157"/>
                <a:gd name="connsiteY11" fmla="*/ 280314 h 698024"/>
                <a:gd name="connsiteX12" fmla="*/ 175280 w 650157"/>
                <a:gd name="connsiteY12" fmla="*/ 229593 h 698024"/>
                <a:gd name="connsiteX13" fmla="*/ 188018 w 650157"/>
                <a:gd name="connsiteY13" fmla="*/ 241275 h 698024"/>
                <a:gd name="connsiteX14" fmla="*/ 176767 w 650157"/>
                <a:gd name="connsiteY14" fmla="*/ 264725 h 698024"/>
                <a:gd name="connsiteX15" fmla="*/ 204569 w 650157"/>
                <a:gd name="connsiteY15" fmla="*/ 353045 h 698024"/>
                <a:gd name="connsiteX16" fmla="*/ 280866 w 650157"/>
                <a:gd name="connsiteY16" fmla="*/ 375467 h 698024"/>
                <a:gd name="connsiteX17" fmla="*/ 318697 w 650157"/>
                <a:gd name="connsiteY17" fmla="*/ 361120 h 698024"/>
                <a:gd name="connsiteX18" fmla="*/ 369250 w 650157"/>
                <a:gd name="connsiteY18" fmla="*/ 407483 h 698024"/>
                <a:gd name="connsiteX19" fmla="*/ 327006 w 650157"/>
                <a:gd name="connsiteY19" fmla="*/ 396302 h 698024"/>
                <a:gd name="connsiteX20" fmla="*/ 284812 w 650157"/>
                <a:gd name="connsiteY20" fmla="*/ 438151 h 698024"/>
                <a:gd name="connsiteX21" fmla="*/ 385381 w 650157"/>
                <a:gd name="connsiteY21" fmla="*/ 464690 h 698024"/>
                <a:gd name="connsiteX22" fmla="*/ 415805 w 650157"/>
                <a:gd name="connsiteY22" fmla="*/ 450177 h 698024"/>
                <a:gd name="connsiteX23" fmla="*/ 428627 w 650157"/>
                <a:gd name="connsiteY23" fmla="*/ 461937 h 698024"/>
                <a:gd name="connsiteX24" fmla="*/ 454996 w 650157"/>
                <a:gd name="connsiteY24" fmla="*/ 433185 h 698024"/>
                <a:gd name="connsiteX25" fmla="*/ 443131 w 650157"/>
                <a:gd name="connsiteY25" fmla="*/ 422303 h 698024"/>
                <a:gd name="connsiteX26" fmla="*/ 457476 w 650157"/>
                <a:gd name="connsiteY26" fmla="*/ 389718 h 698024"/>
                <a:gd name="connsiteX27" fmla="*/ 428374 w 650157"/>
                <a:gd name="connsiteY27" fmla="*/ 291682 h 698024"/>
                <a:gd name="connsiteX28" fmla="*/ 428534 w 650157"/>
                <a:gd name="connsiteY28" fmla="*/ 291495 h 698024"/>
                <a:gd name="connsiteX29" fmla="*/ 427407 w 650157"/>
                <a:gd name="connsiteY29" fmla="*/ 290667 h 698024"/>
                <a:gd name="connsiteX30" fmla="*/ 427024 w 650157"/>
                <a:gd name="connsiteY30" fmla="*/ 290265 h 698024"/>
                <a:gd name="connsiteX31" fmla="*/ 426958 w 650157"/>
                <a:gd name="connsiteY31" fmla="*/ 290337 h 698024"/>
                <a:gd name="connsiteX32" fmla="*/ 352832 w 650157"/>
                <a:gd name="connsiteY32" fmla="*/ 271304 h 698024"/>
                <a:gd name="connsiteX33" fmla="*/ 307533 w 650157"/>
                <a:gd name="connsiteY33" fmla="*/ 297948 h 698024"/>
                <a:gd name="connsiteX34" fmla="*/ 255217 w 650157"/>
                <a:gd name="connsiteY34" fmla="*/ 249969 h 698024"/>
                <a:gd name="connsiteX35" fmla="*/ 258272 w 650157"/>
                <a:gd name="connsiteY35" fmla="*/ 248650 h 698024"/>
                <a:gd name="connsiteX36" fmla="*/ 296374 w 650157"/>
                <a:gd name="connsiteY36" fmla="*/ 258705 h 698024"/>
                <a:gd name="connsiteX37" fmla="*/ 334358 w 650157"/>
                <a:gd name="connsiteY37" fmla="*/ 221032 h 698024"/>
                <a:gd name="connsiteX38" fmla="*/ 243823 w 650157"/>
                <a:gd name="connsiteY38" fmla="*/ 197141 h 698024"/>
                <a:gd name="connsiteX39" fmla="*/ 213832 w 650157"/>
                <a:gd name="connsiteY39" fmla="*/ 212016 h 698024"/>
                <a:gd name="connsiteX40" fmla="*/ 201648 w 650157"/>
                <a:gd name="connsiteY40" fmla="*/ 200842 h 698024"/>
                <a:gd name="connsiteX41" fmla="*/ 175280 w 650157"/>
                <a:gd name="connsiteY41" fmla="*/ 229593 h 698024"/>
                <a:gd name="connsiteX42" fmla="*/ 12 w 650157"/>
                <a:gd name="connsiteY42" fmla="*/ 316093 h 698024"/>
                <a:gd name="connsiteX43" fmla="*/ 225239 w 650157"/>
                <a:gd name="connsiteY43" fmla="*/ 2029 h 698024"/>
                <a:gd name="connsiteX44" fmla="*/ 594173 w 650157"/>
                <a:gd name="connsiteY44" fmla="*/ 87904 h 698024"/>
                <a:gd name="connsiteX45" fmla="*/ 510663 w 650157"/>
                <a:gd name="connsiteY45" fmla="*/ 509759 h 698024"/>
                <a:gd name="connsiteX46" fmla="*/ 71150 w 650157"/>
                <a:gd name="connsiteY46" fmla="*/ 625383 h 698024"/>
                <a:gd name="connsiteX47" fmla="*/ 70567 w 650157"/>
                <a:gd name="connsiteY47" fmla="*/ 624506 h 698024"/>
                <a:gd name="connsiteX48" fmla="*/ 12 w 650157"/>
                <a:gd name="connsiteY48" fmla="*/ 316093 h 698024"/>
                <a:gd name="connsiteX0" fmla="*/ 348904 w 681821"/>
                <a:gd name="connsiteY0" fmla="*/ 335464 h 697600"/>
                <a:gd name="connsiteX1" fmla="*/ 361744 w 681821"/>
                <a:gd name="connsiteY1" fmla="*/ 326941 h 697600"/>
                <a:gd name="connsiteX2" fmla="*/ 387609 w 681821"/>
                <a:gd name="connsiteY2" fmla="*/ 334428 h 697600"/>
                <a:gd name="connsiteX3" fmla="*/ 399673 w 681821"/>
                <a:gd name="connsiteY3" fmla="*/ 375495 h 697600"/>
                <a:gd name="connsiteX4" fmla="*/ 398092 w 681821"/>
                <a:gd name="connsiteY4" fmla="*/ 380575 h 697600"/>
                <a:gd name="connsiteX5" fmla="*/ 348904 w 681821"/>
                <a:gd name="connsiteY5" fmla="*/ 335464 h 697600"/>
                <a:gd name="connsiteX6" fmla="*/ 230585 w 681821"/>
                <a:gd name="connsiteY6" fmla="*/ 279890 h 697600"/>
                <a:gd name="connsiteX7" fmla="*/ 274797 w 681821"/>
                <a:gd name="connsiteY7" fmla="*/ 320436 h 697600"/>
                <a:gd name="connsiteX8" fmla="*/ 274337 w 681821"/>
                <a:gd name="connsiteY8" fmla="*/ 320552 h 697600"/>
                <a:gd name="connsiteX9" fmla="*/ 239961 w 681821"/>
                <a:gd name="connsiteY9" fmla="*/ 310684 h 697600"/>
                <a:gd name="connsiteX10" fmla="*/ 239716 w 681821"/>
                <a:gd name="connsiteY10" fmla="*/ 310975 h 697600"/>
                <a:gd name="connsiteX11" fmla="*/ 230585 w 681821"/>
                <a:gd name="connsiteY11" fmla="*/ 279890 h 697600"/>
                <a:gd name="connsiteX12" fmla="*/ 175280 w 681821"/>
                <a:gd name="connsiteY12" fmla="*/ 229169 h 697600"/>
                <a:gd name="connsiteX13" fmla="*/ 188018 w 681821"/>
                <a:gd name="connsiteY13" fmla="*/ 240851 h 697600"/>
                <a:gd name="connsiteX14" fmla="*/ 176767 w 681821"/>
                <a:gd name="connsiteY14" fmla="*/ 264301 h 697600"/>
                <a:gd name="connsiteX15" fmla="*/ 204569 w 681821"/>
                <a:gd name="connsiteY15" fmla="*/ 352621 h 697600"/>
                <a:gd name="connsiteX16" fmla="*/ 280866 w 681821"/>
                <a:gd name="connsiteY16" fmla="*/ 375043 h 697600"/>
                <a:gd name="connsiteX17" fmla="*/ 318697 w 681821"/>
                <a:gd name="connsiteY17" fmla="*/ 360696 h 697600"/>
                <a:gd name="connsiteX18" fmla="*/ 369250 w 681821"/>
                <a:gd name="connsiteY18" fmla="*/ 407059 h 697600"/>
                <a:gd name="connsiteX19" fmla="*/ 327006 w 681821"/>
                <a:gd name="connsiteY19" fmla="*/ 395878 h 697600"/>
                <a:gd name="connsiteX20" fmla="*/ 284812 w 681821"/>
                <a:gd name="connsiteY20" fmla="*/ 437727 h 697600"/>
                <a:gd name="connsiteX21" fmla="*/ 385381 w 681821"/>
                <a:gd name="connsiteY21" fmla="*/ 464266 h 697600"/>
                <a:gd name="connsiteX22" fmla="*/ 415805 w 681821"/>
                <a:gd name="connsiteY22" fmla="*/ 449753 h 697600"/>
                <a:gd name="connsiteX23" fmla="*/ 428627 w 681821"/>
                <a:gd name="connsiteY23" fmla="*/ 461513 h 697600"/>
                <a:gd name="connsiteX24" fmla="*/ 454996 w 681821"/>
                <a:gd name="connsiteY24" fmla="*/ 432761 h 697600"/>
                <a:gd name="connsiteX25" fmla="*/ 443131 w 681821"/>
                <a:gd name="connsiteY25" fmla="*/ 421879 h 697600"/>
                <a:gd name="connsiteX26" fmla="*/ 457476 w 681821"/>
                <a:gd name="connsiteY26" fmla="*/ 389294 h 697600"/>
                <a:gd name="connsiteX27" fmla="*/ 428374 w 681821"/>
                <a:gd name="connsiteY27" fmla="*/ 291258 h 697600"/>
                <a:gd name="connsiteX28" fmla="*/ 428534 w 681821"/>
                <a:gd name="connsiteY28" fmla="*/ 291071 h 697600"/>
                <a:gd name="connsiteX29" fmla="*/ 427407 w 681821"/>
                <a:gd name="connsiteY29" fmla="*/ 290243 h 697600"/>
                <a:gd name="connsiteX30" fmla="*/ 427024 w 681821"/>
                <a:gd name="connsiteY30" fmla="*/ 289841 h 697600"/>
                <a:gd name="connsiteX31" fmla="*/ 426958 w 681821"/>
                <a:gd name="connsiteY31" fmla="*/ 289913 h 697600"/>
                <a:gd name="connsiteX32" fmla="*/ 352832 w 681821"/>
                <a:gd name="connsiteY32" fmla="*/ 270880 h 697600"/>
                <a:gd name="connsiteX33" fmla="*/ 307533 w 681821"/>
                <a:gd name="connsiteY33" fmla="*/ 297524 h 697600"/>
                <a:gd name="connsiteX34" fmla="*/ 255217 w 681821"/>
                <a:gd name="connsiteY34" fmla="*/ 249545 h 697600"/>
                <a:gd name="connsiteX35" fmla="*/ 258272 w 681821"/>
                <a:gd name="connsiteY35" fmla="*/ 248226 h 697600"/>
                <a:gd name="connsiteX36" fmla="*/ 296374 w 681821"/>
                <a:gd name="connsiteY36" fmla="*/ 258281 h 697600"/>
                <a:gd name="connsiteX37" fmla="*/ 334358 w 681821"/>
                <a:gd name="connsiteY37" fmla="*/ 220608 h 697600"/>
                <a:gd name="connsiteX38" fmla="*/ 243823 w 681821"/>
                <a:gd name="connsiteY38" fmla="*/ 196717 h 697600"/>
                <a:gd name="connsiteX39" fmla="*/ 213832 w 681821"/>
                <a:gd name="connsiteY39" fmla="*/ 211592 h 697600"/>
                <a:gd name="connsiteX40" fmla="*/ 201648 w 681821"/>
                <a:gd name="connsiteY40" fmla="*/ 200418 h 697600"/>
                <a:gd name="connsiteX41" fmla="*/ 175280 w 681821"/>
                <a:gd name="connsiteY41" fmla="*/ 229169 h 697600"/>
                <a:gd name="connsiteX42" fmla="*/ 12 w 681821"/>
                <a:gd name="connsiteY42" fmla="*/ 315669 h 697600"/>
                <a:gd name="connsiteX43" fmla="*/ 225239 w 681821"/>
                <a:gd name="connsiteY43" fmla="*/ 1605 h 697600"/>
                <a:gd name="connsiteX44" fmla="*/ 594173 w 681821"/>
                <a:gd name="connsiteY44" fmla="*/ 87480 h 697600"/>
                <a:gd name="connsiteX45" fmla="*/ 510663 w 681821"/>
                <a:gd name="connsiteY45" fmla="*/ 509335 h 697600"/>
                <a:gd name="connsiteX46" fmla="*/ 71150 w 681821"/>
                <a:gd name="connsiteY46" fmla="*/ 624959 h 697600"/>
                <a:gd name="connsiteX47" fmla="*/ 70567 w 681821"/>
                <a:gd name="connsiteY47" fmla="*/ 624082 h 697600"/>
                <a:gd name="connsiteX48" fmla="*/ 12 w 681821"/>
                <a:gd name="connsiteY48" fmla="*/ 315669 h 697600"/>
                <a:gd name="connsiteX0" fmla="*/ 348904 w 700110"/>
                <a:gd name="connsiteY0" fmla="*/ 336630 h 721497"/>
                <a:gd name="connsiteX1" fmla="*/ 361744 w 700110"/>
                <a:gd name="connsiteY1" fmla="*/ 328107 h 721497"/>
                <a:gd name="connsiteX2" fmla="*/ 387609 w 700110"/>
                <a:gd name="connsiteY2" fmla="*/ 335594 h 721497"/>
                <a:gd name="connsiteX3" fmla="*/ 399673 w 700110"/>
                <a:gd name="connsiteY3" fmla="*/ 376661 h 721497"/>
                <a:gd name="connsiteX4" fmla="*/ 398092 w 700110"/>
                <a:gd name="connsiteY4" fmla="*/ 381741 h 721497"/>
                <a:gd name="connsiteX5" fmla="*/ 348904 w 700110"/>
                <a:gd name="connsiteY5" fmla="*/ 336630 h 721497"/>
                <a:gd name="connsiteX6" fmla="*/ 230585 w 700110"/>
                <a:gd name="connsiteY6" fmla="*/ 281056 h 721497"/>
                <a:gd name="connsiteX7" fmla="*/ 274797 w 700110"/>
                <a:gd name="connsiteY7" fmla="*/ 321602 h 721497"/>
                <a:gd name="connsiteX8" fmla="*/ 274337 w 700110"/>
                <a:gd name="connsiteY8" fmla="*/ 321718 h 721497"/>
                <a:gd name="connsiteX9" fmla="*/ 239961 w 700110"/>
                <a:gd name="connsiteY9" fmla="*/ 311850 h 721497"/>
                <a:gd name="connsiteX10" fmla="*/ 239716 w 700110"/>
                <a:gd name="connsiteY10" fmla="*/ 312141 h 721497"/>
                <a:gd name="connsiteX11" fmla="*/ 230585 w 700110"/>
                <a:gd name="connsiteY11" fmla="*/ 281056 h 721497"/>
                <a:gd name="connsiteX12" fmla="*/ 175280 w 700110"/>
                <a:gd name="connsiteY12" fmla="*/ 230335 h 721497"/>
                <a:gd name="connsiteX13" fmla="*/ 188018 w 700110"/>
                <a:gd name="connsiteY13" fmla="*/ 242017 h 721497"/>
                <a:gd name="connsiteX14" fmla="*/ 176767 w 700110"/>
                <a:gd name="connsiteY14" fmla="*/ 265467 h 721497"/>
                <a:gd name="connsiteX15" fmla="*/ 204569 w 700110"/>
                <a:gd name="connsiteY15" fmla="*/ 353787 h 721497"/>
                <a:gd name="connsiteX16" fmla="*/ 280866 w 700110"/>
                <a:gd name="connsiteY16" fmla="*/ 376209 h 721497"/>
                <a:gd name="connsiteX17" fmla="*/ 318697 w 700110"/>
                <a:gd name="connsiteY17" fmla="*/ 361862 h 721497"/>
                <a:gd name="connsiteX18" fmla="*/ 369250 w 700110"/>
                <a:gd name="connsiteY18" fmla="*/ 408225 h 721497"/>
                <a:gd name="connsiteX19" fmla="*/ 327006 w 700110"/>
                <a:gd name="connsiteY19" fmla="*/ 397044 h 721497"/>
                <a:gd name="connsiteX20" fmla="*/ 284812 w 700110"/>
                <a:gd name="connsiteY20" fmla="*/ 438893 h 721497"/>
                <a:gd name="connsiteX21" fmla="*/ 385381 w 700110"/>
                <a:gd name="connsiteY21" fmla="*/ 465432 h 721497"/>
                <a:gd name="connsiteX22" fmla="*/ 415805 w 700110"/>
                <a:gd name="connsiteY22" fmla="*/ 450919 h 721497"/>
                <a:gd name="connsiteX23" fmla="*/ 428627 w 700110"/>
                <a:gd name="connsiteY23" fmla="*/ 462679 h 721497"/>
                <a:gd name="connsiteX24" fmla="*/ 454996 w 700110"/>
                <a:gd name="connsiteY24" fmla="*/ 433927 h 721497"/>
                <a:gd name="connsiteX25" fmla="*/ 443131 w 700110"/>
                <a:gd name="connsiteY25" fmla="*/ 423045 h 721497"/>
                <a:gd name="connsiteX26" fmla="*/ 457476 w 700110"/>
                <a:gd name="connsiteY26" fmla="*/ 390460 h 721497"/>
                <a:gd name="connsiteX27" fmla="*/ 428374 w 700110"/>
                <a:gd name="connsiteY27" fmla="*/ 292424 h 721497"/>
                <a:gd name="connsiteX28" fmla="*/ 428534 w 700110"/>
                <a:gd name="connsiteY28" fmla="*/ 292237 h 721497"/>
                <a:gd name="connsiteX29" fmla="*/ 427407 w 700110"/>
                <a:gd name="connsiteY29" fmla="*/ 291409 h 721497"/>
                <a:gd name="connsiteX30" fmla="*/ 427024 w 700110"/>
                <a:gd name="connsiteY30" fmla="*/ 291007 h 721497"/>
                <a:gd name="connsiteX31" fmla="*/ 426958 w 700110"/>
                <a:gd name="connsiteY31" fmla="*/ 291079 h 721497"/>
                <a:gd name="connsiteX32" fmla="*/ 352832 w 700110"/>
                <a:gd name="connsiteY32" fmla="*/ 272046 h 721497"/>
                <a:gd name="connsiteX33" fmla="*/ 307533 w 700110"/>
                <a:gd name="connsiteY33" fmla="*/ 298690 h 721497"/>
                <a:gd name="connsiteX34" fmla="*/ 255217 w 700110"/>
                <a:gd name="connsiteY34" fmla="*/ 250711 h 721497"/>
                <a:gd name="connsiteX35" fmla="*/ 258272 w 700110"/>
                <a:gd name="connsiteY35" fmla="*/ 249392 h 721497"/>
                <a:gd name="connsiteX36" fmla="*/ 296374 w 700110"/>
                <a:gd name="connsiteY36" fmla="*/ 259447 h 721497"/>
                <a:gd name="connsiteX37" fmla="*/ 334358 w 700110"/>
                <a:gd name="connsiteY37" fmla="*/ 221774 h 721497"/>
                <a:gd name="connsiteX38" fmla="*/ 243823 w 700110"/>
                <a:gd name="connsiteY38" fmla="*/ 197883 h 721497"/>
                <a:gd name="connsiteX39" fmla="*/ 213832 w 700110"/>
                <a:gd name="connsiteY39" fmla="*/ 212758 h 721497"/>
                <a:gd name="connsiteX40" fmla="*/ 201648 w 700110"/>
                <a:gd name="connsiteY40" fmla="*/ 201584 h 721497"/>
                <a:gd name="connsiteX41" fmla="*/ 175280 w 700110"/>
                <a:gd name="connsiteY41" fmla="*/ 230335 h 721497"/>
                <a:gd name="connsiteX42" fmla="*/ 12 w 700110"/>
                <a:gd name="connsiteY42" fmla="*/ 316835 h 721497"/>
                <a:gd name="connsiteX43" fmla="*/ 225239 w 700110"/>
                <a:gd name="connsiteY43" fmla="*/ 2771 h 721497"/>
                <a:gd name="connsiteX44" fmla="*/ 594173 w 700110"/>
                <a:gd name="connsiteY44" fmla="*/ 88646 h 721497"/>
                <a:gd name="connsiteX45" fmla="*/ 588618 w 700110"/>
                <a:gd name="connsiteY45" fmla="*/ 559376 h 721497"/>
                <a:gd name="connsiteX46" fmla="*/ 71150 w 700110"/>
                <a:gd name="connsiteY46" fmla="*/ 626125 h 721497"/>
                <a:gd name="connsiteX47" fmla="*/ 70567 w 700110"/>
                <a:gd name="connsiteY47" fmla="*/ 625248 h 721497"/>
                <a:gd name="connsiteX48" fmla="*/ 12 w 700110"/>
                <a:gd name="connsiteY48" fmla="*/ 316835 h 721497"/>
                <a:gd name="connsiteX0" fmla="*/ 348904 w 717019"/>
                <a:gd name="connsiteY0" fmla="*/ 335844 h 720711"/>
                <a:gd name="connsiteX1" fmla="*/ 361744 w 717019"/>
                <a:gd name="connsiteY1" fmla="*/ 327321 h 720711"/>
                <a:gd name="connsiteX2" fmla="*/ 387609 w 717019"/>
                <a:gd name="connsiteY2" fmla="*/ 334808 h 720711"/>
                <a:gd name="connsiteX3" fmla="*/ 399673 w 717019"/>
                <a:gd name="connsiteY3" fmla="*/ 375875 h 720711"/>
                <a:gd name="connsiteX4" fmla="*/ 398092 w 717019"/>
                <a:gd name="connsiteY4" fmla="*/ 380955 h 720711"/>
                <a:gd name="connsiteX5" fmla="*/ 348904 w 717019"/>
                <a:gd name="connsiteY5" fmla="*/ 335844 h 720711"/>
                <a:gd name="connsiteX6" fmla="*/ 230585 w 717019"/>
                <a:gd name="connsiteY6" fmla="*/ 280270 h 720711"/>
                <a:gd name="connsiteX7" fmla="*/ 274797 w 717019"/>
                <a:gd name="connsiteY7" fmla="*/ 320816 h 720711"/>
                <a:gd name="connsiteX8" fmla="*/ 274337 w 717019"/>
                <a:gd name="connsiteY8" fmla="*/ 320932 h 720711"/>
                <a:gd name="connsiteX9" fmla="*/ 239961 w 717019"/>
                <a:gd name="connsiteY9" fmla="*/ 311064 h 720711"/>
                <a:gd name="connsiteX10" fmla="*/ 239716 w 717019"/>
                <a:gd name="connsiteY10" fmla="*/ 311355 h 720711"/>
                <a:gd name="connsiteX11" fmla="*/ 230585 w 717019"/>
                <a:gd name="connsiteY11" fmla="*/ 280270 h 720711"/>
                <a:gd name="connsiteX12" fmla="*/ 175280 w 717019"/>
                <a:gd name="connsiteY12" fmla="*/ 229549 h 720711"/>
                <a:gd name="connsiteX13" fmla="*/ 188018 w 717019"/>
                <a:gd name="connsiteY13" fmla="*/ 241231 h 720711"/>
                <a:gd name="connsiteX14" fmla="*/ 176767 w 717019"/>
                <a:gd name="connsiteY14" fmla="*/ 264681 h 720711"/>
                <a:gd name="connsiteX15" fmla="*/ 204569 w 717019"/>
                <a:gd name="connsiteY15" fmla="*/ 353001 h 720711"/>
                <a:gd name="connsiteX16" fmla="*/ 280866 w 717019"/>
                <a:gd name="connsiteY16" fmla="*/ 375423 h 720711"/>
                <a:gd name="connsiteX17" fmla="*/ 318697 w 717019"/>
                <a:gd name="connsiteY17" fmla="*/ 361076 h 720711"/>
                <a:gd name="connsiteX18" fmla="*/ 369250 w 717019"/>
                <a:gd name="connsiteY18" fmla="*/ 407439 h 720711"/>
                <a:gd name="connsiteX19" fmla="*/ 327006 w 717019"/>
                <a:gd name="connsiteY19" fmla="*/ 396258 h 720711"/>
                <a:gd name="connsiteX20" fmla="*/ 284812 w 717019"/>
                <a:gd name="connsiteY20" fmla="*/ 438107 h 720711"/>
                <a:gd name="connsiteX21" fmla="*/ 385381 w 717019"/>
                <a:gd name="connsiteY21" fmla="*/ 464646 h 720711"/>
                <a:gd name="connsiteX22" fmla="*/ 415805 w 717019"/>
                <a:gd name="connsiteY22" fmla="*/ 450133 h 720711"/>
                <a:gd name="connsiteX23" fmla="*/ 428627 w 717019"/>
                <a:gd name="connsiteY23" fmla="*/ 461893 h 720711"/>
                <a:gd name="connsiteX24" fmla="*/ 454996 w 717019"/>
                <a:gd name="connsiteY24" fmla="*/ 433141 h 720711"/>
                <a:gd name="connsiteX25" fmla="*/ 443131 w 717019"/>
                <a:gd name="connsiteY25" fmla="*/ 422259 h 720711"/>
                <a:gd name="connsiteX26" fmla="*/ 457476 w 717019"/>
                <a:gd name="connsiteY26" fmla="*/ 389674 h 720711"/>
                <a:gd name="connsiteX27" fmla="*/ 428374 w 717019"/>
                <a:gd name="connsiteY27" fmla="*/ 291638 h 720711"/>
                <a:gd name="connsiteX28" fmla="*/ 428534 w 717019"/>
                <a:gd name="connsiteY28" fmla="*/ 291451 h 720711"/>
                <a:gd name="connsiteX29" fmla="*/ 427407 w 717019"/>
                <a:gd name="connsiteY29" fmla="*/ 290623 h 720711"/>
                <a:gd name="connsiteX30" fmla="*/ 427024 w 717019"/>
                <a:gd name="connsiteY30" fmla="*/ 290221 h 720711"/>
                <a:gd name="connsiteX31" fmla="*/ 426958 w 717019"/>
                <a:gd name="connsiteY31" fmla="*/ 290293 h 720711"/>
                <a:gd name="connsiteX32" fmla="*/ 352832 w 717019"/>
                <a:gd name="connsiteY32" fmla="*/ 271260 h 720711"/>
                <a:gd name="connsiteX33" fmla="*/ 307533 w 717019"/>
                <a:gd name="connsiteY33" fmla="*/ 297904 h 720711"/>
                <a:gd name="connsiteX34" fmla="*/ 255217 w 717019"/>
                <a:gd name="connsiteY34" fmla="*/ 249925 h 720711"/>
                <a:gd name="connsiteX35" fmla="*/ 258272 w 717019"/>
                <a:gd name="connsiteY35" fmla="*/ 248606 h 720711"/>
                <a:gd name="connsiteX36" fmla="*/ 296374 w 717019"/>
                <a:gd name="connsiteY36" fmla="*/ 258661 h 720711"/>
                <a:gd name="connsiteX37" fmla="*/ 334358 w 717019"/>
                <a:gd name="connsiteY37" fmla="*/ 220988 h 720711"/>
                <a:gd name="connsiteX38" fmla="*/ 243823 w 717019"/>
                <a:gd name="connsiteY38" fmla="*/ 197097 h 720711"/>
                <a:gd name="connsiteX39" fmla="*/ 213832 w 717019"/>
                <a:gd name="connsiteY39" fmla="*/ 211972 h 720711"/>
                <a:gd name="connsiteX40" fmla="*/ 201648 w 717019"/>
                <a:gd name="connsiteY40" fmla="*/ 200798 h 720711"/>
                <a:gd name="connsiteX41" fmla="*/ 175280 w 717019"/>
                <a:gd name="connsiteY41" fmla="*/ 229549 h 720711"/>
                <a:gd name="connsiteX42" fmla="*/ 12 w 717019"/>
                <a:gd name="connsiteY42" fmla="*/ 316049 h 720711"/>
                <a:gd name="connsiteX43" fmla="*/ 225239 w 717019"/>
                <a:gd name="connsiteY43" fmla="*/ 1985 h 720711"/>
                <a:gd name="connsiteX44" fmla="*/ 638347 w 717019"/>
                <a:gd name="connsiteY44" fmla="*/ 96063 h 720711"/>
                <a:gd name="connsiteX45" fmla="*/ 588618 w 717019"/>
                <a:gd name="connsiteY45" fmla="*/ 558590 h 720711"/>
                <a:gd name="connsiteX46" fmla="*/ 71150 w 717019"/>
                <a:gd name="connsiteY46" fmla="*/ 625339 h 720711"/>
                <a:gd name="connsiteX47" fmla="*/ 70567 w 717019"/>
                <a:gd name="connsiteY47" fmla="*/ 624462 h 720711"/>
                <a:gd name="connsiteX48" fmla="*/ 12 w 717019"/>
                <a:gd name="connsiteY48" fmla="*/ 316049 h 720711"/>
                <a:gd name="connsiteX0" fmla="*/ 348904 w 720751"/>
                <a:gd name="connsiteY0" fmla="*/ 335142 h 720009"/>
                <a:gd name="connsiteX1" fmla="*/ 361744 w 720751"/>
                <a:gd name="connsiteY1" fmla="*/ 326619 h 720009"/>
                <a:gd name="connsiteX2" fmla="*/ 387609 w 720751"/>
                <a:gd name="connsiteY2" fmla="*/ 334106 h 720009"/>
                <a:gd name="connsiteX3" fmla="*/ 399673 w 720751"/>
                <a:gd name="connsiteY3" fmla="*/ 375173 h 720009"/>
                <a:gd name="connsiteX4" fmla="*/ 398092 w 720751"/>
                <a:gd name="connsiteY4" fmla="*/ 380253 h 720009"/>
                <a:gd name="connsiteX5" fmla="*/ 348904 w 720751"/>
                <a:gd name="connsiteY5" fmla="*/ 335142 h 720009"/>
                <a:gd name="connsiteX6" fmla="*/ 230585 w 720751"/>
                <a:gd name="connsiteY6" fmla="*/ 279568 h 720009"/>
                <a:gd name="connsiteX7" fmla="*/ 274797 w 720751"/>
                <a:gd name="connsiteY7" fmla="*/ 320114 h 720009"/>
                <a:gd name="connsiteX8" fmla="*/ 274337 w 720751"/>
                <a:gd name="connsiteY8" fmla="*/ 320230 h 720009"/>
                <a:gd name="connsiteX9" fmla="*/ 239961 w 720751"/>
                <a:gd name="connsiteY9" fmla="*/ 310362 h 720009"/>
                <a:gd name="connsiteX10" fmla="*/ 239716 w 720751"/>
                <a:gd name="connsiteY10" fmla="*/ 310653 h 720009"/>
                <a:gd name="connsiteX11" fmla="*/ 230585 w 720751"/>
                <a:gd name="connsiteY11" fmla="*/ 279568 h 720009"/>
                <a:gd name="connsiteX12" fmla="*/ 175280 w 720751"/>
                <a:gd name="connsiteY12" fmla="*/ 228847 h 720009"/>
                <a:gd name="connsiteX13" fmla="*/ 188018 w 720751"/>
                <a:gd name="connsiteY13" fmla="*/ 240529 h 720009"/>
                <a:gd name="connsiteX14" fmla="*/ 176767 w 720751"/>
                <a:gd name="connsiteY14" fmla="*/ 263979 h 720009"/>
                <a:gd name="connsiteX15" fmla="*/ 204569 w 720751"/>
                <a:gd name="connsiteY15" fmla="*/ 352299 h 720009"/>
                <a:gd name="connsiteX16" fmla="*/ 280866 w 720751"/>
                <a:gd name="connsiteY16" fmla="*/ 374721 h 720009"/>
                <a:gd name="connsiteX17" fmla="*/ 318697 w 720751"/>
                <a:gd name="connsiteY17" fmla="*/ 360374 h 720009"/>
                <a:gd name="connsiteX18" fmla="*/ 369250 w 720751"/>
                <a:gd name="connsiteY18" fmla="*/ 406737 h 720009"/>
                <a:gd name="connsiteX19" fmla="*/ 327006 w 720751"/>
                <a:gd name="connsiteY19" fmla="*/ 395556 h 720009"/>
                <a:gd name="connsiteX20" fmla="*/ 284812 w 720751"/>
                <a:gd name="connsiteY20" fmla="*/ 437405 h 720009"/>
                <a:gd name="connsiteX21" fmla="*/ 385381 w 720751"/>
                <a:gd name="connsiteY21" fmla="*/ 463944 h 720009"/>
                <a:gd name="connsiteX22" fmla="*/ 415805 w 720751"/>
                <a:gd name="connsiteY22" fmla="*/ 449431 h 720009"/>
                <a:gd name="connsiteX23" fmla="*/ 428627 w 720751"/>
                <a:gd name="connsiteY23" fmla="*/ 461191 h 720009"/>
                <a:gd name="connsiteX24" fmla="*/ 454996 w 720751"/>
                <a:gd name="connsiteY24" fmla="*/ 432439 h 720009"/>
                <a:gd name="connsiteX25" fmla="*/ 443131 w 720751"/>
                <a:gd name="connsiteY25" fmla="*/ 421557 h 720009"/>
                <a:gd name="connsiteX26" fmla="*/ 457476 w 720751"/>
                <a:gd name="connsiteY26" fmla="*/ 388972 h 720009"/>
                <a:gd name="connsiteX27" fmla="*/ 428374 w 720751"/>
                <a:gd name="connsiteY27" fmla="*/ 290936 h 720009"/>
                <a:gd name="connsiteX28" fmla="*/ 428534 w 720751"/>
                <a:gd name="connsiteY28" fmla="*/ 290749 h 720009"/>
                <a:gd name="connsiteX29" fmla="*/ 427407 w 720751"/>
                <a:gd name="connsiteY29" fmla="*/ 289921 h 720009"/>
                <a:gd name="connsiteX30" fmla="*/ 427024 w 720751"/>
                <a:gd name="connsiteY30" fmla="*/ 289519 h 720009"/>
                <a:gd name="connsiteX31" fmla="*/ 426958 w 720751"/>
                <a:gd name="connsiteY31" fmla="*/ 289591 h 720009"/>
                <a:gd name="connsiteX32" fmla="*/ 352832 w 720751"/>
                <a:gd name="connsiteY32" fmla="*/ 270558 h 720009"/>
                <a:gd name="connsiteX33" fmla="*/ 307533 w 720751"/>
                <a:gd name="connsiteY33" fmla="*/ 297202 h 720009"/>
                <a:gd name="connsiteX34" fmla="*/ 255217 w 720751"/>
                <a:gd name="connsiteY34" fmla="*/ 249223 h 720009"/>
                <a:gd name="connsiteX35" fmla="*/ 258272 w 720751"/>
                <a:gd name="connsiteY35" fmla="*/ 247904 h 720009"/>
                <a:gd name="connsiteX36" fmla="*/ 296374 w 720751"/>
                <a:gd name="connsiteY36" fmla="*/ 257959 h 720009"/>
                <a:gd name="connsiteX37" fmla="*/ 334358 w 720751"/>
                <a:gd name="connsiteY37" fmla="*/ 220286 h 720009"/>
                <a:gd name="connsiteX38" fmla="*/ 243823 w 720751"/>
                <a:gd name="connsiteY38" fmla="*/ 196395 h 720009"/>
                <a:gd name="connsiteX39" fmla="*/ 213832 w 720751"/>
                <a:gd name="connsiteY39" fmla="*/ 211270 h 720009"/>
                <a:gd name="connsiteX40" fmla="*/ 201648 w 720751"/>
                <a:gd name="connsiteY40" fmla="*/ 200096 h 720009"/>
                <a:gd name="connsiteX41" fmla="*/ 175280 w 720751"/>
                <a:gd name="connsiteY41" fmla="*/ 228847 h 720009"/>
                <a:gd name="connsiteX42" fmla="*/ 12 w 720751"/>
                <a:gd name="connsiteY42" fmla="*/ 315347 h 720009"/>
                <a:gd name="connsiteX43" fmla="*/ 225239 w 720751"/>
                <a:gd name="connsiteY43" fmla="*/ 1283 h 720009"/>
                <a:gd name="connsiteX44" fmla="*/ 638347 w 720751"/>
                <a:gd name="connsiteY44" fmla="*/ 95361 h 720009"/>
                <a:gd name="connsiteX45" fmla="*/ 588618 w 720751"/>
                <a:gd name="connsiteY45" fmla="*/ 557888 h 720009"/>
                <a:gd name="connsiteX46" fmla="*/ 71150 w 720751"/>
                <a:gd name="connsiteY46" fmla="*/ 624637 h 720009"/>
                <a:gd name="connsiteX47" fmla="*/ 70567 w 720751"/>
                <a:gd name="connsiteY47" fmla="*/ 623760 h 720009"/>
                <a:gd name="connsiteX48" fmla="*/ 12 w 720751"/>
                <a:gd name="connsiteY48" fmla="*/ 315347 h 720009"/>
                <a:gd name="connsiteX0" fmla="*/ 362658 w 734505"/>
                <a:gd name="connsiteY0" fmla="*/ 335142 h 720009"/>
                <a:gd name="connsiteX1" fmla="*/ 375498 w 734505"/>
                <a:gd name="connsiteY1" fmla="*/ 326619 h 720009"/>
                <a:gd name="connsiteX2" fmla="*/ 401363 w 734505"/>
                <a:gd name="connsiteY2" fmla="*/ 334106 h 720009"/>
                <a:gd name="connsiteX3" fmla="*/ 413427 w 734505"/>
                <a:gd name="connsiteY3" fmla="*/ 375173 h 720009"/>
                <a:gd name="connsiteX4" fmla="*/ 411846 w 734505"/>
                <a:gd name="connsiteY4" fmla="*/ 380253 h 720009"/>
                <a:gd name="connsiteX5" fmla="*/ 362658 w 734505"/>
                <a:gd name="connsiteY5" fmla="*/ 335142 h 720009"/>
                <a:gd name="connsiteX6" fmla="*/ 244339 w 734505"/>
                <a:gd name="connsiteY6" fmla="*/ 279568 h 720009"/>
                <a:gd name="connsiteX7" fmla="*/ 288551 w 734505"/>
                <a:gd name="connsiteY7" fmla="*/ 320114 h 720009"/>
                <a:gd name="connsiteX8" fmla="*/ 288091 w 734505"/>
                <a:gd name="connsiteY8" fmla="*/ 320230 h 720009"/>
                <a:gd name="connsiteX9" fmla="*/ 253715 w 734505"/>
                <a:gd name="connsiteY9" fmla="*/ 310362 h 720009"/>
                <a:gd name="connsiteX10" fmla="*/ 253470 w 734505"/>
                <a:gd name="connsiteY10" fmla="*/ 310653 h 720009"/>
                <a:gd name="connsiteX11" fmla="*/ 244339 w 734505"/>
                <a:gd name="connsiteY11" fmla="*/ 279568 h 720009"/>
                <a:gd name="connsiteX12" fmla="*/ 189034 w 734505"/>
                <a:gd name="connsiteY12" fmla="*/ 228847 h 720009"/>
                <a:gd name="connsiteX13" fmla="*/ 201772 w 734505"/>
                <a:gd name="connsiteY13" fmla="*/ 240529 h 720009"/>
                <a:gd name="connsiteX14" fmla="*/ 190521 w 734505"/>
                <a:gd name="connsiteY14" fmla="*/ 263979 h 720009"/>
                <a:gd name="connsiteX15" fmla="*/ 218323 w 734505"/>
                <a:gd name="connsiteY15" fmla="*/ 352299 h 720009"/>
                <a:gd name="connsiteX16" fmla="*/ 294620 w 734505"/>
                <a:gd name="connsiteY16" fmla="*/ 374721 h 720009"/>
                <a:gd name="connsiteX17" fmla="*/ 332451 w 734505"/>
                <a:gd name="connsiteY17" fmla="*/ 360374 h 720009"/>
                <a:gd name="connsiteX18" fmla="*/ 383004 w 734505"/>
                <a:gd name="connsiteY18" fmla="*/ 406737 h 720009"/>
                <a:gd name="connsiteX19" fmla="*/ 340760 w 734505"/>
                <a:gd name="connsiteY19" fmla="*/ 395556 h 720009"/>
                <a:gd name="connsiteX20" fmla="*/ 298566 w 734505"/>
                <a:gd name="connsiteY20" fmla="*/ 437405 h 720009"/>
                <a:gd name="connsiteX21" fmla="*/ 399135 w 734505"/>
                <a:gd name="connsiteY21" fmla="*/ 463944 h 720009"/>
                <a:gd name="connsiteX22" fmla="*/ 429559 w 734505"/>
                <a:gd name="connsiteY22" fmla="*/ 449431 h 720009"/>
                <a:gd name="connsiteX23" fmla="*/ 442381 w 734505"/>
                <a:gd name="connsiteY23" fmla="*/ 461191 h 720009"/>
                <a:gd name="connsiteX24" fmla="*/ 468750 w 734505"/>
                <a:gd name="connsiteY24" fmla="*/ 432439 h 720009"/>
                <a:gd name="connsiteX25" fmla="*/ 456885 w 734505"/>
                <a:gd name="connsiteY25" fmla="*/ 421557 h 720009"/>
                <a:gd name="connsiteX26" fmla="*/ 471230 w 734505"/>
                <a:gd name="connsiteY26" fmla="*/ 388972 h 720009"/>
                <a:gd name="connsiteX27" fmla="*/ 442128 w 734505"/>
                <a:gd name="connsiteY27" fmla="*/ 290936 h 720009"/>
                <a:gd name="connsiteX28" fmla="*/ 442288 w 734505"/>
                <a:gd name="connsiteY28" fmla="*/ 290749 h 720009"/>
                <a:gd name="connsiteX29" fmla="*/ 441161 w 734505"/>
                <a:gd name="connsiteY29" fmla="*/ 289921 h 720009"/>
                <a:gd name="connsiteX30" fmla="*/ 440778 w 734505"/>
                <a:gd name="connsiteY30" fmla="*/ 289519 h 720009"/>
                <a:gd name="connsiteX31" fmla="*/ 440712 w 734505"/>
                <a:gd name="connsiteY31" fmla="*/ 289591 h 720009"/>
                <a:gd name="connsiteX32" fmla="*/ 366586 w 734505"/>
                <a:gd name="connsiteY32" fmla="*/ 270558 h 720009"/>
                <a:gd name="connsiteX33" fmla="*/ 321287 w 734505"/>
                <a:gd name="connsiteY33" fmla="*/ 297202 h 720009"/>
                <a:gd name="connsiteX34" fmla="*/ 268971 w 734505"/>
                <a:gd name="connsiteY34" fmla="*/ 249223 h 720009"/>
                <a:gd name="connsiteX35" fmla="*/ 272026 w 734505"/>
                <a:gd name="connsiteY35" fmla="*/ 247904 h 720009"/>
                <a:gd name="connsiteX36" fmla="*/ 310128 w 734505"/>
                <a:gd name="connsiteY36" fmla="*/ 257959 h 720009"/>
                <a:gd name="connsiteX37" fmla="*/ 348112 w 734505"/>
                <a:gd name="connsiteY37" fmla="*/ 220286 h 720009"/>
                <a:gd name="connsiteX38" fmla="*/ 257577 w 734505"/>
                <a:gd name="connsiteY38" fmla="*/ 196395 h 720009"/>
                <a:gd name="connsiteX39" fmla="*/ 227586 w 734505"/>
                <a:gd name="connsiteY39" fmla="*/ 211270 h 720009"/>
                <a:gd name="connsiteX40" fmla="*/ 215402 w 734505"/>
                <a:gd name="connsiteY40" fmla="*/ 200096 h 720009"/>
                <a:gd name="connsiteX41" fmla="*/ 189034 w 734505"/>
                <a:gd name="connsiteY41" fmla="*/ 228847 h 720009"/>
                <a:gd name="connsiteX42" fmla="*/ 13766 w 734505"/>
                <a:gd name="connsiteY42" fmla="*/ 315347 h 720009"/>
                <a:gd name="connsiteX43" fmla="*/ 238993 w 734505"/>
                <a:gd name="connsiteY43" fmla="*/ 1283 h 720009"/>
                <a:gd name="connsiteX44" fmla="*/ 652101 w 734505"/>
                <a:gd name="connsiteY44" fmla="*/ 95361 h 720009"/>
                <a:gd name="connsiteX45" fmla="*/ 602372 w 734505"/>
                <a:gd name="connsiteY45" fmla="*/ 557888 h 720009"/>
                <a:gd name="connsiteX46" fmla="*/ 84904 w 734505"/>
                <a:gd name="connsiteY46" fmla="*/ 624637 h 720009"/>
                <a:gd name="connsiteX47" fmla="*/ 34164 w 734505"/>
                <a:gd name="connsiteY47" fmla="*/ 555144 h 720009"/>
                <a:gd name="connsiteX48" fmla="*/ 13766 w 734505"/>
                <a:gd name="connsiteY48" fmla="*/ 315347 h 720009"/>
                <a:gd name="connsiteX0" fmla="*/ 362658 w 734505"/>
                <a:gd name="connsiteY0" fmla="*/ 335142 h 735979"/>
                <a:gd name="connsiteX1" fmla="*/ 375498 w 734505"/>
                <a:gd name="connsiteY1" fmla="*/ 326619 h 735979"/>
                <a:gd name="connsiteX2" fmla="*/ 401363 w 734505"/>
                <a:gd name="connsiteY2" fmla="*/ 334106 h 735979"/>
                <a:gd name="connsiteX3" fmla="*/ 413427 w 734505"/>
                <a:gd name="connsiteY3" fmla="*/ 375173 h 735979"/>
                <a:gd name="connsiteX4" fmla="*/ 411846 w 734505"/>
                <a:gd name="connsiteY4" fmla="*/ 380253 h 735979"/>
                <a:gd name="connsiteX5" fmla="*/ 362658 w 734505"/>
                <a:gd name="connsiteY5" fmla="*/ 335142 h 735979"/>
                <a:gd name="connsiteX6" fmla="*/ 244339 w 734505"/>
                <a:gd name="connsiteY6" fmla="*/ 279568 h 735979"/>
                <a:gd name="connsiteX7" fmla="*/ 288551 w 734505"/>
                <a:gd name="connsiteY7" fmla="*/ 320114 h 735979"/>
                <a:gd name="connsiteX8" fmla="*/ 288091 w 734505"/>
                <a:gd name="connsiteY8" fmla="*/ 320230 h 735979"/>
                <a:gd name="connsiteX9" fmla="*/ 253715 w 734505"/>
                <a:gd name="connsiteY9" fmla="*/ 310362 h 735979"/>
                <a:gd name="connsiteX10" fmla="*/ 253470 w 734505"/>
                <a:gd name="connsiteY10" fmla="*/ 310653 h 735979"/>
                <a:gd name="connsiteX11" fmla="*/ 244339 w 734505"/>
                <a:gd name="connsiteY11" fmla="*/ 279568 h 735979"/>
                <a:gd name="connsiteX12" fmla="*/ 189034 w 734505"/>
                <a:gd name="connsiteY12" fmla="*/ 228847 h 735979"/>
                <a:gd name="connsiteX13" fmla="*/ 201772 w 734505"/>
                <a:gd name="connsiteY13" fmla="*/ 240529 h 735979"/>
                <a:gd name="connsiteX14" fmla="*/ 190521 w 734505"/>
                <a:gd name="connsiteY14" fmla="*/ 263979 h 735979"/>
                <a:gd name="connsiteX15" fmla="*/ 218323 w 734505"/>
                <a:gd name="connsiteY15" fmla="*/ 352299 h 735979"/>
                <a:gd name="connsiteX16" fmla="*/ 294620 w 734505"/>
                <a:gd name="connsiteY16" fmla="*/ 374721 h 735979"/>
                <a:gd name="connsiteX17" fmla="*/ 332451 w 734505"/>
                <a:gd name="connsiteY17" fmla="*/ 360374 h 735979"/>
                <a:gd name="connsiteX18" fmla="*/ 383004 w 734505"/>
                <a:gd name="connsiteY18" fmla="*/ 406737 h 735979"/>
                <a:gd name="connsiteX19" fmla="*/ 340760 w 734505"/>
                <a:gd name="connsiteY19" fmla="*/ 395556 h 735979"/>
                <a:gd name="connsiteX20" fmla="*/ 298566 w 734505"/>
                <a:gd name="connsiteY20" fmla="*/ 437405 h 735979"/>
                <a:gd name="connsiteX21" fmla="*/ 399135 w 734505"/>
                <a:gd name="connsiteY21" fmla="*/ 463944 h 735979"/>
                <a:gd name="connsiteX22" fmla="*/ 429559 w 734505"/>
                <a:gd name="connsiteY22" fmla="*/ 449431 h 735979"/>
                <a:gd name="connsiteX23" fmla="*/ 442381 w 734505"/>
                <a:gd name="connsiteY23" fmla="*/ 461191 h 735979"/>
                <a:gd name="connsiteX24" fmla="*/ 468750 w 734505"/>
                <a:gd name="connsiteY24" fmla="*/ 432439 h 735979"/>
                <a:gd name="connsiteX25" fmla="*/ 456885 w 734505"/>
                <a:gd name="connsiteY25" fmla="*/ 421557 h 735979"/>
                <a:gd name="connsiteX26" fmla="*/ 471230 w 734505"/>
                <a:gd name="connsiteY26" fmla="*/ 388972 h 735979"/>
                <a:gd name="connsiteX27" fmla="*/ 442128 w 734505"/>
                <a:gd name="connsiteY27" fmla="*/ 290936 h 735979"/>
                <a:gd name="connsiteX28" fmla="*/ 442288 w 734505"/>
                <a:gd name="connsiteY28" fmla="*/ 290749 h 735979"/>
                <a:gd name="connsiteX29" fmla="*/ 441161 w 734505"/>
                <a:gd name="connsiteY29" fmla="*/ 289921 h 735979"/>
                <a:gd name="connsiteX30" fmla="*/ 440778 w 734505"/>
                <a:gd name="connsiteY30" fmla="*/ 289519 h 735979"/>
                <a:gd name="connsiteX31" fmla="*/ 440712 w 734505"/>
                <a:gd name="connsiteY31" fmla="*/ 289591 h 735979"/>
                <a:gd name="connsiteX32" fmla="*/ 366586 w 734505"/>
                <a:gd name="connsiteY32" fmla="*/ 270558 h 735979"/>
                <a:gd name="connsiteX33" fmla="*/ 321287 w 734505"/>
                <a:gd name="connsiteY33" fmla="*/ 297202 h 735979"/>
                <a:gd name="connsiteX34" fmla="*/ 268971 w 734505"/>
                <a:gd name="connsiteY34" fmla="*/ 249223 h 735979"/>
                <a:gd name="connsiteX35" fmla="*/ 272026 w 734505"/>
                <a:gd name="connsiteY35" fmla="*/ 247904 h 735979"/>
                <a:gd name="connsiteX36" fmla="*/ 310128 w 734505"/>
                <a:gd name="connsiteY36" fmla="*/ 257959 h 735979"/>
                <a:gd name="connsiteX37" fmla="*/ 348112 w 734505"/>
                <a:gd name="connsiteY37" fmla="*/ 220286 h 735979"/>
                <a:gd name="connsiteX38" fmla="*/ 257577 w 734505"/>
                <a:gd name="connsiteY38" fmla="*/ 196395 h 735979"/>
                <a:gd name="connsiteX39" fmla="*/ 227586 w 734505"/>
                <a:gd name="connsiteY39" fmla="*/ 211270 h 735979"/>
                <a:gd name="connsiteX40" fmla="*/ 215402 w 734505"/>
                <a:gd name="connsiteY40" fmla="*/ 200096 h 735979"/>
                <a:gd name="connsiteX41" fmla="*/ 189034 w 734505"/>
                <a:gd name="connsiteY41" fmla="*/ 228847 h 735979"/>
                <a:gd name="connsiteX42" fmla="*/ 13766 w 734505"/>
                <a:gd name="connsiteY42" fmla="*/ 315347 h 735979"/>
                <a:gd name="connsiteX43" fmla="*/ 238993 w 734505"/>
                <a:gd name="connsiteY43" fmla="*/ 1283 h 735979"/>
                <a:gd name="connsiteX44" fmla="*/ 652101 w 734505"/>
                <a:gd name="connsiteY44" fmla="*/ 95361 h 735979"/>
                <a:gd name="connsiteX45" fmla="*/ 602372 w 734505"/>
                <a:gd name="connsiteY45" fmla="*/ 557888 h 735979"/>
                <a:gd name="connsiteX46" fmla="*/ 146920 w 734505"/>
                <a:gd name="connsiteY46" fmla="*/ 655663 h 735979"/>
                <a:gd name="connsiteX47" fmla="*/ 34164 w 734505"/>
                <a:gd name="connsiteY47" fmla="*/ 555144 h 735979"/>
                <a:gd name="connsiteX48" fmla="*/ 13766 w 734505"/>
                <a:gd name="connsiteY48" fmla="*/ 315347 h 735979"/>
                <a:gd name="connsiteX0" fmla="*/ 348892 w 720739"/>
                <a:gd name="connsiteY0" fmla="*/ 335142 h 735979"/>
                <a:gd name="connsiteX1" fmla="*/ 361732 w 720739"/>
                <a:gd name="connsiteY1" fmla="*/ 326619 h 735979"/>
                <a:gd name="connsiteX2" fmla="*/ 387597 w 720739"/>
                <a:gd name="connsiteY2" fmla="*/ 334106 h 735979"/>
                <a:gd name="connsiteX3" fmla="*/ 399661 w 720739"/>
                <a:gd name="connsiteY3" fmla="*/ 375173 h 735979"/>
                <a:gd name="connsiteX4" fmla="*/ 398080 w 720739"/>
                <a:gd name="connsiteY4" fmla="*/ 380253 h 735979"/>
                <a:gd name="connsiteX5" fmla="*/ 348892 w 720739"/>
                <a:gd name="connsiteY5" fmla="*/ 335142 h 735979"/>
                <a:gd name="connsiteX6" fmla="*/ 230573 w 720739"/>
                <a:gd name="connsiteY6" fmla="*/ 279568 h 735979"/>
                <a:gd name="connsiteX7" fmla="*/ 274785 w 720739"/>
                <a:gd name="connsiteY7" fmla="*/ 320114 h 735979"/>
                <a:gd name="connsiteX8" fmla="*/ 274325 w 720739"/>
                <a:gd name="connsiteY8" fmla="*/ 320230 h 735979"/>
                <a:gd name="connsiteX9" fmla="*/ 239949 w 720739"/>
                <a:gd name="connsiteY9" fmla="*/ 310362 h 735979"/>
                <a:gd name="connsiteX10" fmla="*/ 239704 w 720739"/>
                <a:gd name="connsiteY10" fmla="*/ 310653 h 735979"/>
                <a:gd name="connsiteX11" fmla="*/ 230573 w 720739"/>
                <a:gd name="connsiteY11" fmla="*/ 279568 h 735979"/>
                <a:gd name="connsiteX12" fmla="*/ 175268 w 720739"/>
                <a:gd name="connsiteY12" fmla="*/ 228847 h 735979"/>
                <a:gd name="connsiteX13" fmla="*/ 188006 w 720739"/>
                <a:gd name="connsiteY13" fmla="*/ 240529 h 735979"/>
                <a:gd name="connsiteX14" fmla="*/ 176755 w 720739"/>
                <a:gd name="connsiteY14" fmla="*/ 263979 h 735979"/>
                <a:gd name="connsiteX15" fmla="*/ 204557 w 720739"/>
                <a:gd name="connsiteY15" fmla="*/ 352299 h 735979"/>
                <a:gd name="connsiteX16" fmla="*/ 280854 w 720739"/>
                <a:gd name="connsiteY16" fmla="*/ 374721 h 735979"/>
                <a:gd name="connsiteX17" fmla="*/ 318685 w 720739"/>
                <a:gd name="connsiteY17" fmla="*/ 360374 h 735979"/>
                <a:gd name="connsiteX18" fmla="*/ 369238 w 720739"/>
                <a:gd name="connsiteY18" fmla="*/ 406737 h 735979"/>
                <a:gd name="connsiteX19" fmla="*/ 326994 w 720739"/>
                <a:gd name="connsiteY19" fmla="*/ 395556 h 735979"/>
                <a:gd name="connsiteX20" fmla="*/ 284800 w 720739"/>
                <a:gd name="connsiteY20" fmla="*/ 437405 h 735979"/>
                <a:gd name="connsiteX21" fmla="*/ 385369 w 720739"/>
                <a:gd name="connsiteY21" fmla="*/ 463944 h 735979"/>
                <a:gd name="connsiteX22" fmla="*/ 415793 w 720739"/>
                <a:gd name="connsiteY22" fmla="*/ 449431 h 735979"/>
                <a:gd name="connsiteX23" fmla="*/ 428615 w 720739"/>
                <a:gd name="connsiteY23" fmla="*/ 461191 h 735979"/>
                <a:gd name="connsiteX24" fmla="*/ 454984 w 720739"/>
                <a:gd name="connsiteY24" fmla="*/ 432439 h 735979"/>
                <a:gd name="connsiteX25" fmla="*/ 443119 w 720739"/>
                <a:gd name="connsiteY25" fmla="*/ 421557 h 735979"/>
                <a:gd name="connsiteX26" fmla="*/ 457464 w 720739"/>
                <a:gd name="connsiteY26" fmla="*/ 388972 h 735979"/>
                <a:gd name="connsiteX27" fmla="*/ 428362 w 720739"/>
                <a:gd name="connsiteY27" fmla="*/ 290936 h 735979"/>
                <a:gd name="connsiteX28" fmla="*/ 428522 w 720739"/>
                <a:gd name="connsiteY28" fmla="*/ 290749 h 735979"/>
                <a:gd name="connsiteX29" fmla="*/ 427395 w 720739"/>
                <a:gd name="connsiteY29" fmla="*/ 289921 h 735979"/>
                <a:gd name="connsiteX30" fmla="*/ 427012 w 720739"/>
                <a:gd name="connsiteY30" fmla="*/ 289519 h 735979"/>
                <a:gd name="connsiteX31" fmla="*/ 426946 w 720739"/>
                <a:gd name="connsiteY31" fmla="*/ 289591 h 735979"/>
                <a:gd name="connsiteX32" fmla="*/ 352820 w 720739"/>
                <a:gd name="connsiteY32" fmla="*/ 270558 h 735979"/>
                <a:gd name="connsiteX33" fmla="*/ 307521 w 720739"/>
                <a:gd name="connsiteY33" fmla="*/ 297202 h 735979"/>
                <a:gd name="connsiteX34" fmla="*/ 255205 w 720739"/>
                <a:gd name="connsiteY34" fmla="*/ 249223 h 735979"/>
                <a:gd name="connsiteX35" fmla="*/ 258260 w 720739"/>
                <a:gd name="connsiteY35" fmla="*/ 247904 h 735979"/>
                <a:gd name="connsiteX36" fmla="*/ 296362 w 720739"/>
                <a:gd name="connsiteY36" fmla="*/ 257959 h 735979"/>
                <a:gd name="connsiteX37" fmla="*/ 334346 w 720739"/>
                <a:gd name="connsiteY37" fmla="*/ 220286 h 735979"/>
                <a:gd name="connsiteX38" fmla="*/ 243811 w 720739"/>
                <a:gd name="connsiteY38" fmla="*/ 196395 h 735979"/>
                <a:gd name="connsiteX39" fmla="*/ 213820 w 720739"/>
                <a:gd name="connsiteY39" fmla="*/ 211270 h 735979"/>
                <a:gd name="connsiteX40" fmla="*/ 201636 w 720739"/>
                <a:gd name="connsiteY40" fmla="*/ 200096 h 735979"/>
                <a:gd name="connsiteX41" fmla="*/ 175268 w 720739"/>
                <a:gd name="connsiteY41" fmla="*/ 228847 h 735979"/>
                <a:gd name="connsiteX42" fmla="*/ 0 w 720739"/>
                <a:gd name="connsiteY42" fmla="*/ 315347 h 735979"/>
                <a:gd name="connsiteX43" fmla="*/ 225227 w 720739"/>
                <a:gd name="connsiteY43" fmla="*/ 1283 h 735979"/>
                <a:gd name="connsiteX44" fmla="*/ 638335 w 720739"/>
                <a:gd name="connsiteY44" fmla="*/ 95361 h 735979"/>
                <a:gd name="connsiteX45" fmla="*/ 588606 w 720739"/>
                <a:gd name="connsiteY45" fmla="*/ 557888 h 735979"/>
                <a:gd name="connsiteX46" fmla="*/ 133154 w 720739"/>
                <a:gd name="connsiteY46" fmla="*/ 655663 h 735979"/>
                <a:gd name="connsiteX47" fmla="*/ 0 w 720739"/>
                <a:gd name="connsiteY47" fmla="*/ 315347 h 735979"/>
                <a:gd name="connsiteX0" fmla="*/ 348892 w 720739"/>
                <a:gd name="connsiteY0" fmla="*/ 335142 h 719800"/>
                <a:gd name="connsiteX1" fmla="*/ 361732 w 720739"/>
                <a:gd name="connsiteY1" fmla="*/ 326619 h 719800"/>
                <a:gd name="connsiteX2" fmla="*/ 387597 w 720739"/>
                <a:gd name="connsiteY2" fmla="*/ 334106 h 719800"/>
                <a:gd name="connsiteX3" fmla="*/ 399661 w 720739"/>
                <a:gd name="connsiteY3" fmla="*/ 375173 h 719800"/>
                <a:gd name="connsiteX4" fmla="*/ 398080 w 720739"/>
                <a:gd name="connsiteY4" fmla="*/ 380253 h 719800"/>
                <a:gd name="connsiteX5" fmla="*/ 348892 w 720739"/>
                <a:gd name="connsiteY5" fmla="*/ 335142 h 719800"/>
                <a:gd name="connsiteX6" fmla="*/ 230573 w 720739"/>
                <a:gd name="connsiteY6" fmla="*/ 279568 h 719800"/>
                <a:gd name="connsiteX7" fmla="*/ 274785 w 720739"/>
                <a:gd name="connsiteY7" fmla="*/ 320114 h 719800"/>
                <a:gd name="connsiteX8" fmla="*/ 274325 w 720739"/>
                <a:gd name="connsiteY8" fmla="*/ 320230 h 719800"/>
                <a:gd name="connsiteX9" fmla="*/ 239949 w 720739"/>
                <a:gd name="connsiteY9" fmla="*/ 310362 h 719800"/>
                <a:gd name="connsiteX10" fmla="*/ 239704 w 720739"/>
                <a:gd name="connsiteY10" fmla="*/ 310653 h 719800"/>
                <a:gd name="connsiteX11" fmla="*/ 230573 w 720739"/>
                <a:gd name="connsiteY11" fmla="*/ 279568 h 719800"/>
                <a:gd name="connsiteX12" fmla="*/ 175268 w 720739"/>
                <a:gd name="connsiteY12" fmla="*/ 228847 h 719800"/>
                <a:gd name="connsiteX13" fmla="*/ 188006 w 720739"/>
                <a:gd name="connsiteY13" fmla="*/ 240529 h 719800"/>
                <a:gd name="connsiteX14" fmla="*/ 176755 w 720739"/>
                <a:gd name="connsiteY14" fmla="*/ 263979 h 719800"/>
                <a:gd name="connsiteX15" fmla="*/ 204557 w 720739"/>
                <a:gd name="connsiteY15" fmla="*/ 352299 h 719800"/>
                <a:gd name="connsiteX16" fmla="*/ 280854 w 720739"/>
                <a:gd name="connsiteY16" fmla="*/ 374721 h 719800"/>
                <a:gd name="connsiteX17" fmla="*/ 318685 w 720739"/>
                <a:gd name="connsiteY17" fmla="*/ 360374 h 719800"/>
                <a:gd name="connsiteX18" fmla="*/ 369238 w 720739"/>
                <a:gd name="connsiteY18" fmla="*/ 406737 h 719800"/>
                <a:gd name="connsiteX19" fmla="*/ 326994 w 720739"/>
                <a:gd name="connsiteY19" fmla="*/ 395556 h 719800"/>
                <a:gd name="connsiteX20" fmla="*/ 284800 w 720739"/>
                <a:gd name="connsiteY20" fmla="*/ 437405 h 719800"/>
                <a:gd name="connsiteX21" fmla="*/ 385369 w 720739"/>
                <a:gd name="connsiteY21" fmla="*/ 463944 h 719800"/>
                <a:gd name="connsiteX22" fmla="*/ 415793 w 720739"/>
                <a:gd name="connsiteY22" fmla="*/ 449431 h 719800"/>
                <a:gd name="connsiteX23" fmla="*/ 428615 w 720739"/>
                <a:gd name="connsiteY23" fmla="*/ 461191 h 719800"/>
                <a:gd name="connsiteX24" fmla="*/ 454984 w 720739"/>
                <a:gd name="connsiteY24" fmla="*/ 432439 h 719800"/>
                <a:gd name="connsiteX25" fmla="*/ 443119 w 720739"/>
                <a:gd name="connsiteY25" fmla="*/ 421557 h 719800"/>
                <a:gd name="connsiteX26" fmla="*/ 457464 w 720739"/>
                <a:gd name="connsiteY26" fmla="*/ 388972 h 719800"/>
                <a:gd name="connsiteX27" fmla="*/ 428362 w 720739"/>
                <a:gd name="connsiteY27" fmla="*/ 290936 h 719800"/>
                <a:gd name="connsiteX28" fmla="*/ 428522 w 720739"/>
                <a:gd name="connsiteY28" fmla="*/ 290749 h 719800"/>
                <a:gd name="connsiteX29" fmla="*/ 427395 w 720739"/>
                <a:gd name="connsiteY29" fmla="*/ 289921 h 719800"/>
                <a:gd name="connsiteX30" fmla="*/ 427012 w 720739"/>
                <a:gd name="connsiteY30" fmla="*/ 289519 h 719800"/>
                <a:gd name="connsiteX31" fmla="*/ 426946 w 720739"/>
                <a:gd name="connsiteY31" fmla="*/ 289591 h 719800"/>
                <a:gd name="connsiteX32" fmla="*/ 352820 w 720739"/>
                <a:gd name="connsiteY32" fmla="*/ 270558 h 719800"/>
                <a:gd name="connsiteX33" fmla="*/ 307521 w 720739"/>
                <a:gd name="connsiteY33" fmla="*/ 297202 h 719800"/>
                <a:gd name="connsiteX34" fmla="*/ 255205 w 720739"/>
                <a:gd name="connsiteY34" fmla="*/ 249223 h 719800"/>
                <a:gd name="connsiteX35" fmla="*/ 258260 w 720739"/>
                <a:gd name="connsiteY35" fmla="*/ 247904 h 719800"/>
                <a:gd name="connsiteX36" fmla="*/ 296362 w 720739"/>
                <a:gd name="connsiteY36" fmla="*/ 257959 h 719800"/>
                <a:gd name="connsiteX37" fmla="*/ 334346 w 720739"/>
                <a:gd name="connsiteY37" fmla="*/ 220286 h 719800"/>
                <a:gd name="connsiteX38" fmla="*/ 243811 w 720739"/>
                <a:gd name="connsiteY38" fmla="*/ 196395 h 719800"/>
                <a:gd name="connsiteX39" fmla="*/ 213820 w 720739"/>
                <a:gd name="connsiteY39" fmla="*/ 211270 h 719800"/>
                <a:gd name="connsiteX40" fmla="*/ 201636 w 720739"/>
                <a:gd name="connsiteY40" fmla="*/ 200096 h 719800"/>
                <a:gd name="connsiteX41" fmla="*/ 175268 w 720739"/>
                <a:gd name="connsiteY41" fmla="*/ 228847 h 719800"/>
                <a:gd name="connsiteX42" fmla="*/ 0 w 720739"/>
                <a:gd name="connsiteY42" fmla="*/ 315347 h 719800"/>
                <a:gd name="connsiteX43" fmla="*/ 225227 w 720739"/>
                <a:gd name="connsiteY43" fmla="*/ 1283 h 719800"/>
                <a:gd name="connsiteX44" fmla="*/ 638335 w 720739"/>
                <a:gd name="connsiteY44" fmla="*/ 95361 h 719800"/>
                <a:gd name="connsiteX45" fmla="*/ 588606 w 720739"/>
                <a:gd name="connsiteY45" fmla="*/ 557888 h 719800"/>
                <a:gd name="connsiteX46" fmla="*/ 81233 w 720739"/>
                <a:gd name="connsiteY46" fmla="*/ 624201 h 719800"/>
                <a:gd name="connsiteX47" fmla="*/ 0 w 720739"/>
                <a:gd name="connsiteY47" fmla="*/ 315347 h 719800"/>
                <a:gd name="connsiteX0" fmla="*/ 348892 w 720739"/>
                <a:gd name="connsiteY0" fmla="*/ 335142 h 719800"/>
                <a:gd name="connsiteX1" fmla="*/ 361732 w 720739"/>
                <a:gd name="connsiteY1" fmla="*/ 326619 h 719800"/>
                <a:gd name="connsiteX2" fmla="*/ 387597 w 720739"/>
                <a:gd name="connsiteY2" fmla="*/ 334106 h 719800"/>
                <a:gd name="connsiteX3" fmla="*/ 399661 w 720739"/>
                <a:gd name="connsiteY3" fmla="*/ 375173 h 719800"/>
                <a:gd name="connsiteX4" fmla="*/ 398080 w 720739"/>
                <a:gd name="connsiteY4" fmla="*/ 380253 h 719800"/>
                <a:gd name="connsiteX5" fmla="*/ 348892 w 720739"/>
                <a:gd name="connsiteY5" fmla="*/ 335142 h 719800"/>
                <a:gd name="connsiteX6" fmla="*/ 230573 w 720739"/>
                <a:gd name="connsiteY6" fmla="*/ 279568 h 719800"/>
                <a:gd name="connsiteX7" fmla="*/ 274785 w 720739"/>
                <a:gd name="connsiteY7" fmla="*/ 320114 h 719800"/>
                <a:gd name="connsiteX8" fmla="*/ 274325 w 720739"/>
                <a:gd name="connsiteY8" fmla="*/ 320230 h 719800"/>
                <a:gd name="connsiteX9" fmla="*/ 239949 w 720739"/>
                <a:gd name="connsiteY9" fmla="*/ 310362 h 719800"/>
                <a:gd name="connsiteX10" fmla="*/ 239704 w 720739"/>
                <a:gd name="connsiteY10" fmla="*/ 310653 h 719800"/>
                <a:gd name="connsiteX11" fmla="*/ 230573 w 720739"/>
                <a:gd name="connsiteY11" fmla="*/ 279568 h 719800"/>
                <a:gd name="connsiteX12" fmla="*/ 175268 w 720739"/>
                <a:gd name="connsiteY12" fmla="*/ 228847 h 719800"/>
                <a:gd name="connsiteX13" fmla="*/ 188006 w 720739"/>
                <a:gd name="connsiteY13" fmla="*/ 240529 h 719800"/>
                <a:gd name="connsiteX14" fmla="*/ 176755 w 720739"/>
                <a:gd name="connsiteY14" fmla="*/ 263979 h 719800"/>
                <a:gd name="connsiteX15" fmla="*/ 204557 w 720739"/>
                <a:gd name="connsiteY15" fmla="*/ 352299 h 719800"/>
                <a:gd name="connsiteX16" fmla="*/ 280854 w 720739"/>
                <a:gd name="connsiteY16" fmla="*/ 374721 h 719800"/>
                <a:gd name="connsiteX17" fmla="*/ 318685 w 720739"/>
                <a:gd name="connsiteY17" fmla="*/ 360374 h 719800"/>
                <a:gd name="connsiteX18" fmla="*/ 369238 w 720739"/>
                <a:gd name="connsiteY18" fmla="*/ 406737 h 719800"/>
                <a:gd name="connsiteX19" fmla="*/ 326994 w 720739"/>
                <a:gd name="connsiteY19" fmla="*/ 395556 h 719800"/>
                <a:gd name="connsiteX20" fmla="*/ 284800 w 720739"/>
                <a:gd name="connsiteY20" fmla="*/ 437405 h 719800"/>
                <a:gd name="connsiteX21" fmla="*/ 385369 w 720739"/>
                <a:gd name="connsiteY21" fmla="*/ 463944 h 719800"/>
                <a:gd name="connsiteX22" fmla="*/ 415793 w 720739"/>
                <a:gd name="connsiteY22" fmla="*/ 449431 h 719800"/>
                <a:gd name="connsiteX23" fmla="*/ 428615 w 720739"/>
                <a:gd name="connsiteY23" fmla="*/ 461191 h 719800"/>
                <a:gd name="connsiteX24" fmla="*/ 454984 w 720739"/>
                <a:gd name="connsiteY24" fmla="*/ 432439 h 719800"/>
                <a:gd name="connsiteX25" fmla="*/ 443119 w 720739"/>
                <a:gd name="connsiteY25" fmla="*/ 421557 h 719800"/>
                <a:gd name="connsiteX26" fmla="*/ 457464 w 720739"/>
                <a:gd name="connsiteY26" fmla="*/ 388972 h 719800"/>
                <a:gd name="connsiteX27" fmla="*/ 428362 w 720739"/>
                <a:gd name="connsiteY27" fmla="*/ 290936 h 719800"/>
                <a:gd name="connsiteX28" fmla="*/ 428522 w 720739"/>
                <a:gd name="connsiteY28" fmla="*/ 290749 h 719800"/>
                <a:gd name="connsiteX29" fmla="*/ 427395 w 720739"/>
                <a:gd name="connsiteY29" fmla="*/ 289921 h 719800"/>
                <a:gd name="connsiteX30" fmla="*/ 427012 w 720739"/>
                <a:gd name="connsiteY30" fmla="*/ 289519 h 719800"/>
                <a:gd name="connsiteX31" fmla="*/ 426946 w 720739"/>
                <a:gd name="connsiteY31" fmla="*/ 289591 h 719800"/>
                <a:gd name="connsiteX32" fmla="*/ 352820 w 720739"/>
                <a:gd name="connsiteY32" fmla="*/ 270558 h 719800"/>
                <a:gd name="connsiteX33" fmla="*/ 307521 w 720739"/>
                <a:gd name="connsiteY33" fmla="*/ 297202 h 719800"/>
                <a:gd name="connsiteX34" fmla="*/ 255205 w 720739"/>
                <a:gd name="connsiteY34" fmla="*/ 249223 h 719800"/>
                <a:gd name="connsiteX35" fmla="*/ 258260 w 720739"/>
                <a:gd name="connsiteY35" fmla="*/ 247904 h 719800"/>
                <a:gd name="connsiteX36" fmla="*/ 296362 w 720739"/>
                <a:gd name="connsiteY36" fmla="*/ 257959 h 719800"/>
                <a:gd name="connsiteX37" fmla="*/ 334346 w 720739"/>
                <a:gd name="connsiteY37" fmla="*/ 220286 h 719800"/>
                <a:gd name="connsiteX38" fmla="*/ 243811 w 720739"/>
                <a:gd name="connsiteY38" fmla="*/ 196395 h 719800"/>
                <a:gd name="connsiteX39" fmla="*/ 213820 w 720739"/>
                <a:gd name="connsiteY39" fmla="*/ 211270 h 719800"/>
                <a:gd name="connsiteX40" fmla="*/ 201636 w 720739"/>
                <a:gd name="connsiteY40" fmla="*/ 200096 h 719800"/>
                <a:gd name="connsiteX41" fmla="*/ 175268 w 720739"/>
                <a:gd name="connsiteY41" fmla="*/ 228847 h 719800"/>
                <a:gd name="connsiteX42" fmla="*/ 0 w 720739"/>
                <a:gd name="connsiteY42" fmla="*/ 315347 h 719800"/>
                <a:gd name="connsiteX43" fmla="*/ 225227 w 720739"/>
                <a:gd name="connsiteY43" fmla="*/ 1283 h 719800"/>
                <a:gd name="connsiteX44" fmla="*/ 638335 w 720739"/>
                <a:gd name="connsiteY44" fmla="*/ 95361 h 719800"/>
                <a:gd name="connsiteX45" fmla="*/ 588606 w 720739"/>
                <a:gd name="connsiteY45" fmla="*/ 557888 h 719800"/>
                <a:gd name="connsiteX46" fmla="*/ 81233 w 720739"/>
                <a:gd name="connsiteY46" fmla="*/ 624201 h 719800"/>
                <a:gd name="connsiteX47" fmla="*/ 0 w 720739"/>
                <a:gd name="connsiteY47" fmla="*/ 315347 h 719800"/>
                <a:gd name="connsiteX0" fmla="*/ 348892 w 720739"/>
                <a:gd name="connsiteY0" fmla="*/ 335142 h 729933"/>
                <a:gd name="connsiteX1" fmla="*/ 361732 w 720739"/>
                <a:gd name="connsiteY1" fmla="*/ 326619 h 729933"/>
                <a:gd name="connsiteX2" fmla="*/ 387597 w 720739"/>
                <a:gd name="connsiteY2" fmla="*/ 334106 h 729933"/>
                <a:gd name="connsiteX3" fmla="*/ 399661 w 720739"/>
                <a:gd name="connsiteY3" fmla="*/ 375173 h 729933"/>
                <a:gd name="connsiteX4" fmla="*/ 398080 w 720739"/>
                <a:gd name="connsiteY4" fmla="*/ 380253 h 729933"/>
                <a:gd name="connsiteX5" fmla="*/ 348892 w 720739"/>
                <a:gd name="connsiteY5" fmla="*/ 335142 h 729933"/>
                <a:gd name="connsiteX6" fmla="*/ 230573 w 720739"/>
                <a:gd name="connsiteY6" fmla="*/ 279568 h 729933"/>
                <a:gd name="connsiteX7" fmla="*/ 274785 w 720739"/>
                <a:gd name="connsiteY7" fmla="*/ 320114 h 729933"/>
                <a:gd name="connsiteX8" fmla="*/ 274325 w 720739"/>
                <a:gd name="connsiteY8" fmla="*/ 320230 h 729933"/>
                <a:gd name="connsiteX9" fmla="*/ 239949 w 720739"/>
                <a:gd name="connsiteY9" fmla="*/ 310362 h 729933"/>
                <a:gd name="connsiteX10" fmla="*/ 239704 w 720739"/>
                <a:gd name="connsiteY10" fmla="*/ 310653 h 729933"/>
                <a:gd name="connsiteX11" fmla="*/ 230573 w 720739"/>
                <a:gd name="connsiteY11" fmla="*/ 279568 h 729933"/>
                <a:gd name="connsiteX12" fmla="*/ 175268 w 720739"/>
                <a:gd name="connsiteY12" fmla="*/ 228847 h 729933"/>
                <a:gd name="connsiteX13" fmla="*/ 188006 w 720739"/>
                <a:gd name="connsiteY13" fmla="*/ 240529 h 729933"/>
                <a:gd name="connsiteX14" fmla="*/ 176755 w 720739"/>
                <a:gd name="connsiteY14" fmla="*/ 263979 h 729933"/>
                <a:gd name="connsiteX15" fmla="*/ 204557 w 720739"/>
                <a:gd name="connsiteY15" fmla="*/ 352299 h 729933"/>
                <a:gd name="connsiteX16" fmla="*/ 280854 w 720739"/>
                <a:gd name="connsiteY16" fmla="*/ 374721 h 729933"/>
                <a:gd name="connsiteX17" fmla="*/ 318685 w 720739"/>
                <a:gd name="connsiteY17" fmla="*/ 360374 h 729933"/>
                <a:gd name="connsiteX18" fmla="*/ 369238 w 720739"/>
                <a:gd name="connsiteY18" fmla="*/ 406737 h 729933"/>
                <a:gd name="connsiteX19" fmla="*/ 326994 w 720739"/>
                <a:gd name="connsiteY19" fmla="*/ 395556 h 729933"/>
                <a:gd name="connsiteX20" fmla="*/ 284800 w 720739"/>
                <a:gd name="connsiteY20" fmla="*/ 437405 h 729933"/>
                <a:gd name="connsiteX21" fmla="*/ 385369 w 720739"/>
                <a:gd name="connsiteY21" fmla="*/ 463944 h 729933"/>
                <a:gd name="connsiteX22" fmla="*/ 415793 w 720739"/>
                <a:gd name="connsiteY22" fmla="*/ 449431 h 729933"/>
                <a:gd name="connsiteX23" fmla="*/ 428615 w 720739"/>
                <a:gd name="connsiteY23" fmla="*/ 461191 h 729933"/>
                <a:gd name="connsiteX24" fmla="*/ 454984 w 720739"/>
                <a:gd name="connsiteY24" fmla="*/ 432439 h 729933"/>
                <a:gd name="connsiteX25" fmla="*/ 443119 w 720739"/>
                <a:gd name="connsiteY25" fmla="*/ 421557 h 729933"/>
                <a:gd name="connsiteX26" fmla="*/ 457464 w 720739"/>
                <a:gd name="connsiteY26" fmla="*/ 388972 h 729933"/>
                <a:gd name="connsiteX27" fmla="*/ 428362 w 720739"/>
                <a:gd name="connsiteY27" fmla="*/ 290936 h 729933"/>
                <a:gd name="connsiteX28" fmla="*/ 428522 w 720739"/>
                <a:gd name="connsiteY28" fmla="*/ 290749 h 729933"/>
                <a:gd name="connsiteX29" fmla="*/ 427395 w 720739"/>
                <a:gd name="connsiteY29" fmla="*/ 289921 h 729933"/>
                <a:gd name="connsiteX30" fmla="*/ 427012 w 720739"/>
                <a:gd name="connsiteY30" fmla="*/ 289519 h 729933"/>
                <a:gd name="connsiteX31" fmla="*/ 426946 w 720739"/>
                <a:gd name="connsiteY31" fmla="*/ 289591 h 729933"/>
                <a:gd name="connsiteX32" fmla="*/ 352820 w 720739"/>
                <a:gd name="connsiteY32" fmla="*/ 270558 h 729933"/>
                <a:gd name="connsiteX33" fmla="*/ 307521 w 720739"/>
                <a:gd name="connsiteY33" fmla="*/ 297202 h 729933"/>
                <a:gd name="connsiteX34" fmla="*/ 255205 w 720739"/>
                <a:gd name="connsiteY34" fmla="*/ 249223 h 729933"/>
                <a:gd name="connsiteX35" fmla="*/ 258260 w 720739"/>
                <a:gd name="connsiteY35" fmla="*/ 247904 h 729933"/>
                <a:gd name="connsiteX36" fmla="*/ 296362 w 720739"/>
                <a:gd name="connsiteY36" fmla="*/ 257959 h 729933"/>
                <a:gd name="connsiteX37" fmla="*/ 334346 w 720739"/>
                <a:gd name="connsiteY37" fmla="*/ 220286 h 729933"/>
                <a:gd name="connsiteX38" fmla="*/ 243811 w 720739"/>
                <a:gd name="connsiteY38" fmla="*/ 196395 h 729933"/>
                <a:gd name="connsiteX39" fmla="*/ 213820 w 720739"/>
                <a:gd name="connsiteY39" fmla="*/ 211270 h 729933"/>
                <a:gd name="connsiteX40" fmla="*/ 201636 w 720739"/>
                <a:gd name="connsiteY40" fmla="*/ 200096 h 729933"/>
                <a:gd name="connsiteX41" fmla="*/ 175268 w 720739"/>
                <a:gd name="connsiteY41" fmla="*/ 228847 h 729933"/>
                <a:gd name="connsiteX42" fmla="*/ 0 w 720739"/>
                <a:gd name="connsiteY42" fmla="*/ 315347 h 729933"/>
                <a:gd name="connsiteX43" fmla="*/ 225227 w 720739"/>
                <a:gd name="connsiteY43" fmla="*/ 1283 h 729933"/>
                <a:gd name="connsiteX44" fmla="*/ 638335 w 720739"/>
                <a:gd name="connsiteY44" fmla="*/ 95361 h 729933"/>
                <a:gd name="connsiteX45" fmla="*/ 588606 w 720739"/>
                <a:gd name="connsiteY45" fmla="*/ 557888 h 729933"/>
                <a:gd name="connsiteX46" fmla="*/ 120870 w 720739"/>
                <a:gd name="connsiteY46" fmla="*/ 644397 h 729933"/>
                <a:gd name="connsiteX47" fmla="*/ 0 w 720739"/>
                <a:gd name="connsiteY47" fmla="*/ 315347 h 729933"/>
                <a:gd name="connsiteX0" fmla="*/ 348892 w 720739"/>
                <a:gd name="connsiteY0" fmla="*/ 335142 h 731465"/>
                <a:gd name="connsiteX1" fmla="*/ 361732 w 720739"/>
                <a:gd name="connsiteY1" fmla="*/ 326619 h 731465"/>
                <a:gd name="connsiteX2" fmla="*/ 387597 w 720739"/>
                <a:gd name="connsiteY2" fmla="*/ 334106 h 731465"/>
                <a:gd name="connsiteX3" fmla="*/ 399661 w 720739"/>
                <a:gd name="connsiteY3" fmla="*/ 375173 h 731465"/>
                <a:gd name="connsiteX4" fmla="*/ 398080 w 720739"/>
                <a:gd name="connsiteY4" fmla="*/ 380253 h 731465"/>
                <a:gd name="connsiteX5" fmla="*/ 348892 w 720739"/>
                <a:gd name="connsiteY5" fmla="*/ 335142 h 731465"/>
                <a:gd name="connsiteX6" fmla="*/ 230573 w 720739"/>
                <a:gd name="connsiteY6" fmla="*/ 279568 h 731465"/>
                <a:gd name="connsiteX7" fmla="*/ 274785 w 720739"/>
                <a:gd name="connsiteY7" fmla="*/ 320114 h 731465"/>
                <a:gd name="connsiteX8" fmla="*/ 274325 w 720739"/>
                <a:gd name="connsiteY8" fmla="*/ 320230 h 731465"/>
                <a:gd name="connsiteX9" fmla="*/ 239949 w 720739"/>
                <a:gd name="connsiteY9" fmla="*/ 310362 h 731465"/>
                <a:gd name="connsiteX10" fmla="*/ 239704 w 720739"/>
                <a:gd name="connsiteY10" fmla="*/ 310653 h 731465"/>
                <a:gd name="connsiteX11" fmla="*/ 230573 w 720739"/>
                <a:gd name="connsiteY11" fmla="*/ 279568 h 731465"/>
                <a:gd name="connsiteX12" fmla="*/ 175268 w 720739"/>
                <a:gd name="connsiteY12" fmla="*/ 228847 h 731465"/>
                <a:gd name="connsiteX13" fmla="*/ 188006 w 720739"/>
                <a:gd name="connsiteY13" fmla="*/ 240529 h 731465"/>
                <a:gd name="connsiteX14" fmla="*/ 176755 w 720739"/>
                <a:gd name="connsiteY14" fmla="*/ 263979 h 731465"/>
                <a:gd name="connsiteX15" fmla="*/ 204557 w 720739"/>
                <a:gd name="connsiteY15" fmla="*/ 352299 h 731465"/>
                <a:gd name="connsiteX16" fmla="*/ 280854 w 720739"/>
                <a:gd name="connsiteY16" fmla="*/ 374721 h 731465"/>
                <a:gd name="connsiteX17" fmla="*/ 318685 w 720739"/>
                <a:gd name="connsiteY17" fmla="*/ 360374 h 731465"/>
                <a:gd name="connsiteX18" fmla="*/ 369238 w 720739"/>
                <a:gd name="connsiteY18" fmla="*/ 406737 h 731465"/>
                <a:gd name="connsiteX19" fmla="*/ 326994 w 720739"/>
                <a:gd name="connsiteY19" fmla="*/ 395556 h 731465"/>
                <a:gd name="connsiteX20" fmla="*/ 284800 w 720739"/>
                <a:gd name="connsiteY20" fmla="*/ 437405 h 731465"/>
                <a:gd name="connsiteX21" fmla="*/ 385369 w 720739"/>
                <a:gd name="connsiteY21" fmla="*/ 463944 h 731465"/>
                <a:gd name="connsiteX22" fmla="*/ 415793 w 720739"/>
                <a:gd name="connsiteY22" fmla="*/ 449431 h 731465"/>
                <a:gd name="connsiteX23" fmla="*/ 428615 w 720739"/>
                <a:gd name="connsiteY23" fmla="*/ 461191 h 731465"/>
                <a:gd name="connsiteX24" fmla="*/ 454984 w 720739"/>
                <a:gd name="connsiteY24" fmla="*/ 432439 h 731465"/>
                <a:gd name="connsiteX25" fmla="*/ 443119 w 720739"/>
                <a:gd name="connsiteY25" fmla="*/ 421557 h 731465"/>
                <a:gd name="connsiteX26" fmla="*/ 457464 w 720739"/>
                <a:gd name="connsiteY26" fmla="*/ 388972 h 731465"/>
                <a:gd name="connsiteX27" fmla="*/ 428362 w 720739"/>
                <a:gd name="connsiteY27" fmla="*/ 290936 h 731465"/>
                <a:gd name="connsiteX28" fmla="*/ 428522 w 720739"/>
                <a:gd name="connsiteY28" fmla="*/ 290749 h 731465"/>
                <a:gd name="connsiteX29" fmla="*/ 427395 w 720739"/>
                <a:gd name="connsiteY29" fmla="*/ 289921 h 731465"/>
                <a:gd name="connsiteX30" fmla="*/ 427012 w 720739"/>
                <a:gd name="connsiteY30" fmla="*/ 289519 h 731465"/>
                <a:gd name="connsiteX31" fmla="*/ 426946 w 720739"/>
                <a:gd name="connsiteY31" fmla="*/ 289591 h 731465"/>
                <a:gd name="connsiteX32" fmla="*/ 352820 w 720739"/>
                <a:gd name="connsiteY32" fmla="*/ 270558 h 731465"/>
                <a:gd name="connsiteX33" fmla="*/ 307521 w 720739"/>
                <a:gd name="connsiteY33" fmla="*/ 297202 h 731465"/>
                <a:gd name="connsiteX34" fmla="*/ 255205 w 720739"/>
                <a:gd name="connsiteY34" fmla="*/ 249223 h 731465"/>
                <a:gd name="connsiteX35" fmla="*/ 258260 w 720739"/>
                <a:gd name="connsiteY35" fmla="*/ 247904 h 731465"/>
                <a:gd name="connsiteX36" fmla="*/ 296362 w 720739"/>
                <a:gd name="connsiteY36" fmla="*/ 257959 h 731465"/>
                <a:gd name="connsiteX37" fmla="*/ 334346 w 720739"/>
                <a:gd name="connsiteY37" fmla="*/ 220286 h 731465"/>
                <a:gd name="connsiteX38" fmla="*/ 243811 w 720739"/>
                <a:gd name="connsiteY38" fmla="*/ 196395 h 731465"/>
                <a:gd name="connsiteX39" fmla="*/ 213820 w 720739"/>
                <a:gd name="connsiteY39" fmla="*/ 211270 h 731465"/>
                <a:gd name="connsiteX40" fmla="*/ 201636 w 720739"/>
                <a:gd name="connsiteY40" fmla="*/ 200096 h 731465"/>
                <a:gd name="connsiteX41" fmla="*/ 175268 w 720739"/>
                <a:gd name="connsiteY41" fmla="*/ 228847 h 731465"/>
                <a:gd name="connsiteX42" fmla="*/ 0 w 720739"/>
                <a:gd name="connsiteY42" fmla="*/ 315347 h 731465"/>
                <a:gd name="connsiteX43" fmla="*/ 225227 w 720739"/>
                <a:gd name="connsiteY43" fmla="*/ 1283 h 731465"/>
                <a:gd name="connsiteX44" fmla="*/ 638335 w 720739"/>
                <a:gd name="connsiteY44" fmla="*/ 95361 h 731465"/>
                <a:gd name="connsiteX45" fmla="*/ 588606 w 720739"/>
                <a:gd name="connsiteY45" fmla="*/ 557888 h 731465"/>
                <a:gd name="connsiteX46" fmla="*/ 120870 w 720739"/>
                <a:gd name="connsiteY46" fmla="*/ 644397 h 731465"/>
                <a:gd name="connsiteX47" fmla="*/ 0 w 720739"/>
                <a:gd name="connsiteY47" fmla="*/ 315347 h 731465"/>
                <a:gd name="connsiteX0" fmla="*/ 348892 w 731940"/>
                <a:gd name="connsiteY0" fmla="*/ 336207 h 746412"/>
                <a:gd name="connsiteX1" fmla="*/ 361732 w 731940"/>
                <a:gd name="connsiteY1" fmla="*/ 327684 h 746412"/>
                <a:gd name="connsiteX2" fmla="*/ 387597 w 731940"/>
                <a:gd name="connsiteY2" fmla="*/ 335171 h 746412"/>
                <a:gd name="connsiteX3" fmla="*/ 399661 w 731940"/>
                <a:gd name="connsiteY3" fmla="*/ 376238 h 746412"/>
                <a:gd name="connsiteX4" fmla="*/ 398080 w 731940"/>
                <a:gd name="connsiteY4" fmla="*/ 381318 h 746412"/>
                <a:gd name="connsiteX5" fmla="*/ 348892 w 731940"/>
                <a:gd name="connsiteY5" fmla="*/ 336207 h 746412"/>
                <a:gd name="connsiteX6" fmla="*/ 230573 w 731940"/>
                <a:gd name="connsiteY6" fmla="*/ 280633 h 746412"/>
                <a:gd name="connsiteX7" fmla="*/ 274785 w 731940"/>
                <a:gd name="connsiteY7" fmla="*/ 321179 h 746412"/>
                <a:gd name="connsiteX8" fmla="*/ 274325 w 731940"/>
                <a:gd name="connsiteY8" fmla="*/ 321295 h 746412"/>
                <a:gd name="connsiteX9" fmla="*/ 239949 w 731940"/>
                <a:gd name="connsiteY9" fmla="*/ 311427 h 746412"/>
                <a:gd name="connsiteX10" fmla="*/ 239704 w 731940"/>
                <a:gd name="connsiteY10" fmla="*/ 311718 h 746412"/>
                <a:gd name="connsiteX11" fmla="*/ 230573 w 731940"/>
                <a:gd name="connsiteY11" fmla="*/ 280633 h 746412"/>
                <a:gd name="connsiteX12" fmla="*/ 175268 w 731940"/>
                <a:gd name="connsiteY12" fmla="*/ 229912 h 746412"/>
                <a:gd name="connsiteX13" fmla="*/ 188006 w 731940"/>
                <a:gd name="connsiteY13" fmla="*/ 241594 h 746412"/>
                <a:gd name="connsiteX14" fmla="*/ 176755 w 731940"/>
                <a:gd name="connsiteY14" fmla="*/ 265044 h 746412"/>
                <a:gd name="connsiteX15" fmla="*/ 204557 w 731940"/>
                <a:gd name="connsiteY15" fmla="*/ 353364 h 746412"/>
                <a:gd name="connsiteX16" fmla="*/ 280854 w 731940"/>
                <a:gd name="connsiteY16" fmla="*/ 375786 h 746412"/>
                <a:gd name="connsiteX17" fmla="*/ 318685 w 731940"/>
                <a:gd name="connsiteY17" fmla="*/ 361439 h 746412"/>
                <a:gd name="connsiteX18" fmla="*/ 369238 w 731940"/>
                <a:gd name="connsiteY18" fmla="*/ 407802 h 746412"/>
                <a:gd name="connsiteX19" fmla="*/ 326994 w 731940"/>
                <a:gd name="connsiteY19" fmla="*/ 396621 h 746412"/>
                <a:gd name="connsiteX20" fmla="*/ 284800 w 731940"/>
                <a:gd name="connsiteY20" fmla="*/ 438470 h 746412"/>
                <a:gd name="connsiteX21" fmla="*/ 385369 w 731940"/>
                <a:gd name="connsiteY21" fmla="*/ 465009 h 746412"/>
                <a:gd name="connsiteX22" fmla="*/ 415793 w 731940"/>
                <a:gd name="connsiteY22" fmla="*/ 450496 h 746412"/>
                <a:gd name="connsiteX23" fmla="*/ 428615 w 731940"/>
                <a:gd name="connsiteY23" fmla="*/ 462256 h 746412"/>
                <a:gd name="connsiteX24" fmla="*/ 454984 w 731940"/>
                <a:gd name="connsiteY24" fmla="*/ 433504 h 746412"/>
                <a:gd name="connsiteX25" fmla="*/ 443119 w 731940"/>
                <a:gd name="connsiteY25" fmla="*/ 422622 h 746412"/>
                <a:gd name="connsiteX26" fmla="*/ 457464 w 731940"/>
                <a:gd name="connsiteY26" fmla="*/ 390037 h 746412"/>
                <a:gd name="connsiteX27" fmla="*/ 428362 w 731940"/>
                <a:gd name="connsiteY27" fmla="*/ 292001 h 746412"/>
                <a:gd name="connsiteX28" fmla="*/ 428522 w 731940"/>
                <a:gd name="connsiteY28" fmla="*/ 291814 h 746412"/>
                <a:gd name="connsiteX29" fmla="*/ 427395 w 731940"/>
                <a:gd name="connsiteY29" fmla="*/ 290986 h 746412"/>
                <a:gd name="connsiteX30" fmla="*/ 427012 w 731940"/>
                <a:gd name="connsiteY30" fmla="*/ 290584 h 746412"/>
                <a:gd name="connsiteX31" fmla="*/ 426946 w 731940"/>
                <a:gd name="connsiteY31" fmla="*/ 290656 h 746412"/>
                <a:gd name="connsiteX32" fmla="*/ 352820 w 731940"/>
                <a:gd name="connsiteY32" fmla="*/ 271623 h 746412"/>
                <a:gd name="connsiteX33" fmla="*/ 307521 w 731940"/>
                <a:gd name="connsiteY33" fmla="*/ 298267 h 746412"/>
                <a:gd name="connsiteX34" fmla="*/ 255205 w 731940"/>
                <a:gd name="connsiteY34" fmla="*/ 250288 h 746412"/>
                <a:gd name="connsiteX35" fmla="*/ 258260 w 731940"/>
                <a:gd name="connsiteY35" fmla="*/ 248969 h 746412"/>
                <a:gd name="connsiteX36" fmla="*/ 296362 w 731940"/>
                <a:gd name="connsiteY36" fmla="*/ 259024 h 746412"/>
                <a:gd name="connsiteX37" fmla="*/ 334346 w 731940"/>
                <a:gd name="connsiteY37" fmla="*/ 221351 h 746412"/>
                <a:gd name="connsiteX38" fmla="*/ 243811 w 731940"/>
                <a:gd name="connsiteY38" fmla="*/ 197460 h 746412"/>
                <a:gd name="connsiteX39" fmla="*/ 213820 w 731940"/>
                <a:gd name="connsiteY39" fmla="*/ 212335 h 746412"/>
                <a:gd name="connsiteX40" fmla="*/ 201636 w 731940"/>
                <a:gd name="connsiteY40" fmla="*/ 201161 h 746412"/>
                <a:gd name="connsiteX41" fmla="*/ 175268 w 731940"/>
                <a:gd name="connsiteY41" fmla="*/ 229912 h 746412"/>
                <a:gd name="connsiteX42" fmla="*/ 0 w 731940"/>
                <a:gd name="connsiteY42" fmla="*/ 316412 h 746412"/>
                <a:gd name="connsiteX43" fmla="*/ 225227 w 731940"/>
                <a:gd name="connsiteY43" fmla="*/ 2348 h 746412"/>
                <a:gd name="connsiteX44" fmla="*/ 638335 w 731940"/>
                <a:gd name="connsiteY44" fmla="*/ 96426 h 746412"/>
                <a:gd name="connsiteX45" fmla="*/ 611711 w 731940"/>
                <a:gd name="connsiteY45" fmla="*/ 586606 h 746412"/>
                <a:gd name="connsiteX46" fmla="*/ 120870 w 731940"/>
                <a:gd name="connsiteY46" fmla="*/ 645462 h 746412"/>
                <a:gd name="connsiteX47" fmla="*/ 0 w 731940"/>
                <a:gd name="connsiteY47" fmla="*/ 316412 h 746412"/>
                <a:gd name="connsiteX0" fmla="*/ 348892 w 731940"/>
                <a:gd name="connsiteY0" fmla="*/ 336207 h 721787"/>
                <a:gd name="connsiteX1" fmla="*/ 361732 w 731940"/>
                <a:gd name="connsiteY1" fmla="*/ 327684 h 721787"/>
                <a:gd name="connsiteX2" fmla="*/ 387597 w 731940"/>
                <a:gd name="connsiteY2" fmla="*/ 335171 h 721787"/>
                <a:gd name="connsiteX3" fmla="*/ 399661 w 731940"/>
                <a:gd name="connsiteY3" fmla="*/ 376238 h 721787"/>
                <a:gd name="connsiteX4" fmla="*/ 398080 w 731940"/>
                <a:gd name="connsiteY4" fmla="*/ 381318 h 721787"/>
                <a:gd name="connsiteX5" fmla="*/ 348892 w 731940"/>
                <a:gd name="connsiteY5" fmla="*/ 336207 h 721787"/>
                <a:gd name="connsiteX6" fmla="*/ 230573 w 731940"/>
                <a:gd name="connsiteY6" fmla="*/ 280633 h 721787"/>
                <a:gd name="connsiteX7" fmla="*/ 274785 w 731940"/>
                <a:gd name="connsiteY7" fmla="*/ 321179 h 721787"/>
                <a:gd name="connsiteX8" fmla="*/ 274325 w 731940"/>
                <a:gd name="connsiteY8" fmla="*/ 321295 h 721787"/>
                <a:gd name="connsiteX9" fmla="*/ 239949 w 731940"/>
                <a:gd name="connsiteY9" fmla="*/ 311427 h 721787"/>
                <a:gd name="connsiteX10" fmla="*/ 239704 w 731940"/>
                <a:gd name="connsiteY10" fmla="*/ 311718 h 721787"/>
                <a:gd name="connsiteX11" fmla="*/ 230573 w 731940"/>
                <a:gd name="connsiteY11" fmla="*/ 280633 h 721787"/>
                <a:gd name="connsiteX12" fmla="*/ 175268 w 731940"/>
                <a:gd name="connsiteY12" fmla="*/ 229912 h 721787"/>
                <a:gd name="connsiteX13" fmla="*/ 188006 w 731940"/>
                <a:gd name="connsiteY13" fmla="*/ 241594 h 721787"/>
                <a:gd name="connsiteX14" fmla="*/ 176755 w 731940"/>
                <a:gd name="connsiteY14" fmla="*/ 265044 h 721787"/>
                <a:gd name="connsiteX15" fmla="*/ 204557 w 731940"/>
                <a:gd name="connsiteY15" fmla="*/ 353364 h 721787"/>
                <a:gd name="connsiteX16" fmla="*/ 280854 w 731940"/>
                <a:gd name="connsiteY16" fmla="*/ 375786 h 721787"/>
                <a:gd name="connsiteX17" fmla="*/ 318685 w 731940"/>
                <a:gd name="connsiteY17" fmla="*/ 361439 h 721787"/>
                <a:gd name="connsiteX18" fmla="*/ 369238 w 731940"/>
                <a:gd name="connsiteY18" fmla="*/ 407802 h 721787"/>
                <a:gd name="connsiteX19" fmla="*/ 326994 w 731940"/>
                <a:gd name="connsiteY19" fmla="*/ 396621 h 721787"/>
                <a:gd name="connsiteX20" fmla="*/ 284800 w 731940"/>
                <a:gd name="connsiteY20" fmla="*/ 438470 h 721787"/>
                <a:gd name="connsiteX21" fmla="*/ 385369 w 731940"/>
                <a:gd name="connsiteY21" fmla="*/ 465009 h 721787"/>
                <a:gd name="connsiteX22" fmla="*/ 415793 w 731940"/>
                <a:gd name="connsiteY22" fmla="*/ 450496 h 721787"/>
                <a:gd name="connsiteX23" fmla="*/ 428615 w 731940"/>
                <a:gd name="connsiteY23" fmla="*/ 462256 h 721787"/>
                <a:gd name="connsiteX24" fmla="*/ 454984 w 731940"/>
                <a:gd name="connsiteY24" fmla="*/ 433504 h 721787"/>
                <a:gd name="connsiteX25" fmla="*/ 443119 w 731940"/>
                <a:gd name="connsiteY25" fmla="*/ 422622 h 721787"/>
                <a:gd name="connsiteX26" fmla="*/ 457464 w 731940"/>
                <a:gd name="connsiteY26" fmla="*/ 390037 h 721787"/>
                <a:gd name="connsiteX27" fmla="*/ 428362 w 731940"/>
                <a:gd name="connsiteY27" fmla="*/ 292001 h 721787"/>
                <a:gd name="connsiteX28" fmla="*/ 428522 w 731940"/>
                <a:gd name="connsiteY28" fmla="*/ 291814 h 721787"/>
                <a:gd name="connsiteX29" fmla="*/ 427395 w 731940"/>
                <a:gd name="connsiteY29" fmla="*/ 290986 h 721787"/>
                <a:gd name="connsiteX30" fmla="*/ 427012 w 731940"/>
                <a:gd name="connsiteY30" fmla="*/ 290584 h 721787"/>
                <a:gd name="connsiteX31" fmla="*/ 426946 w 731940"/>
                <a:gd name="connsiteY31" fmla="*/ 290656 h 721787"/>
                <a:gd name="connsiteX32" fmla="*/ 352820 w 731940"/>
                <a:gd name="connsiteY32" fmla="*/ 271623 h 721787"/>
                <a:gd name="connsiteX33" fmla="*/ 307521 w 731940"/>
                <a:gd name="connsiteY33" fmla="*/ 298267 h 721787"/>
                <a:gd name="connsiteX34" fmla="*/ 255205 w 731940"/>
                <a:gd name="connsiteY34" fmla="*/ 250288 h 721787"/>
                <a:gd name="connsiteX35" fmla="*/ 258260 w 731940"/>
                <a:gd name="connsiteY35" fmla="*/ 248969 h 721787"/>
                <a:gd name="connsiteX36" fmla="*/ 296362 w 731940"/>
                <a:gd name="connsiteY36" fmla="*/ 259024 h 721787"/>
                <a:gd name="connsiteX37" fmla="*/ 334346 w 731940"/>
                <a:gd name="connsiteY37" fmla="*/ 221351 h 721787"/>
                <a:gd name="connsiteX38" fmla="*/ 243811 w 731940"/>
                <a:gd name="connsiteY38" fmla="*/ 197460 h 721787"/>
                <a:gd name="connsiteX39" fmla="*/ 213820 w 731940"/>
                <a:gd name="connsiteY39" fmla="*/ 212335 h 721787"/>
                <a:gd name="connsiteX40" fmla="*/ 201636 w 731940"/>
                <a:gd name="connsiteY40" fmla="*/ 201161 h 721787"/>
                <a:gd name="connsiteX41" fmla="*/ 175268 w 731940"/>
                <a:gd name="connsiteY41" fmla="*/ 229912 h 721787"/>
                <a:gd name="connsiteX42" fmla="*/ 0 w 731940"/>
                <a:gd name="connsiteY42" fmla="*/ 316412 h 721787"/>
                <a:gd name="connsiteX43" fmla="*/ 225227 w 731940"/>
                <a:gd name="connsiteY43" fmla="*/ 2348 h 721787"/>
                <a:gd name="connsiteX44" fmla="*/ 638335 w 731940"/>
                <a:gd name="connsiteY44" fmla="*/ 96426 h 721787"/>
                <a:gd name="connsiteX45" fmla="*/ 611711 w 731940"/>
                <a:gd name="connsiteY45" fmla="*/ 586606 h 721787"/>
                <a:gd name="connsiteX46" fmla="*/ 120870 w 731940"/>
                <a:gd name="connsiteY46" fmla="*/ 645462 h 721787"/>
                <a:gd name="connsiteX47" fmla="*/ 0 w 731940"/>
                <a:gd name="connsiteY47" fmla="*/ 316412 h 721787"/>
                <a:gd name="connsiteX0" fmla="*/ 348892 w 703658"/>
                <a:gd name="connsiteY0" fmla="*/ 336207 h 721787"/>
                <a:gd name="connsiteX1" fmla="*/ 361732 w 703658"/>
                <a:gd name="connsiteY1" fmla="*/ 327684 h 721787"/>
                <a:gd name="connsiteX2" fmla="*/ 387597 w 703658"/>
                <a:gd name="connsiteY2" fmla="*/ 335171 h 721787"/>
                <a:gd name="connsiteX3" fmla="*/ 399661 w 703658"/>
                <a:gd name="connsiteY3" fmla="*/ 376238 h 721787"/>
                <a:gd name="connsiteX4" fmla="*/ 398080 w 703658"/>
                <a:gd name="connsiteY4" fmla="*/ 381318 h 721787"/>
                <a:gd name="connsiteX5" fmla="*/ 348892 w 703658"/>
                <a:gd name="connsiteY5" fmla="*/ 336207 h 721787"/>
                <a:gd name="connsiteX6" fmla="*/ 230573 w 703658"/>
                <a:gd name="connsiteY6" fmla="*/ 280633 h 721787"/>
                <a:gd name="connsiteX7" fmla="*/ 274785 w 703658"/>
                <a:gd name="connsiteY7" fmla="*/ 321179 h 721787"/>
                <a:gd name="connsiteX8" fmla="*/ 274325 w 703658"/>
                <a:gd name="connsiteY8" fmla="*/ 321295 h 721787"/>
                <a:gd name="connsiteX9" fmla="*/ 239949 w 703658"/>
                <a:gd name="connsiteY9" fmla="*/ 311427 h 721787"/>
                <a:gd name="connsiteX10" fmla="*/ 239704 w 703658"/>
                <a:gd name="connsiteY10" fmla="*/ 311718 h 721787"/>
                <a:gd name="connsiteX11" fmla="*/ 230573 w 703658"/>
                <a:gd name="connsiteY11" fmla="*/ 280633 h 721787"/>
                <a:gd name="connsiteX12" fmla="*/ 175268 w 703658"/>
                <a:gd name="connsiteY12" fmla="*/ 229912 h 721787"/>
                <a:gd name="connsiteX13" fmla="*/ 188006 w 703658"/>
                <a:gd name="connsiteY13" fmla="*/ 241594 h 721787"/>
                <a:gd name="connsiteX14" fmla="*/ 176755 w 703658"/>
                <a:gd name="connsiteY14" fmla="*/ 265044 h 721787"/>
                <a:gd name="connsiteX15" fmla="*/ 204557 w 703658"/>
                <a:gd name="connsiteY15" fmla="*/ 353364 h 721787"/>
                <a:gd name="connsiteX16" fmla="*/ 280854 w 703658"/>
                <a:gd name="connsiteY16" fmla="*/ 375786 h 721787"/>
                <a:gd name="connsiteX17" fmla="*/ 318685 w 703658"/>
                <a:gd name="connsiteY17" fmla="*/ 361439 h 721787"/>
                <a:gd name="connsiteX18" fmla="*/ 369238 w 703658"/>
                <a:gd name="connsiteY18" fmla="*/ 407802 h 721787"/>
                <a:gd name="connsiteX19" fmla="*/ 326994 w 703658"/>
                <a:gd name="connsiteY19" fmla="*/ 396621 h 721787"/>
                <a:gd name="connsiteX20" fmla="*/ 284800 w 703658"/>
                <a:gd name="connsiteY20" fmla="*/ 438470 h 721787"/>
                <a:gd name="connsiteX21" fmla="*/ 385369 w 703658"/>
                <a:gd name="connsiteY21" fmla="*/ 465009 h 721787"/>
                <a:gd name="connsiteX22" fmla="*/ 415793 w 703658"/>
                <a:gd name="connsiteY22" fmla="*/ 450496 h 721787"/>
                <a:gd name="connsiteX23" fmla="*/ 428615 w 703658"/>
                <a:gd name="connsiteY23" fmla="*/ 462256 h 721787"/>
                <a:gd name="connsiteX24" fmla="*/ 454984 w 703658"/>
                <a:gd name="connsiteY24" fmla="*/ 433504 h 721787"/>
                <a:gd name="connsiteX25" fmla="*/ 443119 w 703658"/>
                <a:gd name="connsiteY25" fmla="*/ 422622 h 721787"/>
                <a:gd name="connsiteX26" fmla="*/ 457464 w 703658"/>
                <a:gd name="connsiteY26" fmla="*/ 390037 h 721787"/>
                <a:gd name="connsiteX27" fmla="*/ 428362 w 703658"/>
                <a:gd name="connsiteY27" fmla="*/ 292001 h 721787"/>
                <a:gd name="connsiteX28" fmla="*/ 428522 w 703658"/>
                <a:gd name="connsiteY28" fmla="*/ 291814 h 721787"/>
                <a:gd name="connsiteX29" fmla="*/ 427395 w 703658"/>
                <a:gd name="connsiteY29" fmla="*/ 290986 h 721787"/>
                <a:gd name="connsiteX30" fmla="*/ 427012 w 703658"/>
                <a:gd name="connsiteY30" fmla="*/ 290584 h 721787"/>
                <a:gd name="connsiteX31" fmla="*/ 426946 w 703658"/>
                <a:gd name="connsiteY31" fmla="*/ 290656 h 721787"/>
                <a:gd name="connsiteX32" fmla="*/ 352820 w 703658"/>
                <a:gd name="connsiteY32" fmla="*/ 271623 h 721787"/>
                <a:gd name="connsiteX33" fmla="*/ 307521 w 703658"/>
                <a:gd name="connsiteY33" fmla="*/ 298267 h 721787"/>
                <a:gd name="connsiteX34" fmla="*/ 255205 w 703658"/>
                <a:gd name="connsiteY34" fmla="*/ 250288 h 721787"/>
                <a:gd name="connsiteX35" fmla="*/ 258260 w 703658"/>
                <a:gd name="connsiteY35" fmla="*/ 248969 h 721787"/>
                <a:gd name="connsiteX36" fmla="*/ 296362 w 703658"/>
                <a:gd name="connsiteY36" fmla="*/ 259024 h 721787"/>
                <a:gd name="connsiteX37" fmla="*/ 334346 w 703658"/>
                <a:gd name="connsiteY37" fmla="*/ 221351 h 721787"/>
                <a:gd name="connsiteX38" fmla="*/ 243811 w 703658"/>
                <a:gd name="connsiteY38" fmla="*/ 197460 h 721787"/>
                <a:gd name="connsiteX39" fmla="*/ 213820 w 703658"/>
                <a:gd name="connsiteY39" fmla="*/ 212335 h 721787"/>
                <a:gd name="connsiteX40" fmla="*/ 201636 w 703658"/>
                <a:gd name="connsiteY40" fmla="*/ 201161 h 721787"/>
                <a:gd name="connsiteX41" fmla="*/ 175268 w 703658"/>
                <a:gd name="connsiteY41" fmla="*/ 229912 h 721787"/>
                <a:gd name="connsiteX42" fmla="*/ 0 w 703658"/>
                <a:gd name="connsiteY42" fmla="*/ 316412 h 721787"/>
                <a:gd name="connsiteX43" fmla="*/ 225227 w 703658"/>
                <a:gd name="connsiteY43" fmla="*/ 2348 h 721787"/>
                <a:gd name="connsiteX44" fmla="*/ 638335 w 703658"/>
                <a:gd name="connsiteY44" fmla="*/ 96426 h 721787"/>
                <a:gd name="connsiteX45" fmla="*/ 611711 w 703658"/>
                <a:gd name="connsiteY45" fmla="*/ 586606 h 721787"/>
                <a:gd name="connsiteX46" fmla="*/ 120870 w 703658"/>
                <a:gd name="connsiteY46" fmla="*/ 645462 h 721787"/>
                <a:gd name="connsiteX47" fmla="*/ 0 w 703658"/>
                <a:gd name="connsiteY47" fmla="*/ 316412 h 721787"/>
                <a:gd name="connsiteX0" fmla="*/ 348892 w 712232"/>
                <a:gd name="connsiteY0" fmla="*/ 336300 h 724701"/>
                <a:gd name="connsiteX1" fmla="*/ 361732 w 712232"/>
                <a:gd name="connsiteY1" fmla="*/ 327777 h 724701"/>
                <a:gd name="connsiteX2" fmla="*/ 387597 w 712232"/>
                <a:gd name="connsiteY2" fmla="*/ 335264 h 724701"/>
                <a:gd name="connsiteX3" fmla="*/ 399661 w 712232"/>
                <a:gd name="connsiteY3" fmla="*/ 376331 h 724701"/>
                <a:gd name="connsiteX4" fmla="*/ 398080 w 712232"/>
                <a:gd name="connsiteY4" fmla="*/ 381411 h 724701"/>
                <a:gd name="connsiteX5" fmla="*/ 348892 w 712232"/>
                <a:gd name="connsiteY5" fmla="*/ 336300 h 724701"/>
                <a:gd name="connsiteX6" fmla="*/ 230573 w 712232"/>
                <a:gd name="connsiteY6" fmla="*/ 280726 h 724701"/>
                <a:gd name="connsiteX7" fmla="*/ 274785 w 712232"/>
                <a:gd name="connsiteY7" fmla="*/ 321272 h 724701"/>
                <a:gd name="connsiteX8" fmla="*/ 274325 w 712232"/>
                <a:gd name="connsiteY8" fmla="*/ 321388 h 724701"/>
                <a:gd name="connsiteX9" fmla="*/ 239949 w 712232"/>
                <a:gd name="connsiteY9" fmla="*/ 311520 h 724701"/>
                <a:gd name="connsiteX10" fmla="*/ 239704 w 712232"/>
                <a:gd name="connsiteY10" fmla="*/ 311811 h 724701"/>
                <a:gd name="connsiteX11" fmla="*/ 230573 w 712232"/>
                <a:gd name="connsiteY11" fmla="*/ 280726 h 724701"/>
                <a:gd name="connsiteX12" fmla="*/ 175268 w 712232"/>
                <a:gd name="connsiteY12" fmla="*/ 230005 h 724701"/>
                <a:gd name="connsiteX13" fmla="*/ 188006 w 712232"/>
                <a:gd name="connsiteY13" fmla="*/ 241687 h 724701"/>
                <a:gd name="connsiteX14" fmla="*/ 176755 w 712232"/>
                <a:gd name="connsiteY14" fmla="*/ 265137 h 724701"/>
                <a:gd name="connsiteX15" fmla="*/ 204557 w 712232"/>
                <a:gd name="connsiteY15" fmla="*/ 353457 h 724701"/>
                <a:gd name="connsiteX16" fmla="*/ 280854 w 712232"/>
                <a:gd name="connsiteY16" fmla="*/ 375879 h 724701"/>
                <a:gd name="connsiteX17" fmla="*/ 318685 w 712232"/>
                <a:gd name="connsiteY17" fmla="*/ 361532 h 724701"/>
                <a:gd name="connsiteX18" fmla="*/ 369238 w 712232"/>
                <a:gd name="connsiteY18" fmla="*/ 407895 h 724701"/>
                <a:gd name="connsiteX19" fmla="*/ 326994 w 712232"/>
                <a:gd name="connsiteY19" fmla="*/ 396714 h 724701"/>
                <a:gd name="connsiteX20" fmla="*/ 284800 w 712232"/>
                <a:gd name="connsiteY20" fmla="*/ 438563 h 724701"/>
                <a:gd name="connsiteX21" fmla="*/ 385369 w 712232"/>
                <a:gd name="connsiteY21" fmla="*/ 465102 h 724701"/>
                <a:gd name="connsiteX22" fmla="*/ 415793 w 712232"/>
                <a:gd name="connsiteY22" fmla="*/ 450589 h 724701"/>
                <a:gd name="connsiteX23" fmla="*/ 428615 w 712232"/>
                <a:gd name="connsiteY23" fmla="*/ 462349 h 724701"/>
                <a:gd name="connsiteX24" fmla="*/ 454984 w 712232"/>
                <a:gd name="connsiteY24" fmla="*/ 433597 h 724701"/>
                <a:gd name="connsiteX25" fmla="*/ 443119 w 712232"/>
                <a:gd name="connsiteY25" fmla="*/ 422715 h 724701"/>
                <a:gd name="connsiteX26" fmla="*/ 457464 w 712232"/>
                <a:gd name="connsiteY26" fmla="*/ 390130 h 724701"/>
                <a:gd name="connsiteX27" fmla="*/ 428362 w 712232"/>
                <a:gd name="connsiteY27" fmla="*/ 292094 h 724701"/>
                <a:gd name="connsiteX28" fmla="*/ 428522 w 712232"/>
                <a:gd name="connsiteY28" fmla="*/ 291907 h 724701"/>
                <a:gd name="connsiteX29" fmla="*/ 427395 w 712232"/>
                <a:gd name="connsiteY29" fmla="*/ 291079 h 724701"/>
                <a:gd name="connsiteX30" fmla="*/ 427012 w 712232"/>
                <a:gd name="connsiteY30" fmla="*/ 290677 h 724701"/>
                <a:gd name="connsiteX31" fmla="*/ 426946 w 712232"/>
                <a:gd name="connsiteY31" fmla="*/ 290749 h 724701"/>
                <a:gd name="connsiteX32" fmla="*/ 352820 w 712232"/>
                <a:gd name="connsiteY32" fmla="*/ 271716 h 724701"/>
                <a:gd name="connsiteX33" fmla="*/ 307521 w 712232"/>
                <a:gd name="connsiteY33" fmla="*/ 298360 h 724701"/>
                <a:gd name="connsiteX34" fmla="*/ 255205 w 712232"/>
                <a:gd name="connsiteY34" fmla="*/ 250381 h 724701"/>
                <a:gd name="connsiteX35" fmla="*/ 258260 w 712232"/>
                <a:gd name="connsiteY35" fmla="*/ 249062 h 724701"/>
                <a:gd name="connsiteX36" fmla="*/ 296362 w 712232"/>
                <a:gd name="connsiteY36" fmla="*/ 259117 h 724701"/>
                <a:gd name="connsiteX37" fmla="*/ 334346 w 712232"/>
                <a:gd name="connsiteY37" fmla="*/ 221444 h 724701"/>
                <a:gd name="connsiteX38" fmla="*/ 243811 w 712232"/>
                <a:gd name="connsiteY38" fmla="*/ 197553 h 724701"/>
                <a:gd name="connsiteX39" fmla="*/ 213820 w 712232"/>
                <a:gd name="connsiteY39" fmla="*/ 212428 h 724701"/>
                <a:gd name="connsiteX40" fmla="*/ 201636 w 712232"/>
                <a:gd name="connsiteY40" fmla="*/ 201254 h 724701"/>
                <a:gd name="connsiteX41" fmla="*/ 175268 w 712232"/>
                <a:gd name="connsiteY41" fmla="*/ 230005 h 724701"/>
                <a:gd name="connsiteX42" fmla="*/ 0 w 712232"/>
                <a:gd name="connsiteY42" fmla="*/ 316505 h 724701"/>
                <a:gd name="connsiteX43" fmla="*/ 225227 w 712232"/>
                <a:gd name="connsiteY43" fmla="*/ 2441 h 724701"/>
                <a:gd name="connsiteX44" fmla="*/ 638335 w 712232"/>
                <a:gd name="connsiteY44" fmla="*/ 96519 h 724701"/>
                <a:gd name="connsiteX45" fmla="*/ 625461 w 712232"/>
                <a:gd name="connsiteY45" fmla="*/ 592846 h 724701"/>
                <a:gd name="connsiteX46" fmla="*/ 120870 w 712232"/>
                <a:gd name="connsiteY46" fmla="*/ 645555 h 724701"/>
                <a:gd name="connsiteX47" fmla="*/ 0 w 712232"/>
                <a:gd name="connsiteY47" fmla="*/ 316505 h 724701"/>
                <a:gd name="connsiteX0" fmla="*/ 348892 w 716659"/>
                <a:gd name="connsiteY0" fmla="*/ 335530 h 723931"/>
                <a:gd name="connsiteX1" fmla="*/ 361732 w 716659"/>
                <a:gd name="connsiteY1" fmla="*/ 327007 h 723931"/>
                <a:gd name="connsiteX2" fmla="*/ 387597 w 716659"/>
                <a:gd name="connsiteY2" fmla="*/ 334494 h 723931"/>
                <a:gd name="connsiteX3" fmla="*/ 399661 w 716659"/>
                <a:gd name="connsiteY3" fmla="*/ 375561 h 723931"/>
                <a:gd name="connsiteX4" fmla="*/ 398080 w 716659"/>
                <a:gd name="connsiteY4" fmla="*/ 380641 h 723931"/>
                <a:gd name="connsiteX5" fmla="*/ 348892 w 716659"/>
                <a:gd name="connsiteY5" fmla="*/ 335530 h 723931"/>
                <a:gd name="connsiteX6" fmla="*/ 230573 w 716659"/>
                <a:gd name="connsiteY6" fmla="*/ 279956 h 723931"/>
                <a:gd name="connsiteX7" fmla="*/ 274785 w 716659"/>
                <a:gd name="connsiteY7" fmla="*/ 320502 h 723931"/>
                <a:gd name="connsiteX8" fmla="*/ 274325 w 716659"/>
                <a:gd name="connsiteY8" fmla="*/ 320618 h 723931"/>
                <a:gd name="connsiteX9" fmla="*/ 239949 w 716659"/>
                <a:gd name="connsiteY9" fmla="*/ 310750 h 723931"/>
                <a:gd name="connsiteX10" fmla="*/ 239704 w 716659"/>
                <a:gd name="connsiteY10" fmla="*/ 311041 h 723931"/>
                <a:gd name="connsiteX11" fmla="*/ 230573 w 716659"/>
                <a:gd name="connsiteY11" fmla="*/ 279956 h 723931"/>
                <a:gd name="connsiteX12" fmla="*/ 175268 w 716659"/>
                <a:gd name="connsiteY12" fmla="*/ 229235 h 723931"/>
                <a:gd name="connsiteX13" fmla="*/ 188006 w 716659"/>
                <a:gd name="connsiteY13" fmla="*/ 240917 h 723931"/>
                <a:gd name="connsiteX14" fmla="*/ 176755 w 716659"/>
                <a:gd name="connsiteY14" fmla="*/ 264367 h 723931"/>
                <a:gd name="connsiteX15" fmla="*/ 204557 w 716659"/>
                <a:gd name="connsiteY15" fmla="*/ 352687 h 723931"/>
                <a:gd name="connsiteX16" fmla="*/ 280854 w 716659"/>
                <a:gd name="connsiteY16" fmla="*/ 375109 h 723931"/>
                <a:gd name="connsiteX17" fmla="*/ 318685 w 716659"/>
                <a:gd name="connsiteY17" fmla="*/ 360762 h 723931"/>
                <a:gd name="connsiteX18" fmla="*/ 369238 w 716659"/>
                <a:gd name="connsiteY18" fmla="*/ 407125 h 723931"/>
                <a:gd name="connsiteX19" fmla="*/ 326994 w 716659"/>
                <a:gd name="connsiteY19" fmla="*/ 395944 h 723931"/>
                <a:gd name="connsiteX20" fmla="*/ 284800 w 716659"/>
                <a:gd name="connsiteY20" fmla="*/ 437793 h 723931"/>
                <a:gd name="connsiteX21" fmla="*/ 385369 w 716659"/>
                <a:gd name="connsiteY21" fmla="*/ 464332 h 723931"/>
                <a:gd name="connsiteX22" fmla="*/ 415793 w 716659"/>
                <a:gd name="connsiteY22" fmla="*/ 449819 h 723931"/>
                <a:gd name="connsiteX23" fmla="*/ 428615 w 716659"/>
                <a:gd name="connsiteY23" fmla="*/ 461579 h 723931"/>
                <a:gd name="connsiteX24" fmla="*/ 454984 w 716659"/>
                <a:gd name="connsiteY24" fmla="*/ 432827 h 723931"/>
                <a:gd name="connsiteX25" fmla="*/ 443119 w 716659"/>
                <a:gd name="connsiteY25" fmla="*/ 421945 h 723931"/>
                <a:gd name="connsiteX26" fmla="*/ 457464 w 716659"/>
                <a:gd name="connsiteY26" fmla="*/ 389360 h 723931"/>
                <a:gd name="connsiteX27" fmla="*/ 428362 w 716659"/>
                <a:gd name="connsiteY27" fmla="*/ 291324 h 723931"/>
                <a:gd name="connsiteX28" fmla="*/ 428522 w 716659"/>
                <a:gd name="connsiteY28" fmla="*/ 291137 h 723931"/>
                <a:gd name="connsiteX29" fmla="*/ 427395 w 716659"/>
                <a:gd name="connsiteY29" fmla="*/ 290309 h 723931"/>
                <a:gd name="connsiteX30" fmla="*/ 427012 w 716659"/>
                <a:gd name="connsiteY30" fmla="*/ 289907 h 723931"/>
                <a:gd name="connsiteX31" fmla="*/ 426946 w 716659"/>
                <a:gd name="connsiteY31" fmla="*/ 289979 h 723931"/>
                <a:gd name="connsiteX32" fmla="*/ 352820 w 716659"/>
                <a:gd name="connsiteY32" fmla="*/ 270946 h 723931"/>
                <a:gd name="connsiteX33" fmla="*/ 307521 w 716659"/>
                <a:gd name="connsiteY33" fmla="*/ 297590 h 723931"/>
                <a:gd name="connsiteX34" fmla="*/ 255205 w 716659"/>
                <a:gd name="connsiteY34" fmla="*/ 249611 h 723931"/>
                <a:gd name="connsiteX35" fmla="*/ 258260 w 716659"/>
                <a:gd name="connsiteY35" fmla="*/ 248292 h 723931"/>
                <a:gd name="connsiteX36" fmla="*/ 296362 w 716659"/>
                <a:gd name="connsiteY36" fmla="*/ 258347 h 723931"/>
                <a:gd name="connsiteX37" fmla="*/ 334346 w 716659"/>
                <a:gd name="connsiteY37" fmla="*/ 220674 h 723931"/>
                <a:gd name="connsiteX38" fmla="*/ 243811 w 716659"/>
                <a:gd name="connsiteY38" fmla="*/ 196783 h 723931"/>
                <a:gd name="connsiteX39" fmla="*/ 213820 w 716659"/>
                <a:gd name="connsiteY39" fmla="*/ 211658 h 723931"/>
                <a:gd name="connsiteX40" fmla="*/ 201636 w 716659"/>
                <a:gd name="connsiteY40" fmla="*/ 200484 h 723931"/>
                <a:gd name="connsiteX41" fmla="*/ 175268 w 716659"/>
                <a:gd name="connsiteY41" fmla="*/ 229235 h 723931"/>
                <a:gd name="connsiteX42" fmla="*/ 0 w 716659"/>
                <a:gd name="connsiteY42" fmla="*/ 315735 h 723931"/>
                <a:gd name="connsiteX43" fmla="*/ 225227 w 716659"/>
                <a:gd name="connsiteY43" fmla="*/ 1671 h 723931"/>
                <a:gd name="connsiteX44" fmla="*/ 638335 w 716659"/>
                <a:gd name="connsiteY44" fmla="*/ 95749 h 723931"/>
                <a:gd name="connsiteX45" fmla="*/ 625461 w 716659"/>
                <a:gd name="connsiteY45" fmla="*/ 592076 h 723931"/>
                <a:gd name="connsiteX46" fmla="*/ 120870 w 716659"/>
                <a:gd name="connsiteY46" fmla="*/ 644785 h 723931"/>
                <a:gd name="connsiteX47" fmla="*/ 0 w 716659"/>
                <a:gd name="connsiteY47" fmla="*/ 315735 h 723931"/>
                <a:gd name="connsiteX0" fmla="*/ 348892 w 734416"/>
                <a:gd name="connsiteY0" fmla="*/ 334428 h 722829"/>
                <a:gd name="connsiteX1" fmla="*/ 361732 w 734416"/>
                <a:gd name="connsiteY1" fmla="*/ 325905 h 722829"/>
                <a:gd name="connsiteX2" fmla="*/ 387597 w 734416"/>
                <a:gd name="connsiteY2" fmla="*/ 333392 h 722829"/>
                <a:gd name="connsiteX3" fmla="*/ 399661 w 734416"/>
                <a:gd name="connsiteY3" fmla="*/ 374459 h 722829"/>
                <a:gd name="connsiteX4" fmla="*/ 398080 w 734416"/>
                <a:gd name="connsiteY4" fmla="*/ 379539 h 722829"/>
                <a:gd name="connsiteX5" fmla="*/ 348892 w 734416"/>
                <a:gd name="connsiteY5" fmla="*/ 334428 h 722829"/>
                <a:gd name="connsiteX6" fmla="*/ 230573 w 734416"/>
                <a:gd name="connsiteY6" fmla="*/ 278854 h 722829"/>
                <a:gd name="connsiteX7" fmla="*/ 274785 w 734416"/>
                <a:gd name="connsiteY7" fmla="*/ 319400 h 722829"/>
                <a:gd name="connsiteX8" fmla="*/ 274325 w 734416"/>
                <a:gd name="connsiteY8" fmla="*/ 319516 h 722829"/>
                <a:gd name="connsiteX9" fmla="*/ 239949 w 734416"/>
                <a:gd name="connsiteY9" fmla="*/ 309648 h 722829"/>
                <a:gd name="connsiteX10" fmla="*/ 239704 w 734416"/>
                <a:gd name="connsiteY10" fmla="*/ 309939 h 722829"/>
                <a:gd name="connsiteX11" fmla="*/ 230573 w 734416"/>
                <a:gd name="connsiteY11" fmla="*/ 278854 h 722829"/>
                <a:gd name="connsiteX12" fmla="*/ 175268 w 734416"/>
                <a:gd name="connsiteY12" fmla="*/ 228133 h 722829"/>
                <a:gd name="connsiteX13" fmla="*/ 188006 w 734416"/>
                <a:gd name="connsiteY13" fmla="*/ 239815 h 722829"/>
                <a:gd name="connsiteX14" fmla="*/ 176755 w 734416"/>
                <a:gd name="connsiteY14" fmla="*/ 263265 h 722829"/>
                <a:gd name="connsiteX15" fmla="*/ 204557 w 734416"/>
                <a:gd name="connsiteY15" fmla="*/ 351585 h 722829"/>
                <a:gd name="connsiteX16" fmla="*/ 280854 w 734416"/>
                <a:gd name="connsiteY16" fmla="*/ 374007 h 722829"/>
                <a:gd name="connsiteX17" fmla="*/ 318685 w 734416"/>
                <a:gd name="connsiteY17" fmla="*/ 359660 h 722829"/>
                <a:gd name="connsiteX18" fmla="*/ 369238 w 734416"/>
                <a:gd name="connsiteY18" fmla="*/ 406023 h 722829"/>
                <a:gd name="connsiteX19" fmla="*/ 326994 w 734416"/>
                <a:gd name="connsiteY19" fmla="*/ 394842 h 722829"/>
                <a:gd name="connsiteX20" fmla="*/ 284800 w 734416"/>
                <a:gd name="connsiteY20" fmla="*/ 436691 h 722829"/>
                <a:gd name="connsiteX21" fmla="*/ 385369 w 734416"/>
                <a:gd name="connsiteY21" fmla="*/ 463230 h 722829"/>
                <a:gd name="connsiteX22" fmla="*/ 415793 w 734416"/>
                <a:gd name="connsiteY22" fmla="*/ 448717 h 722829"/>
                <a:gd name="connsiteX23" fmla="*/ 428615 w 734416"/>
                <a:gd name="connsiteY23" fmla="*/ 460477 h 722829"/>
                <a:gd name="connsiteX24" fmla="*/ 454984 w 734416"/>
                <a:gd name="connsiteY24" fmla="*/ 431725 h 722829"/>
                <a:gd name="connsiteX25" fmla="*/ 443119 w 734416"/>
                <a:gd name="connsiteY25" fmla="*/ 420843 h 722829"/>
                <a:gd name="connsiteX26" fmla="*/ 457464 w 734416"/>
                <a:gd name="connsiteY26" fmla="*/ 388258 h 722829"/>
                <a:gd name="connsiteX27" fmla="*/ 428362 w 734416"/>
                <a:gd name="connsiteY27" fmla="*/ 290222 h 722829"/>
                <a:gd name="connsiteX28" fmla="*/ 428522 w 734416"/>
                <a:gd name="connsiteY28" fmla="*/ 290035 h 722829"/>
                <a:gd name="connsiteX29" fmla="*/ 427395 w 734416"/>
                <a:gd name="connsiteY29" fmla="*/ 289207 h 722829"/>
                <a:gd name="connsiteX30" fmla="*/ 427012 w 734416"/>
                <a:gd name="connsiteY30" fmla="*/ 288805 h 722829"/>
                <a:gd name="connsiteX31" fmla="*/ 426946 w 734416"/>
                <a:gd name="connsiteY31" fmla="*/ 288877 h 722829"/>
                <a:gd name="connsiteX32" fmla="*/ 352820 w 734416"/>
                <a:gd name="connsiteY32" fmla="*/ 269844 h 722829"/>
                <a:gd name="connsiteX33" fmla="*/ 307521 w 734416"/>
                <a:gd name="connsiteY33" fmla="*/ 296488 h 722829"/>
                <a:gd name="connsiteX34" fmla="*/ 255205 w 734416"/>
                <a:gd name="connsiteY34" fmla="*/ 248509 h 722829"/>
                <a:gd name="connsiteX35" fmla="*/ 258260 w 734416"/>
                <a:gd name="connsiteY35" fmla="*/ 247190 h 722829"/>
                <a:gd name="connsiteX36" fmla="*/ 296362 w 734416"/>
                <a:gd name="connsiteY36" fmla="*/ 257245 h 722829"/>
                <a:gd name="connsiteX37" fmla="*/ 334346 w 734416"/>
                <a:gd name="connsiteY37" fmla="*/ 219572 h 722829"/>
                <a:gd name="connsiteX38" fmla="*/ 243811 w 734416"/>
                <a:gd name="connsiteY38" fmla="*/ 195681 h 722829"/>
                <a:gd name="connsiteX39" fmla="*/ 213820 w 734416"/>
                <a:gd name="connsiteY39" fmla="*/ 210556 h 722829"/>
                <a:gd name="connsiteX40" fmla="*/ 201636 w 734416"/>
                <a:gd name="connsiteY40" fmla="*/ 199382 h 722829"/>
                <a:gd name="connsiteX41" fmla="*/ 175268 w 734416"/>
                <a:gd name="connsiteY41" fmla="*/ 228133 h 722829"/>
                <a:gd name="connsiteX42" fmla="*/ 0 w 734416"/>
                <a:gd name="connsiteY42" fmla="*/ 314633 h 722829"/>
                <a:gd name="connsiteX43" fmla="*/ 225227 w 734416"/>
                <a:gd name="connsiteY43" fmla="*/ 569 h 722829"/>
                <a:gd name="connsiteX44" fmla="*/ 674161 w 734416"/>
                <a:gd name="connsiteY44" fmla="*/ 143659 h 722829"/>
                <a:gd name="connsiteX45" fmla="*/ 625461 w 734416"/>
                <a:gd name="connsiteY45" fmla="*/ 590974 h 722829"/>
                <a:gd name="connsiteX46" fmla="*/ 120870 w 734416"/>
                <a:gd name="connsiteY46" fmla="*/ 643683 h 722829"/>
                <a:gd name="connsiteX47" fmla="*/ 0 w 734416"/>
                <a:gd name="connsiteY47" fmla="*/ 314633 h 722829"/>
                <a:gd name="connsiteX0" fmla="*/ 348892 w 734000"/>
                <a:gd name="connsiteY0" fmla="*/ 334499 h 722900"/>
                <a:gd name="connsiteX1" fmla="*/ 361732 w 734000"/>
                <a:gd name="connsiteY1" fmla="*/ 325976 h 722900"/>
                <a:gd name="connsiteX2" fmla="*/ 387597 w 734000"/>
                <a:gd name="connsiteY2" fmla="*/ 333463 h 722900"/>
                <a:gd name="connsiteX3" fmla="*/ 399661 w 734000"/>
                <a:gd name="connsiteY3" fmla="*/ 374530 h 722900"/>
                <a:gd name="connsiteX4" fmla="*/ 398080 w 734000"/>
                <a:gd name="connsiteY4" fmla="*/ 379610 h 722900"/>
                <a:gd name="connsiteX5" fmla="*/ 348892 w 734000"/>
                <a:gd name="connsiteY5" fmla="*/ 334499 h 722900"/>
                <a:gd name="connsiteX6" fmla="*/ 230573 w 734000"/>
                <a:gd name="connsiteY6" fmla="*/ 278925 h 722900"/>
                <a:gd name="connsiteX7" fmla="*/ 274785 w 734000"/>
                <a:gd name="connsiteY7" fmla="*/ 319471 h 722900"/>
                <a:gd name="connsiteX8" fmla="*/ 274325 w 734000"/>
                <a:gd name="connsiteY8" fmla="*/ 319587 h 722900"/>
                <a:gd name="connsiteX9" fmla="*/ 239949 w 734000"/>
                <a:gd name="connsiteY9" fmla="*/ 309719 h 722900"/>
                <a:gd name="connsiteX10" fmla="*/ 239704 w 734000"/>
                <a:gd name="connsiteY10" fmla="*/ 310010 h 722900"/>
                <a:gd name="connsiteX11" fmla="*/ 230573 w 734000"/>
                <a:gd name="connsiteY11" fmla="*/ 278925 h 722900"/>
                <a:gd name="connsiteX12" fmla="*/ 175268 w 734000"/>
                <a:gd name="connsiteY12" fmla="*/ 228204 h 722900"/>
                <a:gd name="connsiteX13" fmla="*/ 188006 w 734000"/>
                <a:gd name="connsiteY13" fmla="*/ 239886 h 722900"/>
                <a:gd name="connsiteX14" fmla="*/ 176755 w 734000"/>
                <a:gd name="connsiteY14" fmla="*/ 263336 h 722900"/>
                <a:gd name="connsiteX15" fmla="*/ 204557 w 734000"/>
                <a:gd name="connsiteY15" fmla="*/ 351656 h 722900"/>
                <a:gd name="connsiteX16" fmla="*/ 280854 w 734000"/>
                <a:gd name="connsiteY16" fmla="*/ 374078 h 722900"/>
                <a:gd name="connsiteX17" fmla="*/ 318685 w 734000"/>
                <a:gd name="connsiteY17" fmla="*/ 359731 h 722900"/>
                <a:gd name="connsiteX18" fmla="*/ 369238 w 734000"/>
                <a:gd name="connsiteY18" fmla="*/ 406094 h 722900"/>
                <a:gd name="connsiteX19" fmla="*/ 326994 w 734000"/>
                <a:gd name="connsiteY19" fmla="*/ 394913 h 722900"/>
                <a:gd name="connsiteX20" fmla="*/ 284800 w 734000"/>
                <a:gd name="connsiteY20" fmla="*/ 436762 h 722900"/>
                <a:gd name="connsiteX21" fmla="*/ 385369 w 734000"/>
                <a:gd name="connsiteY21" fmla="*/ 463301 h 722900"/>
                <a:gd name="connsiteX22" fmla="*/ 415793 w 734000"/>
                <a:gd name="connsiteY22" fmla="*/ 448788 h 722900"/>
                <a:gd name="connsiteX23" fmla="*/ 428615 w 734000"/>
                <a:gd name="connsiteY23" fmla="*/ 460548 h 722900"/>
                <a:gd name="connsiteX24" fmla="*/ 454984 w 734000"/>
                <a:gd name="connsiteY24" fmla="*/ 431796 h 722900"/>
                <a:gd name="connsiteX25" fmla="*/ 443119 w 734000"/>
                <a:gd name="connsiteY25" fmla="*/ 420914 h 722900"/>
                <a:gd name="connsiteX26" fmla="*/ 457464 w 734000"/>
                <a:gd name="connsiteY26" fmla="*/ 388329 h 722900"/>
                <a:gd name="connsiteX27" fmla="*/ 428362 w 734000"/>
                <a:gd name="connsiteY27" fmla="*/ 290293 h 722900"/>
                <a:gd name="connsiteX28" fmla="*/ 428522 w 734000"/>
                <a:gd name="connsiteY28" fmla="*/ 290106 h 722900"/>
                <a:gd name="connsiteX29" fmla="*/ 427395 w 734000"/>
                <a:gd name="connsiteY29" fmla="*/ 289278 h 722900"/>
                <a:gd name="connsiteX30" fmla="*/ 427012 w 734000"/>
                <a:gd name="connsiteY30" fmla="*/ 288876 h 722900"/>
                <a:gd name="connsiteX31" fmla="*/ 426946 w 734000"/>
                <a:gd name="connsiteY31" fmla="*/ 288948 h 722900"/>
                <a:gd name="connsiteX32" fmla="*/ 352820 w 734000"/>
                <a:gd name="connsiteY32" fmla="*/ 269915 h 722900"/>
                <a:gd name="connsiteX33" fmla="*/ 307521 w 734000"/>
                <a:gd name="connsiteY33" fmla="*/ 296559 h 722900"/>
                <a:gd name="connsiteX34" fmla="*/ 255205 w 734000"/>
                <a:gd name="connsiteY34" fmla="*/ 248580 h 722900"/>
                <a:gd name="connsiteX35" fmla="*/ 258260 w 734000"/>
                <a:gd name="connsiteY35" fmla="*/ 247261 h 722900"/>
                <a:gd name="connsiteX36" fmla="*/ 296362 w 734000"/>
                <a:gd name="connsiteY36" fmla="*/ 257316 h 722900"/>
                <a:gd name="connsiteX37" fmla="*/ 334346 w 734000"/>
                <a:gd name="connsiteY37" fmla="*/ 219643 h 722900"/>
                <a:gd name="connsiteX38" fmla="*/ 243811 w 734000"/>
                <a:gd name="connsiteY38" fmla="*/ 195752 h 722900"/>
                <a:gd name="connsiteX39" fmla="*/ 213820 w 734000"/>
                <a:gd name="connsiteY39" fmla="*/ 210627 h 722900"/>
                <a:gd name="connsiteX40" fmla="*/ 201636 w 734000"/>
                <a:gd name="connsiteY40" fmla="*/ 199453 h 722900"/>
                <a:gd name="connsiteX41" fmla="*/ 175268 w 734000"/>
                <a:gd name="connsiteY41" fmla="*/ 228204 h 722900"/>
                <a:gd name="connsiteX42" fmla="*/ 0 w 734000"/>
                <a:gd name="connsiteY42" fmla="*/ 314704 h 722900"/>
                <a:gd name="connsiteX43" fmla="*/ 225227 w 734000"/>
                <a:gd name="connsiteY43" fmla="*/ 640 h 722900"/>
                <a:gd name="connsiteX44" fmla="*/ 674161 w 734000"/>
                <a:gd name="connsiteY44" fmla="*/ 143730 h 722900"/>
                <a:gd name="connsiteX45" fmla="*/ 625461 w 734000"/>
                <a:gd name="connsiteY45" fmla="*/ 591045 h 722900"/>
                <a:gd name="connsiteX46" fmla="*/ 120870 w 734000"/>
                <a:gd name="connsiteY46" fmla="*/ 643754 h 722900"/>
                <a:gd name="connsiteX47" fmla="*/ 0 w 734000"/>
                <a:gd name="connsiteY47" fmla="*/ 314704 h 722900"/>
                <a:gd name="connsiteX0" fmla="*/ 348892 w 734000"/>
                <a:gd name="connsiteY0" fmla="*/ 334499 h 722205"/>
                <a:gd name="connsiteX1" fmla="*/ 361732 w 734000"/>
                <a:gd name="connsiteY1" fmla="*/ 325976 h 722205"/>
                <a:gd name="connsiteX2" fmla="*/ 387597 w 734000"/>
                <a:gd name="connsiteY2" fmla="*/ 333463 h 722205"/>
                <a:gd name="connsiteX3" fmla="*/ 399661 w 734000"/>
                <a:gd name="connsiteY3" fmla="*/ 374530 h 722205"/>
                <a:gd name="connsiteX4" fmla="*/ 398080 w 734000"/>
                <a:gd name="connsiteY4" fmla="*/ 379610 h 722205"/>
                <a:gd name="connsiteX5" fmla="*/ 348892 w 734000"/>
                <a:gd name="connsiteY5" fmla="*/ 334499 h 722205"/>
                <a:gd name="connsiteX6" fmla="*/ 230573 w 734000"/>
                <a:gd name="connsiteY6" fmla="*/ 278925 h 722205"/>
                <a:gd name="connsiteX7" fmla="*/ 274785 w 734000"/>
                <a:gd name="connsiteY7" fmla="*/ 319471 h 722205"/>
                <a:gd name="connsiteX8" fmla="*/ 274325 w 734000"/>
                <a:gd name="connsiteY8" fmla="*/ 319587 h 722205"/>
                <a:gd name="connsiteX9" fmla="*/ 239949 w 734000"/>
                <a:gd name="connsiteY9" fmla="*/ 309719 h 722205"/>
                <a:gd name="connsiteX10" fmla="*/ 239704 w 734000"/>
                <a:gd name="connsiteY10" fmla="*/ 310010 h 722205"/>
                <a:gd name="connsiteX11" fmla="*/ 230573 w 734000"/>
                <a:gd name="connsiteY11" fmla="*/ 278925 h 722205"/>
                <a:gd name="connsiteX12" fmla="*/ 175268 w 734000"/>
                <a:gd name="connsiteY12" fmla="*/ 228204 h 722205"/>
                <a:gd name="connsiteX13" fmla="*/ 188006 w 734000"/>
                <a:gd name="connsiteY13" fmla="*/ 239886 h 722205"/>
                <a:gd name="connsiteX14" fmla="*/ 176755 w 734000"/>
                <a:gd name="connsiteY14" fmla="*/ 263336 h 722205"/>
                <a:gd name="connsiteX15" fmla="*/ 204557 w 734000"/>
                <a:gd name="connsiteY15" fmla="*/ 351656 h 722205"/>
                <a:gd name="connsiteX16" fmla="*/ 280854 w 734000"/>
                <a:gd name="connsiteY16" fmla="*/ 374078 h 722205"/>
                <a:gd name="connsiteX17" fmla="*/ 318685 w 734000"/>
                <a:gd name="connsiteY17" fmla="*/ 359731 h 722205"/>
                <a:gd name="connsiteX18" fmla="*/ 369238 w 734000"/>
                <a:gd name="connsiteY18" fmla="*/ 406094 h 722205"/>
                <a:gd name="connsiteX19" fmla="*/ 326994 w 734000"/>
                <a:gd name="connsiteY19" fmla="*/ 394913 h 722205"/>
                <a:gd name="connsiteX20" fmla="*/ 284800 w 734000"/>
                <a:gd name="connsiteY20" fmla="*/ 436762 h 722205"/>
                <a:gd name="connsiteX21" fmla="*/ 385369 w 734000"/>
                <a:gd name="connsiteY21" fmla="*/ 463301 h 722205"/>
                <a:gd name="connsiteX22" fmla="*/ 415793 w 734000"/>
                <a:gd name="connsiteY22" fmla="*/ 448788 h 722205"/>
                <a:gd name="connsiteX23" fmla="*/ 428615 w 734000"/>
                <a:gd name="connsiteY23" fmla="*/ 460548 h 722205"/>
                <a:gd name="connsiteX24" fmla="*/ 454984 w 734000"/>
                <a:gd name="connsiteY24" fmla="*/ 431796 h 722205"/>
                <a:gd name="connsiteX25" fmla="*/ 443119 w 734000"/>
                <a:gd name="connsiteY25" fmla="*/ 420914 h 722205"/>
                <a:gd name="connsiteX26" fmla="*/ 457464 w 734000"/>
                <a:gd name="connsiteY26" fmla="*/ 388329 h 722205"/>
                <a:gd name="connsiteX27" fmla="*/ 428362 w 734000"/>
                <a:gd name="connsiteY27" fmla="*/ 290293 h 722205"/>
                <a:gd name="connsiteX28" fmla="*/ 428522 w 734000"/>
                <a:gd name="connsiteY28" fmla="*/ 290106 h 722205"/>
                <a:gd name="connsiteX29" fmla="*/ 427395 w 734000"/>
                <a:gd name="connsiteY29" fmla="*/ 289278 h 722205"/>
                <a:gd name="connsiteX30" fmla="*/ 427012 w 734000"/>
                <a:gd name="connsiteY30" fmla="*/ 288876 h 722205"/>
                <a:gd name="connsiteX31" fmla="*/ 426946 w 734000"/>
                <a:gd name="connsiteY31" fmla="*/ 288948 h 722205"/>
                <a:gd name="connsiteX32" fmla="*/ 352820 w 734000"/>
                <a:gd name="connsiteY32" fmla="*/ 269915 h 722205"/>
                <a:gd name="connsiteX33" fmla="*/ 307521 w 734000"/>
                <a:gd name="connsiteY33" fmla="*/ 296559 h 722205"/>
                <a:gd name="connsiteX34" fmla="*/ 255205 w 734000"/>
                <a:gd name="connsiteY34" fmla="*/ 248580 h 722205"/>
                <a:gd name="connsiteX35" fmla="*/ 258260 w 734000"/>
                <a:gd name="connsiteY35" fmla="*/ 247261 h 722205"/>
                <a:gd name="connsiteX36" fmla="*/ 296362 w 734000"/>
                <a:gd name="connsiteY36" fmla="*/ 257316 h 722205"/>
                <a:gd name="connsiteX37" fmla="*/ 334346 w 734000"/>
                <a:gd name="connsiteY37" fmla="*/ 219643 h 722205"/>
                <a:gd name="connsiteX38" fmla="*/ 243811 w 734000"/>
                <a:gd name="connsiteY38" fmla="*/ 195752 h 722205"/>
                <a:gd name="connsiteX39" fmla="*/ 213820 w 734000"/>
                <a:gd name="connsiteY39" fmla="*/ 210627 h 722205"/>
                <a:gd name="connsiteX40" fmla="*/ 201636 w 734000"/>
                <a:gd name="connsiteY40" fmla="*/ 199453 h 722205"/>
                <a:gd name="connsiteX41" fmla="*/ 175268 w 734000"/>
                <a:gd name="connsiteY41" fmla="*/ 228204 h 722205"/>
                <a:gd name="connsiteX42" fmla="*/ 0 w 734000"/>
                <a:gd name="connsiteY42" fmla="*/ 314704 h 722205"/>
                <a:gd name="connsiteX43" fmla="*/ 225227 w 734000"/>
                <a:gd name="connsiteY43" fmla="*/ 640 h 722205"/>
                <a:gd name="connsiteX44" fmla="*/ 674161 w 734000"/>
                <a:gd name="connsiteY44" fmla="*/ 143730 h 722205"/>
                <a:gd name="connsiteX45" fmla="*/ 625461 w 734000"/>
                <a:gd name="connsiteY45" fmla="*/ 591045 h 722205"/>
                <a:gd name="connsiteX46" fmla="*/ 151149 w 734000"/>
                <a:gd name="connsiteY46" fmla="*/ 642445 h 722205"/>
                <a:gd name="connsiteX47" fmla="*/ 0 w 734000"/>
                <a:gd name="connsiteY47" fmla="*/ 314704 h 722205"/>
                <a:gd name="connsiteX0" fmla="*/ 348892 w 734000"/>
                <a:gd name="connsiteY0" fmla="*/ 334499 h 722205"/>
                <a:gd name="connsiteX1" fmla="*/ 361732 w 734000"/>
                <a:gd name="connsiteY1" fmla="*/ 325976 h 722205"/>
                <a:gd name="connsiteX2" fmla="*/ 387597 w 734000"/>
                <a:gd name="connsiteY2" fmla="*/ 333463 h 722205"/>
                <a:gd name="connsiteX3" fmla="*/ 399661 w 734000"/>
                <a:gd name="connsiteY3" fmla="*/ 374530 h 722205"/>
                <a:gd name="connsiteX4" fmla="*/ 398080 w 734000"/>
                <a:gd name="connsiteY4" fmla="*/ 379610 h 722205"/>
                <a:gd name="connsiteX5" fmla="*/ 348892 w 734000"/>
                <a:gd name="connsiteY5" fmla="*/ 334499 h 722205"/>
                <a:gd name="connsiteX6" fmla="*/ 230573 w 734000"/>
                <a:gd name="connsiteY6" fmla="*/ 278925 h 722205"/>
                <a:gd name="connsiteX7" fmla="*/ 274785 w 734000"/>
                <a:gd name="connsiteY7" fmla="*/ 319471 h 722205"/>
                <a:gd name="connsiteX8" fmla="*/ 274325 w 734000"/>
                <a:gd name="connsiteY8" fmla="*/ 319587 h 722205"/>
                <a:gd name="connsiteX9" fmla="*/ 239949 w 734000"/>
                <a:gd name="connsiteY9" fmla="*/ 309719 h 722205"/>
                <a:gd name="connsiteX10" fmla="*/ 239704 w 734000"/>
                <a:gd name="connsiteY10" fmla="*/ 310010 h 722205"/>
                <a:gd name="connsiteX11" fmla="*/ 230573 w 734000"/>
                <a:gd name="connsiteY11" fmla="*/ 278925 h 722205"/>
                <a:gd name="connsiteX12" fmla="*/ 175268 w 734000"/>
                <a:gd name="connsiteY12" fmla="*/ 228204 h 722205"/>
                <a:gd name="connsiteX13" fmla="*/ 188006 w 734000"/>
                <a:gd name="connsiteY13" fmla="*/ 239886 h 722205"/>
                <a:gd name="connsiteX14" fmla="*/ 176755 w 734000"/>
                <a:gd name="connsiteY14" fmla="*/ 263336 h 722205"/>
                <a:gd name="connsiteX15" fmla="*/ 204557 w 734000"/>
                <a:gd name="connsiteY15" fmla="*/ 351656 h 722205"/>
                <a:gd name="connsiteX16" fmla="*/ 280854 w 734000"/>
                <a:gd name="connsiteY16" fmla="*/ 374078 h 722205"/>
                <a:gd name="connsiteX17" fmla="*/ 318685 w 734000"/>
                <a:gd name="connsiteY17" fmla="*/ 359731 h 722205"/>
                <a:gd name="connsiteX18" fmla="*/ 369238 w 734000"/>
                <a:gd name="connsiteY18" fmla="*/ 406094 h 722205"/>
                <a:gd name="connsiteX19" fmla="*/ 326994 w 734000"/>
                <a:gd name="connsiteY19" fmla="*/ 394913 h 722205"/>
                <a:gd name="connsiteX20" fmla="*/ 284800 w 734000"/>
                <a:gd name="connsiteY20" fmla="*/ 436762 h 722205"/>
                <a:gd name="connsiteX21" fmla="*/ 385369 w 734000"/>
                <a:gd name="connsiteY21" fmla="*/ 463301 h 722205"/>
                <a:gd name="connsiteX22" fmla="*/ 415793 w 734000"/>
                <a:gd name="connsiteY22" fmla="*/ 448788 h 722205"/>
                <a:gd name="connsiteX23" fmla="*/ 428615 w 734000"/>
                <a:gd name="connsiteY23" fmla="*/ 460548 h 722205"/>
                <a:gd name="connsiteX24" fmla="*/ 454984 w 734000"/>
                <a:gd name="connsiteY24" fmla="*/ 431796 h 722205"/>
                <a:gd name="connsiteX25" fmla="*/ 443119 w 734000"/>
                <a:gd name="connsiteY25" fmla="*/ 420914 h 722205"/>
                <a:gd name="connsiteX26" fmla="*/ 457464 w 734000"/>
                <a:gd name="connsiteY26" fmla="*/ 388329 h 722205"/>
                <a:gd name="connsiteX27" fmla="*/ 428362 w 734000"/>
                <a:gd name="connsiteY27" fmla="*/ 290293 h 722205"/>
                <a:gd name="connsiteX28" fmla="*/ 428522 w 734000"/>
                <a:gd name="connsiteY28" fmla="*/ 290106 h 722205"/>
                <a:gd name="connsiteX29" fmla="*/ 427395 w 734000"/>
                <a:gd name="connsiteY29" fmla="*/ 289278 h 722205"/>
                <a:gd name="connsiteX30" fmla="*/ 427012 w 734000"/>
                <a:gd name="connsiteY30" fmla="*/ 288876 h 722205"/>
                <a:gd name="connsiteX31" fmla="*/ 426946 w 734000"/>
                <a:gd name="connsiteY31" fmla="*/ 288948 h 722205"/>
                <a:gd name="connsiteX32" fmla="*/ 352820 w 734000"/>
                <a:gd name="connsiteY32" fmla="*/ 269915 h 722205"/>
                <a:gd name="connsiteX33" fmla="*/ 307521 w 734000"/>
                <a:gd name="connsiteY33" fmla="*/ 296559 h 722205"/>
                <a:gd name="connsiteX34" fmla="*/ 255205 w 734000"/>
                <a:gd name="connsiteY34" fmla="*/ 248580 h 722205"/>
                <a:gd name="connsiteX35" fmla="*/ 258260 w 734000"/>
                <a:gd name="connsiteY35" fmla="*/ 247261 h 722205"/>
                <a:gd name="connsiteX36" fmla="*/ 296362 w 734000"/>
                <a:gd name="connsiteY36" fmla="*/ 257316 h 722205"/>
                <a:gd name="connsiteX37" fmla="*/ 334346 w 734000"/>
                <a:gd name="connsiteY37" fmla="*/ 219643 h 722205"/>
                <a:gd name="connsiteX38" fmla="*/ 243811 w 734000"/>
                <a:gd name="connsiteY38" fmla="*/ 195752 h 722205"/>
                <a:gd name="connsiteX39" fmla="*/ 213820 w 734000"/>
                <a:gd name="connsiteY39" fmla="*/ 210627 h 722205"/>
                <a:gd name="connsiteX40" fmla="*/ 201636 w 734000"/>
                <a:gd name="connsiteY40" fmla="*/ 199453 h 722205"/>
                <a:gd name="connsiteX41" fmla="*/ 175268 w 734000"/>
                <a:gd name="connsiteY41" fmla="*/ 228204 h 722205"/>
                <a:gd name="connsiteX42" fmla="*/ 0 w 734000"/>
                <a:gd name="connsiteY42" fmla="*/ 314704 h 722205"/>
                <a:gd name="connsiteX43" fmla="*/ 225227 w 734000"/>
                <a:gd name="connsiteY43" fmla="*/ 640 h 722205"/>
                <a:gd name="connsiteX44" fmla="*/ 674161 w 734000"/>
                <a:gd name="connsiteY44" fmla="*/ 143730 h 722205"/>
                <a:gd name="connsiteX45" fmla="*/ 625461 w 734000"/>
                <a:gd name="connsiteY45" fmla="*/ 591045 h 722205"/>
                <a:gd name="connsiteX46" fmla="*/ 151149 w 734000"/>
                <a:gd name="connsiteY46" fmla="*/ 642445 h 722205"/>
                <a:gd name="connsiteX47" fmla="*/ 0 w 734000"/>
                <a:gd name="connsiteY47" fmla="*/ 314704 h 722205"/>
                <a:gd name="connsiteX0" fmla="*/ 348892 w 734000"/>
                <a:gd name="connsiteY0" fmla="*/ 334499 h 725930"/>
                <a:gd name="connsiteX1" fmla="*/ 361732 w 734000"/>
                <a:gd name="connsiteY1" fmla="*/ 325976 h 725930"/>
                <a:gd name="connsiteX2" fmla="*/ 387597 w 734000"/>
                <a:gd name="connsiteY2" fmla="*/ 333463 h 725930"/>
                <a:gd name="connsiteX3" fmla="*/ 399661 w 734000"/>
                <a:gd name="connsiteY3" fmla="*/ 374530 h 725930"/>
                <a:gd name="connsiteX4" fmla="*/ 398080 w 734000"/>
                <a:gd name="connsiteY4" fmla="*/ 379610 h 725930"/>
                <a:gd name="connsiteX5" fmla="*/ 348892 w 734000"/>
                <a:gd name="connsiteY5" fmla="*/ 334499 h 725930"/>
                <a:gd name="connsiteX6" fmla="*/ 230573 w 734000"/>
                <a:gd name="connsiteY6" fmla="*/ 278925 h 725930"/>
                <a:gd name="connsiteX7" fmla="*/ 274785 w 734000"/>
                <a:gd name="connsiteY7" fmla="*/ 319471 h 725930"/>
                <a:gd name="connsiteX8" fmla="*/ 274325 w 734000"/>
                <a:gd name="connsiteY8" fmla="*/ 319587 h 725930"/>
                <a:gd name="connsiteX9" fmla="*/ 239949 w 734000"/>
                <a:gd name="connsiteY9" fmla="*/ 309719 h 725930"/>
                <a:gd name="connsiteX10" fmla="*/ 239704 w 734000"/>
                <a:gd name="connsiteY10" fmla="*/ 310010 h 725930"/>
                <a:gd name="connsiteX11" fmla="*/ 230573 w 734000"/>
                <a:gd name="connsiteY11" fmla="*/ 278925 h 725930"/>
                <a:gd name="connsiteX12" fmla="*/ 175268 w 734000"/>
                <a:gd name="connsiteY12" fmla="*/ 228204 h 725930"/>
                <a:gd name="connsiteX13" fmla="*/ 188006 w 734000"/>
                <a:gd name="connsiteY13" fmla="*/ 239886 h 725930"/>
                <a:gd name="connsiteX14" fmla="*/ 176755 w 734000"/>
                <a:gd name="connsiteY14" fmla="*/ 263336 h 725930"/>
                <a:gd name="connsiteX15" fmla="*/ 204557 w 734000"/>
                <a:gd name="connsiteY15" fmla="*/ 351656 h 725930"/>
                <a:gd name="connsiteX16" fmla="*/ 280854 w 734000"/>
                <a:gd name="connsiteY16" fmla="*/ 374078 h 725930"/>
                <a:gd name="connsiteX17" fmla="*/ 318685 w 734000"/>
                <a:gd name="connsiteY17" fmla="*/ 359731 h 725930"/>
                <a:gd name="connsiteX18" fmla="*/ 369238 w 734000"/>
                <a:gd name="connsiteY18" fmla="*/ 406094 h 725930"/>
                <a:gd name="connsiteX19" fmla="*/ 326994 w 734000"/>
                <a:gd name="connsiteY19" fmla="*/ 394913 h 725930"/>
                <a:gd name="connsiteX20" fmla="*/ 284800 w 734000"/>
                <a:gd name="connsiteY20" fmla="*/ 436762 h 725930"/>
                <a:gd name="connsiteX21" fmla="*/ 385369 w 734000"/>
                <a:gd name="connsiteY21" fmla="*/ 463301 h 725930"/>
                <a:gd name="connsiteX22" fmla="*/ 415793 w 734000"/>
                <a:gd name="connsiteY22" fmla="*/ 448788 h 725930"/>
                <a:gd name="connsiteX23" fmla="*/ 428615 w 734000"/>
                <a:gd name="connsiteY23" fmla="*/ 460548 h 725930"/>
                <a:gd name="connsiteX24" fmla="*/ 454984 w 734000"/>
                <a:gd name="connsiteY24" fmla="*/ 431796 h 725930"/>
                <a:gd name="connsiteX25" fmla="*/ 443119 w 734000"/>
                <a:gd name="connsiteY25" fmla="*/ 420914 h 725930"/>
                <a:gd name="connsiteX26" fmla="*/ 457464 w 734000"/>
                <a:gd name="connsiteY26" fmla="*/ 388329 h 725930"/>
                <a:gd name="connsiteX27" fmla="*/ 428362 w 734000"/>
                <a:gd name="connsiteY27" fmla="*/ 290293 h 725930"/>
                <a:gd name="connsiteX28" fmla="*/ 428522 w 734000"/>
                <a:gd name="connsiteY28" fmla="*/ 290106 h 725930"/>
                <a:gd name="connsiteX29" fmla="*/ 427395 w 734000"/>
                <a:gd name="connsiteY29" fmla="*/ 289278 h 725930"/>
                <a:gd name="connsiteX30" fmla="*/ 427012 w 734000"/>
                <a:gd name="connsiteY30" fmla="*/ 288876 h 725930"/>
                <a:gd name="connsiteX31" fmla="*/ 426946 w 734000"/>
                <a:gd name="connsiteY31" fmla="*/ 288948 h 725930"/>
                <a:gd name="connsiteX32" fmla="*/ 352820 w 734000"/>
                <a:gd name="connsiteY32" fmla="*/ 269915 h 725930"/>
                <a:gd name="connsiteX33" fmla="*/ 307521 w 734000"/>
                <a:gd name="connsiteY33" fmla="*/ 296559 h 725930"/>
                <a:gd name="connsiteX34" fmla="*/ 255205 w 734000"/>
                <a:gd name="connsiteY34" fmla="*/ 248580 h 725930"/>
                <a:gd name="connsiteX35" fmla="*/ 258260 w 734000"/>
                <a:gd name="connsiteY35" fmla="*/ 247261 h 725930"/>
                <a:gd name="connsiteX36" fmla="*/ 296362 w 734000"/>
                <a:gd name="connsiteY36" fmla="*/ 257316 h 725930"/>
                <a:gd name="connsiteX37" fmla="*/ 334346 w 734000"/>
                <a:gd name="connsiteY37" fmla="*/ 219643 h 725930"/>
                <a:gd name="connsiteX38" fmla="*/ 243811 w 734000"/>
                <a:gd name="connsiteY38" fmla="*/ 195752 h 725930"/>
                <a:gd name="connsiteX39" fmla="*/ 213820 w 734000"/>
                <a:gd name="connsiteY39" fmla="*/ 210627 h 725930"/>
                <a:gd name="connsiteX40" fmla="*/ 201636 w 734000"/>
                <a:gd name="connsiteY40" fmla="*/ 199453 h 725930"/>
                <a:gd name="connsiteX41" fmla="*/ 175268 w 734000"/>
                <a:gd name="connsiteY41" fmla="*/ 228204 h 725930"/>
                <a:gd name="connsiteX42" fmla="*/ 0 w 734000"/>
                <a:gd name="connsiteY42" fmla="*/ 314704 h 725930"/>
                <a:gd name="connsiteX43" fmla="*/ 225227 w 734000"/>
                <a:gd name="connsiteY43" fmla="*/ 640 h 725930"/>
                <a:gd name="connsiteX44" fmla="*/ 674161 w 734000"/>
                <a:gd name="connsiteY44" fmla="*/ 143730 h 725930"/>
                <a:gd name="connsiteX45" fmla="*/ 625461 w 734000"/>
                <a:gd name="connsiteY45" fmla="*/ 591045 h 725930"/>
                <a:gd name="connsiteX46" fmla="*/ 151149 w 734000"/>
                <a:gd name="connsiteY46" fmla="*/ 642445 h 725930"/>
                <a:gd name="connsiteX47" fmla="*/ 0 w 734000"/>
                <a:gd name="connsiteY47" fmla="*/ 314704 h 725930"/>
                <a:gd name="connsiteX0" fmla="*/ 348892 w 734000"/>
                <a:gd name="connsiteY0" fmla="*/ 334499 h 750920"/>
                <a:gd name="connsiteX1" fmla="*/ 361732 w 734000"/>
                <a:gd name="connsiteY1" fmla="*/ 325976 h 750920"/>
                <a:gd name="connsiteX2" fmla="*/ 387597 w 734000"/>
                <a:gd name="connsiteY2" fmla="*/ 333463 h 750920"/>
                <a:gd name="connsiteX3" fmla="*/ 399661 w 734000"/>
                <a:gd name="connsiteY3" fmla="*/ 374530 h 750920"/>
                <a:gd name="connsiteX4" fmla="*/ 398080 w 734000"/>
                <a:gd name="connsiteY4" fmla="*/ 379610 h 750920"/>
                <a:gd name="connsiteX5" fmla="*/ 348892 w 734000"/>
                <a:gd name="connsiteY5" fmla="*/ 334499 h 750920"/>
                <a:gd name="connsiteX6" fmla="*/ 230573 w 734000"/>
                <a:gd name="connsiteY6" fmla="*/ 278925 h 750920"/>
                <a:gd name="connsiteX7" fmla="*/ 274785 w 734000"/>
                <a:gd name="connsiteY7" fmla="*/ 319471 h 750920"/>
                <a:gd name="connsiteX8" fmla="*/ 274325 w 734000"/>
                <a:gd name="connsiteY8" fmla="*/ 319587 h 750920"/>
                <a:gd name="connsiteX9" fmla="*/ 239949 w 734000"/>
                <a:gd name="connsiteY9" fmla="*/ 309719 h 750920"/>
                <a:gd name="connsiteX10" fmla="*/ 239704 w 734000"/>
                <a:gd name="connsiteY10" fmla="*/ 310010 h 750920"/>
                <a:gd name="connsiteX11" fmla="*/ 230573 w 734000"/>
                <a:gd name="connsiteY11" fmla="*/ 278925 h 750920"/>
                <a:gd name="connsiteX12" fmla="*/ 175268 w 734000"/>
                <a:gd name="connsiteY12" fmla="*/ 228204 h 750920"/>
                <a:gd name="connsiteX13" fmla="*/ 188006 w 734000"/>
                <a:gd name="connsiteY13" fmla="*/ 239886 h 750920"/>
                <a:gd name="connsiteX14" fmla="*/ 176755 w 734000"/>
                <a:gd name="connsiteY14" fmla="*/ 263336 h 750920"/>
                <a:gd name="connsiteX15" fmla="*/ 204557 w 734000"/>
                <a:gd name="connsiteY15" fmla="*/ 351656 h 750920"/>
                <a:gd name="connsiteX16" fmla="*/ 280854 w 734000"/>
                <a:gd name="connsiteY16" fmla="*/ 374078 h 750920"/>
                <a:gd name="connsiteX17" fmla="*/ 318685 w 734000"/>
                <a:gd name="connsiteY17" fmla="*/ 359731 h 750920"/>
                <a:gd name="connsiteX18" fmla="*/ 369238 w 734000"/>
                <a:gd name="connsiteY18" fmla="*/ 406094 h 750920"/>
                <a:gd name="connsiteX19" fmla="*/ 326994 w 734000"/>
                <a:gd name="connsiteY19" fmla="*/ 394913 h 750920"/>
                <a:gd name="connsiteX20" fmla="*/ 284800 w 734000"/>
                <a:gd name="connsiteY20" fmla="*/ 436762 h 750920"/>
                <a:gd name="connsiteX21" fmla="*/ 385369 w 734000"/>
                <a:gd name="connsiteY21" fmla="*/ 463301 h 750920"/>
                <a:gd name="connsiteX22" fmla="*/ 415793 w 734000"/>
                <a:gd name="connsiteY22" fmla="*/ 448788 h 750920"/>
                <a:gd name="connsiteX23" fmla="*/ 428615 w 734000"/>
                <a:gd name="connsiteY23" fmla="*/ 460548 h 750920"/>
                <a:gd name="connsiteX24" fmla="*/ 454984 w 734000"/>
                <a:gd name="connsiteY24" fmla="*/ 431796 h 750920"/>
                <a:gd name="connsiteX25" fmla="*/ 443119 w 734000"/>
                <a:gd name="connsiteY25" fmla="*/ 420914 h 750920"/>
                <a:gd name="connsiteX26" fmla="*/ 457464 w 734000"/>
                <a:gd name="connsiteY26" fmla="*/ 388329 h 750920"/>
                <a:gd name="connsiteX27" fmla="*/ 428362 w 734000"/>
                <a:gd name="connsiteY27" fmla="*/ 290293 h 750920"/>
                <a:gd name="connsiteX28" fmla="*/ 428522 w 734000"/>
                <a:gd name="connsiteY28" fmla="*/ 290106 h 750920"/>
                <a:gd name="connsiteX29" fmla="*/ 427395 w 734000"/>
                <a:gd name="connsiteY29" fmla="*/ 289278 h 750920"/>
                <a:gd name="connsiteX30" fmla="*/ 427012 w 734000"/>
                <a:gd name="connsiteY30" fmla="*/ 288876 h 750920"/>
                <a:gd name="connsiteX31" fmla="*/ 426946 w 734000"/>
                <a:gd name="connsiteY31" fmla="*/ 288948 h 750920"/>
                <a:gd name="connsiteX32" fmla="*/ 352820 w 734000"/>
                <a:gd name="connsiteY32" fmla="*/ 269915 h 750920"/>
                <a:gd name="connsiteX33" fmla="*/ 307521 w 734000"/>
                <a:gd name="connsiteY33" fmla="*/ 296559 h 750920"/>
                <a:gd name="connsiteX34" fmla="*/ 255205 w 734000"/>
                <a:gd name="connsiteY34" fmla="*/ 248580 h 750920"/>
                <a:gd name="connsiteX35" fmla="*/ 258260 w 734000"/>
                <a:gd name="connsiteY35" fmla="*/ 247261 h 750920"/>
                <a:gd name="connsiteX36" fmla="*/ 296362 w 734000"/>
                <a:gd name="connsiteY36" fmla="*/ 257316 h 750920"/>
                <a:gd name="connsiteX37" fmla="*/ 334346 w 734000"/>
                <a:gd name="connsiteY37" fmla="*/ 219643 h 750920"/>
                <a:gd name="connsiteX38" fmla="*/ 243811 w 734000"/>
                <a:gd name="connsiteY38" fmla="*/ 195752 h 750920"/>
                <a:gd name="connsiteX39" fmla="*/ 213820 w 734000"/>
                <a:gd name="connsiteY39" fmla="*/ 210627 h 750920"/>
                <a:gd name="connsiteX40" fmla="*/ 201636 w 734000"/>
                <a:gd name="connsiteY40" fmla="*/ 199453 h 750920"/>
                <a:gd name="connsiteX41" fmla="*/ 175268 w 734000"/>
                <a:gd name="connsiteY41" fmla="*/ 228204 h 750920"/>
                <a:gd name="connsiteX42" fmla="*/ 0 w 734000"/>
                <a:gd name="connsiteY42" fmla="*/ 314704 h 750920"/>
                <a:gd name="connsiteX43" fmla="*/ 225227 w 734000"/>
                <a:gd name="connsiteY43" fmla="*/ 640 h 750920"/>
                <a:gd name="connsiteX44" fmla="*/ 674161 w 734000"/>
                <a:gd name="connsiteY44" fmla="*/ 143730 h 750920"/>
                <a:gd name="connsiteX45" fmla="*/ 625461 w 734000"/>
                <a:gd name="connsiteY45" fmla="*/ 591045 h 750920"/>
                <a:gd name="connsiteX46" fmla="*/ 193414 w 734000"/>
                <a:gd name="connsiteY46" fmla="*/ 684437 h 750920"/>
                <a:gd name="connsiteX47" fmla="*/ 0 w 734000"/>
                <a:gd name="connsiteY47" fmla="*/ 314704 h 750920"/>
                <a:gd name="connsiteX0" fmla="*/ 348892 w 734000"/>
                <a:gd name="connsiteY0" fmla="*/ 334499 h 740807"/>
                <a:gd name="connsiteX1" fmla="*/ 361732 w 734000"/>
                <a:gd name="connsiteY1" fmla="*/ 325976 h 740807"/>
                <a:gd name="connsiteX2" fmla="*/ 387597 w 734000"/>
                <a:gd name="connsiteY2" fmla="*/ 333463 h 740807"/>
                <a:gd name="connsiteX3" fmla="*/ 399661 w 734000"/>
                <a:gd name="connsiteY3" fmla="*/ 374530 h 740807"/>
                <a:gd name="connsiteX4" fmla="*/ 398080 w 734000"/>
                <a:gd name="connsiteY4" fmla="*/ 379610 h 740807"/>
                <a:gd name="connsiteX5" fmla="*/ 348892 w 734000"/>
                <a:gd name="connsiteY5" fmla="*/ 334499 h 740807"/>
                <a:gd name="connsiteX6" fmla="*/ 230573 w 734000"/>
                <a:gd name="connsiteY6" fmla="*/ 278925 h 740807"/>
                <a:gd name="connsiteX7" fmla="*/ 274785 w 734000"/>
                <a:gd name="connsiteY7" fmla="*/ 319471 h 740807"/>
                <a:gd name="connsiteX8" fmla="*/ 274325 w 734000"/>
                <a:gd name="connsiteY8" fmla="*/ 319587 h 740807"/>
                <a:gd name="connsiteX9" fmla="*/ 239949 w 734000"/>
                <a:gd name="connsiteY9" fmla="*/ 309719 h 740807"/>
                <a:gd name="connsiteX10" fmla="*/ 239704 w 734000"/>
                <a:gd name="connsiteY10" fmla="*/ 310010 h 740807"/>
                <a:gd name="connsiteX11" fmla="*/ 230573 w 734000"/>
                <a:gd name="connsiteY11" fmla="*/ 278925 h 740807"/>
                <a:gd name="connsiteX12" fmla="*/ 175268 w 734000"/>
                <a:gd name="connsiteY12" fmla="*/ 228204 h 740807"/>
                <a:gd name="connsiteX13" fmla="*/ 188006 w 734000"/>
                <a:gd name="connsiteY13" fmla="*/ 239886 h 740807"/>
                <a:gd name="connsiteX14" fmla="*/ 176755 w 734000"/>
                <a:gd name="connsiteY14" fmla="*/ 263336 h 740807"/>
                <a:gd name="connsiteX15" fmla="*/ 204557 w 734000"/>
                <a:gd name="connsiteY15" fmla="*/ 351656 h 740807"/>
                <a:gd name="connsiteX16" fmla="*/ 280854 w 734000"/>
                <a:gd name="connsiteY16" fmla="*/ 374078 h 740807"/>
                <a:gd name="connsiteX17" fmla="*/ 318685 w 734000"/>
                <a:gd name="connsiteY17" fmla="*/ 359731 h 740807"/>
                <a:gd name="connsiteX18" fmla="*/ 369238 w 734000"/>
                <a:gd name="connsiteY18" fmla="*/ 406094 h 740807"/>
                <a:gd name="connsiteX19" fmla="*/ 326994 w 734000"/>
                <a:gd name="connsiteY19" fmla="*/ 394913 h 740807"/>
                <a:gd name="connsiteX20" fmla="*/ 284800 w 734000"/>
                <a:gd name="connsiteY20" fmla="*/ 436762 h 740807"/>
                <a:gd name="connsiteX21" fmla="*/ 385369 w 734000"/>
                <a:gd name="connsiteY21" fmla="*/ 463301 h 740807"/>
                <a:gd name="connsiteX22" fmla="*/ 415793 w 734000"/>
                <a:gd name="connsiteY22" fmla="*/ 448788 h 740807"/>
                <a:gd name="connsiteX23" fmla="*/ 428615 w 734000"/>
                <a:gd name="connsiteY23" fmla="*/ 460548 h 740807"/>
                <a:gd name="connsiteX24" fmla="*/ 454984 w 734000"/>
                <a:gd name="connsiteY24" fmla="*/ 431796 h 740807"/>
                <a:gd name="connsiteX25" fmla="*/ 443119 w 734000"/>
                <a:gd name="connsiteY25" fmla="*/ 420914 h 740807"/>
                <a:gd name="connsiteX26" fmla="*/ 457464 w 734000"/>
                <a:gd name="connsiteY26" fmla="*/ 388329 h 740807"/>
                <a:gd name="connsiteX27" fmla="*/ 428362 w 734000"/>
                <a:gd name="connsiteY27" fmla="*/ 290293 h 740807"/>
                <a:gd name="connsiteX28" fmla="*/ 428522 w 734000"/>
                <a:gd name="connsiteY28" fmla="*/ 290106 h 740807"/>
                <a:gd name="connsiteX29" fmla="*/ 427395 w 734000"/>
                <a:gd name="connsiteY29" fmla="*/ 289278 h 740807"/>
                <a:gd name="connsiteX30" fmla="*/ 427012 w 734000"/>
                <a:gd name="connsiteY30" fmla="*/ 288876 h 740807"/>
                <a:gd name="connsiteX31" fmla="*/ 426946 w 734000"/>
                <a:gd name="connsiteY31" fmla="*/ 288948 h 740807"/>
                <a:gd name="connsiteX32" fmla="*/ 352820 w 734000"/>
                <a:gd name="connsiteY32" fmla="*/ 269915 h 740807"/>
                <a:gd name="connsiteX33" fmla="*/ 307521 w 734000"/>
                <a:gd name="connsiteY33" fmla="*/ 296559 h 740807"/>
                <a:gd name="connsiteX34" fmla="*/ 255205 w 734000"/>
                <a:gd name="connsiteY34" fmla="*/ 248580 h 740807"/>
                <a:gd name="connsiteX35" fmla="*/ 258260 w 734000"/>
                <a:gd name="connsiteY35" fmla="*/ 247261 h 740807"/>
                <a:gd name="connsiteX36" fmla="*/ 296362 w 734000"/>
                <a:gd name="connsiteY36" fmla="*/ 257316 h 740807"/>
                <a:gd name="connsiteX37" fmla="*/ 334346 w 734000"/>
                <a:gd name="connsiteY37" fmla="*/ 219643 h 740807"/>
                <a:gd name="connsiteX38" fmla="*/ 243811 w 734000"/>
                <a:gd name="connsiteY38" fmla="*/ 195752 h 740807"/>
                <a:gd name="connsiteX39" fmla="*/ 213820 w 734000"/>
                <a:gd name="connsiteY39" fmla="*/ 210627 h 740807"/>
                <a:gd name="connsiteX40" fmla="*/ 201636 w 734000"/>
                <a:gd name="connsiteY40" fmla="*/ 199453 h 740807"/>
                <a:gd name="connsiteX41" fmla="*/ 175268 w 734000"/>
                <a:gd name="connsiteY41" fmla="*/ 228204 h 740807"/>
                <a:gd name="connsiteX42" fmla="*/ 0 w 734000"/>
                <a:gd name="connsiteY42" fmla="*/ 314704 h 740807"/>
                <a:gd name="connsiteX43" fmla="*/ 225227 w 734000"/>
                <a:gd name="connsiteY43" fmla="*/ 640 h 740807"/>
                <a:gd name="connsiteX44" fmla="*/ 674161 w 734000"/>
                <a:gd name="connsiteY44" fmla="*/ 143730 h 740807"/>
                <a:gd name="connsiteX45" fmla="*/ 625461 w 734000"/>
                <a:gd name="connsiteY45" fmla="*/ 591045 h 740807"/>
                <a:gd name="connsiteX46" fmla="*/ 175864 w 734000"/>
                <a:gd name="connsiteY46" fmla="*/ 668341 h 740807"/>
                <a:gd name="connsiteX47" fmla="*/ 0 w 734000"/>
                <a:gd name="connsiteY47" fmla="*/ 314704 h 740807"/>
                <a:gd name="connsiteX0" fmla="*/ 348892 w 734000"/>
                <a:gd name="connsiteY0" fmla="*/ 334499 h 746516"/>
                <a:gd name="connsiteX1" fmla="*/ 361732 w 734000"/>
                <a:gd name="connsiteY1" fmla="*/ 325976 h 746516"/>
                <a:gd name="connsiteX2" fmla="*/ 387597 w 734000"/>
                <a:gd name="connsiteY2" fmla="*/ 333463 h 746516"/>
                <a:gd name="connsiteX3" fmla="*/ 399661 w 734000"/>
                <a:gd name="connsiteY3" fmla="*/ 374530 h 746516"/>
                <a:gd name="connsiteX4" fmla="*/ 398080 w 734000"/>
                <a:gd name="connsiteY4" fmla="*/ 379610 h 746516"/>
                <a:gd name="connsiteX5" fmla="*/ 348892 w 734000"/>
                <a:gd name="connsiteY5" fmla="*/ 334499 h 746516"/>
                <a:gd name="connsiteX6" fmla="*/ 230573 w 734000"/>
                <a:gd name="connsiteY6" fmla="*/ 278925 h 746516"/>
                <a:gd name="connsiteX7" fmla="*/ 274785 w 734000"/>
                <a:gd name="connsiteY7" fmla="*/ 319471 h 746516"/>
                <a:gd name="connsiteX8" fmla="*/ 274325 w 734000"/>
                <a:gd name="connsiteY8" fmla="*/ 319587 h 746516"/>
                <a:gd name="connsiteX9" fmla="*/ 239949 w 734000"/>
                <a:gd name="connsiteY9" fmla="*/ 309719 h 746516"/>
                <a:gd name="connsiteX10" fmla="*/ 239704 w 734000"/>
                <a:gd name="connsiteY10" fmla="*/ 310010 h 746516"/>
                <a:gd name="connsiteX11" fmla="*/ 230573 w 734000"/>
                <a:gd name="connsiteY11" fmla="*/ 278925 h 746516"/>
                <a:gd name="connsiteX12" fmla="*/ 175268 w 734000"/>
                <a:gd name="connsiteY12" fmla="*/ 228204 h 746516"/>
                <a:gd name="connsiteX13" fmla="*/ 188006 w 734000"/>
                <a:gd name="connsiteY13" fmla="*/ 239886 h 746516"/>
                <a:gd name="connsiteX14" fmla="*/ 176755 w 734000"/>
                <a:gd name="connsiteY14" fmla="*/ 263336 h 746516"/>
                <a:gd name="connsiteX15" fmla="*/ 204557 w 734000"/>
                <a:gd name="connsiteY15" fmla="*/ 351656 h 746516"/>
                <a:gd name="connsiteX16" fmla="*/ 280854 w 734000"/>
                <a:gd name="connsiteY16" fmla="*/ 374078 h 746516"/>
                <a:gd name="connsiteX17" fmla="*/ 318685 w 734000"/>
                <a:gd name="connsiteY17" fmla="*/ 359731 h 746516"/>
                <a:gd name="connsiteX18" fmla="*/ 369238 w 734000"/>
                <a:gd name="connsiteY18" fmla="*/ 406094 h 746516"/>
                <a:gd name="connsiteX19" fmla="*/ 326994 w 734000"/>
                <a:gd name="connsiteY19" fmla="*/ 394913 h 746516"/>
                <a:gd name="connsiteX20" fmla="*/ 284800 w 734000"/>
                <a:gd name="connsiteY20" fmla="*/ 436762 h 746516"/>
                <a:gd name="connsiteX21" fmla="*/ 385369 w 734000"/>
                <a:gd name="connsiteY21" fmla="*/ 463301 h 746516"/>
                <a:gd name="connsiteX22" fmla="*/ 415793 w 734000"/>
                <a:gd name="connsiteY22" fmla="*/ 448788 h 746516"/>
                <a:gd name="connsiteX23" fmla="*/ 428615 w 734000"/>
                <a:gd name="connsiteY23" fmla="*/ 460548 h 746516"/>
                <a:gd name="connsiteX24" fmla="*/ 454984 w 734000"/>
                <a:gd name="connsiteY24" fmla="*/ 431796 h 746516"/>
                <a:gd name="connsiteX25" fmla="*/ 443119 w 734000"/>
                <a:gd name="connsiteY25" fmla="*/ 420914 h 746516"/>
                <a:gd name="connsiteX26" fmla="*/ 457464 w 734000"/>
                <a:gd name="connsiteY26" fmla="*/ 388329 h 746516"/>
                <a:gd name="connsiteX27" fmla="*/ 428362 w 734000"/>
                <a:gd name="connsiteY27" fmla="*/ 290293 h 746516"/>
                <a:gd name="connsiteX28" fmla="*/ 428522 w 734000"/>
                <a:gd name="connsiteY28" fmla="*/ 290106 h 746516"/>
                <a:gd name="connsiteX29" fmla="*/ 427395 w 734000"/>
                <a:gd name="connsiteY29" fmla="*/ 289278 h 746516"/>
                <a:gd name="connsiteX30" fmla="*/ 427012 w 734000"/>
                <a:gd name="connsiteY30" fmla="*/ 288876 h 746516"/>
                <a:gd name="connsiteX31" fmla="*/ 426946 w 734000"/>
                <a:gd name="connsiteY31" fmla="*/ 288948 h 746516"/>
                <a:gd name="connsiteX32" fmla="*/ 352820 w 734000"/>
                <a:gd name="connsiteY32" fmla="*/ 269915 h 746516"/>
                <a:gd name="connsiteX33" fmla="*/ 307521 w 734000"/>
                <a:gd name="connsiteY33" fmla="*/ 296559 h 746516"/>
                <a:gd name="connsiteX34" fmla="*/ 255205 w 734000"/>
                <a:gd name="connsiteY34" fmla="*/ 248580 h 746516"/>
                <a:gd name="connsiteX35" fmla="*/ 258260 w 734000"/>
                <a:gd name="connsiteY35" fmla="*/ 247261 h 746516"/>
                <a:gd name="connsiteX36" fmla="*/ 296362 w 734000"/>
                <a:gd name="connsiteY36" fmla="*/ 257316 h 746516"/>
                <a:gd name="connsiteX37" fmla="*/ 334346 w 734000"/>
                <a:gd name="connsiteY37" fmla="*/ 219643 h 746516"/>
                <a:gd name="connsiteX38" fmla="*/ 243811 w 734000"/>
                <a:gd name="connsiteY38" fmla="*/ 195752 h 746516"/>
                <a:gd name="connsiteX39" fmla="*/ 213820 w 734000"/>
                <a:gd name="connsiteY39" fmla="*/ 210627 h 746516"/>
                <a:gd name="connsiteX40" fmla="*/ 201636 w 734000"/>
                <a:gd name="connsiteY40" fmla="*/ 199453 h 746516"/>
                <a:gd name="connsiteX41" fmla="*/ 175268 w 734000"/>
                <a:gd name="connsiteY41" fmla="*/ 228204 h 746516"/>
                <a:gd name="connsiteX42" fmla="*/ 0 w 734000"/>
                <a:gd name="connsiteY42" fmla="*/ 314704 h 746516"/>
                <a:gd name="connsiteX43" fmla="*/ 225227 w 734000"/>
                <a:gd name="connsiteY43" fmla="*/ 640 h 746516"/>
                <a:gd name="connsiteX44" fmla="*/ 674161 w 734000"/>
                <a:gd name="connsiteY44" fmla="*/ 143730 h 746516"/>
                <a:gd name="connsiteX45" fmla="*/ 625461 w 734000"/>
                <a:gd name="connsiteY45" fmla="*/ 591045 h 746516"/>
                <a:gd name="connsiteX46" fmla="*/ 157724 w 734000"/>
                <a:gd name="connsiteY46" fmla="*/ 677553 h 746516"/>
                <a:gd name="connsiteX47" fmla="*/ 0 w 734000"/>
                <a:gd name="connsiteY47" fmla="*/ 314704 h 746516"/>
                <a:gd name="connsiteX0" fmla="*/ 348892 w 729929"/>
                <a:gd name="connsiteY0" fmla="*/ 332354 h 744371"/>
                <a:gd name="connsiteX1" fmla="*/ 361732 w 729929"/>
                <a:gd name="connsiteY1" fmla="*/ 323831 h 744371"/>
                <a:gd name="connsiteX2" fmla="*/ 387597 w 729929"/>
                <a:gd name="connsiteY2" fmla="*/ 331318 h 744371"/>
                <a:gd name="connsiteX3" fmla="*/ 399661 w 729929"/>
                <a:gd name="connsiteY3" fmla="*/ 372385 h 744371"/>
                <a:gd name="connsiteX4" fmla="*/ 398080 w 729929"/>
                <a:gd name="connsiteY4" fmla="*/ 377465 h 744371"/>
                <a:gd name="connsiteX5" fmla="*/ 348892 w 729929"/>
                <a:gd name="connsiteY5" fmla="*/ 332354 h 744371"/>
                <a:gd name="connsiteX6" fmla="*/ 230573 w 729929"/>
                <a:gd name="connsiteY6" fmla="*/ 276780 h 744371"/>
                <a:gd name="connsiteX7" fmla="*/ 274785 w 729929"/>
                <a:gd name="connsiteY7" fmla="*/ 317326 h 744371"/>
                <a:gd name="connsiteX8" fmla="*/ 274325 w 729929"/>
                <a:gd name="connsiteY8" fmla="*/ 317442 h 744371"/>
                <a:gd name="connsiteX9" fmla="*/ 239949 w 729929"/>
                <a:gd name="connsiteY9" fmla="*/ 307574 h 744371"/>
                <a:gd name="connsiteX10" fmla="*/ 239704 w 729929"/>
                <a:gd name="connsiteY10" fmla="*/ 307865 h 744371"/>
                <a:gd name="connsiteX11" fmla="*/ 230573 w 729929"/>
                <a:gd name="connsiteY11" fmla="*/ 276780 h 744371"/>
                <a:gd name="connsiteX12" fmla="*/ 175268 w 729929"/>
                <a:gd name="connsiteY12" fmla="*/ 226059 h 744371"/>
                <a:gd name="connsiteX13" fmla="*/ 188006 w 729929"/>
                <a:gd name="connsiteY13" fmla="*/ 237741 h 744371"/>
                <a:gd name="connsiteX14" fmla="*/ 176755 w 729929"/>
                <a:gd name="connsiteY14" fmla="*/ 261191 h 744371"/>
                <a:gd name="connsiteX15" fmla="*/ 204557 w 729929"/>
                <a:gd name="connsiteY15" fmla="*/ 349511 h 744371"/>
                <a:gd name="connsiteX16" fmla="*/ 280854 w 729929"/>
                <a:gd name="connsiteY16" fmla="*/ 371933 h 744371"/>
                <a:gd name="connsiteX17" fmla="*/ 318685 w 729929"/>
                <a:gd name="connsiteY17" fmla="*/ 357586 h 744371"/>
                <a:gd name="connsiteX18" fmla="*/ 369238 w 729929"/>
                <a:gd name="connsiteY18" fmla="*/ 403949 h 744371"/>
                <a:gd name="connsiteX19" fmla="*/ 326994 w 729929"/>
                <a:gd name="connsiteY19" fmla="*/ 392768 h 744371"/>
                <a:gd name="connsiteX20" fmla="*/ 284800 w 729929"/>
                <a:gd name="connsiteY20" fmla="*/ 434617 h 744371"/>
                <a:gd name="connsiteX21" fmla="*/ 385369 w 729929"/>
                <a:gd name="connsiteY21" fmla="*/ 461156 h 744371"/>
                <a:gd name="connsiteX22" fmla="*/ 415793 w 729929"/>
                <a:gd name="connsiteY22" fmla="*/ 446643 h 744371"/>
                <a:gd name="connsiteX23" fmla="*/ 428615 w 729929"/>
                <a:gd name="connsiteY23" fmla="*/ 458403 h 744371"/>
                <a:gd name="connsiteX24" fmla="*/ 454984 w 729929"/>
                <a:gd name="connsiteY24" fmla="*/ 429651 h 744371"/>
                <a:gd name="connsiteX25" fmla="*/ 443119 w 729929"/>
                <a:gd name="connsiteY25" fmla="*/ 418769 h 744371"/>
                <a:gd name="connsiteX26" fmla="*/ 457464 w 729929"/>
                <a:gd name="connsiteY26" fmla="*/ 386184 h 744371"/>
                <a:gd name="connsiteX27" fmla="*/ 428362 w 729929"/>
                <a:gd name="connsiteY27" fmla="*/ 288148 h 744371"/>
                <a:gd name="connsiteX28" fmla="*/ 428522 w 729929"/>
                <a:gd name="connsiteY28" fmla="*/ 287961 h 744371"/>
                <a:gd name="connsiteX29" fmla="*/ 427395 w 729929"/>
                <a:gd name="connsiteY29" fmla="*/ 287133 h 744371"/>
                <a:gd name="connsiteX30" fmla="*/ 427012 w 729929"/>
                <a:gd name="connsiteY30" fmla="*/ 286731 h 744371"/>
                <a:gd name="connsiteX31" fmla="*/ 426946 w 729929"/>
                <a:gd name="connsiteY31" fmla="*/ 286803 h 744371"/>
                <a:gd name="connsiteX32" fmla="*/ 352820 w 729929"/>
                <a:gd name="connsiteY32" fmla="*/ 267770 h 744371"/>
                <a:gd name="connsiteX33" fmla="*/ 307521 w 729929"/>
                <a:gd name="connsiteY33" fmla="*/ 294414 h 744371"/>
                <a:gd name="connsiteX34" fmla="*/ 255205 w 729929"/>
                <a:gd name="connsiteY34" fmla="*/ 246435 h 744371"/>
                <a:gd name="connsiteX35" fmla="*/ 258260 w 729929"/>
                <a:gd name="connsiteY35" fmla="*/ 245116 h 744371"/>
                <a:gd name="connsiteX36" fmla="*/ 296362 w 729929"/>
                <a:gd name="connsiteY36" fmla="*/ 255171 h 744371"/>
                <a:gd name="connsiteX37" fmla="*/ 334346 w 729929"/>
                <a:gd name="connsiteY37" fmla="*/ 217498 h 744371"/>
                <a:gd name="connsiteX38" fmla="*/ 243811 w 729929"/>
                <a:gd name="connsiteY38" fmla="*/ 193607 h 744371"/>
                <a:gd name="connsiteX39" fmla="*/ 213820 w 729929"/>
                <a:gd name="connsiteY39" fmla="*/ 208482 h 744371"/>
                <a:gd name="connsiteX40" fmla="*/ 201636 w 729929"/>
                <a:gd name="connsiteY40" fmla="*/ 197308 h 744371"/>
                <a:gd name="connsiteX41" fmla="*/ 175268 w 729929"/>
                <a:gd name="connsiteY41" fmla="*/ 226059 h 744371"/>
                <a:gd name="connsiteX42" fmla="*/ 0 w 729929"/>
                <a:gd name="connsiteY42" fmla="*/ 312559 h 744371"/>
                <a:gd name="connsiteX43" fmla="*/ 213524 w 729929"/>
                <a:gd name="connsiteY43" fmla="*/ 687 h 744371"/>
                <a:gd name="connsiteX44" fmla="*/ 674161 w 729929"/>
                <a:gd name="connsiteY44" fmla="*/ 141585 h 744371"/>
                <a:gd name="connsiteX45" fmla="*/ 625461 w 729929"/>
                <a:gd name="connsiteY45" fmla="*/ 588900 h 744371"/>
                <a:gd name="connsiteX46" fmla="*/ 157724 w 729929"/>
                <a:gd name="connsiteY46" fmla="*/ 675408 h 744371"/>
                <a:gd name="connsiteX47" fmla="*/ 0 w 729929"/>
                <a:gd name="connsiteY47" fmla="*/ 312559 h 74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29929" h="744371">
                  <a:moveTo>
                    <a:pt x="348892" y="332354"/>
                  </a:moveTo>
                  <a:cubicBezTo>
                    <a:pt x="352388" y="329029"/>
                    <a:pt x="356359" y="326061"/>
                    <a:pt x="361732" y="323831"/>
                  </a:cubicBezTo>
                  <a:cubicBezTo>
                    <a:pt x="374189" y="321528"/>
                    <a:pt x="379381" y="323623"/>
                    <a:pt x="387597" y="331318"/>
                  </a:cubicBezTo>
                  <a:cubicBezTo>
                    <a:pt x="398618" y="341866"/>
                    <a:pt x="403216" y="357495"/>
                    <a:pt x="399661" y="372385"/>
                  </a:cubicBezTo>
                  <a:cubicBezTo>
                    <a:pt x="399245" y="374125"/>
                    <a:pt x="398726" y="375825"/>
                    <a:pt x="398080" y="377465"/>
                  </a:cubicBezTo>
                  <a:lnTo>
                    <a:pt x="348892" y="332354"/>
                  </a:lnTo>
                  <a:close/>
                  <a:moveTo>
                    <a:pt x="230573" y="276780"/>
                  </a:moveTo>
                  <a:lnTo>
                    <a:pt x="274785" y="317326"/>
                  </a:lnTo>
                  <a:lnTo>
                    <a:pt x="274325" y="317442"/>
                  </a:lnTo>
                  <a:cubicBezTo>
                    <a:pt x="260660" y="320930"/>
                    <a:pt x="248947" y="316497"/>
                    <a:pt x="239949" y="307574"/>
                  </a:cubicBezTo>
                  <a:lnTo>
                    <a:pt x="239704" y="307865"/>
                  </a:lnTo>
                  <a:cubicBezTo>
                    <a:pt x="231988" y="299485"/>
                    <a:pt x="228612" y="288033"/>
                    <a:pt x="230573" y="276780"/>
                  </a:cubicBezTo>
                  <a:close/>
                  <a:moveTo>
                    <a:pt x="175268" y="226059"/>
                  </a:moveTo>
                  <a:lnTo>
                    <a:pt x="188006" y="237741"/>
                  </a:lnTo>
                  <a:cubicBezTo>
                    <a:pt x="183964" y="244973"/>
                    <a:pt x="178732" y="252910"/>
                    <a:pt x="176755" y="261191"/>
                  </a:cubicBezTo>
                  <a:cubicBezTo>
                    <a:pt x="168623" y="294406"/>
                    <a:pt x="174493" y="321834"/>
                    <a:pt x="204557" y="349511"/>
                  </a:cubicBezTo>
                  <a:cubicBezTo>
                    <a:pt x="225638" y="367415"/>
                    <a:pt x="253310" y="375547"/>
                    <a:pt x="280854" y="371933"/>
                  </a:cubicBezTo>
                  <a:cubicBezTo>
                    <a:pt x="294628" y="370126"/>
                    <a:pt x="307353" y="365103"/>
                    <a:pt x="318685" y="357586"/>
                  </a:cubicBezTo>
                  <a:lnTo>
                    <a:pt x="369238" y="403949"/>
                  </a:lnTo>
                  <a:cubicBezTo>
                    <a:pt x="354173" y="408155"/>
                    <a:pt x="338011" y="403876"/>
                    <a:pt x="326994" y="392768"/>
                  </a:cubicBezTo>
                  <a:lnTo>
                    <a:pt x="284800" y="434617"/>
                  </a:lnTo>
                  <a:cubicBezTo>
                    <a:pt x="311024" y="461056"/>
                    <a:pt x="349514" y="471213"/>
                    <a:pt x="385369" y="461156"/>
                  </a:cubicBezTo>
                  <a:cubicBezTo>
                    <a:pt x="396446" y="458049"/>
                    <a:pt x="406734" y="453163"/>
                    <a:pt x="415793" y="446643"/>
                  </a:cubicBezTo>
                  <a:lnTo>
                    <a:pt x="428615" y="458403"/>
                  </a:lnTo>
                  <a:lnTo>
                    <a:pt x="454984" y="429651"/>
                  </a:lnTo>
                  <a:lnTo>
                    <a:pt x="443119" y="418769"/>
                  </a:lnTo>
                  <a:cubicBezTo>
                    <a:pt x="449792" y="409048"/>
                    <a:pt x="454639" y="398018"/>
                    <a:pt x="457464" y="386184"/>
                  </a:cubicBezTo>
                  <a:cubicBezTo>
                    <a:pt x="465960" y="350599"/>
                    <a:pt x="454859" y="313234"/>
                    <a:pt x="428362" y="288148"/>
                  </a:cubicBezTo>
                  <a:lnTo>
                    <a:pt x="428522" y="287961"/>
                  </a:lnTo>
                  <a:cubicBezTo>
                    <a:pt x="428167" y="287660"/>
                    <a:pt x="427809" y="287362"/>
                    <a:pt x="427395" y="287133"/>
                  </a:cubicBezTo>
                  <a:lnTo>
                    <a:pt x="427012" y="286731"/>
                  </a:lnTo>
                  <a:lnTo>
                    <a:pt x="426946" y="286803"/>
                  </a:lnTo>
                  <a:cubicBezTo>
                    <a:pt x="406154" y="269986"/>
                    <a:pt x="378148" y="260836"/>
                    <a:pt x="352820" y="267770"/>
                  </a:cubicBezTo>
                  <a:cubicBezTo>
                    <a:pt x="336255" y="272306"/>
                    <a:pt x="322112" y="280465"/>
                    <a:pt x="307521" y="294414"/>
                  </a:cubicBezTo>
                  <a:lnTo>
                    <a:pt x="255205" y="246435"/>
                  </a:lnTo>
                  <a:lnTo>
                    <a:pt x="258260" y="245116"/>
                  </a:lnTo>
                  <a:cubicBezTo>
                    <a:pt x="271844" y="241306"/>
                    <a:pt x="286426" y="245154"/>
                    <a:pt x="296362" y="255171"/>
                  </a:cubicBezTo>
                  <a:lnTo>
                    <a:pt x="334346" y="217498"/>
                  </a:lnTo>
                  <a:cubicBezTo>
                    <a:pt x="310738" y="193696"/>
                    <a:pt x="276089" y="184553"/>
                    <a:pt x="243811" y="193607"/>
                  </a:cubicBezTo>
                  <a:cubicBezTo>
                    <a:pt x="232788" y="196699"/>
                    <a:pt x="222632" y="201748"/>
                    <a:pt x="213820" y="208482"/>
                  </a:cubicBezTo>
                  <a:lnTo>
                    <a:pt x="201636" y="197308"/>
                  </a:lnTo>
                  <a:lnTo>
                    <a:pt x="175268" y="226059"/>
                  </a:lnTo>
                  <a:close/>
                  <a:moveTo>
                    <a:pt x="0" y="312559"/>
                  </a:moveTo>
                  <a:cubicBezTo>
                    <a:pt x="86239" y="219186"/>
                    <a:pt x="140005" y="115419"/>
                    <a:pt x="213524" y="687"/>
                  </a:cubicBezTo>
                  <a:cubicBezTo>
                    <a:pt x="387144" y="-6545"/>
                    <a:pt x="605505" y="43550"/>
                    <a:pt x="674161" y="141585"/>
                  </a:cubicBezTo>
                  <a:cubicBezTo>
                    <a:pt x="742817" y="239621"/>
                    <a:pt x="769900" y="428944"/>
                    <a:pt x="625461" y="588900"/>
                  </a:cubicBezTo>
                  <a:cubicBezTo>
                    <a:pt x="475818" y="769866"/>
                    <a:pt x="290388" y="784759"/>
                    <a:pt x="157724" y="675408"/>
                  </a:cubicBezTo>
                  <a:cubicBezTo>
                    <a:pt x="49897" y="575950"/>
                    <a:pt x="27078" y="415510"/>
                    <a:pt x="0" y="31255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 name="Diagonal Stripe 18">
              <a:extLst>
                <a:ext uri="{FF2B5EF4-FFF2-40B4-BE49-F238E27FC236}">
                  <a16:creationId xmlns:a16="http://schemas.microsoft.com/office/drawing/2014/main" id="{AE6F49E9-0939-9F48-B6D2-54254C00A145}"/>
                </a:ext>
              </a:extLst>
            </p:cNvPr>
            <p:cNvSpPr>
              <a:spLocks noChangeAspect="1"/>
            </p:cNvSpPr>
            <p:nvPr/>
          </p:nvSpPr>
          <p:spPr>
            <a:xfrm rot="1410982">
              <a:off x="4070449" y="2766517"/>
              <a:ext cx="664631" cy="516467"/>
            </a:xfrm>
            <a:custGeom>
              <a:avLst/>
              <a:gdLst>
                <a:gd name="connsiteX0" fmla="*/ 135309 w 423074"/>
                <a:gd name="connsiteY0" fmla="*/ 155518 h 479287"/>
                <a:gd name="connsiteX1" fmla="*/ 261657 w 423074"/>
                <a:gd name="connsiteY1" fmla="*/ 130931 h 479287"/>
                <a:gd name="connsiteX2" fmla="*/ 348802 w 423074"/>
                <a:gd name="connsiteY2" fmla="*/ 966 h 479287"/>
                <a:gd name="connsiteX3" fmla="*/ 413416 w 423074"/>
                <a:gd name="connsiteY3" fmla="*/ 197164 h 479287"/>
                <a:gd name="connsiteX4" fmla="*/ 341534 w 423074"/>
                <a:gd name="connsiteY4" fmla="*/ 362378 h 479287"/>
                <a:gd name="connsiteX5" fmla="*/ 185579 w 423074"/>
                <a:gd name="connsiteY5" fmla="*/ 451773 h 479287"/>
                <a:gd name="connsiteX6" fmla="*/ 28008 w 423074"/>
                <a:gd name="connsiteY6" fmla="*/ 458124 h 479287"/>
                <a:gd name="connsiteX7" fmla="*/ 98259 w 423074"/>
                <a:gd name="connsiteY7" fmla="*/ 319870 h 479287"/>
                <a:gd name="connsiteX8" fmla="*/ 135309 w 423074"/>
                <a:gd name="connsiteY8" fmla="*/ 155518 h 479287"/>
                <a:gd name="connsiteX0" fmla="*/ 135309 w 423074"/>
                <a:gd name="connsiteY0" fmla="*/ 155518 h 479287"/>
                <a:gd name="connsiteX1" fmla="*/ 261657 w 423074"/>
                <a:gd name="connsiteY1" fmla="*/ 130931 h 479287"/>
                <a:gd name="connsiteX2" fmla="*/ 348802 w 423074"/>
                <a:gd name="connsiteY2" fmla="*/ 966 h 479287"/>
                <a:gd name="connsiteX3" fmla="*/ 413416 w 423074"/>
                <a:gd name="connsiteY3" fmla="*/ 197164 h 479287"/>
                <a:gd name="connsiteX4" fmla="*/ 353673 w 423074"/>
                <a:gd name="connsiteY4" fmla="*/ 370280 h 479287"/>
                <a:gd name="connsiteX5" fmla="*/ 185579 w 423074"/>
                <a:gd name="connsiteY5" fmla="*/ 451773 h 479287"/>
                <a:gd name="connsiteX6" fmla="*/ 28008 w 423074"/>
                <a:gd name="connsiteY6" fmla="*/ 458124 h 479287"/>
                <a:gd name="connsiteX7" fmla="*/ 98259 w 423074"/>
                <a:gd name="connsiteY7" fmla="*/ 319870 h 479287"/>
                <a:gd name="connsiteX8" fmla="*/ 135309 w 423074"/>
                <a:gd name="connsiteY8" fmla="*/ 155518 h 479287"/>
                <a:gd name="connsiteX0" fmla="*/ 135309 w 423074"/>
                <a:gd name="connsiteY0" fmla="*/ 155518 h 479287"/>
                <a:gd name="connsiteX1" fmla="*/ 261657 w 423074"/>
                <a:gd name="connsiteY1" fmla="*/ 130931 h 479287"/>
                <a:gd name="connsiteX2" fmla="*/ 348802 w 423074"/>
                <a:gd name="connsiteY2" fmla="*/ 966 h 479287"/>
                <a:gd name="connsiteX3" fmla="*/ 413416 w 423074"/>
                <a:gd name="connsiteY3" fmla="*/ 197164 h 479287"/>
                <a:gd name="connsiteX4" fmla="*/ 324557 w 423074"/>
                <a:gd name="connsiteY4" fmla="*/ 398504 h 479287"/>
                <a:gd name="connsiteX5" fmla="*/ 185579 w 423074"/>
                <a:gd name="connsiteY5" fmla="*/ 451773 h 479287"/>
                <a:gd name="connsiteX6" fmla="*/ 28008 w 423074"/>
                <a:gd name="connsiteY6" fmla="*/ 458124 h 479287"/>
                <a:gd name="connsiteX7" fmla="*/ 98259 w 423074"/>
                <a:gd name="connsiteY7" fmla="*/ 319870 h 479287"/>
                <a:gd name="connsiteX8" fmla="*/ 135309 w 423074"/>
                <a:gd name="connsiteY8" fmla="*/ 155518 h 479287"/>
                <a:gd name="connsiteX0" fmla="*/ 135309 w 423074"/>
                <a:gd name="connsiteY0" fmla="*/ 155518 h 479287"/>
                <a:gd name="connsiteX1" fmla="*/ 261657 w 423074"/>
                <a:gd name="connsiteY1" fmla="*/ 130931 h 479287"/>
                <a:gd name="connsiteX2" fmla="*/ 348802 w 423074"/>
                <a:gd name="connsiteY2" fmla="*/ 966 h 479287"/>
                <a:gd name="connsiteX3" fmla="*/ 413416 w 423074"/>
                <a:gd name="connsiteY3" fmla="*/ 197164 h 479287"/>
                <a:gd name="connsiteX4" fmla="*/ 389082 w 423074"/>
                <a:gd name="connsiteY4" fmla="*/ 331670 h 479287"/>
                <a:gd name="connsiteX5" fmla="*/ 324557 w 423074"/>
                <a:gd name="connsiteY5" fmla="*/ 398504 h 479287"/>
                <a:gd name="connsiteX6" fmla="*/ 185579 w 423074"/>
                <a:gd name="connsiteY6" fmla="*/ 451773 h 479287"/>
                <a:gd name="connsiteX7" fmla="*/ 28008 w 423074"/>
                <a:gd name="connsiteY7" fmla="*/ 458124 h 479287"/>
                <a:gd name="connsiteX8" fmla="*/ 98259 w 423074"/>
                <a:gd name="connsiteY8" fmla="*/ 319870 h 479287"/>
                <a:gd name="connsiteX9" fmla="*/ 135309 w 423074"/>
                <a:gd name="connsiteY9" fmla="*/ 155518 h 479287"/>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89082 w 423074"/>
                <a:gd name="connsiteY4" fmla="*/ 331670 h 479286"/>
                <a:gd name="connsiteX5" fmla="*/ 324557 w 423074"/>
                <a:gd name="connsiteY5" fmla="*/ 398504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98593 w 423074"/>
                <a:gd name="connsiteY4" fmla="*/ 317776 h 479286"/>
                <a:gd name="connsiteX5" fmla="*/ 324557 w 423074"/>
                <a:gd name="connsiteY5" fmla="*/ 398504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98593 w 423074"/>
                <a:gd name="connsiteY4" fmla="*/ 317776 h 479286"/>
                <a:gd name="connsiteX5" fmla="*/ 330849 w 423074"/>
                <a:gd name="connsiteY5" fmla="*/ 388120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98593 w 423074"/>
                <a:gd name="connsiteY4" fmla="*/ 317776 h 479286"/>
                <a:gd name="connsiteX5" fmla="*/ 330849 w 423074"/>
                <a:gd name="connsiteY5" fmla="*/ 388120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98593 w 423074"/>
                <a:gd name="connsiteY4" fmla="*/ 317776 h 479286"/>
                <a:gd name="connsiteX5" fmla="*/ 338605 w 423074"/>
                <a:gd name="connsiteY5" fmla="*/ 372615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98593 w 423074"/>
                <a:gd name="connsiteY4" fmla="*/ 317776 h 479286"/>
                <a:gd name="connsiteX5" fmla="*/ 338605 w 423074"/>
                <a:gd name="connsiteY5" fmla="*/ 372615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88499 w 423074"/>
                <a:gd name="connsiteY4" fmla="*/ 318212 h 479286"/>
                <a:gd name="connsiteX5" fmla="*/ 338605 w 423074"/>
                <a:gd name="connsiteY5" fmla="*/ 372615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423074"/>
                <a:gd name="connsiteY0" fmla="*/ 155518 h 479286"/>
                <a:gd name="connsiteX1" fmla="*/ 261657 w 423074"/>
                <a:gd name="connsiteY1" fmla="*/ 130931 h 479286"/>
                <a:gd name="connsiteX2" fmla="*/ 348802 w 423074"/>
                <a:gd name="connsiteY2" fmla="*/ 966 h 479286"/>
                <a:gd name="connsiteX3" fmla="*/ 413416 w 423074"/>
                <a:gd name="connsiteY3" fmla="*/ 197164 h 479286"/>
                <a:gd name="connsiteX4" fmla="*/ 388499 w 423074"/>
                <a:gd name="connsiteY4" fmla="*/ 318212 h 479286"/>
                <a:gd name="connsiteX5" fmla="*/ 347379 w 423074"/>
                <a:gd name="connsiteY5" fmla="*/ 380662 h 479286"/>
                <a:gd name="connsiteX6" fmla="*/ 185579 w 423074"/>
                <a:gd name="connsiteY6" fmla="*/ 451772 h 479286"/>
                <a:gd name="connsiteX7" fmla="*/ 28008 w 423074"/>
                <a:gd name="connsiteY7" fmla="*/ 458124 h 479286"/>
                <a:gd name="connsiteX8" fmla="*/ 98259 w 423074"/>
                <a:gd name="connsiteY8" fmla="*/ 319870 h 479286"/>
                <a:gd name="connsiteX9" fmla="*/ 135309 w 423074"/>
                <a:gd name="connsiteY9" fmla="*/ 155518 h 479286"/>
                <a:gd name="connsiteX0" fmla="*/ 135309 w 396687"/>
                <a:gd name="connsiteY0" fmla="*/ 155783 h 479551"/>
                <a:gd name="connsiteX1" fmla="*/ 261657 w 396687"/>
                <a:gd name="connsiteY1" fmla="*/ 131196 h 479551"/>
                <a:gd name="connsiteX2" fmla="*/ 348802 w 396687"/>
                <a:gd name="connsiteY2" fmla="*/ 1231 h 479551"/>
                <a:gd name="connsiteX3" fmla="*/ 384590 w 396687"/>
                <a:gd name="connsiteY3" fmla="*/ 232383 h 479551"/>
                <a:gd name="connsiteX4" fmla="*/ 388499 w 396687"/>
                <a:gd name="connsiteY4" fmla="*/ 318477 h 479551"/>
                <a:gd name="connsiteX5" fmla="*/ 347379 w 396687"/>
                <a:gd name="connsiteY5" fmla="*/ 380927 h 479551"/>
                <a:gd name="connsiteX6" fmla="*/ 185579 w 396687"/>
                <a:gd name="connsiteY6" fmla="*/ 452037 h 479551"/>
                <a:gd name="connsiteX7" fmla="*/ 28008 w 396687"/>
                <a:gd name="connsiteY7" fmla="*/ 458389 h 479551"/>
                <a:gd name="connsiteX8" fmla="*/ 98259 w 396687"/>
                <a:gd name="connsiteY8" fmla="*/ 320135 h 479551"/>
                <a:gd name="connsiteX9" fmla="*/ 135309 w 396687"/>
                <a:gd name="connsiteY9" fmla="*/ 155783 h 479551"/>
                <a:gd name="connsiteX0" fmla="*/ 135309 w 411002"/>
                <a:gd name="connsiteY0" fmla="*/ 155418 h 479186"/>
                <a:gd name="connsiteX1" fmla="*/ 261657 w 411002"/>
                <a:gd name="connsiteY1" fmla="*/ 130831 h 479186"/>
                <a:gd name="connsiteX2" fmla="*/ 348802 w 411002"/>
                <a:gd name="connsiteY2" fmla="*/ 866 h 479186"/>
                <a:gd name="connsiteX3" fmla="*/ 400684 w 411002"/>
                <a:gd name="connsiteY3" fmla="*/ 214469 h 479186"/>
                <a:gd name="connsiteX4" fmla="*/ 388499 w 411002"/>
                <a:gd name="connsiteY4" fmla="*/ 318112 h 479186"/>
                <a:gd name="connsiteX5" fmla="*/ 347379 w 411002"/>
                <a:gd name="connsiteY5" fmla="*/ 380562 h 479186"/>
                <a:gd name="connsiteX6" fmla="*/ 185579 w 411002"/>
                <a:gd name="connsiteY6" fmla="*/ 451672 h 479186"/>
                <a:gd name="connsiteX7" fmla="*/ 28008 w 411002"/>
                <a:gd name="connsiteY7" fmla="*/ 458024 h 479186"/>
                <a:gd name="connsiteX8" fmla="*/ 98259 w 411002"/>
                <a:gd name="connsiteY8" fmla="*/ 319770 h 479186"/>
                <a:gd name="connsiteX9" fmla="*/ 135309 w 411002"/>
                <a:gd name="connsiteY9" fmla="*/ 155418 h 479186"/>
                <a:gd name="connsiteX0" fmla="*/ 135309 w 421299"/>
                <a:gd name="connsiteY0" fmla="*/ 155195 h 478963"/>
                <a:gd name="connsiteX1" fmla="*/ 261657 w 421299"/>
                <a:gd name="connsiteY1" fmla="*/ 130608 h 478963"/>
                <a:gd name="connsiteX2" fmla="*/ 348802 w 421299"/>
                <a:gd name="connsiteY2" fmla="*/ 643 h 478963"/>
                <a:gd name="connsiteX3" fmla="*/ 411949 w 421299"/>
                <a:gd name="connsiteY3" fmla="*/ 201961 h 478963"/>
                <a:gd name="connsiteX4" fmla="*/ 388499 w 421299"/>
                <a:gd name="connsiteY4" fmla="*/ 317889 h 478963"/>
                <a:gd name="connsiteX5" fmla="*/ 347379 w 421299"/>
                <a:gd name="connsiteY5" fmla="*/ 380339 h 478963"/>
                <a:gd name="connsiteX6" fmla="*/ 185579 w 421299"/>
                <a:gd name="connsiteY6" fmla="*/ 451449 h 478963"/>
                <a:gd name="connsiteX7" fmla="*/ 28008 w 421299"/>
                <a:gd name="connsiteY7" fmla="*/ 457801 h 478963"/>
                <a:gd name="connsiteX8" fmla="*/ 98259 w 421299"/>
                <a:gd name="connsiteY8" fmla="*/ 319547 h 478963"/>
                <a:gd name="connsiteX9" fmla="*/ 135309 w 421299"/>
                <a:gd name="connsiteY9" fmla="*/ 155195 h 478963"/>
                <a:gd name="connsiteX0" fmla="*/ 135309 w 421299"/>
                <a:gd name="connsiteY0" fmla="*/ 155195 h 478963"/>
                <a:gd name="connsiteX1" fmla="*/ 261657 w 421299"/>
                <a:gd name="connsiteY1" fmla="*/ 130608 h 478963"/>
                <a:gd name="connsiteX2" fmla="*/ 348802 w 421299"/>
                <a:gd name="connsiteY2" fmla="*/ 643 h 478963"/>
                <a:gd name="connsiteX3" fmla="*/ 411949 w 421299"/>
                <a:gd name="connsiteY3" fmla="*/ 201961 h 478963"/>
                <a:gd name="connsiteX4" fmla="*/ 388499 w 421299"/>
                <a:gd name="connsiteY4" fmla="*/ 317889 h 478963"/>
                <a:gd name="connsiteX5" fmla="*/ 347379 w 421299"/>
                <a:gd name="connsiteY5" fmla="*/ 380339 h 478963"/>
                <a:gd name="connsiteX6" fmla="*/ 185579 w 421299"/>
                <a:gd name="connsiteY6" fmla="*/ 451449 h 478963"/>
                <a:gd name="connsiteX7" fmla="*/ 28008 w 421299"/>
                <a:gd name="connsiteY7" fmla="*/ 457801 h 478963"/>
                <a:gd name="connsiteX8" fmla="*/ 98259 w 421299"/>
                <a:gd name="connsiteY8" fmla="*/ 319547 h 478963"/>
                <a:gd name="connsiteX9" fmla="*/ 135309 w 421299"/>
                <a:gd name="connsiteY9" fmla="*/ 155195 h 478963"/>
                <a:gd name="connsiteX0" fmla="*/ 135309 w 421299"/>
                <a:gd name="connsiteY0" fmla="*/ 155195 h 478963"/>
                <a:gd name="connsiteX1" fmla="*/ 261657 w 421299"/>
                <a:gd name="connsiteY1" fmla="*/ 130608 h 478963"/>
                <a:gd name="connsiteX2" fmla="*/ 348802 w 421299"/>
                <a:gd name="connsiteY2" fmla="*/ 643 h 478963"/>
                <a:gd name="connsiteX3" fmla="*/ 411949 w 421299"/>
                <a:gd name="connsiteY3" fmla="*/ 201961 h 478963"/>
                <a:gd name="connsiteX4" fmla="*/ 388499 w 421299"/>
                <a:gd name="connsiteY4" fmla="*/ 317889 h 478963"/>
                <a:gd name="connsiteX5" fmla="*/ 298292 w 421299"/>
                <a:gd name="connsiteY5" fmla="*/ 380924 h 478963"/>
                <a:gd name="connsiteX6" fmla="*/ 185579 w 421299"/>
                <a:gd name="connsiteY6" fmla="*/ 451449 h 478963"/>
                <a:gd name="connsiteX7" fmla="*/ 28008 w 421299"/>
                <a:gd name="connsiteY7" fmla="*/ 457801 h 478963"/>
                <a:gd name="connsiteX8" fmla="*/ 98259 w 421299"/>
                <a:gd name="connsiteY8" fmla="*/ 319547 h 478963"/>
                <a:gd name="connsiteX9" fmla="*/ 135309 w 421299"/>
                <a:gd name="connsiteY9" fmla="*/ 155195 h 478963"/>
                <a:gd name="connsiteX0" fmla="*/ 135309 w 421299"/>
                <a:gd name="connsiteY0" fmla="*/ 155195 h 478963"/>
                <a:gd name="connsiteX1" fmla="*/ 261657 w 421299"/>
                <a:gd name="connsiteY1" fmla="*/ 130608 h 478963"/>
                <a:gd name="connsiteX2" fmla="*/ 348802 w 421299"/>
                <a:gd name="connsiteY2" fmla="*/ 643 h 478963"/>
                <a:gd name="connsiteX3" fmla="*/ 411949 w 421299"/>
                <a:gd name="connsiteY3" fmla="*/ 201961 h 478963"/>
                <a:gd name="connsiteX4" fmla="*/ 371696 w 421299"/>
                <a:gd name="connsiteY4" fmla="*/ 332990 h 478963"/>
                <a:gd name="connsiteX5" fmla="*/ 298292 w 421299"/>
                <a:gd name="connsiteY5" fmla="*/ 380924 h 478963"/>
                <a:gd name="connsiteX6" fmla="*/ 185579 w 421299"/>
                <a:gd name="connsiteY6" fmla="*/ 451449 h 478963"/>
                <a:gd name="connsiteX7" fmla="*/ 28008 w 421299"/>
                <a:gd name="connsiteY7" fmla="*/ 457801 h 478963"/>
                <a:gd name="connsiteX8" fmla="*/ 98259 w 421299"/>
                <a:gd name="connsiteY8" fmla="*/ 319547 h 478963"/>
                <a:gd name="connsiteX9" fmla="*/ 135309 w 421299"/>
                <a:gd name="connsiteY9" fmla="*/ 155195 h 478963"/>
                <a:gd name="connsiteX0" fmla="*/ 135309 w 421299"/>
                <a:gd name="connsiteY0" fmla="*/ 155195 h 478963"/>
                <a:gd name="connsiteX1" fmla="*/ 261657 w 421299"/>
                <a:gd name="connsiteY1" fmla="*/ 130608 h 478963"/>
                <a:gd name="connsiteX2" fmla="*/ 348802 w 421299"/>
                <a:gd name="connsiteY2" fmla="*/ 643 h 478963"/>
                <a:gd name="connsiteX3" fmla="*/ 411949 w 421299"/>
                <a:gd name="connsiteY3" fmla="*/ 201961 h 478963"/>
                <a:gd name="connsiteX4" fmla="*/ 384515 w 421299"/>
                <a:gd name="connsiteY4" fmla="*/ 332607 h 478963"/>
                <a:gd name="connsiteX5" fmla="*/ 298292 w 421299"/>
                <a:gd name="connsiteY5" fmla="*/ 380924 h 478963"/>
                <a:gd name="connsiteX6" fmla="*/ 185579 w 421299"/>
                <a:gd name="connsiteY6" fmla="*/ 451449 h 478963"/>
                <a:gd name="connsiteX7" fmla="*/ 28008 w 421299"/>
                <a:gd name="connsiteY7" fmla="*/ 457801 h 478963"/>
                <a:gd name="connsiteX8" fmla="*/ 98259 w 421299"/>
                <a:gd name="connsiteY8" fmla="*/ 319547 h 478963"/>
                <a:gd name="connsiteX9" fmla="*/ 135309 w 421299"/>
                <a:gd name="connsiteY9" fmla="*/ 155195 h 478963"/>
                <a:gd name="connsiteX0" fmla="*/ 135309 w 406960"/>
                <a:gd name="connsiteY0" fmla="*/ 155910 h 479678"/>
                <a:gd name="connsiteX1" fmla="*/ 261657 w 406960"/>
                <a:gd name="connsiteY1" fmla="*/ 131323 h 479678"/>
                <a:gd name="connsiteX2" fmla="*/ 348802 w 406960"/>
                <a:gd name="connsiteY2" fmla="*/ 1358 h 479678"/>
                <a:gd name="connsiteX3" fmla="*/ 396200 w 406960"/>
                <a:gd name="connsiteY3" fmla="*/ 238096 h 479678"/>
                <a:gd name="connsiteX4" fmla="*/ 384515 w 406960"/>
                <a:gd name="connsiteY4" fmla="*/ 333322 h 479678"/>
                <a:gd name="connsiteX5" fmla="*/ 298292 w 406960"/>
                <a:gd name="connsiteY5" fmla="*/ 381639 h 479678"/>
                <a:gd name="connsiteX6" fmla="*/ 185579 w 406960"/>
                <a:gd name="connsiteY6" fmla="*/ 452164 h 479678"/>
                <a:gd name="connsiteX7" fmla="*/ 28008 w 406960"/>
                <a:gd name="connsiteY7" fmla="*/ 458516 h 479678"/>
                <a:gd name="connsiteX8" fmla="*/ 98259 w 406960"/>
                <a:gd name="connsiteY8" fmla="*/ 320262 h 479678"/>
                <a:gd name="connsiteX9" fmla="*/ 135309 w 406960"/>
                <a:gd name="connsiteY9" fmla="*/ 155910 h 479678"/>
                <a:gd name="connsiteX0" fmla="*/ 135309 w 406960"/>
                <a:gd name="connsiteY0" fmla="*/ 155910 h 479678"/>
                <a:gd name="connsiteX1" fmla="*/ 261657 w 406960"/>
                <a:gd name="connsiteY1" fmla="*/ 131323 h 479678"/>
                <a:gd name="connsiteX2" fmla="*/ 348802 w 406960"/>
                <a:gd name="connsiteY2" fmla="*/ 1358 h 479678"/>
                <a:gd name="connsiteX3" fmla="*/ 396200 w 406960"/>
                <a:gd name="connsiteY3" fmla="*/ 238096 h 479678"/>
                <a:gd name="connsiteX4" fmla="*/ 384515 w 406960"/>
                <a:gd name="connsiteY4" fmla="*/ 333322 h 479678"/>
                <a:gd name="connsiteX5" fmla="*/ 298292 w 406960"/>
                <a:gd name="connsiteY5" fmla="*/ 381639 h 479678"/>
                <a:gd name="connsiteX6" fmla="*/ 185579 w 406960"/>
                <a:gd name="connsiteY6" fmla="*/ 452164 h 479678"/>
                <a:gd name="connsiteX7" fmla="*/ 28008 w 406960"/>
                <a:gd name="connsiteY7" fmla="*/ 458516 h 479678"/>
                <a:gd name="connsiteX8" fmla="*/ 98259 w 406960"/>
                <a:gd name="connsiteY8" fmla="*/ 320262 h 479678"/>
                <a:gd name="connsiteX9" fmla="*/ 135309 w 406960"/>
                <a:gd name="connsiteY9" fmla="*/ 155910 h 479678"/>
                <a:gd name="connsiteX0" fmla="*/ 135309 w 408346"/>
                <a:gd name="connsiteY0" fmla="*/ 68274 h 392042"/>
                <a:gd name="connsiteX1" fmla="*/ 261657 w 408346"/>
                <a:gd name="connsiteY1" fmla="*/ 43687 h 392042"/>
                <a:gd name="connsiteX2" fmla="*/ 358989 w 408346"/>
                <a:gd name="connsiteY2" fmla="*/ 2779 h 392042"/>
                <a:gd name="connsiteX3" fmla="*/ 396200 w 408346"/>
                <a:gd name="connsiteY3" fmla="*/ 150460 h 392042"/>
                <a:gd name="connsiteX4" fmla="*/ 384515 w 408346"/>
                <a:gd name="connsiteY4" fmla="*/ 245686 h 392042"/>
                <a:gd name="connsiteX5" fmla="*/ 298292 w 408346"/>
                <a:gd name="connsiteY5" fmla="*/ 294003 h 392042"/>
                <a:gd name="connsiteX6" fmla="*/ 185579 w 408346"/>
                <a:gd name="connsiteY6" fmla="*/ 364528 h 392042"/>
                <a:gd name="connsiteX7" fmla="*/ 28008 w 408346"/>
                <a:gd name="connsiteY7" fmla="*/ 370880 h 392042"/>
                <a:gd name="connsiteX8" fmla="*/ 98259 w 408346"/>
                <a:gd name="connsiteY8" fmla="*/ 232626 h 392042"/>
                <a:gd name="connsiteX9" fmla="*/ 135309 w 408346"/>
                <a:gd name="connsiteY9" fmla="*/ 68274 h 392042"/>
                <a:gd name="connsiteX0" fmla="*/ 135309 w 409233"/>
                <a:gd name="connsiteY0" fmla="*/ 65611 h 389379"/>
                <a:gd name="connsiteX1" fmla="*/ 261657 w 409233"/>
                <a:gd name="connsiteY1" fmla="*/ 41024 h 389379"/>
                <a:gd name="connsiteX2" fmla="*/ 358989 w 409233"/>
                <a:gd name="connsiteY2" fmla="*/ 116 h 389379"/>
                <a:gd name="connsiteX3" fmla="*/ 396200 w 409233"/>
                <a:gd name="connsiteY3" fmla="*/ 147797 h 389379"/>
                <a:gd name="connsiteX4" fmla="*/ 384515 w 409233"/>
                <a:gd name="connsiteY4" fmla="*/ 243023 h 389379"/>
                <a:gd name="connsiteX5" fmla="*/ 298292 w 409233"/>
                <a:gd name="connsiteY5" fmla="*/ 291340 h 389379"/>
                <a:gd name="connsiteX6" fmla="*/ 185579 w 409233"/>
                <a:gd name="connsiteY6" fmla="*/ 361865 h 389379"/>
                <a:gd name="connsiteX7" fmla="*/ 28008 w 409233"/>
                <a:gd name="connsiteY7" fmla="*/ 368217 h 389379"/>
                <a:gd name="connsiteX8" fmla="*/ 98259 w 409233"/>
                <a:gd name="connsiteY8" fmla="*/ 229963 h 389379"/>
                <a:gd name="connsiteX9" fmla="*/ 135309 w 409233"/>
                <a:gd name="connsiteY9" fmla="*/ 65611 h 389379"/>
                <a:gd name="connsiteX0" fmla="*/ 135309 w 408718"/>
                <a:gd name="connsiteY0" fmla="*/ 67195 h 390963"/>
                <a:gd name="connsiteX1" fmla="*/ 245806 w 408718"/>
                <a:gd name="connsiteY1" fmla="*/ 59894 h 390963"/>
                <a:gd name="connsiteX2" fmla="*/ 358989 w 408718"/>
                <a:gd name="connsiteY2" fmla="*/ 1700 h 390963"/>
                <a:gd name="connsiteX3" fmla="*/ 396200 w 408718"/>
                <a:gd name="connsiteY3" fmla="*/ 149381 h 390963"/>
                <a:gd name="connsiteX4" fmla="*/ 384515 w 408718"/>
                <a:gd name="connsiteY4" fmla="*/ 244607 h 390963"/>
                <a:gd name="connsiteX5" fmla="*/ 298292 w 408718"/>
                <a:gd name="connsiteY5" fmla="*/ 292924 h 390963"/>
                <a:gd name="connsiteX6" fmla="*/ 185579 w 408718"/>
                <a:gd name="connsiteY6" fmla="*/ 363449 h 390963"/>
                <a:gd name="connsiteX7" fmla="*/ 28008 w 408718"/>
                <a:gd name="connsiteY7" fmla="*/ 369801 h 390963"/>
                <a:gd name="connsiteX8" fmla="*/ 98259 w 408718"/>
                <a:gd name="connsiteY8" fmla="*/ 231547 h 390963"/>
                <a:gd name="connsiteX9" fmla="*/ 135309 w 408718"/>
                <a:gd name="connsiteY9" fmla="*/ 67195 h 390963"/>
                <a:gd name="connsiteX0" fmla="*/ 135309 w 411878"/>
                <a:gd name="connsiteY0" fmla="*/ 68198 h 391966"/>
                <a:gd name="connsiteX1" fmla="*/ 358989 w 411878"/>
                <a:gd name="connsiteY1" fmla="*/ 2703 h 391966"/>
                <a:gd name="connsiteX2" fmla="*/ 396200 w 411878"/>
                <a:gd name="connsiteY2" fmla="*/ 150384 h 391966"/>
                <a:gd name="connsiteX3" fmla="*/ 384515 w 411878"/>
                <a:gd name="connsiteY3" fmla="*/ 245610 h 391966"/>
                <a:gd name="connsiteX4" fmla="*/ 298292 w 411878"/>
                <a:gd name="connsiteY4" fmla="*/ 293927 h 391966"/>
                <a:gd name="connsiteX5" fmla="*/ 185579 w 411878"/>
                <a:gd name="connsiteY5" fmla="*/ 364452 h 391966"/>
                <a:gd name="connsiteX6" fmla="*/ 28008 w 411878"/>
                <a:gd name="connsiteY6" fmla="*/ 370804 h 391966"/>
                <a:gd name="connsiteX7" fmla="*/ 98259 w 411878"/>
                <a:gd name="connsiteY7" fmla="*/ 232550 h 391966"/>
                <a:gd name="connsiteX8" fmla="*/ 135309 w 411878"/>
                <a:gd name="connsiteY8" fmla="*/ 68198 h 391966"/>
                <a:gd name="connsiteX0" fmla="*/ 135309 w 411115"/>
                <a:gd name="connsiteY0" fmla="*/ 70375 h 394143"/>
                <a:gd name="connsiteX1" fmla="*/ 358989 w 411115"/>
                <a:gd name="connsiteY1" fmla="*/ 4880 h 394143"/>
                <a:gd name="connsiteX2" fmla="*/ 396200 w 411115"/>
                <a:gd name="connsiteY2" fmla="*/ 152561 h 394143"/>
                <a:gd name="connsiteX3" fmla="*/ 384515 w 411115"/>
                <a:gd name="connsiteY3" fmla="*/ 247787 h 394143"/>
                <a:gd name="connsiteX4" fmla="*/ 298292 w 411115"/>
                <a:gd name="connsiteY4" fmla="*/ 296104 h 394143"/>
                <a:gd name="connsiteX5" fmla="*/ 185579 w 411115"/>
                <a:gd name="connsiteY5" fmla="*/ 366629 h 394143"/>
                <a:gd name="connsiteX6" fmla="*/ 28008 w 411115"/>
                <a:gd name="connsiteY6" fmla="*/ 372981 h 394143"/>
                <a:gd name="connsiteX7" fmla="*/ 98259 w 411115"/>
                <a:gd name="connsiteY7" fmla="*/ 234727 h 394143"/>
                <a:gd name="connsiteX8" fmla="*/ 135309 w 411115"/>
                <a:gd name="connsiteY8" fmla="*/ 70375 h 394143"/>
                <a:gd name="connsiteX0" fmla="*/ 135309 w 411115"/>
                <a:gd name="connsiteY0" fmla="*/ 70375 h 394143"/>
                <a:gd name="connsiteX1" fmla="*/ 358989 w 411115"/>
                <a:gd name="connsiteY1" fmla="*/ 4880 h 394143"/>
                <a:gd name="connsiteX2" fmla="*/ 396200 w 411115"/>
                <a:gd name="connsiteY2" fmla="*/ 152561 h 394143"/>
                <a:gd name="connsiteX3" fmla="*/ 384515 w 411115"/>
                <a:gd name="connsiteY3" fmla="*/ 247787 h 394143"/>
                <a:gd name="connsiteX4" fmla="*/ 298292 w 411115"/>
                <a:gd name="connsiteY4" fmla="*/ 296104 h 394143"/>
                <a:gd name="connsiteX5" fmla="*/ 185579 w 411115"/>
                <a:gd name="connsiteY5" fmla="*/ 366629 h 394143"/>
                <a:gd name="connsiteX6" fmla="*/ 28008 w 411115"/>
                <a:gd name="connsiteY6" fmla="*/ 372981 h 394143"/>
                <a:gd name="connsiteX7" fmla="*/ 98259 w 411115"/>
                <a:gd name="connsiteY7" fmla="*/ 234727 h 394143"/>
                <a:gd name="connsiteX8" fmla="*/ 135309 w 411115"/>
                <a:gd name="connsiteY8" fmla="*/ 70375 h 394143"/>
                <a:gd name="connsiteX0" fmla="*/ 108083 w 383889"/>
                <a:gd name="connsiteY0" fmla="*/ 70375 h 394143"/>
                <a:gd name="connsiteX1" fmla="*/ 331763 w 383889"/>
                <a:gd name="connsiteY1" fmla="*/ 4880 h 394143"/>
                <a:gd name="connsiteX2" fmla="*/ 368974 w 383889"/>
                <a:gd name="connsiteY2" fmla="*/ 152561 h 394143"/>
                <a:gd name="connsiteX3" fmla="*/ 357289 w 383889"/>
                <a:gd name="connsiteY3" fmla="*/ 247787 h 394143"/>
                <a:gd name="connsiteX4" fmla="*/ 271066 w 383889"/>
                <a:gd name="connsiteY4" fmla="*/ 296104 h 394143"/>
                <a:gd name="connsiteX5" fmla="*/ 158353 w 383889"/>
                <a:gd name="connsiteY5" fmla="*/ 366629 h 394143"/>
                <a:gd name="connsiteX6" fmla="*/ 782 w 383889"/>
                <a:gd name="connsiteY6" fmla="*/ 372981 h 394143"/>
                <a:gd name="connsiteX7" fmla="*/ 108083 w 383889"/>
                <a:gd name="connsiteY7" fmla="*/ 70375 h 394143"/>
                <a:gd name="connsiteX0" fmla="*/ 117788 w 393594"/>
                <a:gd name="connsiteY0" fmla="*/ 70375 h 394143"/>
                <a:gd name="connsiteX1" fmla="*/ 341468 w 393594"/>
                <a:gd name="connsiteY1" fmla="*/ 4880 h 394143"/>
                <a:gd name="connsiteX2" fmla="*/ 378679 w 393594"/>
                <a:gd name="connsiteY2" fmla="*/ 152561 h 394143"/>
                <a:gd name="connsiteX3" fmla="*/ 366994 w 393594"/>
                <a:gd name="connsiteY3" fmla="*/ 247787 h 394143"/>
                <a:gd name="connsiteX4" fmla="*/ 280771 w 393594"/>
                <a:gd name="connsiteY4" fmla="*/ 296104 h 394143"/>
                <a:gd name="connsiteX5" fmla="*/ 168058 w 393594"/>
                <a:gd name="connsiteY5" fmla="*/ 366629 h 394143"/>
                <a:gd name="connsiteX6" fmla="*/ 10487 w 393594"/>
                <a:gd name="connsiteY6" fmla="*/ 372981 h 394143"/>
                <a:gd name="connsiteX7" fmla="*/ 117788 w 393594"/>
                <a:gd name="connsiteY7" fmla="*/ 70375 h 394143"/>
                <a:gd name="connsiteX0" fmla="*/ 126405 w 402211"/>
                <a:gd name="connsiteY0" fmla="*/ 70375 h 394143"/>
                <a:gd name="connsiteX1" fmla="*/ 350085 w 402211"/>
                <a:gd name="connsiteY1" fmla="*/ 4880 h 394143"/>
                <a:gd name="connsiteX2" fmla="*/ 387296 w 402211"/>
                <a:gd name="connsiteY2" fmla="*/ 152561 h 394143"/>
                <a:gd name="connsiteX3" fmla="*/ 375611 w 402211"/>
                <a:gd name="connsiteY3" fmla="*/ 247787 h 394143"/>
                <a:gd name="connsiteX4" fmla="*/ 289388 w 402211"/>
                <a:gd name="connsiteY4" fmla="*/ 296104 h 394143"/>
                <a:gd name="connsiteX5" fmla="*/ 176675 w 402211"/>
                <a:gd name="connsiteY5" fmla="*/ 366629 h 394143"/>
                <a:gd name="connsiteX6" fmla="*/ 19104 w 402211"/>
                <a:gd name="connsiteY6" fmla="*/ 372981 h 394143"/>
                <a:gd name="connsiteX7" fmla="*/ 126405 w 402211"/>
                <a:gd name="connsiteY7" fmla="*/ 70375 h 394143"/>
                <a:gd name="connsiteX0" fmla="*/ 123649 w 399455"/>
                <a:gd name="connsiteY0" fmla="*/ 70375 h 394143"/>
                <a:gd name="connsiteX1" fmla="*/ 347329 w 399455"/>
                <a:gd name="connsiteY1" fmla="*/ 4880 h 394143"/>
                <a:gd name="connsiteX2" fmla="*/ 384540 w 399455"/>
                <a:gd name="connsiteY2" fmla="*/ 152561 h 394143"/>
                <a:gd name="connsiteX3" fmla="*/ 372855 w 399455"/>
                <a:gd name="connsiteY3" fmla="*/ 247787 h 394143"/>
                <a:gd name="connsiteX4" fmla="*/ 286632 w 399455"/>
                <a:gd name="connsiteY4" fmla="*/ 296104 h 394143"/>
                <a:gd name="connsiteX5" fmla="*/ 173919 w 399455"/>
                <a:gd name="connsiteY5" fmla="*/ 366629 h 394143"/>
                <a:gd name="connsiteX6" fmla="*/ 16348 w 399455"/>
                <a:gd name="connsiteY6" fmla="*/ 372981 h 394143"/>
                <a:gd name="connsiteX7" fmla="*/ 123649 w 399455"/>
                <a:gd name="connsiteY7" fmla="*/ 70375 h 394143"/>
                <a:gd name="connsiteX0" fmla="*/ 109959 w 385765"/>
                <a:gd name="connsiteY0" fmla="*/ 70375 h 394143"/>
                <a:gd name="connsiteX1" fmla="*/ 333639 w 385765"/>
                <a:gd name="connsiteY1" fmla="*/ 4880 h 394143"/>
                <a:gd name="connsiteX2" fmla="*/ 370850 w 385765"/>
                <a:gd name="connsiteY2" fmla="*/ 152561 h 394143"/>
                <a:gd name="connsiteX3" fmla="*/ 359165 w 385765"/>
                <a:gd name="connsiteY3" fmla="*/ 247787 h 394143"/>
                <a:gd name="connsiteX4" fmla="*/ 272942 w 385765"/>
                <a:gd name="connsiteY4" fmla="*/ 296104 h 394143"/>
                <a:gd name="connsiteX5" fmla="*/ 160229 w 385765"/>
                <a:gd name="connsiteY5" fmla="*/ 366629 h 394143"/>
                <a:gd name="connsiteX6" fmla="*/ 2658 w 385765"/>
                <a:gd name="connsiteY6" fmla="*/ 372981 h 394143"/>
                <a:gd name="connsiteX7" fmla="*/ 64907 w 385765"/>
                <a:gd name="connsiteY7" fmla="*/ 229031 h 394143"/>
                <a:gd name="connsiteX8" fmla="*/ 109959 w 385765"/>
                <a:gd name="connsiteY8" fmla="*/ 70375 h 394143"/>
                <a:gd name="connsiteX0" fmla="*/ 111916 w 387722"/>
                <a:gd name="connsiteY0" fmla="*/ 70375 h 394143"/>
                <a:gd name="connsiteX1" fmla="*/ 335596 w 387722"/>
                <a:gd name="connsiteY1" fmla="*/ 4880 h 394143"/>
                <a:gd name="connsiteX2" fmla="*/ 372807 w 387722"/>
                <a:gd name="connsiteY2" fmla="*/ 152561 h 394143"/>
                <a:gd name="connsiteX3" fmla="*/ 361122 w 387722"/>
                <a:gd name="connsiteY3" fmla="*/ 247787 h 394143"/>
                <a:gd name="connsiteX4" fmla="*/ 274899 w 387722"/>
                <a:gd name="connsiteY4" fmla="*/ 296104 h 394143"/>
                <a:gd name="connsiteX5" fmla="*/ 162186 w 387722"/>
                <a:gd name="connsiteY5" fmla="*/ 366629 h 394143"/>
                <a:gd name="connsiteX6" fmla="*/ 4615 w 387722"/>
                <a:gd name="connsiteY6" fmla="*/ 372981 h 394143"/>
                <a:gd name="connsiteX7" fmla="*/ 66864 w 387722"/>
                <a:gd name="connsiteY7" fmla="*/ 229031 h 394143"/>
                <a:gd name="connsiteX8" fmla="*/ 111916 w 38772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952"/>
                <a:gd name="connsiteY0" fmla="*/ 70375 h 394143"/>
                <a:gd name="connsiteX1" fmla="*/ 352826 w 404952"/>
                <a:gd name="connsiteY1" fmla="*/ 4880 h 394143"/>
                <a:gd name="connsiteX2" fmla="*/ 390037 w 404952"/>
                <a:gd name="connsiteY2" fmla="*/ 152561 h 394143"/>
                <a:gd name="connsiteX3" fmla="*/ 378352 w 404952"/>
                <a:gd name="connsiteY3" fmla="*/ 247787 h 394143"/>
                <a:gd name="connsiteX4" fmla="*/ 292129 w 404952"/>
                <a:gd name="connsiteY4" fmla="*/ 296104 h 394143"/>
                <a:gd name="connsiteX5" fmla="*/ 179416 w 404952"/>
                <a:gd name="connsiteY5" fmla="*/ 366629 h 394143"/>
                <a:gd name="connsiteX6" fmla="*/ 21845 w 404952"/>
                <a:gd name="connsiteY6" fmla="*/ 372981 h 394143"/>
                <a:gd name="connsiteX7" fmla="*/ 84094 w 404952"/>
                <a:gd name="connsiteY7" fmla="*/ 229031 h 394143"/>
                <a:gd name="connsiteX8" fmla="*/ 129146 w 404952"/>
                <a:gd name="connsiteY8" fmla="*/ 70375 h 394143"/>
                <a:gd name="connsiteX0" fmla="*/ 129146 w 404600"/>
                <a:gd name="connsiteY0" fmla="*/ 71361 h 395129"/>
                <a:gd name="connsiteX1" fmla="*/ 352826 w 404600"/>
                <a:gd name="connsiteY1" fmla="*/ 5866 h 395129"/>
                <a:gd name="connsiteX2" fmla="*/ 390037 w 404600"/>
                <a:gd name="connsiteY2" fmla="*/ 153547 h 395129"/>
                <a:gd name="connsiteX3" fmla="*/ 378352 w 404600"/>
                <a:gd name="connsiteY3" fmla="*/ 248773 h 395129"/>
                <a:gd name="connsiteX4" fmla="*/ 292129 w 404600"/>
                <a:gd name="connsiteY4" fmla="*/ 297090 h 395129"/>
                <a:gd name="connsiteX5" fmla="*/ 179416 w 404600"/>
                <a:gd name="connsiteY5" fmla="*/ 367615 h 395129"/>
                <a:gd name="connsiteX6" fmla="*/ 21845 w 404600"/>
                <a:gd name="connsiteY6" fmla="*/ 373967 h 395129"/>
                <a:gd name="connsiteX7" fmla="*/ 84094 w 404600"/>
                <a:gd name="connsiteY7" fmla="*/ 230017 h 395129"/>
                <a:gd name="connsiteX8" fmla="*/ 129146 w 404600"/>
                <a:gd name="connsiteY8" fmla="*/ 71361 h 395129"/>
                <a:gd name="connsiteX0" fmla="*/ 129146 w 404600"/>
                <a:gd name="connsiteY0" fmla="*/ 71361 h 395129"/>
                <a:gd name="connsiteX1" fmla="*/ 352826 w 404600"/>
                <a:gd name="connsiteY1" fmla="*/ 5866 h 395129"/>
                <a:gd name="connsiteX2" fmla="*/ 390037 w 404600"/>
                <a:gd name="connsiteY2" fmla="*/ 153547 h 395129"/>
                <a:gd name="connsiteX3" fmla="*/ 378352 w 404600"/>
                <a:gd name="connsiteY3" fmla="*/ 248773 h 395129"/>
                <a:gd name="connsiteX4" fmla="*/ 292129 w 404600"/>
                <a:gd name="connsiteY4" fmla="*/ 297090 h 395129"/>
                <a:gd name="connsiteX5" fmla="*/ 179416 w 404600"/>
                <a:gd name="connsiteY5" fmla="*/ 367615 h 395129"/>
                <a:gd name="connsiteX6" fmla="*/ 21845 w 404600"/>
                <a:gd name="connsiteY6" fmla="*/ 373967 h 395129"/>
                <a:gd name="connsiteX7" fmla="*/ 84094 w 404600"/>
                <a:gd name="connsiteY7" fmla="*/ 230017 h 395129"/>
                <a:gd name="connsiteX8" fmla="*/ 129146 w 404600"/>
                <a:gd name="connsiteY8" fmla="*/ 71361 h 395129"/>
                <a:gd name="connsiteX0" fmla="*/ 129146 w 408520"/>
                <a:gd name="connsiteY0" fmla="*/ 73202 h 396970"/>
                <a:gd name="connsiteX1" fmla="*/ 352826 w 408520"/>
                <a:gd name="connsiteY1" fmla="*/ 7707 h 396970"/>
                <a:gd name="connsiteX2" fmla="*/ 390037 w 408520"/>
                <a:gd name="connsiteY2" fmla="*/ 155388 h 396970"/>
                <a:gd name="connsiteX3" fmla="*/ 378352 w 408520"/>
                <a:gd name="connsiteY3" fmla="*/ 250614 h 396970"/>
                <a:gd name="connsiteX4" fmla="*/ 292129 w 408520"/>
                <a:gd name="connsiteY4" fmla="*/ 298931 h 396970"/>
                <a:gd name="connsiteX5" fmla="*/ 179416 w 408520"/>
                <a:gd name="connsiteY5" fmla="*/ 369456 h 396970"/>
                <a:gd name="connsiteX6" fmla="*/ 21845 w 408520"/>
                <a:gd name="connsiteY6" fmla="*/ 375808 h 396970"/>
                <a:gd name="connsiteX7" fmla="*/ 84094 w 408520"/>
                <a:gd name="connsiteY7" fmla="*/ 231858 h 396970"/>
                <a:gd name="connsiteX8" fmla="*/ 129146 w 408520"/>
                <a:gd name="connsiteY8" fmla="*/ 73202 h 396970"/>
                <a:gd name="connsiteX0" fmla="*/ 129146 w 423602"/>
                <a:gd name="connsiteY0" fmla="*/ 70985 h 394753"/>
                <a:gd name="connsiteX1" fmla="*/ 352826 w 423602"/>
                <a:gd name="connsiteY1" fmla="*/ 5490 h 394753"/>
                <a:gd name="connsiteX2" fmla="*/ 390037 w 423602"/>
                <a:gd name="connsiteY2" fmla="*/ 153171 h 394753"/>
                <a:gd name="connsiteX3" fmla="*/ 378352 w 423602"/>
                <a:gd name="connsiteY3" fmla="*/ 248397 h 394753"/>
                <a:gd name="connsiteX4" fmla="*/ 292129 w 423602"/>
                <a:gd name="connsiteY4" fmla="*/ 296714 h 394753"/>
                <a:gd name="connsiteX5" fmla="*/ 179416 w 423602"/>
                <a:gd name="connsiteY5" fmla="*/ 367239 h 394753"/>
                <a:gd name="connsiteX6" fmla="*/ 21845 w 423602"/>
                <a:gd name="connsiteY6" fmla="*/ 373591 h 394753"/>
                <a:gd name="connsiteX7" fmla="*/ 84094 w 423602"/>
                <a:gd name="connsiteY7" fmla="*/ 229641 h 394753"/>
                <a:gd name="connsiteX8" fmla="*/ 129146 w 423602"/>
                <a:gd name="connsiteY8" fmla="*/ 70985 h 394753"/>
                <a:gd name="connsiteX0" fmla="*/ 129146 w 423602"/>
                <a:gd name="connsiteY0" fmla="*/ 70985 h 385169"/>
                <a:gd name="connsiteX1" fmla="*/ 352826 w 423602"/>
                <a:gd name="connsiteY1" fmla="*/ 5490 h 385169"/>
                <a:gd name="connsiteX2" fmla="*/ 390037 w 423602"/>
                <a:gd name="connsiteY2" fmla="*/ 153171 h 385169"/>
                <a:gd name="connsiteX3" fmla="*/ 378352 w 423602"/>
                <a:gd name="connsiteY3" fmla="*/ 248397 h 385169"/>
                <a:gd name="connsiteX4" fmla="*/ 292129 w 423602"/>
                <a:gd name="connsiteY4" fmla="*/ 296714 h 385169"/>
                <a:gd name="connsiteX5" fmla="*/ 209601 w 423602"/>
                <a:gd name="connsiteY5" fmla="*/ 341119 h 385169"/>
                <a:gd name="connsiteX6" fmla="*/ 21845 w 423602"/>
                <a:gd name="connsiteY6" fmla="*/ 373591 h 385169"/>
                <a:gd name="connsiteX7" fmla="*/ 84094 w 423602"/>
                <a:gd name="connsiteY7" fmla="*/ 229641 h 385169"/>
                <a:gd name="connsiteX8" fmla="*/ 129146 w 423602"/>
                <a:gd name="connsiteY8" fmla="*/ 70985 h 385169"/>
                <a:gd name="connsiteX0" fmla="*/ 129146 w 423602"/>
                <a:gd name="connsiteY0" fmla="*/ 70985 h 382096"/>
                <a:gd name="connsiteX1" fmla="*/ 352826 w 423602"/>
                <a:gd name="connsiteY1" fmla="*/ 5490 h 382096"/>
                <a:gd name="connsiteX2" fmla="*/ 390037 w 423602"/>
                <a:gd name="connsiteY2" fmla="*/ 153171 h 382096"/>
                <a:gd name="connsiteX3" fmla="*/ 378352 w 423602"/>
                <a:gd name="connsiteY3" fmla="*/ 248397 h 382096"/>
                <a:gd name="connsiteX4" fmla="*/ 292129 w 423602"/>
                <a:gd name="connsiteY4" fmla="*/ 296714 h 382096"/>
                <a:gd name="connsiteX5" fmla="*/ 217952 w 423602"/>
                <a:gd name="connsiteY5" fmla="*/ 324499 h 382096"/>
                <a:gd name="connsiteX6" fmla="*/ 21845 w 423602"/>
                <a:gd name="connsiteY6" fmla="*/ 373591 h 382096"/>
                <a:gd name="connsiteX7" fmla="*/ 84094 w 423602"/>
                <a:gd name="connsiteY7" fmla="*/ 229641 h 382096"/>
                <a:gd name="connsiteX8" fmla="*/ 129146 w 423602"/>
                <a:gd name="connsiteY8" fmla="*/ 70985 h 382096"/>
                <a:gd name="connsiteX0" fmla="*/ 129146 w 423602"/>
                <a:gd name="connsiteY0" fmla="*/ 70985 h 383015"/>
                <a:gd name="connsiteX1" fmla="*/ 352826 w 423602"/>
                <a:gd name="connsiteY1" fmla="*/ 5490 h 383015"/>
                <a:gd name="connsiteX2" fmla="*/ 390037 w 423602"/>
                <a:gd name="connsiteY2" fmla="*/ 153171 h 383015"/>
                <a:gd name="connsiteX3" fmla="*/ 378352 w 423602"/>
                <a:gd name="connsiteY3" fmla="*/ 248397 h 383015"/>
                <a:gd name="connsiteX4" fmla="*/ 292129 w 423602"/>
                <a:gd name="connsiteY4" fmla="*/ 296714 h 383015"/>
                <a:gd name="connsiteX5" fmla="*/ 217952 w 423602"/>
                <a:gd name="connsiteY5" fmla="*/ 324499 h 383015"/>
                <a:gd name="connsiteX6" fmla="*/ 21845 w 423602"/>
                <a:gd name="connsiteY6" fmla="*/ 373591 h 383015"/>
                <a:gd name="connsiteX7" fmla="*/ 84094 w 423602"/>
                <a:gd name="connsiteY7" fmla="*/ 229641 h 383015"/>
                <a:gd name="connsiteX8" fmla="*/ 129146 w 423602"/>
                <a:gd name="connsiteY8" fmla="*/ 70985 h 383015"/>
                <a:gd name="connsiteX0" fmla="*/ 129146 w 423602"/>
                <a:gd name="connsiteY0" fmla="*/ 70985 h 383015"/>
                <a:gd name="connsiteX1" fmla="*/ 352826 w 423602"/>
                <a:gd name="connsiteY1" fmla="*/ 5490 h 383015"/>
                <a:gd name="connsiteX2" fmla="*/ 390037 w 423602"/>
                <a:gd name="connsiteY2" fmla="*/ 153171 h 383015"/>
                <a:gd name="connsiteX3" fmla="*/ 378352 w 423602"/>
                <a:gd name="connsiteY3" fmla="*/ 248397 h 383015"/>
                <a:gd name="connsiteX4" fmla="*/ 292129 w 423602"/>
                <a:gd name="connsiteY4" fmla="*/ 296714 h 383015"/>
                <a:gd name="connsiteX5" fmla="*/ 217952 w 423602"/>
                <a:gd name="connsiteY5" fmla="*/ 324499 h 383015"/>
                <a:gd name="connsiteX6" fmla="*/ 21845 w 423602"/>
                <a:gd name="connsiteY6" fmla="*/ 373591 h 383015"/>
                <a:gd name="connsiteX7" fmla="*/ 84094 w 423602"/>
                <a:gd name="connsiteY7" fmla="*/ 229641 h 383015"/>
                <a:gd name="connsiteX8" fmla="*/ 129146 w 423602"/>
                <a:gd name="connsiteY8" fmla="*/ 70985 h 383015"/>
                <a:gd name="connsiteX0" fmla="*/ 129146 w 423602"/>
                <a:gd name="connsiteY0" fmla="*/ 70985 h 383015"/>
                <a:gd name="connsiteX1" fmla="*/ 352826 w 423602"/>
                <a:gd name="connsiteY1" fmla="*/ 5490 h 383015"/>
                <a:gd name="connsiteX2" fmla="*/ 390037 w 423602"/>
                <a:gd name="connsiteY2" fmla="*/ 153171 h 383015"/>
                <a:gd name="connsiteX3" fmla="*/ 378352 w 423602"/>
                <a:gd name="connsiteY3" fmla="*/ 248397 h 383015"/>
                <a:gd name="connsiteX4" fmla="*/ 299730 w 423602"/>
                <a:gd name="connsiteY4" fmla="*/ 314182 h 383015"/>
                <a:gd name="connsiteX5" fmla="*/ 217952 w 423602"/>
                <a:gd name="connsiteY5" fmla="*/ 324499 h 383015"/>
                <a:gd name="connsiteX6" fmla="*/ 21845 w 423602"/>
                <a:gd name="connsiteY6" fmla="*/ 373591 h 383015"/>
                <a:gd name="connsiteX7" fmla="*/ 84094 w 423602"/>
                <a:gd name="connsiteY7" fmla="*/ 229641 h 383015"/>
                <a:gd name="connsiteX8" fmla="*/ 129146 w 423602"/>
                <a:gd name="connsiteY8" fmla="*/ 70985 h 383015"/>
                <a:gd name="connsiteX0" fmla="*/ 129146 w 423602"/>
                <a:gd name="connsiteY0" fmla="*/ 70985 h 383015"/>
                <a:gd name="connsiteX1" fmla="*/ 352826 w 423602"/>
                <a:gd name="connsiteY1" fmla="*/ 5490 h 383015"/>
                <a:gd name="connsiteX2" fmla="*/ 390037 w 423602"/>
                <a:gd name="connsiteY2" fmla="*/ 153171 h 383015"/>
                <a:gd name="connsiteX3" fmla="*/ 378352 w 423602"/>
                <a:gd name="connsiteY3" fmla="*/ 248397 h 383015"/>
                <a:gd name="connsiteX4" fmla="*/ 299730 w 423602"/>
                <a:gd name="connsiteY4" fmla="*/ 314182 h 383015"/>
                <a:gd name="connsiteX5" fmla="*/ 217952 w 423602"/>
                <a:gd name="connsiteY5" fmla="*/ 324499 h 383015"/>
                <a:gd name="connsiteX6" fmla="*/ 21845 w 423602"/>
                <a:gd name="connsiteY6" fmla="*/ 373591 h 383015"/>
                <a:gd name="connsiteX7" fmla="*/ 84094 w 423602"/>
                <a:gd name="connsiteY7" fmla="*/ 229641 h 383015"/>
                <a:gd name="connsiteX8" fmla="*/ 129146 w 423602"/>
                <a:gd name="connsiteY8" fmla="*/ 70985 h 383015"/>
                <a:gd name="connsiteX0" fmla="*/ 129146 w 423602"/>
                <a:gd name="connsiteY0" fmla="*/ 70985 h 383015"/>
                <a:gd name="connsiteX1" fmla="*/ 352826 w 423602"/>
                <a:gd name="connsiteY1" fmla="*/ 5490 h 383015"/>
                <a:gd name="connsiteX2" fmla="*/ 390037 w 423602"/>
                <a:gd name="connsiteY2" fmla="*/ 153171 h 383015"/>
                <a:gd name="connsiteX3" fmla="*/ 378352 w 423602"/>
                <a:gd name="connsiteY3" fmla="*/ 248397 h 383015"/>
                <a:gd name="connsiteX4" fmla="*/ 299730 w 423602"/>
                <a:gd name="connsiteY4" fmla="*/ 314182 h 383015"/>
                <a:gd name="connsiteX5" fmla="*/ 217952 w 423602"/>
                <a:gd name="connsiteY5" fmla="*/ 324499 h 383015"/>
                <a:gd name="connsiteX6" fmla="*/ 21845 w 423602"/>
                <a:gd name="connsiteY6" fmla="*/ 373591 h 383015"/>
                <a:gd name="connsiteX7" fmla="*/ 84094 w 423602"/>
                <a:gd name="connsiteY7" fmla="*/ 229641 h 383015"/>
                <a:gd name="connsiteX8" fmla="*/ 129146 w 423602"/>
                <a:gd name="connsiteY8" fmla="*/ 70985 h 383015"/>
                <a:gd name="connsiteX0" fmla="*/ 129146 w 413079"/>
                <a:gd name="connsiteY0" fmla="*/ 72048 h 384078"/>
                <a:gd name="connsiteX1" fmla="*/ 352826 w 413079"/>
                <a:gd name="connsiteY1" fmla="*/ 6553 h 384078"/>
                <a:gd name="connsiteX2" fmla="*/ 380119 w 413079"/>
                <a:gd name="connsiteY2" fmla="*/ 139979 h 384078"/>
                <a:gd name="connsiteX3" fmla="*/ 378352 w 413079"/>
                <a:gd name="connsiteY3" fmla="*/ 249460 h 384078"/>
                <a:gd name="connsiteX4" fmla="*/ 299730 w 413079"/>
                <a:gd name="connsiteY4" fmla="*/ 315245 h 384078"/>
                <a:gd name="connsiteX5" fmla="*/ 217952 w 413079"/>
                <a:gd name="connsiteY5" fmla="*/ 325562 h 384078"/>
                <a:gd name="connsiteX6" fmla="*/ 21845 w 413079"/>
                <a:gd name="connsiteY6" fmla="*/ 374654 h 384078"/>
                <a:gd name="connsiteX7" fmla="*/ 84094 w 413079"/>
                <a:gd name="connsiteY7" fmla="*/ 230704 h 384078"/>
                <a:gd name="connsiteX8" fmla="*/ 129146 w 413079"/>
                <a:gd name="connsiteY8" fmla="*/ 72048 h 384078"/>
                <a:gd name="connsiteX0" fmla="*/ 129146 w 421008"/>
                <a:gd name="connsiteY0" fmla="*/ 72048 h 384078"/>
                <a:gd name="connsiteX1" fmla="*/ 352826 w 421008"/>
                <a:gd name="connsiteY1" fmla="*/ 6553 h 384078"/>
                <a:gd name="connsiteX2" fmla="*/ 380119 w 421008"/>
                <a:gd name="connsiteY2" fmla="*/ 139979 h 384078"/>
                <a:gd name="connsiteX3" fmla="*/ 378352 w 421008"/>
                <a:gd name="connsiteY3" fmla="*/ 249460 h 384078"/>
                <a:gd name="connsiteX4" fmla="*/ 299730 w 421008"/>
                <a:gd name="connsiteY4" fmla="*/ 315245 h 384078"/>
                <a:gd name="connsiteX5" fmla="*/ 217952 w 421008"/>
                <a:gd name="connsiteY5" fmla="*/ 325562 h 384078"/>
                <a:gd name="connsiteX6" fmla="*/ 21845 w 421008"/>
                <a:gd name="connsiteY6" fmla="*/ 374654 h 384078"/>
                <a:gd name="connsiteX7" fmla="*/ 84094 w 421008"/>
                <a:gd name="connsiteY7" fmla="*/ 230704 h 384078"/>
                <a:gd name="connsiteX8" fmla="*/ 129146 w 421008"/>
                <a:gd name="connsiteY8" fmla="*/ 72048 h 384078"/>
                <a:gd name="connsiteX0" fmla="*/ 129146 w 466537"/>
                <a:gd name="connsiteY0" fmla="*/ 72048 h 384078"/>
                <a:gd name="connsiteX1" fmla="*/ 352826 w 466537"/>
                <a:gd name="connsiteY1" fmla="*/ 6553 h 384078"/>
                <a:gd name="connsiteX2" fmla="*/ 380119 w 466537"/>
                <a:gd name="connsiteY2" fmla="*/ 139979 h 384078"/>
                <a:gd name="connsiteX3" fmla="*/ 460904 w 466537"/>
                <a:gd name="connsiteY3" fmla="*/ 217252 h 384078"/>
                <a:gd name="connsiteX4" fmla="*/ 299730 w 466537"/>
                <a:gd name="connsiteY4" fmla="*/ 315245 h 384078"/>
                <a:gd name="connsiteX5" fmla="*/ 217952 w 466537"/>
                <a:gd name="connsiteY5" fmla="*/ 325562 h 384078"/>
                <a:gd name="connsiteX6" fmla="*/ 21845 w 466537"/>
                <a:gd name="connsiteY6" fmla="*/ 374654 h 384078"/>
                <a:gd name="connsiteX7" fmla="*/ 84094 w 466537"/>
                <a:gd name="connsiteY7" fmla="*/ 230704 h 384078"/>
                <a:gd name="connsiteX8" fmla="*/ 129146 w 466537"/>
                <a:gd name="connsiteY8" fmla="*/ 72048 h 384078"/>
                <a:gd name="connsiteX0" fmla="*/ 129146 w 466537"/>
                <a:gd name="connsiteY0" fmla="*/ 72048 h 384078"/>
                <a:gd name="connsiteX1" fmla="*/ 352826 w 466537"/>
                <a:gd name="connsiteY1" fmla="*/ 6553 h 384078"/>
                <a:gd name="connsiteX2" fmla="*/ 380119 w 466537"/>
                <a:gd name="connsiteY2" fmla="*/ 139979 h 384078"/>
                <a:gd name="connsiteX3" fmla="*/ 460904 w 466537"/>
                <a:gd name="connsiteY3" fmla="*/ 217252 h 384078"/>
                <a:gd name="connsiteX4" fmla="*/ 317369 w 466537"/>
                <a:gd name="connsiteY4" fmla="*/ 270429 h 384078"/>
                <a:gd name="connsiteX5" fmla="*/ 217952 w 466537"/>
                <a:gd name="connsiteY5" fmla="*/ 325562 h 384078"/>
                <a:gd name="connsiteX6" fmla="*/ 21845 w 466537"/>
                <a:gd name="connsiteY6" fmla="*/ 374654 h 384078"/>
                <a:gd name="connsiteX7" fmla="*/ 84094 w 466537"/>
                <a:gd name="connsiteY7" fmla="*/ 230704 h 384078"/>
                <a:gd name="connsiteX8" fmla="*/ 129146 w 466537"/>
                <a:gd name="connsiteY8" fmla="*/ 72048 h 384078"/>
                <a:gd name="connsiteX0" fmla="*/ 129146 w 471705"/>
                <a:gd name="connsiteY0" fmla="*/ 72048 h 384078"/>
                <a:gd name="connsiteX1" fmla="*/ 352826 w 471705"/>
                <a:gd name="connsiteY1" fmla="*/ 6553 h 384078"/>
                <a:gd name="connsiteX2" fmla="*/ 380119 w 471705"/>
                <a:gd name="connsiteY2" fmla="*/ 139979 h 384078"/>
                <a:gd name="connsiteX3" fmla="*/ 460904 w 471705"/>
                <a:gd name="connsiteY3" fmla="*/ 217252 h 384078"/>
                <a:gd name="connsiteX4" fmla="*/ 217952 w 471705"/>
                <a:gd name="connsiteY4" fmla="*/ 325562 h 384078"/>
                <a:gd name="connsiteX5" fmla="*/ 21845 w 471705"/>
                <a:gd name="connsiteY5" fmla="*/ 374654 h 384078"/>
                <a:gd name="connsiteX6" fmla="*/ 84094 w 471705"/>
                <a:gd name="connsiteY6" fmla="*/ 230704 h 384078"/>
                <a:gd name="connsiteX7" fmla="*/ 129146 w 471705"/>
                <a:gd name="connsiteY7" fmla="*/ 72048 h 384078"/>
                <a:gd name="connsiteX0" fmla="*/ 129146 w 473515"/>
                <a:gd name="connsiteY0" fmla="*/ 71748 h 383778"/>
                <a:gd name="connsiteX1" fmla="*/ 352826 w 473515"/>
                <a:gd name="connsiteY1" fmla="*/ 6253 h 383778"/>
                <a:gd name="connsiteX2" fmla="*/ 389487 w 473515"/>
                <a:gd name="connsiteY2" fmla="*/ 135602 h 383778"/>
                <a:gd name="connsiteX3" fmla="*/ 460904 w 473515"/>
                <a:gd name="connsiteY3" fmla="*/ 216952 h 383778"/>
                <a:gd name="connsiteX4" fmla="*/ 217952 w 473515"/>
                <a:gd name="connsiteY4" fmla="*/ 325262 h 383778"/>
                <a:gd name="connsiteX5" fmla="*/ 21845 w 473515"/>
                <a:gd name="connsiteY5" fmla="*/ 374354 h 383778"/>
                <a:gd name="connsiteX6" fmla="*/ 84094 w 473515"/>
                <a:gd name="connsiteY6" fmla="*/ 230404 h 383778"/>
                <a:gd name="connsiteX7" fmla="*/ 129146 w 473515"/>
                <a:gd name="connsiteY7" fmla="*/ 71748 h 383778"/>
                <a:gd name="connsiteX0" fmla="*/ 129146 w 473515"/>
                <a:gd name="connsiteY0" fmla="*/ 71748 h 383778"/>
                <a:gd name="connsiteX1" fmla="*/ 352826 w 473515"/>
                <a:gd name="connsiteY1" fmla="*/ 6253 h 383778"/>
                <a:gd name="connsiteX2" fmla="*/ 389487 w 473515"/>
                <a:gd name="connsiteY2" fmla="*/ 135602 h 383778"/>
                <a:gd name="connsiteX3" fmla="*/ 460904 w 473515"/>
                <a:gd name="connsiteY3" fmla="*/ 216952 h 383778"/>
                <a:gd name="connsiteX4" fmla="*/ 217952 w 473515"/>
                <a:gd name="connsiteY4" fmla="*/ 325262 h 383778"/>
                <a:gd name="connsiteX5" fmla="*/ 21845 w 473515"/>
                <a:gd name="connsiteY5" fmla="*/ 374354 h 383778"/>
                <a:gd name="connsiteX6" fmla="*/ 84094 w 473515"/>
                <a:gd name="connsiteY6" fmla="*/ 230404 h 383778"/>
                <a:gd name="connsiteX7" fmla="*/ 129146 w 473515"/>
                <a:gd name="connsiteY7" fmla="*/ 71748 h 383778"/>
                <a:gd name="connsiteX0" fmla="*/ 129146 w 479169"/>
                <a:gd name="connsiteY0" fmla="*/ 71748 h 383778"/>
                <a:gd name="connsiteX1" fmla="*/ 352826 w 479169"/>
                <a:gd name="connsiteY1" fmla="*/ 6253 h 383778"/>
                <a:gd name="connsiteX2" fmla="*/ 389487 w 479169"/>
                <a:gd name="connsiteY2" fmla="*/ 135602 h 383778"/>
                <a:gd name="connsiteX3" fmla="*/ 467960 w 479169"/>
                <a:gd name="connsiteY3" fmla="*/ 199026 h 383778"/>
                <a:gd name="connsiteX4" fmla="*/ 217952 w 479169"/>
                <a:gd name="connsiteY4" fmla="*/ 325262 h 383778"/>
                <a:gd name="connsiteX5" fmla="*/ 21845 w 479169"/>
                <a:gd name="connsiteY5" fmla="*/ 374354 h 383778"/>
                <a:gd name="connsiteX6" fmla="*/ 84094 w 479169"/>
                <a:gd name="connsiteY6" fmla="*/ 230404 h 383778"/>
                <a:gd name="connsiteX7" fmla="*/ 129146 w 479169"/>
                <a:gd name="connsiteY7" fmla="*/ 71748 h 383778"/>
                <a:gd name="connsiteX0" fmla="*/ 129146 w 467960"/>
                <a:gd name="connsiteY0" fmla="*/ 71748 h 383778"/>
                <a:gd name="connsiteX1" fmla="*/ 352826 w 467960"/>
                <a:gd name="connsiteY1" fmla="*/ 6253 h 383778"/>
                <a:gd name="connsiteX2" fmla="*/ 389487 w 467960"/>
                <a:gd name="connsiteY2" fmla="*/ 135602 h 383778"/>
                <a:gd name="connsiteX3" fmla="*/ 467960 w 467960"/>
                <a:gd name="connsiteY3" fmla="*/ 199026 h 383778"/>
                <a:gd name="connsiteX4" fmla="*/ 217952 w 467960"/>
                <a:gd name="connsiteY4" fmla="*/ 325262 h 383778"/>
                <a:gd name="connsiteX5" fmla="*/ 21845 w 467960"/>
                <a:gd name="connsiteY5" fmla="*/ 374354 h 383778"/>
                <a:gd name="connsiteX6" fmla="*/ 84094 w 467960"/>
                <a:gd name="connsiteY6" fmla="*/ 230404 h 383778"/>
                <a:gd name="connsiteX7" fmla="*/ 129146 w 467960"/>
                <a:gd name="connsiteY7" fmla="*/ 71748 h 383778"/>
                <a:gd name="connsiteX0" fmla="*/ 129146 w 467960"/>
                <a:gd name="connsiteY0" fmla="*/ 71748 h 383778"/>
                <a:gd name="connsiteX1" fmla="*/ 352826 w 467960"/>
                <a:gd name="connsiteY1" fmla="*/ 6253 h 383778"/>
                <a:gd name="connsiteX2" fmla="*/ 389487 w 467960"/>
                <a:gd name="connsiteY2" fmla="*/ 135602 h 383778"/>
                <a:gd name="connsiteX3" fmla="*/ 467960 w 467960"/>
                <a:gd name="connsiteY3" fmla="*/ 199026 h 383778"/>
                <a:gd name="connsiteX4" fmla="*/ 217952 w 467960"/>
                <a:gd name="connsiteY4" fmla="*/ 325262 h 383778"/>
                <a:gd name="connsiteX5" fmla="*/ 21845 w 467960"/>
                <a:gd name="connsiteY5" fmla="*/ 374354 h 383778"/>
                <a:gd name="connsiteX6" fmla="*/ 84094 w 467960"/>
                <a:gd name="connsiteY6" fmla="*/ 230404 h 383778"/>
                <a:gd name="connsiteX7" fmla="*/ 129146 w 467960"/>
                <a:gd name="connsiteY7" fmla="*/ 71748 h 383778"/>
                <a:gd name="connsiteX0" fmla="*/ 129146 w 467960"/>
                <a:gd name="connsiteY0" fmla="*/ 71748 h 383778"/>
                <a:gd name="connsiteX1" fmla="*/ 352826 w 467960"/>
                <a:gd name="connsiteY1" fmla="*/ 6253 h 383778"/>
                <a:gd name="connsiteX2" fmla="*/ 389487 w 467960"/>
                <a:gd name="connsiteY2" fmla="*/ 135602 h 383778"/>
                <a:gd name="connsiteX3" fmla="*/ 467960 w 467960"/>
                <a:gd name="connsiteY3" fmla="*/ 199026 h 383778"/>
                <a:gd name="connsiteX4" fmla="*/ 217952 w 467960"/>
                <a:gd name="connsiteY4" fmla="*/ 325262 h 383778"/>
                <a:gd name="connsiteX5" fmla="*/ 21845 w 467960"/>
                <a:gd name="connsiteY5" fmla="*/ 374354 h 383778"/>
                <a:gd name="connsiteX6" fmla="*/ 84094 w 467960"/>
                <a:gd name="connsiteY6" fmla="*/ 230404 h 383778"/>
                <a:gd name="connsiteX7" fmla="*/ 129146 w 467960"/>
                <a:gd name="connsiteY7" fmla="*/ 71748 h 383778"/>
                <a:gd name="connsiteX0" fmla="*/ 129146 w 467960"/>
                <a:gd name="connsiteY0" fmla="*/ 38929 h 350959"/>
                <a:gd name="connsiteX1" fmla="*/ 266889 w 467960"/>
                <a:gd name="connsiteY1" fmla="*/ 40543 h 350959"/>
                <a:gd name="connsiteX2" fmla="*/ 389487 w 467960"/>
                <a:gd name="connsiteY2" fmla="*/ 102783 h 350959"/>
                <a:gd name="connsiteX3" fmla="*/ 467960 w 467960"/>
                <a:gd name="connsiteY3" fmla="*/ 166207 h 350959"/>
                <a:gd name="connsiteX4" fmla="*/ 217952 w 467960"/>
                <a:gd name="connsiteY4" fmla="*/ 292443 h 350959"/>
                <a:gd name="connsiteX5" fmla="*/ 21845 w 467960"/>
                <a:gd name="connsiteY5" fmla="*/ 341535 h 350959"/>
                <a:gd name="connsiteX6" fmla="*/ 84094 w 467960"/>
                <a:gd name="connsiteY6" fmla="*/ 197585 h 350959"/>
                <a:gd name="connsiteX7" fmla="*/ 129146 w 467960"/>
                <a:gd name="connsiteY7" fmla="*/ 38929 h 350959"/>
                <a:gd name="connsiteX0" fmla="*/ 129146 w 467960"/>
                <a:gd name="connsiteY0" fmla="*/ 32109 h 344139"/>
                <a:gd name="connsiteX1" fmla="*/ 266889 w 467960"/>
                <a:gd name="connsiteY1" fmla="*/ 33723 h 344139"/>
                <a:gd name="connsiteX2" fmla="*/ 389487 w 467960"/>
                <a:gd name="connsiteY2" fmla="*/ 95963 h 344139"/>
                <a:gd name="connsiteX3" fmla="*/ 467960 w 467960"/>
                <a:gd name="connsiteY3" fmla="*/ 159387 h 344139"/>
                <a:gd name="connsiteX4" fmla="*/ 217952 w 467960"/>
                <a:gd name="connsiteY4" fmla="*/ 285623 h 344139"/>
                <a:gd name="connsiteX5" fmla="*/ 21845 w 467960"/>
                <a:gd name="connsiteY5" fmla="*/ 334715 h 344139"/>
                <a:gd name="connsiteX6" fmla="*/ 84094 w 467960"/>
                <a:gd name="connsiteY6" fmla="*/ 190765 h 344139"/>
                <a:gd name="connsiteX7" fmla="*/ 129146 w 467960"/>
                <a:gd name="connsiteY7" fmla="*/ 32109 h 344139"/>
                <a:gd name="connsiteX0" fmla="*/ 129146 w 467960"/>
                <a:gd name="connsiteY0" fmla="*/ 38148 h 350178"/>
                <a:gd name="connsiteX1" fmla="*/ 266889 w 467960"/>
                <a:gd name="connsiteY1" fmla="*/ 39762 h 350178"/>
                <a:gd name="connsiteX2" fmla="*/ 417998 w 467960"/>
                <a:gd name="connsiteY2" fmla="*/ 82167 h 350178"/>
                <a:gd name="connsiteX3" fmla="*/ 467960 w 467960"/>
                <a:gd name="connsiteY3" fmla="*/ 165426 h 350178"/>
                <a:gd name="connsiteX4" fmla="*/ 217952 w 467960"/>
                <a:gd name="connsiteY4" fmla="*/ 291662 h 350178"/>
                <a:gd name="connsiteX5" fmla="*/ 21845 w 467960"/>
                <a:gd name="connsiteY5" fmla="*/ 340754 h 350178"/>
                <a:gd name="connsiteX6" fmla="*/ 84094 w 467960"/>
                <a:gd name="connsiteY6" fmla="*/ 196804 h 350178"/>
                <a:gd name="connsiteX7" fmla="*/ 129146 w 467960"/>
                <a:gd name="connsiteY7" fmla="*/ 38148 h 350178"/>
                <a:gd name="connsiteX0" fmla="*/ 129146 w 467960"/>
                <a:gd name="connsiteY0" fmla="*/ 38413 h 350443"/>
                <a:gd name="connsiteX1" fmla="*/ 266889 w 467960"/>
                <a:gd name="connsiteY1" fmla="*/ 40027 h 350443"/>
                <a:gd name="connsiteX2" fmla="*/ 402384 w 467960"/>
                <a:gd name="connsiteY2" fmla="*/ 89227 h 350443"/>
                <a:gd name="connsiteX3" fmla="*/ 467960 w 467960"/>
                <a:gd name="connsiteY3" fmla="*/ 165691 h 350443"/>
                <a:gd name="connsiteX4" fmla="*/ 217952 w 467960"/>
                <a:gd name="connsiteY4" fmla="*/ 291927 h 350443"/>
                <a:gd name="connsiteX5" fmla="*/ 21845 w 467960"/>
                <a:gd name="connsiteY5" fmla="*/ 341019 h 350443"/>
                <a:gd name="connsiteX6" fmla="*/ 84094 w 467960"/>
                <a:gd name="connsiteY6" fmla="*/ 197069 h 350443"/>
                <a:gd name="connsiteX7" fmla="*/ 129146 w 467960"/>
                <a:gd name="connsiteY7" fmla="*/ 38413 h 350443"/>
                <a:gd name="connsiteX0" fmla="*/ 129146 w 467960"/>
                <a:gd name="connsiteY0" fmla="*/ 38413 h 350443"/>
                <a:gd name="connsiteX1" fmla="*/ 266889 w 467960"/>
                <a:gd name="connsiteY1" fmla="*/ 40027 h 350443"/>
                <a:gd name="connsiteX2" fmla="*/ 402384 w 467960"/>
                <a:gd name="connsiteY2" fmla="*/ 89227 h 350443"/>
                <a:gd name="connsiteX3" fmla="*/ 467960 w 467960"/>
                <a:gd name="connsiteY3" fmla="*/ 165691 h 350443"/>
                <a:gd name="connsiteX4" fmla="*/ 217952 w 467960"/>
                <a:gd name="connsiteY4" fmla="*/ 291927 h 350443"/>
                <a:gd name="connsiteX5" fmla="*/ 21845 w 467960"/>
                <a:gd name="connsiteY5" fmla="*/ 341019 h 350443"/>
                <a:gd name="connsiteX6" fmla="*/ 84094 w 467960"/>
                <a:gd name="connsiteY6" fmla="*/ 197069 h 350443"/>
                <a:gd name="connsiteX7" fmla="*/ 129146 w 467960"/>
                <a:gd name="connsiteY7" fmla="*/ 38413 h 350443"/>
                <a:gd name="connsiteX0" fmla="*/ 129146 w 467960"/>
                <a:gd name="connsiteY0" fmla="*/ 38413 h 350443"/>
                <a:gd name="connsiteX1" fmla="*/ 266889 w 467960"/>
                <a:gd name="connsiteY1" fmla="*/ 40027 h 350443"/>
                <a:gd name="connsiteX2" fmla="*/ 402384 w 467960"/>
                <a:gd name="connsiteY2" fmla="*/ 89227 h 350443"/>
                <a:gd name="connsiteX3" fmla="*/ 467960 w 467960"/>
                <a:gd name="connsiteY3" fmla="*/ 165691 h 350443"/>
                <a:gd name="connsiteX4" fmla="*/ 217952 w 467960"/>
                <a:gd name="connsiteY4" fmla="*/ 291927 h 350443"/>
                <a:gd name="connsiteX5" fmla="*/ 21845 w 467960"/>
                <a:gd name="connsiteY5" fmla="*/ 341019 h 350443"/>
                <a:gd name="connsiteX6" fmla="*/ 84094 w 467960"/>
                <a:gd name="connsiteY6" fmla="*/ 197069 h 350443"/>
                <a:gd name="connsiteX7" fmla="*/ 129146 w 467960"/>
                <a:gd name="connsiteY7" fmla="*/ 38413 h 350443"/>
                <a:gd name="connsiteX0" fmla="*/ 129146 w 467960"/>
                <a:gd name="connsiteY0" fmla="*/ 42237 h 354267"/>
                <a:gd name="connsiteX1" fmla="*/ 287390 w 467960"/>
                <a:gd name="connsiteY1" fmla="*/ 31216 h 354267"/>
                <a:gd name="connsiteX2" fmla="*/ 402384 w 467960"/>
                <a:gd name="connsiteY2" fmla="*/ 93051 h 354267"/>
                <a:gd name="connsiteX3" fmla="*/ 467960 w 467960"/>
                <a:gd name="connsiteY3" fmla="*/ 169515 h 354267"/>
                <a:gd name="connsiteX4" fmla="*/ 217952 w 467960"/>
                <a:gd name="connsiteY4" fmla="*/ 295751 h 354267"/>
                <a:gd name="connsiteX5" fmla="*/ 21845 w 467960"/>
                <a:gd name="connsiteY5" fmla="*/ 344843 h 354267"/>
                <a:gd name="connsiteX6" fmla="*/ 84094 w 467960"/>
                <a:gd name="connsiteY6" fmla="*/ 200893 h 354267"/>
                <a:gd name="connsiteX7" fmla="*/ 129146 w 467960"/>
                <a:gd name="connsiteY7" fmla="*/ 42237 h 354267"/>
                <a:gd name="connsiteX0" fmla="*/ 129146 w 467960"/>
                <a:gd name="connsiteY0" fmla="*/ 36796 h 348826"/>
                <a:gd name="connsiteX1" fmla="*/ 287390 w 467960"/>
                <a:gd name="connsiteY1" fmla="*/ 25775 h 348826"/>
                <a:gd name="connsiteX2" fmla="*/ 402384 w 467960"/>
                <a:gd name="connsiteY2" fmla="*/ 87610 h 348826"/>
                <a:gd name="connsiteX3" fmla="*/ 467960 w 467960"/>
                <a:gd name="connsiteY3" fmla="*/ 164074 h 348826"/>
                <a:gd name="connsiteX4" fmla="*/ 217952 w 467960"/>
                <a:gd name="connsiteY4" fmla="*/ 290310 h 348826"/>
                <a:gd name="connsiteX5" fmla="*/ 21845 w 467960"/>
                <a:gd name="connsiteY5" fmla="*/ 339402 h 348826"/>
                <a:gd name="connsiteX6" fmla="*/ 84094 w 467960"/>
                <a:gd name="connsiteY6" fmla="*/ 195452 h 348826"/>
                <a:gd name="connsiteX7" fmla="*/ 129146 w 467960"/>
                <a:gd name="connsiteY7" fmla="*/ 36796 h 348826"/>
                <a:gd name="connsiteX0" fmla="*/ 111767 w 467960"/>
                <a:gd name="connsiteY0" fmla="*/ 45721 h 346475"/>
                <a:gd name="connsiteX1" fmla="*/ 287390 w 467960"/>
                <a:gd name="connsiteY1" fmla="*/ 23424 h 346475"/>
                <a:gd name="connsiteX2" fmla="*/ 402384 w 467960"/>
                <a:gd name="connsiteY2" fmla="*/ 85259 h 346475"/>
                <a:gd name="connsiteX3" fmla="*/ 467960 w 467960"/>
                <a:gd name="connsiteY3" fmla="*/ 161723 h 346475"/>
                <a:gd name="connsiteX4" fmla="*/ 217952 w 467960"/>
                <a:gd name="connsiteY4" fmla="*/ 287959 h 346475"/>
                <a:gd name="connsiteX5" fmla="*/ 21845 w 467960"/>
                <a:gd name="connsiteY5" fmla="*/ 337051 h 346475"/>
                <a:gd name="connsiteX6" fmla="*/ 84094 w 467960"/>
                <a:gd name="connsiteY6" fmla="*/ 193101 h 346475"/>
                <a:gd name="connsiteX7" fmla="*/ 111767 w 467960"/>
                <a:gd name="connsiteY7" fmla="*/ 45721 h 346475"/>
                <a:gd name="connsiteX0" fmla="*/ 111767 w 467960"/>
                <a:gd name="connsiteY0" fmla="*/ 54635 h 355389"/>
                <a:gd name="connsiteX1" fmla="*/ 287390 w 467960"/>
                <a:gd name="connsiteY1" fmla="*/ 32338 h 355389"/>
                <a:gd name="connsiteX2" fmla="*/ 402384 w 467960"/>
                <a:gd name="connsiteY2" fmla="*/ 94173 h 355389"/>
                <a:gd name="connsiteX3" fmla="*/ 467960 w 467960"/>
                <a:gd name="connsiteY3" fmla="*/ 170637 h 355389"/>
                <a:gd name="connsiteX4" fmla="*/ 217952 w 467960"/>
                <a:gd name="connsiteY4" fmla="*/ 296873 h 355389"/>
                <a:gd name="connsiteX5" fmla="*/ 21845 w 467960"/>
                <a:gd name="connsiteY5" fmla="*/ 345965 h 355389"/>
                <a:gd name="connsiteX6" fmla="*/ 84094 w 467960"/>
                <a:gd name="connsiteY6" fmla="*/ 202015 h 355389"/>
                <a:gd name="connsiteX7" fmla="*/ 111767 w 467960"/>
                <a:gd name="connsiteY7" fmla="*/ 54635 h 355389"/>
                <a:gd name="connsiteX0" fmla="*/ 116194 w 472387"/>
                <a:gd name="connsiteY0" fmla="*/ 54635 h 355389"/>
                <a:gd name="connsiteX1" fmla="*/ 291817 w 472387"/>
                <a:gd name="connsiteY1" fmla="*/ 32338 h 355389"/>
                <a:gd name="connsiteX2" fmla="*/ 406811 w 472387"/>
                <a:gd name="connsiteY2" fmla="*/ 94173 h 355389"/>
                <a:gd name="connsiteX3" fmla="*/ 472387 w 472387"/>
                <a:gd name="connsiteY3" fmla="*/ 170637 h 355389"/>
                <a:gd name="connsiteX4" fmla="*/ 222379 w 472387"/>
                <a:gd name="connsiteY4" fmla="*/ 296873 h 355389"/>
                <a:gd name="connsiteX5" fmla="*/ 26272 w 472387"/>
                <a:gd name="connsiteY5" fmla="*/ 345965 h 355389"/>
                <a:gd name="connsiteX6" fmla="*/ 67615 w 472387"/>
                <a:gd name="connsiteY6" fmla="*/ 222254 h 355389"/>
                <a:gd name="connsiteX7" fmla="*/ 116194 w 472387"/>
                <a:gd name="connsiteY7" fmla="*/ 54635 h 355389"/>
                <a:gd name="connsiteX0" fmla="*/ 92570 w 472387"/>
                <a:gd name="connsiteY0" fmla="*/ 52058 h 338818"/>
                <a:gd name="connsiteX1" fmla="*/ 291817 w 472387"/>
                <a:gd name="connsiteY1" fmla="*/ 15767 h 338818"/>
                <a:gd name="connsiteX2" fmla="*/ 406811 w 472387"/>
                <a:gd name="connsiteY2" fmla="*/ 77602 h 338818"/>
                <a:gd name="connsiteX3" fmla="*/ 472387 w 472387"/>
                <a:gd name="connsiteY3" fmla="*/ 154066 h 338818"/>
                <a:gd name="connsiteX4" fmla="*/ 222379 w 472387"/>
                <a:gd name="connsiteY4" fmla="*/ 280302 h 338818"/>
                <a:gd name="connsiteX5" fmla="*/ 26272 w 472387"/>
                <a:gd name="connsiteY5" fmla="*/ 329394 h 338818"/>
                <a:gd name="connsiteX6" fmla="*/ 67615 w 472387"/>
                <a:gd name="connsiteY6" fmla="*/ 205683 h 338818"/>
                <a:gd name="connsiteX7" fmla="*/ 92570 w 472387"/>
                <a:gd name="connsiteY7" fmla="*/ 52058 h 338818"/>
                <a:gd name="connsiteX0" fmla="*/ 92570 w 472387"/>
                <a:gd name="connsiteY0" fmla="*/ 47391 h 334151"/>
                <a:gd name="connsiteX1" fmla="*/ 259230 w 472387"/>
                <a:gd name="connsiteY1" fmla="*/ 21567 h 334151"/>
                <a:gd name="connsiteX2" fmla="*/ 406811 w 472387"/>
                <a:gd name="connsiteY2" fmla="*/ 72935 h 334151"/>
                <a:gd name="connsiteX3" fmla="*/ 472387 w 472387"/>
                <a:gd name="connsiteY3" fmla="*/ 149399 h 334151"/>
                <a:gd name="connsiteX4" fmla="*/ 222379 w 472387"/>
                <a:gd name="connsiteY4" fmla="*/ 275635 h 334151"/>
                <a:gd name="connsiteX5" fmla="*/ 26272 w 472387"/>
                <a:gd name="connsiteY5" fmla="*/ 324727 h 334151"/>
                <a:gd name="connsiteX6" fmla="*/ 67615 w 472387"/>
                <a:gd name="connsiteY6" fmla="*/ 201016 h 334151"/>
                <a:gd name="connsiteX7" fmla="*/ 92570 w 472387"/>
                <a:gd name="connsiteY7" fmla="*/ 47391 h 334151"/>
                <a:gd name="connsiteX0" fmla="*/ 92570 w 472387"/>
                <a:gd name="connsiteY0" fmla="*/ 51559 h 338319"/>
                <a:gd name="connsiteX1" fmla="*/ 259230 w 472387"/>
                <a:gd name="connsiteY1" fmla="*/ 25735 h 338319"/>
                <a:gd name="connsiteX2" fmla="*/ 406811 w 472387"/>
                <a:gd name="connsiteY2" fmla="*/ 77103 h 338319"/>
                <a:gd name="connsiteX3" fmla="*/ 472387 w 472387"/>
                <a:gd name="connsiteY3" fmla="*/ 153567 h 338319"/>
                <a:gd name="connsiteX4" fmla="*/ 222379 w 472387"/>
                <a:gd name="connsiteY4" fmla="*/ 279803 h 338319"/>
                <a:gd name="connsiteX5" fmla="*/ 26272 w 472387"/>
                <a:gd name="connsiteY5" fmla="*/ 328895 h 338319"/>
                <a:gd name="connsiteX6" fmla="*/ 67615 w 472387"/>
                <a:gd name="connsiteY6" fmla="*/ 205184 h 338319"/>
                <a:gd name="connsiteX7" fmla="*/ 92570 w 472387"/>
                <a:gd name="connsiteY7" fmla="*/ 51559 h 338319"/>
                <a:gd name="connsiteX0" fmla="*/ 92570 w 472387"/>
                <a:gd name="connsiteY0" fmla="*/ 47325 h 334085"/>
                <a:gd name="connsiteX1" fmla="*/ 259230 w 472387"/>
                <a:gd name="connsiteY1" fmla="*/ 21501 h 334085"/>
                <a:gd name="connsiteX2" fmla="*/ 425691 w 472387"/>
                <a:gd name="connsiteY2" fmla="*/ 90653 h 334085"/>
                <a:gd name="connsiteX3" fmla="*/ 472387 w 472387"/>
                <a:gd name="connsiteY3" fmla="*/ 149333 h 334085"/>
                <a:gd name="connsiteX4" fmla="*/ 222379 w 472387"/>
                <a:gd name="connsiteY4" fmla="*/ 275569 h 334085"/>
                <a:gd name="connsiteX5" fmla="*/ 26272 w 472387"/>
                <a:gd name="connsiteY5" fmla="*/ 324661 h 334085"/>
                <a:gd name="connsiteX6" fmla="*/ 67615 w 472387"/>
                <a:gd name="connsiteY6" fmla="*/ 200950 h 334085"/>
                <a:gd name="connsiteX7" fmla="*/ 92570 w 472387"/>
                <a:gd name="connsiteY7" fmla="*/ 47325 h 334085"/>
                <a:gd name="connsiteX0" fmla="*/ 92570 w 472387"/>
                <a:gd name="connsiteY0" fmla="*/ 47325 h 334085"/>
                <a:gd name="connsiteX1" fmla="*/ 259230 w 472387"/>
                <a:gd name="connsiteY1" fmla="*/ 21501 h 334085"/>
                <a:gd name="connsiteX2" fmla="*/ 425691 w 472387"/>
                <a:gd name="connsiteY2" fmla="*/ 90653 h 334085"/>
                <a:gd name="connsiteX3" fmla="*/ 472387 w 472387"/>
                <a:gd name="connsiteY3" fmla="*/ 149333 h 334085"/>
                <a:gd name="connsiteX4" fmla="*/ 222379 w 472387"/>
                <a:gd name="connsiteY4" fmla="*/ 275569 h 334085"/>
                <a:gd name="connsiteX5" fmla="*/ 26272 w 472387"/>
                <a:gd name="connsiteY5" fmla="*/ 324661 h 334085"/>
                <a:gd name="connsiteX6" fmla="*/ 67615 w 472387"/>
                <a:gd name="connsiteY6" fmla="*/ 200950 h 334085"/>
                <a:gd name="connsiteX7" fmla="*/ 92570 w 472387"/>
                <a:gd name="connsiteY7" fmla="*/ 47325 h 334085"/>
                <a:gd name="connsiteX0" fmla="*/ 92570 w 451934"/>
                <a:gd name="connsiteY0" fmla="*/ 47325 h 334085"/>
                <a:gd name="connsiteX1" fmla="*/ 259230 w 451934"/>
                <a:gd name="connsiteY1" fmla="*/ 21501 h 334085"/>
                <a:gd name="connsiteX2" fmla="*/ 425691 w 451934"/>
                <a:gd name="connsiteY2" fmla="*/ 90653 h 334085"/>
                <a:gd name="connsiteX3" fmla="*/ 431790 w 451934"/>
                <a:gd name="connsiteY3" fmla="*/ 166999 h 334085"/>
                <a:gd name="connsiteX4" fmla="*/ 222379 w 451934"/>
                <a:gd name="connsiteY4" fmla="*/ 275569 h 334085"/>
                <a:gd name="connsiteX5" fmla="*/ 26272 w 451934"/>
                <a:gd name="connsiteY5" fmla="*/ 324661 h 334085"/>
                <a:gd name="connsiteX6" fmla="*/ 67615 w 451934"/>
                <a:gd name="connsiteY6" fmla="*/ 200950 h 334085"/>
                <a:gd name="connsiteX7" fmla="*/ 92570 w 451934"/>
                <a:gd name="connsiteY7" fmla="*/ 47325 h 334085"/>
                <a:gd name="connsiteX0" fmla="*/ 92570 w 456367"/>
                <a:gd name="connsiteY0" fmla="*/ 47325 h 334085"/>
                <a:gd name="connsiteX1" fmla="*/ 259230 w 456367"/>
                <a:gd name="connsiteY1" fmla="*/ 21501 h 334085"/>
                <a:gd name="connsiteX2" fmla="*/ 425691 w 456367"/>
                <a:gd name="connsiteY2" fmla="*/ 90653 h 334085"/>
                <a:gd name="connsiteX3" fmla="*/ 456367 w 456367"/>
                <a:gd name="connsiteY3" fmla="*/ 163732 h 334085"/>
                <a:gd name="connsiteX4" fmla="*/ 222379 w 456367"/>
                <a:gd name="connsiteY4" fmla="*/ 275569 h 334085"/>
                <a:gd name="connsiteX5" fmla="*/ 26272 w 456367"/>
                <a:gd name="connsiteY5" fmla="*/ 324661 h 334085"/>
                <a:gd name="connsiteX6" fmla="*/ 67615 w 456367"/>
                <a:gd name="connsiteY6" fmla="*/ 200950 h 334085"/>
                <a:gd name="connsiteX7" fmla="*/ 92570 w 456367"/>
                <a:gd name="connsiteY7" fmla="*/ 47325 h 334085"/>
                <a:gd name="connsiteX0" fmla="*/ 92570 w 456367"/>
                <a:gd name="connsiteY0" fmla="*/ 47325 h 334085"/>
                <a:gd name="connsiteX1" fmla="*/ 259230 w 456367"/>
                <a:gd name="connsiteY1" fmla="*/ 21501 h 334085"/>
                <a:gd name="connsiteX2" fmla="*/ 425691 w 456367"/>
                <a:gd name="connsiteY2" fmla="*/ 90653 h 334085"/>
                <a:gd name="connsiteX3" fmla="*/ 456367 w 456367"/>
                <a:gd name="connsiteY3" fmla="*/ 163732 h 334085"/>
                <a:gd name="connsiteX4" fmla="*/ 222379 w 456367"/>
                <a:gd name="connsiteY4" fmla="*/ 275569 h 334085"/>
                <a:gd name="connsiteX5" fmla="*/ 26272 w 456367"/>
                <a:gd name="connsiteY5" fmla="*/ 324661 h 334085"/>
                <a:gd name="connsiteX6" fmla="*/ 67615 w 456367"/>
                <a:gd name="connsiteY6" fmla="*/ 200950 h 334085"/>
                <a:gd name="connsiteX7" fmla="*/ 92570 w 456367"/>
                <a:gd name="connsiteY7" fmla="*/ 47325 h 334085"/>
                <a:gd name="connsiteX0" fmla="*/ 92570 w 451934"/>
                <a:gd name="connsiteY0" fmla="*/ 47325 h 334085"/>
                <a:gd name="connsiteX1" fmla="*/ 259230 w 451934"/>
                <a:gd name="connsiteY1" fmla="*/ 21501 h 334085"/>
                <a:gd name="connsiteX2" fmla="*/ 425691 w 451934"/>
                <a:gd name="connsiteY2" fmla="*/ 90653 h 334085"/>
                <a:gd name="connsiteX3" fmla="*/ 442922 w 451934"/>
                <a:gd name="connsiteY3" fmla="*/ 158440 h 334085"/>
                <a:gd name="connsiteX4" fmla="*/ 222379 w 451934"/>
                <a:gd name="connsiteY4" fmla="*/ 275569 h 334085"/>
                <a:gd name="connsiteX5" fmla="*/ 26272 w 451934"/>
                <a:gd name="connsiteY5" fmla="*/ 324661 h 334085"/>
                <a:gd name="connsiteX6" fmla="*/ 67615 w 451934"/>
                <a:gd name="connsiteY6" fmla="*/ 200950 h 334085"/>
                <a:gd name="connsiteX7" fmla="*/ 92570 w 451934"/>
                <a:gd name="connsiteY7" fmla="*/ 47325 h 334085"/>
                <a:gd name="connsiteX0" fmla="*/ 92570 w 471831"/>
                <a:gd name="connsiteY0" fmla="*/ 47222 h 333982"/>
                <a:gd name="connsiteX1" fmla="*/ 259230 w 471831"/>
                <a:gd name="connsiteY1" fmla="*/ 21398 h 333982"/>
                <a:gd name="connsiteX2" fmla="*/ 447146 w 471831"/>
                <a:gd name="connsiteY2" fmla="*/ 88642 h 333982"/>
                <a:gd name="connsiteX3" fmla="*/ 442922 w 471831"/>
                <a:gd name="connsiteY3" fmla="*/ 158337 h 333982"/>
                <a:gd name="connsiteX4" fmla="*/ 222379 w 471831"/>
                <a:gd name="connsiteY4" fmla="*/ 275466 h 333982"/>
                <a:gd name="connsiteX5" fmla="*/ 26272 w 471831"/>
                <a:gd name="connsiteY5" fmla="*/ 324558 h 333982"/>
                <a:gd name="connsiteX6" fmla="*/ 67615 w 471831"/>
                <a:gd name="connsiteY6" fmla="*/ 200847 h 333982"/>
                <a:gd name="connsiteX7" fmla="*/ 92570 w 471831"/>
                <a:gd name="connsiteY7" fmla="*/ 47222 h 333982"/>
                <a:gd name="connsiteX0" fmla="*/ 92570 w 454817"/>
                <a:gd name="connsiteY0" fmla="*/ 47251 h 334011"/>
                <a:gd name="connsiteX1" fmla="*/ 259230 w 454817"/>
                <a:gd name="connsiteY1" fmla="*/ 21427 h 334011"/>
                <a:gd name="connsiteX2" fmla="*/ 428813 w 454817"/>
                <a:gd name="connsiteY2" fmla="*/ 89220 h 334011"/>
                <a:gd name="connsiteX3" fmla="*/ 442922 w 454817"/>
                <a:gd name="connsiteY3" fmla="*/ 158366 h 334011"/>
                <a:gd name="connsiteX4" fmla="*/ 222379 w 454817"/>
                <a:gd name="connsiteY4" fmla="*/ 275495 h 334011"/>
                <a:gd name="connsiteX5" fmla="*/ 26272 w 454817"/>
                <a:gd name="connsiteY5" fmla="*/ 324587 h 334011"/>
                <a:gd name="connsiteX6" fmla="*/ 67615 w 454817"/>
                <a:gd name="connsiteY6" fmla="*/ 200876 h 334011"/>
                <a:gd name="connsiteX7" fmla="*/ 92570 w 454817"/>
                <a:gd name="connsiteY7" fmla="*/ 47251 h 334011"/>
                <a:gd name="connsiteX0" fmla="*/ 92570 w 442922"/>
                <a:gd name="connsiteY0" fmla="*/ 63333 h 350093"/>
                <a:gd name="connsiteX1" fmla="*/ 259230 w 442922"/>
                <a:gd name="connsiteY1" fmla="*/ 37509 h 350093"/>
                <a:gd name="connsiteX2" fmla="*/ 428813 w 442922"/>
                <a:gd name="connsiteY2" fmla="*/ 105302 h 350093"/>
                <a:gd name="connsiteX3" fmla="*/ 442922 w 442922"/>
                <a:gd name="connsiteY3" fmla="*/ 174448 h 350093"/>
                <a:gd name="connsiteX4" fmla="*/ 222379 w 442922"/>
                <a:gd name="connsiteY4" fmla="*/ 291577 h 350093"/>
                <a:gd name="connsiteX5" fmla="*/ 26272 w 442922"/>
                <a:gd name="connsiteY5" fmla="*/ 340669 h 350093"/>
                <a:gd name="connsiteX6" fmla="*/ 67615 w 442922"/>
                <a:gd name="connsiteY6" fmla="*/ 216958 h 350093"/>
                <a:gd name="connsiteX7" fmla="*/ 92570 w 442922"/>
                <a:gd name="connsiteY7" fmla="*/ 63333 h 350093"/>
                <a:gd name="connsiteX0" fmla="*/ 92570 w 435928"/>
                <a:gd name="connsiteY0" fmla="*/ 63333 h 350093"/>
                <a:gd name="connsiteX1" fmla="*/ 259230 w 435928"/>
                <a:gd name="connsiteY1" fmla="*/ 37509 h 350093"/>
                <a:gd name="connsiteX2" fmla="*/ 428813 w 435928"/>
                <a:gd name="connsiteY2" fmla="*/ 105302 h 350093"/>
                <a:gd name="connsiteX3" fmla="*/ 430431 w 435928"/>
                <a:gd name="connsiteY3" fmla="*/ 179884 h 350093"/>
                <a:gd name="connsiteX4" fmla="*/ 222379 w 435928"/>
                <a:gd name="connsiteY4" fmla="*/ 291577 h 350093"/>
                <a:gd name="connsiteX5" fmla="*/ 26272 w 435928"/>
                <a:gd name="connsiteY5" fmla="*/ 340669 h 350093"/>
                <a:gd name="connsiteX6" fmla="*/ 67615 w 435928"/>
                <a:gd name="connsiteY6" fmla="*/ 216958 h 350093"/>
                <a:gd name="connsiteX7" fmla="*/ 92570 w 435928"/>
                <a:gd name="connsiteY7" fmla="*/ 63333 h 350093"/>
                <a:gd name="connsiteX0" fmla="*/ 92570 w 450527"/>
                <a:gd name="connsiteY0" fmla="*/ 63333 h 350093"/>
                <a:gd name="connsiteX1" fmla="*/ 259230 w 450527"/>
                <a:gd name="connsiteY1" fmla="*/ 37509 h 350093"/>
                <a:gd name="connsiteX2" fmla="*/ 428813 w 450527"/>
                <a:gd name="connsiteY2" fmla="*/ 105302 h 350093"/>
                <a:gd name="connsiteX3" fmla="*/ 450527 w 450527"/>
                <a:gd name="connsiteY3" fmla="*/ 174853 h 350093"/>
                <a:gd name="connsiteX4" fmla="*/ 222379 w 450527"/>
                <a:gd name="connsiteY4" fmla="*/ 291577 h 350093"/>
                <a:gd name="connsiteX5" fmla="*/ 26272 w 450527"/>
                <a:gd name="connsiteY5" fmla="*/ 340669 h 350093"/>
                <a:gd name="connsiteX6" fmla="*/ 67615 w 450527"/>
                <a:gd name="connsiteY6" fmla="*/ 216958 h 350093"/>
                <a:gd name="connsiteX7" fmla="*/ 92570 w 450527"/>
                <a:gd name="connsiteY7" fmla="*/ 63333 h 35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27" h="350093">
                  <a:moveTo>
                    <a:pt x="92570" y="63333"/>
                  </a:moveTo>
                  <a:cubicBezTo>
                    <a:pt x="197062" y="-19713"/>
                    <a:pt x="203190" y="30514"/>
                    <a:pt x="259230" y="37509"/>
                  </a:cubicBezTo>
                  <a:cubicBezTo>
                    <a:pt x="315270" y="44504"/>
                    <a:pt x="470850" y="-87212"/>
                    <a:pt x="428813" y="105302"/>
                  </a:cubicBezTo>
                  <a:cubicBezTo>
                    <a:pt x="448513" y="167592"/>
                    <a:pt x="429210" y="135248"/>
                    <a:pt x="450527" y="174853"/>
                  </a:cubicBezTo>
                  <a:cubicBezTo>
                    <a:pt x="407742" y="186642"/>
                    <a:pt x="292288" y="240765"/>
                    <a:pt x="222379" y="291577"/>
                  </a:cubicBezTo>
                  <a:cubicBezTo>
                    <a:pt x="181111" y="338112"/>
                    <a:pt x="62631" y="365651"/>
                    <a:pt x="26272" y="340669"/>
                  </a:cubicBezTo>
                  <a:cubicBezTo>
                    <a:pt x="-31084" y="292066"/>
                    <a:pt x="15930" y="261326"/>
                    <a:pt x="67615" y="216958"/>
                  </a:cubicBezTo>
                  <a:cubicBezTo>
                    <a:pt x="165053" y="134500"/>
                    <a:pt x="10517" y="156294"/>
                    <a:pt x="92570" y="633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nvGrpSpPr>
            <p:cNvPr id="12" name="Group 11">
              <a:extLst>
                <a:ext uri="{FF2B5EF4-FFF2-40B4-BE49-F238E27FC236}">
                  <a16:creationId xmlns:a16="http://schemas.microsoft.com/office/drawing/2014/main" id="{2E12D205-6024-CE42-BC71-5B91B7388278}"/>
                </a:ext>
              </a:extLst>
            </p:cNvPr>
            <p:cNvGrpSpPr/>
            <p:nvPr/>
          </p:nvGrpSpPr>
          <p:grpSpPr>
            <a:xfrm flipH="1">
              <a:off x="4316824" y="3047206"/>
              <a:ext cx="2100224" cy="767272"/>
              <a:chOff x="2181528" y="3397417"/>
              <a:chExt cx="2100224" cy="767272"/>
            </a:xfrm>
          </p:grpSpPr>
          <p:sp>
            <p:nvSpPr>
              <p:cNvPr id="13" name="Freeform 12">
                <a:extLst>
                  <a:ext uri="{FF2B5EF4-FFF2-40B4-BE49-F238E27FC236}">
                    <a16:creationId xmlns:a16="http://schemas.microsoft.com/office/drawing/2014/main" id="{E58F520E-FF78-704F-B053-648D472603A4}"/>
                  </a:ext>
                </a:extLst>
              </p:cNvPr>
              <p:cNvSpPr/>
              <p:nvPr/>
            </p:nvSpPr>
            <p:spPr>
              <a:xfrm>
                <a:off x="3500604" y="3397417"/>
                <a:ext cx="781148" cy="767272"/>
              </a:xfrm>
              <a:custGeom>
                <a:avLst/>
                <a:gdLst>
                  <a:gd name="connsiteX0" fmla="*/ 543464 w 1086928"/>
                  <a:gd name="connsiteY0" fmla="*/ 0 h 1000664"/>
                  <a:gd name="connsiteX1" fmla="*/ 0 w 1086928"/>
                  <a:gd name="connsiteY1" fmla="*/ 276045 h 1000664"/>
                  <a:gd name="connsiteX2" fmla="*/ 0 w 1086928"/>
                  <a:gd name="connsiteY2" fmla="*/ 862641 h 1000664"/>
                  <a:gd name="connsiteX3" fmla="*/ 362309 w 1086928"/>
                  <a:gd name="connsiteY3" fmla="*/ 974784 h 1000664"/>
                  <a:gd name="connsiteX4" fmla="*/ 923026 w 1086928"/>
                  <a:gd name="connsiteY4" fmla="*/ 1000664 h 1000664"/>
                  <a:gd name="connsiteX5" fmla="*/ 974785 w 1086928"/>
                  <a:gd name="connsiteY5" fmla="*/ 793630 h 1000664"/>
                  <a:gd name="connsiteX6" fmla="*/ 1017917 w 1086928"/>
                  <a:gd name="connsiteY6" fmla="*/ 621101 h 1000664"/>
                  <a:gd name="connsiteX7" fmla="*/ 1086928 w 1086928"/>
                  <a:gd name="connsiteY7" fmla="*/ 439947 h 1000664"/>
                  <a:gd name="connsiteX8" fmla="*/ 1069675 w 1086928"/>
                  <a:gd name="connsiteY8" fmla="*/ 224286 h 1000664"/>
                  <a:gd name="connsiteX9" fmla="*/ 974785 w 1086928"/>
                  <a:gd name="connsiteY9" fmla="*/ 181154 h 1000664"/>
                  <a:gd name="connsiteX10" fmla="*/ 491706 w 1086928"/>
                  <a:gd name="connsiteY10" fmla="*/ 189781 h 1000664"/>
                  <a:gd name="connsiteX11" fmla="*/ 543464 w 1086928"/>
                  <a:gd name="connsiteY11" fmla="*/ 0 h 1000664"/>
                  <a:gd name="connsiteX0" fmla="*/ 543464 w 1086928"/>
                  <a:gd name="connsiteY0" fmla="*/ 0 h 1000664"/>
                  <a:gd name="connsiteX1" fmla="*/ 0 w 1086928"/>
                  <a:gd name="connsiteY1" fmla="*/ 276045 h 1000664"/>
                  <a:gd name="connsiteX2" fmla="*/ 0 w 1086928"/>
                  <a:gd name="connsiteY2" fmla="*/ 862641 h 1000664"/>
                  <a:gd name="connsiteX3" fmla="*/ 362309 w 1086928"/>
                  <a:gd name="connsiteY3" fmla="*/ 974784 h 1000664"/>
                  <a:gd name="connsiteX4" fmla="*/ 923026 w 1086928"/>
                  <a:gd name="connsiteY4" fmla="*/ 1000664 h 1000664"/>
                  <a:gd name="connsiteX5" fmla="*/ 974785 w 1086928"/>
                  <a:gd name="connsiteY5" fmla="*/ 793630 h 1000664"/>
                  <a:gd name="connsiteX6" fmla="*/ 1017917 w 1086928"/>
                  <a:gd name="connsiteY6" fmla="*/ 621101 h 1000664"/>
                  <a:gd name="connsiteX7" fmla="*/ 1086928 w 1086928"/>
                  <a:gd name="connsiteY7" fmla="*/ 439947 h 1000664"/>
                  <a:gd name="connsiteX8" fmla="*/ 1069675 w 1086928"/>
                  <a:gd name="connsiteY8" fmla="*/ 224286 h 1000664"/>
                  <a:gd name="connsiteX9" fmla="*/ 974785 w 1086928"/>
                  <a:gd name="connsiteY9" fmla="*/ 181154 h 1000664"/>
                  <a:gd name="connsiteX10" fmla="*/ 491706 w 1086928"/>
                  <a:gd name="connsiteY10" fmla="*/ 189781 h 1000664"/>
                  <a:gd name="connsiteX11" fmla="*/ 543464 w 1086928"/>
                  <a:gd name="connsiteY11" fmla="*/ 0 h 1000664"/>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992037"/>
                  <a:gd name="connsiteX1" fmla="*/ 0 w 1086928"/>
                  <a:gd name="connsiteY1" fmla="*/ 267418 h 992037"/>
                  <a:gd name="connsiteX2" fmla="*/ 0 w 1086928"/>
                  <a:gd name="connsiteY2" fmla="*/ 854014 h 992037"/>
                  <a:gd name="connsiteX3" fmla="*/ 362309 w 1086928"/>
                  <a:gd name="connsiteY3" fmla="*/ 966157 h 992037"/>
                  <a:gd name="connsiteX4" fmla="*/ 923026 w 1086928"/>
                  <a:gd name="connsiteY4" fmla="*/ 992037 h 992037"/>
                  <a:gd name="connsiteX5" fmla="*/ 974785 w 1086928"/>
                  <a:gd name="connsiteY5" fmla="*/ 785003 h 992037"/>
                  <a:gd name="connsiteX6" fmla="*/ 1017917 w 1086928"/>
                  <a:gd name="connsiteY6" fmla="*/ 612474 h 992037"/>
                  <a:gd name="connsiteX7" fmla="*/ 1086928 w 1086928"/>
                  <a:gd name="connsiteY7" fmla="*/ 431320 h 992037"/>
                  <a:gd name="connsiteX8" fmla="*/ 1069675 w 1086928"/>
                  <a:gd name="connsiteY8" fmla="*/ 215659 h 992037"/>
                  <a:gd name="connsiteX9" fmla="*/ 974785 w 1086928"/>
                  <a:gd name="connsiteY9" fmla="*/ 172527 h 992037"/>
                  <a:gd name="connsiteX10" fmla="*/ 491706 w 1086928"/>
                  <a:gd name="connsiteY10" fmla="*/ 181154 h 992037"/>
                  <a:gd name="connsiteX11" fmla="*/ 595223 w 1086928"/>
                  <a:gd name="connsiteY11" fmla="*/ 0 h 992037"/>
                  <a:gd name="connsiteX0" fmla="*/ 595223 w 1086928"/>
                  <a:gd name="connsiteY0" fmla="*/ 0 h 1006555"/>
                  <a:gd name="connsiteX1" fmla="*/ 0 w 1086928"/>
                  <a:gd name="connsiteY1" fmla="*/ 267418 h 1006555"/>
                  <a:gd name="connsiteX2" fmla="*/ 0 w 1086928"/>
                  <a:gd name="connsiteY2" fmla="*/ 854014 h 1006555"/>
                  <a:gd name="connsiteX3" fmla="*/ 362309 w 1086928"/>
                  <a:gd name="connsiteY3" fmla="*/ 966157 h 1006555"/>
                  <a:gd name="connsiteX4" fmla="*/ 923026 w 1086928"/>
                  <a:gd name="connsiteY4" fmla="*/ 992037 h 1006555"/>
                  <a:gd name="connsiteX5" fmla="*/ 974785 w 1086928"/>
                  <a:gd name="connsiteY5" fmla="*/ 785003 h 1006555"/>
                  <a:gd name="connsiteX6" fmla="*/ 1017917 w 1086928"/>
                  <a:gd name="connsiteY6" fmla="*/ 612474 h 1006555"/>
                  <a:gd name="connsiteX7" fmla="*/ 1086928 w 1086928"/>
                  <a:gd name="connsiteY7" fmla="*/ 431320 h 1006555"/>
                  <a:gd name="connsiteX8" fmla="*/ 1069675 w 1086928"/>
                  <a:gd name="connsiteY8" fmla="*/ 215659 h 1006555"/>
                  <a:gd name="connsiteX9" fmla="*/ 974785 w 1086928"/>
                  <a:gd name="connsiteY9" fmla="*/ 172527 h 1006555"/>
                  <a:gd name="connsiteX10" fmla="*/ 491706 w 1086928"/>
                  <a:gd name="connsiteY10" fmla="*/ 181154 h 1006555"/>
                  <a:gd name="connsiteX11" fmla="*/ 595223 w 1086928"/>
                  <a:gd name="connsiteY11" fmla="*/ 0 h 1006555"/>
                  <a:gd name="connsiteX0" fmla="*/ 595223 w 1086928"/>
                  <a:gd name="connsiteY0" fmla="*/ 0 h 1006555"/>
                  <a:gd name="connsiteX1" fmla="*/ 0 w 1086928"/>
                  <a:gd name="connsiteY1" fmla="*/ 267418 h 1006555"/>
                  <a:gd name="connsiteX2" fmla="*/ 0 w 1086928"/>
                  <a:gd name="connsiteY2" fmla="*/ 854014 h 1006555"/>
                  <a:gd name="connsiteX3" fmla="*/ 362309 w 1086928"/>
                  <a:gd name="connsiteY3" fmla="*/ 966157 h 1006555"/>
                  <a:gd name="connsiteX4" fmla="*/ 923026 w 1086928"/>
                  <a:gd name="connsiteY4" fmla="*/ 992037 h 1006555"/>
                  <a:gd name="connsiteX5" fmla="*/ 974785 w 1086928"/>
                  <a:gd name="connsiteY5" fmla="*/ 785003 h 1006555"/>
                  <a:gd name="connsiteX6" fmla="*/ 1017917 w 1086928"/>
                  <a:gd name="connsiteY6" fmla="*/ 612474 h 1006555"/>
                  <a:gd name="connsiteX7" fmla="*/ 1086928 w 1086928"/>
                  <a:gd name="connsiteY7" fmla="*/ 431320 h 1006555"/>
                  <a:gd name="connsiteX8" fmla="*/ 1069675 w 1086928"/>
                  <a:gd name="connsiteY8" fmla="*/ 215659 h 1006555"/>
                  <a:gd name="connsiteX9" fmla="*/ 974785 w 1086928"/>
                  <a:gd name="connsiteY9" fmla="*/ 172527 h 1006555"/>
                  <a:gd name="connsiteX10" fmla="*/ 491706 w 1086928"/>
                  <a:gd name="connsiteY10" fmla="*/ 181154 h 1006555"/>
                  <a:gd name="connsiteX11" fmla="*/ 595223 w 1086928"/>
                  <a:gd name="connsiteY11" fmla="*/ 0 h 1006555"/>
                  <a:gd name="connsiteX0" fmla="*/ 595223 w 1086928"/>
                  <a:gd name="connsiteY0" fmla="*/ 0 h 1006555"/>
                  <a:gd name="connsiteX1" fmla="*/ 0 w 1086928"/>
                  <a:gd name="connsiteY1" fmla="*/ 267418 h 1006555"/>
                  <a:gd name="connsiteX2" fmla="*/ 0 w 1086928"/>
                  <a:gd name="connsiteY2" fmla="*/ 854014 h 1006555"/>
                  <a:gd name="connsiteX3" fmla="*/ 362309 w 1086928"/>
                  <a:gd name="connsiteY3" fmla="*/ 966157 h 1006555"/>
                  <a:gd name="connsiteX4" fmla="*/ 923026 w 1086928"/>
                  <a:gd name="connsiteY4" fmla="*/ 992037 h 1006555"/>
                  <a:gd name="connsiteX5" fmla="*/ 974785 w 1086928"/>
                  <a:gd name="connsiteY5" fmla="*/ 785003 h 1006555"/>
                  <a:gd name="connsiteX6" fmla="*/ 1017917 w 1086928"/>
                  <a:gd name="connsiteY6" fmla="*/ 612474 h 1006555"/>
                  <a:gd name="connsiteX7" fmla="*/ 1086928 w 1086928"/>
                  <a:gd name="connsiteY7" fmla="*/ 431320 h 1006555"/>
                  <a:gd name="connsiteX8" fmla="*/ 1069675 w 1086928"/>
                  <a:gd name="connsiteY8" fmla="*/ 215659 h 1006555"/>
                  <a:gd name="connsiteX9" fmla="*/ 974785 w 1086928"/>
                  <a:gd name="connsiteY9" fmla="*/ 172527 h 1006555"/>
                  <a:gd name="connsiteX10" fmla="*/ 491706 w 1086928"/>
                  <a:gd name="connsiteY10" fmla="*/ 181154 h 1006555"/>
                  <a:gd name="connsiteX11" fmla="*/ 595223 w 1086928"/>
                  <a:gd name="connsiteY11" fmla="*/ 0 h 1006555"/>
                  <a:gd name="connsiteX0" fmla="*/ 595223 w 1086928"/>
                  <a:gd name="connsiteY0" fmla="*/ 0 h 1006555"/>
                  <a:gd name="connsiteX1" fmla="*/ 0 w 1086928"/>
                  <a:gd name="connsiteY1" fmla="*/ 267418 h 1006555"/>
                  <a:gd name="connsiteX2" fmla="*/ 0 w 1086928"/>
                  <a:gd name="connsiteY2" fmla="*/ 854014 h 1006555"/>
                  <a:gd name="connsiteX3" fmla="*/ 362309 w 1086928"/>
                  <a:gd name="connsiteY3" fmla="*/ 966157 h 1006555"/>
                  <a:gd name="connsiteX4" fmla="*/ 923026 w 1086928"/>
                  <a:gd name="connsiteY4" fmla="*/ 992037 h 1006555"/>
                  <a:gd name="connsiteX5" fmla="*/ 974785 w 1086928"/>
                  <a:gd name="connsiteY5" fmla="*/ 785003 h 1006555"/>
                  <a:gd name="connsiteX6" fmla="*/ 1017917 w 1086928"/>
                  <a:gd name="connsiteY6" fmla="*/ 612474 h 1006555"/>
                  <a:gd name="connsiteX7" fmla="*/ 1086928 w 1086928"/>
                  <a:gd name="connsiteY7" fmla="*/ 431320 h 1006555"/>
                  <a:gd name="connsiteX8" fmla="*/ 1069675 w 1086928"/>
                  <a:gd name="connsiteY8" fmla="*/ 215659 h 1006555"/>
                  <a:gd name="connsiteX9" fmla="*/ 974785 w 1086928"/>
                  <a:gd name="connsiteY9" fmla="*/ 172527 h 1006555"/>
                  <a:gd name="connsiteX10" fmla="*/ 491706 w 1086928"/>
                  <a:gd name="connsiteY10" fmla="*/ 181154 h 1006555"/>
                  <a:gd name="connsiteX11" fmla="*/ 595223 w 1086928"/>
                  <a:gd name="connsiteY11" fmla="*/ 0 h 1006555"/>
                  <a:gd name="connsiteX0" fmla="*/ 595223 w 1086928"/>
                  <a:gd name="connsiteY0" fmla="*/ 0 h 1006555"/>
                  <a:gd name="connsiteX1" fmla="*/ 0 w 1086928"/>
                  <a:gd name="connsiteY1" fmla="*/ 267418 h 1006555"/>
                  <a:gd name="connsiteX2" fmla="*/ 0 w 1086928"/>
                  <a:gd name="connsiteY2" fmla="*/ 854014 h 1006555"/>
                  <a:gd name="connsiteX3" fmla="*/ 362309 w 1086928"/>
                  <a:gd name="connsiteY3" fmla="*/ 966157 h 1006555"/>
                  <a:gd name="connsiteX4" fmla="*/ 923026 w 1086928"/>
                  <a:gd name="connsiteY4" fmla="*/ 992037 h 1006555"/>
                  <a:gd name="connsiteX5" fmla="*/ 974785 w 1086928"/>
                  <a:gd name="connsiteY5" fmla="*/ 785003 h 1006555"/>
                  <a:gd name="connsiteX6" fmla="*/ 1017917 w 1086928"/>
                  <a:gd name="connsiteY6" fmla="*/ 612474 h 1006555"/>
                  <a:gd name="connsiteX7" fmla="*/ 1086928 w 1086928"/>
                  <a:gd name="connsiteY7" fmla="*/ 431320 h 1006555"/>
                  <a:gd name="connsiteX8" fmla="*/ 1069675 w 1086928"/>
                  <a:gd name="connsiteY8" fmla="*/ 215659 h 1006555"/>
                  <a:gd name="connsiteX9" fmla="*/ 974785 w 1086928"/>
                  <a:gd name="connsiteY9" fmla="*/ 172527 h 1006555"/>
                  <a:gd name="connsiteX10" fmla="*/ 491706 w 1086928"/>
                  <a:gd name="connsiteY10" fmla="*/ 181154 h 1006555"/>
                  <a:gd name="connsiteX11" fmla="*/ 595223 w 1086928"/>
                  <a:gd name="connsiteY11" fmla="*/ 0 h 1006555"/>
                  <a:gd name="connsiteX0" fmla="*/ 595223 w 1086928"/>
                  <a:gd name="connsiteY0" fmla="*/ 0 h 980502"/>
                  <a:gd name="connsiteX1" fmla="*/ 0 w 1086928"/>
                  <a:gd name="connsiteY1" fmla="*/ 267418 h 980502"/>
                  <a:gd name="connsiteX2" fmla="*/ 0 w 1086928"/>
                  <a:gd name="connsiteY2" fmla="*/ 854014 h 980502"/>
                  <a:gd name="connsiteX3" fmla="*/ 362309 w 1086928"/>
                  <a:gd name="connsiteY3" fmla="*/ 966157 h 980502"/>
                  <a:gd name="connsiteX4" fmla="*/ 934932 w 1086928"/>
                  <a:gd name="connsiteY4" fmla="*/ 946794 h 980502"/>
                  <a:gd name="connsiteX5" fmla="*/ 974785 w 1086928"/>
                  <a:gd name="connsiteY5" fmla="*/ 785003 h 980502"/>
                  <a:gd name="connsiteX6" fmla="*/ 1017917 w 1086928"/>
                  <a:gd name="connsiteY6" fmla="*/ 612474 h 980502"/>
                  <a:gd name="connsiteX7" fmla="*/ 1086928 w 1086928"/>
                  <a:gd name="connsiteY7" fmla="*/ 431320 h 980502"/>
                  <a:gd name="connsiteX8" fmla="*/ 1069675 w 1086928"/>
                  <a:gd name="connsiteY8" fmla="*/ 215659 h 980502"/>
                  <a:gd name="connsiteX9" fmla="*/ 974785 w 1086928"/>
                  <a:gd name="connsiteY9" fmla="*/ 172527 h 980502"/>
                  <a:gd name="connsiteX10" fmla="*/ 491706 w 1086928"/>
                  <a:gd name="connsiteY10" fmla="*/ 181154 h 980502"/>
                  <a:gd name="connsiteX11" fmla="*/ 595223 w 1086928"/>
                  <a:gd name="connsiteY11" fmla="*/ 0 h 980502"/>
                  <a:gd name="connsiteX0" fmla="*/ 595223 w 1086928"/>
                  <a:gd name="connsiteY0" fmla="*/ 0 h 1010346"/>
                  <a:gd name="connsiteX1" fmla="*/ 0 w 1086928"/>
                  <a:gd name="connsiteY1" fmla="*/ 267418 h 1010346"/>
                  <a:gd name="connsiteX2" fmla="*/ 0 w 1086928"/>
                  <a:gd name="connsiteY2" fmla="*/ 854014 h 1010346"/>
                  <a:gd name="connsiteX3" fmla="*/ 362309 w 1086928"/>
                  <a:gd name="connsiteY3" fmla="*/ 966157 h 1010346"/>
                  <a:gd name="connsiteX4" fmla="*/ 925407 w 1086928"/>
                  <a:gd name="connsiteY4" fmla="*/ 996801 h 1010346"/>
                  <a:gd name="connsiteX5" fmla="*/ 974785 w 1086928"/>
                  <a:gd name="connsiteY5" fmla="*/ 785003 h 1010346"/>
                  <a:gd name="connsiteX6" fmla="*/ 1017917 w 1086928"/>
                  <a:gd name="connsiteY6" fmla="*/ 612474 h 1010346"/>
                  <a:gd name="connsiteX7" fmla="*/ 1086928 w 1086928"/>
                  <a:gd name="connsiteY7" fmla="*/ 431320 h 1010346"/>
                  <a:gd name="connsiteX8" fmla="*/ 1069675 w 1086928"/>
                  <a:gd name="connsiteY8" fmla="*/ 215659 h 1010346"/>
                  <a:gd name="connsiteX9" fmla="*/ 974785 w 1086928"/>
                  <a:gd name="connsiteY9" fmla="*/ 172527 h 1010346"/>
                  <a:gd name="connsiteX10" fmla="*/ 491706 w 1086928"/>
                  <a:gd name="connsiteY10" fmla="*/ 181154 h 1010346"/>
                  <a:gd name="connsiteX11" fmla="*/ 595223 w 1086928"/>
                  <a:gd name="connsiteY11" fmla="*/ 0 h 1010346"/>
                  <a:gd name="connsiteX0" fmla="*/ 595223 w 1086928"/>
                  <a:gd name="connsiteY0" fmla="*/ 0 h 1010346"/>
                  <a:gd name="connsiteX1" fmla="*/ 0 w 1086928"/>
                  <a:gd name="connsiteY1" fmla="*/ 267418 h 1010346"/>
                  <a:gd name="connsiteX2" fmla="*/ 0 w 1086928"/>
                  <a:gd name="connsiteY2" fmla="*/ 854014 h 1010346"/>
                  <a:gd name="connsiteX3" fmla="*/ 362309 w 1086928"/>
                  <a:gd name="connsiteY3" fmla="*/ 966157 h 1010346"/>
                  <a:gd name="connsiteX4" fmla="*/ 925407 w 1086928"/>
                  <a:gd name="connsiteY4" fmla="*/ 996801 h 1010346"/>
                  <a:gd name="connsiteX5" fmla="*/ 974785 w 1086928"/>
                  <a:gd name="connsiteY5" fmla="*/ 785003 h 1010346"/>
                  <a:gd name="connsiteX6" fmla="*/ 1017917 w 1086928"/>
                  <a:gd name="connsiteY6" fmla="*/ 612474 h 1010346"/>
                  <a:gd name="connsiteX7" fmla="*/ 1086928 w 1086928"/>
                  <a:gd name="connsiteY7" fmla="*/ 431320 h 1010346"/>
                  <a:gd name="connsiteX8" fmla="*/ 1069675 w 1086928"/>
                  <a:gd name="connsiteY8" fmla="*/ 215659 h 1010346"/>
                  <a:gd name="connsiteX9" fmla="*/ 974785 w 1086928"/>
                  <a:gd name="connsiteY9" fmla="*/ 172527 h 1010346"/>
                  <a:gd name="connsiteX10" fmla="*/ 491706 w 1086928"/>
                  <a:gd name="connsiteY10" fmla="*/ 181154 h 1010346"/>
                  <a:gd name="connsiteX11" fmla="*/ 595223 w 1086928"/>
                  <a:gd name="connsiteY11" fmla="*/ 0 h 1010346"/>
                  <a:gd name="connsiteX0" fmla="*/ 595223 w 1086928"/>
                  <a:gd name="connsiteY0" fmla="*/ 0 h 1010346"/>
                  <a:gd name="connsiteX1" fmla="*/ 0 w 1086928"/>
                  <a:gd name="connsiteY1" fmla="*/ 267418 h 1010346"/>
                  <a:gd name="connsiteX2" fmla="*/ 0 w 1086928"/>
                  <a:gd name="connsiteY2" fmla="*/ 854014 h 1010346"/>
                  <a:gd name="connsiteX3" fmla="*/ 362309 w 1086928"/>
                  <a:gd name="connsiteY3" fmla="*/ 966157 h 1010346"/>
                  <a:gd name="connsiteX4" fmla="*/ 925407 w 1086928"/>
                  <a:gd name="connsiteY4" fmla="*/ 996801 h 1010346"/>
                  <a:gd name="connsiteX5" fmla="*/ 981929 w 1086928"/>
                  <a:gd name="connsiteY5" fmla="*/ 820721 h 1010346"/>
                  <a:gd name="connsiteX6" fmla="*/ 1017917 w 1086928"/>
                  <a:gd name="connsiteY6" fmla="*/ 612474 h 1010346"/>
                  <a:gd name="connsiteX7" fmla="*/ 1086928 w 1086928"/>
                  <a:gd name="connsiteY7" fmla="*/ 431320 h 1010346"/>
                  <a:gd name="connsiteX8" fmla="*/ 1069675 w 1086928"/>
                  <a:gd name="connsiteY8" fmla="*/ 215659 h 1010346"/>
                  <a:gd name="connsiteX9" fmla="*/ 974785 w 1086928"/>
                  <a:gd name="connsiteY9" fmla="*/ 172527 h 1010346"/>
                  <a:gd name="connsiteX10" fmla="*/ 491706 w 1086928"/>
                  <a:gd name="connsiteY10" fmla="*/ 181154 h 1010346"/>
                  <a:gd name="connsiteX11" fmla="*/ 595223 w 1086928"/>
                  <a:gd name="connsiteY11" fmla="*/ 0 h 1010346"/>
                  <a:gd name="connsiteX0" fmla="*/ 925407 w 1086928"/>
                  <a:gd name="connsiteY0" fmla="*/ 996801 h 1088241"/>
                  <a:gd name="connsiteX1" fmla="*/ 981929 w 1086928"/>
                  <a:gd name="connsiteY1" fmla="*/ 820721 h 1088241"/>
                  <a:gd name="connsiteX2" fmla="*/ 1017917 w 1086928"/>
                  <a:gd name="connsiteY2" fmla="*/ 612474 h 1088241"/>
                  <a:gd name="connsiteX3" fmla="*/ 1086928 w 1086928"/>
                  <a:gd name="connsiteY3" fmla="*/ 431320 h 1088241"/>
                  <a:gd name="connsiteX4" fmla="*/ 1069675 w 1086928"/>
                  <a:gd name="connsiteY4" fmla="*/ 215659 h 1088241"/>
                  <a:gd name="connsiteX5" fmla="*/ 974785 w 1086928"/>
                  <a:gd name="connsiteY5" fmla="*/ 172527 h 1088241"/>
                  <a:gd name="connsiteX6" fmla="*/ 491706 w 1086928"/>
                  <a:gd name="connsiteY6" fmla="*/ 181154 h 1088241"/>
                  <a:gd name="connsiteX7" fmla="*/ 595223 w 1086928"/>
                  <a:gd name="connsiteY7" fmla="*/ 0 h 1088241"/>
                  <a:gd name="connsiteX8" fmla="*/ 0 w 1086928"/>
                  <a:gd name="connsiteY8" fmla="*/ 267418 h 1088241"/>
                  <a:gd name="connsiteX9" fmla="*/ 0 w 1086928"/>
                  <a:gd name="connsiteY9" fmla="*/ 854014 h 1088241"/>
                  <a:gd name="connsiteX10" fmla="*/ 362309 w 1086928"/>
                  <a:gd name="connsiteY10" fmla="*/ 966157 h 1088241"/>
                  <a:gd name="connsiteX11" fmla="*/ 1016847 w 1086928"/>
                  <a:gd name="connsiteY11" fmla="*/ 1088241 h 1088241"/>
                  <a:gd name="connsiteX0" fmla="*/ 925407 w 1086928"/>
                  <a:gd name="connsiteY0" fmla="*/ 996801 h 1088241"/>
                  <a:gd name="connsiteX1" fmla="*/ 981929 w 1086928"/>
                  <a:gd name="connsiteY1" fmla="*/ 820721 h 1088241"/>
                  <a:gd name="connsiteX2" fmla="*/ 1017917 w 1086928"/>
                  <a:gd name="connsiteY2" fmla="*/ 612474 h 1088241"/>
                  <a:gd name="connsiteX3" fmla="*/ 1086928 w 1086928"/>
                  <a:gd name="connsiteY3" fmla="*/ 431320 h 1088241"/>
                  <a:gd name="connsiteX4" fmla="*/ 1069675 w 1086928"/>
                  <a:gd name="connsiteY4" fmla="*/ 215659 h 1088241"/>
                  <a:gd name="connsiteX5" fmla="*/ 974785 w 1086928"/>
                  <a:gd name="connsiteY5" fmla="*/ 172527 h 1088241"/>
                  <a:gd name="connsiteX6" fmla="*/ 491706 w 1086928"/>
                  <a:gd name="connsiteY6" fmla="*/ 181154 h 1088241"/>
                  <a:gd name="connsiteX7" fmla="*/ 595223 w 1086928"/>
                  <a:gd name="connsiteY7" fmla="*/ 0 h 1088241"/>
                  <a:gd name="connsiteX8" fmla="*/ 0 w 1086928"/>
                  <a:gd name="connsiteY8" fmla="*/ 267418 h 1088241"/>
                  <a:gd name="connsiteX9" fmla="*/ 0 w 1086928"/>
                  <a:gd name="connsiteY9" fmla="*/ 854014 h 1088241"/>
                  <a:gd name="connsiteX10" fmla="*/ 362309 w 1086928"/>
                  <a:gd name="connsiteY10" fmla="*/ 966157 h 1088241"/>
                  <a:gd name="connsiteX11" fmla="*/ 1016847 w 1086928"/>
                  <a:gd name="connsiteY11" fmla="*/ 1088241 h 108824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0" fmla="*/ 925407 w 1086928"/>
                  <a:gd name="connsiteY0" fmla="*/ 996801 h 996801"/>
                  <a:gd name="connsiteX1" fmla="*/ 981929 w 1086928"/>
                  <a:gd name="connsiteY1" fmla="*/ 820721 h 996801"/>
                  <a:gd name="connsiteX2" fmla="*/ 1017917 w 1086928"/>
                  <a:gd name="connsiteY2" fmla="*/ 612474 h 996801"/>
                  <a:gd name="connsiteX3" fmla="*/ 1086928 w 1086928"/>
                  <a:gd name="connsiteY3" fmla="*/ 431320 h 996801"/>
                  <a:gd name="connsiteX4" fmla="*/ 1069675 w 1086928"/>
                  <a:gd name="connsiteY4" fmla="*/ 215659 h 996801"/>
                  <a:gd name="connsiteX5" fmla="*/ 974785 w 1086928"/>
                  <a:gd name="connsiteY5" fmla="*/ 172527 h 996801"/>
                  <a:gd name="connsiteX6" fmla="*/ 491706 w 1086928"/>
                  <a:gd name="connsiteY6" fmla="*/ 181154 h 996801"/>
                  <a:gd name="connsiteX7" fmla="*/ 595223 w 1086928"/>
                  <a:gd name="connsiteY7" fmla="*/ 0 h 996801"/>
                  <a:gd name="connsiteX8" fmla="*/ 0 w 1086928"/>
                  <a:gd name="connsiteY8" fmla="*/ 267418 h 996801"/>
                  <a:gd name="connsiteX9" fmla="*/ 0 w 1086928"/>
                  <a:gd name="connsiteY9" fmla="*/ 854014 h 996801"/>
                  <a:gd name="connsiteX10" fmla="*/ 362309 w 1086928"/>
                  <a:gd name="connsiteY10" fmla="*/ 966157 h 996801"/>
                  <a:gd name="connsiteX11" fmla="*/ 925407 w 1086928"/>
                  <a:gd name="connsiteY11" fmla="*/ 996801 h 996801"/>
                  <a:gd name="connsiteX0" fmla="*/ 925407 w 1086928"/>
                  <a:gd name="connsiteY0" fmla="*/ 996801 h 1038224"/>
                  <a:gd name="connsiteX1" fmla="*/ 981929 w 1086928"/>
                  <a:gd name="connsiteY1" fmla="*/ 820721 h 1038224"/>
                  <a:gd name="connsiteX2" fmla="*/ 1017917 w 1086928"/>
                  <a:gd name="connsiteY2" fmla="*/ 612474 h 1038224"/>
                  <a:gd name="connsiteX3" fmla="*/ 1086928 w 1086928"/>
                  <a:gd name="connsiteY3" fmla="*/ 431320 h 1038224"/>
                  <a:gd name="connsiteX4" fmla="*/ 1069675 w 1086928"/>
                  <a:gd name="connsiteY4" fmla="*/ 215659 h 1038224"/>
                  <a:gd name="connsiteX5" fmla="*/ 974785 w 1086928"/>
                  <a:gd name="connsiteY5" fmla="*/ 172527 h 1038224"/>
                  <a:gd name="connsiteX6" fmla="*/ 491706 w 1086928"/>
                  <a:gd name="connsiteY6" fmla="*/ 181154 h 1038224"/>
                  <a:gd name="connsiteX7" fmla="*/ 595223 w 1086928"/>
                  <a:gd name="connsiteY7" fmla="*/ 0 h 1038224"/>
                  <a:gd name="connsiteX8" fmla="*/ 0 w 1086928"/>
                  <a:gd name="connsiteY8" fmla="*/ 267418 h 1038224"/>
                  <a:gd name="connsiteX9" fmla="*/ 0 w 1086928"/>
                  <a:gd name="connsiteY9" fmla="*/ 854014 h 1038224"/>
                  <a:gd name="connsiteX10" fmla="*/ 362309 w 1086928"/>
                  <a:gd name="connsiteY10" fmla="*/ 966157 h 1038224"/>
                  <a:gd name="connsiteX11" fmla="*/ 743220 w 1086928"/>
                  <a:gd name="connsiteY11" fmla="*/ 1038224 h 1038224"/>
                  <a:gd name="connsiteX12" fmla="*/ 925407 w 1086928"/>
                  <a:gd name="connsiteY12" fmla="*/ 996801 h 1038224"/>
                  <a:gd name="connsiteX0" fmla="*/ 925407 w 1086928"/>
                  <a:gd name="connsiteY0" fmla="*/ 996801 h 1038224"/>
                  <a:gd name="connsiteX1" fmla="*/ 981929 w 1086928"/>
                  <a:gd name="connsiteY1" fmla="*/ 820721 h 1038224"/>
                  <a:gd name="connsiteX2" fmla="*/ 1017917 w 1086928"/>
                  <a:gd name="connsiteY2" fmla="*/ 612474 h 1038224"/>
                  <a:gd name="connsiteX3" fmla="*/ 1086928 w 1086928"/>
                  <a:gd name="connsiteY3" fmla="*/ 431320 h 1038224"/>
                  <a:gd name="connsiteX4" fmla="*/ 1069675 w 1086928"/>
                  <a:gd name="connsiteY4" fmla="*/ 215659 h 1038224"/>
                  <a:gd name="connsiteX5" fmla="*/ 974785 w 1086928"/>
                  <a:gd name="connsiteY5" fmla="*/ 172527 h 1038224"/>
                  <a:gd name="connsiteX6" fmla="*/ 491706 w 1086928"/>
                  <a:gd name="connsiteY6" fmla="*/ 181154 h 1038224"/>
                  <a:gd name="connsiteX7" fmla="*/ 595223 w 1086928"/>
                  <a:gd name="connsiteY7" fmla="*/ 0 h 1038224"/>
                  <a:gd name="connsiteX8" fmla="*/ 0 w 1086928"/>
                  <a:gd name="connsiteY8" fmla="*/ 267418 h 1038224"/>
                  <a:gd name="connsiteX9" fmla="*/ 0 w 1086928"/>
                  <a:gd name="connsiteY9" fmla="*/ 854014 h 1038224"/>
                  <a:gd name="connsiteX10" fmla="*/ 362309 w 1086928"/>
                  <a:gd name="connsiteY10" fmla="*/ 966157 h 1038224"/>
                  <a:gd name="connsiteX11" fmla="*/ 743220 w 1086928"/>
                  <a:gd name="connsiteY11" fmla="*/ 1038224 h 1038224"/>
                  <a:gd name="connsiteX12" fmla="*/ 925407 w 1086928"/>
                  <a:gd name="connsiteY12" fmla="*/ 996801 h 1038224"/>
                  <a:gd name="connsiteX0" fmla="*/ 925407 w 1086928"/>
                  <a:gd name="connsiteY0" fmla="*/ 996801 h 1005589"/>
                  <a:gd name="connsiteX1" fmla="*/ 981929 w 1086928"/>
                  <a:gd name="connsiteY1" fmla="*/ 820721 h 1005589"/>
                  <a:gd name="connsiteX2" fmla="*/ 1017917 w 1086928"/>
                  <a:gd name="connsiteY2" fmla="*/ 612474 h 1005589"/>
                  <a:gd name="connsiteX3" fmla="*/ 1086928 w 1086928"/>
                  <a:gd name="connsiteY3" fmla="*/ 431320 h 1005589"/>
                  <a:gd name="connsiteX4" fmla="*/ 1069675 w 1086928"/>
                  <a:gd name="connsiteY4" fmla="*/ 215659 h 1005589"/>
                  <a:gd name="connsiteX5" fmla="*/ 974785 w 1086928"/>
                  <a:gd name="connsiteY5" fmla="*/ 172527 h 1005589"/>
                  <a:gd name="connsiteX6" fmla="*/ 491706 w 1086928"/>
                  <a:gd name="connsiteY6" fmla="*/ 181154 h 1005589"/>
                  <a:gd name="connsiteX7" fmla="*/ 595223 w 1086928"/>
                  <a:gd name="connsiteY7" fmla="*/ 0 h 1005589"/>
                  <a:gd name="connsiteX8" fmla="*/ 0 w 1086928"/>
                  <a:gd name="connsiteY8" fmla="*/ 267418 h 1005589"/>
                  <a:gd name="connsiteX9" fmla="*/ 0 w 1086928"/>
                  <a:gd name="connsiteY9" fmla="*/ 854014 h 1005589"/>
                  <a:gd name="connsiteX10" fmla="*/ 362309 w 1086928"/>
                  <a:gd name="connsiteY10" fmla="*/ 966157 h 1005589"/>
                  <a:gd name="connsiteX11" fmla="*/ 925407 w 1086928"/>
                  <a:gd name="connsiteY11" fmla="*/ 996801 h 1005589"/>
                  <a:gd name="connsiteX0" fmla="*/ 925407 w 1086928"/>
                  <a:gd name="connsiteY0" fmla="*/ 996801 h 1013821"/>
                  <a:gd name="connsiteX1" fmla="*/ 981929 w 1086928"/>
                  <a:gd name="connsiteY1" fmla="*/ 820721 h 1013821"/>
                  <a:gd name="connsiteX2" fmla="*/ 1017917 w 1086928"/>
                  <a:gd name="connsiteY2" fmla="*/ 612474 h 1013821"/>
                  <a:gd name="connsiteX3" fmla="*/ 1086928 w 1086928"/>
                  <a:gd name="connsiteY3" fmla="*/ 431320 h 1013821"/>
                  <a:gd name="connsiteX4" fmla="*/ 1069675 w 1086928"/>
                  <a:gd name="connsiteY4" fmla="*/ 215659 h 1013821"/>
                  <a:gd name="connsiteX5" fmla="*/ 974785 w 1086928"/>
                  <a:gd name="connsiteY5" fmla="*/ 172527 h 1013821"/>
                  <a:gd name="connsiteX6" fmla="*/ 491706 w 1086928"/>
                  <a:gd name="connsiteY6" fmla="*/ 181154 h 1013821"/>
                  <a:gd name="connsiteX7" fmla="*/ 595223 w 1086928"/>
                  <a:gd name="connsiteY7" fmla="*/ 0 h 1013821"/>
                  <a:gd name="connsiteX8" fmla="*/ 0 w 1086928"/>
                  <a:gd name="connsiteY8" fmla="*/ 267418 h 1013821"/>
                  <a:gd name="connsiteX9" fmla="*/ 0 w 1086928"/>
                  <a:gd name="connsiteY9" fmla="*/ 854014 h 1013821"/>
                  <a:gd name="connsiteX10" fmla="*/ 362309 w 1086928"/>
                  <a:gd name="connsiteY10" fmla="*/ 966157 h 1013821"/>
                  <a:gd name="connsiteX11" fmla="*/ 925407 w 1086928"/>
                  <a:gd name="connsiteY11" fmla="*/ 996801 h 1013821"/>
                  <a:gd name="connsiteX0" fmla="*/ 925407 w 1086928"/>
                  <a:gd name="connsiteY0" fmla="*/ 996801 h 1013821"/>
                  <a:gd name="connsiteX1" fmla="*/ 981929 w 1086928"/>
                  <a:gd name="connsiteY1" fmla="*/ 820721 h 1013821"/>
                  <a:gd name="connsiteX2" fmla="*/ 1017917 w 1086928"/>
                  <a:gd name="connsiteY2" fmla="*/ 612474 h 1013821"/>
                  <a:gd name="connsiteX3" fmla="*/ 1086928 w 1086928"/>
                  <a:gd name="connsiteY3" fmla="*/ 431320 h 1013821"/>
                  <a:gd name="connsiteX4" fmla="*/ 1069675 w 1086928"/>
                  <a:gd name="connsiteY4" fmla="*/ 215659 h 1013821"/>
                  <a:gd name="connsiteX5" fmla="*/ 974785 w 1086928"/>
                  <a:gd name="connsiteY5" fmla="*/ 172527 h 1013821"/>
                  <a:gd name="connsiteX6" fmla="*/ 491706 w 1086928"/>
                  <a:gd name="connsiteY6" fmla="*/ 181154 h 1013821"/>
                  <a:gd name="connsiteX7" fmla="*/ 595223 w 1086928"/>
                  <a:gd name="connsiteY7" fmla="*/ 0 h 1013821"/>
                  <a:gd name="connsiteX8" fmla="*/ 0 w 1086928"/>
                  <a:gd name="connsiteY8" fmla="*/ 267418 h 1013821"/>
                  <a:gd name="connsiteX9" fmla="*/ 0 w 1086928"/>
                  <a:gd name="connsiteY9" fmla="*/ 854014 h 1013821"/>
                  <a:gd name="connsiteX10" fmla="*/ 362309 w 1086928"/>
                  <a:gd name="connsiteY10" fmla="*/ 966157 h 1013821"/>
                  <a:gd name="connsiteX11" fmla="*/ 925407 w 1086928"/>
                  <a:gd name="connsiteY11" fmla="*/ 996801 h 1013821"/>
                  <a:gd name="connsiteX0" fmla="*/ 925407 w 1086928"/>
                  <a:gd name="connsiteY0" fmla="*/ 996801 h 1013821"/>
                  <a:gd name="connsiteX1" fmla="*/ 991454 w 1086928"/>
                  <a:gd name="connsiteY1" fmla="*/ 823103 h 1013821"/>
                  <a:gd name="connsiteX2" fmla="*/ 1017917 w 1086928"/>
                  <a:gd name="connsiteY2" fmla="*/ 612474 h 1013821"/>
                  <a:gd name="connsiteX3" fmla="*/ 1086928 w 1086928"/>
                  <a:gd name="connsiteY3" fmla="*/ 431320 h 1013821"/>
                  <a:gd name="connsiteX4" fmla="*/ 1069675 w 1086928"/>
                  <a:gd name="connsiteY4" fmla="*/ 215659 h 1013821"/>
                  <a:gd name="connsiteX5" fmla="*/ 974785 w 1086928"/>
                  <a:gd name="connsiteY5" fmla="*/ 172527 h 1013821"/>
                  <a:gd name="connsiteX6" fmla="*/ 491706 w 1086928"/>
                  <a:gd name="connsiteY6" fmla="*/ 181154 h 1013821"/>
                  <a:gd name="connsiteX7" fmla="*/ 595223 w 1086928"/>
                  <a:gd name="connsiteY7" fmla="*/ 0 h 1013821"/>
                  <a:gd name="connsiteX8" fmla="*/ 0 w 1086928"/>
                  <a:gd name="connsiteY8" fmla="*/ 267418 h 1013821"/>
                  <a:gd name="connsiteX9" fmla="*/ 0 w 1086928"/>
                  <a:gd name="connsiteY9" fmla="*/ 854014 h 1013821"/>
                  <a:gd name="connsiteX10" fmla="*/ 362309 w 1086928"/>
                  <a:gd name="connsiteY10" fmla="*/ 966157 h 1013821"/>
                  <a:gd name="connsiteX11" fmla="*/ 925407 w 1086928"/>
                  <a:gd name="connsiteY11" fmla="*/ 996801 h 1013821"/>
                  <a:gd name="connsiteX0" fmla="*/ 925407 w 1086928"/>
                  <a:gd name="connsiteY0" fmla="*/ 996801 h 1013821"/>
                  <a:gd name="connsiteX1" fmla="*/ 991454 w 1086928"/>
                  <a:gd name="connsiteY1" fmla="*/ 823103 h 1013821"/>
                  <a:gd name="connsiteX2" fmla="*/ 1017917 w 1086928"/>
                  <a:gd name="connsiteY2" fmla="*/ 612474 h 1013821"/>
                  <a:gd name="connsiteX3" fmla="*/ 1086928 w 1086928"/>
                  <a:gd name="connsiteY3" fmla="*/ 431320 h 1013821"/>
                  <a:gd name="connsiteX4" fmla="*/ 1069675 w 1086928"/>
                  <a:gd name="connsiteY4" fmla="*/ 215659 h 1013821"/>
                  <a:gd name="connsiteX5" fmla="*/ 974785 w 1086928"/>
                  <a:gd name="connsiteY5" fmla="*/ 172527 h 1013821"/>
                  <a:gd name="connsiteX6" fmla="*/ 491706 w 1086928"/>
                  <a:gd name="connsiteY6" fmla="*/ 181154 h 1013821"/>
                  <a:gd name="connsiteX7" fmla="*/ 595223 w 1086928"/>
                  <a:gd name="connsiteY7" fmla="*/ 0 h 1013821"/>
                  <a:gd name="connsiteX8" fmla="*/ 0 w 1086928"/>
                  <a:gd name="connsiteY8" fmla="*/ 267418 h 1013821"/>
                  <a:gd name="connsiteX9" fmla="*/ 0 w 1086928"/>
                  <a:gd name="connsiteY9" fmla="*/ 854014 h 1013821"/>
                  <a:gd name="connsiteX10" fmla="*/ 362309 w 1086928"/>
                  <a:gd name="connsiteY10" fmla="*/ 966157 h 1013821"/>
                  <a:gd name="connsiteX11" fmla="*/ 925407 w 1086928"/>
                  <a:gd name="connsiteY11" fmla="*/ 996801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1082894 w 1086928"/>
                  <a:gd name="connsiteY11" fmla="*/ 91454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1082894 w 1086928"/>
                  <a:gd name="connsiteY11" fmla="*/ 91454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1082894 w 1086928"/>
                  <a:gd name="connsiteY11" fmla="*/ 914543 h 1013821"/>
                  <a:gd name="connsiteX12" fmla="*/ 991454 w 1086928"/>
                  <a:gd name="connsiteY12" fmla="*/ 82310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1082894 w 1086928"/>
                  <a:gd name="connsiteY11" fmla="*/ 914543 h 1013821"/>
                  <a:gd name="connsiteX12" fmla="*/ 991454 w 1086928"/>
                  <a:gd name="connsiteY12" fmla="*/ 82310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91454 w 1086928"/>
                  <a:gd name="connsiteY11" fmla="*/ 82310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91454 w 1086928"/>
                  <a:gd name="connsiteY11" fmla="*/ 823103 h 1013821"/>
                  <a:gd name="connsiteX0" fmla="*/ 991454 w 1086928"/>
                  <a:gd name="connsiteY0" fmla="*/ 823103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91454 w 1086928"/>
                  <a:gd name="connsiteY11" fmla="*/ 823103 h 1013821"/>
                  <a:gd name="connsiteX0" fmla="*/ 977167 w 1086928"/>
                  <a:gd name="connsiteY0" fmla="*/ 825484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17917 w 1086928"/>
                  <a:gd name="connsiteY1" fmla="*/ 612474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88488 w 1086928"/>
                  <a:gd name="connsiteY11" fmla="*/ 833437 h 1013821"/>
                  <a:gd name="connsiteX12" fmla="*/ 977167 w 1086928"/>
                  <a:gd name="connsiteY12"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88488 w 1086928"/>
                  <a:gd name="connsiteY11" fmla="*/ 833437 h 1013821"/>
                  <a:gd name="connsiteX12" fmla="*/ 977167 w 1086928"/>
                  <a:gd name="connsiteY12"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88488 w 1086928"/>
                  <a:gd name="connsiteY11" fmla="*/ 833437 h 1013821"/>
                  <a:gd name="connsiteX12" fmla="*/ 977167 w 1086928"/>
                  <a:gd name="connsiteY12"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34586 w 1086928"/>
                  <a:gd name="connsiteY1" fmla="*/ 633905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27442 w 1086928"/>
                  <a:gd name="connsiteY1" fmla="*/ 638668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86928"/>
                  <a:gd name="connsiteY0" fmla="*/ 825484 h 1013821"/>
                  <a:gd name="connsiteX1" fmla="*/ 1027442 w 1086928"/>
                  <a:gd name="connsiteY1" fmla="*/ 638668 h 1013821"/>
                  <a:gd name="connsiteX2" fmla="*/ 1086928 w 1086928"/>
                  <a:gd name="connsiteY2" fmla="*/ 431320 h 1013821"/>
                  <a:gd name="connsiteX3" fmla="*/ 1069675 w 1086928"/>
                  <a:gd name="connsiteY3" fmla="*/ 215659 h 1013821"/>
                  <a:gd name="connsiteX4" fmla="*/ 974785 w 1086928"/>
                  <a:gd name="connsiteY4" fmla="*/ 172527 h 1013821"/>
                  <a:gd name="connsiteX5" fmla="*/ 491706 w 1086928"/>
                  <a:gd name="connsiteY5" fmla="*/ 181154 h 1013821"/>
                  <a:gd name="connsiteX6" fmla="*/ 595223 w 1086928"/>
                  <a:gd name="connsiteY6" fmla="*/ 0 h 1013821"/>
                  <a:gd name="connsiteX7" fmla="*/ 0 w 1086928"/>
                  <a:gd name="connsiteY7" fmla="*/ 267418 h 1013821"/>
                  <a:gd name="connsiteX8" fmla="*/ 0 w 1086928"/>
                  <a:gd name="connsiteY8" fmla="*/ 854014 h 1013821"/>
                  <a:gd name="connsiteX9" fmla="*/ 362309 w 1086928"/>
                  <a:gd name="connsiteY9" fmla="*/ 966157 h 1013821"/>
                  <a:gd name="connsiteX10" fmla="*/ 925407 w 1086928"/>
                  <a:gd name="connsiteY10" fmla="*/ 996801 h 1013821"/>
                  <a:gd name="connsiteX11" fmla="*/ 977167 w 1086928"/>
                  <a:gd name="connsiteY11" fmla="*/ 825484 h 1013821"/>
                  <a:gd name="connsiteX0" fmla="*/ 977167 w 1069675"/>
                  <a:gd name="connsiteY0" fmla="*/ 825484 h 1013821"/>
                  <a:gd name="connsiteX1" fmla="*/ 1027442 w 1069675"/>
                  <a:gd name="connsiteY1" fmla="*/ 638668 h 1013821"/>
                  <a:gd name="connsiteX2" fmla="*/ 1051209 w 1069675"/>
                  <a:gd name="connsiteY2" fmla="*/ 447988 h 1013821"/>
                  <a:gd name="connsiteX3" fmla="*/ 1069675 w 1069675"/>
                  <a:gd name="connsiteY3" fmla="*/ 215659 h 1013821"/>
                  <a:gd name="connsiteX4" fmla="*/ 974785 w 1069675"/>
                  <a:gd name="connsiteY4" fmla="*/ 172527 h 1013821"/>
                  <a:gd name="connsiteX5" fmla="*/ 491706 w 1069675"/>
                  <a:gd name="connsiteY5" fmla="*/ 181154 h 1013821"/>
                  <a:gd name="connsiteX6" fmla="*/ 595223 w 1069675"/>
                  <a:gd name="connsiteY6" fmla="*/ 0 h 1013821"/>
                  <a:gd name="connsiteX7" fmla="*/ 0 w 1069675"/>
                  <a:gd name="connsiteY7" fmla="*/ 267418 h 1013821"/>
                  <a:gd name="connsiteX8" fmla="*/ 0 w 1069675"/>
                  <a:gd name="connsiteY8" fmla="*/ 854014 h 1013821"/>
                  <a:gd name="connsiteX9" fmla="*/ 362309 w 1069675"/>
                  <a:gd name="connsiteY9" fmla="*/ 966157 h 1013821"/>
                  <a:gd name="connsiteX10" fmla="*/ 925407 w 1069675"/>
                  <a:gd name="connsiteY10" fmla="*/ 996801 h 1013821"/>
                  <a:gd name="connsiteX11" fmla="*/ 977167 w 1069675"/>
                  <a:gd name="connsiteY11" fmla="*/ 825484 h 1013821"/>
                  <a:gd name="connsiteX0" fmla="*/ 977167 w 1083772"/>
                  <a:gd name="connsiteY0" fmla="*/ 825484 h 1013821"/>
                  <a:gd name="connsiteX1" fmla="*/ 1027442 w 1083772"/>
                  <a:gd name="connsiteY1" fmla="*/ 638668 h 1013821"/>
                  <a:gd name="connsiteX2" fmla="*/ 1051209 w 1083772"/>
                  <a:gd name="connsiteY2" fmla="*/ 447988 h 1013821"/>
                  <a:gd name="connsiteX3" fmla="*/ 1069675 w 1083772"/>
                  <a:gd name="connsiteY3" fmla="*/ 215659 h 1013821"/>
                  <a:gd name="connsiteX4" fmla="*/ 974785 w 1083772"/>
                  <a:gd name="connsiteY4" fmla="*/ 172527 h 1013821"/>
                  <a:gd name="connsiteX5" fmla="*/ 491706 w 1083772"/>
                  <a:gd name="connsiteY5" fmla="*/ 181154 h 1013821"/>
                  <a:gd name="connsiteX6" fmla="*/ 595223 w 1083772"/>
                  <a:gd name="connsiteY6" fmla="*/ 0 h 1013821"/>
                  <a:gd name="connsiteX7" fmla="*/ 0 w 1083772"/>
                  <a:gd name="connsiteY7" fmla="*/ 267418 h 1013821"/>
                  <a:gd name="connsiteX8" fmla="*/ 0 w 1083772"/>
                  <a:gd name="connsiteY8" fmla="*/ 854014 h 1013821"/>
                  <a:gd name="connsiteX9" fmla="*/ 362309 w 1083772"/>
                  <a:gd name="connsiteY9" fmla="*/ 966157 h 1013821"/>
                  <a:gd name="connsiteX10" fmla="*/ 925407 w 1083772"/>
                  <a:gd name="connsiteY10" fmla="*/ 996801 h 1013821"/>
                  <a:gd name="connsiteX11" fmla="*/ 977167 w 1083772"/>
                  <a:gd name="connsiteY11" fmla="*/ 825484 h 1013821"/>
                  <a:gd name="connsiteX0" fmla="*/ 977167 w 1083772"/>
                  <a:gd name="connsiteY0" fmla="*/ 825484 h 1013821"/>
                  <a:gd name="connsiteX1" fmla="*/ 1027442 w 1083772"/>
                  <a:gd name="connsiteY1" fmla="*/ 638668 h 1013821"/>
                  <a:gd name="connsiteX2" fmla="*/ 1051209 w 1083772"/>
                  <a:gd name="connsiteY2" fmla="*/ 447988 h 1013821"/>
                  <a:gd name="connsiteX3" fmla="*/ 1069675 w 1083772"/>
                  <a:gd name="connsiteY3" fmla="*/ 215659 h 1013821"/>
                  <a:gd name="connsiteX4" fmla="*/ 974785 w 1083772"/>
                  <a:gd name="connsiteY4" fmla="*/ 172527 h 1013821"/>
                  <a:gd name="connsiteX5" fmla="*/ 491706 w 1083772"/>
                  <a:gd name="connsiteY5" fmla="*/ 181154 h 1013821"/>
                  <a:gd name="connsiteX6" fmla="*/ 595223 w 1083772"/>
                  <a:gd name="connsiteY6" fmla="*/ 0 h 1013821"/>
                  <a:gd name="connsiteX7" fmla="*/ 0 w 1083772"/>
                  <a:gd name="connsiteY7" fmla="*/ 267418 h 1013821"/>
                  <a:gd name="connsiteX8" fmla="*/ 0 w 1083772"/>
                  <a:gd name="connsiteY8" fmla="*/ 854014 h 1013821"/>
                  <a:gd name="connsiteX9" fmla="*/ 362309 w 1083772"/>
                  <a:gd name="connsiteY9" fmla="*/ 966157 h 1013821"/>
                  <a:gd name="connsiteX10" fmla="*/ 925407 w 1083772"/>
                  <a:gd name="connsiteY10" fmla="*/ 996801 h 1013821"/>
                  <a:gd name="connsiteX11" fmla="*/ 977167 w 1083772"/>
                  <a:gd name="connsiteY11" fmla="*/ 825484 h 1013821"/>
                  <a:gd name="connsiteX0" fmla="*/ 977167 w 1083772"/>
                  <a:gd name="connsiteY0" fmla="*/ 825484 h 1013821"/>
                  <a:gd name="connsiteX1" fmla="*/ 1027442 w 1083772"/>
                  <a:gd name="connsiteY1" fmla="*/ 638668 h 1013821"/>
                  <a:gd name="connsiteX2" fmla="*/ 1051209 w 1083772"/>
                  <a:gd name="connsiteY2" fmla="*/ 447988 h 1013821"/>
                  <a:gd name="connsiteX3" fmla="*/ 1069675 w 1083772"/>
                  <a:gd name="connsiteY3" fmla="*/ 215659 h 1013821"/>
                  <a:gd name="connsiteX4" fmla="*/ 974785 w 1083772"/>
                  <a:gd name="connsiteY4" fmla="*/ 172527 h 1013821"/>
                  <a:gd name="connsiteX5" fmla="*/ 491706 w 1083772"/>
                  <a:gd name="connsiteY5" fmla="*/ 181154 h 1013821"/>
                  <a:gd name="connsiteX6" fmla="*/ 595223 w 1083772"/>
                  <a:gd name="connsiteY6" fmla="*/ 0 h 1013821"/>
                  <a:gd name="connsiteX7" fmla="*/ 0 w 1083772"/>
                  <a:gd name="connsiteY7" fmla="*/ 267418 h 1013821"/>
                  <a:gd name="connsiteX8" fmla="*/ 0 w 1083772"/>
                  <a:gd name="connsiteY8" fmla="*/ 854014 h 1013821"/>
                  <a:gd name="connsiteX9" fmla="*/ 362309 w 1083772"/>
                  <a:gd name="connsiteY9" fmla="*/ 966157 h 1013821"/>
                  <a:gd name="connsiteX10" fmla="*/ 925407 w 1083772"/>
                  <a:gd name="connsiteY10" fmla="*/ 996801 h 1013821"/>
                  <a:gd name="connsiteX11" fmla="*/ 977167 w 1083772"/>
                  <a:gd name="connsiteY11" fmla="*/ 825484 h 1013821"/>
                  <a:gd name="connsiteX0" fmla="*/ 977167 w 1083772"/>
                  <a:gd name="connsiteY0" fmla="*/ 825484 h 1013821"/>
                  <a:gd name="connsiteX1" fmla="*/ 1027442 w 1083772"/>
                  <a:gd name="connsiteY1" fmla="*/ 638668 h 1013821"/>
                  <a:gd name="connsiteX2" fmla="*/ 1051209 w 1083772"/>
                  <a:gd name="connsiteY2" fmla="*/ 447988 h 1013821"/>
                  <a:gd name="connsiteX3" fmla="*/ 1053006 w 1083772"/>
                  <a:gd name="connsiteY3" fmla="*/ 182321 h 1013821"/>
                  <a:gd name="connsiteX4" fmla="*/ 974785 w 1083772"/>
                  <a:gd name="connsiteY4" fmla="*/ 172527 h 1013821"/>
                  <a:gd name="connsiteX5" fmla="*/ 491706 w 1083772"/>
                  <a:gd name="connsiteY5" fmla="*/ 181154 h 1013821"/>
                  <a:gd name="connsiteX6" fmla="*/ 595223 w 1083772"/>
                  <a:gd name="connsiteY6" fmla="*/ 0 h 1013821"/>
                  <a:gd name="connsiteX7" fmla="*/ 0 w 1083772"/>
                  <a:gd name="connsiteY7" fmla="*/ 267418 h 1013821"/>
                  <a:gd name="connsiteX8" fmla="*/ 0 w 1083772"/>
                  <a:gd name="connsiteY8" fmla="*/ 854014 h 1013821"/>
                  <a:gd name="connsiteX9" fmla="*/ 362309 w 1083772"/>
                  <a:gd name="connsiteY9" fmla="*/ 966157 h 1013821"/>
                  <a:gd name="connsiteX10" fmla="*/ 925407 w 1083772"/>
                  <a:gd name="connsiteY10" fmla="*/ 996801 h 1013821"/>
                  <a:gd name="connsiteX11" fmla="*/ 977167 w 1083772"/>
                  <a:gd name="connsiteY11" fmla="*/ 825484 h 1013821"/>
                  <a:gd name="connsiteX0" fmla="*/ 977167 w 1107851"/>
                  <a:gd name="connsiteY0" fmla="*/ 825484 h 1013821"/>
                  <a:gd name="connsiteX1" fmla="*/ 1027442 w 1107851"/>
                  <a:gd name="connsiteY1" fmla="*/ 638668 h 1013821"/>
                  <a:gd name="connsiteX2" fmla="*/ 1051209 w 1107851"/>
                  <a:gd name="connsiteY2" fmla="*/ 447988 h 1013821"/>
                  <a:gd name="connsiteX3" fmla="*/ 1053006 w 1107851"/>
                  <a:gd name="connsiteY3" fmla="*/ 182321 h 1013821"/>
                  <a:gd name="connsiteX4" fmla="*/ 974785 w 1107851"/>
                  <a:gd name="connsiteY4" fmla="*/ 172527 h 1013821"/>
                  <a:gd name="connsiteX5" fmla="*/ 491706 w 1107851"/>
                  <a:gd name="connsiteY5" fmla="*/ 181154 h 1013821"/>
                  <a:gd name="connsiteX6" fmla="*/ 595223 w 1107851"/>
                  <a:gd name="connsiteY6" fmla="*/ 0 h 1013821"/>
                  <a:gd name="connsiteX7" fmla="*/ 0 w 1107851"/>
                  <a:gd name="connsiteY7" fmla="*/ 267418 h 1013821"/>
                  <a:gd name="connsiteX8" fmla="*/ 0 w 1107851"/>
                  <a:gd name="connsiteY8" fmla="*/ 854014 h 1013821"/>
                  <a:gd name="connsiteX9" fmla="*/ 362309 w 1107851"/>
                  <a:gd name="connsiteY9" fmla="*/ 966157 h 1013821"/>
                  <a:gd name="connsiteX10" fmla="*/ 925407 w 1107851"/>
                  <a:gd name="connsiteY10" fmla="*/ 996801 h 1013821"/>
                  <a:gd name="connsiteX11" fmla="*/ 977167 w 1107851"/>
                  <a:gd name="connsiteY11" fmla="*/ 825484 h 1013821"/>
                  <a:gd name="connsiteX0" fmla="*/ 977167 w 1109996"/>
                  <a:gd name="connsiteY0" fmla="*/ 825484 h 1013821"/>
                  <a:gd name="connsiteX1" fmla="*/ 1027442 w 1109996"/>
                  <a:gd name="connsiteY1" fmla="*/ 638668 h 1013821"/>
                  <a:gd name="connsiteX2" fmla="*/ 1055972 w 1109996"/>
                  <a:gd name="connsiteY2" fmla="*/ 407507 h 1013821"/>
                  <a:gd name="connsiteX3" fmla="*/ 1053006 w 1109996"/>
                  <a:gd name="connsiteY3" fmla="*/ 182321 h 1013821"/>
                  <a:gd name="connsiteX4" fmla="*/ 974785 w 1109996"/>
                  <a:gd name="connsiteY4" fmla="*/ 172527 h 1013821"/>
                  <a:gd name="connsiteX5" fmla="*/ 491706 w 1109996"/>
                  <a:gd name="connsiteY5" fmla="*/ 181154 h 1013821"/>
                  <a:gd name="connsiteX6" fmla="*/ 595223 w 1109996"/>
                  <a:gd name="connsiteY6" fmla="*/ 0 h 1013821"/>
                  <a:gd name="connsiteX7" fmla="*/ 0 w 1109996"/>
                  <a:gd name="connsiteY7" fmla="*/ 267418 h 1013821"/>
                  <a:gd name="connsiteX8" fmla="*/ 0 w 1109996"/>
                  <a:gd name="connsiteY8" fmla="*/ 854014 h 1013821"/>
                  <a:gd name="connsiteX9" fmla="*/ 362309 w 1109996"/>
                  <a:gd name="connsiteY9" fmla="*/ 966157 h 1013821"/>
                  <a:gd name="connsiteX10" fmla="*/ 925407 w 1109996"/>
                  <a:gd name="connsiteY10" fmla="*/ 996801 h 1013821"/>
                  <a:gd name="connsiteX11" fmla="*/ 977167 w 1109996"/>
                  <a:gd name="connsiteY11" fmla="*/ 825484 h 1013821"/>
                  <a:gd name="connsiteX0" fmla="*/ 977167 w 1109996"/>
                  <a:gd name="connsiteY0" fmla="*/ 825484 h 1013821"/>
                  <a:gd name="connsiteX1" fmla="*/ 1027442 w 1109996"/>
                  <a:gd name="connsiteY1" fmla="*/ 638668 h 1013821"/>
                  <a:gd name="connsiteX2" fmla="*/ 1055972 w 1109996"/>
                  <a:gd name="connsiteY2" fmla="*/ 407507 h 1013821"/>
                  <a:gd name="connsiteX3" fmla="*/ 1053006 w 1109996"/>
                  <a:gd name="connsiteY3" fmla="*/ 182321 h 1013821"/>
                  <a:gd name="connsiteX4" fmla="*/ 974785 w 1109996"/>
                  <a:gd name="connsiteY4" fmla="*/ 172527 h 1013821"/>
                  <a:gd name="connsiteX5" fmla="*/ 491706 w 1109996"/>
                  <a:gd name="connsiteY5" fmla="*/ 181154 h 1013821"/>
                  <a:gd name="connsiteX6" fmla="*/ 595223 w 1109996"/>
                  <a:gd name="connsiteY6" fmla="*/ 0 h 1013821"/>
                  <a:gd name="connsiteX7" fmla="*/ 0 w 1109996"/>
                  <a:gd name="connsiteY7" fmla="*/ 267418 h 1013821"/>
                  <a:gd name="connsiteX8" fmla="*/ 0 w 1109996"/>
                  <a:gd name="connsiteY8" fmla="*/ 854014 h 1013821"/>
                  <a:gd name="connsiteX9" fmla="*/ 362309 w 1109996"/>
                  <a:gd name="connsiteY9" fmla="*/ 966157 h 1013821"/>
                  <a:gd name="connsiteX10" fmla="*/ 925407 w 1109996"/>
                  <a:gd name="connsiteY10" fmla="*/ 996801 h 1013821"/>
                  <a:gd name="connsiteX11" fmla="*/ 977167 w 1109996"/>
                  <a:gd name="connsiteY11" fmla="*/ 825484 h 1013821"/>
                  <a:gd name="connsiteX0" fmla="*/ 977167 w 1109996"/>
                  <a:gd name="connsiteY0" fmla="*/ 825484 h 1013821"/>
                  <a:gd name="connsiteX1" fmla="*/ 1027442 w 1109996"/>
                  <a:gd name="connsiteY1" fmla="*/ 638668 h 1013821"/>
                  <a:gd name="connsiteX2" fmla="*/ 1055972 w 1109996"/>
                  <a:gd name="connsiteY2" fmla="*/ 407507 h 1013821"/>
                  <a:gd name="connsiteX3" fmla="*/ 1053006 w 1109996"/>
                  <a:gd name="connsiteY3" fmla="*/ 182321 h 1013821"/>
                  <a:gd name="connsiteX4" fmla="*/ 974785 w 1109996"/>
                  <a:gd name="connsiteY4" fmla="*/ 172527 h 1013821"/>
                  <a:gd name="connsiteX5" fmla="*/ 491706 w 1109996"/>
                  <a:gd name="connsiteY5" fmla="*/ 181154 h 1013821"/>
                  <a:gd name="connsiteX6" fmla="*/ 595223 w 1109996"/>
                  <a:gd name="connsiteY6" fmla="*/ 0 h 1013821"/>
                  <a:gd name="connsiteX7" fmla="*/ 0 w 1109996"/>
                  <a:gd name="connsiteY7" fmla="*/ 267418 h 1013821"/>
                  <a:gd name="connsiteX8" fmla="*/ 0 w 1109996"/>
                  <a:gd name="connsiteY8" fmla="*/ 854014 h 1013821"/>
                  <a:gd name="connsiteX9" fmla="*/ 362309 w 1109996"/>
                  <a:gd name="connsiteY9" fmla="*/ 966157 h 1013821"/>
                  <a:gd name="connsiteX10" fmla="*/ 925407 w 1109996"/>
                  <a:gd name="connsiteY10" fmla="*/ 996801 h 1013821"/>
                  <a:gd name="connsiteX11" fmla="*/ 977167 w 1109996"/>
                  <a:gd name="connsiteY11" fmla="*/ 825484 h 1013821"/>
                  <a:gd name="connsiteX0" fmla="*/ 986692 w 1109996"/>
                  <a:gd name="connsiteY0" fmla="*/ 825484 h 1013821"/>
                  <a:gd name="connsiteX1" fmla="*/ 1027442 w 1109996"/>
                  <a:gd name="connsiteY1" fmla="*/ 638668 h 1013821"/>
                  <a:gd name="connsiteX2" fmla="*/ 1055972 w 1109996"/>
                  <a:gd name="connsiteY2" fmla="*/ 407507 h 1013821"/>
                  <a:gd name="connsiteX3" fmla="*/ 1053006 w 1109996"/>
                  <a:gd name="connsiteY3" fmla="*/ 182321 h 1013821"/>
                  <a:gd name="connsiteX4" fmla="*/ 974785 w 1109996"/>
                  <a:gd name="connsiteY4" fmla="*/ 172527 h 1013821"/>
                  <a:gd name="connsiteX5" fmla="*/ 491706 w 1109996"/>
                  <a:gd name="connsiteY5" fmla="*/ 181154 h 1013821"/>
                  <a:gd name="connsiteX6" fmla="*/ 595223 w 1109996"/>
                  <a:gd name="connsiteY6" fmla="*/ 0 h 1013821"/>
                  <a:gd name="connsiteX7" fmla="*/ 0 w 1109996"/>
                  <a:gd name="connsiteY7" fmla="*/ 267418 h 1013821"/>
                  <a:gd name="connsiteX8" fmla="*/ 0 w 1109996"/>
                  <a:gd name="connsiteY8" fmla="*/ 854014 h 1013821"/>
                  <a:gd name="connsiteX9" fmla="*/ 362309 w 1109996"/>
                  <a:gd name="connsiteY9" fmla="*/ 966157 h 1013821"/>
                  <a:gd name="connsiteX10" fmla="*/ 925407 w 1109996"/>
                  <a:gd name="connsiteY10" fmla="*/ 996801 h 1013821"/>
                  <a:gd name="connsiteX11" fmla="*/ 986692 w 1109996"/>
                  <a:gd name="connsiteY11" fmla="*/ 825484 h 1013821"/>
                  <a:gd name="connsiteX0" fmla="*/ 986692 w 1109996"/>
                  <a:gd name="connsiteY0" fmla="*/ 825484 h 1013821"/>
                  <a:gd name="connsiteX1" fmla="*/ 1027442 w 1109996"/>
                  <a:gd name="connsiteY1" fmla="*/ 638668 h 1013821"/>
                  <a:gd name="connsiteX2" fmla="*/ 1055972 w 1109996"/>
                  <a:gd name="connsiteY2" fmla="*/ 407507 h 1013821"/>
                  <a:gd name="connsiteX3" fmla="*/ 1053006 w 1109996"/>
                  <a:gd name="connsiteY3" fmla="*/ 182321 h 1013821"/>
                  <a:gd name="connsiteX4" fmla="*/ 974785 w 1109996"/>
                  <a:gd name="connsiteY4" fmla="*/ 172527 h 1013821"/>
                  <a:gd name="connsiteX5" fmla="*/ 491706 w 1109996"/>
                  <a:gd name="connsiteY5" fmla="*/ 181154 h 1013821"/>
                  <a:gd name="connsiteX6" fmla="*/ 595223 w 1109996"/>
                  <a:gd name="connsiteY6" fmla="*/ 0 h 1013821"/>
                  <a:gd name="connsiteX7" fmla="*/ 0 w 1109996"/>
                  <a:gd name="connsiteY7" fmla="*/ 267418 h 1013821"/>
                  <a:gd name="connsiteX8" fmla="*/ 0 w 1109996"/>
                  <a:gd name="connsiteY8" fmla="*/ 854014 h 1013821"/>
                  <a:gd name="connsiteX9" fmla="*/ 362309 w 1109996"/>
                  <a:gd name="connsiteY9" fmla="*/ 966157 h 1013821"/>
                  <a:gd name="connsiteX10" fmla="*/ 925407 w 1109996"/>
                  <a:gd name="connsiteY10" fmla="*/ 996801 h 1013821"/>
                  <a:gd name="connsiteX11" fmla="*/ 986692 w 1109996"/>
                  <a:gd name="connsiteY11" fmla="*/ 825484 h 1013821"/>
                  <a:gd name="connsiteX0" fmla="*/ 986692 w 1109996"/>
                  <a:gd name="connsiteY0" fmla="*/ 825484 h 996152"/>
                  <a:gd name="connsiteX1" fmla="*/ 1027442 w 1109996"/>
                  <a:gd name="connsiteY1" fmla="*/ 638668 h 996152"/>
                  <a:gd name="connsiteX2" fmla="*/ 1055972 w 1109996"/>
                  <a:gd name="connsiteY2" fmla="*/ 407507 h 996152"/>
                  <a:gd name="connsiteX3" fmla="*/ 1053006 w 1109996"/>
                  <a:gd name="connsiteY3" fmla="*/ 182321 h 996152"/>
                  <a:gd name="connsiteX4" fmla="*/ 974785 w 1109996"/>
                  <a:gd name="connsiteY4" fmla="*/ 172527 h 996152"/>
                  <a:gd name="connsiteX5" fmla="*/ 491706 w 1109996"/>
                  <a:gd name="connsiteY5" fmla="*/ 181154 h 996152"/>
                  <a:gd name="connsiteX6" fmla="*/ 595223 w 1109996"/>
                  <a:gd name="connsiteY6" fmla="*/ 0 h 996152"/>
                  <a:gd name="connsiteX7" fmla="*/ 0 w 1109996"/>
                  <a:gd name="connsiteY7" fmla="*/ 267418 h 996152"/>
                  <a:gd name="connsiteX8" fmla="*/ 0 w 1109996"/>
                  <a:gd name="connsiteY8" fmla="*/ 854014 h 996152"/>
                  <a:gd name="connsiteX9" fmla="*/ 362309 w 1109996"/>
                  <a:gd name="connsiteY9" fmla="*/ 966157 h 996152"/>
                  <a:gd name="connsiteX10" fmla="*/ 880164 w 1109996"/>
                  <a:gd name="connsiteY10" fmla="*/ 972989 h 996152"/>
                  <a:gd name="connsiteX11" fmla="*/ 986692 w 1109996"/>
                  <a:gd name="connsiteY11" fmla="*/ 825484 h 996152"/>
                  <a:gd name="connsiteX0" fmla="*/ 986692 w 1109996"/>
                  <a:gd name="connsiteY0" fmla="*/ 825484 h 996152"/>
                  <a:gd name="connsiteX1" fmla="*/ 1027442 w 1109996"/>
                  <a:gd name="connsiteY1" fmla="*/ 638668 h 996152"/>
                  <a:gd name="connsiteX2" fmla="*/ 1055972 w 1109996"/>
                  <a:gd name="connsiteY2" fmla="*/ 407507 h 996152"/>
                  <a:gd name="connsiteX3" fmla="*/ 1053006 w 1109996"/>
                  <a:gd name="connsiteY3" fmla="*/ 182321 h 996152"/>
                  <a:gd name="connsiteX4" fmla="*/ 974785 w 1109996"/>
                  <a:gd name="connsiteY4" fmla="*/ 172527 h 996152"/>
                  <a:gd name="connsiteX5" fmla="*/ 491706 w 1109996"/>
                  <a:gd name="connsiteY5" fmla="*/ 181154 h 996152"/>
                  <a:gd name="connsiteX6" fmla="*/ 595223 w 1109996"/>
                  <a:gd name="connsiteY6" fmla="*/ 0 h 996152"/>
                  <a:gd name="connsiteX7" fmla="*/ 0 w 1109996"/>
                  <a:gd name="connsiteY7" fmla="*/ 267418 h 996152"/>
                  <a:gd name="connsiteX8" fmla="*/ 0 w 1109996"/>
                  <a:gd name="connsiteY8" fmla="*/ 854014 h 996152"/>
                  <a:gd name="connsiteX9" fmla="*/ 362309 w 1109996"/>
                  <a:gd name="connsiteY9" fmla="*/ 966157 h 996152"/>
                  <a:gd name="connsiteX10" fmla="*/ 880164 w 1109996"/>
                  <a:gd name="connsiteY10" fmla="*/ 972989 h 996152"/>
                  <a:gd name="connsiteX11" fmla="*/ 986692 w 1109996"/>
                  <a:gd name="connsiteY11" fmla="*/ 825484 h 996152"/>
                  <a:gd name="connsiteX0" fmla="*/ 986692 w 1109996"/>
                  <a:gd name="connsiteY0" fmla="*/ 825484 h 986974"/>
                  <a:gd name="connsiteX1" fmla="*/ 1027442 w 1109996"/>
                  <a:gd name="connsiteY1" fmla="*/ 638668 h 986974"/>
                  <a:gd name="connsiteX2" fmla="*/ 1055972 w 1109996"/>
                  <a:gd name="connsiteY2" fmla="*/ 407507 h 986974"/>
                  <a:gd name="connsiteX3" fmla="*/ 1053006 w 1109996"/>
                  <a:gd name="connsiteY3" fmla="*/ 182321 h 986974"/>
                  <a:gd name="connsiteX4" fmla="*/ 974785 w 1109996"/>
                  <a:gd name="connsiteY4" fmla="*/ 172527 h 986974"/>
                  <a:gd name="connsiteX5" fmla="*/ 491706 w 1109996"/>
                  <a:gd name="connsiteY5" fmla="*/ 181154 h 986974"/>
                  <a:gd name="connsiteX6" fmla="*/ 595223 w 1109996"/>
                  <a:gd name="connsiteY6" fmla="*/ 0 h 986974"/>
                  <a:gd name="connsiteX7" fmla="*/ 0 w 1109996"/>
                  <a:gd name="connsiteY7" fmla="*/ 267418 h 986974"/>
                  <a:gd name="connsiteX8" fmla="*/ 0 w 1109996"/>
                  <a:gd name="connsiteY8" fmla="*/ 854014 h 986974"/>
                  <a:gd name="connsiteX9" fmla="*/ 362309 w 1109996"/>
                  <a:gd name="connsiteY9" fmla="*/ 966157 h 986974"/>
                  <a:gd name="connsiteX10" fmla="*/ 880164 w 1109996"/>
                  <a:gd name="connsiteY10" fmla="*/ 972989 h 986974"/>
                  <a:gd name="connsiteX11" fmla="*/ 986692 w 1109996"/>
                  <a:gd name="connsiteY11" fmla="*/ 825484 h 986974"/>
                  <a:gd name="connsiteX0" fmla="*/ 986692 w 1109996"/>
                  <a:gd name="connsiteY0" fmla="*/ 825484 h 986974"/>
                  <a:gd name="connsiteX1" fmla="*/ 1027442 w 1109996"/>
                  <a:gd name="connsiteY1" fmla="*/ 638668 h 986974"/>
                  <a:gd name="connsiteX2" fmla="*/ 1055972 w 1109996"/>
                  <a:gd name="connsiteY2" fmla="*/ 407507 h 986974"/>
                  <a:gd name="connsiteX3" fmla="*/ 1053006 w 1109996"/>
                  <a:gd name="connsiteY3" fmla="*/ 182321 h 986974"/>
                  <a:gd name="connsiteX4" fmla="*/ 974785 w 1109996"/>
                  <a:gd name="connsiteY4" fmla="*/ 172527 h 986974"/>
                  <a:gd name="connsiteX5" fmla="*/ 491706 w 1109996"/>
                  <a:gd name="connsiteY5" fmla="*/ 181154 h 986974"/>
                  <a:gd name="connsiteX6" fmla="*/ 595223 w 1109996"/>
                  <a:gd name="connsiteY6" fmla="*/ 0 h 986974"/>
                  <a:gd name="connsiteX7" fmla="*/ 0 w 1109996"/>
                  <a:gd name="connsiteY7" fmla="*/ 267418 h 986974"/>
                  <a:gd name="connsiteX8" fmla="*/ 0 w 1109996"/>
                  <a:gd name="connsiteY8" fmla="*/ 854014 h 986974"/>
                  <a:gd name="connsiteX9" fmla="*/ 362309 w 1109996"/>
                  <a:gd name="connsiteY9" fmla="*/ 966157 h 986974"/>
                  <a:gd name="connsiteX10" fmla="*/ 880164 w 1109996"/>
                  <a:gd name="connsiteY10" fmla="*/ 972989 h 986974"/>
                  <a:gd name="connsiteX11" fmla="*/ 986692 w 1109996"/>
                  <a:gd name="connsiteY11" fmla="*/ 825484 h 986974"/>
                  <a:gd name="connsiteX0" fmla="*/ 986692 w 1109996"/>
                  <a:gd name="connsiteY0" fmla="*/ 825484 h 986974"/>
                  <a:gd name="connsiteX1" fmla="*/ 1027442 w 1109996"/>
                  <a:gd name="connsiteY1" fmla="*/ 638668 h 986974"/>
                  <a:gd name="connsiteX2" fmla="*/ 1055972 w 1109996"/>
                  <a:gd name="connsiteY2" fmla="*/ 407507 h 986974"/>
                  <a:gd name="connsiteX3" fmla="*/ 1053006 w 1109996"/>
                  <a:gd name="connsiteY3" fmla="*/ 182321 h 986974"/>
                  <a:gd name="connsiteX4" fmla="*/ 974785 w 1109996"/>
                  <a:gd name="connsiteY4" fmla="*/ 172527 h 986974"/>
                  <a:gd name="connsiteX5" fmla="*/ 491706 w 1109996"/>
                  <a:gd name="connsiteY5" fmla="*/ 181154 h 986974"/>
                  <a:gd name="connsiteX6" fmla="*/ 595223 w 1109996"/>
                  <a:gd name="connsiteY6" fmla="*/ 0 h 986974"/>
                  <a:gd name="connsiteX7" fmla="*/ 0 w 1109996"/>
                  <a:gd name="connsiteY7" fmla="*/ 267418 h 986974"/>
                  <a:gd name="connsiteX8" fmla="*/ 0 w 1109996"/>
                  <a:gd name="connsiteY8" fmla="*/ 854014 h 986974"/>
                  <a:gd name="connsiteX9" fmla="*/ 362309 w 1109996"/>
                  <a:gd name="connsiteY9" fmla="*/ 966157 h 986974"/>
                  <a:gd name="connsiteX10" fmla="*/ 880164 w 1109996"/>
                  <a:gd name="connsiteY10" fmla="*/ 972989 h 986974"/>
                  <a:gd name="connsiteX11" fmla="*/ 986692 w 1109996"/>
                  <a:gd name="connsiteY11" fmla="*/ 825484 h 986974"/>
                  <a:gd name="connsiteX0" fmla="*/ 986692 w 1109996"/>
                  <a:gd name="connsiteY0" fmla="*/ 825484 h 995044"/>
                  <a:gd name="connsiteX1" fmla="*/ 1027442 w 1109996"/>
                  <a:gd name="connsiteY1" fmla="*/ 638668 h 995044"/>
                  <a:gd name="connsiteX2" fmla="*/ 1055972 w 1109996"/>
                  <a:gd name="connsiteY2" fmla="*/ 407507 h 995044"/>
                  <a:gd name="connsiteX3" fmla="*/ 1053006 w 1109996"/>
                  <a:gd name="connsiteY3" fmla="*/ 182321 h 995044"/>
                  <a:gd name="connsiteX4" fmla="*/ 974785 w 1109996"/>
                  <a:gd name="connsiteY4" fmla="*/ 172527 h 995044"/>
                  <a:gd name="connsiteX5" fmla="*/ 491706 w 1109996"/>
                  <a:gd name="connsiteY5" fmla="*/ 181154 h 995044"/>
                  <a:gd name="connsiteX6" fmla="*/ 595223 w 1109996"/>
                  <a:gd name="connsiteY6" fmla="*/ 0 h 995044"/>
                  <a:gd name="connsiteX7" fmla="*/ 0 w 1109996"/>
                  <a:gd name="connsiteY7" fmla="*/ 267418 h 995044"/>
                  <a:gd name="connsiteX8" fmla="*/ 0 w 1109996"/>
                  <a:gd name="connsiteY8" fmla="*/ 854014 h 995044"/>
                  <a:gd name="connsiteX9" fmla="*/ 362309 w 1109996"/>
                  <a:gd name="connsiteY9" fmla="*/ 966157 h 995044"/>
                  <a:gd name="connsiteX10" fmla="*/ 884927 w 1109996"/>
                  <a:gd name="connsiteY10" fmla="*/ 984895 h 995044"/>
                  <a:gd name="connsiteX11" fmla="*/ 986692 w 1109996"/>
                  <a:gd name="connsiteY11" fmla="*/ 825484 h 995044"/>
                  <a:gd name="connsiteX0" fmla="*/ 986692 w 1109996"/>
                  <a:gd name="connsiteY0" fmla="*/ 825484 h 995044"/>
                  <a:gd name="connsiteX1" fmla="*/ 1027442 w 1109996"/>
                  <a:gd name="connsiteY1" fmla="*/ 638668 h 995044"/>
                  <a:gd name="connsiteX2" fmla="*/ 1055972 w 1109996"/>
                  <a:gd name="connsiteY2" fmla="*/ 407507 h 995044"/>
                  <a:gd name="connsiteX3" fmla="*/ 1053006 w 1109996"/>
                  <a:gd name="connsiteY3" fmla="*/ 182321 h 995044"/>
                  <a:gd name="connsiteX4" fmla="*/ 974785 w 1109996"/>
                  <a:gd name="connsiteY4" fmla="*/ 172527 h 995044"/>
                  <a:gd name="connsiteX5" fmla="*/ 491706 w 1109996"/>
                  <a:gd name="connsiteY5" fmla="*/ 181154 h 995044"/>
                  <a:gd name="connsiteX6" fmla="*/ 595223 w 1109996"/>
                  <a:gd name="connsiteY6" fmla="*/ 0 h 995044"/>
                  <a:gd name="connsiteX7" fmla="*/ 0 w 1109996"/>
                  <a:gd name="connsiteY7" fmla="*/ 267418 h 995044"/>
                  <a:gd name="connsiteX8" fmla="*/ 0 w 1109996"/>
                  <a:gd name="connsiteY8" fmla="*/ 854014 h 995044"/>
                  <a:gd name="connsiteX9" fmla="*/ 362309 w 1109996"/>
                  <a:gd name="connsiteY9" fmla="*/ 966157 h 995044"/>
                  <a:gd name="connsiteX10" fmla="*/ 884927 w 1109996"/>
                  <a:gd name="connsiteY10" fmla="*/ 984895 h 995044"/>
                  <a:gd name="connsiteX11" fmla="*/ 986692 w 1109996"/>
                  <a:gd name="connsiteY11" fmla="*/ 825484 h 995044"/>
                  <a:gd name="connsiteX0" fmla="*/ 986692 w 1109996"/>
                  <a:gd name="connsiteY0" fmla="*/ 825484 h 988698"/>
                  <a:gd name="connsiteX1" fmla="*/ 1027442 w 1109996"/>
                  <a:gd name="connsiteY1" fmla="*/ 638668 h 988698"/>
                  <a:gd name="connsiteX2" fmla="*/ 1055972 w 1109996"/>
                  <a:gd name="connsiteY2" fmla="*/ 407507 h 988698"/>
                  <a:gd name="connsiteX3" fmla="*/ 1053006 w 1109996"/>
                  <a:gd name="connsiteY3" fmla="*/ 182321 h 988698"/>
                  <a:gd name="connsiteX4" fmla="*/ 974785 w 1109996"/>
                  <a:gd name="connsiteY4" fmla="*/ 172527 h 988698"/>
                  <a:gd name="connsiteX5" fmla="*/ 491706 w 1109996"/>
                  <a:gd name="connsiteY5" fmla="*/ 181154 h 988698"/>
                  <a:gd name="connsiteX6" fmla="*/ 595223 w 1109996"/>
                  <a:gd name="connsiteY6" fmla="*/ 0 h 988698"/>
                  <a:gd name="connsiteX7" fmla="*/ 0 w 1109996"/>
                  <a:gd name="connsiteY7" fmla="*/ 267418 h 988698"/>
                  <a:gd name="connsiteX8" fmla="*/ 0 w 1109996"/>
                  <a:gd name="connsiteY8" fmla="*/ 854014 h 988698"/>
                  <a:gd name="connsiteX9" fmla="*/ 362309 w 1109996"/>
                  <a:gd name="connsiteY9" fmla="*/ 966157 h 988698"/>
                  <a:gd name="connsiteX10" fmla="*/ 884927 w 1109996"/>
                  <a:gd name="connsiteY10" fmla="*/ 984895 h 988698"/>
                  <a:gd name="connsiteX11" fmla="*/ 986692 w 1109996"/>
                  <a:gd name="connsiteY11" fmla="*/ 825484 h 988698"/>
                  <a:gd name="connsiteX0" fmla="*/ 986692 w 1109996"/>
                  <a:gd name="connsiteY0" fmla="*/ 825484 h 988698"/>
                  <a:gd name="connsiteX1" fmla="*/ 1027442 w 1109996"/>
                  <a:gd name="connsiteY1" fmla="*/ 638668 h 988698"/>
                  <a:gd name="connsiteX2" fmla="*/ 1055972 w 1109996"/>
                  <a:gd name="connsiteY2" fmla="*/ 407507 h 988698"/>
                  <a:gd name="connsiteX3" fmla="*/ 1053006 w 1109996"/>
                  <a:gd name="connsiteY3" fmla="*/ 182321 h 988698"/>
                  <a:gd name="connsiteX4" fmla="*/ 974785 w 1109996"/>
                  <a:gd name="connsiteY4" fmla="*/ 172527 h 988698"/>
                  <a:gd name="connsiteX5" fmla="*/ 491706 w 1109996"/>
                  <a:gd name="connsiteY5" fmla="*/ 181154 h 988698"/>
                  <a:gd name="connsiteX6" fmla="*/ 595223 w 1109996"/>
                  <a:gd name="connsiteY6" fmla="*/ 0 h 988698"/>
                  <a:gd name="connsiteX7" fmla="*/ 0 w 1109996"/>
                  <a:gd name="connsiteY7" fmla="*/ 267418 h 988698"/>
                  <a:gd name="connsiteX8" fmla="*/ 0 w 1109996"/>
                  <a:gd name="connsiteY8" fmla="*/ 854014 h 988698"/>
                  <a:gd name="connsiteX9" fmla="*/ 362309 w 1109996"/>
                  <a:gd name="connsiteY9" fmla="*/ 966157 h 988698"/>
                  <a:gd name="connsiteX10" fmla="*/ 884927 w 1109996"/>
                  <a:gd name="connsiteY10" fmla="*/ 984895 h 988698"/>
                  <a:gd name="connsiteX11" fmla="*/ 986692 w 1109996"/>
                  <a:gd name="connsiteY11" fmla="*/ 825484 h 988698"/>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491706 w 1109996"/>
                  <a:gd name="connsiteY5" fmla="*/ 137941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82271 h 945485"/>
                  <a:gd name="connsiteX1" fmla="*/ 1027442 w 1109996"/>
                  <a:gd name="connsiteY1" fmla="*/ 595455 h 945485"/>
                  <a:gd name="connsiteX2" fmla="*/ 1055972 w 1109996"/>
                  <a:gd name="connsiteY2" fmla="*/ 364294 h 945485"/>
                  <a:gd name="connsiteX3" fmla="*/ 1053006 w 1109996"/>
                  <a:gd name="connsiteY3" fmla="*/ 139108 h 945485"/>
                  <a:gd name="connsiteX4" fmla="*/ 974785 w 1109996"/>
                  <a:gd name="connsiteY4" fmla="*/ 129314 h 945485"/>
                  <a:gd name="connsiteX5" fmla="*/ 570238 w 1109996"/>
                  <a:gd name="connsiteY5" fmla="*/ 125595 h 945485"/>
                  <a:gd name="connsiteX6" fmla="*/ 559527 w 1109996"/>
                  <a:gd name="connsiteY6" fmla="*/ 0 h 945485"/>
                  <a:gd name="connsiteX7" fmla="*/ 0 w 1109996"/>
                  <a:gd name="connsiteY7" fmla="*/ 224205 h 945485"/>
                  <a:gd name="connsiteX8" fmla="*/ 0 w 1109996"/>
                  <a:gd name="connsiteY8" fmla="*/ 810801 h 945485"/>
                  <a:gd name="connsiteX9" fmla="*/ 362309 w 1109996"/>
                  <a:gd name="connsiteY9" fmla="*/ 922944 h 945485"/>
                  <a:gd name="connsiteX10" fmla="*/ 884927 w 1109996"/>
                  <a:gd name="connsiteY10" fmla="*/ 941682 h 945485"/>
                  <a:gd name="connsiteX11" fmla="*/ 986692 w 1109996"/>
                  <a:gd name="connsiteY11" fmla="*/ 782271 h 945485"/>
                  <a:gd name="connsiteX0" fmla="*/ 986692 w 1109996"/>
                  <a:gd name="connsiteY0" fmla="*/ 779541 h 942755"/>
                  <a:gd name="connsiteX1" fmla="*/ 1027442 w 1109996"/>
                  <a:gd name="connsiteY1" fmla="*/ 592725 h 942755"/>
                  <a:gd name="connsiteX2" fmla="*/ 1055972 w 1109996"/>
                  <a:gd name="connsiteY2" fmla="*/ 361564 h 942755"/>
                  <a:gd name="connsiteX3" fmla="*/ 1053006 w 1109996"/>
                  <a:gd name="connsiteY3" fmla="*/ 136378 h 942755"/>
                  <a:gd name="connsiteX4" fmla="*/ 974785 w 1109996"/>
                  <a:gd name="connsiteY4" fmla="*/ 126584 h 942755"/>
                  <a:gd name="connsiteX5" fmla="*/ 570238 w 1109996"/>
                  <a:gd name="connsiteY5" fmla="*/ 122865 h 942755"/>
                  <a:gd name="connsiteX6" fmla="*/ 543741 w 1109996"/>
                  <a:gd name="connsiteY6" fmla="*/ 0 h 942755"/>
                  <a:gd name="connsiteX7" fmla="*/ 0 w 1109996"/>
                  <a:gd name="connsiteY7" fmla="*/ 221475 h 942755"/>
                  <a:gd name="connsiteX8" fmla="*/ 0 w 1109996"/>
                  <a:gd name="connsiteY8" fmla="*/ 808071 h 942755"/>
                  <a:gd name="connsiteX9" fmla="*/ 362309 w 1109996"/>
                  <a:gd name="connsiteY9" fmla="*/ 920214 h 942755"/>
                  <a:gd name="connsiteX10" fmla="*/ 884927 w 1109996"/>
                  <a:gd name="connsiteY10" fmla="*/ 938952 h 942755"/>
                  <a:gd name="connsiteX11" fmla="*/ 986692 w 1109996"/>
                  <a:gd name="connsiteY11" fmla="*/ 779541 h 942755"/>
                  <a:gd name="connsiteX0" fmla="*/ 986692 w 1109996"/>
                  <a:gd name="connsiteY0" fmla="*/ 779541 h 942755"/>
                  <a:gd name="connsiteX1" fmla="*/ 1027442 w 1109996"/>
                  <a:gd name="connsiteY1" fmla="*/ 592725 h 942755"/>
                  <a:gd name="connsiteX2" fmla="*/ 1055972 w 1109996"/>
                  <a:gd name="connsiteY2" fmla="*/ 361564 h 942755"/>
                  <a:gd name="connsiteX3" fmla="*/ 1053006 w 1109996"/>
                  <a:gd name="connsiteY3" fmla="*/ 136378 h 942755"/>
                  <a:gd name="connsiteX4" fmla="*/ 974785 w 1109996"/>
                  <a:gd name="connsiteY4" fmla="*/ 126584 h 942755"/>
                  <a:gd name="connsiteX5" fmla="*/ 570238 w 1109996"/>
                  <a:gd name="connsiteY5" fmla="*/ 122865 h 942755"/>
                  <a:gd name="connsiteX6" fmla="*/ 543741 w 1109996"/>
                  <a:gd name="connsiteY6" fmla="*/ 0 h 942755"/>
                  <a:gd name="connsiteX7" fmla="*/ 0 w 1109996"/>
                  <a:gd name="connsiteY7" fmla="*/ 221475 h 942755"/>
                  <a:gd name="connsiteX8" fmla="*/ 0 w 1109996"/>
                  <a:gd name="connsiteY8" fmla="*/ 808071 h 942755"/>
                  <a:gd name="connsiteX9" fmla="*/ 362309 w 1109996"/>
                  <a:gd name="connsiteY9" fmla="*/ 920214 h 942755"/>
                  <a:gd name="connsiteX10" fmla="*/ 884927 w 1109996"/>
                  <a:gd name="connsiteY10" fmla="*/ 938952 h 942755"/>
                  <a:gd name="connsiteX11" fmla="*/ 986692 w 1109996"/>
                  <a:gd name="connsiteY11" fmla="*/ 779541 h 942755"/>
                  <a:gd name="connsiteX0" fmla="*/ 986692 w 1109996"/>
                  <a:gd name="connsiteY0" fmla="*/ 779541 h 942755"/>
                  <a:gd name="connsiteX1" fmla="*/ 1027442 w 1109996"/>
                  <a:gd name="connsiteY1" fmla="*/ 592725 h 942755"/>
                  <a:gd name="connsiteX2" fmla="*/ 1055972 w 1109996"/>
                  <a:gd name="connsiteY2" fmla="*/ 361564 h 942755"/>
                  <a:gd name="connsiteX3" fmla="*/ 1053006 w 1109996"/>
                  <a:gd name="connsiteY3" fmla="*/ 136378 h 942755"/>
                  <a:gd name="connsiteX4" fmla="*/ 974785 w 1109996"/>
                  <a:gd name="connsiteY4" fmla="*/ 126584 h 942755"/>
                  <a:gd name="connsiteX5" fmla="*/ 570238 w 1109996"/>
                  <a:gd name="connsiteY5" fmla="*/ 122865 h 942755"/>
                  <a:gd name="connsiteX6" fmla="*/ 543741 w 1109996"/>
                  <a:gd name="connsiteY6" fmla="*/ 0 h 942755"/>
                  <a:gd name="connsiteX7" fmla="*/ 0 w 1109996"/>
                  <a:gd name="connsiteY7" fmla="*/ 221475 h 942755"/>
                  <a:gd name="connsiteX8" fmla="*/ 0 w 1109996"/>
                  <a:gd name="connsiteY8" fmla="*/ 808071 h 942755"/>
                  <a:gd name="connsiteX9" fmla="*/ 362309 w 1109996"/>
                  <a:gd name="connsiteY9" fmla="*/ 920214 h 942755"/>
                  <a:gd name="connsiteX10" fmla="*/ 884927 w 1109996"/>
                  <a:gd name="connsiteY10" fmla="*/ 938952 h 942755"/>
                  <a:gd name="connsiteX11" fmla="*/ 986692 w 1109996"/>
                  <a:gd name="connsiteY11" fmla="*/ 779541 h 942755"/>
                  <a:gd name="connsiteX0" fmla="*/ 986692 w 1109996"/>
                  <a:gd name="connsiteY0" fmla="*/ 779541 h 942755"/>
                  <a:gd name="connsiteX1" fmla="*/ 1027442 w 1109996"/>
                  <a:gd name="connsiteY1" fmla="*/ 592725 h 942755"/>
                  <a:gd name="connsiteX2" fmla="*/ 1055972 w 1109996"/>
                  <a:gd name="connsiteY2" fmla="*/ 361564 h 942755"/>
                  <a:gd name="connsiteX3" fmla="*/ 1053006 w 1109996"/>
                  <a:gd name="connsiteY3" fmla="*/ 136378 h 942755"/>
                  <a:gd name="connsiteX4" fmla="*/ 974785 w 1109996"/>
                  <a:gd name="connsiteY4" fmla="*/ 126584 h 942755"/>
                  <a:gd name="connsiteX5" fmla="*/ 570238 w 1109996"/>
                  <a:gd name="connsiteY5" fmla="*/ 122865 h 942755"/>
                  <a:gd name="connsiteX6" fmla="*/ 540584 w 1109996"/>
                  <a:gd name="connsiteY6" fmla="*/ 0 h 942755"/>
                  <a:gd name="connsiteX7" fmla="*/ 0 w 1109996"/>
                  <a:gd name="connsiteY7" fmla="*/ 221475 h 942755"/>
                  <a:gd name="connsiteX8" fmla="*/ 0 w 1109996"/>
                  <a:gd name="connsiteY8" fmla="*/ 808071 h 942755"/>
                  <a:gd name="connsiteX9" fmla="*/ 362309 w 1109996"/>
                  <a:gd name="connsiteY9" fmla="*/ 920214 h 942755"/>
                  <a:gd name="connsiteX10" fmla="*/ 884927 w 1109996"/>
                  <a:gd name="connsiteY10" fmla="*/ 938952 h 942755"/>
                  <a:gd name="connsiteX11" fmla="*/ 986692 w 1109996"/>
                  <a:gd name="connsiteY11" fmla="*/ 779541 h 942755"/>
                  <a:gd name="connsiteX0" fmla="*/ 986692 w 1109996"/>
                  <a:gd name="connsiteY0" fmla="*/ 779541 h 942755"/>
                  <a:gd name="connsiteX1" fmla="*/ 1027442 w 1109996"/>
                  <a:gd name="connsiteY1" fmla="*/ 592725 h 942755"/>
                  <a:gd name="connsiteX2" fmla="*/ 1055972 w 1109996"/>
                  <a:gd name="connsiteY2" fmla="*/ 361564 h 942755"/>
                  <a:gd name="connsiteX3" fmla="*/ 1053006 w 1109996"/>
                  <a:gd name="connsiteY3" fmla="*/ 136378 h 942755"/>
                  <a:gd name="connsiteX4" fmla="*/ 974785 w 1109996"/>
                  <a:gd name="connsiteY4" fmla="*/ 126584 h 942755"/>
                  <a:gd name="connsiteX5" fmla="*/ 570238 w 1109996"/>
                  <a:gd name="connsiteY5" fmla="*/ 122865 h 942755"/>
                  <a:gd name="connsiteX6" fmla="*/ 540584 w 1109996"/>
                  <a:gd name="connsiteY6" fmla="*/ 0 h 942755"/>
                  <a:gd name="connsiteX7" fmla="*/ 0 w 1109996"/>
                  <a:gd name="connsiteY7" fmla="*/ 221475 h 942755"/>
                  <a:gd name="connsiteX8" fmla="*/ 0 w 1109996"/>
                  <a:gd name="connsiteY8" fmla="*/ 808071 h 942755"/>
                  <a:gd name="connsiteX9" fmla="*/ 362309 w 1109996"/>
                  <a:gd name="connsiteY9" fmla="*/ 920214 h 942755"/>
                  <a:gd name="connsiteX10" fmla="*/ 884927 w 1109996"/>
                  <a:gd name="connsiteY10" fmla="*/ 938952 h 942755"/>
                  <a:gd name="connsiteX11" fmla="*/ 986692 w 1109996"/>
                  <a:gd name="connsiteY11" fmla="*/ 779541 h 94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996" h="942755">
                    <a:moveTo>
                      <a:pt x="986692" y="779541"/>
                    </a:moveTo>
                    <a:cubicBezTo>
                      <a:pt x="1020437" y="749688"/>
                      <a:pt x="1117840" y="705004"/>
                      <a:pt x="1027442" y="592725"/>
                    </a:cubicBezTo>
                    <a:cubicBezTo>
                      <a:pt x="1094896" y="559327"/>
                      <a:pt x="1129012" y="425918"/>
                      <a:pt x="1055972" y="361564"/>
                    </a:cubicBezTo>
                    <a:cubicBezTo>
                      <a:pt x="1119277" y="300790"/>
                      <a:pt x="1137338" y="211439"/>
                      <a:pt x="1053006" y="136378"/>
                    </a:cubicBezTo>
                    <a:cubicBezTo>
                      <a:pt x="1003120" y="125969"/>
                      <a:pt x="1000859" y="129849"/>
                      <a:pt x="974785" y="126584"/>
                    </a:cubicBezTo>
                    <a:cubicBezTo>
                      <a:pt x="855720" y="122614"/>
                      <a:pt x="705087" y="124105"/>
                      <a:pt x="570238" y="122865"/>
                    </a:cubicBezTo>
                    <a:cubicBezTo>
                      <a:pt x="566862" y="73399"/>
                      <a:pt x="578688" y="74034"/>
                      <a:pt x="540584" y="0"/>
                    </a:cubicBezTo>
                    <a:cubicBezTo>
                      <a:pt x="221406" y="48883"/>
                      <a:pt x="181155" y="129460"/>
                      <a:pt x="0" y="221475"/>
                    </a:cubicBezTo>
                    <a:lnTo>
                      <a:pt x="0" y="808071"/>
                    </a:lnTo>
                    <a:cubicBezTo>
                      <a:pt x="69011" y="810946"/>
                      <a:pt x="189780" y="900086"/>
                      <a:pt x="362309" y="920214"/>
                    </a:cubicBezTo>
                    <a:cubicBezTo>
                      <a:pt x="516544" y="944012"/>
                      <a:pt x="753082" y="946522"/>
                      <a:pt x="884927" y="938952"/>
                    </a:cubicBezTo>
                    <a:cubicBezTo>
                      <a:pt x="1065985" y="934556"/>
                      <a:pt x="1049459" y="820975"/>
                      <a:pt x="986692" y="779541"/>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Rectangle 13">
                <a:extLst>
                  <a:ext uri="{FF2B5EF4-FFF2-40B4-BE49-F238E27FC236}">
                    <a16:creationId xmlns:a16="http://schemas.microsoft.com/office/drawing/2014/main" id="{E46E1291-5C44-2B4D-A0AE-73DEEE250A43}"/>
                  </a:ext>
                </a:extLst>
              </p:cNvPr>
              <p:cNvSpPr/>
              <p:nvPr/>
            </p:nvSpPr>
            <p:spPr>
              <a:xfrm>
                <a:off x="2181528" y="3533421"/>
                <a:ext cx="1072717" cy="631267"/>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Rectangle 14">
                <a:extLst>
                  <a:ext uri="{FF2B5EF4-FFF2-40B4-BE49-F238E27FC236}">
                    <a16:creationId xmlns:a16="http://schemas.microsoft.com/office/drawing/2014/main" id="{61F21012-DBA9-6B4A-B024-1CBF62EB377E}"/>
                  </a:ext>
                </a:extLst>
              </p:cNvPr>
              <p:cNvSpPr/>
              <p:nvPr/>
            </p:nvSpPr>
            <p:spPr>
              <a:xfrm>
                <a:off x="3254243" y="3562478"/>
                <a:ext cx="246361" cy="504000"/>
              </a:xfrm>
              <a:prstGeom prst="rect">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Oval 15">
                <a:extLst>
                  <a:ext uri="{FF2B5EF4-FFF2-40B4-BE49-F238E27FC236}">
                    <a16:creationId xmlns:a16="http://schemas.microsoft.com/office/drawing/2014/main" id="{D31B797D-DCE3-2D4F-932D-FA0B89084038}"/>
                  </a:ext>
                </a:extLst>
              </p:cNvPr>
              <p:cNvSpPr/>
              <p:nvPr/>
            </p:nvSpPr>
            <p:spPr>
              <a:xfrm>
                <a:off x="3314041" y="3928164"/>
                <a:ext cx="108000" cy="108000"/>
              </a:xfrm>
              <a:prstGeom prst="ellipse">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grpSp>
        <p:nvGrpSpPr>
          <p:cNvPr id="17" name="Group 16">
            <a:extLst>
              <a:ext uri="{FF2B5EF4-FFF2-40B4-BE49-F238E27FC236}">
                <a16:creationId xmlns:a16="http://schemas.microsoft.com/office/drawing/2014/main" id="{5E04C022-B135-874C-BD9E-3FF9143A4F33}"/>
              </a:ext>
            </a:extLst>
          </p:cNvPr>
          <p:cNvGrpSpPr>
            <a:grpSpLocks noChangeAspect="1"/>
          </p:cNvGrpSpPr>
          <p:nvPr/>
        </p:nvGrpSpPr>
        <p:grpSpPr>
          <a:xfrm>
            <a:off x="346145" y="3465513"/>
            <a:ext cx="2366766" cy="2673025"/>
            <a:chOff x="-15861" y="1353546"/>
            <a:chExt cx="3151118" cy="3558872"/>
          </a:xfrm>
        </p:grpSpPr>
        <p:grpSp>
          <p:nvGrpSpPr>
            <p:cNvPr id="18" name="Group 13318">
              <a:extLst>
                <a:ext uri="{FF2B5EF4-FFF2-40B4-BE49-F238E27FC236}">
                  <a16:creationId xmlns:a16="http://schemas.microsoft.com/office/drawing/2014/main" id="{C704D937-D51D-8449-B2CE-42B1BD54DD8F}"/>
                </a:ext>
              </a:extLst>
            </p:cNvPr>
            <p:cNvGrpSpPr/>
            <p:nvPr/>
          </p:nvGrpSpPr>
          <p:grpSpPr>
            <a:xfrm rot="19917947">
              <a:off x="1469388" y="1353546"/>
              <a:ext cx="1665869" cy="3558872"/>
              <a:chOff x="1359132" y="345882"/>
              <a:chExt cx="1966239" cy="4200564"/>
            </a:xfrm>
          </p:grpSpPr>
          <p:grpSp>
            <p:nvGrpSpPr>
              <p:cNvPr id="20" name="Group 23">
                <a:extLst>
                  <a:ext uri="{FF2B5EF4-FFF2-40B4-BE49-F238E27FC236}">
                    <a16:creationId xmlns:a16="http://schemas.microsoft.com/office/drawing/2014/main" id="{7C55BF0A-1F7A-BE44-91CB-1FB7EE2E0DC8}"/>
                  </a:ext>
                </a:extLst>
              </p:cNvPr>
              <p:cNvGrpSpPr/>
              <p:nvPr/>
            </p:nvGrpSpPr>
            <p:grpSpPr>
              <a:xfrm>
                <a:off x="2073901" y="2186669"/>
                <a:ext cx="501313" cy="2359777"/>
                <a:chOff x="2810055" y="1677194"/>
                <a:chExt cx="535258" cy="2519562"/>
              </a:xfrm>
            </p:grpSpPr>
            <p:sp>
              <p:nvSpPr>
                <p:cNvPr id="33" name="Rectangle 8">
                  <a:extLst>
                    <a:ext uri="{FF2B5EF4-FFF2-40B4-BE49-F238E27FC236}">
                      <a16:creationId xmlns:a16="http://schemas.microsoft.com/office/drawing/2014/main" id="{527090EE-46B9-954F-AA8D-73A204A9FB80}"/>
                    </a:ext>
                  </a:extLst>
                </p:cNvPr>
                <p:cNvSpPr/>
                <p:nvPr/>
              </p:nvSpPr>
              <p:spPr>
                <a:xfrm>
                  <a:off x="2810675" y="3399597"/>
                  <a:ext cx="534638" cy="779141"/>
                </a:xfrm>
                <a:custGeom>
                  <a:avLst/>
                  <a:gdLst/>
                  <a:ahLst/>
                  <a:cxnLst/>
                  <a:rect l="l" t="t" r="r" b="b"/>
                  <a:pathLst>
                    <a:path w="1802378" h="1800199">
                      <a:moveTo>
                        <a:pt x="0" y="0"/>
                      </a:moveTo>
                      <a:lnTo>
                        <a:pt x="1802378" y="0"/>
                      </a:lnTo>
                      <a:lnTo>
                        <a:pt x="1802378" y="289727"/>
                      </a:lnTo>
                      <a:lnTo>
                        <a:pt x="1801366" y="289727"/>
                      </a:lnTo>
                      <a:lnTo>
                        <a:pt x="901188" y="1800199"/>
                      </a:lnTo>
                      <a:lnTo>
                        <a:pt x="1012" y="289727"/>
                      </a:lnTo>
                      <a:lnTo>
                        <a:pt x="0" y="289727"/>
                      </a:lnTo>
                      <a:lnTo>
                        <a:pt x="0" y="288030"/>
                      </a:lnTo>
                      <a:close/>
                    </a:path>
                  </a:pathLst>
                </a:custGeom>
                <a:gradFill>
                  <a:gsLst>
                    <a:gs pos="0">
                      <a:schemeClr val="accent2">
                        <a:lumMod val="70000"/>
                        <a:lumOff val="30000"/>
                      </a:schemeClr>
                    </a:gs>
                    <a:gs pos="100000">
                      <a:schemeClr val="accent2">
                        <a:lumMod val="70000"/>
                        <a:lumOff val="3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4" name="Rectangle 8">
                  <a:extLst>
                    <a:ext uri="{FF2B5EF4-FFF2-40B4-BE49-F238E27FC236}">
                      <a16:creationId xmlns:a16="http://schemas.microsoft.com/office/drawing/2014/main" id="{8A5B39ED-7C29-134D-8115-D4152D55C7FF}"/>
                    </a:ext>
                  </a:extLst>
                </p:cNvPr>
                <p:cNvSpPr/>
                <p:nvPr/>
              </p:nvSpPr>
              <p:spPr>
                <a:xfrm>
                  <a:off x="2984722" y="3392706"/>
                  <a:ext cx="180870" cy="787996"/>
                </a:xfrm>
                <a:custGeom>
                  <a:avLst/>
                  <a:gdLst>
                    <a:gd name="connsiteX0" fmla="*/ 0 w 1359043"/>
                    <a:gd name="connsiteY0" fmla="*/ 0 h 1813992"/>
                    <a:gd name="connsiteX1" fmla="*/ 1359043 w 1359043"/>
                    <a:gd name="connsiteY1" fmla="*/ 0 h 1813992"/>
                    <a:gd name="connsiteX2" fmla="*/ 1359043 w 1359043"/>
                    <a:gd name="connsiteY2" fmla="*/ 212596 h 1813992"/>
                    <a:gd name="connsiteX3" fmla="*/ 806822 w 1359043"/>
                    <a:gd name="connsiteY3" fmla="*/ 1813992 h 1813992"/>
                    <a:gd name="connsiteX4" fmla="*/ 1012 w 1359043"/>
                    <a:gd name="connsiteY4" fmla="*/ 289727 h 1813992"/>
                    <a:gd name="connsiteX5" fmla="*/ 0 w 1359043"/>
                    <a:gd name="connsiteY5" fmla="*/ 289727 h 1813992"/>
                    <a:gd name="connsiteX6" fmla="*/ 0 w 1359043"/>
                    <a:gd name="connsiteY6" fmla="*/ 288030 h 1813992"/>
                    <a:gd name="connsiteX7" fmla="*/ 0 w 1359043"/>
                    <a:gd name="connsiteY7" fmla="*/ 0 h 1813992"/>
                    <a:gd name="connsiteX0" fmla="*/ 0 w 1359043"/>
                    <a:gd name="connsiteY0" fmla="*/ 0 h 1820658"/>
                    <a:gd name="connsiteX1" fmla="*/ 1359043 w 1359043"/>
                    <a:gd name="connsiteY1" fmla="*/ 0 h 1820658"/>
                    <a:gd name="connsiteX2" fmla="*/ 1359043 w 1359043"/>
                    <a:gd name="connsiteY2" fmla="*/ 212596 h 1820658"/>
                    <a:gd name="connsiteX3" fmla="*/ 720119 w 1359043"/>
                    <a:gd name="connsiteY3" fmla="*/ 1820658 h 1820658"/>
                    <a:gd name="connsiteX4" fmla="*/ 1012 w 1359043"/>
                    <a:gd name="connsiteY4" fmla="*/ 289727 h 1820658"/>
                    <a:gd name="connsiteX5" fmla="*/ 0 w 1359043"/>
                    <a:gd name="connsiteY5" fmla="*/ 289727 h 1820658"/>
                    <a:gd name="connsiteX6" fmla="*/ 0 w 1359043"/>
                    <a:gd name="connsiteY6" fmla="*/ 288030 h 1820658"/>
                    <a:gd name="connsiteX7" fmla="*/ 0 w 1359043"/>
                    <a:gd name="connsiteY7" fmla="*/ 0 h 182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9043" h="1820658">
                      <a:moveTo>
                        <a:pt x="0" y="0"/>
                      </a:moveTo>
                      <a:lnTo>
                        <a:pt x="1359043" y="0"/>
                      </a:lnTo>
                      <a:lnTo>
                        <a:pt x="1359043" y="212596"/>
                      </a:lnTo>
                      <a:lnTo>
                        <a:pt x="720119" y="1820658"/>
                      </a:lnTo>
                      <a:lnTo>
                        <a:pt x="1012" y="289727"/>
                      </a:lnTo>
                      <a:lnTo>
                        <a:pt x="0" y="289727"/>
                      </a:lnTo>
                      <a:lnTo>
                        <a:pt x="0" y="288030"/>
                      </a:lnTo>
                      <a:lnTo>
                        <a:pt x="0" y="0"/>
                      </a:lnTo>
                      <a:close/>
                    </a:path>
                  </a:pathLst>
                </a:custGeom>
                <a:gradFill>
                  <a:gsLst>
                    <a:gs pos="0">
                      <a:schemeClr val="accent2">
                        <a:lumMod val="50000"/>
                        <a:lumOff val="50000"/>
                      </a:schemeClr>
                    </a:gs>
                    <a:gs pos="100000">
                      <a:schemeClr val="accent2">
                        <a:lumMod val="50000"/>
                        <a:lumOff val="5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Rectangle 8">
                  <a:extLst>
                    <a:ext uri="{FF2B5EF4-FFF2-40B4-BE49-F238E27FC236}">
                      <a16:creationId xmlns:a16="http://schemas.microsoft.com/office/drawing/2014/main" id="{9977100F-1322-4F41-9EE6-389AD20F8E09}"/>
                    </a:ext>
                  </a:extLst>
                </p:cNvPr>
                <p:cNvSpPr/>
                <p:nvPr/>
              </p:nvSpPr>
              <p:spPr>
                <a:xfrm>
                  <a:off x="2810055" y="3399597"/>
                  <a:ext cx="264192" cy="763141"/>
                </a:xfrm>
                <a:custGeom>
                  <a:avLst/>
                  <a:gdLst>
                    <a:gd name="connsiteX0" fmla="*/ 0 w 1345558"/>
                    <a:gd name="connsiteY0" fmla="*/ 0 h 1783227"/>
                    <a:gd name="connsiteX1" fmla="*/ 897414 w 1345558"/>
                    <a:gd name="connsiteY1" fmla="*/ 0 h 1783227"/>
                    <a:gd name="connsiteX2" fmla="*/ 901843 w 1345558"/>
                    <a:gd name="connsiteY2" fmla="*/ 212596 h 1783227"/>
                    <a:gd name="connsiteX3" fmla="*/ 1345558 w 1345558"/>
                    <a:gd name="connsiteY3" fmla="*/ 1783227 h 1783227"/>
                    <a:gd name="connsiteX4" fmla="*/ 1012 w 1345558"/>
                    <a:gd name="connsiteY4" fmla="*/ 289727 h 1783227"/>
                    <a:gd name="connsiteX5" fmla="*/ 0 w 1345558"/>
                    <a:gd name="connsiteY5" fmla="*/ 289727 h 1783227"/>
                    <a:gd name="connsiteX6" fmla="*/ 0 w 1345558"/>
                    <a:gd name="connsiteY6" fmla="*/ 288030 h 1783227"/>
                    <a:gd name="connsiteX7" fmla="*/ 0 w 1345558"/>
                    <a:gd name="connsiteY7" fmla="*/ 0 h 1783227"/>
                    <a:gd name="connsiteX0" fmla="*/ 0 w 1331023"/>
                    <a:gd name="connsiteY0" fmla="*/ 0 h 1763232"/>
                    <a:gd name="connsiteX1" fmla="*/ 897414 w 1331023"/>
                    <a:gd name="connsiteY1" fmla="*/ 0 h 1763232"/>
                    <a:gd name="connsiteX2" fmla="*/ 901843 w 1331023"/>
                    <a:gd name="connsiteY2" fmla="*/ 212596 h 1763232"/>
                    <a:gd name="connsiteX3" fmla="*/ 1331023 w 1331023"/>
                    <a:gd name="connsiteY3" fmla="*/ 1763232 h 1763232"/>
                    <a:gd name="connsiteX4" fmla="*/ 1012 w 1331023"/>
                    <a:gd name="connsiteY4" fmla="*/ 289727 h 1763232"/>
                    <a:gd name="connsiteX5" fmla="*/ 0 w 1331023"/>
                    <a:gd name="connsiteY5" fmla="*/ 289727 h 1763232"/>
                    <a:gd name="connsiteX6" fmla="*/ 0 w 1331023"/>
                    <a:gd name="connsiteY6" fmla="*/ 288030 h 1763232"/>
                    <a:gd name="connsiteX7" fmla="*/ 0 w 1331023"/>
                    <a:gd name="connsiteY7" fmla="*/ 0 h 176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1023" h="1763232">
                      <a:moveTo>
                        <a:pt x="0" y="0"/>
                      </a:moveTo>
                      <a:lnTo>
                        <a:pt x="897414" y="0"/>
                      </a:lnTo>
                      <a:cubicBezTo>
                        <a:pt x="898890" y="70865"/>
                        <a:pt x="900367" y="141731"/>
                        <a:pt x="901843" y="212596"/>
                      </a:cubicBezTo>
                      <a:lnTo>
                        <a:pt x="1331023" y="1763232"/>
                      </a:lnTo>
                      <a:lnTo>
                        <a:pt x="1012" y="289727"/>
                      </a:lnTo>
                      <a:lnTo>
                        <a:pt x="0" y="289727"/>
                      </a:lnTo>
                      <a:lnTo>
                        <a:pt x="0" y="288030"/>
                      </a:lnTo>
                      <a:lnTo>
                        <a:pt x="0" y="0"/>
                      </a:lnTo>
                      <a:close/>
                    </a:path>
                  </a:pathLst>
                </a:custGeom>
                <a:gradFill>
                  <a:gsLst>
                    <a:gs pos="0">
                      <a:schemeClr val="accent2">
                        <a:lumMod val="30000"/>
                        <a:lumOff val="70000"/>
                      </a:schemeClr>
                    </a:gs>
                    <a:gs pos="100000">
                      <a:schemeClr val="accent2">
                        <a:lumMod val="30000"/>
                        <a:lumOff val="7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Rectangle 2">
                  <a:extLst>
                    <a:ext uri="{FF2B5EF4-FFF2-40B4-BE49-F238E27FC236}">
                      <a16:creationId xmlns:a16="http://schemas.microsoft.com/office/drawing/2014/main" id="{0EDF97FD-891D-534D-AFB9-5E31C83CA9B5}"/>
                    </a:ext>
                  </a:extLst>
                </p:cNvPr>
                <p:cNvSpPr/>
                <p:nvPr/>
              </p:nvSpPr>
              <p:spPr>
                <a:xfrm>
                  <a:off x="2811292" y="1677194"/>
                  <a:ext cx="177768" cy="1815900"/>
                </a:xfrm>
                <a:custGeom>
                  <a:avLst/>
                  <a:gdLst/>
                  <a:ahLst/>
                  <a:cxnLst/>
                  <a:rect l="l" t="t" r="r" b="b"/>
                  <a:pathLst>
                    <a:path w="571061" h="4392488">
                      <a:moveTo>
                        <a:pt x="0" y="0"/>
                      </a:moveTo>
                      <a:lnTo>
                        <a:pt x="571061" y="0"/>
                      </a:lnTo>
                      <a:lnTo>
                        <a:pt x="571061" y="4392488"/>
                      </a:lnTo>
                      <a:lnTo>
                        <a:pt x="560315" y="4392488"/>
                      </a:lnTo>
                      <a:cubicBezTo>
                        <a:pt x="531263" y="4268191"/>
                        <a:pt x="419108" y="4176464"/>
                        <a:pt x="285530" y="4176464"/>
                      </a:cubicBezTo>
                      <a:cubicBezTo>
                        <a:pt x="151952" y="4176464"/>
                        <a:pt x="39798" y="4268191"/>
                        <a:pt x="10747" y="4392488"/>
                      </a:cubicBezTo>
                      <a:lnTo>
                        <a:pt x="0" y="4392488"/>
                      </a:lnTo>
                      <a:close/>
                    </a:path>
                  </a:pathLst>
                </a:custGeom>
                <a:gradFill>
                  <a:gsLst>
                    <a:gs pos="0">
                      <a:schemeClr val="accent1">
                        <a:lumMod val="30000"/>
                        <a:lumOff val="70000"/>
                      </a:schemeClr>
                    </a:gs>
                    <a:gs pos="100000">
                      <a:schemeClr val="accent1">
                        <a:lumMod val="30000"/>
                        <a:lumOff val="7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Rectangle 2">
                  <a:extLst>
                    <a:ext uri="{FF2B5EF4-FFF2-40B4-BE49-F238E27FC236}">
                      <a16:creationId xmlns:a16="http://schemas.microsoft.com/office/drawing/2014/main" id="{99F08A66-5F9E-3440-A205-C9CCC6B94391}"/>
                    </a:ext>
                  </a:extLst>
                </p:cNvPr>
                <p:cNvSpPr/>
                <p:nvPr/>
              </p:nvSpPr>
              <p:spPr>
                <a:xfrm>
                  <a:off x="2987824" y="1677195"/>
                  <a:ext cx="177768" cy="1815900"/>
                </a:xfrm>
                <a:custGeom>
                  <a:avLst/>
                  <a:gdLst/>
                  <a:ahLst/>
                  <a:cxnLst/>
                  <a:rect l="l" t="t" r="r" b="b"/>
                  <a:pathLst>
                    <a:path w="571061" h="4392488">
                      <a:moveTo>
                        <a:pt x="0" y="0"/>
                      </a:moveTo>
                      <a:lnTo>
                        <a:pt x="571061" y="0"/>
                      </a:lnTo>
                      <a:lnTo>
                        <a:pt x="571061" y="4392488"/>
                      </a:lnTo>
                      <a:lnTo>
                        <a:pt x="560315" y="4392488"/>
                      </a:lnTo>
                      <a:cubicBezTo>
                        <a:pt x="531263" y="4268191"/>
                        <a:pt x="419108" y="4176464"/>
                        <a:pt x="285530" y="4176464"/>
                      </a:cubicBezTo>
                      <a:cubicBezTo>
                        <a:pt x="151952" y="4176464"/>
                        <a:pt x="39798" y="4268191"/>
                        <a:pt x="10747" y="4392488"/>
                      </a:cubicBezTo>
                      <a:lnTo>
                        <a:pt x="0" y="4392488"/>
                      </a:lnTo>
                      <a:close/>
                    </a:path>
                  </a:pathLst>
                </a:custGeom>
                <a:gradFill>
                  <a:gsLst>
                    <a:gs pos="0">
                      <a:schemeClr val="accent1">
                        <a:lumMod val="50000"/>
                        <a:lumOff val="50000"/>
                      </a:schemeClr>
                    </a:gs>
                    <a:gs pos="100000">
                      <a:schemeClr val="accent1">
                        <a:lumMod val="50000"/>
                        <a:lumOff val="5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Rectangle 2">
                  <a:extLst>
                    <a:ext uri="{FF2B5EF4-FFF2-40B4-BE49-F238E27FC236}">
                      <a16:creationId xmlns:a16="http://schemas.microsoft.com/office/drawing/2014/main" id="{4E70D4CD-2856-8342-9474-7F028063AACE}"/>
                    </a:ext>
                  </a:extLst>
                </p:cNvPr>
                <p:cNvSpPr/>
                <p:nvPr/>
              </p:nvSpPr>
              <p:spPr>
                <a:xfrm>
                  <a:off x="3165590" y="1677196"/>
                  <a:ext cx="177768" cy="1815899"/>
                </a:xfrm>
                <a:custGeom>
                  <a:avLst/>
                  <a:gdLst/>
                  <a:ahLst/>
                  <a:cxnLst/>
                  <a:rect l="l" t="t" r="r" b="b"/>
                  <a:pathLst>
                    <a:path w="571061" h="4392488">
                      <a:moveTo>
                        <a:pt x="0" y="0"/>
                      </a:moveTo>
                      <a:lnTo>
                        <a:pt x="571061" y="0"/>
                      </a:lnTo>
                      <a:lnTo>
                        <a:pt x="571061" y="4392488"/>
                      </a:lnTo>
                      <a:lnTo>
                        <a:pt x="560315" y="4392488"/>
                      </a:lnTo>
                      <a:cubicBezTo>
                        <a:pt x="531263" y="4268191"/>
                        <a:pt x="419108" y="4176464"/>
                        <a:pt x="285530" y="4176464"/>
                      </a:cubicBezTo>
                      <a:cubicBezTo>
                        <a:pt x="151952" y="4176464"/>
                        <a:pt x="39798" y="4268191"/>
                        <a:pt x="10747" y="4392488"/>
                      </a:cubicBezTo>
                      <a:lnTo>
                        <a:pt x="0" y="43924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Isosceles Triangle 4">
                  <a:extLst>
                    <a:ext uri="{FF2B5EF4-FFF2-40B4-BE49-F238E27FC236}">
                      <a16:creationId xmlns:a16="http://schemas.microsoft.com/office/drawing/2014/main" id="{DF090BD3-A771-3141-A023-63E05BE3E675}"/>
                    </a:ext>
                  </a:extLst>
                </p:cNvPr>
                <p:cNvSpPr/>
                <p:nvPr/>
              </p:nvSpPr>
              <p:spPr>
                <a:xfrm rot="10800000">
                  <a:off x="2987823" y="3961239"/>
                  <a:ext cx="177768" cy="235517"/>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1" name="Group 26">
                <a:extLst>
                  <a:ext uri="{FF2B5EF4-FFF2-40B4-BE49-F238E27FC236}">
                    <a16:creationId xmlns:a16="http://schemas.microsoft.com/office/drawing/2014/main" id="{BC98BBF5-2F5C-BC48-B924-AE6D7F9B38DA}"/>
                  </a:ext>
                </a:extLst>
              </p:cNvPr>
              <p:cNvGrpSpPr/>
              <p:nvPr/>
            </p:nvGrpSpPr>
            <p:grpSpPr>
              <a:xfrm>
                <a:off x="1359132" y="345882"/>
                <a:ext cx="1966239" cy="1811155"/>
                <a:chOff x="1888981" y="1110787"/>
                <a:chExt cx="2254374" cy="2076562"/>
              </a:xfrm>
            </p:grpSpPr>
            <p:sp>
              <p:nvSpPr>
                <p:cNvPr id="22" name="Teardrop 30">
                  <a:extLst>
                    <a:ext uri="{FF2B5EF4-FFF2-40B4-BE49-F238E27FC236}">
                      <a16:creationId xmlns:a16="http://schemas.microsoft.com/office/drawing/2014/main" id="{7F1832BA-9D66-7B46-9486-5364E1C802D3}"/>
                    </a:ext>
                  </a:extLst>
                </p:cNvPr>
                <p:cNvSpPr/>
                <p:nvPr/>
              </p:nvSpPr>
              <p:spPr>
                <a:xfrm rot="8100000">
                  <a:off x="2322441" y="1563466"/>
                  <a:ext cx="1333455" cy="1333457"/>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Trapezoid 24">
                  <a:extLst>
                    <a:ext uri="{FF2B5EF4-FFF2-40B4-BE49-F238E27FC236}">
                      <a16:creationId xmlns:a16="http://schemas.microsoft.com/office/drawing/2014/main" id="{69123269-001B-E948-B189-52965E08566A}"/>
                    </a:ext>
                  </a:extLst>
                </p:cNvPr>
                <p:cNvSpPr/>
                <p:nvPr/>
              </p:nvSpPr>
              <p:spPr>
                <a:xfrm rot="10800000">
                  <a:off x="2751763" y="2230194"/>
                  <a:ext cx="457200" cy="783671"/>
                </a:xfrm>
                <a:prstGeom prst="trapezoid">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4" name="Rounded Rectangle 18">
                  <a:extLst>
                    <a:ext uri="{FF2B5EF4-FFF2-40B4-BE49-F238E27FC236}">
                      <a16:creationId xmlns:a16="http://schemas.microsoft.com/office/drawing/2014/main" id="{B7780879-99B7-5545-BF0C-C17A905F3CCA}"/>
                    </a:ext>
                  </a:extLst>
                </p:cNvPr>
                <p:cNvSpPr/>
                <p:nvPr/>
              </p:nvSpPr>
              <p:spPr>
                <a:xfrm rot="2700000">
                  <a:off x="3710962" y="1407964"/>
                  <a:ext cx="119821" cy="2995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5" name="Rounded Rectangle 19">
                  <a:extLst>
                    <a:ext uri="{FF2B5EF4-FFF2-40B4-BE49-F238E27FC236}">
                      <a16:creationId xmlns:a16="http://schemas.microsoft.com/office/drawing/2014/main" id="{5222FEED-13D1-A242-80EA-EF17050CD847}"/>
                    </a:ext>
                  </a:extLst>
                </p:cNvPr>
                <p:cNvSpPr/>
                <p:nvPr/>
              </p:nvSpPr>
              <p:spPr>
                <a:xfrm rot="18900000" flipH="1">
                  <a:off x="2156327" y="1407964"/>
                  <a:ext cx="119821" cy="2995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6" name="Rounded Rectangle 20">
                  <a:extLst>
                    <a:ext uri="{FF2B5EF4-FFF2-40B4-BE49-F238E27FC236}">
                      <a16:creationId xmlns:a16="http://schemas.microsoft.com/office/drawing/2014/main" id="{98488E85-C782-8948-B5B0-E30CDABFBA36}"/>
                    </a:ext>
                  </a:extLst>
                </p:cNvPr>
                <p:cNvSpPr/>
                <p:nvPr/>
              </p:nvSpPr>
              <p:spPr>
                <a:xfrm>
                  <a:off x="2935970" y="1110787"/>
                  <a:ext cx="119821" cy="2995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7" name="Rounded Rectangle 21">
                  <a:extLst>
                    <a:ext uri="{FF2B5EF4-FFF2-40B4-BE49-F238E27FC236}">
                      <a16:creationId xmlns:a16="http://schemas.microsoft.com/office/drawing/2014/main" id="{4A697EEC-8785-1B43-9C87-D4169EEEE16D}"/>
                    </a:ext>
                  </a:extLst>
                </p:cNvPr>
                <p:cNvSpPr/>
                <p:nvPr/>
              </p:nvSpPr>
              <p:spPr>
                <a:xfrm rot="5400000">
                  <a:off x="3933668" y="1996109"/>
                  <a:ext cx="119821" cy="2995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8" name="Rounded Rectangle 22">
                  <a:extLst>
                    <a:ext uri="{FF2B5EF4-FFF2-40B4-BE49-F238E27FC236}">
                      <a16:creationId xmlns:a16="http://schemas.microsoft.com/office/drawing/2014/main" id="{450EB31B-39A3-2643-ACBF-63684EA1B4B5}"/>
                    </a:ext>
                  </a:extLst>
                </p:cNvPr>
                <p:cNvSpPr/>
                <p:nvPr/>
              </p:nvSpPr>
              <p:spPr>
                <a:xfrm rot="16200000" flipH="1">
                  <a:off x="1978847" y="1919902"/>
                  <a:ext cx="119821" cy="29955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29" name="Rounded Rectangle 25">
                  <a:extLst>
                    <a:ext uri="{FF2B5EF4-FFF2-40B4-BE49-F238E27FC236}">
                      <a16:creationId xmlns:a16="http://schemas.microsoft.com/office/drawing/2014/main" id="{7157AD87-872F-9C4D-AB78-C7CF77E0D87A}"/>
                    </a:ext>
                  </a:extLst>
                </p:cNvPr>
                <p:cNvSpPr/>
                <p:nvPr/>
              </p:nvSpPr>
              <p:spPr>
                <a:xfrm>
                  <a:off x="2692290" y="3074683"/>
                  <a:ext cx="612000" cy="112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Rounded Rectangle 27">
                  <a:extLst>
                    <a:ext uri="{FF2B5EF4-FFF2-40B4-BE49-F238E27FC236}">
                      <a16:creationId xmlns:a16="http://schemas.microsoft.com/office/drawing/2014/main" id="{A7A66477-8159-A343-A9D9-A188F59811D1}"/>
                    </a:ext>
                  </a:extLst>
                </p:cNvPr>
                <p:cNvSpPr/>
                <p:nvPr/>
              </p:nvSpPr>
              <p:spPr>
                <a:xfrm>
                  <a:off x="2833284" y="2139702"/>
                  <a:ext cx="71867" cy="17966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1" name="Rounded Rectangle 28">
                  <a:extLst>
                    <a:ext uri="{FF2B5EF4-FFF2-40B4-BE49-F238E27FC236}">
                      <a16:creationId xmlns:a16="http://schemas.microsoft.com/office/drawing/2014/main" id="{C735E1ED-42FE-214F-BF24-DB99EDD277D5}"/>
                    </a:ext>
                  </a:extLst>
                </p:cNvPr>
                <p:cNvSpPr/>
                <p:nvPr/>
              </p:nvSpPr>
              <p:spPr>
                <a:xfrm>
                  <a:off x="2957504" y="2139702"/>
                  <a:ext cx="71867" cy="17966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2" name="Rounded Rectangle 29">
                  <a:extLst>
                    <a:ext uri="{FF2B5EF4-FFF2-40B4-BE49-F238E27FC236}">
                      <a16:creationId xmlns:a16="http://schemas.microsoft.com/office/drawing/2014/main" id="{5A95884A-05F4-C847-8B81-526D2D0DB067}"/>
                    </a:ext>
                  </a:extLst>
                </p:cNvPr>
                <p:cNvSpPr/>
                <p:nvPr/>
              </p:nvSpPr>
              <p:spPr>
                <a:xfrm>
                  <a:off x="3081724" y="2139702"/>
                  <a:ext cx="71867" cy="17966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sp>
          <p:nvSpPr>
            <p:cNvPr id="19" name="Freeform 13312">
              <a:extLst>
                <a:ext uri="{FF2B5EF4-FFF2-40B4-BE49-F238E27FC236}">
                  <a16:creationId xmlns:a16="http://schemas.microsoft.com/office/drawing/2014/main" id="{03E1E1C1-C9E2-024B-BE68-2FB4F67B58E9}"/>
                </a:ext>
              </a:extLst>
            </p:cNvPr>
            <p:cNvSpPr/>
            <p:nvPr/>
          </p:nvSpPr>
          <p:spPr>
            <a:xfrm>
              <a:off x="-15861" y="2530131"/>
              <a:ext cx="3091680" cy="1938501"/>
            </a:xfrm>
            <a:custGeom>
              <a:avLst/>
              <a:gdLst>
                <a:gd name="connsiteX0" fmla="*/ 2514265 w 2896332"/>
                <a:gd name="connsiteY0" fmla="*/ 466772 h 1875813"/>
                <a:gd name="connsiteX1" fmla="*/ 2655476 w 2896332"/>
                <a:gd name="connsiteY1" fmla="*/ 584615 h 1875813"/>
                <a:gd name="connsiteX2" fmla="*/ 2828170 w 2896332"/>
                <a:gd name="connsiteY2" fmla="*/ 1010501 h 1875813"/>
                <a:gd name="connsiteX3" fmla="*/ 2883834 w 2896332"/>
                <a:gd name="connsiteY3" fmla="*/ 1308835 h 1875813"/>
                <a:gd name="connsiteX4" fmla="*/ 2799743 w 2896332"/>
                <a:gd name="connsiteY4" fmla="*/ 1672098 h 1875813"/>
                <a:gd name="connsiteX5" fmla="*/ 2521033 w 2896332"/>
                <a:gd name="connsiteY5" fmla="*/ 1160421 h 1875813"/>
                <a:gd name="connsiteX6" fmla="*/ 2514265 w 2896332"/>
                <a:gd name="connsiteY6" fmla="*/ 466772 h 1875813"/>
                <a:gd name="connsiteX7" fmla="*/ 1898646 w 2896332"/>
                <a:gd name="connsiteY7" fmla="*/ 46 h 1875813"/>
                <a:gd name="connsiteX8" fmla="*/ 1969811 w 2896332"/>
                <a:gd name="connsiteY8" fmla="*/ 83938 h 1875813"/>
                <a:gd name="connsiteX9" fmla="*/ 1970003 w 2896332"/>
                <a:gd name="connsiteY9" fmla="*/ 120627 h 1875813"/>
                <a:gd name="connsiteX10" fmla="*/ 1962950 w 2896332"/>
                <a:gd name="connsiteY10" fmla="*/ 120627 h 1875813"/>
                <a:gd name="connsiteX11" fmla="*/ 1906617 w 2896332"/>
                <a:gd name="connsiteY11" fmla="*/ 176960 h 1875813"/>
                <a:gd name="connsiteX12" fmla="*/ 1962950 w 2896332"/>
                <a:gd name="connsiteY12" fmla="*/ 233293 h 1875813"/>
                <a:gd name="connsiteX13" fmla="*/ 1970591 w 2896332"/>
                <a:gd name="connsiteY13" fmla="*/ 233293 h 1875813"/>
                <a:gd name="connsiteX14" fmla="*/ 1973469 w 2896332"/>
                <a:gd name="connsiteY14" fmla="*/ 784519 h 1875813"/>
                <a:gd name="connsiteX15" fmla="*/ 1866010 w 2896332"/>
                <a:gd name="connsiteY15" fmla="*/ 878218 h 1875813"/>
                <a:gd name="connsiteX16" fmla="*/ 2733769 w 2896332"/>
                <a:gd name="connsiteY16" fmla="*/ 1387129 h 1875813"/>
                <a:gd name="connsiteX17" fmla="*/ 2694623 w 2896332"/>
                <a:gd name="connsiteY17" fmla="*/ 1674208 h 1875813"/>
                <a:gd name="connsiteX18" fmla="*/ 2394496 w 2896332"/>
                <a:gd name="connsiteY18" fmla="*/ 1654634 h 1875813"/>
                <a:gd name="connsiteX19" fmla="*/ 2069239 w 2896332"/>
                <a:gd name="connsiteY19" fmla="*/ 1875813 h 1875813"/>
                <a:gd name="connsiteX20" fmla="*/ 2023060 w 2896332"/>
                <a:gd name="connsiteY20" fmla="*/ 1634793 h 1875813"/>
                <a:gd name="connsiteX21" fmla="*/ 1739085 w 2896332"/>
                <a:gd name="connsiteY21" fmla="*/ 1871397 h 1875813"/>
                <a:gd name="connsiteX22" fmla="*/ 1648664 w 2896332"/>
                <a:gd name="connsiteY22" fmla="*/ 1582137 h 1875813"/>
                <a:gd name="connsiteX23" fmla="*/ 1376671 w 2896332"/>
                <a:gd name="connsiteY23" fmla="*/ 1700306 h 1875813"/>
                <a:gd name="connsiteX24" fmla="*/ 1415819 w 2896332"/>
                <a:gd name="connsiteY24" fmla="*/ 1334933 h 1875813"/>
                <a:gd name="connsiteX25" fmla="*/ 665501 w 2896332"/>
                <a:gd name="connsiteY25" fmla="*/ 1276212 h 1875813"/>
                <a:gd name="connsiteX26" fmla="*/ 0 w 2896332"/>
                <a:gd name="connsiteY26" fmla="*/ 1126148 h 1875813"/>
                <a:gd name="connsiteX27" fmla="*/ 13050 w 2896332"/>
                <a:gd name="connsiteY27" fmla="*/ 284488 h 1875813"/>
                <a:gd name="connsiteX28" fmla="*/ 1898646 w 2896332"/>
                <a:gd name="connsiteY28" fmla="*/ 46 h 1875813"/>
                <a:gd name="connsiteX0" fmla="*/ 2514265 w 2896332"/>
                <a:gd name="connsiteY0" fmla="*/ 466772 h 1875813"/>
                <a:gd name="connsiteX1" fmla="*/ 2655476 w 2896332"/>
                <a:gd name="connsiteY1" fmla="*/ 584615 h 1875813"/>
                <a:gd name="connsiteX2" fmla="*/ 2828170 w 2896332"/>
                <a:gd name="connsiteY2" fmla="*/ 1010501 h 1875813"/>
                <a:gd name="connsiteX3" fmla="*/ 2883834 w 2896332"/>
                <a:gd name="connsiteY3" fmla="*/ 1308835 h 1875813"/>
                <a:gd name="connsiteX4" fmla="*/ 2799743 w 2896332"/>
                <a:gd name="connsiteY4" fmla="*/ 1672098 h 1875813"/>
                <a:gd name="connsiteX5" fmla="*/ 2521033 w 2896332"/>
                <a:gd name="connsiteY5" fmla="*/ 1160421 h 1875813"/>
                <a:gd name="connsiteX6" fmla="*/ 2514265 w 2896332"/>
                <a:gd name="connsiteY6" fmla="*/ 466772 h 1875813"/>
                <a:gd name="connsiteX7" fmla="*/ 1898646 w 2896332"/>
                <a:gd name="connsiteY7" fmla="*/ 46 h 1875813"/>
                <a:gd name="connsiteX8" fmla="*/ 1969811 w 2896332"/>
                <a:gd name="connsiteY8" fmla="*/ 83938 h 1875813"/>
                <a:gd name="connsiteX9" fmla="*/ 1970003 w 2896332"/>
                <a:gd name="connsiteY9" fmla="*/ 120627 h 1875813"/>
                <a:gd name="connsiteX10" fmla="*/ 1962950 w 2896332"/>
                <a:gd name="connsiteY10" fmla="*/ 120627 h 1875813"/>
                <a:gd name="connsiteX11" fmla="*/ 1906617 w 2896332"/>
                <a:gd name="connsiteY11" fmla="*/ 176960 h 1875813"/>
                <a:gd name="connsiteX12" fmla="*/ 1962950 w 2896332"/>
                <a:gd name="connsiteY12" fmla="*/ 233293 h 1875813"/>
                <a:gd name="connsiteX13" fmla="*/ 1970591 w 2896332"/>
                <a:gd name="connsiteY13" fmla="*/ 233293 h 1875813"/>
                <a:gd name="connsiteX14" fmla="*/ 1973469 w 2896332"/>
                <a:gd name="connsiteY14" fmla="*/ 784519 h 1875813"/>
                <a:gd name="connsiteX15" fmla="*/ 1866010 w 2896332"/>
                <a:gd name="connsiteY15" fmla="*/ 878218 h 1875813"/>
                <a:gd name="connsiteX16" fmla="*/ 2733769 w 2896332"/>
                <a:gd name="connsiteY16" fmla="*/ 1387129 h 1875813"/>
                <a:gd name="connsiteX17" fmla="*/ 2694623 w 2896332"/>
                <a:gd name="connsiteY17" fmla="*/ 1674208 h 1875813"/>
                <a:gd name="connsiteX18" fmla="*/ 2394496 w 2896332"/>
                <a:gd name="connsiteY18" fmla="*/ 1654634 h 1875813"/>
                <a:gd name="connsiteX19" fmla="*/ 2069239 w 2896332"/>
                <a:gd name="connsiteY19" fmla="*/ 1875813 h 1875813"/>
                <a:gd name="connsiteX20" fmla="*/ 2023060 w 2896332"/>
                <a:gd name="connsiteY20" fmla="*/ 1634793 h 1875813"/>
                <a:gd name="connsiteX21" fmla="*/ 1739085 w 2896332"/>
                <a:gd name="connsiteY21" fmla="*/ 1871397 h 1875813"/>
                <a:gd name="connsiteX22" fmla="*/ 1648664 w 2896332"/>
                <a:gd name="connsiteY22" fmla="*/ 1582137 h 1875813"/>
                <a:gd name="connsiteX23" fmla="*/ 1376671 w 2896332"/>
                <a:gd name="connsiteY23" fmla="*/ 1700306 h 1875813"/>
                <a:gd name="connsiteX24" fmla="*/ 1415819 w 2896332"/>
                <a:gd name="connsiteY24" fmla="*/ 1334933 h 1875813"/>
                <a:gd name="connsiteX25" fmla="*/ 665501 w 2896332"/>
                <a:gd name="connsiteY25" fmla="*/ 1276212 h 1875813"/>
                <a:gd name="connsiteX26" fmla="*/ 0 w 2896332"/>
                <a:gd name="connsiteY26" fmla="*/ 1126148 h 1875813"/>
                <a:gd name="connsiteX27" fmla="*/ 13050 w 2896332"/>
                <a:gd name="connsiteY27" fmla="*/ 284488 h 1875813"/>
                <a:gd name="connsiteX28" fmla="*/ 1898646 w 2896332"/>
                <a:gd name="connsiteY28" fmla="*/ 46 h 1875813"/>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70003 w 2896332"/>
                <a:gd name="connsiteY9" fmla="*/ 120627 h 1871397"/>
                <a:gd name="connsiteX10" fmla="*/ 1962950 w 2896332"/>
                <a:gd name="connsiteY10" fmla="*/ 120627 h 1871397"/>
                <a:gd name="connsiteX11" fmla="*/ 1906617 w 2896332"/>
                <a:gd name="connsiteY11" fmla="*/ 176960 h 1871397"/>
                <a:gd name="connsiteX12" fmla="*/ 1962950 w 2896332"/>
                <a:gd name="connsiteY12" fmla="*/ 233293 h 1871397"/>
                <a:gd name="connsiteX13" fmla="*/ 1970591 w 2896332"/>
                <a:gd name="connsiteY13" fmla="*/ 233293 h 1871397"/>
                <a:gd name="connsiteX14" fmla="*/ 1973469 w 2896332"/>
                <a:gd name="connsiteY14" fmla="*/ 784519 h 1871397"/>
                <a:gd name="connsiteX15" fmla="*/ 1866010 w 2896332"/>
                <a:gd name="connsiteY15" fmla="*/ 878218 h 1871397"/>
                <a:gd name="connsiteX16" fmla="*/ 2733769 w 2896332"/>
                <a:gd name="connsiteY16" fmla="*/ 1387129 h 1871397"/>
                <a:gd name="connsiteX17" fmla="*/ 2694623 w 2896332"/>
                <a:gd name="connsiteY17" fmla="*/ 1674208 h 1871397"/>
                <a:gd name="connsiteX18" fmla="*/ 2394496 w 2896332"/>
                <a:gd name="connsiteY18" fmla="*/ 1654634 h 1871397"/>
                <a:gd name="connsiteX19" fmla="*/ 2023060 w 2896332"/>
                <a:gd name="connsiteY19" fmla="*/ 1634793 h 1871397"/>
                <a:gd name="connsiteX20" fmla="*/ 1739085 w 2896332"/>
                <a:gd name="connsiteY20" fmla="*/ 1871397 h 1871397"/>
                <a:gd name="connsiteX21" fmla="*/ 1648664 w 2896332"/>
                <a:gd name="connsiteY21" fmla="*/ 1582137 h 1871397"/>
                <a:gd name="connsiteX22" fmla="*/ 1376671 w 2896332"/>
                <a:gd name="connsiteY22" fmla="*/ 1700306 h 1871397"/>
                <a:gd name="connsiteX23" fmla="*/ 1415819 w 2896332"/>
                <a:gd name="connsiteY23" fmla="*/ 1334933 h 1871397"/>
                <a:gd name="connsiteX24" fmla="*/ 665501 w 2896332"/>
                <a:gd name="connsiteY24" fmla="*/ 1276212 h 1871397"/>
                <a:gd name="connsiteX25" fmla="*/ 0 w 2896332"/>
                <a:gd name="connsiteY25" fmla="*/ 1126148 h 1871397"/>
                <a:gd name="connsiteX26" fmla="*/ 13050 w 2896332"/>
                <a:gd name="connsiteY26" fmla="*/ 284488 h 1871397"/>
                <a:gd name="connsiteX27" fmla="*/ 1898646 w 2896332"/>
                <a:gd name="connsiteY27"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70003 w 2896332"/>
                <a:gd name="connsiteY9" fmla="*/ 120627 h 1871397"/>
                <a:gd name="connsiteX10" fmla="*/ 1962950 w 2896332"/>
                <a:gd name="connsiteY10" fmla="*/ 120627 h 1871397"/>
                <a:gd name="connsiteX11" fmla="*/ 1906617 w 2896332"/>
                <a:gd name="connsiteY11" fmla="*/ 176960 h 1871397"/>
                <a:gd name="connsiteX12" fmla="*/ 1962950 w 2896332"/>
                <a:gd name="connsiteY12" fmla="*/ 233293 h 1871397"/>
                <a:gd name="connsiteX13" fmla="*/ 1962971 w 2896332"/>
                <a:gd name="connsiteY13" fmla="*/ 267583 h 1871397"/>
                <a:gd name="connsiteX14" fmla="*/ 1973469 w 2896332"/>
                <a:gd name="connsiteY14" fmla="*/ 784519 h 1871397"/>
                <a:gd name="connsiteX15" fmla="*/ 1866010 w 2896332"/>
                <a:gd name="connsiteY15" fmla="*/ 878218 h 1871397"/>
                <a:gd name="connsiteX16" fmla="*/ 2733769 w 2896332"/>
                <a:gd name="connsiteY16" fmla="*/ 1387129 h 1871397"/>
                <a:gd name="connsiteX17" fmla="*/ 2694623 w 2896332"/>
                <a:gd name="connsiteY17" fmla="*/ 1674208 h 1871397"/>
                <a:gd name="connsiteX18" fmla="*/ 2394496 w 2896332"/>
                <a:gd name="connsiteY18" fmla="*/ 1654634 h 1871397"/>
                <a:gd name="connsiteX19" fmla="*/ 2023060 w 2896332"/>
                <a:gd name="connsiteY19" fmla="*/ 1634793 h 1871397"/>
                <a:gd name="connsiteX20" fmla="*/ 1739085 w 2896332"/>
                <a:gd name="connsiteY20" fmla="*/ 1871397 h 1871397"/>
                <a:gd name="connsiteX21" fmla="*/ 1648664 w 2896332"/>
                <a:gd name="connsiteY21" fmla="*/ 1582137 h 1871397"/>
                <a:gd name="connsiteX22" fmla="*/ 1376671 w 2896332"/>
                <a:gd name="connsiteY22" fmla="*/ 1700306 h 1871397"/>
                <a:gd name="connsiteX23" fmla="*/ 1415819 w 2896332"/>
                <a:gd name="connsiteY23" fmla="*/ 1334933 h 1871397"/>
                <a:gd name="connsiteX24" fmla="*/ 665501 w 2896332"/>
                <a:gd name="connsiteY24" fmla="*/ 1276212 h 1871397"/>
                <a:gd name="connsiteX25" fmla="*/ 0 w 2896332"/>
                <a:gd name="connsiteY25" fmla="*/ 1126148 h 1871397"/>
                <a:gd name="connsiteX26" fmla="*/ 13050 w 2896332"/>
                <a:gd name="connsiteY26" fmla="*/ 284488 h 1871397"/>
                <a:gd name="connsiteX27" fmla="*/ 1898646 w 2896332"/>
                <a:gd name="connsiteY27"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70003 w 2896332"/>
                <a:gd name="connsiteY9" fmla="*/ 120627 h 1871397"/>
                <a:gd name="connsiteX10" fmla="*/ 1962950 w 2896332"/>
                <a:gd name="connsiteY10" fmla="*/ 120627 h 1871397"/>
                <a:gd name="connsiteX11" fmla="*/ 1906617 w 2896332"/>
                <a:gd name="connsiteY11" fmla="*/ 176960 h 1871397"/>
                <a:gd name="connsiteX12" fmla="*/ 1962971 w 2896332"/>
                <a:gd name="connsiteY12" fmla="*/ 267583 h 1871397"/>
                <a:gd name="connsiteX13" fmla="*/ 1973469 w 2896332"/>
                <a:gd name="connsiteY13" fmla="*/ 784519 h 1871397"/>
                <a:gd name="connsiteX14" fmla="*/ 1866010 w 2896332"/>
                <a:gd name="connsiteY14" fmla="*/ 878218 h 1871397"/>
                <a:gd name="connsiteX15" fmla="*/ 2733769 w 2896332"/>
                <a:gd name="connsiteY15" fmla="*/ 1387129 h 1871397"/>
                <a:gd name="connsiteX16" fmla="*/ 2694623 w 2896332"/>
                <a:gd name="connsiteY16" fmla="*/ 1674208 h 1871397"/>
                <a:gd name="connsiteX17" fmla="*/ 2394496 w 2896332"/>
                <a:gd name="connsiteY17" fmla="*/ 1654634 h 1871397"/>
                <a:gd name="connsiteX18" fmla="*/ 2023060 w 2896332"/>
                <a:gd name="connsiteY18" fmla="*/ 1634793 h 1871397"/>
                <a:gd name="connsiteX19" fmla="*/ 1739085 w 2896332"/>
                <a:gd name="connsiteY19" fmla="*/ 1871397 h 1871397"/>
                <a:gd name="connsiteX20" fmla="*/ 1648664 w 2896332"/>
                <a:gd name="connsiteY20" fmla="*/ 1582137 h 1871397"/>
                <a:gd name="connsiteX21" fmla="*/ 1376671 w 2896332"/>
                <a:gd name="connsiteY21" fmla="*/ 1700306 h 1871397"/>
                <a:gd name="connsiteX22" fmla="*/ 1415819 w 2896332"/>
                <a:gd name="connsiteY22" fmla="*/ 1334933 h 1871397"/>
                <a:gd name="connsiteX23" fmla="*/ 665501 w 2896332"/>
                <a:gd name="connsiteY23" fmla="*/ 1276212 h 1871397"/>
                <a:gd name="connsiteX24" fmla="*/ 0 w 2896332"/>
                <a:gd name="connsiteY24" fmla="*/ 1126148 h 1871397"/>
                <a:gd name="connsiteX25" fmla="*/ 13050 w 2896332"/>
                <a:gd name="connsiteY25" fmla="*/ 284488 h 1871397"/>
                <a:gd name="connsiteX26" fmla="*/ 1898646 w 2896332"/>
                <a:gd name="connsiteY26"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70003 w 2896332"/>
                <a:gd name="connsiteY9" fmla="*/ 120627 h 1871397"/>
                <a:gd name="connsiteX10" fmla="*/ 1962950 w 2896332"/>
                <a:gd name="connsiteY10" fmla="*/ 120627 h 1871397"/>
                <a:gd name="connsiteX11" fmla="*/ 1906617 w 2896332"/>
                <a:gd name="connsiteY11" fmla="*/ 176960 h 1871397"/>
                <a:gd name="connsiteX12" fmla="*/ 1962971 w 2896332"/>
                <a:gd name="connsiteY12" fmla="*/ 267583 h 1871397"/>
                <a:gd name="connsiteX13" fmla="*/ 1973469 w 2896332"/>
                <a:gd name="connsiteY13" fmla="*/ 784519 h 1871397"/>
                <a:gd name="connsiteX14" fmla="*/ 1866010 w 2896332"/>
                <a:gd name="connsiteY14" fmla="*/ 878218 h 1871397"/>
                <a:gd name="connsiteX15" fmla="*/ 2733769 w 2896332"/>
                <a:gd name="connsiteY15" fmla="*/ 1387129 h 1871397"/>
                <a:gd name="connsiteX16" fmla="*/ 2694623 w 2896332"/>
                <a:gd name="connsiteY16" fmla="*/ 1674208 h 1871397"/>
                <a:gd name="connsiteX17" fmla="*/ 2394496 w 2896332"/>
                <a:gd name="connsiteY17" fmla="*/ 1654634 h 1871397"/>
                <a:gd name="connsiteX18" fmla="*/ 2023060 w 2896332"/>
                <a:gd name="connsiteY18" fmla="*/ 1634793 h 1871397"/>
                <a:gd name="connsiteX19" fmla="*/ 1739085 w 2896332"/>
                <a:gd name="connsiteY19" fmla="*/ 1871397 h 1871397"/>
                <a:gd name="connsiteX20" fmla="*/ 1648664 w 2896332"/>
                <a:gd name="connsiteY20" fmla="*/ 1582137 h 1871397"/>
                <a:gd name="connsiteX21" fmla="*/ 1376671 w 2896332"/>
                <a:gd name="connsiteY21" fmla="*/ 1700306 h 1871397"/>
                <a:gd name="connsiteX22" fmla="*/ 1415819 w 2896332"/>
                <a:gd name="connsiteY22" fmla="*/ 1334933 h 1871397"/>
                <a:gd name="connsiteX23" fmla="*/ 665501 w 2896332"/>
                <a:gd name="connsiteY23" fmla="*/ 1276212 h 1871397"/>
                <a:gd name="connsiteX24" fmla="*/ 0 w 2896332"/>
                <a:gd name="connsiteY24" fmla="*/ 1126148 h 1871397"/>
                <a:gd name="connsiteX25" fmla="*/ 13050 w 2896332"/>
                <a:gd name="connsiteY25" fmla="*/ 284488 h 1871397"/>
                <a:gd name="connsiteX26" fmla="*/ 1898646 w 2896332"/>
                <a:gd name="connsiteY26"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70003 w 2896332"/>
                <a:gd name="connsiteY9" fmla="*/ 120627 h 1871397"/>
                <a:gd name="connsiteX10" fmla="*/ 1906617 w 2896332"/>
                <a:gd name="connsiteY10" fmla="*/ 176960 h 1871397"/>
                <a:gd name="connsiteX11" fmla="*/ 1962971 w 2896332"/>
                <a:gd name="connsiteY11" fmla="*/ 267583 h 1871397"/>
                <a:gd name="connsiteX12" fmla="*/ 1973469 w 2896332"/>
                <a:gd name="connsiteY12" fmla="*/ 784519 h 1871397"/>
                <a:gd name="connsiteX13" fmla="*/ 1866010 w 2896332"/>
                <a:gd name="connsiteY13" fmla="*/ 878218 h 1871397"/>
                <a:gd name="connsiteX14" fmla="*/ 2733769 w 2896332"/>
                <a:gd name="connsiteY14" fmla="*/ 1387129 h 1871397"/>
                <a:gd name="connsiteX15" fmla="*/ 2694623 w 2896332"/>
                <a:gd name="connsiteY15" fmla="*/ 1674208 h 1871397"/>
                <a:gd name="connsiteX16" fmla="*/ 2394496 w 2896332"/>
                <a:gd name="connsiteY16" fmla="*/ 1654634 h 1871397"/>
                <a:gd name="connsiteX17" fmla="*/ 2023060 w 2896332"/>
                <a:gd name="connsiteY17" fmla="*/ 1634793 h 1871397"/>
                <a:gd name="connsiteX18" fmla="*/ 1739085 w 2896332"/>
                <a:gd name="connsiteY18" fmla="*/ 1871397 h 1871397"/>
                <a:gd name="connsiteX19" fmla="*/ 1648664 w 2896332"/>
                <a:gd name="connsiteY19" fmla="*/ 1582137 h 1871397"/>
                <a:gd name="connsiteX20" fmla="*/ 1376671 w 2896332"/>
                <a:gd name="connsiteY20" fmla="*/ 1700306 h 1871397"/>
                <a:gd name="connsiteX21" fmla="*/ 1415819 w 2896332"/>
                <a:gd name="connsiteY21" fmla="*/ 1334933 h 1871397"/>
                <a:gd name="connsiteX22" fmla="*/ 665501 w 2896332"/>
                <a:gd name="connsiteY22" fmla="*/ 1276212 h 1871397"/>
                <a:gd name="connsiteX23" fmla="*/ 0 w 2896332"/>
                <a:gd name="connsiteY23" fmla="*/ 1126148 h 1871397"/>
                <a:gd name="connsiteX24" fmla="*/ 13050 w 2896332"/>
                <a:gd name="connsiteY24" fmla="*/ 284488 h 1871397"/>
                <a:gd name="connsiteX25" fmla="*/ 1898646 w 2896332"/>
                <a:gd name="connsiteY25"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74208 h 1871397"/>
                <a:gd name="connsiteX15" fmla="*/ 2394496 w 2896332"/>
                <a:gd name="connsiteY15" fmla="*/ 1654634 h 1871397"/>
                <a:gd name="connsiteX16" fmla="*/ 2023060 w 2896332"/>
                <a:gd name="connsiteY16" fmla="*/ 1634793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74208 h 1871397"/>
                <a:gd name="connsiteX15" fmla="*/ 2394496 w 2896332"/>
                <a:gd name="connsiteY15" fmla="*/ 1654634 h 1871397"/>
                <a:gd name="connsiteX16" fmla="*/ 2023060 w 2896332"/>
                <a:gd name="connsiteY16" fmla="*/ 1634793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74208 h 1871397"/>
                <a:gd name="connsiteX15" fmla="*/ 2394496 w 2896332"/>
                <a:gd name="connsiteY15" fmla="*/ 1654634 h 1871397"/>
                <a:gd name="connsiteX16" fmla="*/ 2023060 w 2896332"/>
                <a:gd name="connsiteY16" fmla="*/ 1634793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39703 h 1871397"/>
                <a:gd name="connsiteX15" fmla="*/ 2394496 w 2896332"/>
                <a:gd name="connsiteY15" fmla="*/ 1654634 h 1871397"/>
                <a:gd name="connsiteX16" fmla="*/ 2023060 w 2896332"/>
                <a:gd name="connsiteY16" fmla="*/ 1634793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39703 h 1871397"/>
                <a:gd name="connsiteX15" fmla="*/ 2385869 w 2896332"/>
                <a:gd name="connsiteY15" fmla="*/ 1585623 h 1871397"/>
                <a:gd name="connsiteX16" fmla="*/ 2023060 w 2896332"/>
                <a:gd name="connsiteY16" fmla="*/ 1634793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9811 w 2896332"/>
                <a:gd name="connsiteY8" fmla="*/ 83938 h 1871397"/>
                <a:gd name="connsiteX9" fmla="*/ 1906617 w 2896332"/>
                <a:gd name="connsiteY9" fmla="*/ 176960 h 1871397"/>
                <a:gd name="connsiteX10" fmla="*/ 1962971 w 2896332"/>
                <a:gd name="connsiteY10" fmla="*/ 267583 h 1871397"/>
                <a:gd name="connsiteX11" fmla="*/ 1973469 w 2896332"/>
                <a:gd name="connsiteY11" fmla="*/ 784519 h 1871397"/>
                <a:gd name="connsiteX12" fmla="*/ 1866010 w 2896332"/>
                <a:gd name="connsiteY12" fmla="*/ 878218 h 1871397"/>
                <a:gd name="connsiteX13" fmla="*/ 2733769 w 2896332"/>
                <a:gd name="connsiteY13" fmla="*/ 1387129 h 1871397"/>
                <a:gd name="connsiteX14" fmla="*/ 2694623 w 2896332"/>
                <a:gd name="connsiteY14" fmla="*/ 1639703 h 1871397"/>
                <a:gd name="connsiteX15" fmla="*/ 2385869 w 2896332"/>
                <a:gd name="connsiteY15" fmla="*/ 1585623 h 1871397"/>
                <a:gd name="connsiteX16" fmla="*/ 2074819 w 2896332"/>
                <a:gd name="connsiteY16" fmla="*/ 1565782 h 1871397"/>
                <a:gd name="connsiteX17" fmla="*/ 1739085 w 2896332"/>
                <a:gd name="connsiteY17" fmla="*/ 1871397 h 1871397"/>
                <a:gd name="connsiteX18" fmla="*/ 1648664 w 2896332"/>
                <a:gd name="connsiteY18" fmla="*/ 1582137 h 1871397"/>
                <a:gd name="connsiteX19" fmla="*/ 1376671 w 2896332"/>
                <a:gd name="connsiteY19" fmla="*/ 1700306 h 1871397"/>
                <a:gd name="connsiteX20" fmla="*/ 1415819 w 2896332"/>
                <a:gd name="connsiteY20" fmla="*/ 1334933 h 1871397"/>
                <a:gd name="connsiteX21" fmla="*/ 665501 w 2896332"/>
                <a:gd name="connsiteY21" fmla="*/ 1276212 h 1871397"/>
                <a:gd name="connsiteX22" fmla="*/ 0 w 2896332"/>
                <a:gd name="connsiteY22" fmla="*/ 1126148 h 1871397"/>
                <a:gd name="connsiteX23" fmla="*/ 13050 w 2896332"/>
                <a:gd name="connsiteY23" fmla="*/ 284488 h 1871397"/>
                <a:gd name="connsiteX24" fmla="*/ 1898646 w 2896332"/>
                <a:gd name="connsiteY24" fmla="*/ 46 h 1871397"/>
                <a:gd name="connsiteX0" fmla="*/ 2514265 w 2896332"/>
                <a:gd name="connsiteY0" fmla="*/ 468202 h 1872827"/>
                <a:gd name="connsiteX1" fmla="*/ 2655476 w 2896332"/>
                <a:gd name="connsiteY1" fmla="*/ 586045 h 1872827"/>
                <a:gd name="connsiteX2" fmla="*/ 2828170 w 2896332"/>
                <a:gd name="connsiteY2" fmla="*/ 1011931 h 1872827"/>
                <a:gd name="connsiteX3" fmla="*/ 2883834 w 2896332"/>
                <a:gd name="connsiteY3" fmla="*/ 1310265 h 1872827"/>
                <a:gd name="connsiteX4" fmla="*/ 2799743 w 2896332"/>
                <a:gd name="connsiteY4" fmla="*/ 1673528 h 1872827"/>
                <a:gd name="connsiteX5" fmla="*/ 2521033 w 2896332"/>
                <a:gd name="connsiteY5" fmla="*/ 1161851 h 1872827"/>
                <a:gd name="connsiteX6" fmla="*/ 2514265 w 2896332"/>
                <a:gd name="connsiteY6" fmla="*/ 468202 h 1872827"/>
                <a:gd name="connsiteX7" fmla="*/ 1898646 w 2896332"/>
                <a:gd name="connsiteY7" fmla="*/ 1476 h 1872827"/>
                <a:gd name="connsiteX8" fmla="*/ 1906617 w 2896332"/>
                <a:gd name="connsiteY8" fmla="*/ 178390 h 1872827"/>
                <a:gd name="connsiteX9" fmla="*/ 1962971 w 2896332"/>
                <a:gd name="connsiteY9" fmla="*/ 269013 h 1872827"/>
                <a:gd name="connsiteX10" fmla="*/ 1973469 w 2896332"/>
                <a:gd name="connsiteY10" fmla="*/ 785949 h 1872827"/>
                <a:gd name="connsiteX11" fmla="*/ 1866010 w 2896332"/>
                <a:gd name="connsiteY11" fmla="*/ 879648 h 1872827"/>
                <a:gd name="connsiteX12" fmla="*/ 2733769 w 2896332"/>
                <a:gd name="connsiteY12" fmla="*/ 1388559 h 1872827"/>
                <a:gd name="connsiteX13" fmla="*/ 2694623 w 2896332"/>
                <a:gd name="connsiteY13" fmla="*/ 1641133 h 1872827"/>
                <a:gd name="connsiteX14" fmla="*/ 2385869 w 2896332"/>
                <a:gd name="connsiteY14" fmla="*/ 1587053 h 1872827"/>
                <a:gd name="connsiteX15" fmla="*/ 2074819 w 2896332"/>
                <a:gd name="connsiteY15" fmla="*/ 1567212 h 1872827"/>
                <a:gd name="connsiteX16" fmla="*/ 1739085 w 2896332"/>
                <a:gd name="connsiteY16" fmla="*/ 1872827 h 1872827"/>
                <a:gd name="connsiteX17" fmla="*/ 1648664 w 2896332"/>
                <a:gd name="connsiteY17" fmla="*/ 1583567 h 1872827"/>
                <a:gd name="connsiteX18" fmla="*/ 1376671 w 2896332"/>
                <a:gd name="connsiteY18" fmla="*/ 1701736 h 1872827"/>
                <a:gd name="connsiteX19" fmla="*/ 1415819 w 2896332"/>
                <a:gd name="connsiteY19" fmla="*/ 1336363 h 1872827"/>
                <a:gd name="connsiteX20" fmla="*/ 665501 w 2896332"/>
                <a:gd name="connsiteY20" fmla="*/ 1277642 h 1872827"/>
                <a:gd name="connsiteX21" fmla="*/ 0 w 2896332"/>
                <a:gd name="connsiteY21" fmla="*/ 1127578 h 1872827"/>
                <a:gd name="connsiteX22" fmla="*/ 13050 w 2896332"/>
                <a:gd name="connsiteY22" fmla="*/ 285918 h 1872827"/>
                <a:gd name="connsiteX23" fmla="*/ 1898646 w 2896332"/>
                <a:gd name="connsiteY23" fmla="*/ 1476 h 187282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2971 w 2896332"/>
                <a:gd name="connsiteY8" fmla="*/ 267583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62971 w 2896332"/>
                <a:gd name="connsiteY8" fmla="*/ 267583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3469 w 2896332"/>
                <a:gd name="connsiteY9" fmla="*/ 784519 h 1871397"/>
                <a:gd name="connsiteX10" fmla="*/ 1866010 w 2896332"/>
                <a:gd name="connsiteY10" fmla="*/ 878218 h 1871397"/>
                <a:gd name="connsiteX11" fmla="*/ 2733769 w 2896332"/>
                <a:gd name="connsiteY11" fmla="*/ 1387129 h 1871397"/>
                <a:gd name="connsiteX12" fmla="*/ 2694623 w 2896332"/>
                <a:gd name="connsiteY12" fmla="*/ 1639703 h 1871397"/>
                <a:gd name="connsiteX13" fmla="*/ 2385869 w 2896332"/>
                <a:gd name="connsiteY13" fmla="*/ 1585623 h 1871397"/>
                <a:gd name="connsiteX14" fmla="*/ 2074819 w 2896332"/>
                <a:gd name="connsiteY14" fmla="*/ 1565782 h 1871397"/>
                <a:gd name="connsiteX15" fmla="*/ 1739085 w 2896332"/>
                <a:gd name="connsiteY15" fmla="*/ 1871397 h 1871397"/>
                <a:gd name="connsiteX16" fmla="*/ 1648664 w 2896332"/>
                <a:gd name="connsiteY16" fmla="*/ 1582137 h 1871397"/>
                <a:gd name="connsiteX17" fmla="*/ 1376671 w 2896332"/>
                <a:gd name="connsiteY17" fmla="*/ 1700306 h 1871397"/>
                <a:gd name="connsiteX18" fmla="*/ 1415819 w 2896332"/>
                <a:gd name="connsiteY18" fmla="*/ 1334933 h 1871397"/>
                <a:gd name="connsiteX19" fmla="*/ 665501 w 2896332"/>
                <a:gd name="connsiteY19" fmla="*/ 1276212 h 1871397"/>
                <a:gd name="connsiteX20" fmla="*/ 0 w 2896332"/>
                <a:gd name="connsiteY20" fmla="*/ 1126148 h 1871397"/>
                <a:gd name="connsiteX21" fmla="*/ 13050 w 2896332"/>
                <a:gd name="connsiteY21" fmla="*/ 284488 h 1871397"/>
                <a:gd name="connsiteX22" fmla="*/ 1898646 w 2896332"/>
                <a:gd name="connsiteY22"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514265 w 2896332"/>
                <a:gd name="connsiteY0" fmla="*/ 466772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514265 w 2896332"/>
                <a:gd name="connsiteY6" fmla="*/ 466772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21033 w 2896332"/>
                <a:gd name="connsiteY5" fmla="*/ 1160421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587909 w 2896332"/>
                <a:gd name="connsiteY5" fmla="*/ 1152990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39923 w 2896332"/>
                <a:gd name="connsiteY5" fmla="*/ 1156706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39923 w 2896332"/>
                <a:gd name="connsiteY5" fmla="*/ 1156706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43048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39923 w 2896332"/>
                <a:gd name="connsiteY5" fmla="*/ 1156706 h 1871397"/>
                <a:gd name="connsiteX6" fmla="*/ 2243048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28186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39923 w 2896332"/>
                <a:gd name="connsiteY5" fmla="*/ 1156706 h 1871397"/>
                <a:gd name="connsiteX6" fmla="*/ 2228186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28186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39923 w 2896332"/>
                <a:gd name="connsiteY5" fmla="*/ 1156706 h 1871397"/>
                <a:gd name="connsiteX6" fmla="*/ 2228186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28186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51069 w 2896332"/>
                <a:gd name="connsiteY5" fmla="*/ 1156706 h 1871397"/>
                <a:gd name="connsiteX6" fmla="*/ 2228186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28186 w 2896332"/>
                <a:gd name="connsiteY0" fmla="*/ 269861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51069 w 2896332"/>
                <a:gd name="connsiteY5" fmla="*/ 1156706 h 1871397"/>
                <a:gd name="connsiteX6" fmla="*/ 2228186 w 2896332"/>
                <a:gd name="connsiteY6" fmla="*/ 269861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09609 w 2896332"/>
                <a:gd name="connsiteY0" fmla="*/ 251285 h 1871397"/>
                <a:gd name="connsiteX1" fmla="*/ 2655476 w 2896332"/>
                <a:gd name="connsiteY1" fmla="*/ 584615 h 1871397"/>
                <a:gd name="connsiteX2" fmla="*/ 2828170 w 2896332"/>
                <a:gd name="connsiteY2" fmla="*/ 1010501 h 1871397"/>
                <a:gd name="connsiteX3" fmla="*/ 2883834 w 2896332"/>
                <a:gd name="connsiteY3" fmla="*/ 1308835 h 1871397"/>
                <a:gd name="connsiteX4" fmla="*/ 2799743 w 2896332"/>
                <a:gd name="connsiteY4" fmla="*/ 1672098 h 1871397"/>
                <a:gd name="connsiteX5" fmla="*/ 2651069 w 2896332"/>
                <a:gd name="connsiteY5" fmla="*/ 1156706 h 1871397"/>
                <a:gd name="connsiteX6" fmla="*/ 2209609 w 2896332"/>
                <a:gd name="connsiteY6" fmla="*/ 251285 h 1871397"/>
                <a:gd name="connsiteX7" fmla="*/ 1898646 w 2896332"/>
                <a:gd name="connsiteY7" fmla="*/ 46 h 1871397"/>
                <a:gd name="connsiteX8" fmla="*/ 1941303 w 2896332"/>
                <a:gd name="connsiteY8" fmla="*/ 293585 h 1871397"/>
                <a:gd name="connsiteX9" fmla="*/ 1974640 w 2896332"/>
                <a:gd name="connsiteY9" fmla="*/ 533402 h 1871397"/>
                <a:gd name="connsiteX10" fmla="*/ 1973469 w 2896332"/>
                <a:gd name="connsiteY10" fmla="*/ 784519 h 1871397"/>
                <a:gd name="connsiteX11" fmla="*/ 1866010 w 2896332"/>
                <a:gd name="connsiteY11" fmla="*/ 878218 h 1871397"/>
                <a:gd name="connsiteX12" fmla="*/ 2733769 w 2896332"/>
                <a:gd name="connsiteY12" fmla="*/ 1387129 h 1871397"/>
                <a:gd name="connsiteX13" fmla="*/ 2694623 w 2896332"/>
                <a:gd name="connsiteY13" fmla="*/ 1639703 h 1871397"/>
                <a:gd name="connsiteX14" fmla="*/ 2385869 w 2896332"/>
                <a:gd name="connsiteY14" fmla="*/ 1585623 h 1871397"/>
                <a:gd name="connsiteX15" fmla="*/ 2074819 w 2896332"/>
                <a:gd name="connsiteY15" fmla="*/ 1565782 h 1871397"/>
                <a:gd name="connsiteX16" fmla="*/ 1739085 w 2896332"/>
                <a:gd name="connsiteY16" fmla="*/ 1871397 h 1871397"/>
                <a:gd name="connsiteX17" fmla="*/ 1648664 w 2896332"/>
                <a:gd name="connsiteY17" fmla="*/ 1582137 h 1871397"/>
                <a:gd name="connsiteX18" fmla="*/ 1376671 w 2896332"/>
                <a:gd name="connsiteY18" fmla="*/ 1700306 h 1871397"/>
                <a:gd name="connsiteX19" fmla="*/ 1415819 w 2896332"/>
                <a:gd name="connsiteY19" fmla="*/ 1334933 h 1871397"/>
                <a:gd name="connsiteX20" fmla="*/ 665501 w 2896332"/>
                <a:gd name="connsiteY20" fmla="*/ 1276212 h 1871397"/>
                <a:gd name="connsiteX21" fmla="*/ 0 w 2896332"/>
                <a:gd name="connsiteY21" fmla="*/ 1126148 h 1871397"/>
                <a:gd name="connsiteX22" fmla="*/ 13050 w 2896332"/>
                <a:gd name="connsiteY22" fmla="*/ 284488 h 1871397"/>
                <a:gd name="connsiteX23" fmla="*/ 1898646 w 2896332"/>
                <a:gd name="connsiteY23" fmla="*/ 46 h 1871397"/>
                <a:gd name="connsiteX0" fmla="*/ 2209609 w 2894163"/>
                <a:gd name="connsiteY0" fmla="*/ 251285 h 1871397"/>
                <a:gd name="connsiteX1" fmla="*/ 2655476 w 2894163"/>
                <a:gd name="connsiteY1" fmla="*/ 584615 h 1871397"/>
                <a:gd name="connsiteX2" fmla="*/ 2828170 w 2894163"/>
                <a:gd name="connsiteY2" fmla="*/ 1010501 h 1871397"/>
                <a:gd name="connsiteX3" fmla="*/ 2883834 w 2894163"/>
                <a:gd name="connsiteY3" fmla="*/ 1308835 h 1871397"/>
                <a:gd name="connsiteX4" fmla="*/ 2792313 w 2894163"/>
                <a:gd name="connsiteY4" fmla="*/ 1690675 h 1871397"/>
                <a:gd name="connsiteX5" fmla="*/ 2651069 w 2894163"/>
                <a:gd name="connsiteY5" fmla="*/ 1156706 h 1871397"/>
                <a:gd name="connsiteX6" fmla="*/ 2209609 w 2894163"/>
                <a:gd name="connsiteY6" fmla="*/ 251285 h 1871397"/>
                <a:gd name="connsiteX7" fmla="*/ 1898646 w 2894163"/>
                <a:gd name="connsiteY7" fmla="*/ 46 h 1871397"/>
                <a:gd name="connsiteX8" fmla="*/ 1941303 w 2894163"/>
                <a:gd name="connsiteY8" fmla="*/ 293585 h 1871397"/>
                <a:gd name="connsiteX9" fmla="*/ 1974640 w 2894163"/>
                <a:gd name="connsiteY9" fmla="*/ 533402 h 1871397"/>
                <a:gd name="connsiteX10" fmla="*/ 1973469 w 2894163"/>
                <a:gd name="connsiteY10" fmla="*/ 784519 h 1871397"/>
                <a:gd name="connsiteX11" fmla="*/ 1866010 w 2894163"/>
                <a:gd name="connsiteY11" fmla="*/ 878218 h 1871397"/>
                <a:gd name="connsiteX12" fmla="*/ 2733769 w 2894163"/>
                <a:gd name="connsiteY12" fmla="*/ 1387129 h 1871397"/>
                <a:gd name="connsiteX13" fmla="*/ 2694623 w 2894163"/>
                <a:gd name="connsiteY13" fmla="*/ 1639703 h 1871397"/>
                <a:gd name="connsiteX14" fmla="*/ 2385869 w 2894163"/>
                <a:gd name="connsiteY14" fmla="*/ 1585623 h 1871397"/>
                <a:gd name="connsiteX15" fmla="*/ 2074819 w 2894163"/>
                <a:gd name="connsiteY15" fmla="*/ 1565782 h 1871397"/>
                <a:gd name="connsiteX16" fmla="*/ 1739085 w 2894163"/>
                <a:gd name="connsiteY16" fmla="*/ 1871397 h 1871397"/>
                <a:gd name="connsiteX17" fmla="*/ 1648664 w 2894163"/>
                <a:gd name="connsiteY17" fmla="*/ 1582137 h 1871397"/>
                <a:gd name="connsiteX18" fmla="*/ 1376671 w 2894163"/>
                <a:gd name="connsiteY18" fmla="*/ 1700306 h 1871397"/>
                <a:gd name="connsiteX19" fmla="*/ 1415819 w 2894163"/>
                <a:gd name="connsiteY19" fmla="*/ 1334933 h 1871397"/>
                <a:gd name="connsiteX20" fmla="*/ 665501 w 2894163"/>
                <a:gd name="connsiteY20" fmla="*/ 1276212 h 1871397"/>
                <a:gd name="connsiteX21" fmla="*/ 0 w 2894163"/>
                <a:gd name="connsiteY21" fmla="*/ 1126148 h 1871397"/>
                <a:gd name="connsiteX22" fmla="*/ 13050 w 2894163"/>
                <a:gd name="connsiteY22" fmla="*/ 284488 h 1871397"/>
                <a:gd name="connsiteX23" fmla="*/ 1898646 w 2894163"/>
                <a:gd name="connsiteY23" fmla="*/ 46 h 1871397"/>
                <a:gd name="connsiteX0" fmla="*/ 2209609 w 2914477"/>
                <a:gd name="connsiteY0" fmla="*/ 251285 h 1871397"/>
                <a:gd name="connsiteX1" fmla="*/ 2655476 w 2914477"/>
                <a:gd name="connsiteY1" fmla="*/ 584615 h 1871397"/>
                <a:gd name="connsiteX2" fmla="*/ 2828170 w 2914477"/>
                <a:gd name="connsiteY2" fmla="*/ 1010501 h 1871397"/>
                <a:gd name="connsiteX3" fmla="*/ 2883834 w 2914477"/>
                <a:gd name="connsiteY3" fmla="*/ 1308835 h 1871397"/>
                <a:gd name="connsiteX4" fmla="*/ 2840612 w 2914477"/>
                <a:gd name="connsiteY4" fmla="*/ 1564355 h 1871397"/>
                <a:gd name="connsiteX5" fmla="*/ 2651069 w 2914477"/>
                <a:gd name="connsiteY5" fmla="*/ 1156706 h 1871397"/>
                <a:gd name="connsiteX6" fmla="*/ 2209609 w 2914477"/>
                <a:gd name="connsiteY6" fmla="*/ 251285 h 1871397"/>
                <a:gd name="connsiteX7" fmla="*/ 1898646 w 2914477"/>
                <a:gd name="connsiteY7" fmla="*/ 46 h 1871397"/>
                <a:gd name="connsiteX8" fmla="*/ 1941303 w 2914477"/>
                <a:gd name="connsiteY8" fmla="*/ 293585 h 1871397"/>
                <a:gd name="connsiteX9" fmla="*/ 1974640 w 2914477"/>
                <a:gd name="connsiteY9" fmla="*/ 533402 h 1871397"/>
                <a:gd name="connsiteX10" fmla="*/ 1973469 w 2914477"/>
                <a:gd name="connsiteY10" fmla="*/ 784519 h 1871397"/>
                <a:gd name="connsiteX11" fmla="*/ 1866010 w 2914477"/>
                <a:gd name="connsiteY11" fmla="*/ 878218 h 1871397"/>
                <a:gd name="connsiteX12" fmla="*/ 2733769 w 2914477"/>
                <a:gd name="connsiteY12" fmla="*/ 1387129 h 1871397"/>
                <a:gd name="connsiteX13" fmla="*/ 2694623 w 2914477"/>
                <a:gd name="connsiteY13" fmla="*/ 1639703 h 1871397"/>
                <a:gd name="connsiteX14" fmla="*/ 2385869 w 2914477"/>
                <a:gd name="connsiteY14" fmla="*/ 1585623 h 1871397"/>
                <a:gd name="connsiteX15" fmla="*/ 2074819 w 2914477"/>
                <a:gd name="connsiteY15" fmla="*/ 1565782 h 1871397"/>
                <a:gd name="connsiteX16" fmla="*/ 1739085 w 2914477"/>
                <a:gd name="connsiteY16" fmla="*/ 1871397 h 1871397"/>
                <a:gd name="connsiteX17" fmla="*/ 1648664 w 2914477"/>
                <a:gd name="connsiteY17" fmla="*/ 1582137 h 1871397"/>
                <a:gd name="connsiteX18" fmla="*/ 1376671 w 2914477"/>
                <a:gd name="connsiteY18" fmla="*/ 1700306 h 1871397"/>
                <a:gd name="connsiteX19" fmla="*/ 1415819 w 2914477"/>
                <a:gd name="connsiteY19" fmla="*/ 1334933 h 1871397"/>
                <a:gd name="connsiteX20" fmla="*/ 665501 w 2914477"/>
                <a:gd name="connsiteY20" fmla="*/ 1276212 h 1871397"/>
                <a:gd name="connsiteX21" fmla="*/ 0 w 2914477"/>
                <a:gd name="connsiteY21" fmla="*/ 1126148 h 1871397"/>
                <a:gd name="connsiteX22" fmla="*/ 13050 w 2914477"/>
                <a:gd name="connsiteY22" fmla="*/ 284488 h 1871397"/>
                <a:gd name="connsiteX23" fmla="*/ 1898646 w 2914477"/>
                <a:gd name="connsiteY23" fmla="*/ 46 h 1871397"/>
                <a:gd name="connsiteX0" fmla="*/ 2209609 w 2914477"/>
                <a:gd name="connsiteY0" fmla="*/ 251285 h 1871397"/>
                <a:gd name="connsiteX1" fmla="*/ 2655476 w 2914477"/>
                <a:gd name="connsiteY1" fmla="*/ 584615 h 1871397"/>
                <a:gd name="connsiteX2" fmla="*/ 2828170 w 2914477"/>
                <a:gd name="connsiteY2" fmla="*/ 1010501 h 1871397"/>
                <a:gd name="connsiteX3" fmla="*/ 2883834 w 2914477"/>
                <a:gd name="connsiteY3" fmla="*/ 1308835 h 1871397"/>
                <a:gd name="connsiteX4" fmla="*/ 2840612 w 2914477"/>
                <a:gd name="connsiteY4" fmla="*/ 1564355 h 1871397"/>
                <a:gd name="connsiteX5" fmla="*/ 2651069 w 2914477"/>
                <a:gd name="connsiteY5" fmla="*/ 1156706 h 1871397"/>
                <a:gd name="connsiteX6" fmla="*/ 2209609 w 2914477"/>
                <a:gd name="connsiteY6" fmla="*/ 251285 h 1871397"/>
                <a:gd name="connsiteX7" fmla="*/ 1898646 w 2914477"/>
                <a:gd name="connsiteY7" fmla="*/ 46 h 1871397"/>
                <a:gd name="connsiteX8" fmla="*/ 1941303 w 2914477"/>
                <a:gd name="connsiteY8" fmla="*/ 293585 h 1871397"/>
                <a:gd name="connsiteX9" fmla="*/ 1974640 w 2914477"/>
                <a:gd name="connsiteY9" fmla="*/ 533402 h 1871397"/>
                <a:gd name="connsiteX10" fmla="*/ 1973469 w 2914477"/>
                <a:gd name="connsiteY10" fmla="*/ 784519 h 1871397"/>
                <a:gd name="connsiteX11" fmla="*/ 1866010 w 2914477"/>
                <a:gd name="connsiteY11" fmla="*/ 878218 h 1871397"/>
                <a:gd name="connsiteX12" fmla="*/ 2733769 w 2914477"/>
                <a:gd name="connsiteY12" fmla="*/ 1387129 h 1871397"/>
                <a:gd name="connsiteX13" fmla="*/ 2694623 w 2914477"/>
                <a:gd name="connsiteY13" fmla="*/ 1639703 h 1871397"/>
                <a:gd name="connsiteX14" fmla="*/ 2385869 w 2914477"/>
                <a:gd name="connsiteY14" fmla="*/ 1585623 h 1871397"/>
                <a:gd name="connsiteX15" fmla="*/ 2074819 w 2914477"/>
                <a:gd name="connsiteY15" fmla="*/ 1565782 h 1871397"/>
                <a:gd name="connsiteX16" fmla="*/ 1739085 w 2914477"/>
                <a:gd name="connsiteY16" fmla="*/ 1871397 h 1871397"/>
                <a:gd name="connsiteX17" fmla="*/ 1648664 w 2914477"/>
                <a:gd name="connsiteY17" fmla="*/ 1582137 h 1871397"/>
                <a:gd name="connsiteX18" fmla="*/ 1376671 w 2914477"/>
                <a:gd name="connsiteY18" fmla="*/ 1700306 h 1871397"/>
                <a:gd name="connsiteX19" fmla="*/ 1415819 w 2914477"/>
                <a:gd name="connsiteY19" fmla="*/ 1334933 h 1871397"/>
                <a:gd name="connsiteX20" fmla="*/ 665501 w 2914477"/>
                <a:gd name="connsiteY20" fmla="*/ 1276212 h 1871397"/>
                <a:gd name="connsiteX21" fmla="*/ 0 w 2914477"/>
                <a:gd name="connsiteY21" fmla="*/ 1126148 h 1871397"/>
                <a:gd name="connsiteX22" fmla="*/ 13050 w 2914477"/>
                <a:gd name="connsiteY22" fmla="*/ 284488 h 1871397"/>
                <a:gd name="connsiteX23" fmla="*/ 1898646 w 2914477"/>
                <a:gd name="connsiteY23" fmla="*/ 46 h 1871397"/>
                <a:gd name="connsiteX0" fmla="*/ 2209609 w 2889213"/>
                <a:gd name="connsiteY0" fmla="*/ 251285 h 1871397"/>
                <a:gd name="connsiteX1" fmla="*/ 2655476 w 2889213"/>
                <a:gd name="connsiteY1" fmla="*/ 584615 h 1871397"/>
                <a:gd name="connsiteX2" fmla="*/ 2828170 w 2889213"/>
                <a:gd name="connsiteY2" fmla="*/ 1010501 h 1871397"/>
                <a:gd name="connsiteX3" fmla="*/ 2883834 w 2889213"/>
                <a:gd name="connsiteY3" fmla="*/ 1308835 h 1871397"/>
                <a:gd name="connsiteX4" fmla="*/ 2840612 w 2889213"/>
                <a:gd name="connsiteY4" fmla="*/ 1564355 h 1871397"/>
                <a:gd name="connsiteX5" fmla="*/ 2651069 w 2889213"/>
                <a:gd name="connsiteY5" fmla="*/ 1156706 h 1871397"/>
                <a:gd name="connsiteX6" fmla="*/ 2209609 w 2889213"/>
                <a:gd name="connsiteY6" fmla="*/ 251285 h 1871397"/>
                <a:gd name="connsiteX7" fmla="*/ 1898646 w 2889213"/>
                <a:gd name="connsiteY7" fmla="*/ 46 h 1871397"/>
                <a:gd name="connsiteX8" fmla="*/ 1941303 w 2889213"/>
                <a:gd name="connsiteY8" fmla="*/ 293585 h 1871397"/>
                <a:gd name="connsiteX9" fmla="*/ 1974640 w 2889213"/>
                <a:gd name="connsiteY9" fmla="*/ 533402 h 1871397"/>
                <a:gd name="connsiteX10" fmla="*/ 1973469 w 2889213"/>
                <a:gd name="connsiteY10" fmla="*/ 784519 h 1871397"/>
                <a:gd name="connsiteX11" fmla="*/ 1866010 w 2889213"/>
                <a:gd name="connsiteY11" fmla="*/ 878218 h 1871397"/>
                <a:gd name="connsiteX12" fmla="*/ 2733769 w 2889213"/>
                <a:gd name="connsiteY12" fmla="*/ 1387129 h 1871397"/>
                <a:gd name="connsiteX13" fmla="*/ 2694623 w 2889213"/>
                <a:gd name="connsiteY13" fmla="*/ 1639703 h 1871397"/>
                <a:gd name="connsiteX14" fmla="*/ 2385869 w 2889213"/>
                <a:gd name="connsiteY14" fmla="*/ 1585623 h 1871397"/>
                <a:gd name="connsiteX15" fmla="*/ 2074819 w 2889213"/>
                <a:gd name="connsiteY15" fmla="*/ 1565782 h 1871397"/>
                <a:gd name="connsiteX16" fmla="*/ 1739085 w 2889213"/>
                <a:gd name="connsiteY16" fmla="*/ 1871397 h 1871397"/>
                <a:gd name="connsiteX17" fmla="*/ 1648664 w 2889213"/>
                <a:gd name="connsiteY17" fmla="*/ 1582137 h 1871397"/>
                <a:gd name="connsiteX18" fmla="*/ 1376671 w 2889213"/>
                <a:gd name="connsiteY18" fmla="*/ 1700306 h 1871397"/>
                <a:gd name="connsiteX19" fmla="*/ 1415819 w 2889213"/>
                <a:gd name="connsiteY19" fmla="*/ 1334933 h 1871397"/>
                <a:gd name="connsiteX20" fmla="*/ 665501 w 2889213"/>
                <a:gd name="connsiteY20" fmla="*/ 1276212 h 1871397"/>
                <a:gd name="connsiteX21" fmla="*/ 0 w 2889213"/>
                <a:gd name="connsiteY21" fmla="*/ 1126148 h 1871397"/>
                <a:gd name="connsiteX22" fmla="*/ 13050 w 2889213"/>
                <a:gd name="connsiteY22" fmla="*/ 284488 h 1871397"/>
                <a:gd name="connsiteX23" fmla="*/ 1898646 w 2889213"/>
                <a:gd name="connsiteY23" fmla="*/ 46 h 1871397"/>
                <a:gd name="connsiteX0" fmla="*/ 2209609 w 2889213"/>
                <a:gd name="connsiteY0" fmla="*/ 251285 h 1871397"/>
                <a:gd name="connsiteX1" fmla="*/ 2655476 w 2889213"/>
                <a:gd name="connsiteY1" fmla="*/ 584615 h 1871397"/>
                <a:gd name="connsiteX2" fmla="*/ 2828170 w 2889213"/>
                <a:gd name="connsiteY2" fmla="*/ 1010501 h 1871397"/>
                <a:gd name="connsiteX3" fmla="*/ 2883834 w 2889213"/>
                <a:gd name="connsiteY3" fmla="*/ 1308835 h 1871397"/>
                <a:gd name="connsiteX4" fmla="*/ 2840612 w 2889213"/>
                <a:gd name="connsiteY4" fmla="*/ 1564355 h 1871397"/>
                <a:gd name="connsiteX5" fmla="*/ 2632493 w 2889213"/>
                <a:gd name="connsiteY5" fmla="*/ 1175282 h 1871397"/>
                <a:gd name="connsiteX6" fmla="*/ 2209609 w 2889213"/>
                <a:gd name="connsiteY6" fmla="*/ 251285 h 1871397"/>
                <a:gd name="connsiteX7" fmla="*/ 1898646 w 2889213"/>
                <a:gd name="connsiteY7" fmla="*/ 46 h 1871397"/>
                <a:gd name="connsiteX8" fmla="*/ 1941303 w 2889213"/>
                <a:gd name="connsiteY8" fmla="*/ 293585 h 1871397"/>
                <a:gd name="connsiteX9" fmla="*/ 1974640 w 2889213"/>
                <a:gd name="connsiteY9" fmla="*/ 533402 h 1871397"/>
                <a:gd name="connsiteX10" fmla="*/ 1973469 w 2889213"/>
                <a:gd name="connsiteY10" fmla="*/ 784519 h 1871397"/>
                <a:gd name="connsiteX11" fmla="*/ 1866010 w 2889213"/>
                <a:gd name="connsiteY11" fmla="*/ 878218 h 1871397"/>
                <a:gd name="connsiteX12" fmla="*/ 2733769 w 2889213"/>
                <a:gd name="connsiteY12" fmla="*/ 1387129 h 1871397"/>
                <a:gd name="connsiteX13" fmla="*/ 2694623 w 2889213"/>
                <a:gd name="connsiteY13" fmla="*/ 1639703 h 1871397"/>
                <a:gd name="connsiteX14" fmla="*/ 2385869 w 2889213"/>
                <a:gd name="connsiteY14" fmla="*/ 1585623 h 1871397"/>
                <a:gd name="connsiteX15" fmla="*/ 2074819 w 2889213"/>
                <a:gd name="connsiteY15" fmla="*/ 1565782 h 1871397"/>
                <a:gd name="connsiteX16" fmla="*/ 1739085 w 2889213"/>
                <a:gd name="connsiteY16" fmla="*/ 1871397 h 1871397"/>
                <a:gd name="connsiteX17" fmla="*/ 1648664 w 2889213"/>
                <a:gd name="connsiteY17" fmla="*/ 1582137 h 1871397"/>
                <a:gd name="connsiteX18" fmla="*/ 1376671 w 2889213"/>
                <a:gd name="connsiteY18" fmla="*/ 1700306 h 1871397"/>
                <a:gd name="connsiteX19" fmla="*/ 1415819 w 2889213"/>
                <a:gd name="connsiteY19" fmla="*/ 1334933 h 1871397"/>
                <a:gd name="connsiteX20" fmla="*/ 665501 w 2889213"/>
                <a:gd name="connsiteY20" fmla="*/ 1276212 h 1871397"/>
                <a:gd name="connsiteX21" fmla="*/ 0 w 2889213"/>
                <a:gd name="connsiteY21" fmla="*/ 1126148 h 1871397"/>
                <a:gd name="connsiteX22" fmla="*/ 13050 w 2889213"/>
                <a:gd name="connsiteY22" fmla="*/ 284488 h 1871397"/>
                <a:gd name="connsiteX23" fmla="*/ 1898646 w 2889213"/>
                <a:gd name="connsiteY23" fmla="*/ 46 h 1871397"/>
                <a:gd name="connsiteX0" fmla="*/ 2209609 w 2889213"/>
                <a:gd name="connsiteY0" fmla="*/ 251285 h 1871397"/>
                <a:gd name="connsiteX1" fmla="*/ 2655476 w 2889213"/>
                <a:gd name="connsiteY1" fmla="*/ 584615 h 1871397"/>
                <a:gd name="connsiteX2" fmla="*/ 2828170 w 2889213"/>
                <a:gd name="connsiteY2" fmla="*/ 1010501 h 1871397"/>
                <a:gd name="connsiteX3" fmla="*/ 2883834 w 2889213"/>
                <a:gd name="connsiteY3" fmla="*/ 1308835 h 1871397"/>
                <a:gd name="connsiteX4" fmla="*/ 2840612 w 2889213"/>
                <a:gd name="connsiteY4" fmla="*/ 1564355 h 1871397"/>
                <a:gd name="connsiteX5" fmla="*/ 2632493 w 2889213"/>
                <a:gd name="connsiteY5" fmla="*/ 1175282 h 1871397"/>
                <a:gd name="connsiteX6" fmla="*/ 2209609 w 2889213"/>
                <a:gd name="connsiteY6" fmla="*/ 251285 h 1871397"/>
                <a:gd name="connsiteX7" fmla="*/ 1898646 w 2889213"/>
                <a:gd name="connsiteY7" fmla="*/ 46 h 1871397"/>
                <a:gd name="connsiteX8" fmla="*/ 1941303 w 2889213"/>
                <a:gd name="connsiteY8" fmla="*/ 293585 h 1871397"/>
                <a:gd name="connsiteX9" fmla="*/ 1974640 w 2889213"/>
                <a:gd name="connsiteY9" fmla="*/ 533402 h 1871397"/>
                <a:gd name="connsiteX10" fmla="*/ 1973469 w 2889213"/>
                <a:gd name="connsiteY10" fmla="*/ 784519 h 1871397"/>
                <a:gd name="connsiteX11" fmla="*/ 1866010 w 2889213"/>
                <a:gd name="connsiteY11" fmla="*/ 878218 h 1871397"/>
                <a:gd name="connsiteX12" fmla="*/ 2733769 w 2889213"/>
                <a:gd name="connsiteY12" fmla="*/ 1387129 h 1871397"/>
                <a:gd name="connsiteX13" fmla="*/ 2694623 w 2889213"/>
                <a:gd name="connsiteY13" fmla="*/ 1639703 h 1871397"/>
                <a:gd name="connsiteX14" fmla="*/ 2385869 w 2889213"/>
                <a:gd name="connsiteY14" fmla="*/ 1585623 h 1871397"/>
                <a:gd name="connsiteX15" fmla="*/ 2074819 w 2889213"/>
                <a:gd name="connsiteY15" fmla="*/ 1565782 h 1871397"/>
                <a:gd name="connsiteX16" fmla="*/ 1739085 w 2889213"/>
                <a:gd name="connsiteY16" fmla="*/ 1871397 h 1871397"/>
                <a:gd name="connsiteX17" fmla="*/ 1648664 w 2889213"/>
                <a:gd name="connsiteY17" fmla="*/ 1582137 h 1871397"/>
                <a:gd name="connsiteX18" fmla="*/ 1376671 w 2889213"/>
                <a:gd name="connsiteY18" fmla="*/ 1700306 h 1871397"/>
                <a:gd name="connsiteX19" fmla="*/ 1415819 w 2889213"/>
                <a:gd name="connsiteY19" fmla="*/ 1334933 h 1871397"/>
                <a:gd name="connsiteX20" fmla="*/ 665501 w 2889213"/>
                <a:gd name="connsiteY20" fmla="*/ 1276212 h 1871397"/>
                <a:gd name="connsiteX21" fmla="*/ 0 w 2889213"/>
                <a:gd name="connsiteY21" fmla="*/ 1126148 h 1871397"/>
                <a:gd name="connsiteX22" fmla="*/ 13050 w 2889213"/>
                <a:gd name="connsiteY22" fmla="*/ 284488 h 1871397"/>
                <a:gd name="connsiteX23" fmla="*/ 1898646 w 2889213"/>
                <a:gd name="connsiteY23" fmla="*/ 46 h 1871397"/>
                <a:gd name="connsiteX0" fmla="*/ 2209609 w 2889213"/>
                <a:gd name="connsiteY0" fmla="*/ 251285 h 1871397"/>
                <a:gd name="connsiteX1" fmla="*/ 2655476 w 2889213"/>
                <a:gd name="connsiteY1" fmla="*/ 584615 h 1871397"/>
                <a:gd name="connsiteX2" fmla="*/ 2828170 w 2889213"/>
                <a:gd name="connsiteY2" fmla="*/ 1010501 h 1871397"/>
                <a:gd name="connsiteX3" fmla="*/ 2883834 w 2889213"/>
                <a:gd name="connsiteY3" fmla="*/ 1308835 h 1871397"/>
                <a:gd name="connsiteX4" fmla="*/ 2840612 w 2889213"/>
                <a:gd name="connsiteY4" fmla="*/ 1564355 h 1871397"/>
                <a:gd name="connsiteX5" fmla="*/ 2632493 w 2889213"/>
                <a:gd name="connsiteY5" fmla="*/ 1175282 h 1871397"/>
                <a:gd name="connsiteX6" fmla="*/ 2209609 w 2889213"/>
                <a:gd name="connsiteY6" fmla="*/ 251285 h 1871397"/>
                <a:gd name="connsiteX7" fmla="*/ 1898646 w 2889213"/>
                <a:gd name="connsiteY7" fmla="*/ 46 h 1871397"/>
                <a:gd name="connsiteX8" fmla="*/ 1941303 w 2889213"/>
                <a:gd name="connsiteY8" fmla="*/ 293585 h 1871397"/>
                <a:gd name="connsiteX9" fmla="*/ 1974640 w 2889213"/>
                <a:gd name="connsiteY9" fmla="*/ 533402 h 1871397"/>
                <a:gd name="connsiteX10" fmla="*/ 1973469 w 2889213"/>
                <a:gd name="connsiteY10" fmla="*/ 784519 h 1871397"/>
                <a:gd name="connsiteX11" fmla="*/ 1866010 w 2889213"/>
                <a:gd name="connsiteY11" fmla="*/ 878218 h 1871397"/>
                <a:gd name="connsiteX12" fmla="*/ 2733769 w 2889213"/>
                <a:gd name="connsiteY12" fmla="*/ 1387129 h 1871397"/>
                <a:gd name="connsiteX13" fmla="*/ 2694623 w 2889213"/>
                <a:gd name="connsiteY13" fmla="*/ 1639703 h 1871397"/>
                <a:gd name="connsiteX14" fmla="*/ 2385869 w 2889213"/>
                <a:gd name="connsiteY14" fmla="*/ 1585623 h 1871397"/>
                <a:gd name="connsiteX15" fmla="*/ 2074819 w 2889213"/>
                <a:gd name="connsiteY15" fmla="*/ 1565782 h 1871397"/>
                <a:gd name="connsiteX16" fmla="*/ 1739085 w 2889213"/>
                <a:gd name="connsiteY16" fmla="*/ 1871397 h 1871397"/>
                <a:gd name="connsiteX17" fmla="*/ 1648664 w 2889213"/>
                <a:gd name="connsiteY17" fmla="*/ 1582137 h 1871397"/>
                <a:gd name="connsiteX18" fmla="*/ 1376671 w 2889213"/>
                <a:gd name="connsiteY18" fmla="*/ 1700306 h 1871397"/>
                <a:gd name="connsiteX19" fmla="*/ 1415819 w 2889213"/>
                <a:gd name="connsiteY19" fmla="*/ 1334933 h 1871397"/>
                <a:gd name="connsiteX20" fmla="*/ 665501 w 2889213"/>
                <a:gd name="connsiteY20" fmla="*/ 1276212 h 1871397"/>
                <a:gd name="connsiteX21" fmla="*/ 0 w 2889213"/>
                <a:gd name="connsiteY21" fmla="*/ 1126148 h 1871397"/>
                <a:gd name="connsiteX22" fmla="*/ 13050 w 2889213"/>
                <a:gd name="connsiteY22" fmla="*/ 284488 h 1871397"/>
                <a:gd name="connsiteX23" fmla="*/ 1898646 w 2889213"/>
                <a:gd name="connsiteY23" fmla="*/ 46 h 1871397"/>
                <a:gd name="connsiteX0" fmla="*/ 2150164 w 2889213"/>
                <a:gd name="connsiteY0" fmla="*/ 228993 h 1871397"/>
                <a:gd name="connsiteX1" fmla="*/ 2655476 w 2889213"/>
                <a:gd name="connsiteY1" fmla="*/ 584615 h 1871397"/>
                <a:gd name="connsiteX2" fmla="*/ 2828170 w 2889213"/>
                <a:gd name="connsiteY2" fmla="*/ 1010501 h 1871397"/>
                <a:gd name="connsiteX3" fmla="*/ 2883834 w 2889213"/>
                <a:gd name="connsiteY3" fmla="*/ 1308835 h 1871397"/>
                <a:gd name="connsiteX4" fmla="*/ 2840612 w 2889213"/>
                <a:gd name="connsiteY4" fmla="*/ 1564355 h 1871397"/>
                <a:gd name="connsiteX5" fmla="*/ 2632493 w 2889213"/>
                <a:gd name="connsiteY5" fmla="*/ 1175282 h 1871397"/>
                <a:gd name="connsiteX6" fmla="*/ 2150164 w 2889213"/>
                <a:gd name="connsiteY6" fmla="*/ 228993 h 1871397"/>
                <a:gd name="connsiteX7" fmla="*/ 1898646 w 2889213"/>
                <a:gd name="connsiteY7" fmla="*/ 46 h 1871397"/>
                <a:gd name="connsiteX8" fmla="*/ 1941303 w 2889213"/>
                <a:gd name="connsiteY8" fmla="*/ 293585 h 1871397"/>
                <a:gd name="connsiteX9" fmla="*/ 1974640 w 2889213"/>
                <a:gd name="connsiteY9" fmla="*/ 533402 h 1871397"/>
                <a:gd name="connsiteX10" fmla="*/ 1973469 w 2889213"/>
                <a:gd name="connsiteY10" fmla="*/ 784519 h 1871397"/>
                <a:gd name="connsiteX11" fmla="*/ 1866010 w 2889213"/>
                <a:gd name="connsiteY11" fmla="*/ 878218 h 1871397"/>
                <a:gd name="connsiteX12" fmla="*/ 2733769 w 2889213"/>
                <a:gd name="connsiteY12" fmla="*/ 1387129 h 1871397"/>
                <a:gd name="connsiteX13" fmla="*/ 2694623 w 2889213"/>
                <a:gd name="connsiteY13" fmla="*/ 1639703 h 1871397"/>
                <a:gd name="connsiteX14" fmla="*/ 2385869 w 2889213"/>
                <a:gd name="connsiteY14" fmla="*/ 1585623 h 1871397"/>
                <a:gd name="connsiteX15" fmla="*/ 2074819 w 2889213"/>
                <a:gd name="connsiteY15" fmla="*/ 1565782 h 1871397"/>
                <a:gd name="connsiteX16" fmla="*/ 1739085 w 2889213"/>
                <a:gd name="connsiteY16" fmla="*/ 1871397 h 1871397"/>
                <a:gd name="connsiteX17" fmla="*/ 1648664 w 2889213"/>
                <a:gd name="connsiteY17" fmla="*/ 1582137 h 1871397"/>
                <a:gd name="connsiteX18" fmla="*/ 1376671 w 2889213"/>
                <a:gd name="connsiteY18" fmla="*/ 1700306 h 1871397"/>
                <a:gd name="connsiteX19" fmla="*/ 1415819 w 2889213"/>
                <a:gd name="connsiteY19" fmla="*/ 1334933 h 1871397"/>
                <a:gd name="connsiteX20" fmla="*/ 665501 w 2889213"/>
                <a:gd name="connsiteY20" fmla="*/ 1276212 h 1871397"/>
                <a:gd name="connsiteX21" fmla="*/ 0 w 2889213"/>
                <a:gd name="connsiteY21" fmla="*/ 1126148 h 1871397"/>
                <a:gd name="connsiteX22" fmla="*/ 13050 w 2889213"/>
                <a:gd name="connsiteY22" fmla="*/ 284488 h 1871397"/>
                <a:gd name="connsiteX23" fmla="*/ 1898646 w 2889213"/>
                <a:gd name="connsiteY23" fmla="*/ 46 h 1871397"/>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97081 w 2889213"/>
                <a:gd name="connsiteY7" fmla="*/ 68 h 1756245"/>
                <a:gd name="connsiteX8" fmla="*/ 1941303 w 2889213"/>
                <a:gd name="connsiteY8" fmla="*/ 178433 h 1756245"/>
                <a:gd name="connsiteX9" fmla="*/ 1974640 w 2889213"/>
                <a:gd name="connsiteY9" fmla="*/ 418250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97081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97081 w 2889213"/>
                <a:gd name="connsiteY7" fmla="*/ 68 h 1756245"/>
                <a:gd name="connsiteX8" fmla="*/ 1826128 w 2889213"/>
                <a:gd name="connsiteY8" fmla="*/ 230447 h 1756245"/>
                <a:gd name="connsiteX9" fmla="*/ 1974640 w 2889213"/>
                <a:gd name="connsiteY9" fmla="*/ 418250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97081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97081 w 2889213"/>
                <a:gd name="connsiteY7" fmla="*/ 68 h 1756245"/>
                <a:gd name="connsiteX8" fmla="*/ 1826128 w 2889213"/>
                <a:gd name="connsiteY8" fmla="*/ 230447 h 1756245"/>
                <a:gd name="connsiteX9" fmla="*/ 1892904 w 2889213"/>
                <a:gd name="connsiteY9" fmla="*/ 459118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97081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97081 w 2889213"/>
                <a:gd name="connsiteY7" fmla="*/ 68 h 1756245"/>
                <a:gd name="connsiteX8" fmla="*/ 1729530 w 2889213"/>
                <a:gd name="connsiteY8" fmla="*/ 204440 h 1756245"/>
                <a:gd name="connsiteX9" fmla="*/ 1892904 w 2889213"/>
                <a:gd name="connsiteY9" fmla="*/ 459118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97081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97081 w 2889213"/>
                <a:gd name="connsiteY7" fmla="*/ 68 h 1756245"/>
                <a:gd name="connsiteX8" fmla="*/ 1729530 w 2889213"/>
                <a:gd name="connsiteY8" fmla="*/ 204440 h 1756245"/>
                <a:gd name="connsiteX9" fmla="*/ 1892904 w 2889213"/>
                <a:gd name="connsiteY9" fmla="*/ 459118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97081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48782 w 2889213"/>
                <a:gd name="connsiteY7" fmla="*/ 68 h 1756245"/>
                <a:gd name="connsiteX8" fmla="*/ 1729530 w 2889213"/>
                <a:gd name="connsiteY8" fmla="*/ 204440 h 1756245"/>
                <a:gd name="connsiteX9" fmla="*/ 1892904 w 2889213"/>
                <a:gd name="connsiteY9" fmla="*/ 459118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48782 w 2889213"/>
                <a:gd name="connsiteY23" fmla="*/ 68 h 1756245"/>
                <a:gd name="connsiteX0" fmla="*/ 2150164 w 2889213"/>
                <a:gd name="connsiteY0" fmla="*/ 113841 h 1756245"/>
                <a:gd name="connsiteX1" fmla="*/ 2655476 w 2889213"/>
                <a:gd name="connsiteY1" fmla="*/ 469463 h 1756245"/>
                <a:gd name="connsiteX2" fmla="*/ 2828170 w 2889213"/>
                <a:gd name="connsiteY2" fmla="*/ 895349 h 1756245"/>
                <a:gd name="connsiteX3" fmla="*/ 2883834 w 2889213"/>
                <a:gd name="connsiteY3" fmla="*/ 1193683 h 1756245"/>
                <a:gd name="connsiteX4" fmla="*/ 2840612 w 2889213"/>
                <a:gd name="connsiteY4" fmla="*/ 1449203 h 1756245"/>
                <a:gd name="connsiteX5" fmla="*/ 2632493 w 2889213"/>
                <a:gd name="connsiteY5" fmla="*/ 1060130 h 1756245"/>
                <a:gd name="connsiteX6" fmla="*/ 2150164 w 2889213"/>
                <a:gd name="connsiteY6" fmla="*/ 113841 h 1756245"/>
                <a:gd name="connsiteX7" fmla="*/ 1348782 w 2889213"/>
                <a:gd name="connsiteY7" fmla="*/ 68 h 1756245"/>
                <a:gd name="connsiteX8" fmla="*/ 1729530 w 2889213"/>
                <a:gd name="connsiteY8" fmla="*/ 204440 h 1756245"/>
                <a:gd name="connsiteX9" fmla="*/ 1892904 w 2889213"/>
                <a:gd name="connsiteY9" fmla="*/ 459118 h 1756245"/>
                <a:gd name="connsiteX10" fmla="*/ 1973469 w 2889213"/>
                <a:gd name="connsiteY10" fmla="*/ 669367 h 1756245"/>
                <a:gd name="connsiteX11" fmla="*/ 1866010 w 2889213"/>
                <a:gd name="connsiteY11" fmla="*/ 763066 h 1756245"/>
                <a:gd name="connsiteX12" fmla="*/ 2733769 w 2889213"/>
                <a:gd name="connsiteY12" fmla="*/ 1271977 h 1756245"/>
                <a:gd name="connsiteX13" fmla="*/ 2694623 w 2889213"/>
                <a:gd name="connsiteY13" fmla="*/ 1524551 h 1756245"/>
                <a:gd name="connsiteX14" fmla="*/ 2385869 w 2889213"/>
                <a:gd name="connsiteY14" fmla="*/ 1470471 h 1756245"/>
                <a:gd name="connsiteX15" fmla="*/ 2074819 w 2889213"/>
                <a:gd name="connsiteY15" fmla="*/ 1450630 h 1756245"/>
                <a:gd name="connsiteX16" fmla="*/ 1739085 w 2889213"/>
                <a:gd name="connsiteY16" fmla="*/ 1756245 h 1756245"/>
                <a:gd name="connsiteX17" fmla="*/ 1648664 w 2889213"/>
                <a:gd name="connsiteY17" fmla="*/ 1466985 h 1756245"/>
                <a:gd name="connsiteX18" fmla="*/ 1376671 w 2889213"/>
                <a:gd name="connsiteY18" fmla="*/ 1585154 h 1756245"/>
                <a:gd name="connsiteX19" fmla="*/ 1415819 w 2889213"/>
                <a:gd name="connsiteY19" fmla="*/ 1219781 h 1756245"/>
                <a:gd name="connsiteX20" fmla="*/ 665501 w 2889213"/>
                <a:gd name="connsiteY20" fmla="*/ 1161060 h 1756245"/>
                <a:gd name="connsiteX21" fmla="*/ 0 w 2889213"/>
                <a:gd name="connsiteY21" fmla="*/ 1010996 h 1756245"/>
                <a:gd name="connsiteX22" fmla="*/ 13050 w 2889213"/>
                <a:gd name="connsiteY22" fmla="*/ 169336 h 1756245"/>
                <a:gd name="connsiteX23" fmla="*/ 1348782 w 2889213"/>
                <a:gd name="connsiteY23" fmla="*/ 68 h 1756245"/>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29530 w 2889213"/>
                <a:gd name="connsiteY8" fmla="*/ 204372 h 1756177"/>
                <a:gd name="connsiteX9" fmla="*/ 1892904 w 2889213"/>
                <a:gd name="connsiteY9" fmla="*/ 459050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29530 w 2889213"/>
                <a:gd name="connsiteY8" fmla="*/ 204372 h 1756177"/>
                <a:gd name="connsiteX9" fmla="*/ 1848320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29530 w 2889213"/>
                <a:gd name="connsiteY8" fmla="*/ 204372 h 1756177"/>
                <a:gd name="connsiteX9" fmla="*/ 1866896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14668 w 2889213"/>
                <a:gd name="connsiteY8" fmla="*/ 204372 h 1756177"/>
                <a:gd name="connsiteX9" fmla="*/ 1866896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14668 w 2889213"/>
                <a:gd name="connsiteY8" fmla="*/ 204372 h 1756177"/>
                <a:gd name="connsiteX9" fmla="*/ 1866896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14668 w 2889213"/>
                <a:gd name="connsiteY8" fmla="*/ 204372 h 1756177"/>
                <a:gd name="connsiteX9" fmla="*/ 1866896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756177"/>
                <a:gd name="connsiteX1" fmla="*/ 2655476 w 2889213"/>
                <a:gd name="connsiteY1" fmla="*/ 469395 h 1756177"/>
                <a:gd name="connsiteX2" fmla="*/ 2828170 w 2889213"/>
                <a:gd name="connsiteY2" fmla="*/ 895281 h 1756177"/>
                <a:gd name="connsiteX3" fmla="*/ 2883834 w 2889213"/>
                <a:gd name="connsiteY3" fmla="*/ 1193615 h 1756177"/>
                <a:gd name="connsiteX4" fmla="*/ 2840612 w 2889213"/>
                <a:gd name="connsiteY4" fmla="*/ 1449135 h 1756177"/>
                <a:gd name="connsiteX5" fmla="*/ 2632493 w 2889213"/>
                <a:gd name="connsiteY5" fmla="*/ 1060062 h 1756177"/>
                <a:gd name="connsiteX6" fmla="*/ 2150164 w 2889213"/>
                <a:gd name="connsiteY6" fmla="*/ 113773 h 1756177"/>
                <a:gd name="connsiteX7" fmla="*/ 1348782 w 2889213"/>
                <a:gd name="connsiteY7" fmla="*/ 0 h 1756177"/>
                <a:gd name="connsiteX8" fmla="*/ 1714668 w 2889213"/>
                <a:gd name="connsiteY8" fmla="*/ 204372 h 1756177"/>
                <a:gd name="connsiteX9" fmla="*/ 1866896 w 2889213"/>
                <a:gd name="connsiteY9" fmla="*/ 462766 h 1756177"/>
                <a:gd name="connsiteX10" fmla="*/ 1973469 w 2889213"/>
                <a:gd name="connsiteY10" fmla="*/ 669299 h 1756177"/>
                <a:gd name="connsiteX11" fmla="*/ 1866010 w 2889213"/>
                <a:gd name="connsiteY11" fmla="*/ 762998 h 1756177"/>
                <a:gd name="connsiteX12" fmla="*/ 2733769 w 2889213"/>
                <a:gd name="connsiteY12" fmla="*/ 1271909 h 1756177"/>
                <a:gd name="connsiteX13" fmla="*/ 2694623 w 2889213"/>
                <a:gd name="connsiteY13" fmla="*/ 1524483 h 1756177"/>
                <a:gd name="connsiteX14" fmla="*/ 2385869 w 2889213"/>
                <a:gd name="connsiteY14" fmla="*/ 1470403 h 1756177"/>
                <a:gd name="connsiteX15" fmla="*/ 2074819 w 2889213"/>
                <a:gd name="connsiteY15" fmla="*/ 1450562 h 1756177"/>
                <a:gd name="connsiteX16" fmla="*/ 1739085 w 2889213"/>
                <a:gd name="connsiteY16" fmla="*/ 1756177 h 1756177"/>
                <a:gd name="connsiteX17" fmla="*/ 1648664 w 2889213"/>
                <a:gd name="connsiteY17" fmla="*/ 1466917 h 1756177"/>
                <a:gd name="connsiteX18" fmla="*/ 1376671 w 2889213"/>
                <a:gd name="connsiteY18" fmla="*/ 1585086 h 1756177"/>
                <a:gd name="connsiteX19" fmla="*/ 1415819 w 2889213"/>
                <a:gd name="connsiteY19" fmla="*/ 1219713 h 1756177"/>
                <a:gd name="connsiteX20" fmla="*/ 665501 w 2889213"/>
                <a:gd name="connsiteY20" fmla="*/ 1160992 h 1756177"/>
                <a:gd name="connsiteX21" fmla="*/ 0 w 2889213"/>
                <a:gd name="connsiteY21" fmla="*/ 1010928 h 1756177"/>
                <a:gd name="connsiteX22" fmla="*/ 13050 w 2889213"/>
                <a:gd name="connsiteY22" fmla="*/ 169268 h 1756177"/>
                <a:gd name="connsiteX23" fmla="*/ 1348782 w 2889213"/>
                <a:gd name="connsiteY23" fmla="*/ 0 h 1756177"/>
                <a:gd name="connsiteX0" fmla="*/ 2150164 w 2889213"/>
                <a:gd name="connsiteY0" fmla="*/ 113773 h 1800430"/>
                <a:gd name="connsiteX1" fmla="*/ 2655476 w 2889213"/>
                <a:gd name="connsiteY1" fmla="*/ 469395 h 1800430"/>
                <a:gd name="connsiteX2" fmla="*/ 2828170 w 2889213"/>
                <a:gd name="connsiteY2" fmla="*/ 895281 h 1800430"/>
                <a:gd name="connsiteX3" fmla="*/ 2883834 w 2889213"/>
                <a:gd name="connsiteY3" fmla="*/ 1193615 h 1800430"/>
                <a:gd name="connsiteX4" fmla="*/ 2840612 w 2889213"/>
                <a:gd name="connsiteY4" fmla="*/ 1449135 h 1800430"/>
                <a:gd name="connsiteX5" fmla="*/ 2632493 w 2889213"/>
                <a:gd name="connsiteY5" fmla="*/ 1060062 h 1800430"/>
                <a:gd name="connsiteX6" fmla="*/ 2150164 w 2889213"/>
                <a:gd name="connsiteY6" fmla="*/ 113773 h 1800430"/>
                <a:gd name="connsiteX7" fmla="*/ 1348782 w 2889213"/>
                <a:gd name="connsiteY7" fmla="*/ 0 h 1800430"/>
                <a:gd name="connsiteX8" fmla="*/ 1714668 w 2889213"/>
                <a:gd name="connsiteY8" fmla="*/ 204372 h 1800430"/>
                <a:gd name="connsiteX9" fmla="*/ 1866896 w 2889213"/>
                <a:gd name="connsiteY9" fmla="*/ 462766 h 1800430"/>
                <a:gd name="connsiteX10" fmla="*/ 1973469 w 2889213"/>
                <a:gd name="connsiteY10" fmla="*/ 669299 h 1800430"/>
                <a:gd name="connsiteX11" fmla="*/ 1866010 w 2889213"/>
                <a:gd name="connsiteY11" fmla="*/ 762998 h 1800430"/>
                <a:gd name="connsiteX12" fmla="*/ 2733769 w 2889213"/>
                <a:gd name="connsiteY12" fmla="*/ 1271909 h 1800430"/>
                <a:gd name="connsiteX13" fmla="*/ 2694623 w 2889213"/>
                <a:gd name="connsiteY13" fmla="*/ 1524483 h 1800430"/>
                <a:gd name="connsiteX14" fmla="*/ 2385869 w 2889213"/>
                <a:gd name="connsiteY14" fmla="*/ 1470403 h 1800430"/>
                <a:gd name="connsiteX15" fmla="*/ 2191986 w 2889213"/>
                <a:gd name="connsiteY15" fmla="*/ 1800407 h 1800430"/>
                <a:gd name="connsiteX16" fmla="*/ 2074819 w 2889213"/>
                <a:gd name="connsiteY16" fmla="*/ 1450562 h 1800430"/>
                <a:gd name="connsiteX17" fmla="*/ 1739085 w 2889213"/>
                <a:gd name="connsiteY17" fmla="*/ 1756177 h 1800430"/>
                <a:gd name="connsiteX18" fmla="*/ 1648664 w 2889213"/>
                <a:gd name="connsiteY18" fmla="*/ 1466917 h 1800430"/>
                <a:gd name="connsiteX19" fmla="*/ 1376671 w 2889213"/>
                <a:gd name="connsiteY19" fmla="*/ 1585086 h 1800430"/>
                <a:gd name="connsiteX20" fmla="*/ 1415819 w 2889213"/>
                <a:gd name="connsiteY20" fmla="*/ 1219713 h 1800430"/>
                <a:gd name="connsiteX21" fmla="*/ 665501 w 2889213"/>
                <a:gd name="connsiteY21" fmla="*/ 1160992 h 1800430"/>
                <a:gd name="connsiteX22" fmla="*/ 0 w 2889213"/>
                <a:gd name="connsiteY22" fmla="*/ 1010928 h 1800430"/>
                <a:gd name="connsiteX23" fmla="*/ 13050 w 2889213"/>
                <a:gd name="connsiteY23" fmla="*/ 169268 h 1800430"/>
                <a:gd name="connsiteX24" fmla="*/ 1348782 w 2889213"/>
                <a:gd name="connsiteY24" fmla="*/ 0 h 1800430"/>
                <a:gd name="connsiteX0" fmla="*/ 2150164 w 2889213"/>
                <a:gd name="connsiteY0" fmla="*/ 113773 h 1800430"/>
                <a:gd name="connsiteX1" fmla="*/ 2655476 w 2889213"/>
                <a:gd name="connsiteY1" fmla="*/ 469395 h 1800430"/>
                <a:gd name="connsiteX2" fmla="*/ 2828170 w 2889213"/>
                <a:gd name="connsiteY2" fmla="*/ 895281 h 1800430"/>
                <a:gd name="connsiteX3" fmla="*/ 2883834 w 2889213"/>
                <a:gd name="connsiteY3" fmla="*/ 1193615 h 1800430"/>
                <a:gd name="connsiteX4" fmla="*/ 2840612 w 2889213"/>
                <a:gd name="connsiteY4" fmla="*/ 1449135 h 1800430"/>
                <a:gd name="connsiteX5" fmla="*/ 2632493 w 2889213"/>
                <a:gd name="connsiteY5" fmla="*/ 1060062 h 1800430"/>
                <a:gd name="connsiteX6" fmla="*/ 2150164 w 2889213"/>
                <a:gd name="connsiteY6" fmla="*/ 113773 h 1800430"/>
                <a:gd name="connsiteX7" fmla="*/ 1348782 w 2889213"/>
                <a:gd name="connsiteY7" fmla="*/ 0 h 1800430"/>
                <a:gd name="connsiteX8" fmla="*/ 1714668 w 2889213"/>
                <a:gd name="connsiteY8" fmla="*/ 204372 h 1800430"/>
                <a:gd name="connsiteX9" fmla="*/ 1866896 w 2889213"/>
                <a:gd name="connsiteY9" fmla="*/ 462766 h 1800430"/>
                <a:gd name="connsiteX10" fmla="*/ 1973469 w 2889213"/>
                <a:gd name="connsiteY10" fmla="*/ 669299 h 1800430"/>
                <a:gd name="connsiteX11" fmla="*/ 1866010 w 2889213"/>
                <a:gd name="connsiteY11" fmla="*/ 762998 h 1800430"/>
                <a:gd name="connsiteX12" fmla="*/ 2733769 w 2889213"/>
                <a:gd name="connsiteY12" fmla="*/ 1271909 h 1800430"/>
                <a:gd name="connsiteX13" fmla="*/ 2694623 w 2889213"/>
                <a:gd name="connsiteY13" fmla="*/ 1524483 h 1800430"/>
                <a:gd name="connsiteX14" fmla="*/ 2385869 w 2889213"/>
                <a:gd name="connsiteY14" fmla="*/ 1470403 h 1800430"/>
                <a:gd name="connsiteX15" fmla="*/ 2191986 w 2889213"/>
                <a:gd name="connsiteY15" fmla="*/ 1800407 h 1800430"/>
                <a:gd name="connsiteX16" fmla="*/ 2074819 w 2889213"/>
                <a:gd name="connsiteY16" fmla="*/ 1450562 h 1800430"/>
                <a:gd name="connsiteX17" fmla="*/ 1739085 w 2889213"/>
                <a:gd name="connsiteY17" fmla="*/ 1756177 h 1800430"/>
                <a:gd name="connsiteX18" fmla="*/ 1648664 w 2889213"/>
                <a:gd name="connsiteY18" fmla="*/ 1466917 h 1800430"/>
                <a:gd name="connsiteX19" fmla="*/ 1376671 w 2889213"/>
                <a:gd name="connsiteY19" fmla="*/ 1585086 h 1800430"/>
                <a:gd name="connsiteX20" fmla="*/ 1415819 w 2889213"/>
                <a:gd name="connsiteY20" fmla="*/ 1219713 h 1800430"/>
                <a:gd name="connsiteX21" fmla="*/ 665501 w 2889213"/>
                <a:gd name="connsiteY21" fmla="*/ 1160992 h 1800430"/>
                <a:gd name="connsiteX22" fmla="*/ 0 w 2889213"/>
                <a:gd name="connsiteY22" fmla="*/ 1010928 h 1800430"/>
                <a:gd name="connsiteX23" fmla="*/ 13050 w 2889213"/>
                <a:gd name="connsiteY23" fmla="*/ 169268 h 1800430"/>
                <a:gd name="connsiteX24" fmla="*/ 1348782 w 2889213"/>
                <a:gd name="connsiteY24" fmla="*/ 0 h 1800430"/>
                <a:gd name="connsiteX0" fmla="*/ 2150164 w 2889213"/>
                <a:gd name="connsiteY0" fmla="*/ 113773 h 1800456"/>
                <a:gd name="connsiteX1" fmla="*/ 2655476 w 2889213"/>
                <a:gd name="connsiteY1" fmla="*/ 469395 h 1800456"/>
                <a:gd name="connsiteX2" fmla="*/ 2828170 w 2889213"/>
                <a:gd name="connsiteY2" fmla="*/ 895281 h 1800456"/>
                <a:gd name="connsiteX3" fmla="*/ 2883834 w 2889213"/>
                <a:gd name="connsiteY3" fmla="*/ 1193615 h 1800456"/>
                <a:gd name="connsiteX4" fmla="*/ 2840612 w 2889213"/>
                <a:gd name="connsiteY4" fmla="*/ 1449135 h 1800456"/>
                <a:gd name="connsiteX5" fmla="*/ 2632493 w 2889213"/>
                <a:gd name="connsiteY5" fmla="*/ 1060062 h 1800456"/>
                <a:gd name="connsiteX6" fmla="*/ 2150164 w 2889213"/>
                <a:gd name="connsiteY6" fmla="*/ 113773 h 1800456"/>
                <a:gd name="connsiteX7" fmla="*/ 1348782 w 2889213"/>
                <a:gd name="connsiteY7" fmla="*/ 0 h 1800456"/>
                <a:gd name="connsiteX8" fmla="*/ 1714668 w 2889213"/>
                <a:gd name="connsiteY8" fmla="*/ 204372 h 1800456"/>
                <a:gd name="connsiteX9" fmla="*/ 1866896 w 2889213"/>
                <a:gd name="connsiteY9" fmla="*/ 462766 h 1800456"/>
                <a:gd name="connsiteX10" fmla="*/ 1973469 w 2889213"/>
                <a:gd name="connsiteY10" fmla="*/ 669299 h 1800456"/>
                <a:gd name="connsiteX11" fmla="*/ 1866010 w 2889213"/>
                <a:gd name="connsiteY11" fmla="*/ 762998 h 1800456"/>
                <a:gd name="connsiteX12" fmla="*/ 2733769 w 2889213"/>
                <a:gd name="connsiteY12" fmla="*/ 1271909 h 1800456"/>
                <a:gd name="connsiteX13" fmla="*/ 2694623 w 2889213"/>
                <a:gd name="connsiteY13" fmla="*/ 1524483 h 1800456"/>
                <a:gd name="connsiteX14" fmla="*/ 2385869 w 2889213"/>
                <a:gd name="connsiteY14" fmla="*/ 1470403 h 1800456"/>
                <a:gd name="connsiteX15" fmla="*/ 2191986 w 2889213"/>
                <a:gd name="connsiteY15" fmla="*/ 1800407 h 1800456"/>
                <a:gd name="connsiteX16" fmla="*/ 2074819 w 2889213"/>
                <a:gd name="connsiteY16" fmla="*/ 1450562 h 1800456"/>
                <a:gd name="connsiteX17" fmla="*/ 1739085 w 2889213"/>
                <a:gd name="connsiteY17" fmla="*/ 1756177 h 1800456"/>
                <a:gd name="connsiteX18" fmla="*/ 1648664 w 2889213"/>
                <a:gd name="connsiteY18" fmla="*/ 1466917 h 1800456"/>
                <a:gd name="connsiteX19" fmla="*/ 1376671 w 2889213"/>
                <a:gd name="connsiteY19" fmla="*/ 1585086 h 1800456"/>
                <a:gd name="connsiteX20" fmla="*/ 1415819 w 2889213"/>
                <a:gd name="connsiteY20" fmla="*/ 1219713 h 1800456"/>
                <a:gd name="connsiteX21" fmla="*/ 665501 w 2889213"/>
                <a:gd name="connsiteY21" fmla="*/ 1160992 h 1800456"/>
                <a:gd name="connsiteX22" fmla="*/ 0 w 2889213"/>
                <a:gd name="connsiteY22" fmla="*/ 1010928 h 1800456"/>
                <a:gd name="connsiteX23" fmla="*/ 13050 w 2889213"/>
                <a:gd name="connsiteY23" fmla="*/ 169268 h 1800456"/>
                <a:gd name="connsiteX24" fmla="*/ 1348782 w 2889213"/>
                <a:gd name="connsiteY24" fmla="*/ 0 h 1800456"/>
                <a:gd name="connsiteX0" fmla="*/ 2150164 w 2889213"/>
                <a:gd name="connsiteY0" fmla="*/ 113773 h 1811599"/>
                <a:gd name="connsiteX1" fmla="*/ 2655476 w 2889213"/>
                <a:gd name="connsiteY1" fmla="*/ 469395 h 1811599"/>
                <a:gd name="connsiteX2" fmla="*/ 2828170 w 2889213"/>
                <a:gd name="connsiteY2" fmla="*/ 895281 h 1811599"/>
                <a:gd name="connsiteX3" fmla="*/ 2883834 w 2889213"/>
                <a:gd name="connsiteY3" fmla="*/ 1193615 h 1811599"/>
                <a:gd name="connsiteX4" fmla="*/ 2840612 w 2889213"/>
                <a:gd name="connsiteY4" fmla="*/ 1449135 h 1811599"/>
                <a:gd name="connsiteX5" fmla="*/ 2632493 w 2889213"/>
                <a:gd name="connsiteY5" fmla="*/ 1060062 h 1811599"/>
                <a:gd name="connsiteX6" fmla="*/ 2150164 w 2889213"/>
                <a:gd name="connsiteY6" fmla="*/ 113773 h 1811599"/>
                <a:gd name="connsiteX7" fmla="*/ 1348782 w 2889213"/>
                <a:gd name="connsiteY7" fmla="*/ 0 h 1811599"/>
                <a:gd name="connsiteX8" fmla="*/ 1714668 w 2889213"/>
                <a:gd name="connsiteY8" fmla="*/ 204372 h 1811599"/>
                <a:gd name="connsiteX9" fmla="*/ 1866896 w 2889213"/>
                <a:gd name="connsiteY9" fmla="*/ 462766 h 1811599"/>
                <a:gd name="connsiteX10" fmla="*/ 1973469 w 2889213"/>
                <a:gd name="connsiteY10" fmla="*/ 669299 h 1811599"/>
                <a:gd name="connsiteX11" fmla="*/ 1866010 w 2889213"/>
                <a:gd name="connsiteY11" fmla="*/ 762998 h 1811599"/>
                <a:gd name="connsiteX12" fmla="*/ 2733769 w 2889213"/>
                <a:gd name="connsiteY12" fmla="*/ 1271909 h 1811599"/>
                <a:gd name="connsiteX13" fmla="*/ 2694623 w 2889213"/>
                <a:gd name="connsiteY13" fmla="*/ 1524483 h 1811599"/>
                <a:gd name="connsiteX14" fmla="*/ 2385869 w 2889213"/>
                <a:gd name="connsiteY14" fmla="*/ 1470403 h 1811599"/>
                <a:gd name="connsiteX15" fmla="*/ 2214278 w 2889213"/>
                <a:gd name="connsiteY15" fmla="*/ 1811553 h 1811599"/>
                <a:gd name="connsiteX16" fmla="*/ 2074819 w 2889213"/>
                <a:gd name="connsiteY16" fmla="*/ 1450562 h 1811599"/>
                <a:gd name="connsiteX17" fmla="*/ 1739085 w 2889213"/>
                <a:gd name="connsiteY17" fmla="*/ 1756177 h 1811599"/>
                <a:gd name="connsiteX18" fmla="*/ 1648664 w 2889213"/>
                <a:gd name="connsiteY18" fmla="*/ 1466917 h 1811599"/>
                <a:gd name="connsiteX19" fmla="*/ 1376671 w 2889213"/>
                <a:gd name="connsiteY19" fmla="*/ 1585086 h 1811599"/>
                <a:gd name="connsiteX20" fmla="*/ 1415819 w 2889213"/>
                <a:gd name="connsiteY20" fmla="*/ 1219713 h 1811599"/>
                <a:gd name="connsiteX21" fmla="*/ 665501 w 2889213"/>
                <a:gd name="connsiteY21" fmla="*/ 1160992 h 1811599"/>
                <a:gd name="connsiteX22" fmla="*/ 0 w 2889213"/>
                <a:gd name="connsiteY22" fmla="*/ 1010928 h 1811599"/>
                <a:gd name="connsiteX23" fmla="*/ 13050 w 2889213"/>
                <a:gd name="connsiteY23" fmla="*/ 169268 h 1811599"/>
                <a:gd name="connsiteX24" fmla="*/ 1348782 w 2889213"/>
                <a:gd name="connsiteY24" fmla="*/ 0 h 1811599"/>
                <a:gd name="connsiteX0" fmla="*/ 2150164 w 2889213"/>
                <a:gd name="connsiteY0" fmla="*/ 113773 h 1811553"/>
                <a:gd name="connsiteX1" fmla="*/ 2655476 w 2889213"/>
                <a:gd name="connsiteY1" fmla="*/ 469395 h 1811553"/>
                <a:gd name="connsiteX2" fmla="*/ 2828170 w 2889213"/>
                <a:gd name="connsiteY2" fmla="*/ 895281 h 1811553"/>
                <a:gd name="connsiteX3" fmla="*/ 2883834 w 2889213"/>
                <a:gd name="connsiteY3" fmla="*/ 1193615 h 1811553"/>
                <a:gd name="connsiteX4" fmla="*/ 2840612 w 2889213"/>
                <a:gd name="connsiteY4" fmla="*/ 1449135 h 1811553"/>
                <a:gd name="connsiteX5" fmla="*/ 2632493 w 2889213"/>
                <a:gd name="connsiteY5" fmla="*/ 1060062 h 1811553"/>
                <a:gd name="connsiteX6" fmla="*/ 2150164 w 2889213"/>
                <a:gd name="connsiteY6" fmla="*/ 113773 h 1811553"/>
                <a:gd name="connsiteX7" fmla="*/ 1348782 w 2889213"/>
                <a:gd name="connsiteY7" fmla="*/ 0 h 1811553"/>
                <a:gd name="connsiteX8" fmla="*/ 1714668 w 2889213"/>
                <a:gd name="connsiteY8" fmla="*/ 204372 h 1811553"/>
                <a:gd name="connsiteX9" fmla="*/ 1866896 w 2889213"/>
                <a:gd name="connsiteY9" fmla="*/ 462766 h 1811553"/>
                <a:gd name="connsiteX10" fmla="*/ 1973469 w 2889213"/>
                <a:gd name="connsiteY10" fmla="*/ 669299 h 1811553"/>
                <a:gd name="connsiteX11" fmla="*/ 1866010 w 2889213"/>
                <a:gd name="connsiteY11" fmla="*/ 762998 h 1811553"/>
                <a:gd name="connsiteX12" fmla="*/ 2733769 w 2889213"/>
                <a:gd name="connsiteY12" fmla="*/ 1271909 h 1811553"/>
                <a:gd name="connsiteX13" fmla="*/ 2694623 w 2889213"/>
                <a:gd name="connsiteY13" fmla="*/ 1524483 h 1811553"/>
                <a:gd name="connsiteX14" fmla="*/ 2385869 w 2889213"/>
                <a:gd name="connsiteY14" fmla="*/ 1470403 h 1811553"/>
                <a:gd name="connsiteX15" fmla="*/ 2214278 w 2889213"/>
                <a:gd name="connsiteY15" fmla="*/ 1811553 h 1811553"/>
                <a:gd name="connsiteX16" fmla="*/ 2074819 w 2889213"/>
                <a:gd name="connsiteY16" fmla="*/ 1450562 h 1811553"/>
                <a:gd name="connsiteX17" fmla="*/ 1739085 w 2889213"/>
                <a:gd name="connsiteY17" fmla="*/ 1756177 h 1811553"/>
                <a:gd name="connsiteX18" fmla="*/ 1648664 w 2889213"/>
                <a:gd name="connsiteY18" fmla="*/ 1466917 h 1811553"/>
                <a:gd name="connsiteX19" fmla="*/ 1376671 w 2889213"/>
                <a:gd name="connsiteY19" fmla="*/ 1585086 h 1811553"/>
                <a:gd name="connsiteX20" fmla="*/ 1415819 w 2889213"/>
                <a:gd name="connsiteY20" fmla="*/ 1219713 h 1811553"/>
                <a:gd name="connsiteX21" fmla="*/ 665501 w 2889213"/>
                <a:gd name="connsiteY21" fmla="*/ 1160992 h 1811553"/>
                <a:gd name="connsiteX22" fmla="*/ 0 w 2889213"/>
                <a:gd name="connsiteY22" fmla="*/ 1010928 h 1811553"/>
                <a:gd name="connsiteX23" fmla="*/ 13050 w 2889213"/>
                <a:gd name="connsiteY23" fmla="*/ 169268 h 1811553"/>
                <a:gd name="connsiteX24" fmla="*/ 1348782 w 2889213"/>
                <a:gd name="connsiteY24" fmla="*/ 0 h 1811553"/>
                <a:gd name="connsiteX0" fmla="*/ 2150164 w 2889213"/>
                <a:gd name="connsiteY0" fmla="*/ 113773 h 1811553"/>
                <a:gd name="connsiteX1" fmla="*/ 2655476 w 2889213"/>
                <a:gd name="connsiteY1" fmla="*/ 469395 h 1811553"/>
                <a:gd name="connsiteX2" fmla="*/ 2828170 w 2889213"/>
                <a:gd name="connsiteY2" fmla="*/ 895281 h 1811553"/>
                <a:gd name="connsiteX3" fmla="*/ 2883834 w 2889213"/>
                <a:gd name="connsiteY3" fmla="*/ 1193615 h 1811553"/>
                <a:gd name="connsiteX4" fmla="*/ 2840612 w 2889213"/>
                <a:gd name="connsiteY4" fmla="*/ 1449135 h 1811553"/>
                <a:gd name="connsiteX5" fmla="*/ 2632493 w 2889213"/>
                <a:gd name="connsiteY5" fmla="*/ 1060062 h 1811553"/>
                <a:gd name="connsiteX6" fmla="*/ 2150164 w 2889213"/>
                <a:gd name="connsiteY6" fmla="*/ 113773 h 1811553"/>
                <a:gd name="connsiteX7" fmla="*/ 1348782 w 2889213"/>
                <a:gd name="connsiteY7" fmla="*/ 0 h 1811553"/>
                <a:gd name="connsiteX8" fmla="*/ 1714668 w 2889213"/>
                <a:gd name="connsiteY8" fmla="*/ 204372 h 1811553"/>
                <a:gd name="connsiteX9" fmla="*/ 1866896 w 2889213"/>
                <a:gd name="connsiteY9" fmla="*/ 462766 h 1811553"/>
                <a:gd name="connsiteX10" fmla="*/ 1973469 w 2889213"/>
                <a:gd name="connsiteY10" fmla="*/ 669299 h 1811553"/>
                <a:gd name="connsiteX11" fmla="*/ 1866010 w 2889213"/>
                <a:gd name="connsiteY11" fmla="*/ 762998 h 1811553"/>
                <a:gd name="connsiteX12" fmla="*/ 2733769 w 2889213"/>
                <a:gd name="connsiteY12" fmla="*/ 1271909 h 1811553"/>
                <a:gd name="connsiteX13" fmla="*/ 2694623 w 2889213"/>
                <a:gd name="connsiteY13" fmla="*/ 1524483 h 1811553"/>
                <a:gd name="connsiteX14" fmla="*/ 2385869 w 2889213"/>
                <a:gd name="connsiteY14" fmla="*/ 1470403 h 1811553"/>
                <a:gd name="connsiteX15" fmla="*/ 2214278 w 2889213"/>
                <a:gd name="connsiteY15" fmla="*/ 1811553 h 1811553"/>
                <a:gd name="connsiteX16" fmla="*/ 2074819 w 2889213"/>
                <a:gd name="connsiteY16" fmla="*/ 1450562 h 1811553"/>
                <a:gd name="connsiteX17" fmla="*/ 1739085 w 2889213"/>
                <a:gd name="connsiteY17" fmla="*/ 1756177 h 1811553"/>
                <a:gd name="connsiteX18" fmla="*/ 1648664 w 2889213"/>
                <a:gd name="connsiteY18" fmla="*/ 1466917 h 1811553"/>
                <a:gd name="connsiteX19" fmla="*/ 1376671 w 2889213"/>
                <a:gd name="connsiteY19" fmla="*/ 1585086 h 1811553"/>
                <a:gd name="connsiteX20" fmla="*/ 1415819 w 2889213"/>
                <a:gd name="connsiteY20" fmla="*/ 1219713 h 1811553"/>
                <a:gd name="connsiteX21" fmla="*/ 665501 w 2889213"/>
                <a:gd name="connsiteY21" fmla="*/ 1160992 h 1811553"/>
                <a:gd name="connsiteX22" fmla="*/ 0 w 2889213"/>
                <a:gd name="connsiteY22" fmla="*/ 1010928 h 1811553"/>
                <a:gd name="connsiteX23" fmla="*/ 13050 w 2889213"/>
                <a:gd name="connsiteY23" fmla="*/ 169268 h 1811553"/>
                <a:gd name="connsiteX24" fmla="*/ 1348782 w 2889213"/>
                <a:gd name="connsiteY24" fmla="*/ 0 h 181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89213" h="1811553">
                  <a:moveTo>
                    <a:pt x="2150164" y="113773"/>
                  </a:moveTo>
                  <a:lnTo>
                    <a:pt x="2655476" y="469395"/>
                  </a:lnTo>
                  <a:cubicBezTo>
                    <a:pt x="2724937" y="612627"/>
                    <a:pt x="2790110" y="774578"/>
                    <a:pt x="2828170" y="895281"/>
                  </a:cubicBezTo>
                  <a:cubicBezTo>
                    <a:pt x="2845006" y="1009922"/>
                    <a:pt x="2872906" y="1094971"/>
                    <a:pt x="2883834" y="1193615"/>
                  </a:cubicBezTo>
                  <a:cubicBezTo>
                    <a:pt x="2898597" y="1276508"/>
                    <a:pt x="2882583" y="1383685"/>
                    <a:pt x="2840612" y="1449135"/>
                  </a:cubicBezTo>
                  <a:cubicBezTo>
                    <a:pt x="2801112" y="1388173"/>
                    <a:pt x="2764708" y="1276910"/>
                    <a:pt x="2632493" y="1060062"/>
                  </a:cubicBezTo>
                  <a:cubicBezTo>
                    <a:pt x="2521003" y="837054"/>
                    <a:pt x="2268591" y="370791"/>
                    <a:pt x="2150164" y="113773"/>
                  </a:cubicBezTo>
                  <a:close/>
                  <a:moveTo>
                    <a:pt x="1348782" y="0"/>
                  </a:moveTo>
                  <a:cubicBezTo>
                    <a:pt x="1445338" y="154432"/>
                    <a:pt x="1639668" y="165874"/>
                    <a:pt x="1714668" y="204372"/>
                  </a:cubicBezTo>
                  <a:cubicBezTo>
                    <a:pt x="1723722" y="285320"/>
                    <a:pt x="1831199" y="402612"/>
                    <a:pt x="1866896" y="462766"/>
                  </a:cubicBezTo>
                  <a:cubicBezTo>
                    <a:pt x="1913125" y="544588"/>
                    <a:pt x="1935949" y="596454"/>
                    <a:pt x="1973469" y="669299"/>
                  </a:cubicBezTo>
                  <a:cubicBezTo>
                    <a:pt x="1909251" y="682689"/>
                    <a:pt x="1863715" y="712895"/>
                    <a:pt x="1866010" y="762998"/>
                  </a:cubicBezTo>
                  <a:cubicBezTo>
                    <a:pt x="1884495" y="971782"/>
                    <a:pt x="2517373" y="1008755"/>
                    <a:pt x="2733769" y="1271909"/>
                  </a:cubicBezTo>
                  <a:cubicBezTo>
                    <a:pt x="2839248" y="1365427"/>
                    <a:pt x="2779441" y="1512521"/>
                    <a:pt x="2694623" y="1524483"/>
                  </a:cubicBezTo>
                  <a:cubicBezTo>
                    <a:pt x="2575007" y="1522308"/>
                    <a:pt x="2538107" y="1485627"/>
                    <a:pt x="2385869" y="1470403"/>
                  </a:cubicBezTo>
                  <a:cubicBezTo>
                    <a:pt x="2333676" y="1639614"/>
                    <a:pt x="2280982" y="1755416"/>
                    <a:pt x="2214278" y="1811553"/>
                  </a:cubicBezTo>
                  <a:cubicBezTo>
                    <a:pt x="2147576" y="1804531"/>
                    <a:pt x="2033271" y="1685187"/>
                    <a:pt x="2074819" y="1450562"/>
                  </a:cubicBezTo>
                  <a:cubicBezTo>
                    <a:pt x="1992109" y="1541380"/>
                    <a:pt x="1856720" y="1716561"/>
                    <a:pt x="1739085" y="1756177"/>
                  </a:cubicBezTo>
                  <a:cubicBezTo>
                    <a:pt x="1647742" y="1688758"/>
                    <a:pt x="1625791" y="1561162"/>
                    <a:pt x="1648664" y="1466917"/>
                  </a:cubicBezTo>
                  <a:cubicBezTo>
                    <a:pt x="1575908" y="1517602"/>
                    <a:pt x="1475987" y="1575732"/>
                    <a:pt x="1376671" y="1585086"/>
                  </a:cubicBezTo>
                  <a:cubicBezTo>
                    <a:pt x="1265755" y="1421973"/>
                    <a:pt x="1344050" y="1304532"/>
                    <a:pt x="1415819" y="1219713"/>
                  </a:cubicBezTo>
                  <a:cubicBezTo>
                    <a:pt x="1106992" y="1284958"/>
                    <a:pt x="922130" y="1226237"/>
                    <a:pt x="665501" y="1160992"/>
                  </a:cubicBezTo>
                  <a:cubicBezTo>
                    <a:pt x="467591" y="1128369"/>
                    <a:pt x="282729" y="1004403"/>
                    <a:pt x="0" y="1010928"/>
                  </a:cubicBezTo>
                  <a:lnTo>
                    <a:pt x="13050" y="169268"/>
                  </a:lnTo>
                  <a:cubicBezTo>
                    <a:pt x="722590" y="234513"/>
                    <a:pt x="1132701" y="28762"/>
                    <a:pt x="1348782" y="0"/>
                  </a:cubicBezTo>
                  <a:close/>
                </a:path>
              </a:pathLst>
            </a:custGeom>
            <a:gradFill>
              <a:gsLst>
                <a:gs pos="0">
                  <a:schemeClr val="accent2">
                    <a:lumMod val="50000"/>
                    <a:lumOff val="50000"/>
                  </a:schemeClr>
                </a:gs>
                <a:gs pos="100000">
                  <a:schemeClr val="accent2">
                    <a:lumMod val="50000"/>
                    <a:lumOff val="50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40" name="Group 39">
            <a:extLst>
              <a:ext uri="{FF2B5EF4-FFF2-40B4-BE49-F238E27FC236}">
                <a16:creationId xmlns:a16="http://schemas.microsoft.com/office/drawing/2014/main" id="{B559D579-AF38-964A-A5A9-A868988EB4D1}"/>
              </a:ext>
            </a:extLst>
          </p:cNvPr>
          <p:cNvGrpSpPr>
            <a:grpSpLocks noChangeAspect="1"/>
          </p:cNvGrpSpPr>
          <p:nvPr/>
        </p:nvGrpSpPr>
        <p:grpSpPr>
          <a:xfrm>
            <a:off x="7352689" y="3134107"/>
            <a:ext cx="2139756" cy="2707197"/>
            <a:chOff x="4418825" y="1666106"/>
            <a:chExt cx="3563188" cy="4508108"/>
          </a:xfrm>
        </p:grpSpPr>
        <p:grpSp>
          <p:nvGrpSpPr>
            <p:cNvPr id="41" name="그룹 7">
              <a:extLst>
                <a:ext uri="{FF2B5EF4-FFF2-40B4-BE49-F238E27FC236}">
                  <a16:creationId xmlns:a16="http://schemas.microsoft.com/office/drawing/2014/main" id="{99FFD67D-7A5D-D044-8F0F-C9A4E37D0FE7}"/>
                </a:ext>
              </a:extLst>
            </p:cNvPr>
            <p:cNvGrpSpPr/>
            <p:nvPr/>
          </p:nvGrpSpPr>
          <p:grpSpPr>
            <a:xfrm rot="10800000" flipV="1">
              <a:off x="4428972" y="4647552"/>
              <a:ext cx="3553041" cy="1526662"/>
              <a:chOff x="1541839" y="2217893"/>
              <a:chExt cx="2159832" cy="928031"/>
            </a:xfrm>
            <a:solidFill>
              <a:schemeClr val="accent3"/>
            </a:solidFill>
          </p:grpSpPr>
          <p:grpSp>
            <p:nvGrpSpPr>
              <p:cNvPr id="79" name="그룹 8">
                <a:extLst>
                  <a:ext uri="{FF2B5EF4-FFF2-40B4-BE49-F238E27FC236}">
                    <a16:creationId xmlns:a16="http://schemas.microsoft.com/office/drawing/2014/main" id="{32908692-66D9-A54A-A73E-859F4CFA565F}"/>
                  </a:ext>
                </a:extLst>
              </p:cNvPr>
              <p:cNvGrpSpPr/>
              <p:nvPr/>
            </p:nvGrpSpPr>
            <p:grpSpPr>
              <a:xfrm>
                <a:off x="1774163" y="2217893"/>
                <a:ext cx="1927508" cy="852379"/>
                <a:chOff x="1774163" y="2217893"/>
                <a:chExt cx="1927508" cy="852379"/>
              </a:xfrm>
              <a:grpFill/>
            </p:grpSpPr>
            <p:sp>
              <p:nvSpPr>
                <p:cNvPr id="81" name="Freeform 18">
                  <a:extLst>
                    <a:ext uri="{FF2B5EF4-FFF2-40B4-BE49-F238E27FC236}">
                      <a16:creationId xmlns:a16="http://schemas.microsoft.com/office/drawing/2014/main" id="{A26DF4AA-98EC-3146-8F20-00F0B7112D64}"/>
                    </a:ext>
                  </a:extLst>
                </p:cNvPr>
                <p:cNvSpPr/>
                <p:nvPr/>
              </p:nvSpPr>
              <p:spPr>
                <a:xfrm flipH="1">
                  <a:off x="1774163" y="2350717"/>
                  <a:ext cx="1600825" cy="719555"/>
                </a:xfrm>
                <a:custGeom>
                  <a:avLst/>
                  <a:gdLst>
                    <a:gd name="connsiteX0" fmla="*/ 4126727 w 4126727"/>
                    <a:gd name="connsiteY0" fmla="*/ 866693 h 1836752"/>
                    <a:gd name="connsiteX1" fmla="*/ 2782957 w 4126727"/>
                    <a:gd name="connsiteY1" fmla="*/ 0 h 1836752"/>
                    <a:gd name="connsiteX2" fmla="*/ 2703444 w 4126727"/>
                    <a:gd name="connsiteY2" fmla="*/ 7952 h 1836752"/>
                    <a:gd name="connsiteX3" fmla="*/ 1375576 w 4126727"/>
                    <a:gd name="connsiteY3" fmla="*/ 326004 h 1836752"/>
                    <a:gd name="connsiteX4" fmla="*/ 0 w 4126727"/>
                    <a:gd name="connsiteY4" fmla="*/ 477079 h 1836752"/>
                    <a:gd name="connsiteX5" fmla="*/ 1574358 w 4126727"/>
                    <a:gd name="connsiteY5" fmla="*/ 898498 h 1836752"/>
                    <a:gd name="connsiteX6" fmla="*/ 2576223 w 4126727"/>
                    <a:gd name="connsiteY6" fmla="*/ 1280160 h 1836752"/>
                    <a:gd name="connsiteX7" fmla="*/ 3267986 w 4126727"/>
                    <a:gd name="connsiteY7" fmla="*/ 1836752 h 1836752"/>
                    <a:gd name="connsiteX8" fmla="*/ 4126727 w 4126727"/>
                    <a:gd name="connsiteY8" fmla="*/ 866693 h 1836752"/>
                    <a:gd name="connsiteX0" fmla="*/ 4126727 w 4126727"/>
                    <a:gd name="connsiteY0" fmla="*/ 884466 h 1854525"/>
                    <a:gd name="connsiteX1" fmla="*/ 2782957 w 4126727"/>
                    <a:gd name="connsiteY1" fmla="*/ 17773 h 1854525"/>
                    <a:gd name="connsiteX2" fmla="*/ 2703444 w 4126727"/>
                    <a:gd name="connsiteY2" fmla="*/ 25725 h 1854525"/>
                    <a:gd name="connsiteX3" fmla="*/ 1375576 w 4126727"/>
                    <a:gd name="connsiteY3" fmla="*/ 343777 h 1854525"/>
                    <a:gd name="connsiteX4" fmla="*/ 0 w 4126727"/>
                    <a:gd name="connsiteY4" fmla="*/ 494852 h 1854525"/>
                    <a:gd name="connsiteX5" fmla="*/ 1574358 w 4126727"/>
                    <a:gd name="connsiteY5" fmla="*/ 916271 h 1854525"/>
                    <a:gd name="connsiteX6" fmla="*/ 2576223 w 4126727"/>
                    <a:gd name="connsiteY6" fmla="*/ 1297933 h 1854525"/>
                    <a:gd name="connsiteX7" fmla="*/ 3267986 w 4126727"/>
                    <a:gd name="connsiteY7" fmla="*/ 1854525 h 1854525"/>
                    <a:gd name="connsiteX8" fmla="*/ 4126727 w 4126727"/>
                    <a:gd name="connsiteY8" fmla="*/ 884466 h 1854525"/>
                    <a:gd name="connsiteX0" fmla="*/ 1375576 w 4126727"/>
                    <a:gd name="connsiteY0" fmla="*/ 331865 h 1842613"/>
                    <a:gd name="connsiteX1" fmla="*/ 0 w 4126727"/>
                    <a:gd name="connsiteY1" fmla="*/ 482940 h 1842613"/>
                    <a:gd name="connsiteX2" fmla="*/ 1574358 w 4126727"/>
                    <a:gd name="connsiteY2" fmla="*/ 904359 h 1842613"/>
                    <a:gd name="connsiteX3" fmla="*/ 2576223 w 4126727"/>
                    <a:gd name="connsiteY3" fmla="*/ 1286021 h 1842613"/>
                    <a:gd name="connsiteX4" fmla="*/ 3267986 w 4126727"/>
                    <a:gd name="connsiteY4" fmla="*/ 1842613 h 1842613"/>
                    <a:gd name="connsiteX5" fmla="*/ 4126727 w 4126727"/>
                    <a:gd name="connsiteY5" fmla="*/ 872554 h 1842613"/>
                    <a:gd name="connsiteX6" fmla="*/ 2782957 w 4126727"/>
                    <a:gd name="connsiteY6" fmla="*/ 5861 h 1842613"/>
                    <a:gd name="connsiteX7" fmla="*/ 2794884 w 4126727"/>
                    <a:gd name="connsiteY7" fmla="*/ 105253 h 1842613"/>
                    <a:gd name="connsiteX0" fmla="*/ 1375576 w 4126727"/>
                    <a:gd name="connsiteY0" fmla="*/ 326004 h 1836752"/>
                    <a:gd name="connsiteX1" fmla="*/ 0 w 4126727"/>
                    <a:gd name="connsiteY1" fmla="*/ 477079 h 1836752"/>
                    <a:gd name="connsiteX2" fmla="*/ 1574358 w 4126727"/>
                    <a:gd name="connsiteY2" fmla="*/ 898498 h 1836752"/>
                    <a:gd name="connsiteX3" fmla="*/ 2576223 w 4126727"/>
                    <a:gd name="connsiteY3" fmla="*/ 1280160 h 1836752"/>
                    <a:gd name="connsiteX4" fmla="*/ 3267986 w 4126727"/>
                    <a:gd name="connsiteY4" fmla="*/ 1836752 h 1836752"/>
                    <a:gd name="connsiteX5" fmla="*/ 4126727 w 4126727"/>
                    <a:gd name="connsiteY5" fmla="*/ 866693 h 1836752"/>
                    <a:gd name="connsiteX6" fmla="*/ 2782957 w 4126727"/>
                    <a:gd name="connsiteY6" fmla="*/ 0 h 1836752"/>
                    <a:gd name="connsiteX0" fmla="*/ 1375576 w 4126727"/>
                    <a:gd name="connsiteY0" fmla="*/ 326004 h 1836752"/>
                    <a:gd name="connsiteX1" fmla="*/ 0 w 4126727"/>
                    <a:gd name="connsiteY1" fmla="*/ 477079 h 1836752"/>
                    <a:gd name="connsiteX2" fmla="*/ 1574358 w 4126727"/>
                    <a:gd name="connsiteY2" fmla="*/ 898498 h 1836752"/>
                    <a:gd name="connsiteX3" fmla="*/ 2576223 w 4126727"/>
                    <a:gd name="connsiteY3" fmla="*/ 1280160 h 1836752"/>
                    <a:gd name="connsiteX4" fmla="*/ 3267986 w 4126727"/>
                    <a:gd name="connsiteY4" fmla="*/ 1836752 h 1836752"/>
                    <a:gd name="connsiteX5" fmla="*/ 4126727 w 4126727"/>
                    <a:gd name="connsiteY5" fmla="*/ 866693 h 1836752"/>
                    <a:gd name="connsiteX6" fmla="*/ 2782957 w 4126727"/>
                    <a:gd name="connsiteY6" fmla="*/ 0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1375576 w 4063117"/>
                    <a:gd name="connsiteY7" fmla="*/ 326004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1375576 w 4063117"/>
                    <a:gd name="connsiteY7" fmla="*/ 326004 h 1836752"/>
                    <a:gd name="connsiteX0" fmla="*/ 1375576 w 4063117"/>
                    <a:gd name="connsiteY0" fmla="*/ 390578 h 1901326"/>
                    <a:gd name="connsiteX1" fmla="*/ 0 w 4063117"/>
                    <a:gd name="connsiteY1" fmla="*/ 541653 h 1901326"/>
                    <a:gd name="connsiteX2" fmla="*/ 1574358 w 4063117"/>
                    <a:gd name="connsiteY2" fmla="*/ 963072 h 1901326"/>
                    <a:gd name="connsiteX3" fmla="*/ 2576223 w 4063117"/>
                    <a:gd name="connsiteY3" fmla="*/ 1344734 h 1901326"/>
                    <a:gd name="connsiteX4" fmla="*/ 3267986 w 4063117"/>
                    <a:gd name="connsiteY4" fmla="*/ 1901326 h 1901326"/>
                    <a:gd name="connsiteX5" fmla="*/ 4063117 w 4063117"/>
                    <a:gd name="connsiteY5" fmla="*/ 994878 h 1901326"/>
                    <a:gd name="connsiteX6" fmla="*/ 2782957 w 4063117"/>
                    <a:gd name="connsiteY6" fmla="*/ 64574 h 1901326"/>
                    <a:gd name="connsiteX7" fmla="*/ 2178658 w 4063117"/>
                    <a:gd name="connsiteY7" fmla="*/ 96380 h 1901326"/>
                    <a:gd name="connsiteX8" fmla="*/ 1375576 w 4063117"/>
                    <a:gd name="connsiteY8" fmla="*/ 390578 h 1901326"/>
                    <a:gd name="connsiteX0" fmla="*/ 1375576 w 4063117"/>
                    <a:gd name="connsiteY0" fmla="*/ 383650 h 1894398"/>
                    <a:gd name="connsiteX1" fmla="*/ 0 w 4063117"/>
                    <a:gd name="connsiteY1" fmla="*/ 534725 h 1894398"/>
                    <a:gd name="connsiteX2" fmla="*/ 1574358 w 4063117"/>
                    <a:gd name="connsiteY2" fmla="*/ 956144 h 1894398"/>
                    <a:gd name="connsiteX3" fmla="*/ 2576223 w 4063117"/>
                    <a:gd name="connsiteY3" fmla="*/ 1337806 h 1894398"/>
                    <a:gd name="connsiteX4" fmla="*/ 3267986 w 4063117"/>
                    <a:gd name="connsiteY4" fmla="*/ 1894398 h 1894398"/>
                    <a:gd name="connsiteX5" fmla="*/ 4063117 w 4063117"/>
                    <a:gd name="connsiteY5" fmla="*/ 987950 h 1894398"/>
                    <a:gd name="connsiteX6" fmla="*/ 2782957 w 4063117"/>
                    <a:gd name="connsiteY6" fmla="*/ 57646 h 1894398"/>
                    <a:gd name="connsiteX7" fmla="*/ 2178658 w 4063117"/>
                    <a:gd name="connsiteY7" fmla="*/ 89452 h 1894398"/>
                    <a:gd name="connsiteX8" fmla="*/ 1375576 w 4063117"/>
                    <a:gd name="connsiteY8" fmla="*/ 383650 h 1894398"/>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2178658 w 4063117"/>
                    <a:gd name="connsiteY7" fmla="*/ 31806 h 1836752"/>
                    <a:gd name="connsiteX8" fmla="*/ 1375576 w 4063117"/>
                    <a:gd name="connsiteY8" fmla="*/ 326004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2178658 w 4063117"/>
                    <a:gd name="connsiteY7" fmla="*/ 31806 h 1836752"/>
                    <a:gd name="connsiteX8" fmla="*/ 1375576 w 4063117"/>
                    <a:gd name="connsiteY8" fmla="*/ 326004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2178658 w 4063117"/>
                    <a:gd name="connsiteY7" fmla="*/ 31806 h 1836752"/>
                    <a:gd name="connsiteX8" fmla="*/ 1375576 w 4063117"/>
                    <a:gd name="connsiteY8" fmla="*/ 326004 h 1836752"/>
                    <a:gd name="connsiteX0" fmla="*/ 1375576 w 4063117"/>
                    <a:gd name="connsiteY0" fmla="*/ 326004 h 1836752"/>
                    <a:gd name="connsiteX1" fmla="*/ 0 w 4063117"/>
                    <a:gd name="connsiteY1" fmla="*/ 477079 h 1836752"/>
                    <a:gd name="connsiteX2" fmla="*/ 1574358 w 4063117"/>
                    <a:gd name="connsiteY2" fmla="*/ 898498 h 1836752"/>
                    <a:gd name="connsiteX3" fmla="*/ 2576223 w 4063117"/>
                    <a:gd name="connsiteY3" fmla="*/ 1280160 h 1836752"/>
                    <a:gd name="connsiteX4" fmla="*/ 3267986 w 4063117"/>
                    <a:gd name="connsiteY4" fmla="*/ 1836752 h 1836752"/>
                    <a:gd name="connsiteX5" fmla="*/ 4063117 w 4063117"/>
                    <a:gd name="connsiteY5" fmla="*/ 930304 h 1836752"/>
                    <a:gd name="connsiteX6" fmla="*/ 2782957 w 4063117"/>
                    <a:gd name="connsiteY6" fmla="*/ 0 h 1836752"/>
                    <a:gd name="connsiteX7" fmla="*/ 2178658 w 4063117"/>
                    <a:gd name="connsiteY7" fmla="*/ 31806 h 1836752"/>
                    <a:gd name="connsiteX8" fmla="*/ 1375576 w 4063117"/>
                    <a:gd name="connsiteY8" fmla="*/ 326004 h 1836752"/>
                    <a:gd name="connsiteX0" fmla="*/ 1419093 w 4106634"/>
                    <a:gd name="connsiteY0" fmla="*/ 326004 h 1836752"/>
                    <a:gd name="connsiteX1" fmla="*/ 43517 w 4106634"/>
                    <a:gd name="connsiteY1" fmla="*/ 477079 h 1836752"/>
                    <a:gd name="connsiteX2" fmla="*/ 1617875 w 4106634"/>
                    <a:gd name="connsiteY2" fmla="*/ 898498 h 1836752"/>
                    <a:gd name="connsiteX3" fmla="*/ 2619740 w 4106634"/>
                    <a:gd name="connsiteY3" fmla="*/ 1280160 h 1836752"/>
                    <a:gd name="connsiteX4" fmla="*/ 3311503 w 4106634"/>
                    <a:gd name="connsiteY4" fmla="*/ 1836752 h 1836752"/>
                    <a:gd name="connsiteX5" fmla="*/ 4106634 w 4106634"/>
                    <a:gd name="connsiteY5" fmla="*/ 930304 h 1836752"/>
                    <a:gd name="connsiteX6" fmla="*/ 2826474 w 4106634"/>
                    <a:gd name="connsiteY6" fmla="*/ 0 h 1836752"/>
                    <a:gd name="connsiteX7" fmla="*/ 2222175 w 4106634"/>
                    <a:gd name="connsiteY7" fmla="*/ 31806 h 1836752"/>
                    <a:gd name="connsiteX8" fmla="*/ 1419093 w 4106634"/>
                    <a:gd name="connsiteY8" fmla="*/ 326004 h 1836752"/>
                    <a:gd name="connsiteX0" fmla="*/ 1419093 w 4106634"/>
                    <a:gd name="connsiteY0" fmla="*/ 326004 h 1836752"/>
                    <a:gd name="connsiteX1" fmla="*/ 43517 w 4106634"/>
                    <a:gd name="connsiteY1" fmla="*/ 477079 h 1836752"/>
                    <a:gd name="connsiteX2" fmla="*/ 1617875 w 4106634"/>
                    <a:gd name="connsiteY2" fmla="*/ 898498 h 1836752"/>
                    <a:gd name="connsiteX3" fmla="*/ 2619740 w 4106634"/>
                    <a:gd name="connsiteY3" fmla="*/ 1280160 h 1836752"/>
                    <a:gd name="connsiteX4" fmla="*/ 3311503 w 4106634"/>
                    <a:gd name="connsiteY4" fmla="*/ 1836752 h 1836752"/>
                    <a:gd name="connsiteX5" fmla="*/ 4106634 w 4106634"/>
                    <a:gd name="connsiteY5" fmla="*/ 930304 h 1836752"/>
                    <a:gd name="connsiteX6" fmla="*/ 2826474 w 4106634"/>
                    <a:gd name="connsiteY6" fmla="*/ 0 h 1836752"/>
                    <a:gd name="connsiteX7" fmla="*/ 2222175 w 4106634"/>
                    <a:gd name="connsiteY7" fmla="*/ 31806 h 1836752"/>
                    <a:gd name="connsiteX8" fmla="*/ 1419093 w 4106634"/>
                    <a:gd name="connsiteY8" fmla="*/ 326004 h 1836752"/>
                    <a:gd name="connsiteX0" fmla="*/ 1424462 w 4112003"/>
                    <a:gd name="connsiteY0" fmla="*/ 326004 h 1836752"/>
                    <a:gd name="connsiteX1" fmla="*/ 48886 w 4112003"/>
                    <a:gd name="connsiteY1" fmla="*/ 477079 h 1836752"/>
                    <a:gd name="connsiteX2" fmla="*/ 1623244 w 4112003"/>
                    <a:gd name="connsiteY2" fmla="*/ 898498 h 1836752"/>
                    <a:gd name="connsiteX3" fmla="*/ 2625109 w 4112003"/>
                    <a:gd name="connsiteY3" fmla="*/ 1280160 h 1836752"/>
                    <a:gd name="connsiteX4" fmla="*/ 3316872 w 4112003"/>
                    <a:gd name="connsiteY4" fmla="*/ 1836752 h 1836752"/>
                    <a:gd name="connsiteX5" fmla="*/ 4112003 w 4112003"/>
                    <a:gd name="connsiteY5" fmla="*/ 930304 h 1836752"/>
                    <a:gd name="connsiteX6" fmla="*/ 2831843 w 4112003"/>
                    <a:gd name="connsiteY6" fmla="*/ 0 h 1836752"/>
                    <a:gd name="connsiteX7" fmla="*/ 2227544 w 4112003"/>
                    <a:gd name="connsiteY7" fmla="*/ 31806 h 1836752"/>
                    <a:gd name="connsiteX8" fmla="*/ 1424462 w 4112003"/>
                    <a:gd name="connsiteY8" fmla="*/ 326004 h 1836752"/>
                    <a:gd name="connsiteX0" fmla="*/ 1424462 w 4112003"/>
                    <a:gd name="connsiteY0" fmla="*/ 326004 h 1836752"/>
                    <a:gd name="connsiteX1" fmla="*/ 48886 w 4112003"/>
                    <a:gd name="connsiteY1" fmla="*/ 477079 h 1836752"/>
                    <a:gd name="connsiteX2" fmla="*/ 1623244 w 4112003"/>
                    <a:gd name="connsiteY2" fmla="*/ 898498 h 1836752"/>
                    <a:gd name="connsiteX3" fmla="*/ 2132129 w 4112003"/>
                    <a:gd name="connsiteY3" fmla="*/ 993914 h 1836752"/>
                    <a:gd name="connsiteX4" fmla="*/ 2625109 w 4112003"/>
                    <a:gd name="connsiteY4" fmla="*/ 1280160 h 1836752"/>
                    <a:gd name="connsiteX5" fmla="*/ 3316872 w 4112003"/>
                    <a:gd name="connsiteY5" fmla="*/ 1836752 h 1836752"/>
                    <a:gd name="connsiteX6" fmla="*/ 4112003 w 4112003"/>
                    <a:gd name="connsiteY6" fmla="*/ 930304 h 1836752"/>
                    <a:gd name="connsiteX7" fmla="*/ 2831843 w 4112003"/>
                    <a:gd name="connsiteY7" fmla="*/ 0 h 1836752"/>
                    <a:gd name="connsiteX8" fmla="*/ 2227544 w 4112003"/>
                    <a:gd name="connsiteY8" fmla="*/ 31806 h 1836752"/>
                    <a:gd name="connsiteX9" fmla="*/ 1424462 w 4112003"/>
                    <a:gd name="connsiteY9" fmla="*/ 326004 h 1836752"/>
                    <a:gd name="connsiteX0" fmla="*/ 1435225 w 4122766"/>
                    <a:gd name="connsiteY0" fmla="*/ 326004 h 1836752"/>
                    <a:gd name="connsiteX1" fmla="*/ 59649 w 4122766"/>
                    <a:gd name="connsiteY1" fmla="*/ 477079 h 1836752"/>
                    <a:gd name="connsiteX2" fmla="*/ 1634007 w 4122766"/>
                    <a:gd name="connsiteY2" fmla="*/ 898498 h 1836752"/>
                    <a:gd name="connsiteX3" fmla="*/ 2142892 w 4122766"/>
                    <a:gd name="connsiteY3" fmla="*/ 993914 h 1836752"/>
                    <a:gd name="connsiteX4" fmla="*/ 2635872 w 4122766"/>
                    <a:gd name="connsiteY4" fmla="*/ 1280160 h 1836752"/>
                    <a:gd name="connsiteX5" fmla="*/ 3327635 w 4122766"/>
                    <a:gd name="connsiteY5" fmla="*/ 1836752 h 1836752"/>
                    <a:gd name="connsiteX6" fmla="*/ 4122766 w 4122766"/>
                    <a:gd name="connsiteY6" fmla="*/ 930304 h 1836752"/>
                    <a:gd name="connsiteX7" fmla="*/ 2842606 w 4122766"/>
                    <a:gd name="connsiteY7" fmla="*/ 0 h 1836752"/>
                    <a:gd name="connsiteX8" fmla="*/ 2238307 w 4122766"/>
                    <a:gd name="connsiteY8" fmla="*/ 31806 h 1836752"/>
                    <a:gd name="connsiteX9" fmla="*/ 1435225 w 4122766"/>
                    <a:gd name="connsiteY9" fmla="*/ 326004 h 1836752"/>
                    <a:gd name="connsiteX0" fmla="*/ 1435225 w 4122766"/>
                    <a:gd name="connsiteY0" fmla="*/ 326004 h 1836752"/>
                    <a:gd name="connsiteX1" fmla="*/ 59649 w 4122766"/>
                    <a:gd name="connsiteY1" fmla="*/ 477079 h 1836752"/>
                    <a:gd name="connsiteX2" fmla="*/ 1634007 w 4122766"/>
                    <a:gd name="connsiteY2" fmla="*/ 898498 h 1836752"/>
                    <a:gd name="connsiteX3" fmla="*/ 2142892 w 4122766"/>
                    <a:gd name="connsiteY3" fmla="*/ 993914 h 1836752"/>
                    <a:gd name="connsiteX4" fmla="*/ 2635872 w 4122766"/>
                    <a:gd name="connsiteY4" fmla="*/ 1280160 h 1836752"/>
                    <a:gd name="connsiteX5" fmla="*/ 3327635 w 4122766"/>
                    <a:gd name="connsiteY5" fmla="*/ 1836752 h 1836752"/>
                    <a:gd name="connsiteX6" fmla="*/ 4122766 w 4122766"/>
                    <a:gd name="connsiteY6" fmla="*/ 930304 h 1836752"/>
                    <a:gd name="connsiteX7" fmla="*/ 2842606 w 4122766"/>
                    <a:gd name="connsiteY7" fmla="*/ 0 h 1836752"/>
                    <a:gd name="connsiteX8" fmla="*/ 2238307 w 4122766"/>
                    <a:gd name="connsiteY8" fmla="*/ 31806 h 1836752"/>
                    <a:gd name="connsiteX9" fmla="*/ 1435225 w 4122766"/>
                    <a:gd name="connsiteY9" fmla="*/ 326004 h 1836752"/>
                    <a:gd name="connsiteX0" fmla="*/ 1435225 w 4122766"/>
                    <a:gd name="connsiteY0" fmla="*/ 338408 h 1849156"/>
                    <a:gd name="connsiteX1" fmla="*/ 59649 w 4122766"/>
                    <a:gd name="connsiteY1" fmla="*/ 489483 h 1849156"/>
                    <a:gd name="connsiteX2" fmla="*/ 1634007 w 4122766"/>
                    <a:gd name="connsiteY2" fmla="*/ 910902 h 1849156"/>
                    <a:gd name="connsiteX3" fmla="*/ 2142892 w 4122766"/>
                    <a:gd name="connsiteY3" fmla="*/ 1006318 h 1849156"/>
                    <a:gd name="connsiteX4" fmla="*/ 2635872 w 4122766"/>
                    <a:gd name="connsiteY4" fmla="*/ 1292564 h 1849156"/>
                    <a:gd name="connsiteX5" fmla="*/ 3327635 w 4122766"/>
                    <a:gd name="connsiteY5" fmla="*/ 1849156 h 1849156"/>
                    <a:gd name="connsiteX6" fmla="*/ 4122766 w 4122766"/>
                    <a:gd name="connsiteY6" fmla="*/ 942708 h 1849156"/>
                    <a:gd name="connsiteX7" fmla="*/ 2842606 w 4122766"/>
                    <a:gd name="connsiteY7" fmla="*/ 12404 h 1849156"/>
                    <a:gd name="connsiteX8" fmla="*/ 2238307 w 4122766"/>
                    <a:gd name="connsiteY8" fmla="*/ 44210 h 1849156"/>
                    <a:gd name="connsiteX9" fmla="*/ 1435225 w 4122766"/>
                    <a:gd name="connsiteY9" fmla="*/ 338408 h 1849156"/>
                    <a:gd name="connsiteX0" fmla="*/ 1435225 w 4122766"/>
                    <a:gd name="connsiteY0" fmla="*/ 354916 h 1865664"/>
                    <a:gd name="connsiteX1" fmla="*/ 59649 w 4122766"/>
                    <a:gd name="connsiteY1" fmla="*/ 505991 h 1865664"/>
                    <a:gd name="connsiteX2" fmla="*/ 1634007 w 4122766"/>
                    <a:gd name="connsiteY2" fmla="*/ 927410 h 1865664"/>
                    <a:gd name="connsiteX3" fmla="*/ 2142892 w 4122766"/>
                    <a:gd name="connsiteY3" fmla="*/ 1022826 h 1865664"/>
                    <a:gd name="connsiteX4" fmla="*/ 2635872 w 4122766"/>
                    <a:gd name="connsiteY4" fmla="*/ 1309072 h 1865664"/>
                    <a:gd name="connsiteX5" fmla="*/ 3327635 w 4122766"/>
                    <a:gd name="connsiteY5" fmla="*/ 1865664 h 1865664"/>
                    <a:gd name="connsiteX6" fmla="*/ 4122766 w 4122766"/>
                    <a:gd name="connsiteY6" fmla="*/ 959216 h 1865664"/>
                    <a:gd name="connsiteX7" fmla="*/ 2842606 w 4122766"/>
                    <a:gd name="connsiteY7" fmla="*/ 28912 h 1865664"/>
                    <a:gd name="connsiteX8" fmla="*/ 2238307 w 4122766"/>
                    <a:gd name="connsiteY8" fmla="*/ 60718 h 1865664"/>
                    <a:gd name="connsiteX9" fmla="*/ 1435225 w 4122766"/>
                    <a:gd name="connsiteY9" fmla="*/ 354916 h 1865664"/>
                    <a:gd name="connsiteX0" fmla="*/ 1435225 w 4122766"/>
                    <a:gd name="connsiteY0" fmla="*/ 354916 h 1865664"/>
                    <a:gd name="connsiteX1" fmla="*/ 59649 w 4122766"/>
                    <a:gd name="connsiteY1" fmla="*/ 505991 h 1865664"/>
                    <a:gd name="connsiteX2" fmla="*/ 1634007 w 4122766"/>
                    <a:gd name="connsiteY2" fmla="*/ 927410 h 1865664"/>
                    <a:gd name="connsiteX3" fmla="*/ 2142892 w 4122766"/>
                    <a:gd name="connsiteY3" fmla="*/ 1022826 h 1865664"/>
                    <a:gd name="connsiteX4" fmla="*/ 2635872 w 4122766"/>
                    <a:gd name="connsiteY4" fmla="*/ 1309072 h 1865664"/>
                    <a:gd name="connsiteX5" fmla="*/ 3327635 w 4122766"/>
                    <a:gd name="connsiteY5" fmla="*/ 1865664 h 1865664"/>
                    <a:gd name="connsiteX6" fmla="*/ 4122766 w 4122766"/>
                    <a:gd name="connsiteY6" fmla="*/ 959216 h 1865664"/>
                    <a:gd name="connsiteX7" fmla="*/ 2842606 w 4122766"/>
                    <a:gd name="connsiteY7" fmla="*/ 28912 h 1865664"/>
                    <a:gd name="connsiteX8" fmla="*/ 2238307 w 4122766"/>
                    <a:gd name="connsiteY8" fmla="*/ 60718 h 1865664"/>
                    <a:gd name="connsiteX9" fmla="*/ 1435225 w 4122766"/>
                    <a:gd name="connsiteY9" fmla="*/ 354916 h 1865664"/>
                    <a:gd name="connsiteX0" fmla="*/ 1435225 w 4122766"/>
                    <a:gd name="connsiteY0" fmla="*/ 339809 h 1850557"/>
                    <a:gd name="connsiteX1" fmla="*/ 59649 w 4122766"/>
                    <a:gd name="connsiteY1" fmla="*/ 490884 h 1850557"/>
                    <a:gd name="connsiteX2" fmla="*/ 1634007 w 4122766"/>
                    <a:gd name="connsiteY2" fmla="*/ 912303 h 1850557"/>
                    <a:gd name="connsiteX3" fmla="*/ 2142892 w 4122766"/>
                    <a:gd name="connsiteY3" fmla="*/ 1007719 h 1850557"/>
                    <a:gd name="connsiteX4" fmla="*/ 2635872 w 4122766"/>
                    <a:gd name="connsiteY4" fmla="*/ 1293965 h 1850557"/>
                    <a:gd name="connsiteX5" fmla="*/ 3327635 w 4122766"/>
                    <a:gd name="connsiteY5" fmla="*/ 1850557 h 1850557"/>
                    <a:gd name="connsiteX6" fmla="*/ 4122766 w 4122766"/>
                    <a:gd name="connsiteY6" fmla="*/ 944109 h 1850557"/>
                    <a:gd name="connsiteX7" fmla="*/ 2842606 w 4122766"/>
                    <a:gd name="connsiteY7" fmla="*/ 13805 h 1850557"/>
                    <a:gd name="connsiteX8" fmla="*/ 2166745 w 4122766"/>
                    <a:gd name="connsiteY8" fmla="*/ 93319 h 1850557"/>
                    <a:gd name="connsiteX9" fmla="*/ 1435225 w 4122766"/>
                    <a:gd name="connsiteY9" fmla="*/ 339809 h 1850557"/>
                    <a:gd name="connsiteX0" fmla="*/ 1435225 w 4122766"/>
                    <a:gd name="connsiteY0" fmla="*/ 367230 h 1877978"/>
                    <a:gd name="connsiteX1" fmla="*/ 59649 w 4122766"/>
                    <a:gd name="connsiteY1" fmla="*/ 518305 h 1877978"/>
                    <a:gd name="connsiteX2" fmla="*/ 1634007 w 4122766"/>
                    <a:gd name="connsiteY2" fmla="*/ 939724 h 1877978"/>
                    <a:gd name="connsiteX3" fmla="*/ 2142892 w 4122766"/>
                    <a:gd name="connsiteY3" fmla="*/ 1035140 h 1877978"/>
                    <a:gd name="connsiteX4" fmla="*/ 2635872 w 4122766"/>
                    <a:gd name="connsiteY4" fmla="*/ 1321386 h 1877978"/>
                    <a:gd name="connsiteX5" fmla="*/ 3327635 w 4122766"/>
                    <a:gd name="connsiteY5" fmla="*/ 1877978 h 1877978"/>
                    <a:gd name="connsiteX6" fmla="*/ 4122766 w 4122766"/>
                    <a:gd name="connsiteY6" fmla="*/ 971530 h 1877978"/>
                    <a:gd name="connsiteX7" fmla="*/ 2842606 w 4122766"/>
                    <a:gd name="connsiteY7" fmla="*/ 9421 h 1877978"/>
                    <a:gd name="connsiteX8" fmla="*/ 2166745 w 4122766"/>
                    <a:gd name="connsiteY8" fmla="*/ 120740 h 1877978"/>
                    <a:gd name="connsiteX9" fmla="*/ 1435225 w 4122766"/>
                    <a:gd name="connsiteY9" fmla="*/ 367230 h 1877978"/>
                    <a:gd name="connsiteX0" fmla="*/ 1435225 w 4122766"/>
                    <a:gd name="connsiteY0" fmla="*/ 367230 h 1877978"/>
                    <a:gd name="connsiteX1" fmla="*/ 59649 w 4122766"/>
                    <a:gd name="connsiteY1" fmla="*/ 518305 h 1877978"/>
                    <a:gd name="connsiteX2" fmla="*/ 1634007 w 4122766"/>
                    <a:gd name="connsiteY2" fmla="*/ 939724 h 1877978"/>
                    <a:gd name="connsiteX3" fmla="*/ 2142892 w 4122766"/>
                    <a:gd name="connsiteY3" fmla="*/ 1035140 h 1877978"/>
                    <a:gd name="connsiteX4" fmla="*/ 2635872 w 4122766"/>
                    <a:gd name="connsiteY4" fmla="*/ 1321386 h 1877978"/>
                    <a:gd name="connsiteX5" fmla="*/ 3327635 w 4122766"/>
                    <a:gd name="connsiteY5" fmla="*/ 1877978 h 1877978"/>
                    <a:gd name="connsiteX6" fmla="*/ 4122766 w 4122766"/>
                    <a:gd name="connsiteY6" fmla="*/ 971530 h 1877978"/>
                    <a:gd name="connsiteX7" fmla="*/ 2842606 w 4122766"/>
                    <a:gd name="connsiteY7" fmla="*/ 9421 h 1877978"/>
                    <a:gd name="connsiteX8" fmla="*/ 2166745 w 4122766"/>
                    <a:gd name="connsiteY8" fmla="*/ 120740 h 1877978"/>
                    <a:gd name="connsiteX9" fmla="*/ 1435225 w 4122766"/>
                    <a:gd name="connsiteY9" fmla="*/ 367230 h 1877978"/>
                    <a:gd name="connsiteX0" fmla="*/ 1435225 w 4122766"/>
                    <a:gd name="connsiteY0" fmla="*/ 376690 h 1887438"/>
                    <a:gd name="connsiteX1" fmla="*/ 59649 w 4122766"/>
                    <a:gd name="connsiteY1" fmla="*/ 527765 h 1887438"/>
                    <a:gd name="connsiteX2" fmla="*/ 1634007 w 4122766"/>
                    <a:gd name="connsiteY2" fmla="*/ 949184 h 1887438"/>
                    <a:gd name="connsiteX3" fmla="*/ 2142892 w 4122766"/>
                    <a:gd name="connsiteY3" fmla="*/ 1044600 h 1887438"/>
                    <a:gd name="connsiteX4" fmla="*/ 2635872 w 4122766"/>
                    <a:gd name="connsiteY4" fmla="*/ 1330846 h 1887438"/>
                    <a:gd name="connsiteX5" fmla="*/ 3327635 w 4122766"/>
                    <a:gd name="connsiteY5" fmla="*/ 1887438 h 1887438"/>
                    <a:gd name="connsiteX6" fmla="*/ 4122766 w 4122766"/>
                    <a:gd name="connsiteY6" fmla="*/ 980990 h 1887438"/>
                    <a:gd name="connsiteX7" fmla="*/ 2842606 w 4122766"/>
                    <a:gd name="connsiteY7" fmla="*/ 18881 h 1887438"/>
                    <a:gd name="connsiteX8" fmla="*/ 2166745 w 4122766"/>
                    <a:gd name="connsiteY8" fmla="*/ 130200 h 1887438"/>
                    <a:gd name="connsiteX9" fmla="*/ 1435225 w 4122766"/>
                    <a:gd name="connsiteY9" fmla="*/ 376690 h 1887438"/>
                    <a:gd name="connsiteX0" fmla="*/ 1435225 w 4067107"/>
                    <a:gd name="connsiteY0" fmla="*/ 376690 h 1887438"/>
                    <a:gd name="connsiteX1" fmla="*/ 59649 w 4067107"/>
                    <a:gd name="connsiteY1" fmla="*/ 527765 h 1887438"/>
                    <a:gd name="connsiteX2" fmla="*/ 1634007 w 4067107"/>
                    <a:gd name="connsiteY2" fmla="*/ 949184 h 1887438"/>
                    <a:gd name="connsiteX3" fmla="*/ 2142892 w 4067107"/>
                    <a:gd name="connsiteY3" fmla="*/ 1044600 h 1887438"/>
                    <a:gd name="connsiteX4" fmla="*/ 2635872 w 4067107"/>
                    <a:gd name="connsiteY4" fmla="*/ 1330846 h 1887438"/>
                    <a:gd name="connsiteX5" fmla="*/ 3327635 w 4067107"/>
                    <a:gd name="connsiteY5" fmla="*/ 1887438 h 1887438"/>
                    <a:gd name="connsiteX6" fmla="*/ 4067107 w 4067107"/>
                    <a:gd name="connsiteY6" fmla="*/ 1036649 h 1887438"/>
                    <a:gd name="connsiteX7" fmla="*/ 2842606 w 4067107"/>
                    <a:gd name="connsiteY7" fmla="*/ 18881 h 1887438"/>
                    <a:gd name="connsiteX8" fmla="*/ 2166745 w 4067107"/>
                    <a:gd name="connsiteY8" fmla="*/ 130200 h 1887438"/>
                    <a:gd name="connsiteX9" fmla="*/ 1435225 w 4067107"/>
                    <a:gd name="connsiteY9" fmla="*/ 376690 h 1887438"/>
                    <a:gd name="connsiteX0" fmla="*/ 1435225 w 4067107"/>
                    <a:gd name="connsiteY0" fmla="*/ 376690 h 1887438"/>
                    <a:gd name="connsiteX1" fmla="*/ 59649 w 4067107"/>
                    <a:gd name="connsiteY1" fmla="*/ 527765 h 1887438"/>
                    <a:gd name="connsiteX2" fmla="*/ 1634007 w 4067107"/>
                    <a:gd name="connsiteY2" fmla="*/ 949184 h 1887438"/>
                    <a:gd name="connsiteX3" fmla="*/ 2142892 w 4067107"/>
                    <a:gd name="connsiteY3" fmla="*/ 1044600 h 1887438"/>
                    <a:gd name="connsiteX4" fmla="*/ 2635872 w 4067107"/>
                    <a:gd name="connsiteY4" fmla="*/ 1330846 h 1887438"/>
                    <a:gd name="connsiteX5" fmla="*/ 3327635 w 4067107"/>
                    <a:gd name="connsiteY5" fmla="*/ 1887438 h 1887438"/>
                    <a:gd name="connsiteX6" fmla="*/ 4067107 w 4067107"/>
                    <a:gd name="connsiteY6" fmla="*/ 1036649 h 1887438"/>
                    <a:gd name="connsiteX7" fmla="*/ 2842606 w 4067107"/>
                    <a:gd name="connsiteY7" fmla="*/ 18881 h 1887438"/>
                    <a:gd name="connsiteX8" fmla="*/ 2166745 w 4067107"/>
                    <a:gd name="connsiteY8" fmla="*/ 130200 h 1887438"/>
                    <a:gd name="connsiteX9" fmla="*/ 1435225 w 4067107"/>
                    <a:gd name="connsiteY9" fmla="*/ 376690 h 1887438"/>
                    <a:gd name="connsiteX0" fmla="*/ 1435225 w 4067107"/>
                    <a:gd name="connsiteY0" fmla="*/ 376690 h 1887438"/>
                    <a:gd name="connsiteX1" fmla="*/ 59649 w 4067107"/>
                    <a:gd name="connsiteY1" fmla="*/ 527765 h 1887438"/>
                    <a:gd name="connsiteX2" fmla="*/ 1634007 w 4067107"/>
                    <a:gd name="connsiteY2" fmla="*/ 949184 h 1887438"/>
                    <a:gd name="connsiteX3" fmla="*/ 2142892 w 4067107"/>
                    <a:gd name="connsiteY3" fmla="*/ 1044600 h 1887438"/>
                    <a:gd name="connsiteX4" fmla="*/ 2548408 w 4067107"/>
                    <a:gd name="connsiteY4" fmla="*/ 1275187 h 1887438"/>
                    <a:gd name="connsiteX5" fmla="*/ 3327635 w 4067107"/>
                    <a:gd name="connsiteY5" fmla="*/ 1887438 h 1887438"/>
                    <a:gd name="connsiteX6" fmla="*/ 4067107 w 4067107"/>
                    <a:gd name="connsiteY6" fmla="*/ 1036649 h 1887438"/>
                    <a:gd name="connsiteX7" fmla="*/ 2842606 w 4067107"/>
                    <a:gd name="connsiteY7" fmla="*/ 18881 h 1887438"/>
                    <a:gd name="connsiteX8" fmla="*/ 2166745 w 4067107"/>
                    <a:gd name="connsiteY8" fmla="*/ 130200 h 1887438"/>
                    <a:gd name="connsiteX9" fmla="*/ 1435225 w 4067107"/>
                    <a:gd name="connsiteY9" fmla="*/ 376690 h 1887438"/>
                    <a:gd name="connsiteX0" fmla="*/ 1435225 w 4067107"/>
                    <a:gd name="connsiteY0" fmla="*/ 376690 h 1927194"/>
                    <a:gd name="connsiteX1" fmla="*/ 59649 w 4067107"/>
                    <a:gd name="connsiteY1" fmla="*/ 527765 h 1927194"/>
                    <a:gd name="connsiteX2" fmla="*/ 1634007 w 4067107"/>
                    <a:gd name="connsiteY2" fmla="*/ 949184 h 1927194"/>
                    <a:gd name="connsiteX3" fmla="*/ 2142892 w 4067107"/>
                    <a:gd name="connsiteY3" fmla="*/ 1044600 h 1927194"/>
                    <a:gd name="connsiteX4" fmla="*/ 2548408 w 4067107"/>
                    <a:gd name="connsiteY4" fmla="*/ 1275187 h 1927194"/>
                    <a:gd name="connsiteX5" fmla="*/ 3089096 w 4067107"/>
                    <a:gd name="connsiteY5" fmla="*/ 1927194 h 1927194"/>
                    <a:gd name="connsiteX6" fmla="*/ 4067107 w 4067107"/>
                    <a:gd name="connsiteY6" fmla="*/ 1036649 h 1927194"/>
                    <a:gd name="connsiteX7" fmla="*/ 2842606 w 4067107"/>
                    <a:gd name="connsiteY7" fmla="*/ 18881 h 1927194"/>
                    <a:gd name="connsiteX8" fmla="*/ 2166745 w 4067107"/>
                    <a:gd name="connsiteY8" fmla="*/ 130200 h 1927194"/>
                    <a:gd name="connsiteX9" fmla="*/ 1435225 w 4067107"/>
                    <a:gd name="connsiteY9" fmla="*/ 376690 h 1927194"/>
                    <a:gd name="connsiteX0" fmla="*/ 1435225 w 4067107"/>
                    <a:gd name="connsiteY0" fmla="*/ 376690 h 1927194"/>
                    <a:gd name="connsiteX1" fmla="*/ 59649 w 4067107"/>
                    <a:gd name="connsiteY1" fmla="*/ 527765 h 1927194"/>
                    <a:gd name="connsiteX2" fmla="*/ 1634007 w 4067107"/>
                    <a:gd name="connsiteY2" fmla="*/ 949184 h 1927194"/>
                    <a:gd name="connsiteX3" fmla="*/ 2142892 w 4067107"/>
                    <a:gd name="connsiteY3" fmla="*/ 1044600 h 1927194"/>
                    <a:gd name="connsiteX4" fmla="*/ 2548408 w 4067107"/>
                    <a:gd name="connsiteY4" fmla="*/ 1275187 h 1927194"/>
                    <a:gd name="connsiteX5" fmla="*/ 3256074 w 4067107"/>
                    <a:gd name="connsiteY5" fmla="*/ 1927194 h 1927194"/>
                    <a:gd name="connsiteX6" fmla="*/ 4067107 w 4067107"/>
                    <a:gd name="connsiteY6" fmla="*/ 1036649 h 1927194"/>
                    <a:gd name="connsiteX7" fmla="*/ 2842606 w 4067107"/>
                    <a:gd name="connsiteY7" fmla="*/ 18881 h 1927194"/>
                    <a:gd name="connsiteX8" fmla="*/ 2166745 w 4067107"/>
                    <a:gd name="connsiteY8" fmla="*/ 130200 h 1927194"/>
                    <a:gd name="connsiteX9" fmla="*/ 1435225 w 4067107"/>
                    <a:gd name="connsiteY9" fmla="*/ 376690 h 1927194"/>
                    <a:gd name="connsiteX0" fmla="*/ 1435225 w 4067107"/>
                    <a:gd name="connsiteY0" fmla="*/ 376690 h 1927194"/>
                    <a:gd name="connsiteX1" fmla="*/ 59649 w 4067107"/>
                    <a:gd name="connsiteY1" fmla="*/ 527765 h 1927194"/>
                    <a:gd name="connsiteX2" fmla="*/ 1634007 w 4067107"/>
                    <a:gd name="connsiteY2" fmla="*/ 949184 h 1927194"/>
                    <a:gd name="connsiteX3" fmla="*/ 2142892 w 4067107"/>
                    <a:gd name="connsiteY3" fmla="*/ 1044600 h 1927194"/>
                    <a:gd name="connsiteX4" fmla="*/ 2476846 w 4067107"/>
                    <a:gd name="connsiteY4" fmla="*/ 1378554 h 1927194"/>
                    <a:gd name="connsiteX5" fmla="*/ 3256074 w 4067107"/>
                    <a:gd name="connsiteY5" fmla="*/ 1927194 h 1927194"/>
                    <a:gd name="connsiteX6" fmla="*/ 4067107 w 4067107"/>
                    <a:gd name="connsiteY6" fmla="*/ 1036649 h 1927194"/>
                    <a:gd name="connsiteX7" fmla="*/ 2842606 w 4067107"/>
                    <a:gd name="connsiteY7" fmla="*/ 18881 h 1927194"/>
                    <a:gd name="connsiteX8" fmla="*/ 2166745 w 4067107"/>
                    <a:gd name="connsiteY8" fmla="*/ 130200 h 1927194"/>
                    <a:gd name="connsiteX9" fmla="*/ 1435225 w 4067107"/>
                    <a:gd name="connsiteY9" fmla="*/ 376690 h 1927194"/>
                    <a:gd name="connsiteX0" fmla="*/ 1435225 w 4067107"/>
                    <a:gd name="connsiteY0" fmla="*/ 376690 h 1927194"/>
                    <a:gd name="connsiteX1" fmla="*/ 59649 w 4067107"/>
                    <a:gd name="connsiteY1" fmla="*/ 527765 h 1927194"/>
                    <a:gd name="connsiteX2" fmla="*/ 1634007 w 4067107"/>
                    <a:gd name="connsiteY2" fmla="*/ 949184 h 1927194"/>
                    <a:gd name="connsiteX3" fmla="*/ 2142892 w 4067107"/>
                    <a:gd name="connsiteY3" fmla="*/ 1044600 h 1927194"/>
                    <a:gd name="connsiteX4" fmla="*/ 2476846 w 4067107"/>
                    <a:gd name="connsiteY4" fmla="*/ 1378554 h 1927194"/>
                    <a:gd name="connsiteX5" fmla="*/ 3256074 w 4067107"/>
                    <a:gd name="connsiteY5" fmla="*/ 1927194 h 1927194"/>
                    <a:gd name="connsiteX6" fmla="*/ 4067107 w 4067107"/>
                    <a:gd name="connsiteY6" fmla="*/ 1036649 h 1927194"/>
                    <a:gd name="connsiteX7" fmla="*/ 2842606 w 4067107"/>
                    <a:gd name="connsiteY7" fmla="*/ 18881 h 1927194"/>
                    <a:gd name="connsiteX8" fmla="*/ 2166745 w 4067107"/>
                    <a:gd name="connsiteY8" fmla="*/ 130200 h 1927194"/>
                    <a:gd name="connsiteX9" fmla="*/ 1435225 w 4067107"/>
                    <a:gd name="connsiteY9" fmla="*/ 376690 h 1927194"/>
                    <a:gd name="connsiteX0" fmla="*/ 1435225 w 4067107"/>
                    <a:gd name="connsiteY0" fmla="*/ 376690 h 1747240"/>
                    <a:gd name="connsiteX1" fmla="*/ 59649 w 4067107"/>
                    <a:gd name="connsiteY1" fmla="*/ 527765 h 1747240"/>
                    <a:gd name="connsiteX2" fmla="*/ 1634007 w 4067107"/>
                    <a:gd name="connsiteY2" fmla="*/ 949184 h 1747240"/>
                    <a:gd name="connsiteX3" fmla="*/ 2142892 w 4067107"/>
                    <a:gd name="connsiteY3" fmla="*/ 1044600 h 1747240"/>
                    <a:gd name="connsiteX4" fmla="*/ 2476846 w 4067107"/>
                    <a:gd name="connsiteY4" fmla="*/ 1378554 h 1747240"/>
                    <a:gd name="connsiteX5" fmla="*/ 3004138 w 4067107"/>
                    <a:gd name="connsiteY5" fmla="*/ 1747240 h 1747240"/>
                    <a:gd name="connsiteX6" fmla="*/ 4067107 w 4067107"/>
                    <a:gd name="connsiteY6" fmla="*/ 1036649 h 1747240"/>
                    <a:gd name="connsiteX7" fmla="*/ 2842606 w 4067107"/>
                    <a:gd name="connsiteY7" fmla="*/ 18881 h 1747240"/>
                    <a:gd name="connsiteX8" fmla="*/ 2166745 w 4067107"/>
                    <a:gd name="connsiteY8" fmla="*/ 130200 h 1747240"/>
                    <a:gd name="connsiteX9" fmla="*/ 1435225 w 4067107"/>
                    <a:gd name="connsiteY9" fmla="*/ 376690 h 1747240"/>
                    <a:gd name="connsiteX0" fmla="*/ 1435225 w 3887153"/>
                    <a:gd name="connsiteY0" fmla="*/ 376690 h 1747240"/>
                    <a:gd name="connsiteX1" fmla="*/ 59649 w 3887153"/>
                    <a:gd name="connsiteY1" fmla="*/ 527765 h 1747240"/>
                    <a:gd name="connsiteX2" fmla="*/ 1634007 w 3887153"/>
                    <a:gd name="connsiteY2" fmla="*/ 949184 h 1747240"/>
                    <a:gd name="connsiteX3" fmla="*/ 2142892 w 3887153"/>
                    <a:gd name="connsiteY3" fmla="*/ 1044600 h 1747240"/>
                    <a:gd name="connsiteX4" fmla="*/ 2476846 w 3887153"/>
                    <a:gd name="connsiteY4" fmla="*/ 1378554 h 1747240"/>
                    <a:gd name="connsiteX5" fmla="*/ 3004138 w 3887153"/>
                    <a:gd name="connsiteY5" fmla="*/ 1747240 h 1747240"/>
                    <a:gd name="connsiteX6" fmla="*/ 3887153 w 3887153"/>
                    <a:gd name="connsiteY6" fmla="*/ 784714 h 1747240"/>
                    <a:gd name="connsiteX7" fmla="*/ 2842606 w 3887153"/>
                    <a:gd name="connsiteY7" fmla="*/ 18881 h 1747240"/>
                    <a:gd name="connsiteX8" fmla="*/ 2166745 w 3887153"/>
                    <a:gd name="connsiteY8" fmla="*/ 130200 h 1747240"/>
                    <a:gd name="connsiteX9" fmla="*/ 1435225 w 3887153"/>
                    <a:gd name="connsiteY9" fmla="*/ 376690 h 1747240"/>
                    <a:gd name="connsiteX0" fmla="*/ 1435225 w 3887153"/>
                    <a:gd name="connsiteY0" fmla="*/ 376690 h 1747240"/>
                    <a:gd name="connsiteX1" fmla="*/ 59649 w 3887153"/>
                    <a:gd name="connsiteY1" fmla="*/ 527765 h 1747240"/>
                    <a:gd name="connsiteX2" fmla="*/ 1634007 w 3887153"/>
                    <a:gd name="connsiteY2" fmla="*/ 949184 h 1747240"/>
                    <a:gd name="connsiteX3" fmla="*/ 2142892 w 3887153"/>
                    <a:gd name="connsiteY3" fmla="*/ 1044600 h 1747240"/>
                    <a:gd name="connsiteX4" fmla="*/ 2476846 w 3887153"/>
                    <a:gd name="connsiteY4" fmla="*/ 1378554 h 1747240"/>
                    <a:gd name="connsiteX5" fmla="*/ 2806187 w 3887153"/>
                    <a:gd name="connsiteY5" fmla="*/ 1747240 h 1747240"/>
                    <a:gd name="connsiteX6" fmla="*/ 3887153 w 3887153"/>
                    <a:gd name="connsiteY6" fmla="*/ 784714 h 1747240"/>
                    <a:gd name="connsiteX7" fmla="*/ 2842606 w 3887153"/>
                    <a:gd name="connsiteY7" fmla="*/ 18881 h 1747240"/>
                    <a:gd name="connsiteX8" fmla="*/ 2166745 w 3887153"/>
                    <a:gd name="connsiteY8" fmla="*/ 130200 h 1747240"/>
                    <a:gd name="connsiteX9" fmla="*/ 1435225 w 3887153"/>
                    <a:gd name="connsiteY9" fmla="*/ 376690 h 17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7153" h="1747240">
                      <a:moveTo>
                        <a:pt x="1435225" y="376690"/>
                      </a:moveTo>
                      <a:cubicBezTo>
                        <a:pt x="921041" y="355486"/>
                        <a:pt x="168317" y="374040"/>
                        <a:pt x="59649" y="527765"/>
                      </a:cubicBezTo>
                      <a:cubicBezTo>
                        <a:pt x="-282257" y="890874"/>
                        <a:pt x="926341" y="920030"/>
                        <a:pt x="1634007" y="949184"/>
                      </a:cubicBezTo>
                      <a:cubicBezTo>
                        <a:pt x="1755927" y="988940"/>
                        <a:pt x="2020972" y="1004844"/>
                        <a:pt x="2142892" y="1044600"/>
                      </a:cubicBezTo>
                      <a:lnTo>
                        <a:pt x="2476846" y="1378554"/>
                      </a:lnTo>
                      <a:lnTo>
                        <a:pt x="2806187" y="1747240"/>
                      </a:lnTo>
                      <a:lnTo>
                        <a:pt x="3887153" y="784714"/>
                      </a:lnTo>
                      <a:cubicBezTo>
                        <a:pt x="3502840" y="495816"/>
                        <a:pt x="3512746" y="372650"/>
                        <a:pt x="2842606" y="18881"/>
                      </a:cubicBezTo>
                      <a:cubicBezTo>
                        <a:pt x="2541783" y="-38103"/>
                        <a:pt x="2417210" y="44060"/>
                        <a:pt x="2166745" y="130200"/>
                      </a:cubicBezTo>
                      <a:cubicBezTo>
                        <a:pt x="1932182" y="184534"/>
                        <a:pt x="1811587" y="315730"/>
                        <a:pt x="1435225" y="37669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2" name="Freeform 19">
                  <a:extLst>
                    <a:ext uri="{FF2B5EF4-FFF2-40B4-BE49-F238E27FC236}">
                      <a16:creationId xmlns:a16="http://schemas.microsoft.com/office/drawing/2014/main" id="{BA43CB53-A829-6C49-BBDA-82E5A9409466}"/>
                    </a:ext>
                  </a:extLst>
                </p:cNvPr>
                <p:cNvSpPr/>
                <p:nvPr/>
              </p:nvSpPr>
              <p:spPr>
                <a:xfrm flipH="1">
                  <a:off x="2156087" y="2217893"/>
                  <a:ext cx="1545584" cy="794676"/>
                </a:xfrm>
                <a:custGeom>
                  <a:avLst/>
                  <a:gdLst>
                    <a:gd name="connsiteX0" fmla="*/ 1288111 w 3347499"/>
                    <a:gd name="connsiteY0" fmla="*/ 620202 h 1995778"/>
                    <a:gd name="connsiteX1" fmla="*/ 659958 w 3347499"/>
                    <a:gd name="connsiteY1" fmla="*/ 95416 h 1995778"/>
                    <a:gd name="connsiteX2" fmla="*/ 373711 w 3347499"/>
                    <a:gd name="connsiteY2" fmla="*/ 39757 h 1995778"/>
                    <a:gd name="connsiteX3" fmla="*/ 119270 w 3347499"/>
                    <a:gd name="connsiteY3" fmla="*/ 0 h 1995778"/>
                    <a:gd name="connsiteX4" fmla="*/ 111318 w 3347499"/>
                    <a:gd name="connsiteY4" fmla="*/ 151075 h 1995778"/>
                    <a:gd name="connsiteX5" fmla="*/ 0 w 3347499"/>
                    <a:gd name="connsiteY5" fmla="*/ 214686 h 1995778"/>
                    <a:gd name="connsiteX6" fmla="*/ 779228 w 3347499"/>
                    <a:gd name="connsiteY6" fmla="*/ 1264258 h 1995778"/>
                    <a:gd name="connsiteX7" fmla="*/ 1900362 w 3347499"/>
                    <a:gd name="connsiteY7" fmla="*/ 1995778 h 1995778"/>
                    <a:gd name="connsiteX8" fmla="*/ 3347499 w 3347499"/>
                    <a:gd name="connsiteY8" fmla="*/ 1653872 h 1995778"/>
                    <a:gd name="connsiteX9" fmla="*/ 1288111 w 3347499"/>
                    <a:gd name="connsiteY9" fmla="*/ 620202 h 1995778"/>
                    <a:gd name="connsiteX0" fmla="*/ 1288111 w 3347499"/>
                    <a:gd name="connsiteY0" fmla="*/ 620202 h 1995778"/>
                    <a:gd name="connsiteX1" fmla="*/ 659958 w 3347499"/>
                    <a:gd name="connsiteY1" fmla="*/ 95416 h 1995778"/>
                    <a:gd name="connsiteX2" fmla="*/ 373711 w 3347499"/>
                    <a:gd name="connsiteY2" fmla="*/ 39757 h 1995778"/>
                    <a:gd name="connsiteX3" fmla="*/ 119270 w 3347499"/>
                    <a:gd name="connsiteY3" fmla="*/ 0 h 1995778"/>
                    <a:gd name="connsiteX4" fmla="*/ 111318 w 3347499"/>
                    <a:gd name="connsiteY4" fmla="*/ 151075 h 1995778"/>
                    <a:gd name="connsiteX5" fmla="*/ 0 w 3347499"/>
                    <a:gd name="connsiteY5" fmla="*/ 214686 h 1995778"/>
                    <a:gd name="connsiteX6" fmla="*/ 779228 w 3347499"/>
                    <a:gd name="connsiteY6" fmla="*/ 1264258 h 1995778"/>
                    <a:gd name="connsiteX7" fmla="*/ 1900362 w 3347499"/>
                    <a:gd name="connsiteY7" fmla="*/ 1995778 h 1995778"/>
                    <a:gd name="connsiteX8" fmla="*/ 3347499 w 3347499"/>
                    <a:gd name="connsiteY8" fmla="*/ 1653872 h 1995778"/>
                    <a:gd name="connsiteX9" fmla="*/ 1288111 w 3347499"/>
                    <a:gd name="connsiteY9" fmla="*/ 620202 h 1995778"/>
                    <a:gd name="connsiteX0" fmla="*/ 1304013 w 3347499"/>
                    <a:gd name="connsiteY0" fmla="*/ 652007 h 1995778"/>
                    <a:gd name="connsiteX1" fmla="*/ 659958 w 3347499"/>
                    <a:gd name="connsiteY1" fmla="*/ 95416 h 1995778"/>
                    <a:gd name="connsiteX2" fmla="*/ 373711 w 3347499"/>
                    <a:gd name="connsiteY2" fmla="*/ 39757 h 1995778"/>
                    <a:gd name="connsiteX3" fmla="*/ 119270 w 3347499"/>
                    <a:gd name="connsiteY3" fmla="*/ 0 h 1995778"/>
                    <a:gd name="connsiteX4" fmla="*/ 111318 w 3347499"/>
                    <a:gd name="connsiteY4" fmla="*/ 151075 h 1995778"/>
                    <a:gd name="connsiteX5" fmla="*/ 0 w 3347499"/>
                    <a:gd name="connsiteY5" fmla="*/ 214686 h 1995778"/>
                    <a:gd name="connsiteX6" fmla="*/ 779228 w 3347499"/>
                    <a:gd name="connsiteY6" fmla="*/ 1264258 h 1995778"/>
                    <a:gd name="connsiteX7" fmla="*/ 1900362 w 3347499"/>
                    <a:gd name="connsiteY7" fmla="*/ 1995778 h 1995778"/>
                    <a:gd name="connsiteX8" fmla="*/ 3347499 w 3347499"/>
                    <a:gd name="connsiteY8" fmla="*/ 1653872 h 1995778"/>
                    <a:gd name="connsiteX9" fmla="*/ 1304013 w 3347499"/>
                    <a:gd name="connsiteY9" fmla="*/ 652007 h 1995778"/>
                    <a:gd name="connsiteX0" fmla="*/ 1304013 w 3347499"/>
                    <a:gd name="connsiteY0" fmla="*/ 652007 h 1995778"/>
                    <a:gd name="connsiteX1" fmla="*/ 659958 w 3347499"/>
                    <a:gd name="connsiteY1" fmla="*/ 95416 h 1995778"/>
                    <a:gd name="connsiteX2" fmla="*/ 373711 w 3347499"/>
                    <a:gd name="connsiteY2" fmla="*/ 39757 h 1995778"/>
                    <a:gd name="connsiteX3" fmla="*/ 119270 w 3347499"/>
                    <a:gd name="connsiteY3" fmla="*/ 0 h 1995778"/>
                    <a:gd name="connsiteX4" fmla="*/ 111318 w 3347499"/>
                    <a:gd name="connsiteY4" fmla="*/ 151075 h 1995778"/>
                    <a:gd name="connsiteX5" fmla="*/ 0 w 3347499"/>
                    <a:gd name="connsiteY5" fmla="*/ 214686 h 1995778"/>
                    <a:gd name="connsiteX6" fmla="*/ 779228 w 3347499"/>
                    <a:gd name="connsiteY6" fmla="*/ 1264258 h 1995778"/>
                    <a:gd name="connsiteX7" fmla="*/ 1900362 w 3347499"/>
                    <a:gd name="connsiteY7" fmla="*/ 1995778 h 1995778"/>
                    <a:gd name="connsiteX8" fmla="*/ 3347499 w 3347499"/>
                    <a:gd name="connsiteY8" fmla="*/ 1653872 h 1995778"/>
                    <a:gd name="connsiteX9" fmla="*/ 1304013 w 3347499"/>
                    <a:gd name="connsiteY9" fmla="*/ 652007 h 1995778"/>
                    <a:gd name="connsiteX0" fmla="*/ 1304013 w 3347499"/>
                    <a:gd name="connsiteY0" fmla="*/ 635267 h 1979038"/>
                    <a:gd name="connsiteX1" fmla="*/ 659958 w 3347499"/>
                    <a:gd name="connsiteY1" fmla="*/ 78676 h 1979038"/>
                    <a:gd name="connsiteX2" fmla="*/ 373711 w 3347499"/>
                    <a:gd name="connsiteY2" fmla="*/ 23017 h 1979038"/>
                    <a:gd name="connsiteX3" fmla="*/ 95416 w 3347499"/>
                    <a:gd name="connsiteY3" fmla="*/ 38919 h 1979038"/>
                    <a:gd name="connsiteX4" fmla="*/ 111318 w 3347499"/>
                    <a:gd name="connsiteY4" fmla="*/ 134335 h 1979038"/>
                    <a:gd name="connsiteX5" fmla="*/ 0 w 3347499"/>
                    <a:gd name="connsiteY5" fmla="*/ 197946 h 1979038"/>
                    <a:gd name="connsiteX6" fmla="*/ 779228 w 3347499"/>
                    <a:gd name="connsiteY6" fmla="*/ 1247518 h 1979038"/>
                    <a:gd name="connsiteX7" fmla="*/ 1900362 w 3347499"/>
                    <a:gd name="connsiteY7" fmla="*/ 1979038 h 1979038"/>
                    <a:gd name="connsiteX8" fmla="*/ 3347499 w 3347499"/>
                    <a:gd name="connsiteY8" fmla="*/ 1637132 h 1979038"/>
                    <a:gd name="connsiteX9" fmla="*/ 1304013 w 3347499"/>
                    <a:gd name="connsiteY9" fmla="*/ 635267 h 1979038"/>
                    <a:gd name="connsiteX0" fmla="*/ 1304013 w 3347499"/>
                    <a:gd name="connsiteY0" fmla="*/ 654838 h 1998609"/>
                    <a:gd name="connsiteX1" fmla="*/ 659958 w 3347499"/>
                    <a:gd name="connsiteY1" fmla="*/ 98247 h 1998609"/>
                    <a:gd name="connsiteX2" fmla="*/ 373711 w 3347499"/>
                    <a:gd name="connsiteY2" fmla="*/ 42588 h 1998609"/>
                    <a:gd name="connsiteX3" fmla="*/ 95416 w 3347499"/>
                    <a:gd name="connsiteY3" fmla="*/ 58490 h 1998609"/>
                    <a:gd name="connsiteX4" fmla="*/ 111318 w 3347499"/>
                    <a:gd name="connsiteY4" fmla="*/ 153906 h 1998609"/>
                    <a:gd name="connsiteX5" fmla="*/ 0 w 3347499"/>
                    <a:gd name="connsiteY5" fmla="*/ 217517 h 1998609"/>
                    <a:gd name="connsiteX6" fmla="*/ 779228 w 3347499"/>
                    <a:gd name="connsiteY6" fmla="*/ 1267089 h 1998609"/>
                    <a:gd name="connsiteX7" fmla="*/ 1900362 w 3347499"/>
                    <a:gd name="connsiteY7" fmla="*/ 1998609 h 1998609"/>
                    <a:gd name="connsiteX8" fmla="*/ 3347499 w 3347499"/>
                    <a:gd name="connsiteY8" fmla="*/ 1656703 h 1998609"/>
                    <a:gd name="connsiteX9" fmla="*/ 1304013 w 3347499"/>
                    <a:gd name="connsiteY9" fmla="*/ 654838 h 1998609"/>
                    <a:gd name="connsiteX0" fmla="*/ 1304013 w 3347499"/>
                    <a:gd name="connsiteY0" fmla="*/ 654838 h 1998609"/>
                    <a:gd name="connsiteX1" fmla="*/ 659958 w 3347499"/>
                    <a:gd name="connsiteY1" fmla="*/ 98247 h 1998609"/>
                    <a:gd name="connsiteX2" fmla="*/ 373711 w 3347499"/>
                    <a:gd name="connsiteY2" fmla="*/ 42588 h 1998609"/>
                    <a:gd name="connsiteX3" fmla="*/ 95416 w 3347499"/>
                    <a:gd name="connsiteY3" fmla="*/ 58490 h 1998609"/>
                    <a:gd name="connsiteX4" fmla="*/ 174928 w 3347499"/>
                    <a:gd name="connsiteY4" fmla="*/ 177759 h 1998609"/>
                    <a:gd name="connsiteX5" fmla="*/ 0 w 3347499"/>
                    <a:gd name="connsiteY5" fmla="*/ 217517 h 1998609"/>
                    <a:gd name="connsiteX6" fmla="*/ 779228 w 3347499"/>
                    <a:gd name="connsiteY6" fmla="*/ 1267089 h 1998609"/>
                    <a:gd name="connsiteX7" fmla="*/ 1900362 w 3347499"/>
                    <a:gd name="connsiteY7" fmla="*/ 1998609 h 1998609"/>
                    <a:gd name="connsiteX8" fmla="*/ 3347499 w 3347499"/>
                    <a:gd name="connsiteY8" fmla="*/ 1656703 h 1998609"/>
                    <a:gd name="connsiteX9" fmla="*/ 1304013 w 3347499"/>
                    <a:gd name="connsiteY9" fmla="*/ 654838 h 1998609"/>
                    <a:gd name="connsiteX0" fmla="*/ 1304013 w 3347499"/>
                    <a:gd name="connsiteY0" fmla="*/ 654838 h 1998609"/>
                    <a:gd name="connsiteX1" fmla="*/ 659958 w 3347499"/>
                    <a:gd name="connsiteY1" fmla="*/ 98247 h 1998609"/>
                    <a:gd name="connsiteX2" fmla="*/ 373711 w 3347499"/>
                    <a:gd name="connsiteY2" fmla="*/ 42588 h 1998609"/>
                    <a:gd name="connsiteX3" fmla="*/ 95416 w 3347499"/>
                    <a:gd name="connsiteY3" fmla="*/ 58490 h 1998609"/>
                    <a:gd name="connsiteX4" fmla="*/ 174928 w 3347499"/>
                    <a:gd name="connsiteY4" fmla="*/ 177759 h 1998609"/>
                    <a:gd name="connsiteX5" fmla="*/ 0 w 3347499"/>
                    <a:gd name="connsiteY5" fmla="*/ 217517 h 1998609"/>
                    <a:gd name="connsiteX6" fmla="*/ 811033 w 3347499"/>
                    <a:gd name="connsiteY6" fmla="*/ 1243235 h 1998609"/>
                    <a:gd name="connsiteX7" fmla="*/ 1900362 w 3347499"/>
                    <a:gd name="connsiteY7" fmla="*/ 1998609 h 1998609"/>
                    <a:gd name="connsiteX8" fmla="*/ 3347499 w 3347499"/>
                    <a:gd name="connsiteY8" fmla="*/ 1656703 h 1998609"/>
                    <a:gd name="connsiteX9" fmla="*/ 1304013 w 3347499"/>
                    <a:gd name="connsiteY9" fmla="*/ 654838 h 1998609"/>
                    <a:gd name="connsiteX0" fmla="*/ 1304013 w 3347499"/>
                    <a:gd name="connsiteY0" fmla="*/ 654838 h 1863437"/>
                    <a:gd name="connsiteX1" fmla="*/ 659958 w 3347499"/>
                    <a:gd name="connsiteY1" fmla="*/ 98247 h 1863437"/>
                    <a:gd name="connsiteX2" fmla="*/ 373711 w 3347499"/>
                    <a:gd name="connsiteY2" fmla="*/ 42588 h 1863437"/>
                    <a:gd name="connsiteX3" fmla="*/ 95416 w 3347499"/>
                    <a:gd name="connsiteY3" fmla="*/ 58490 h 1863437"/>
                    <a:gd name="connsiteX4" fmla="*/ 174928 w 3347499"/>
                    <a:gd name="connsiteY4" fmla="*/ 177759 h 1863437"/>
                    <a:gd name="connsiteX5" fmla="*/ 0 w 3347499"/>
                    <a:gd name="connsiteY5" fmla="*/ 217517 h 1863437"/>
                    <a:gd name="connsiteX6" fmla="*/ 811033 w 3347499"/>
                    <a:gd name="connsiteY6" fmla="*/ 1243235 h 1863437"/>
                    <a:gd name="connsiteX7" fmla="*/ 1924216 w 3347499"/>
                    <a:gd name="connsiteY7" fmla="*/ 1863437 h 1863437"/>
                    <a:gd name="connsiteX8" fmla="*/ 3347499 w 3347499"/>
                    <a:gd name="connsiteY8" fmla="*/ 1656703 h 1863437"/>
                    <a:gd name="connsiteX9" fmla="*/ 1304013 w 3347499"/>
                    <a:gd name="connsiteY9" fmla="*/ 654838 h 1863437"/>
                    <a:gd name="connsiteX0" fmla="*/ 1304013 w 3347499"/>
                    <a:gd name="connsiteY0" fmla="*/ 654838 h 1982707"/>
                    <a:gd name="connsiteX1" fmla="*/ 659958 w 3347499"/>
                    <a:gd name="connsiteY1" fmla="*/ 98247 h 1982707"/>
                    <a:gd name="connsiteX2" fmla="*/ 373711 w 3347499"/>
                    <a:gd name="connsiteY2" fmla="*/ 42588 h 1982707"/>
                    <a:gd name="connsiteX3" fmla="*/ 95416 w 3347499"/>
                    <a:gd name="connsiteY3" fmla="*/ 58490 h 1982707"/>
                    <a:gd name="connsiteX4" fmla="*/ 174928 w 3347499"/>
                    <a:gd name="connsiteY4" fmla="*/ 177759 h 1982707"/>
                    <a:gd name="connsiteX5" fmla="*/ 0 w 3347499"/>
                    <a:gd name="connsiteY5" fmla="*/ 217517 h 1982707"/>
                    <a:gd name="connsiteX6" fmla="*/ 811033 w 3347499"/>
                    <a:gd name="connsiteY6" fmla="*/ 1243235 h 1982707"/>
                    <a:gd name="connsiteX7" fmla="*/ 2146852 w 3347499"/>
                    <a:gd name="connsiteY7" fmla="*/ 1982707 h 1982707"/>
                    <a:gd name="connsiteX8" fmla="*/ 3347499 w 3347499"/>
                    <a:gd name="connsiteY8" fmla="*/ 1656703 h 1982707"/>
                    <a:gd name="connsiteX9" fmla="*/ 1304013 w 3347499"/>
                    <a:gd name="connsiteY9"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1304013 w 3387256"/>
                    <a:gd name="connsiteY9"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15616 w 3387256"/>
                    <a:gd name="connsiteY9" fmla="*/ 726401 h 1982707"/>
                    <a:gd name="connsiteX10" fmla="*/ 1304013 w 3387256"/>
                    <a:gd name="connsiteY10"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15616 w 3387256"/>
                    <a:gd name="connsiteY9" fmla="*/ 726401 h 1982707"/>
                    <a:gd name="connsiteX10" fmla="*/ 1304013 w 3387256"/>
                    <a:gd name="connsiteY10"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15616 w 3387256"/>
                    <a:gd name="connsiteY9" fmla="*/ 782060 h 1982707"/>
                    <a:gd name="connsiteX10" fmla="*/ 1304013 w 3387256"/>
                    <a:gd name="connsiteY10"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15616 w 3387256"/>
                    <a:gd name="connsiteY9" fmla="*/ 782060 h 1982707"/>
                    <a:gd name="connsiteX10" fmla="*/ 1304013 w 3387256"/>
                    <a:gd name="connsiteY10" fmla="*/ 654838 h 1982707"/>
                    <a:gd name="connsiteX0" fmla="*/ 1304013 w 3387256"/>
                    <a:gd name="connsiteY0" fmla="*/ 654838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39470 w 3387256"/>
                    <a:gd name="connsiteY9" fmla="*/ 813865 h 1982707"/>
                    <a:gd name="connsiteX10" fmla="*/ 1304013 w 3387256"/>
                    <a:gd name="connsiteY10" fmla="*/ 654838 h 1982707"/>
                    <a:gd name="connsiteX0" fmla="*/ 1272207 w 3387256"/>
                    <a:gd name="connsiteY0" fmla="*/ 630984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39470 w 3387256"/>
                    <a:gd name="connsiteY9" fmla="*/ 813865 h 1982707"/>
                    <a:gd name="connsiteX10" fmla="*/ 1272207 w 3387256"/>
                    <a:gd name="connsiteY10" fmla="*/ 630984 h 1982707"/>
                    <a:gd name="connsiteX0" fmla="*/ 1272207 w 3387256"/>
                    <a:gd name="connsiteY0" fmla="*/ 630984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739470 w 3387256"/>
                    <a:gd name="connsiteY9" fmla="*/ 813865 h 1982707"/>
                    <a:gd name="connsiteX10" fmla="*/ 1272207 w 3387256"/>
                    <a:gd name="connsiteY10" fmla="*/ 630984 h 1982707"/>
                    <a:gd name="connsiteX0" fmla="*/ 1272207 w 3387256"/>
                    <a:gd name="connsiteY0" fmla="*/ 630984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2353585 w 3387256"/>
                    <a:gd name="connsiteY9" fmla="*/ 1267090 h 1982707"/>
                    <a:gd name="connsiteX10" fmla="*/ 739470 w 3387256"/>
                    <a:gd name="connsiteY10" fmla="*/ 813865 h 1982707"/>
                    <a:gd name="connsiteX11" fmla="*/ 1272207 w 3387256"/>
                    <a:gd name="connsiteY11" fmla="*/ 630984 h 1982707"/>
                    <a:gd name="connsiteX0" fmla="*/ 1272207 w 3387256"/>
                    <a:gd name="connsiteY0" fmla="*/ 630984 h 1982707"/>
                    <a:gd name="connsiteX1" fmla="*/ 659958 w 3387256"/>
                    <a:gd name="connsiteY1" fmla="*/ 98247 h 1982707"/>
                    <a:gd name="connsiteX2" fmla="*/ 373711 w 3387256"/>
                    <a:gd name="connsiteY2" fmla="*/ 42588 h 1982707"/>
                    <a:gd name="connsiteX3" fmla="*/ 95416 w 3387256"/>
                    <a:gd name="connsiteY3" fmla="*/ 58490 h 1982707"/>
                    <a:gd name="connsiteX4" fmla="*/ 174928 w 3387256"/>
                    <a:gd name="connsiteY4" fmla="*/ 177759 h 1982707"/>
                    <a:gd name="connsiteX5" fmla="*/ 0 w 3387256"/>
                    <a:gd name="connsiteY5" fmla="*/ 217517 h 1982707"/>
                    <a:gd name="connsiteX6" fmla="*/ 811033 w 3387256"/>
                    <a:gd name="connsiteY6" fmla="*/ 1243235 h 1982707"/>
                    <a:gd name="connsiteX7" fmla="*/ 2146852 w 3387256"/>
                    <a:gd name="connsiteY7" fmla="*/ 1982707 h 1982707"/>
                    <a:gd name="connsiteX8" fmla="*/ 3387256 w 3387256"/>
                    <a:gd name="connsiteY8" fmla="*/ 1648752 h 1982707"/>
                    <a:gd name="connsiteX9" fmla="*/ 2353585 w 3387256"/>
                    <a:gd name="connsiteY9" fmla="*/ 1267090 h 1982707"/>
                    <a:gd name="connsiteX10" fmla="*/ 739470 w 3387256"/>
                    <a:gd name="connsiteY10" fmla="*/ 813865 h 1982707"/>
                    <a:gd name="connsiteX11" fmla="*/ 1272207 w 338725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39470 w 3753016"/>
                    <a:gd name="connsiteY10" fmla="*/ 813865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39470 w 3753016"/>
                    <a:gd name="connsiteY10" fmla="*/ 813865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53585 w 3753016"/>
                    <a:gd name="connsiteY9" fmla="*/ 1267090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85390 w 3753016"/>
                    <a:gd name="connsiteY9" fmla="*/ 1314798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385390 w 3753016"/>
                    <a:gd name="connsiteY9" fmla="*/ 1314798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71276 w 3753016"/>
                    <a:gd name="connsiteY10" fmla="*/ 861572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79227 w 3753016"/>
                    <a:gd name="connsiteY10" fmla="*/ 893377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79227 w 3753016"/>
                    <a:gd name="connsiteY10" fmla="*/ 893377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79227 w 3753016"/>
                    <a:gd name="connsiteY10" fmla="*/ 893377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79227 w 3753016"/>
                    <a:gd name="connsiteY10" fmla="*/ 893377 h 1982707"/>
                    <a:gd name="connsiteX11" fmla="*/ 1272207 w 3753016"/>
                    <a:gd name="connsiteY11" fmla="*/ 630984 h 1982707"/>
                    <a:gd name="connsiteX0" fmla="*/ 1272207 w 3753016"/>
                    <a:gd name="connsiteY0" fmla="*/ 630984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272207 w 3753016"/>
                    <a:gd name="connsiteY11" fmla="*/ 630984 h 1982707"/>
                    <a:gd name="connsiteX0" fmla="*/ 1280159 w 3753016"/>
                    <a:gd name="connsiteY0" fmla="*/ 662789 h 1982707"/>
                    <a:gd name="connsiteX1" fmla="*/ 659958 w 3753016"/>
                    <a:gd name="connsiteY1" fmla="*/ 98247 h 1982707"/>
                    <a:gd name="connsiteX2" fmla="*/ 373711 w 3753016"/>
                    <a:gd name="connsiteY2" fmla="*/ 42588 h 1982707"/>
                    <a:gd name="connsiteX3" fmla="*/ 95416 w 3753016"/>
                    <a:gd name="connsiteY3" fmla="*/ 58490 h 1982707"/>
                    <a:gd name="connsiteX4" fmla="*/ 174928 w 3753016"/>
                    <a:gd name="connsiteY4" fmla="*/ 177759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280159 w 3753016"/>
                    <a:gd name="connsiteY11" fmla="*/ 662789 h 1982707"/>
                    <a:gd name="connsiteX0" fmla="*/ 1280159 w 3753016"/>
                    <a:gd name="connsiteY0" fmla="*/ 662789 h 1982707"/>
                    <a:gd name="connsiteX1" fmla="*/ 659958 w 3753016"/>
                    <a:gd name="connsiteY1" fmla="*/ 98247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280159 w 3753016"/>
                    <a:gd name="connsiteY11" fmla="*/ 662789 h 1982707"/>
                    <a:gd name="connsiteX0" fmla="*/ 1280159 w 3753016"/>
                    <a:gd name="connsiteY0" fmla="*/ 662789 h 1982707"/>
                    <a:gd name="connsiteX1" fmla="*/ 659958 w 3753016"/>
                    <a:gd name="connsiteY1" fmla="*/ 98247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280159 w 3753016"/>
                    <a:gd name="connsiteY11" fmla="*/ 662789 h 1982707"/>
                    <a:gd name="connsiteX0" fmla="*/ 1280159 w 3753016"/>
                    <a:gd name="connsiteY0" fmla="*/ 662789 h 1982707"/>
                    <a:gd name="connsiteX1" fmla="*/ 731519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280159 w 3753016"/>
                    <a:gd name="connsiteY11" fmla="*/ 662789 h 1982707"/>
                    <a:gd name="connsiteX0" fmla="*/ 1311965 w 3753016"/>
                    <a:gd name="connsiteY0" fmla="*/ 662789 h 1982707"/>
                    <a:gd name="connsiteX1" fmla="*/ 731519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311965 w 3753016"/>
                    <a:gd name="connsiteY11" fmla="*/ 662789 h 1982707"/>
                    <a:gd name="connsiteX0" fmla="*/ 1311965 w 3753016"/>
                    <a:gd name="connsiteY0" fmla="*/ 662789 h 1982707"/>
                    <a:gd name="connsiteX1" fmla="*/ 731519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311965 w 3753016"/>
                    <a:gd name="connsiteY11" fmla="*/ 662789 h 1982707"/>
                    <a:gd name="connsiteX0" fmla="*/ 1311965 w 3753016"/>
                    <a:gd name="connsiteY0" fmla="*/ 662789 h 1982707"/>
                    <a:gd name="connsiteX1" fmla="*/ 699714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311965 w 3753016"/>
                    <a:gd name="connsiteY11" fmla="*/ 662789 h 1982707"/>
                    <a:gd name="connsiteX0" fmla="*/ 1311965 w 3753016"/>
                    <a:gd name="connsiteY0" fmla="*/ 662789 h 1982707"/>
                    <a:gd name="connsiteX1" fmla="*/ 699714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311965 w 3753016"/>
                    <a:gd name="connsiteY11" fmla="*/ 662789 h 1982707"/>
                    <a:gd name="connsiteX0" fmla="*/ 1311965 w 3753016"/>
                    <a:gd name="connsiteY0" fmla="*/ 662789 h 1982707"/>
                    <a:gd name="connsiteX1" fmla="*/ 699714 w 3753016"/>
                    <a:gd name="connsiteY1" fmla="*/ 90295 h 1982707"/>
                    <a:gd name="connsiteX2" fmla="*/ 373711 w 3753016"/>
                    <a:gd name="connsiteY2" fmla="*/ 42588 h 1982707"/>
                    <a:gd name="connsiteX3" fmla="*/ 95416 w 3753016"/>
                    <a:gd name="connsiteY3" fmla="*/ 58490 h 1982707"/>
                    <a:gd name="connsiteX4" fmla="*/ 119269 w 3753016"/>
                    <a:gd name="connsiteY4" fmla="*/ 169808 h 1982707"/>
                    <a:gd name="connsiteX5" fmla="*/ 0 w 3753016"/>
                    <a:gd name="connsiteY5" fmla="*/ 217517 h 1982707"/>
                    <a:gd name="connsiteX6" fmla="*/ 811033 w 3753016"/>
                    <a:gd name="connsiteY6" fmla="*/ 1243235 h 1982707"/>
                    <a:gd name="connsiteX7" fmla="*/ 2146852 w 3753016"/>
                    <a:gd name="connsiteY7" fmla="*/ 1982707 h 1982707"/>
                    <a:gd name="connsiteX8" fmla="*/ 3753016 w 3753016"/>
                    <a:gd name="connsiteY8" fmla="*/ 1497677 h 1982707"/>
                    <a:gd name="connsiteX9" fmla="*/ 2409244 w 3753016"/>
                    <a:gd name="connsiteY9" fmla="*/ 1290944 h 1982707"/>
                    <a:gd name="connsiteX10" fmla="*/ 755373 w 3753016"/>
                    <a:gd name="connsiteY10" fmla="*/ 869524 h 1982707"/>
                    <a:gd name="connsiteX11" fmla="*/ 1311965 w 3753016"/>
                    <a:gd name="connsiteY11" fmla="*/ 662789 h 1982707"/>
                    <a:gd name="connsiteX0" fmla="*/ 1311965 w 3753016"/>
                    <a:gd name="connsiteY0" fmla="*/ 665192 h 1985110"/>
                    <a:gd name="connsiteX1" fmla="*/ 699714 w 3753016"/>
                    <a:gd name="connsiteY1" fmla="*/ 92698 h 1985110"/>
                    <a:gd name="connsiteX2" fmla="*/ 397565 w 3753016"/>
                    <a:gd name="connsiteY2" fmla="*/ 37040 h 1985110"/>
                    <a:gd name="connsiteX3" fmla="*/ 95416 w 3753016"/>
                    <a:gd name="connsiteY3" fmla="*/ 60893 h 1985110"/>
                    <a:gd name="connsiteX4" fmla="*/ 119269 w 3753016"/>
                    <a:gd name="connsiteY4" fmla="*/ 172211 h 1985110"/>
                    <a:gd name="connsiteX5" fmla="*/ 0 w 3753016"/>
                    <a:gd name="connsiteY5" fmla="*/ 219920 h 1985110"/>
                    <a:gd name="connsiteX6" fmla="*/ 811033 w 3753016"/>
                    <a:gd name="connsiteY6" fmla="*/ 1245638 h 1985110"/>
                    <a:gd name="connsiteX7" fmla="*/ 2146852 w 3753016"/>
                    <a:gd name="connsiteY7" fmla="*/ 1985110 h 1985110"/>
                    <a:gd name="connsiteX8" fmla="*/ 3753016 w 3753016"/>
                    <a:gd name="connsiteY8" fmla="*/ 1500080 h 1985110"/>
                    <a:gd name="connsiteX9" fmla="*/ 2409244 w 3753016"/>
                    <a:gd name="connsiteY9" fmla="*/ 1293347 h 1985110"/>
                    <a:gd name="connsiteX10" fmla="*/ 755373 w 3753016"/>
                    <a:gd name="connsiteY10" fmla="*/ 871927 h 1985110"/>
                    <a:gd name="connsiteX11" fmla="*/ 1311965 w 3753016"/>
                    <a:gd name="connsiteY11" fmla="*/ 665192 h 1985110"/>
                    <a:gd name="connsiteX0" fmla="*/ 1311965 w 3753016"/>
                    <a:gd name="connsiteY0" fmla="*/ 670630 h 1990548"/>
                    <a:gd name="connsiteX1" fmla="*/ 699714 w 3753016"/>
                    <a:gd name="connsiteY1" fmla="*/ 98136 h 1990548"/>
                    <a:gd name="connsiteX2" fmla="*/ 453224 w 3753016"/>
                    <a:gd name="connsiteY2" fmla="*/ 26576 h 1990548"/>
                    <a:gd name="connsiteX3" fmla="*/ 95416 w 3753016"/>
                    <a:gd name="connsiteY3" fmla="*/ 66331 h 1990548"/>
                    <a:gd name="connsiteX4" fmla="*/ 119269 w 3753016"/>
                    <a:gd name="connsiteY4" fmla="*/ 177649 h 1990548"/>
                    <a:gd name="connsiteX5" fmla="*/ 0 w 3753016"/>
                    <a:gd name="connsiteY5" fmla="*/ 225358 h 1990548"/>
                    <a:gd name="connsiteX6" fmla="*/ 811033 w 3753016"/>
                    <a:gd name="connsiteY6" fmla="*/ 1251076 h 1990548"/>
                    <a:gd name="connsiteX7" fmla="*/ 2146852 w 3753016"/>
                    <a:gd name="connsiteY7" fmla="*/ 1990548 h 1990548"/>
                    <a:gd name="connsiteX8" fmla="*/ 3753016 w 3753016"/>
                    <a:gd name="connsiteY8" fmla="*/ 1505518 h 1990548"/>
                    <a:gd name="connsiteX9" fmla="*/ 2409244 w 3753016"/>
                    <a:gd name="connsiteY9" fmla="*/ 1298785 h 1990548"/>
                    <a:gd name="connsiteX10" fmla="*/ 755373 w 3753016"/>
                    <a:gd name="connsiteY10" fmla="*/ 877365 h 1990548"/>
                    <a:gd name="connsiteX11" fmla="*/ 1311965 w 3753016"/>
                    <a:gd name="connsiteY11" fmla="*/ 670630 h 1990548"/>
                    <a:gd name="connsiteX0" fmla="*/ 1311965 w 3753016"/>
                    <a:gd name="connsiteY0" fmla="*/ 671729 h 1991647"/>
                    <a:gd name="connsiteX1" fmla="*/ 699714 w 3753016"/>
                    <a:gd name="connsiteY1" fmla="*/ 99235 h 1991647"/>
                    <a:gd name="connsiteX2" fmla="*/ 453224 w 3753016"/>
                    <a:gd name="connsiteY2" fmla="*/ 27675 h 1991647"/>
                    <a:gd name="connsiteX3" fmla="*/ 95416 w 3753016"/>
                    <a:gd name="connsiteY3" fmla="*/ 67430 h 1991647"/>
                    <a:gd name="connsiteX4" fmla="*/ 119269 w 3753016"/>
                    <a:gd name="connsiteY4" fmla="*/ 178748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19269 w 3753016"/>
                    <a:gd name="connsiteY4" fmla="*/ 178748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19269 w 3753016"/>
                    <a:gd name="connsiteY4" fmla="*/ 178748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66977 w 3753016"/>
                    <a:gd name="connsiteY4" fmla="*/ 178748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0 w 3753016"/>
                    <a:gd name="connsiteY4" fmla="*/ 226457 h 1991647"/>
                    <a:gd name="connsiteX5" fmla="*/ 811033 w 3753016"/>
                    <a:gd name="connsiteY5" fmla="*/ 1252175 h 1991647"/>
                    <a:gd name="connsiteX6" fmla="*/ 2146852 w 3753016"/>
                    <a:gd name="connsiteY6" fmla="*/ 1991647 h 1991647"/>
                    <a:gd name="connsiteX7" fmla="*/ 3753016 w 3753016"/>
                    <a:gd name="connsiteY7" fmla="*/ 1506617 h 1991647"/>
                    <a:gd name="connsiteX8" fmla="*/ 2409244 w 3753016"/>
                    <a:gd name="connsiteY8" fmla="*/ 1299884 h 1991647"/>
                    <a:gd name="connsiteX9" fmla="*/ 755373 w 3753016"/>
                    <a:gd name="connsiteY9" fmla="*/ 878464 h 1991647"/>
                    <a:gd name="connsiteX10" fmla="*/ 1311965 w 3753016"/>
                    <a:gd name="connsiteY10"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0 w 3753016"/>
                    <a:gd name="connsiteY4" fmla="*/ 226457 h 1991647"/>
                    <a:gd name="connsiteX5" fmla="*/ 811033 w 3753016"/>
                    <a:gd name="connsiteY5" fmla="*/ 1252175 h 1991647"/>
                    <a:gd name="connsiteX6" fmla="*/ 2146852 w 3753016"/>
                    <a:gd name="connsiteY6" fmla="*/ 1991647 h 1991647"/>
                    <a:gd name="connsiteX7" fmla="*/ 3753016 w 3753016"/>
                    <a:gd name="connsiteY7" fmla="*/ 1506617 h 1991647"/>
                    <a:gd name="connsiteX8" fmla="*/ 2409244 w 3753016"/>
                    <a:gd name="connsiteY8" fmla="*/ 1299884 h 1991647"/>
                    <a:gd name="connsiteX9" fmla="*/ 755373 w 3753016"/>
                    <a:gd name="connsiteY9" fmla="*/ 878464 h 1991647"/>
                    <a:gd name="connsiteX10" fmla="*/ 1311965 w 3753016"/>
                    <a:gd name="connsiteY10"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0 w 3753016"/>
                    <a:gd name="connsiteY4" fmla="*/ 226457 h 1991647"/>
                    <a:gd name="connsiteX5" fmla="*/ 811033 w 3753016"/>
                    <a:gd name="connsiteY5" fmla="*/ 1252175 h 1991647"/>
                    <a:gd name="connsiteX6" fmla="*/ 2146852 w 3753016"/>
                    <a:gd name="connsiteY6" fmla="*/ 1991647 h 1991647"/>
                    <a:gd name="connsiteX7" fmla="*/ 3753016 w 3753016"/>
                    <a:gd name="connsiteY7" fmla="*/ 1506617 h 1991647"/>
                    <a:gd name="connsiteX8" fmla="*/ 2409244 w 3753016"/>
                    <a:gd name="connsiteY8" fmla="*/ 1299884 h 1991647"/>
                    <a:gd name="connsiteX9" fmla="*/ 755373 w 3753016"/>
                    <a:gd name="connsiteY9" fmla="*/ 878464 h 1991647"/>
                    <a:gd name="connsiteX10" fmla="*/ 1311965 w 3753016"/>
                    <a:gd name="connsiteY10"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0 w 3753016"/>
                    <a:gd name="connsiteY4" fmla="*/ 226457 h 1991647"/>
                    <a:gd name="connsiteX5" fmla="*/ 811033 w 3753016"/>
                    <a:gd name="connsiteY5" fmla="*/ 1252175 h 1991647"/>
                    <a:gd name="connsiteX6" fmla="*/ 2146852 w 3753016"/>
                    <a:gd name="connsiteY6" fmla="*/ 1991647 h 1991647"/>
                    <a:gd name="connsiteX7" fmla="*/ 3753016 w 3753016"/>
                    <a:gd name="connsiteY7" fmla="*/ 1506617 h 1991647"/>
                    <a:gd name="connsiteX8" fmla="*/ 2409244 w 3753016"/>
                    <a:gd name="connsiteY8" fmla="*/ 1299884 h 1991647"/>
                    <a:gd name="connsiteX9" fmla="*/ 755373 w 3753016"/>
                    <a:gd name="connsiteY9" fmla="*/ 878464 h 1991647"/>
                    <a:gd name="connsiteX10" fmla="*/ 1311965 w 3753016"/>
                    <a:gd name="connsiteY10" fmla="*/ 671729 h 1991647"/>
                    <a:gd name="connsiteX0" fmla="*/ 1337304 w 3778355"/>
                    <a:gd name="connsiteY0" fmla="*/ 671729 h 1991647"/>
                    <a:gd name="connsiteX1" fmla="*/ 725053 w 3778355"/>
                    <a:gd name="connsiteY1" fmla="*/ 99235 h 1991647"/>
                    <a:gd name="connsiteX2" fmla="*/ 478563 w 3778355"/>
                    <a:gd name="connsiteY2" fmla="*/ 27675 h 1991647"/>
                    <a:gd name="connsiteX3" fmla="*/ 152560 w 3778355"/>
                    <a:gd name="connsiteY3" fmla="*/ 67430 h 1991647"/>
                    <a:gd name="connsiteX4" fmla="*/ 232072 w 3778355"/>
                    <a:gd name="connsiteY4" fmla="*/ 186702 h 1991647"/>
                    <a:gd name="connsiteX5" fmla="*/ 25339 w 3778355"/>
                    <a:gd name="connsiteY5" fmla="*/ 226457 h 1991647"/>
                    <a:gd name="connsiteX6" fmla="*/ 836372 w 3778355"/>
                    <a:gd name="connsiteY6" fmla="*/ 1252175 h 1991647"/>
                    <a:gd name="connsiteX7" fmla="*/ 2172191 w 3778355"/>
                    <a:gd name="connsiteY7" fmla="*/ 1991647 h 1991647"/>
                    <a:gd name="connsiteX8" fmla="*/ 3778355 w 3778355"/>
                    <a:gd name="connsiteY8" fmla="*/ 1506617 h 1991647"/>
                    <a:gd name="connsiteX9" fmla="*/ 2434583 w 3778355"/>
                    <a:gd name="connsiteY9" fmla="*/ 1299884 h 1991647"/>
                    <a:gd name="connsiteX10" fmla="*/ 780712 w 3778355"/>
                    <a:gd name="connsiteY10" fmla="*/ 878464 h 1991647"/>
                    <a:gd name="connsiteX11" fmla="*/ 1337304 w 3778355"/>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206733 w 3753016"/>
                    <a:gd name="connsiteY4" fmla="*/ 186702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66977 w 3753016"/>
                    <a:gd name="connsiteY4" fmla="*/ 154897 h 1991647"/>
                    <a:gd name="connsiteX5" fmla="*/ 0 w 3753016"/>
                    <a:gd name="connsiteY5" fmla="*/ 226457 h 1991647"/>
                    <a:gd name="connsiteX6" fmla="*/ 811033 w 3753016"/>
                    <a:gd name="connsiteY6" fmla="*/ 1252175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66977 w 3753016"/>
                    <a:gd name="connsiteY4" fmla="*/ 154897 h 1991647"/>
                    <a:gd name="connsiteX5" fmla="*/ 0 w 3753016"/>
                    <a:gd name="connsiteY5" fmla="*/ 226457 h 1991647"/>
                    <a:gd name="connsiteX6" fmla="*/ 818984 w 3753016"/>
                    <a:gd name="connsiteY6" fmla="*/ 1347591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91647"/>
                    <a:gd name="connsiteX1" fmla="*/ 699714 w 3753016"/>
                    <a:gd name="connsiteY1" fmla="*/ 99235 h 1991647"/>
                    <a:gd name="connsiteX2" fmla="*/ 453224 w 3753016"/>
                    <a:gd name="connsiteY2" fmla="*/ 27675 h 1991647"/>
                    <a:gd name="connsiteX3" fmla="*/ 127221 w 3753016"/>
                    <a:gd name="connsiteY3" fmla="*/ 67430 h 1991647"/>
                    <a:gd name="connsiteX4" fmla="*/ 166977 w 3753016"/>
                    <a:gd name="connsiteY4" fmla="*/ 154897 h 1991647"/>
                    <a:gd name="connsiteX5" fmla="*/ 0 w 3753016"/>
                    <a:gd name="connsiteY5" fmla="*/ 226457 h 1991647"/>
                    <a:gd name="connsiteX6" fmla="*/ 818984 w 3753016"/>
                    <a:gd name="connsiteY6" fmla="*/ 1347591 h 1991647"/>
                    <a:gd name="connsiteX7" fmla="*/ 2146852 w 3753016"/>
                    <a:gd name="connsiteY7" fmla="*/ 1991647 h 1991647"/>
                    <a:gd name="connsiteX8" fmla="*/ 3753016 w 3753016"/>
                    <a:gd name="connsiteY8" fmla="*/ 1506617 h 1991647"/>
                    <a:gd name="connsiteX9" fmla="*/ 2409244 w 3753016"/>
                    <a:gd name="connsiteY9" fmla="*/ 1299884 h 1991647"/>
                    <a:gd name="connsiteX10" fmla="*/ 755373 w 3753016"/>
                    <a:gd name="connsiteY10" fmla="*/ 878464 h 1991647"/>
                    <a:gd name="connsiteX11" fmla="*/ 1311965 w 3753016"/>
                    <a:gd name="connsiteY11" fmla="*/ 671729 h 1991647"/>
                    <a:gd name="connsiteX0" fmla="*/ 1311965 w 3753016"/>
                    <a:gd name="connsiteY0" fmla="*/ 671729 h 1928037"/>
                    <a:gd name="connsiteX1" fmla="*/ 699714 w 3753016"/>
                    <a:gd name="connsiteY1" fmla="*/ 99235 h 1928037"/>
                    <a:gd name="connsiteX2" fmla="*/ 453224 w 3753016"/>
                    <a:gd name="connsiteY2" fmla="*/ 27675 h 1928037"/>
                    <a:gd name="connsiteX3" fmla="*/ 127221 w 3753016"/>
                    <a:gd name="connsiteY3" fmla="*/ 67430 h 1928037"/>
                    <a:gd name="connsiteX4" fmla="*/ 166977 w 3753016"/>
                    <a:gd name="connsiteY4" fmla="*/ 154897 h 1928037"/>
                    <a:gd name="connsiteX5" fmla="*/ 0 w 3753016"/>
                    <a:gd name="connsiteY5" fmla="*/ 226457 h 1928037"/>
                    <a:gd name="connsiteX6" fmla="*/ 818984 w 3753016"/>
                    <a:gd name="connsiteY6" fmla="*/ 1347591 h 1928037"/>
                    <a:gd name="connsiteX7" fmla="*/ 2011680 w 3753016"/>
                    <a:gd name="connsiteY7" fmla="*/ 1928037 h 1928037"/>
                    <a:gd name="connsiteX8" fmla="*/ 3753016 w 3753016"/>
                    <a:gd name="connsiteY8" fmla="*/ 1506617 h 1928037"/>
                    <a:gd name="connsiteX9" fmla="*/ 2409244 w 3753016"/>
                    <a:gd name="connsiteY9" fmla="*/ 1299884 h 1928037"/>
                    <a:gd name="connsiteX10" fmla="*/ 755373 w 3753016"/>
                    <a:gd name="connsiteY10" fmla="*/ 878464 h 1928037"/>
                    <a:gd name="connsiteX11" fmla="*/ 1311965 w 3753016"/>
                    <a:gd name="connsiteY11" fmla="*/ 671729 h 1928037"/>
                    <a:gd name="connsiteX0" fmla="*/ 1311965 w 3753016"/>
                    <a:gd name="connsiteY0" fmla="*/ 671729 h 1928037"/>
                    <a:gd name="connsiteX1" fmla="*/ 699714 w 3753016"/>
                    <a:gd name="connsiteY1" fmla="*/ 99235 h 1928037"/>
                    <a:gd name="connsiteX2" fmla="*/ 453224 w 3753016"/>
                    <a:gd name="connsiteY2" fmla="*/ 27675 h 1928037"/>
                    <a:gd name="connsiteX3" fmla="*/ 127221 w 3753016"/>
                    <a:gd name="connsiteY3" fmla="*/ 67430 h 1928037"/>
                    <a:gd name="connsiteX4" fmla="*/ 166977 w 3753016"/>
                    <a:gd name="connsiteY4" fmla="*/ 154897 h 1928037"/>
                    <a:gd name="connsiteX5" fmla="*/ 0 w 3753016"/>
                    <a:gd name="connsiteY5" fmla="*/ 226457 h 1928037"/>
                    <a:gd name="connsiteX6" fmla="*/ 818984 w 3753016"/>
                    <a:gd name="connsiteY6" fmla="*/ 1347591 h 1928037"/>
                    <a:gd name="connsiteX7" fmla="*/ 2011680 w 3753016"/>
                    <a:gd name="connsiteY7" fmla="*/ 1928037 h 1928037"/>
                    <a:gd name="connsiteX8" fmla="*/ 3753016 w 3753016"/>
                    <a:gd name="connsiteY8" fmla="*/ 1506617 h 1928037"/>
                    <a:gd name="connsiteX9" fmla="*/ 2409244 w 3753016"/>
                    <a:gd name="connsiteY9" fmla="*/ 1299884 h 1928037"/>
                    <a:gd name="connsiteX10" fmla="*/ 755373 w 3753016"/>
                    <a:gd name="connsiteY10" fmla="*/ 878464 h 1928037"/>
                    <a:gd name="connsiteX11" fmla="*/ 1311965 w 3753016"/>
                    <a:gd name="connsiteY11" fmla="*/ 671729 h 1928037"/>
                    <a:gd name="connsiteX0" fmla="*/ 1311965 w 3753016"/>
                    <a:gd name="connsiteY0" fmla="*/ 671729 h 1929647"/>
                    <a:gd name="connsiteX1" fmla="*/ 699714 w 3753016"/>
                    <a:gd name="connsiteY1" fmla="*/ 99235 h 1929647"/>
                    <a:gd name="connsiteX2" fmla="*/ 453224 w 3753016"/>
                    <a:gd name="connsiteY2" fmla="*/ 27675 h 1929647"/>
                    <a:gd name="connsiteX3" fmla="*/ 127221 w 3753016"/>
                    <a:gd name="connsiteY3" fmla="*/ 67430 h 1929647"/>
                    <a:gd name="connsiteX4" fmla="*/ 166977 w 3753016"/>
                    <a:gd name="connsiteY4" fmla="*/ 154897 h 1929647"/>
                    <a:gd name="connsiteX5" fmla="*/ 0 w 3753016"/>
                    <a:gd name="connsiteY5" fmla="*/ 226457 h 1929647"/>
                    <a:gd name="connsiteX6" fmla="*/ 818984 w 3753016"/>
                    <a:gd name="connsiteY6" fmla="*/ 1347591 h 1929647"/>
                    <a:gd name="connsiteX7" fmla="*/ 2011680 w 3753016"/>
                    <a:gd name="connsiteY7" fmla="*/ 1928037 h 1929647"/>
                    <a:gd name="connsiteX8" fmla="*/ 3753016 w 3753016"/>
                    <a:gd name="connsiteY8" fmla="*/ 1506617 h 1929647"/>
                    <a:gd name="connsiteX9" fmla="*/ 2409244 w 3753016"/>
                    <a:gd name="connsiteY9" fmla="*/ 1299884 h 1929647"/>
                    <a:gd name="connsiteX10" fmla="*/ 755373 w 3753016"/>
                    <a:gd name="connsiteY10" fmla="*/ 878464 h 1929647"/>
                    <a:gd name="connsiteX11" fmla="*/ 1311965 w 3753016"/>
                    <a:gd name="connsiteY11" fmla="*/ 671729 h 192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53016" h="1929647">
                      <a:moveTo>
                        <a:pt x="1311965" y="671729"/>
                      </a:moveTo>
                      <a:cubicBezTo>
                        <a:pt x="1166191" y="480897"/>
                        <a:pt x="893195" y="-35936"/>
                        <a:pt x="699714" y="99235"/>
                      </a:cubicBezTo>
                      <a:cubicBezTo>
                        <a:pt x="667909" y="136342"/>
                        <a:pt x="636104" y="-73042"/>
                        <a:pt x="453224" y="27675"/>
                      </a:cubicBezTo>
                      <a:cubicBezTo>
                        <a:pt x="360459" y="32976"/>
                        <a:pt x="331304" y="-57141"/>
                        <a:pt x="127221" y="67430"/>
                      </a:cubicBezTo>
                      <a:cubicBezTo>
                        <a:pt x="74212" y="88634"/>
                        <a:pt x="188181" y="128392"/>
                        <a:pt x="166977" y="154897"/>
                      </a:cubicBezTo>
                      <a:cubicBezTo>
                        <a:pt x="145773" y="181402"/>
                        <a:pt x="70236" y="131041"/>
                        <a:pt x="0" y="226457"/>
                      </a:cubicBezTo>
                      <a:cubicBezTo>
                        <a:pt x="272995" y="600168"/>
                        <a:pt x="673210" y="1283981"/>
                        <a:pt x="818984" y="1347591"/>
                      </a:cubicBezTo>
                      <a:cubicBezTo>
                        <a:pt x="1216549" y="1541073"/>
                        <a:pt x="1741336" y="1885630"/>
                        <a:pt x="2011680" y="1928037"/>
                      </a:cubicBezTo>
                      <a:cubicBezTo>
                        <a:pt x="2266121" y="1954542"/>
                        <a:pt x="3172571" y="1647090"/>
                        <a:pt x="3753016" y="1506617"/>
                      </a:cubicBezTo>
                      <a:cubicBezTo>
                        <a:pt x="3697357" y="1407226"/>
                        <a:pt x="3208351" y="1168688"/>
                        <a:pt x="2409244" y="1299884"/>
                      </a:cubicBezTo>
                      <a:cubicBezTo>
                        <a:pt x="489003" y="1295909"/>
                        <a:pt x="734169" y="972555"/>
                        <a:pt x="755373" y="878464"/>
                      </a:cubicBezTo>
                      <a:cubicBezTo>
                        <a:pt x="816333" y="727390"/>
                        <a:pt x="1115833" y="695583"/>
                        <a:pt x="1311965" y="671729"/>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80" name="직사각형 9">
                <a:extLst>
                  <a:ext uri="{FF2B5EF4-FFF2-40B4-BE49-F238E27FC236}">
                    <a16:creationId xmlns:a16="http://schemas.microsoft.com/office/drawing/2014/main" id="{A283AB9E-BF1B-2E4D-99D2-5F2A275DFBD2}"/>
                  </a:ext>
                </a:extLst>
              </p:cNvPr>
              <p:cNvSpPr/>
              <p:nvPr/>
            </p:nvSpPr>
            <p:spPr>
              <a:xfrm rot="18740140">
                <a:off x="1753624" y="2648402"/>
                <a:ext cx="285737" cy="709307"/>
              </a:xfrm>
              <a:prstGeom prst="rect">
                <a:avLst/>
              </a:prstGeom>
              <a:solidFill>
                <a:schemeClr val="tx1"/>
              </a:solidFill>
              <a:ln>
                <a:noFill/>
              </a:ln>
              <a:effectLst>
                <a:outerShdw blurRad="508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42" name="그룹 61">
              <a:extLst>
                <a:ext uri="{FF2B5EF4-FFF2-40B4-BE49-F238E27FC236}">
                  <a16:creationId xmlns:a16="http://schemas.microsoft.com/office/drawing/2014/main" id="{26FFEE2A-2642-E14B-AC5D-F1A9BCC3E602}"/>
                </a:ext>
              </a:extLst>
            </p:cNvPr>
            <p:cNvGrpSpPr/>
            <p:nvPr/>
          </p:nvGrpSpPr>
          <p:grpSpPr>
            <a:xfrm>
              <a:off x="4418825" y="1666106"/>
              <a:ext cx="3343265" cy="3378518"/>
              <a:chOff x="4440672" y="1511354"/>
              <a:chExt cx="3343265" cy="3378518"/>
            </a:xfrm>
          </p:grpSpPr>
          <p:sp>
            <p:nvSpPr>
              <p:cNvPr id="43" name="자유형: 도형 19">
                <a:extLst>
                  <a:ext uri="{FF2B5EF4-FFF2-40B4-BE49-F238E27FC236}">
                    <a16:creationId xmlns:a16="http://schemas.microsoft.com/office/drawing/2014/main" id="{4273FEB0-D884-5840-A649-6780BF64A98C}"/>
                  </a:ext>
                </a:extLst>
              </p:cNvPr>
              <p:cNvSpPr/>
              <p:nvPr/>
            </p:nvSpPr>
            <p:spPr>
              <a:xfrm rot="18805991">
                <a:off x="4423046" y="1528980"/>
                <a:ext cx="3378518" cy="3343265"/>
              </a:xfrm>
              <a:custGeom>
                <a:avLst/>
                <a:gdLst>
                  <a:gd name="connsiteX0" fmla="*/ 1582868 w 3378518"/>
                  <a:gd name="connsiteY0" fmla="*/ 2514775 h 3343265"/>
                  <a:gd name="connsiteX1" fmla="*/ 1585140 w 3378518"/>
                  <a:gd name="connsiteY1" fmla="*/ 2520032 h 3343265"/>
                  <a:gd name="connsiteX2" fmla="*/ 1571007 w 3378518"/>
                  <a:gd name="connsiteY2" fmla="*/ 2543617 h 3343265"/>
                  <a:gd name="connsiteX3" fmla="*/ 890036 w 3378518"/>
                  <a:gd name="connsiteY3" fmla="*/ 1777279 h 3343265"/>
                  <a:gd name="connsiteX4" fmla="*/ 867690 w 3378518"/>
                  <a:gd name="connsiteY4" fmla="*/ 1772294 h 3343265"/>
                  <a:gd name="connsiteX5" fmla="*/ 874046 w 3378518"/>
                  <a:gd name="connsiteY5" fmla="*/ 1768943 h 3343265"/>
                  <a:gd name="connsiteX6" fmla="*/ 910377 w 3378518"/>
                  <a:gd name="connsiteY6" fmla="*/ 1787884 h 3343265"/>
                  <a:gd name="connsiteX7" fmla="*/ 909725 w 3378518"/>
                  <a:gd name="connsiteY7" fmla="*/ 1788361 h 3343265"/>
                  <a:gd name="connsiteX8" fmla="*/ 905259 w 3378518"/>
                  <a:gd name="connsiteY8" fmla="*/ 1785216 h 3343265"/>
                  <a:gd name="connsiteX9" fmla="*/ 1540529 w 3378518"/>
                  <a:gd name="connsiteY9" fmla="*/ 2416784 h 3343265"/>
                  <a:gd name="connsiteX10" fmla="*/ 1544133 w 3378518"/>
                  <a:gd name="connsiteY10" fmla="*/ 2425125 h 3343265"/>
                  <a:gd name="connsiteX11" fmla="*/ 1537828 w 3378518"/>
                  <a:gd name="connsiteY11" fmla="*/ 2422532 h 3343265"/>
                  <a:gd name="connsiteX12" fmla="*/ 2052499 w 3378518"/>
                  <a:gd name="connsiteY12" fmla="*/ 409197 h 3343265"/>
                  <a:gd name="connsiteX13" fmla="*/ 1721848 w 3378518"/>
                  <a:gd name="connsiteY13" fmla="*/ 978193 h 3343265"/>
                  <a:gd name="connsiteX14" fmla="*/ 1718264 w 3378518"/>
                  <a:gd name="connsiteY14" fmla="*/ 1549318 h 3343265"/>
                  <a:gd name="connsiteX15" fmla="*/ 1553358 w 3378518"/>
                  <a:gd name="connsiteY15" fmla="*/ 1712169 h 3343265"/>
                  <a:gd name="connsiteX16" fmla="*/ 982233 w 3378518"/>
                  <a:gd name="connsiteY16" fmla="*/ 1708585 h 3343265"/>
                  <a:gd name="connsiteX17" fmla="*/ 438132 w 3378518"/>
                  <a:gd name="connsiteY17" fmla="*/ 1996240 h 3343265"/>
                  <a:gd name="connsiteX18" fmla="*/ 1327831 w 3378518"/>
                  <a:gd name="connsiteY18" fmla="*/ 2935982 h 3343265"/>
                  <a:gd name="connsiteX19" fmla="*/ 1644360 w 3378518"/>
                  <a:gd name="connsiteY19" fmla="*/ 2379076 h 3343265"/>
                  <a:gd name="connsiteX20" fmla="*/ 1647944 w 3378518"/>
                  <a:gd name="connsiteY20" fmla="*/ 1807951 h 3343265"/>
                  <a:gd name="connsiteX21" fmla="*/ 1812850 w 3378518"/>
                  <a:gd name="connsiteY21" fmla="*/ 1645100 h 3343265"/>
                  <a:gd name="connsiteX22" fmla="*/ 2383975 w 3378518"/>
                  <a:gd name="connsiteY22" fmla="*/ 1648684 h 3343265"/>
                  <a:gd name="connsiteX23" fmla="*/ 2775160 w 3378518"/>
                  <a:gd name="connsiteY23" fmla="*/ 1524061 h 3343265"/>
                  <a:gd name="connsiteX24" fmla="*/ 2793741 w 3378518"/>
                  <a:gd name="connsiteY24" fmla="*/ 1508778 h 3343265"/>
                  <a:gd name="connsiteX25" fmla="*/ 2816322 w 3378518"/>
                  <a:gd name="connsiteY25" fmla="*/ 1508471 h 3343265"/>
                  <a:gd name="connsiteX26" fmla="*/ 2806599 w 3378518"/>
                  <a:gd name="connsiteY26" fmla="*/ 1498202 h 3343265"/>
                  <a:gd name="connsiteX27" fmla="*/ 2837773 w 3378518"/>
                  <a:gd name="connsiteY27" fmla="*/ 1472561 h 3343265"/>
                  <a:gd name="connsiteX28" fmla="*/ 2941609 w 3378518"/>
                  <a:gd name="connsiteY28" fmla="*/ 1348315 h 3343265"/>
                  <a:gd name="connsiteX29" fmla="*/ 2174049 w 3378518"/>
                  <a:gd name="connsiteY29" fmla="*/ 52146 h 3343265"/>
                  <a:gd name="connsiteX30" fmla="*/ 3332823 w 3378518"/>
                  <a:gd name="connsiteY30" fmla="*/ 1276097 h 3343265"/>
                  <a:gd name="connsiteX31" fmla="*/ 3326372 w 3378518"/>
                  <a:gd name="connsiteY31" fmla="*/ 1512000 h 3343265"/>
                  <a:gd name="connsiteX32" fmla="*/ 3090468 w 3378518"/>
                  <a:gd name="connsiteY32" fmla="*/ 1505547 h 3343265"/>
                  <a:gd name="connsiteX33" fmla="*/ 3073378 w 3378518"/>
                  <a:gd name="connsiteY33" fmla="*/ 1487496 h 3343265"/>
                  <a:gd name="connsiteX34" fmla="*/ 2382792 w 3378518"/>
                  <a:gd name="connsiteY34" fmla="*/ 1837062 h 3343265"/>
                  <a:gd name="connsiteX35" fmla="*/ 1832752 w 3378518"/>
                  <a:gd name="connsiteY35" fmla="*/ 1833609 h 3343265"/>
                  <a:gd name="connsiteX36" fmla="*/ 1832752 w 3378518"/>
                  <a:gd name="connsiteY36" fmla="*/ 2374892 h 3343265"/>
                  <a:gd name="connsiteX37" fmla="*/ 1457702 w 3378518"/>
                  <a:gd name="connsiteY37" fmla="*/ 3079064 h 3343265"/>
                  <a:gd name="connsiteX38" fmla="*/ 1440373 w 3378518"/>
                  <a:gd name="connsiteY38" fmla="*/ 3297572 h 3343265"/>
                  <a:gd name="connsiteX39" fmla="*/ 1204469 w 3378518"/>
                  <a:gd name="connsiteY39" fmla="*/ 3291119 h 3343265"/>
                  <a:gd name="connsiteX40" fmla="*/ 45693 w 3378518"/>
                  <a:gd name="connsiteY40" fmla="*/ 2067168 h 3343265"/>
                  <a:gd name="connsiteX41" fmla="*/ 52146 w 3378518"/>
                  <a:gd name="connsiteY41" fmla="*/ 1831267 h 3343265"/>
                  <a:gd name="connsiteX42" fmla="*/ 288050 w 3378518"/>
                  <a:gd name="connsiteY42" fmla="*/ 1837718 h 3343265"/>
                  <a:gd name="connsiteX43" fmla="*/ 305161 w 3378518"/>
                  <a:gd name="connsiteY43" fmla="*/ 1855791 h 3343265"/>
                  <a:gd name="connsiteX44" fmla="*/ 978047 w 3378518"/>
                  <a:gd name="connsiteY44" fmla="*/ 1520187 h 3343265"/>
                  <a:gd name="connsiteX45" fmla="*/ 1530057 w 3378518"/>
                  <a:gd name="connsiteY45" fmla="*/ 1520187 h 3343265"/>
                  <a:gd name="connsiteX46" fmla="*/ 1533467 w 3378518"/>
                  <a:gd name="connsiteY46" fmla="*/ 977008 h 3343265"/>
                  <a:gd name="connsiteX47" fmla="*/ 1923558 w 3378518"/>
                  <a:gd name="connsiteY47" fmla="*/ 268587 h 3343265"/>
                  <a:gd name="connsiteX48" fmla="*/ 1938145 w 3378518"/>
                  <a:gd name="connsiteY48" fmla="*/ 45695 h 3343265"/>
                  <a:gd name="connsiteX49" fmla="*/ 2174049 w 3378518"/>
                  <a:gd name="connsiteY49" fmla="*/ 52146 h 3343265"/>
                  <a:gd name="connsiteX0" fmla="*/ 1582868 w 3378518"/>
                  <a:gd name="connsiteY0" fmla="*/ 2514775 h 3343265"/>
                  <a:gd name="connsiteX1" fmla="*/ 1585140 w 3378518"/>
                  <a:gd name="connsiteY1" fmla="*/ 2520032 h 3343265"/>
                  <a:gd name="connsiteX2" fmla="*/ 1571007 w 3378518"/>
                  <a:gd name="connsiteY2" fmla="*/ 2543617 h 3343265"/>
                  <a:gd name="connsiteX3" fmla="*/ 1582868 w 3378518"/>
                  <a:gd name="connsiteY3" fmla="*/ 2514775 h 3343265"/>
                  <a:gd name="connsiteX4" fmla="*/ 890036 w 3378518"/>
                  <a:gd name="connsiteY4" fmla="*/ 1777279 h 3343265"/>
                  <a:gd name="connsiteX5" fmla="*/ 867690 w 3378518"/>
                  <a:gd name="connsiteY5" fmla="*/ 1772294 h 3343265"/>
                  <a:gd name="connsiteX6" fmla="*/ 874046 w 3378518"/>
                  <a:gd name="connsiteY6" fmla="*/ 1768943 h 3343265"/>
                  <a:gd name="connsiteX7" fmla="*/ 890036 w 3378518"/>
                  <a:gd name="connsiteY7" fmla="*/ 1777279 h 3343265"/>
                  <a:gd name="connsiteX8" fmla="*/ 910377 w 3378518"/>
                  <a:gd name="connsiteY8" fmla="*/ 1787884 h 3343265"/>
                  <a:gd name="connsiteX9" fmla="*/ 909725 w 3378518"/>
                  <a:gd name="connsiteY9" fmla="*/ 1788361 h 3343265"/>
                  <a:gd name="connsiteX10" fmla="*/ 905259 w 3378518"/>
                  <a:gd name="connsiteY10" fmla="*/ 1785216 h 3343265"/>
                  <a:gd name="connsiteX11" fmla="*/ 910377 w 3378518"/>
                  <a:gd name="connsiteY11" fmla="*/ 1787884 h 3343265"/>
                  <a:gd name="connsiteX12" fmla="*/ 1540529 w 3378518"/>
                  <a:gd name="connsiteY12" fmla="*/ 2416784 h 3343265"/>
                  <a:gd name="connsiteX13" fmla="*/ 1544133 w 3378518"/>
                  <a:gd name="connsiteY13" fmla="*/ 2425125 h 3343265"/>
                  <a:gd name="connsiteX14" fmla="*/ 1537828 w 3378518"/>
                  <a:gd name="connsiteY14" fmla="*/ 2422532 h 3343265"/>
                  <a:gd name="connsiteX15" fmla="*/ 1540529 w 3378518"/>
                  <a:gd name="connsiteY15" fmla="*/ 2416784 h 3343265"/>
                  <a:gd name="connsiteX16" fmla="*/ 2052499 w 3378518"/>
                  <a:gd name="connsiteY16" fmla="*/ 409197 h 3343265"/>
                  <a:gd name="connsiteX17" fmla="*/ 1721848 w 3378518"/>
                  <a:gd name="connsiteY17" fmla="*/ 978193 h 3343265"/>
                  <a:gd name="connsiteX18" fmla="*/ 1718264 w 3378518"/>
                  <a:gd name="connsiteY18" fmla="*/ 1549318 h 3343265"/>
                  <a:gd name="connsiteX19" fmla="*/ 1553358 w 3378518"/>
                  <a:gd name="connsiteY19" fmla="*/ 1712169 h 3343265"/>
                  <a:gd name="connsiteX20" fmla="*/ 982233 w 3378518"/>
                  <a:gd name="connsiteY20" fmla="*/ 1708585 h 3343265"/>
                  <a:gd name="connsiteX21" fmla="*/ 438132 w 3378518"/>
                  <a:gd name="connsiteY21" fmla="*/ 1996240 h 3343265"/>
                  <a:gd name="connsiteX22" fmla="*/ 1327831 w 3378518"/>
                  <a:gd name="connsiteY22" fmla="*/ 2935982 h 3343265"/>
                  <a:gd name="connsiteX23" fmla="*/ 1644360 w 3378518"/>
                  <a:gd name="connsiteY23" fmla="*/ 2379076 h 3343265"/>
                  <a:gd name="connsiteX24" fmla="*/ 1647944 w 3378518"/>
                  <a:gd name="connsiteY24" fmla="*/ 1807951 h 3343265"/>
                  <a:gd name="connsiteX25" fmla="*/ 1812850 w 3378518"/>
                  <a:gd name="connsiteY25" fmla="*/ 1645100 h 3343265"/>
                  <a:gd name="connsiteX26" fmla="*/ 2383975 w 3378518"/>
                  <a:gd name="connsiteY26" fmla="*/ 1648684 h 3343265"/>
                  <a:gd name="connsiteX27" fmla="*/ 2775160 w 3378518"/>
                  <a:gd name="connsiteY27" fmla="*/ 1524061 h 3343265"/>
                  <a:gd name="connsiteX28" fmla="*/ 2793741 w 3378518"/>
                  <a:gd name="connsiteY28" fmla="*/ 1508778 h 3343265"/>
                  <a:gd name="connsiteX29" fmla="*/ 2816322 w 3378518"/>
                  <a:gd name="connsiteY29" fmla="*/ 1508471 h 3343265"/>
                  <a:gd name="connsiteX30" fmla="*/ 2806599 w 3378518"/>
                  <a:gd name="connsiteY30" fmla="*/ 1498202 h 3343265"/>
                  <a:gd name="connsiteX31" fmla="*/ 2837773 w 3378518"/>
                  <a:gd name="connsiteY31" fmla="*/ 1472561 h 3343265"/>
                  <a:gd name="connsiteX32" fmla="*/ 2941609 w 3378518"/>
                  <a:gd name="connsiteY32" fmla="*/ 1348315 h 3343265"/>
                  <a:gd name="connsiteX33" fmla="*/ 2052499 w 3378518"/>
                  <a:gd name="connsiteY33" fmla="*/ 409197 h 3343265"/>
                  <a:gd name="connsiteX34" fmla="*/ 2174049 w 3378518"/>
                  <a:gd name="connsiteY34" fmla="*/ 52146 h 3343265"/>
                  <a:gd name="connsiteX35" fmla="*/ 3332823 w 3378518"/>
                  <a:gd name="connsiteY35" fmla="*/ 1276097 h 3343265"/>
                  <a:gd name="connsiteX36" fmla="*/ 3326372 w 3378518"/>
                  <a:gd name="connsiteY36" fmla="*/ 1512000 h 3343265"/>
                  <a:gd name="connsiteX37" fmla="*/ 3090468 w 3378518"/>
                  <a:gd name="connsiteY37" fmla="*/ 1505547 h 3343265"/>
                  <a:gd name="connsiteX38" fmla="*/ 3073378 w 3378518"/>
                  <a:gd name="connsiteY38" fmla="*/ 1487496 h 3343265"/>
                  <a:gd name="connsiteX39" fmla="*/ 2382792 w 3378518"/>
                  <a:gd name="connsiteY39" fmla="*/ 1837062 h 3343265"/>
                  <a:gd name="connsiteX40" fmla="*/ 1832752 w 3378518"/>
                  <a:gd name="connsiteY40" fmla="*/ 1833609 h 3343265"/>
                  <a:gd name="connsiteX41" fmla="*/ 1832752 w 3378518"/>
                  <a:gd name="connsiteY41" fmla="*/ 2374892 h 3343265"/>
                  <a:gd name="connsiteX42" fmla="*/ 1457702 w 3378518"/>
                  <a:gd name="connsiteY42" fmla="*/ 3079064 h 3343265"/>
                  <a:gd name="connsiteX43" fmla="*/ 1440373 w 3378518"/>
                  <a:gd name="connsiteY43" fmla="*/ 3297572 h 3343265"/>
                  <a:gd name="connsiteX44" fmla="*/ 1204469 w 3378518"/>
                  <a:gd name="connsiteY44" fmla="*/ 3291119 h 3343265"/>
                  <a:gd name="connsiteX45" fmla="*/ 45693 w 3378518"/>
                  <a:gd name="connsiteY45" fmla="*/ 2067168 h 3343265"/>
                  <a:gd name="connsiteX46" fmla="*/ 52146 w 3378518"/>
                  <a:gd name="connsiteY46" fmla="*/ 1831267 h 3343265"/>
                  <a:gd name="connsiteX47" fmla="*/ 288050 w 3378518"/>
                  <a:gd name="connsiteY47" fmla="*/ 1837718 h 3343265"/>
                  <a:gd name="connsiteX48" fmla="*/ 305161 w 3378518"/>
                  <a:gd name="connsiteY48" fmla="*/ 1855791 h 3343265"/>
                  <a:gd name="connsiteX49" fmla="*/ 978047 w 3378518"/>
                  <a:gd name="connsiteY49" fmla="*/ 1520187 h 3343265"/>
                  <a:gd name="connsiteX50" fmla="*/ 1530057 w 3378518"/>
                  <a:gd name="connsiteY50" fmla="*/ 1520187 h 3343265"/>
                  <a:gd name="connsiteX51" fmla="*/ 1533467 w 3378518"/>
                  <a:gd name="connsiteY51" fmla="*/ 977008 h 3343265"/>
                  <a:gd name="connsiteX52" fmla="*/ 1923558 w 3378518"/>
                  <a:gd name="connsiteY52" fmla="*/ 268587 h 3343265"/>
                  <a:gd name="connsiteX53" fmla="*/ 1938145 w 3378518"/>
                  <a:gd name="connsiteY53" fmla="*/ 45695 h 3343265"/>
                  <a:gd name="connsiteX54" fmla="*/ 2174049 w 3378518"/>
                  <a:gd name="connsiteY54" fmla="*/ 52146 h 3343265"/>
                  <a:gd name="connsiteX0" fmla="*/ 1571007 w 3378518"/>
                  <a:gd name="connsiteY0" fmla="*/ 2543617 h 3343265"/>
                  <a:gd name="connsiteX1" fmla="*/ 1585140 w 3378518"/>
                  <a:gd name="connsiteY1" fmla="*/ 2520032 h 3343265"/>
                  <a:gd name="connsiteX2" fmla="*/ 1571007 w 3378518"/>
                  <a:gd name="connsiteY2" fmla="*/ 2543617 h 3343265"/>
                  <a:gd name="connsiteX3" fmla="*/ 890036 w 3378518"/>
                  <a:gd name="connsiteY3" fmla="*/ 1777279 h 3343265"/>
                  <a:gd name="connsiteX4" fmla="*/ 867690 w 3378518"/>
                  <a:gd name="connsiteY4" fmla="*/ 1772294 h 3343265"/>
                  <a:gd name="connsiteX5" fmla="*/ 874046 w 3378518"/>
                  <a:gd name="connsiteY5" fmla="*/ 1768943 h 3343265"/>
                  <a:gd name="connsiteX6" fmla="*/ 890036 w 3378518"/>
                  <a:gd name="connsiteY6" fmla="*/ 1777279 h 3343265"/>
                  <a:gd name="connsiteX7" fmla="*/ 910377 w 3378518"/>
                  <a:gd name="connsiteY7" fmla="*/ 1787884 h 3343265"/>
                  <a:gd name="connsiteX8" fmla="*/ 909725 w 3378518"/>
                  <a:gd name="connsiteY8" fmla="*/ 1788361 h 3343265"/>
                  <a:gd name="connsiteX9" fmla="*/ 905259 w 3378518"/>
                  <a:gd name="connsiteY9" fmla="*/ 1785216 h 3343265"/>
                  <a:gd name="connsiteX10" fmla="*/ 910377 w 3378518"/>
                  <a:gd name="connsiteY10" fmla="*/ 1787884 h 3343265"/>
                  <a:gd name="connsiteX11" fmla="*/ 1540529 w 3378518"/>
                  <a:gd name="connsiteY11" fmla="*/ 2416784 h 3343265"/>
                  <a:gd name="connsiteX12" fmla="*/ 1544133 w 3378518"/>
                  <a:gd name="connsiteY12" fmla="*/ 2425125 h 3343265"/>
                  <a:gd name="connsiteX13" fmla="*/ 1537828 w 3378518"/>
                  <a:gd name="connsiteY13" fmla="*/ 2422532 h 3343265"/>
                  <a:gd name="connsiteX14" fmla="*/ 1540529 w 3378518"/>
                  <a:gd name="connsiteY14" fmla="*/ 2416784 h 3343265"/>
                  <a:gd name="connsiteX15" fmla="*/ 2052499 w 3378518"/>
                  <a:gd name="connsiteY15" fmla="*/ 409197 h 3343265"/>
                  <a:gd name="connsiteX16" fmla="*/ 1721848 w 3378518"/>
                  <a:gd name="connsiteY16" fmla="*/ 978193 h 3343265"/>
                  <a:gd name="connsiteX17" fmla="*/ 1718264 w 3378518"/>
                  <a:gd name="connsiteY17" fmla="*/ 1549318 h 3343265"/>
                  <a:gd name="connsiteX18" fmla="*/ 1553358 w 3378518"/>
                  <a:gd name="connsiteY18" fmla="*/ 1712169 h 3343265"/>
                  <a:gd name="connsiteX19" fmla="*/ 982233 w 3378518"/>
                  <a:gd name="connsiteY19" fmla="*/ 1708585 h 3343265"/>
                  <a:gd name="connsiteX20" fmla="*/ 438132 w 3378518"/>
                  <a:gd name="connsiteY20" fmla="*/ 1996240 h 3343265"/>
                  <a:gd name="connsiteX21" fmla="*/ 1327831 w 3378518"/>
                  <a:gd name="connsiteY21" fmla="*/ 2935982 h 3343265"/>
                  <a:gd name="connsiteX22" fmla="*/ 1644360 w 3378518"/>
                  <a:gd name="connsiteY22" fmla="*/ 2379076 h 3343265"/>
                  <a:gd name="connsiteX23" fmla="*/ 1647944 w 3378518"/>
                  <a:gd name="connsiteY23" fmla="*/ 1807951 h 3343265"/>
                  <a:gd name="connsiteX24" fmla="*/ 1812850 w 3378518"/>
                  <a:gd name="connsiteY24" fmla="*/ 1645100 h 3343265"/>
                  <a:gd name="connsiteX25" fmla="*/ 2383975 w 3378518"/>
                  <a:gd name="connsiteY25" fmla="*/ 1648684 h 3343265"/>
                  <a:gd name="connsiteX26" fmla="*/ 2775160 w 3378518"/>
                  <a:gd name="connsiteY26" fmla="*/ 1524061 h 3343265"/>
                  <a:gd name="connsiteX27" fmla="*/ 2793741 w 3378518"/>
                  <a:gd name="connsiteY27" fmla="*/ 1508778 h 3343265"/>
                  <a:gd name="connsiteX28" fmla="*/ 2816322 w 3378518"/>
                  <a:gd name="connsiteY28" fmla="*/ 1508471 h 3343265"/>
                  <a:gd name="connsiteX29" fmla="*/ 2806599 w 3378518"/>
                  <a:gd name="connsiteY29" fmla="*/ 1498202 h 3343265"/>
                  <a:gd name="connsiteX30" fmla="*/ 2837773 w 3378518"/>
                  <a:gd name="connsiteY30" fmla="*/ 1472561 h 3343265"/>
                  <a:gd name="connsiteX31" fmla="*/ 2941609 w 3378518"/>
                  <a:gd name="connsiteY31" fmla="*/ 1348315 h 3343265"/>
                  <a:gd name="connsiteX32" fmla="*/ 2052499 w 3378518"/>
                  <a:gd name="connsiteY32" fmla="*/ 409197 h 3343265"/>
                  <a:gd name="connsiteX33" fmla="*/ 2174049 w 3378518"/>
                  <a:gd name="connsiteY33" fmla="*/ 52146 h 3343265"/>
                  <a:gd name="connsiteX34" fmla="*/ 3332823 w 3378518"/>
                  <a:gd name="connsiteY34" fmla="*/ 1276097 h 3343265"/>
                  <a:gd name="connsiteX35" fmla="*/ 3326372 w 3378518"/>
                  <a:gd name="connsiteY35" fmla="*/ 1512000 h 3343265"/>
                  <a:gd name="connsiteX36" fmla="*/ 3090468 w 3378518"/>
                  <a:gd name="connsiteY36" fmla="*/ 1505547 h 3343265"/>
                  <a:gd name="connsiteX37" fmla="*/ 3073378 w 3378518"/>
                  <a:gd name="connsiteY37" fmla="*/ 1487496 h 3343265"/>
                  <a:gd name="connsiteX38" fmla="*/ 2382792 w 3378518"/>
                  <a:gd name="connsiteY38" fmla="*/ 1837062 h 3343265"/>
                  <a:gd name="connsiteX39" fmla="*/ 1832752 w 3378518"/>
                  <a:gd name="connsiteY39" fmla="*/ 1833609 h 3343265"/>
                  <a:gd name="connsiteX40" fmla="*/ 1832752 w 3378518"/>
                  <a:gd name="connsiteY40" fmla="*/ 2374892 h 3343265"/>
                  <a:gd name="connsiteX41" fmla="*/ 1457702 w 3378518"/>
                  <a:gd name="connsiteY41" fmla="*/ 3079064 h 3343265"/>
                  <a:gd name="connsiteX42" fmla="*/ 1440373 w 3378518"/>
                  <a:gd name="connsiteY42" fmla="*/ 3297572 h 3343265"/>
                  <a:gd name="connsiteX43" fmla="*/ 1204469 w 3378518"/>
                  <a:gd name="connsiteY43" fmla="*/ 3291119 h 3343265"/>
                  <a:gd name="connsiteX44" fmla="*/ 45693 w 3378518"/>
                  <a:gd name="connsiteY44" fmla="*/ 2067168 h 3343265"/>
                  <a:gd name="connsiteX45" fmla="*/ 52146 w 3378518"/>
                  <a:gd name="connsiteY45" fmla="*/ 1831267 h 3343265"/>
                  <a:gd name="connsiteX46" fmla="*/ 288050 w 3378518"/>
                  <a:gd name="connsiteY46" fmla="*/ 1837718 h 3343265"/>
                  <a:gd name="connsiteX47" fmla="*/ 305161 w 3378518"/>
                  <a:gd name="connsiteY47" fmla="*/ 1855791 h 3343265"/>
                  <a:gd name="connsiteX48" fmla="*/ 978047 w 3378518"/>
                  <a:gd name="connsiteY48" fmla="*/ 1520187 h 3343265"/>
                  <a:gd name="connsiteX49" fmla="*/ 1530057 w 3378518"/>
                  <a:gd name="connsiteY49" fmla="*/ 1520187 h 3343265"/>
                  <a:gd name="connsiteX50" fmla="*/ 1533467 w 3378518"/>
                  <a:gd name="connsiteY50" fmla="*/ 977008 h 3343265"/>
                  <a:gd name="connsiteX51" fmla="*/ 1923558 w 3378518"/>
                  <a:gd name="connsiteY51" fmla="*/ 268587 h 3343265"/>
                  <a:gd name="connsiteX52" fmla="*/ 1938145 w 3378518"/>
                  <a:gd name="connsiteY52" fmla="*/ 45695 h 3343265"/>
                  <a:gd name="connsiteX53" fmla="*/ 2174049 w 3378518"/>
                  <a:gd name="connsiteY53" fmla="*/ 52146 h 3343265"/>
                  <a:gd name="connsiteX0" fmla="*/ 890036 w 3378518"/>
                  <a:gd name="connsiteY0" fmla="*/ 1777279 h 3343265"/>
                  <a:gd name="connsiteX1" fmla="*/ 867690 w 3378518"/>
                  <a:gd name="connsiteY1" fmla="*/ 1772294 h 3343265"/>
                  <a:gd name="connsiteX2" fmla="*/ 874046 w 3378518"/>
                  <a:gd name="connsiteY2" fmla="*/ 1768943 h 3343265"/>
                  <a:gd name="connsiteX3" fmla="*/ 890036 w 3378518"/>
                  <a:gd name="connsiteY3" fmla="*/ 1777279 h 3343265"/>
                  <a:gd name="connsiteX4" fmla="*/ 910377 w 3378518"/>
                  <a:gd name="connsiteY4" fmla="*/ 1787884 h 3343265"/>
                  <a:gd name="connsiteX5" fmla="*/ 909725 w 3378518"/>
                  <a:gd name="connsiteY5" fmla="*/ 1788361 h 3343265"/>
                  <a:gd name="connsiteX6" fmla="*/ 905259 w 3378518"/>
                  <a:gd name="connsiteY6" fmla="*/ 1785216 h 3343265"/>
                  <a:gd name="connsiteX7" fmla="*/ 910377 w 3378518"/>
                  <a:gd name="connsiteY7" fmla="*/ 1787884 h 3343265"/>
                  <a:gd name="connsiteX8" fmla="*/ 1540529 w 3378518"/>
                  <a:gd name="connsiteY8" fmla="*/ 2416784 h 3343265"/>
                  <a:gd name="connsiteX9" fmla="*/ 1544133 w 3378518"/>
                  <a:gd name="connsiteY9" fmla="*/ 2425125 h 3343265"/>
                  <a:gd name="connsiteX10" fmla="*/ 1537828 w 3378518"/>
                  <a:gd name="connsiteY10" fmla="*/ 2422532 h 3343265"/>
                  <a:gd name="connsiteX11" fmla="*/ 1540529 w 3378518"/>
                  <a:gd name="connsiteY11" fmla="*/ 2416784 h 3343265"/>
                  <a:gd name="connsiteX12" fmla="*/ 2052499 w 3378518"/>
                  <a:gd name="connsiteY12" fmla="*/ 409197 h 3343265"/>
                  <a:gd name="connsiteX13" fmla="*/ 1721848 w 3378518"/>
                  <a:gd name="connsiteY13" fmla="*/ 978193 h 3343265"/>
                  <a:gd name="connsiteX14" fmla="*/ 1718264 w 3378518"/>
                  <a:gd name="connsiteY14" fmla="*/ 1549318 h 3343265"/>
                  <a:gd name="connsiteX15" fmla="*/ 1553358 w 3378518"/>
                  <a:gd name="connsiteY15" fmla="*/ 1712169 h 3343265"/>
                  <a:gd name="connsiteX16" fmla="*/ 982233 w 3378518"/>
                  <a:gd name="connsiteY16" fmla="*/ 1708585 h 3343265"/>
                  <a:gd name="connsiteX17" fmla="*/ 438132 w 3378518"/>
                  <a:gd name="connsiteY17" fmla="*/ 1996240 h 3343265"/>
                  <a:gd name="connsiteX18" fmla="*/ 1327831 w 3378518"/>
                  <a:gd name="connsiteY18" fmla="*/ 2935982 h 3343265"/>
                  <a:gd name="connsiteX19" fmla="*/ 1644360 w 3378518"/>
                  <a:gd name="connsiteY19" fmla="*/ 2379076 h 3343265"/>
                  <a:gd name="connsiteX20" fmla="*/ 1647944 w 3378518"/>
                  <a:gd name="connsiteY20" fmla="*/ 1807951 h 3343265"/>
                  <a:gd name="connsiteX21" fmla="*/ 1812850 w 3378518"/>
                  <a:gd name="connsiteY21" fmla="*/ 1645100 h 3343265"/>
                  <a:gd name="connsiteX22" fmla="*/ 2383975 w 3378518"/>
                  <a:gd name="connsiteY22" fmla="*/ 1648684 h 3343265"/>
                  <a:gd name="connsiteX23" fmla="*/ 2775160 w 3378518"/>
                  <a:gd name="connsiteY23" fmla="*/ 1524061 h 3343265"/>
                  <a:gd name="connsiteX24" fmla="*/ 2793741 w 3378518"/>
                  <a:gd name="connsiteY24" fmla="*/ 1508778 h 3343265"/>
                  <a:gd name="connsiteX25" fmla="*/ 2816322 w 3378518"/>
                  <a:gd name="connsiteY25" fmla="*/ 1508471 h 3343265"/>
                  <a:gd name="connsiteX26" fmla="*/ 2806599 w 3378518"/>
                  <a:gd name="connsiteY26" fmla="*/ 1498202 h 3343265"/>
                  <a:gd name="connsiteX27" fmla="*/ 2837773 w 3378518"/>
                  <a:gd name="connsiteY27" fmla="*/ 1472561 h 3343265"/>
                  <a:gd name="connsiteX28" fmla="*/ 2941609 w 3378518"/>
                  <a:gd name="connsiteY28" fmla="*/ 1348315 h 3343265"/>
                  <a:gd name="connsiteX29" fmla="*/ 2052499 w 3378518"/>
                  <a:gd name="connsiteY29" fmla="*/ 409197 h 3343265"/>
                  <a:gd name="connsiteX30" fmla="*/ 2174049 w 3378518"/>
                  <a:gd name="connsiteY30" fmla="*/ 52146 h 3343265"/>
                  <a:gd name="connsiteX31" fmla="*/ 3332823 w 3378518"/>
                  <a:gd name="connsiteY31" fmla="*/ 1276097 h 3343265"/>
                  <a:gd name="connsiteX32" fmla="*/ 3326372 w 3378518"/>
                  <a:gd name="connsiteY32" fmla="*/ 1512000 h 3343265"/>
                  <a:gd name="connsiteX33" fmla="*/ 3090468 w 3378518"/>
                  <a:gd name="connsiteY33" fmla="*/ 1505547 h 3343265"/>
                  <a:gd name="connsiteX34" fmla="*/ 3073378 w 3378518"/>
                  <a:gd name="connsiteY34" fmla="*/ 1487496 h 3343265"/>
                  <a:gd name="connsiteX35" fmla="*/ 2382792 w 3378518"/>
                  <a:gd name="connsiteY35" fmla="*/ 1837062 h 3343265"/>
                  <a:gd name="connsiteX36" fmla="*/ 1832752 w 3378518"/>
                  <a:gd name="connsiteY36" fmla="*/ 1833609 h 3343265"/>
                  <a:gd name="connsiteX37" fmla="*/ 1832752 w 3378518"/>
                  <a:gd name="connsiteY37" fmla="*/ 2374892 h 3343265"/>
                  <a:gd name="connsiteX38" fmla="*/ 1457702 w 3378518"/>
                  <a:gd name="connsiteY38" fmla="*/ 3079064 h 3343265"/>
                  <a:gd name="connsiteX39" fmla="*/ 1440373 w 3378518"/>
                  <a:gd name="connsiteY39" fmla="*/ 3297572 h 3343265"/>
                  <a:gd name="connsiteX40" fmla="*/ 1204469 w 3378518"/>
                  <a:gd name="connsiteY40" fmla="*/ 3291119 h 3343265"/>
                  <a:gd name="connsiteX41" fmla="*/ 45693 w 3378518"/>
                  <a:gd name="connsiteY41" fmla="*/ 2067168 h 3343265"/>
                  <a:gd name="connsiteX42" fmla="*/ 52146 w 3378518"/>
                  <a:gd name="connsiteY42" fmla="*/ 1831267 h 3343265"/>
                  <a:gd name="connsiteX43" fmla="*/ 288050 w 3378518"/>
                  <a:gd name="connsiteY43" fmla="*/ 1837718 h 3343265"/>
                  <a:gd name="connsiteX44" fmla="*/ 305161 w 3378518"/>
                  <a:gd name="connsiteY44" fmla="*/ 1855791 h 3343265"/>
                  <a:gd name="connsiteX45" fmla="*/ 978047 w 3378518"/>
                  <a:gd name="connsiteY45" fmla="*/ 1520187 h 3343265"/>
                  <a:gd name="connsiteX46" fmla="*/ 1530057 w 3378518"/>
                  <a:gd name="connsiteY46" fmla="*/ 1520187 h 3343265"/>
                  <a:gd name="connsiteX47" fmla="*/ 1533467 w 3378518"/>
                  <a:gd name="connsiteY47" fmla="*/ 977008 h 3343265"/>
                  <a:gd name="connsiteX48" fmla="*/ 1923558 w 3378518"/>
                  <a:gd name="connsiteY48" fmla="*/ 268587 h 3343265"/>
                  <a:gd name="connsiteX49" fmla="*/ 1938145 w 3378518"/>
                  <a:gd name="connsiteY49" fmla="*/ 45695 h 3343265"/>
                  <a:gd name="connsiteX50" fmla="*/ 2174049 w 3378518"/>
                  <a:gd name="connsiteY50" fmla="*/ 52146 h 3343265"/>
                  <a:gd name="connsiteX0" fmla="*/ 890036 w 3378518"/>
                  <a:gd name="connsiteY0" fmla="*/ 1777279 h 3343265"/>
                  <a:gd name="connsiteX1" fmla="*/ 867690 w 3378518"/>
                  <a:gd name="connsiteY1" fmla="*/ 1772294 h 3343265"/>
                  <a:gd name="connsiteX2" fmla="*/ 874046 w 3378518"/>
                  <a:gd name="connsiteY2" fmla="*/ 1768943 h 3343265"/>
                  <a:gd name="connsiteX3" fmla="*/ 890036 w 3378518"/>
                  <a:gd name="connsiteY3" fmla="*/ 1777279 h 3343265"/>
                  <a:gd name="connsiteX4" fmla="*/ 910377 w 3378518"/>
                  <a:gd name="connsiteY4" fmla="*/ 1787884 h 3343265"/>
                  <a:gd name="connsiteX5" fmla="*/ 909725 w 3378518"/>
                  <a:gd name="connsiteY5" fmla="*/ 1788361 h 3343265"/>
                  <a:gd name="connsiteX6" fmla="*/ 905259 w 3378518"/>
                  <a:gd name="connsiteY6" fmla="*/ 1785216 h 3343265"/>
                  <a:gd name="connsiteX7" fmla="*/ 910377 w 3378518"/>
                  <a:gd name="connsiteY7" fmla="*/ 1787884 h 3343265"/>
                  <a:gd name="connsiteX8" fmla="*/ 1537828 w 3378518"/>
                  <a:gd name="connsiteY8" fmla="*/ 2422532 h 3343265"/>
                  <a:gd name="connsiteX9" fmla="*/ 1544133 w 3378518"/>
                  <a:gd name="connsiteY9" fmla="*/ 2425125 h 3343265"/>
                  <a:gd name="connsiteX10" fmla="*/ 1537828 w 3378518"/>
                  <a:gd name="connsiteY10" fmla="*/ 2422532 h 3343265"/>
                  <a:gd name="connsiteX11" fmla="*/ 2052499 w 3378518"/>
                  <a:gd name="connsiteY11" fmla="*/ 409197 h 3343265"/>
                  <a:gd name="connsiteX12" fmla="*/ 1721848 w 3378518"/>
                  <a:gd name="connsiteY12" fmla="*/ 978193 h 3343265"/>
                  <a:gd name="connsiteX13" fmla="*/ 1718264 w 3378518"/>
                  <a:gd name="connsiteY13" fmla="*/ 1549318 h 3343265"/>
                  <a:gd name="connsiteX14" fmla="*/ 1553358 w 3378518"/>
                  <a:gd name="connsiteY14" fmla="*/ 1712169 h 3343265"/>
                  <a:gd name="connsiteX15" fmla="*/ 982233 w 3378518"/>
                  <a:gd name="connsiteY15" fmla="*/ 1708585 h 3343265"/>
                  <a:gd name="connsiteX16" fmla="*/ 438132 w 3378518"/>
                  <a:gd name="connsiteY16" fmla="*/ 1996240 h 3343265"/>
                  <a:gd name="connsiteX17" fmla="*/ 1327831 w 3378518"/>
                  <a:gd name="connsiteY17" fmla="*/ 2935982 h 3343265"/>
                  <a:gd name="connsiteX18" fmla="*/ 1644360 w 3378518"/>
                  <a:gd name="connsiteY18" fmla="*/ 2379076 h 3343265"/>
                  <a:gd name="connsiteX19" fmla="*/ 1647944 w 3378518"/>
                  <a:gd name="connsiteY19" fmla="*/ 1807951 h 3343265"/>
                  <a:gd name="connsiteX20" fmla="*/ 1812850 w 3378518"/>
                  <a:gd name="connsiteY20" fmla="*/ 1645100 h 3343265"/>
                  <a:gd name="connsiteX21" fmla="*/ 2383975 w 3378518"/>
                  <a:gd name="connsiteY21" fmla="*/ 1648684 h 3343265"/>
                  <a:gd name="connsiteX22" fmla="*/ 2775160 w 3378518"/>
                  <a:gd name="connsiteY22" fmla="*/ 1524061 h 3343265"/>
                  <a:gd name="connsiteX23" fmla="*/ 2793741 w 3378518"/>
                  <a:gd name="connsiteY23" fmla="*/ 1508778 h 3343265"/>
                  <a:gd name="connsiteX24" fmla="*/ 2816322 w 3378518"/>
                  <a:gd name="connsiteY24" fmla="*/ 1508471 h 3343265"/>
                  <a:gd name="connsiteX25" fmla="*/ 2806599 w 3378518"/>
                  <a:gd name="connsiteY25" fmla="*/ 1498202 h 3343265"/>
                  <a:gd name="connsiteX26" fmla="*/ 2837773 w 3378518"/>
                  <a:gd name="connsiteY26" fmla="*/ 1472561 h 3343265"/>
                  <a:gd name="connsiteX27" fmla="*/ 2941609 w 3378518"/>
                  <a:gd name="connsiteY27" fmla="*/ 1348315 h 3343265"/>
                  <a:gd name="connsiteX28" fmla="*/ 2052499 w 3378518"/>
                  <a:gd name="connsiteY28" fmla="*/ 409197 h 3343265"/>
                  <a:gd name="connsiteX29" fmla="*/ 2174049 w 3378518"/>
                  <a:gd name="connsiteY29" fmla="*/ 52146 h 3343265"/>
                  <a:gd name="connsiteX30" fmla="*/ 3332823 w 3378518"/>
                  <a:gd name="connsiteY30" fmla="*/ 1276097 h 3343265"/>
                  <a:gd name="connsiteX31" fmla="*/ 3326372 w 3378518"/>
                  <a:gd name="connsiteY31" fmla="*/ 1512000 h 3343265"/>
                  <a:gd name="connsiteX32" fmla="*/ 3090468 w 3378518"/>
                  <a:gd name="connsiteY32" fmla="*/ 1505547 h 3343265"/>
                  <a:gd name="connsiteX33" fmla="*/ 3073378 w 3378518"/>
                  <a:gd name="connsiteY33" fmla="*/ 1487496 h 3343265"/>
                  <a:gd name="connsiteX34" fmla="*/ 2382792 w 3378518"/>
                  <a:gd name="connsiteY34" fmla="*/ 1837062 h 3343265"/>
                  <a:gd name="connsiteX35" fmla="*/ 1832752 w 3378518"/>
                  <a:gd name="connsiteY35" fmla="*/ 1833609 h 3343265"/>
                  <a:gd name="connsiteX36" fmla="*/ 1832752 w 3378518"/>
                  <a:gd name="connsiteY36" fmla="*/ 2374892 h 3343265"/>
                  <a:gd name="connsiteX37" fmla="*/ 1457702 w 3378518"/>
                  <a:gd name="connsiteY37" fmla="*/ 3079064 h 3343265"/>
                  <a:gd name="connsiteX38" fmla="*/ 1440373 w 3378518"/>
                  <a:gd name="connsiteY38" fmla="*/ 3297572 h 3343265"/>
                  <a:gd name="connsiteX39" fmla="*/ 1204469 w 3378518"/>
                  <a:gd name="connsiteY39" fmla="*/ 3291119 h 3343265"/>
                  <a:gd name="connsiteX40" fmla="*/ 45693 w 3378518"/>
                  <a:gd name="connsiteY40" fmla="*/ 2067168 h 3343265"/>
                  <a:gd name="connsiteX41" fmla="*/ 52146 w 3378518"/>
                  <a:gd name="connsiteY41" fmla="*/ 1831267 h 3343265"/>
                  <a:gd name="connsiteX42" fmla="*/ 288050 w 3378518"/>
                  <a:gd name="connsiteY42" fmla="*/ 1837718 h 3343265"/>
                  <a:gd name="connsiteX43" fmla="*/ 305161 w 3378518"/>
                  <a:gd name="connsiteY43" fmla="*/ 1855791 h 3343265"/>
                  <a:gd name="connsiteX44" fmla="*/ 978047 w 3378518"/>
                  <a:gd name="connsiteY44" fmla="*/ 1520187 h 3343265"/>
                  <a:gd name="connsiteX45" fmla="*/ 1530057 w 3378518"/>
                  <a:gd name="connsiteY45" fmla="*/ 1520187 h 3343265"/>
                  <a:gd name="connsiteX46" fmla="*/ 1533467 w 3378518"/>
                  <a:gd name="connsiteY46" fmla="*/ 977008 h 3343265"/>
                  <a:gd name="connsiteX47" fmla="*/ 1923558 w 3378518"/>
                  <a:gd name="connsiteY47" fmla="*/ 268587 h 3343265"/>
                  <a:gd name="connsiteX48" fmla="*/ 1938145 w 3378518"/>
                  <a:gd name="connsiteY48" fmla="*/ 45695 h 3343265"/>
                  <a:gd name="connsiteX49" fmla="*/ 2174049 w 3378518"/>
                  <a:gd name="connsiteY49" fmla="*/ 52146 h 3343265"/>
                  <a:gd name="connsiteX0" fmla="*/ 890036 w 3378518"/>
                  <a:gd name="connsiteY0" fmla="*/ 1777279 h 3343265"/>
                  <a:gd name="connsiteX1" fmla="*/ 867690 w 3378518"/>
                  <a:gd name="connsiteY1" fmla="*/ 1772294 h 3343265"/>
                  <a:gd name="connsiteX2" fmla="*/ 874046 w 3378518"/>
                  <a:gd name="connsiteY2" fmla="*/ 1768943 h 3343265"/>
                  <a:gd name="connsiteX3" fmla="*/ 890036 w 3378518"/>
                  <a:gd name="connsiteY3" fmla="*/ 1777279 h 3343265"/>
                  <a:gd name="connsiteX4" fmla="*/ 910377 w 3378518"/>
                  <a:gd name="connsiteY4" fmla="*/ 1787884 h 3343265"/>
                  <a:gd name="connsiteX5" fmla="*/ 909725 w 3378518"/>
                  <a:gd name="connsiteY5" fmla="*/ 1788361 h 3343265"/>
                  <a:gd name="connsiteX6" fmla="*/ 905259 w 3378518"/>
                  <a:gd name="connsiteY6" fmla="*/ 1785216 h 3343265"/>
                  <a:gd name="connsiteX7" fmla="*/ 910377 w 3378518"/>
                  <a:gd name="connsiteY7" fmla="*/ 1787884 h 3343265"/>
                  <a:gd name="connsiteX8" fmla="*/ 2052499 w 3378518"/>
                  <a:gd name="connsiteY8" fmla="*/ 409197 h 3343265"/>
                  <a:gd name="connsiteX9" fmla="*/ 1721848 w 3378518"/>
                  <a:gd name="connsiteY9" fmla="*/ 978193 h 3343265"/>
                  <a:gd name="connsiteX10" fmla="*/ 1718264 w 3378518"/>
                  <a:gd name="connsiteY10" fmla="*/ 1549318 h 3343265"/>
                  <a:gd name="connsiteX11" fmla="*/ 1553358 w 3378518"/>
                  <a:gd name="connsiteY11" fmla="*/ 1712169 h 3343265"/>
                  <a:gd name="connsiteX12" fmla="*/ 982233 w 3378518"/>
                  <a:gd name="connsiteY12" fmla="*/ 1708585 h 3343265"/>
                  <a:gd name="connsiteX13" fmla="*/ 438132 w 3378518"/>
                  <a:gd name="connsiteY13" fmla="*/ 1996240 h 3343265"/>
                  <a:gd name="connsiteX14" fmla="*/ 1327831 w 3378518"/>
                  <a:gd name="connsiteY14" fmla="*/ 2935982 h 3343265"/>
                  <a:gd name="connsiteX15" fmla="*/ 1644360 w 3378518"/>
                  <a:gd name="connsiteY15" fmla="*/ 2379076 h 3343265"/>
                  <a:gd name="connsiteX16" fmla="*/ 1647944 w 3378518"/>
                  <a:gd name="connsiteY16" fmla="*/ 1807951 h 3343265"/>
                  <a:gd name="connsiteX17" fmla="*/ 1812850 w 3378518"/>
                  <a:gd name="connsiteY17" fmla="*/ 1645100 h 3343265"/>
                  <a:gd name="connsiteX18" fmla="*/ 2383975 w 3378518"/>
                  <a:gd name="connsiteY18" fmla="*/ 1648684 h 3343265"/>
                  <a:gd name="connsiteX19" fmla="*/ 2775160 w 3378518"/>
                  <a:gd name="connsiteY19" fmla="*/ 1524061 h 3343265"/>
                  <a:gd name="connsiteX20" fmla="*/ 2793741 w 3378518"/>
                  <a:gd name="connsiteY20" fmla="*/ 1508778 h 3343265"/>
                  <a:gd name="connsiteX21" fmla="*/ 2816322 w 3378518"/>
                  <a:gd name="connsiteY21" fmla="*/ 1508471 h 3343265"/>
                  <a:gd name="connsiteX22" fmla="*/ 2806599 w 3378518"/>
                  <a:gd name="connsiteY22" fmla="*/ 1498202 h 3343265"/>
                  <a:gd name="connsiteX23" fmla="*/ 2837773 w 3378518"/>
                  <a:gd name="connsiteY23" fmla="*/ 1472561 h 3343265"/>
                  <a:gd name="connsiteX24" fmla="*/ 2941609 w 3378518"/>
                  <a:gd name="connsiteY24" fmla="*/ 1348315 h 3343265"/>
                  <a:gd name="connsiteX25" fmla="*/ 2052499 w 3378518"/>
                  <a:gd name="connsiteY25" fmla="*/ 409197 h 3343265"/>
                  <a:gd name="connsiteX26" fmla="*/ 2174049 w 3378518"/>
                  <a:gd name="connsiteY26" fmla="*/ 52146 h 3343265"/>
                  <a:gd name="connsiteX27" fmla="*/ 3332823 w 3378518"/>
                  <a:gd name="connsiteY27" fmla="*/ 1276097 h 3343265"/>
                  <a:gd name="connsiteX28" fmla="*/ 3326372 w 3378518"/>
                  <a:gd name="connsiteY28" fmla="*/ 1512000 h 3343265"/>
                  <a:gd name="connsiteX29" fmla="*/ 3090468 w 3378518"/>
                  <a:gd name="connsiteY29" fmla="*/ 1505547 h 3343265"/>
                  <a:gd name="connsiteX30" fmla="*/ 3073378 w 3378518"/>
                  <a:gd name="connsiteY30" fmla="*/ 1487496 h 3343265"/>
                  <a:gd name="connsiteX31" fmla="*/ 2382792 w 3378518"/>
                  <a:gd name="connsiteY31" fmla="*/ 1837062 h 3343265"/>
                  <a:gd name="connsiteX32" fmla="*/ 1832752 w 3378518"/>
                  <a:gd name="connsiteY32" fmla="*/ 1833609 h 3343265"/>
                  <a:gd name="connsiteX33" fmla="*/ 1832752 w 3378518"/>
                  <a:gd name="connsiteY33" fmla="*/ 2374892 h 3343265"/>
                  <a:gd name="connsiteX34" fmla="*/ 1457702 w 3378518"/>
                  <a:gd name="connsiteY34" fmla="*/ 3079064 h 3343265"/>
                  <a:gd name="connsiteX35" fmla="*/ 1440373 w 3378518"/>
                  <a:gd name="connsiteY35" fmla="*/ 3297572 h 3343265"/>
                  <a:gd name="connsiteX36" fmla="*/ 1204469 w 3378518"/>
                  <a:gd name="connsiteY36" fmla="*/ 3291119 h 3343265"/>
                  <a:gd name="connsiteX37" fmla="*/ 45693 w 3378518"/>
                  <a:gd name="connsiteY37" fmla="*/ 2067168 h 3343265"/>
                  <a:gd name="connsiteX38" fmla="*/ 52146 w 3378518"/>
                  <a:gd name="connsiteY38" fmla="*/ 1831267 h 3343265"/>
                  <a:gd name="connsiteX39" fmla="*/ 288050 w 3378518"/>
                  <a:gd name="connsiteY39" fmla="*/ 1837718 h 3343265"/>
                  <a:gd name="connsiteX40" fmla="*/ 305161 w 3378518"/>
                  <a:gd name="connsiteY40" fmla="*/ 1855791 h 3343265"/>
                  <a:gd name="connsiteX41" fmla="*/ 978047 w 3378518"/>
                  <a:gd name="connsiteY41" fmla="*/ 1520187 h 3343265"/>
                  <a:gd name="connsiteX42" fmla="*/ 1530057 w 3378518"/>
                  <a:gd name="connsiteY42" fmla="*/ 1520187 h 3343265"/>
                  <a:gd name="connsiteX43" fmla="*/ 1533467 w 3378518"/>
                  <a:gd name="connsiteY43" fmla="*/ 977008 h 3343265"/>
                  <a:gd name="connsiteX44" fmla="*/ 1923558 w 3378518"/>
                  <a:gd name="connsiteY44" fmla="*/ 268587 h 3343265"/>
                  <a:gd name="connsiteX45" fmla="*/ 1938145 w 3378518"/>
                  <a:gd name="connsiteY45" fmla="*/ 45695 h 3343265"/>
                  <a:gd name="connsiteX46" fmla="*/ 2174049 w 3378518"/>
                  <a:gd name="connsiteY46" fmla="*/ 52146 h 334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78518" h="3343265">
                    <a:moveTo>
                      <a:pt x="890036" y="1777279"/>
                    </a:moveTo>
                    <a:lnTo>
                      <a:pt x="867690" y="1772294"/>
                    </a:lnTo>
                    <a:lnTo>
                      <a:pt x="874046" y="1768943"/>
                    </a:lnTo>
                    <a:lnTo>
                      <a:pt x="890036" y="1777279"/>
                    </a:lnTo>
                    <a:close/>
                    <a:moveTo>
                      <a:pt x="910377" y="1787884"/>
                    </a:moveTo>
                    <a:lnTo>
                      <a:pt x="909725" y="1788361"/>
                    </a:lnTo>
                    <a:lnTo>
                      <a:pt x="905259" y="1785216"/>
                    </a:lnTo>
                    <a:lnTo>
                      <a:pt x="910377" y="1787884"/>
                    </a:lnTo>
                    <a:close/>
                    <a:moveTo>
                      <a:pt x="2052499" y="409197"/>
                    </a:moveTo>
                    <a:cubicBezTo>
                      <a:pt x="1855567" y="522139"/>
                      <a:pt x="1723377" y="734475"/>
                      <a:pt x="1721848" y="978193"/>
                    </a:cubicBezTo>
                    <a:cubicBezTo>
                      <a:pt x="1720653" y="1168568"/>
                      <a:pt x="1719459" y="1358943"/>
                      <a:pt x="1718264" y="1549318"/>
                    </a:cubicBezTo>
                    <a:lnTo>
                      <a:pt x="1553358" y="1712169"/>
                    </a:lnTo>
                    <a:lnTo>
                      <a:pt x="982233" y="1708585"/>
                    </a:lnTo>
                    <a:cubicBezTo>
                      <a:pt x="755048" y="1707160"/>
                      <a:pt x="553704" y="1819601"/>
                      <a:pt x="438132" y="1996240"/>
                    </a:cubicBezTo>
                    <a:lnTo>
                      <a:pt x="1327831" y="2935982"/>
                    </a:lnTo>
                    <a:cubicBezTo>
                      <a:pt x="1517741" y="2823547"/>
                      <a:pt x="1642874" y="2616160"/>
                      <a:pt x="1644360" y="2379076"/>
                    </a:cubicBezTo>
                    <a:cubicBezTo>
                      <a:pt x="1645555" y="2188701"/>
                      <a:pt x="1646749" y="1998326"/>
                      <a:pt x="1647944" y="1807951"/>
                    </a:cubicBezTo>
                    <a:lnTo>
                      <a:pt x="1812850" y="1645100"/>
                    </a:lnTo>
                    <a:lnTo>
                      <a:pt x="2383975" y="1648684"/>
                    </a:lnTo>
                    <a:cubicBezTo>
                      <a:pt x="2530062" y="1649601"/>
                      <a:pt x="2665464" y="1603436"/>
                      <a:pt x="2775160" y="1524061"/>
                    </a:cubicBezTo>
                    <a:lnTo>
                      <a:pt x="2793741" y="1508778"/>
                    </a:lnTo>
                    <a:lnTo>
                      <a:pt x="2816322" y="1508471"/>
                    </a:lnTo>
                    <a:lnTo>
                      <a:pt x="2806599" y="1498202"/>
                    </a:lnTo>
                    <a:lnTo>
                      <a:pt x="2837773" y="1472561"/>
                    </a:lnTo>
                    <a:cubicBezTo>
                      <a:pt x="2877299" y="1435719"/>
                      <a:pt x="2912231" y="1394008"/>
                      <a:pt x="2941609" y="1348315"/>
                    </a:cubicBezTo>
                    <a:lnTo>
                      <a:pt x="2052499" y="409197"/>
                    </a:lnTo>
                    <a:close/>
                    <a:moveTo>
                      <a:pt x="2174049" y="52146"/>
                    </a:moveTo>
                    <a:lnTo>
                      <a:pt x="3332823" y="1276097"/>
                    </a:lnTo>
                    <a:cubicBezTo>
                      <a:pt x="3396186" y="1343023"/>
                      <a:pt x="3393298" y="1448638"/>
                      <a:pt x="3326372" y="1512000"/>
                    </a:cubicBezTo>
                    <a:cubicBezTo>
                      <a:pt x="3259446" y="1575361"/>
                      <a:pt x="3153829" y="1572473"/>
                      <a:pt x="3090468" y="1505547"/>
                    </a:cubicBezTo>
                    <a:lnTo>
                      <a:pt x="3073378" y="1487496"/>
                    </a:lnTo>
                    <a:cubicBezTo>
                      <a:pt x="2919662" y="1701713"/>
                      <a:pt x="2666991" y="1838843"/>
                      <a:pt x="2382792" y="1837062"/>
                    </a:cubicBezTo>
                    <a:lnTo>
                      <a:pt x="1832752" y="1833609"/>
                    </a:lnTo>
                    <a:lnTo>
                      <a:pt x="1832752" y="2374892"/>
                    </a:lnTo>
                    <a:cubicBezTo>
                      <a:pt x="1832752" y="2668478"/>
                      <a:pt x="1684730" y="2927490"/>
                      <a:pt x="1457702" y="3079064"/>
                    </a:cubicBezTo>
                    <a:cubicBezTo>
                      <a:pt x="1509390" y="3144226"/>
                      <a:pt x="1502268" y="3238971"/>
                      <a:pt x="1440373" y="3297572"/>
                    </a:cubicBezTo>
                    <a:cubicBezTo>
                      <a:pt x="1373447" y="3360933"/>
                      <a:pt x="1267830" y="3358045"/>
                      <a:pt x="1204469" y="3291119"/>
                    </a:cubicBezTo>
                    <a:lnTo>
                      <a:pt x="45693" y="2067168"/>
                    </a:lnTo>
                    <a:cubicBezTo>
                      <a:pt x="-17668" y="2000245"/>
                      <a:pt x="-14779" y="1894627"/>
                      <a:pt x="52146" y="1831267"/>
                    </a:cubicBezTo>
                    <a:cubicBezTo>
                      <a:pt x="119072" y="1767904"/>
                      <a:pt x="224687" y="1770794"/>
                      <a:pt x="288050" y="1837718"/>
                    </a:cubicBezTo>
                    <a:lnTo>
                      <a:pt x="305161" y="1855791"/>
                    </a:lnTo>
                    <a:cubicBezTo>
                      <a:pt x="457589" y="1650481"/>
                      <a:pt x="702601" y="1520187"/>
                      <a:pt x="978047" y="1520187"/>
                    </a:cubicBezTo>
                    <a:lnTo>
                      <a:pt x="1530057" y="1520187"/>
                    </a:lnTo>
                    <a:cubicBezTo>
                      <a:pt x="1531194" y="1339127"/>
                      <a:pt x="1532330" y="1158068"/>
                      <a:pt x="1533467" y="977008"/>
                    </a:cubicBezTo>
                    <a:cubicBezTo>
                      <a:pt x="1535338" y="678827"/>
                      <a:pt x="1689679" y="417271"/>
                      <a:pt x="1923558" y="268587"/>
                    </a:cubicBezTo>
                    <a:cubicBezTo>
                      <a:pt x="1868853" y="203019"/>
                      <a:pt x="1874955" y="105520"/>
                      <a:pt x="1938145" y="45695"/>
                    </a:cubicBezTo>
                    <a:cubicBezTo>
                      <a:pt x="2005071" y="-17668"/>
                      <a:pt x="2110688" y="-14780"/>
                      <a:pt x="2174049" y="5214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nvGrpSpPr>
              <p:cNvPr id="44" name="그룹 60">
                <a:extLst>
                  <a:ext uri="{FF2B5EF4-FFF2-40B4-BE49-F238E27FC236}">
                    <a16:creationId xmlns:a16="http://schemas.microsoft.com/office/drawing/2014/main" id="{C22E767D-5B57-8C4E-A521-5DDB50033C6D}"/>
                  </a:ext>
                </a:extLst>
              </p:cNvPr>
              <p:cNvGrpSpPr/>
              <p:nvPr/>
            </p:nvGrpSpPr>
            <p:grpSpPr>
              <a:xfrm>
                <a:off x="5558699" y="2598826"/>
                <a:ext cx="1089476" cy="1686250"/>
                <a:chOff x="5558699" y="2598826"/>
                <a:chExt cx="1089476" cy="1686250"/>
              </a:xfrm>
            </p:grpSpPr>
            <p:grpSp>
              <p:nvGrpSpPr>
                <p:cNvPr id="45" name="그룹 49">
                  <a:extLst>
                    <a:ext uri="{FF2B5EF4-FFF2-40B4-BE49-F238E27FC236}">
                      <a16:creationId xmlns:a16="http://schemas.microsoft.com/office/drawing/2014/main" id="{4A80B54B-E41E-EA4D-9946-3308E1E23AFF}"/>
                    </a:ext>
                  </a:extLst>
                </p:cNvPr>
                <p:cNvGrpSpPr/>
                <p:nvPr/>
              </p:nvGrpSpPr>
              <p:grpSpPr>
                <a:xfrm>
                  <a:off x="5617507" y="3979880"/>
                  <a:ext cx="305196" cy="305196"/>
                  <a:chOff x="2460435" y="1380960"/>
                  <a:chExt cx="914400" cy="914400"/>
                </a:xfrm>
                <a:solidFill>
                  <a:schemeClr val="accent3"/>
                </a:solidFill>
              </p:grpSpPr>
              <p:sp>
                <p:nvSpPr>
                  <p:cNvPr id="76" name="타원 50">
                    <a:extLst>
                      <a:ext uri="{FF2B5EF4-FFF2-40B4-BE49-F238E27FC236}">
                        <a16:creationId xmlns:a16="http://schemas.microsoft.com/office/drawing/2014/main" id="{52876704-3771-7D40-9449-9A1957FEB4E5}"/>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7" name="타원 51">
                    <a:extLst>
                      <a:ext uri="{FF2B5EF4-FFF2-40B4-BE49-F238E27FC236}">
                        <a16:creationId xmlns:a16="http://schemas.microsoft.com/office/drawing/2014/main" id="{0D4CF63C-2DCE-9640-8F0F-DAA930F62AC6}"/>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8" name="Block Arc 11">
                    <a:extLst>
                      <a:ext uri="{FF2B5EF4-FFF2-40B4-BE49-F238E27FC236}">
                        <a16:creationId xmlns:a16="http://schemas.microsoft.com/office/drawing/2014/main" id="{4043C567-8F06-3145-B628-43AEA0D473B5}"/>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6" name="그룹 21">
                  <a:extLst>
                    <a:ext uri="{FF2B5EF4-FFF2-40B4-BE49-F238E27FC236}">
                      <a16:creationId xmlns:a16="http://schemas.microsoft.com/office/drawing/2014/main" id="{D7A417BC-4554-584F-8837-89BB130BB3DB}"/>
                    </a:ext>
                  </a:extLst>
                </p:cNvPr>
                <p:cNvGrpSpPr/>
                <p:nvPr/>
              </p:nvGrpSpPr>
              <p:grpSpPr>
                <a:xfrm>
                  <a:off x="5811672" y="3628906"/>
                  <a:ext cx="305196" cy="305196"/>
                  <a:chOff x="2460435" y="1380960"/>
                  <a:chExt cx="914400" cy="914400"/>
                </a:xfrm>
                <a:solidFill>
                  <a:schemeClr val="accent3"/>
                </a:solidFill>
              </p:grpSpPr>
              <p:sp>
                <p:nvSpPr>
                  <p:cNvPr id="73" name="타원 22">
                    <a:extLst>
                      <a:ext uri="{FF2B5EF4-FFF2-40B4-BE49-F238E27FC236}">
                        <a16:creationId xmlns:a16="http://schemas.microsoft.com/office/drawing/2014/main" id="{B329BB67-559E-EF4E-B73D-349A2B123AE9}"/>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4" name="타원 23">
                    <a:extLst>
                      <a:ext uri="{FF2B5EF4-FFF2-40B4-BE49-F238E27FC236}">
                        <a16:creationId xmlns:a16="http://schemas.microsoft.com/office/drawing/2014/main" id="{BE6C97D5-CD6F-CD43-A30F-58992F6F5A3E}"/>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5" name="Block Arc 11">
                    <a:extLst>
                      <a:ext uri="{FF2B5EF4-FFF2-40B4-BE49-F238E27FC236}">
                        <a16:creationId xmlns:a16="http://schemas.microsoft.com/office/drawing/2014/main" id="{9ACF745D-39BF-F44A-B093-83198595C1E2}"/>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7" name="그룹 25">
                  <a:extLst>
                    <a:ext uri="{FF2B5EF4-FFF2-40B4-BE49-F238E27FC236}">
                      <a16:creationId xmlns:a16="http://schemas.microsoft.com/office/drawing/2014/main" id="{AC483A67-DD63-A84A-A879-9DFC92479C07}"/>
                    </a:ext>
                  </a:extLst>
                </p:cNvPr>
                <p:cNvGrpSpPr/>
                <p:nvPr/>
              </p:nvGrpSpPr>
              <p:grpSpPr>
                <a:xfrm>
                  <a:off x="6050354" y="3733355"/>
                  <a:ext cx="305196" cy="305196"/>
                  <a:chOff x="2460435" y="1380960"/>
                  <a:chExt cx="914400" cy="914400"/>
                </a:xfrm>
                <a:solidFill>
                  <a:schemeClr val="accent3"/>
                </a:solidFill>
              </p:grpSpPr>
              <p:sp>
                <p:nvSpPr>
                  <p:cNvPr id="70" name="타원 26">
                    <a:extLst>
                      <a:ext uri="{FF2B5EF4-FFF2-40B4-BE49-F238E27FC236}">
                        <a16:creationId xmlns:a16="http://schemas.microsoft.com/office/drawing/2014/main" id="{8D050B25-FAD9-A549-83F2-D25B96C55C7D}"/>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타원 27">
                    <a:extLst>
                      <a:ext uri="{FF2B5EF4-FFF2-40B4-BE49-F238E27FC236}">
                        <a16:creationId xmlns:a16="http://schemas.microsoft.com/office/drawing/2014/main" id="{8FC861AA-881A-9F48-9107-3C56702C5D02}"/>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Block Arc 11">
                    <a:extLst>
                      <a:ext uri="{FF2B5EF4-FFF2-40B4-BE49-F238E27FC236}">
                        <a16:creationId xmlns:a16="http://schemas.microsoft.com/office/drawing/2014/main" id="{9D258823-76CB-3248-930A-C5B05D0772A8}"/>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8" name="그룹 29">
                  <a:extLst>
                    <a:ext uri="{FF2B5EF4-FFF2-40B4-BE49-F238E27FC236}">
                      <a16:creationId xmlns:a16="http://schemas.microsoft.com/office/drawing/2014/main" id="{4EB33BB3-A496-A940-8F58-A9BFAA91CD6E}"/>
                    </a:ext>
                  </a:extLst>
                </p:cNvPr>
                <p:cNvGrpSpPr/>
                <p:nvPr/>
              </p:nvGrpSpPr>
              <p:grpSpPr>
                <a:xfrm>
                  <a:off x="5804852" y="3899206"/>
                  <a:ext cx="305196" cy="305196"/>
                  <a:chOff x="2460435" y="1380960"/>
                  <a:chExt cx="914400" cy="914400"/>
                </a:xfrm>
                <a:solidFill>
                  <a:schemeClr val="accent3"/>
                </a:solidFill>
              </p:grpSpPr>
              <p:sp>
                <p:nvSpPr>
                  <p:cNvPr id="67" name="타원 30">
                    <a:extLst>
                      <a:ext uri="{FF2B5EF4-FFF2-40B4-BE49-F238E27FC236}">
                        <a16:creationId xmlns:a16="http://schemas.microsoft.com/office/drawing/2014/main" id="{BE20D4DC-A54B-7A43-89D0-54BC16D7BE43}"/>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8" name="타원 31">
                    <a:extLst>
                      <a:ext uri="{FF2B5EF4-FFF2-40B4-BE49-F238E27FC236}">
                        <a16:creationId xmlns:a16="http://schemas.microsoft.com/office/drawing/2014/main" id="{AE59A5D6-D1A0-0E45-BDFA-F6AA86F1B58F}"/>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9" name="Block Arc 11">
                    <a:extLst>
                      <a:ext uri="{FF2B5EF4-FFF2-40B4-BE49-F238E27FC236}">
                        <a16:creationId xmlns:a16="http://schemas.microsoft.com/office/drawing/2014/main" id="{DF4E072A-B65B-8B49-B965-00CB54BF84F1}"/>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9" name="그룹 33">
                  <a:extLst>
                    <a:ext uri="{FF2B5EF4-FFF2-40B4-BE49-F238E27FC236}">
                      <a16:creationId xmlns:a16="http://schemas.microsoft.com/office/drawing/2014/main" id="{2AF95F08-4848-314C-AA12-B9B40F42EF71}"/>
                    </a:ext>
                  </a:extLst>
                </p:cNvPr>
                <p:cNvGrpSpPr/>
                <p:nvPr/>
              </p:nvGrpSpPr>
              <p:grpSpPr>
                <a:xfrm>
                  <a:off x="5558699" y="3770159"/>
                  <a:ext cx="305196" cy="305196"/>
                  <a:chOff x="2460435" y="1380960"/>
                  <a:chExt cx="914400" cy="914400"/>
                </a:xfrm>
                <a:solidFill>
                  <a:schemeClr val="accent3"/>
                </a:solidFill>
              </p:grpSpPr>
              <p:sp>
                <p:nvSpPr>
                  <p:cNvPr id="64" name="타원 34">
                    <a:extLst>
                      <a:ext uri="{FF2B5EF4-FFF2-40B4-BE49-F238E27FC236}">
                        <a16:creationId xmlns:a16="http://schemas.microsoft.com/office/drawing/2014/main" id="{38D3B6E1-9640-8240-B5AF-C3B58F9BC771}"/>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5" name="타원 35">
                    <a:extLst>
                      <a:ext uri="{FF2B5EF4-FFF2-40B4-BE49-F238E27FC236}">
                        <a16:creationId xmlns:a16="http://schemas.microsoft.com/office/drawing/2014/main" id="{63B5801B-586C-4949-80BA-A62252085CCB}"/>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6" name="Block Arc 11">
                    <a:extLst>
                      <a:ext uri="{FF2B5EF4-FFF2-40B4-BE49-F238E27FC236}">
                        <a16:creationId xmlns:a16="http://schemas.microsoft.com/office/drawing/2014/main" id="{65B6ADF0-05BB-544F-9C83-F58E1ED4292D}"/>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50" name="그룹 37">
                  <a:extLst>
                    <a:ext uri="{FF2B5EF4-FFF2-40B4-BE49-F238E27FC236}">
                      <a16:creationId xmlns:a16="http://schemas.microsoft.com/office/drawing/2014/main" id="{6A9F3B3D-BF2E-9A47-BB12-FEE64C066418}"/>
                    </a:ext>
                  </a:extLst>
                </p:cNvPr>
                <p:cNvGrpSpPr/>
                <p:nvPr/>
              </p:nvGrpSpPr>
              <p:grpSpPr>
                <a:xfrm>
                  <a:off x="6065408" y="3964544"/>
                  <a:ext cx="305196" cy="305196"/>
                  <a:chOff x="2460435" y="1380960"/>
                  <a:chExt cx="914400" cy="914400"/>
                </a:xfrm>
                <a:solidFill>
                  <a:schemeClr val="accent3"/>
                </a:solidFill>
              </p:grpSpPr>
              <p:sp>
                <p:nvSpPr>
                  <p:cNvPr id="61" name="타원 38">
                    <a:extLst>
                      <a:ext uri="{FF2B5EF4-FFF2-40B4-BE49-F238E27FC236}">
                        <a16:creationId xmlns:a16="http://schemas.microsoft.com/office/drawing/2014/main" id="{C925EB1C-43E9-9847-B40D-0F6E3720B009}"/>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2" name="타원 39">
                    <a:extLst>
                      <a:ext uri="{FF2B5EF4-FFF2-40B4-BE49-F238E27FC236}">
                        <a16:creationId xmlns:a16="http://schemas.microsoft.com/office/drawing/2014/main" id="{BC45B079-D8AE-7640-ABB7-47B22B7E3701}"/>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Block Arc 11">
                    <a:extLst>
                      <a:ext uri="{FF2B5EF4-FFF2-40B4-BE49-F238E27FC236}">
                        <a16:creationId xmlns:a16="http://schemas.microsoft.com/office/drawing/2014/main" id="{15D694FF-1156-AB4E-A047-73AFD6354435}"/>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51" name="그룹 41">
                  <a:extLst>
                    <a:ext uri="{FF2B5EF4-FFF2-40B4-BE49-F238E27FC236}">
                      <a16:creationId xmlns:a16="http://schemas.microsoft.com/office/drawing/2014/main" id="{822C7BCA-BE32-4440-8E44-470FC63885DF}"/>
                    </a:ext>
                  </a:extLst>
                </p:cNvPr>
                <p:cNvGrpSpPr/>
                <p:nvPr/>
              </p:nvGrpSpPr>
              <p:grpSpPr>
                <a:xfrm>
                  <a:off x="6342979" y="3957518"/>
                  <a:ext cx="305196" cy="305196"/>
                  <a:chOff x="2460435" y="1380960"/>
                  <a:chExt cx="914400" cy="914400"/>
                </a:xfrm>
                <a:solidFill>
                  <a:schemeClr val="accent3"/>
                </a:solidFill>
              </p:grpSpPr>
              <p:sp>
                <p:nvSpPr>
                  <p:cNvPr id="58" name="타원 42">
                    <a:extLst>
                      <a:ext uri="{FF2B5EF4-FFF2-40B4-BE49-F238E27FC236}">
                        <a16:creationId xmlns:a16="http://schemas.microsoft.com/office/drawing/2014/main" id="{356A2BEB-39DC-CD44-848C-9236ACF7B1D4}"/>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9" name="타원 43">
                    <a:extLst>
                      <a:ext uri="{FF2B5EF4-FFF2-40B4-BE49-F238E27FC236}">
                        <a16:creationId xmlns:a16="http://schemas.microsoft.com/office/drawing/2014/main" id="{02FAB764-2924-7147-83F8-4E183A40C1E8}"/>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0" name="Block Arc 11">
                    <a:extLst>
                      <a:ext uri="{FF2B5EF4-FFF2-40B4-BE49-F238E27FC236}">
                        <a16:creationId xmlns:a16="http://schemas.microsoft.com/office/drawing/2014/main" id="{C1300BA8-BC3B-C545-9C3F-28A6BC987CF1}"/>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52" name="그룹 45">
                  <a:extLst>
                    <a:ext uri="{FF2B5EF4-FFF2-40B4-BE49-F238E27FC236}">
                      <a16:creationId xmlns:a16="http://schemas.microsoft.com/office/drawing/2014/main" id="{C4CA674E-56EB-B144-B5BE-4C85497BD4D5}"/>
                    </a:ext>
                  </a:extLst>
                </p:cNvPr>
                <p:cNvGrpSpPr/>
                <p:nvPr/>
              </p:nvGrpSpPr>
              <p:grpSpPr>
                <a:xfrm>
                  <a:off x="6322640" y="3721994"/>
                  <a:ext cx="305196" cy="305196"/>
                  <a:chOff x="2460435" y="1380960"/>
                  <a:chExt cx="914400" cy="914400"/>
                </a:xfrm>
                <a:solidFill>
                  <a:schemeClr val="accent3"/>
                </a:solidFill>
              </p:grpSpPr>
              <p:sp>
                <p:nvSpPr>
                  <p:cNvPr id="55" name="타원 46">
                    <a:extLst>
                      <a:ext uri="{FF2B5EF4-FFF2-40B4-BE49-F238E27FC236}">
                        <a16:creationId xmlns:a16="http://schemas.microsoft.com/office/drawing/2014/main" id="{440F18B2-E64F-0C47-AC4D-39889CF83FFC}"/>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6" name="타원 47">
                    <a:extLst>
                      <a:ext uri="{FF2B5EF4-FFF2-40B4-BE49-F238E27FC236}">
                        <a16:creationId xmlns:a16="http://schemas.microsoft.com/office/drawing/2014/main" id="{BDF2B528-E165-5E47-843C-7736D7FB4A59}"/>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7" name="Block Arc 11">
                    <a:extLst>
                      <a:ext uri="{FF2B5EF4-FFF2-40B4-BE49-F238E27FC236}">
                        <a16:creationId xmlns:a16="http://schemas.microsoft.com/office/drawing/2014/main" id="{8D424457-5281-E445-B7F1-ADAB609BC863}"/>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
              <p:nvSpPr>
                <p:cNvPr id="53" name="이등변 삼각형 58">
                  <a:extLst>
                    <a:ext uri="{FF2B5EF4-FFF2-40B4-BE49-F238E27FC236}">
                      <a16:creationId xmlns:a16="http://schemas.microsoft.com/office/drawing/2014/main" id="{0698D961-2F88-6B42-8C02-12F43C7E39CD}"/>
                    </a:ext>
                  </a:extLst>
                </p:cNvPr>
                <p:cNvSpPr/>
                <p:nvPr/>
              </p:nvSpPr>
              <p:spPr>
                <a:xfrm rot="10800000">
                  <a:off x="5637159" y="2598826"/>
                  <a:ext cx="945777" cy="4890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4" name="직사각형 59">
                  <a:extLst>
                    <a:ext uri="{FF2B5EF4-FFF2-40B4-BE49-F238E27FC236}">
                      <a16:creationId xmlns:a16="http://schemas.microsoft.com/office/drawing/2014/main" id="{A1534C40-9984-BE46-9556-13A14CD25ACE}"/>
                    </a:ext>
                  </a:extLst>
                </p:cNvPr>
                <p:cNvSpPr/>
                <p:nvPr/>
              </p:nvSpPr>
              <p:spPr>
                <a:xfrm>
                  <a:off x="6088867" y="3022230"/>
                  <a:ext cx="3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grpSp>
      <p:pic>
        <p:nvPicPr>
          <p:cNvPr id="83" name="Picture 5">
            <a:extLst>
              <a:ext uri="{FF2B5EF4-FFF2-40B4-BE49-F238E27FC236}">
                <a16:creationId xmlns:a16="http://schemas.microsoft.com/office/drawing/2014/main" id="{A4F53661-013C-E942-8B1A-4CA1CF05B9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7844" y="2134977"/>
            <a:ext cx="908528" cy="1435985"/>
          </a:xfrm>
          <a:prstGeom prst="rect">
            <a:avLst/>
          </a:prstGeom>
        </p:spPr>
      </p:pic>
      <p:grpSp>
        <p:nvGrpSpPr>
          <p:cNvPr id="84" name="Group 83">
            <a:extLst>
              <a:ext uri="{FF2B5EF4-FFF2-40B4-BE49-F238E27FC236}">
                <a16:creationId xmlns:a16="http://schemas.microsoft.com/office/drawing/2014/main" id="{E694066A-3317-5C42-B246-573649FAE168}"/>
              </a:ext>
            </a:extLst>
          </p:cNvPr>
          <p:cNvGrpSpPr/>
          <p:nvPr/>
        </p:nvGrpSpPr>
        <p:grpSpPr>
          <a:xfrm>
            <a:off x="425327" y="1951905"/>
            <a:ext cx="2928145" cy="735499"/>
            <a:chOff x="2499805" y="4719592"/>
            <a:chExt cx="2694742" cy="677103"/>
          </a:xfrm>
        </p:grpSpPr>
        <p:sp>
          <p:nvSpPr>
            <p:cNvPr id="85" name="Freeform 84">
              <a:extLst>
                <a:ext uri="{FF2B5EF4-FFF2-40B4-BE49-F238E27FC236}">
                  <a16:creationId xmlns:a16="http://schemas.microsoft.com/office/drawing/2014/main" id="{9CCE8340-5B73-7146-A0D7-BE7893D63AC5}"/>
                </a:ext>
              </a:extLst>
            </p:cNvPr>
            <p:cNvSpPr/>
            <p:nvPr/>
          </p:nvSpPr>
          <p:spPr>
            <a:xfrm flipH="1">
              <a:off x="3322830" y="4719592"/>
              <a:ext cx="1871717" cy="630148"/>
            </a:xfrm>
            <a:custGeom>
              <a:avLst/>
              <a:gdLst>
                <a:gd name="connsiteX0" fmla="*/ 5029200 w 5029200"/>
                <a:gd name="connsiteY0" fmla="*/ 666750 h 1752600"/>
                <a:gd name="connsiteX1" fmla="*/ 4848225 w 5029200"/>
                <a:gd name="connsiteY1" fmla="*/ 1752600 h 1752600"/>
                <a:gd name="connsiteX2" fmla="*/ 2238375 w 5029200"/>
                <a:gd name="connsiteY2" fmla="*/ 1219200 h 1752600"/>
                <a:gd name="connsiteX3" fmla="*/ 1914525 w 5029200"/>
                <a:gd name="connsiteY3" fmla="*/ 1085850 h 1752600"/>
                <a:gd name="connsiteX4" fmla="*/ 200025 w 5029200"/>
                <a:gd name="connsiteY4" fmla="*/ 723900 h 1752600"/>
                <a:gd name="connsiteX5" fmla="*/ 323850 w 5029200"/>
                <a:gd name="connsiteY5" fmla="*/ 533400 h 1752600"/>
                <a:gd name="connsiteX6" fmla="*/ 0 w 5029200"/>
                <a:gd name="connsiteY6" fmla="*/ 485775 h 1752600"/>
                <a:gd name="connsiteX7" fmla="*/ 590550 w 5029200"/>
                <a:gd name="connsiteY7" fmla="*/ 266700 h 1752600"/>
                <a:gd name="connsiteX8" fmla="*/ 1495425 w 5029200"/>
                <a:gd name="connsiteY8" fmla="*/ 504825 h 1752600"/>
                <a:gd name="connsiteX9" fmla="*/ 2257425 w 5029200"/>
                <a:gd name="connsiteY9" fmla="*/ 409575 h 1752600"/>
                <a:gd name="connsiteX10" fmla="*/ 2171700 w 5029200"/>
                <a:gd name="connsiteY10" fmla="*/ 409575 h 1752600"/>
                <a:gd name="connsiteX11" fmla="*/ 1476375 w 5029200"/>
                <a:gd name="connsiteY11" fmla="*/ 361950 h 1752600"/>
                <a:gd name="connsiteX12" fmla="*/ 1362075 w 5029200"/>
                <a:gd name="connsiteY12" fmla="*/ 85725 h 1752600"/>
                <a:gd name="connsiteX13" fmla="*/ 2333625 w 5029200"/>
                <a:gd name="connsiteY13" fmla="*/ 0 h 1752600"/>
                <a:gd name="connsiteX14" fmla="*/ 3724275 w 5029200"/>
                <a:gd name="connsiteY14" fmla="*/ 66675 h 1752600"/>
                <a:gd name="connsiteX15" fmla="*/ 5029200 w 5029200"/>
                <a:gd name="connsiteY15" fmla="*/ 666750 h 1752600"/>
                <a:gd name="connsiteX0" fmla="*/ 4973541 w 5077377"/>
                <a:gd name="connsiteY0" fmla="*/ 694580 h 1763901"/>
                <a:gd name="connsiteX1" fmla="*/ 4848225 w 5077377"/>
                <a:gd name="connsiteY1" fmla="*/ 1752600 h 1763901"/>
                <a:gd name="connsiteX2" fmla="*/ 2238375 w 5077377"/>
                <a:gd name="connsiteY2" fmla="*/ 1219200 h 1763901"/>
                <a:gd name="connsiteX3" fmla="*/ 1914525 w 5077377"/>
                <a:gd name="connsiteY3" fmla="*/ 1085850 h 1763901"/>
                <a:gd name="connsiteX4" fmla="*/ 200025 w 5077377"/>
                <a:gd name="connsiteY4" fmla="*/ 723900 h 1763901"/>
                <a:gd name="connsiteX5" fmla="*/ 323850 w 5077377"/>
                <a:gd name="connsiteY5" fmla="*/ 533400 h 1763901"/>
                <a:gd name="connsiteX6" fmla="*/ 0 w 5077377"/>
                <a:gd name="connsiteY6" fmla="*/ 485775 h 1763901"/>
                <a:gd name="connsiteX7" fmla="*/ 590550 w 5077377"/>
                <a:gd name="connsiteY7" fmla="*/ 266700 h 1763901"/>
                <a:gd name="connsiteX8" fmla="*/ 1495425 w 5077377"/>
                <a:gd name="connsiteY8" fmla="*/ 504825 h 1763901"/>
                <a:gd name="connsiteX9" fmla="*/ 2257425 w 5077377"/>
                <a:gd name="connsiteY9" fmla="*/ 409575 h 1763901"/>
                <a:gd name="connsiteX10" fmla="*/ 2171700 w 5077377"/>
                <a:gd name="connsiteY10" fmla="*/ 409575 h 1763901"/>
                <a:gd name="connsiteX11" fmla="*/ 1476375 w 5077377"/>
                <a:gd name="connsiteY11" fmla="*/ 361950 h 1763901"/>
                <a:gd name="connsiteX12" fmla="*/ 1362075 w 5077377"/>
                <a:gd name="connsiteY12" fmla="*/ 85725 h 1763901"/>
                <a:gd name="connsiteX13" fmla="*/ 2333625 w 5077377"/>
                <a:gd name="connsiteY13" fmla="*/ 0 h 1763901"/>
                <a:gd name="connsiteX14" fmla="*/ 3724275 w 5077377"/>
                <a:gd name="connsiteY14" fmla="*/ 66675 h 1763901"/>
                <a:gd name="connsiteX15" fmla="*/ 4973541 w 5077377"/>
                <a:gd name="connsiteY15" fmla="*/ 694580 h 1763901"/>
                <a:gd name="connsiteX0" fmla="*/ 4973541 w 5077377"/>
                <a:gd name="connsiteY0" fmla="*/ 694580 h 1763901"/>
                <a:gd name="connsiteX1" fmla="*/ 4848225 w 5077377"/>
                <a:gd name="connsiteY1" fmla="*/ 1752600 h 1763901"/>
                <a:gd name="connsiteX2" fmla="*/ 2238375 w 5077377"/>
                <a:gd name="connsiteY2" fmla="*/ 1219200 h 1763901"/>
                <a:gd name="connsiteX3" fmla="*/ 1914525 w 5077377"/>
                <a:gd name="connsiteY3" fmla="*/ 1085850 h 1763901"/>
                <a:gd name="connsiteX4" fmla="*/ 200025 w 5077377"/>
                <a:gd name="connsiteY4" fmla="*/ 723900 h 1763901"/>
                <a:gd name="connsiteX5" fmla="*/ 323850 w 5077377"/>
                <a:gd name="connsiteY5" fmla="*/ 533400 h 1763901"/>
                <a:gd name="connsiteX6" fmla="*/ 0 w 5077377"/>
                <a:gd name="connsiteY6" fmla="*/ 485775 h 1763901"/>
                <a:gd name="connsiteX7" fmla="*/ 590550 w 5077377"/>
                <a:gd name="connsiteY7" fmla="*/ 266700 h 1763901"/>
                <a:gd name="connsiteX8" fmla="*/ 1495425 w 5077377"/>
                <a:gd name="connsiteY8" fmla="*/ 504825 h 1763901"/>
                <a:gd name="connsiteX9" fmla="*/ 2257425 w 5077377"/>
                <a:gd name="connsiteY9" fmla="*/ 409575 h 1763901"/>
                <a:gd name="connsiteX10" fmla="*/ 2171700 w 5077377"/>
                <a:gd name="connsiteY10" fmla="*/ 409575 h 1763901"/>
                <a:gd name="connsiteX11" fmla="*/ 1476375 w 5077377"/>
                <a:gd name="connsiteY11" fmla="*/ 361950 h 1763901"/>
                <a:gd name="connsiteX12" fmla="*/ 1362075 w 5077377"/>
                <a:gd name="connsiteY12" fmla="*/ 85725 h 1763901"/>
                <a:gd name="connsiteX13" fmla="*/ 2333625 w 5077377"/>
                <a:gd name="connsiteY13" fmla="*/ 0 h 1763901"/>
                <a:gd name="connsiteX14" fmla="*/ 3724275 w 5077377"/>
                <a:gd name="connsiteY14" fmla="*/ 66675 h 1763901"/>
                <a:gd name="connsiteX15" fmla="*/ 4973541 w 5077377"/>
                <a:gd name="connsiteY15" fmla="*/ 694580 h 1763901"/>
                <a:gd name="connsiteX0" fmla="*/ 4973541 w 5077377"/>
                <a:gd name="connsiteY0" fmla="*/ 694580 h 1763901"/>
                <a:gd name="connsiteX1" fmla="*/ 4848225 w 5077377"/>
                <a:gd name="connsiteY1" fmla="*/ 1752600 h 1763901"/>
                <a:gd name="connsiteX2" fmla="*/ 2238375 w 5077377"/>
                <a:gd name="connsiteY2" fmla="*/ 1219200 h 1763901"/>
                <a:gd name="connsiteX3" fmla="*/ 1914525 w 5077377"/>
                <a:gd name="connsiteY3" fmla="*/ 1085850 h 1763901"/>
                <a:gd name="connsiteX4" fmla="*/ 200025 w 5077377"/>
                <a:gd name="connsiteY4" fmla="*/ 723900 h 1763901"/>
                <a:gd name="connsiteX5" fmla="*/ 323850 w 5077377"/>
                <a:gd name="connsiteY5" fmla="*/ 533400 h 1763901"/>
                <a:gd name="connsiteX6" fmla="*/ 0 w 5077377"/>
                <a:gd name="connsiteY6" fmla="*/ 485775 h 1763901"/>
                <a:gd name="connsiteX7" fmla="*/ 590550 w 5077377"/>
                <a:gd name="connsiteY7" fmla="*/ 266700 h 1763901"/>
                <a:gd name="connsiteX8" fmla="*/ 1495425 w 5077377"/>
                <a:gd name="connsiteY8" fmla="*/ 504825 h 1763901"/>
                <a:gd name="connsiteX9" fmla="*/ 2257425 w 5077377"/>
                <a:gd name="connsiteY9" fmla="*/ 409575 h 1763901"/>
                <a:gd name="connsiteX10" fmla="*/ 2171700 w 5077377"/>
                <a:gd name="connsiteY10" fmla="*/ 409575 h 1763901"/>
                <a:gd name="connsiteX11" fmla="*/ 1476375 w 5077377"/>
                <a:gd name="connsiteY11" fmla="*/ 361950 h 1763901"/>
                <a:gd name="connsiteX12" fmla="*/ 1362075 w 5077377"/>
                <a:gd name="connsiteY12" fmla="*/ 85725 h 1763901"/>
                <a:gd name="connsiteX13" fmla="*/ 2333625 w 5077377"/>
                <a:gd name="connsiteY13" fmla="*/ 0 h 1763901"/>
                <a:gd name="connsiteX14" fmla="*/ 3724275 w 5077377"/>
                <a:gd name="connsiteY14" fmla="*/ 66675 h 1763901"/>
                <a:gd name="connsiteX15" fmla="*/ 4973541 w 5077377"/>
                <a:gd name="connsiteY15" fmla="*/ 694580 h 1763901"/>
                <a:gd name="connsiteX0" fmla="*/ 4973541 w 5077377"/>
                <a:gd name="connsiteY0" fmla="*/ 694580 h 1763901"/>
                <a:gd name="connsiteX1" fmla="*/ 4848225 w 5077377"/>
                <a:gd name="connsiteY1" fmla="*/ 1752600 h 1763901"/>
                <a:gd name="connsiteX2" fmla="*/ 2238375 w 5077377"/>
                <a:gd name="connsiteY2" fmla="*/ 1219200 h 1763901"/>
                <a:gd name="connsiteX3" fmla="*/ 1914525 w 5077377"/>
                <a:gd name="connsiteY3" fmla="*/ 1085850 h 1763901"/>
                <a:gd name="connsiteX4" fmla="*/ 200025 w 5077377"/>
                <a:gd name="connsiteY4" fmla="*/ 723900 h 1763901"/>
                <a:gd name="connsiteX5" fmla="*/ 323850 w 5077377"/>
                <a:gd name="connsiteY5" fmla="*/ 533400 h 1763901"/>
                <a:gd name="connsiteX6" fmla="*/ 0 w 5077377"/>
                <a:gd name="connsiteY6" fmla="*/ 485775 h 1763901"/>
                <a:gd name="connsiteX7" fmla="*/ 590550 w 5077377"/>
                <a:gd name="connsiteY7" fmla="*/ 266700 h 1763901"/>
                <a:gd name="connsiteX8" fmla="*/ 1495425 w 5077377"/>
                <a:gd name="connsiteY8" fmla="*/ 504825 h 1763901"/>
                <a:gd name="connsiteX9" fmla="*/ 2257425 w 5077377"/>
                <a:gd name="connsiteY9" fmla="*/ 409575 h 1763901"/>
                <a:gd name="connsiteX10" fmla="*/ 2171700 w 5077377"/>
                <a:gd name="connsiteY10" fmla="*/ 409575 h 1763901"/>
                <a:gd name="connsiteX11" fmla="*/ 1476375 w 5077377"/>
                <a:gd name="connsiteY11" fmla="*/ 361950 h 1763901"/>
                <a:gd name="connsiteX12" fmla="*/ 1362075 w 5077377"/>
                <a:gd name="connsiteY12" fmla="*/ 85725 h 1763901"/>
                <a:gd name="connsiteX13" fmla="*/ 2333625 w 5077377"/>
                <a:gd name="connsiteY13" fmla="*/ 0 h 1763901"/>
                <a:gd name="connsiteX14" fmla="*/ 3700421 w 5077377"/>
                <a:gd name="connsiteY14" fmla="*/ 82578 h 1763901"/>
                <a:gd name="connsiteX15" fmla="*/ 4973541 w 5077377"/>
                <a:gd name="connsiteY15" fmla="*/ 694580 h 1763901"/>
                <a:gd name="connsiteX0" fmla="*/ 4973541 w 5077377"/>
                <a:gd name="connsiteY0" fmla="*/ 694580 h 1763901"/>
                <a:gd name="connsiteX1" fmla="*/ 4848225 w 5077377"/>
                <a:gd name="connsiteY1" fmla="*/ 1752600 h 1763901"/>
                <a:gd name="connsiteX2" fmla="*/ 2238375 w 5077377"/>
                <a:gd name="connsiteY2" fmla="*/ 1219200 h 1763901"/>
                <a:gd name="connsiteX3" fmla="*/ 1914525 w 5077377"/>
                <a:gd name="connsiteY3" fmla="*/ 1085850 h 1763901"/>
                <a:gd name="connsiteX4" fmla="*/ 200025 w 5077377"/>
                <a:gd name="connsiteY4" fmla="*/ 723900 h 1763901"/>
                <a:gd name="connsiteX5" fmla="*/ 323850 w 5077377"/>
                <a:gd name="connsiteY5" fmla="*/ 533400 h 1763901"/>
                <a:gd name="connsiteX6" fmla="*/ 0 w 5077377"/>
                <a:gd name="connsiteY6" fmla="*/ 485775 h 1763901"/>
                <a:gd name="connsiteX7" fmla="*/ 590550 w 5077377"/>
                <a:gd name="connsiteY7" fmla="*/ 266700 h 1763901"/>
                <a:gd name="connsiteX8" fmla="*/ 1495425 w 5077377"/>
                <a:gd name="connsiteY8" fmla="*/ 504825 h 1763901"/>
                <a:gd name="connsiteX9" fmla="*/ 2257425 w 5077377"/>
                <a:gd name="connsiteY9" fmla="*/ 409575 h 1763901"/>
                <a:gd name="connsiteX10" fmla="*/ 2171700 w 5077377"/>
                <a:gd name="connsiteY10" fmla="*/ 409575 h 1763901"/>
                <a:gd name="connsiteX11" fmla="*/ 1476375 w 5077377"/>
                <a:gd name="connsiteY11" fmla="*/ 361950 h 1763901"/>
                <a:gd name="connsiteX12" fmla="*/ 1362075 w 5077377"/>
                <a:gd name="connsiteY12" fmla="*/ 85725 h 1763901"/>
                <a:gd name="connsiteX13" fmla="*/ 2333625 w 5077377"/>
                <a:gd name="connsiteY13" fmla="*/ 0 h 1763901"/>
                <a:gd name="connsiteX14" fmla="*/ 3700421 w 5077377"/>
                <a:gd name="connsiteY14" fmla="*/ 82578 h 1763901"/>
                <a:gd name="connsiteX15" fmla="*/ 4973541 w 5077377"/>
                <a:gd name="connsiteY15" fmla="*/ 694580 h 1763901"/>
                <a:gd name="connsiteX0" fmla="*/ 4973541 w 5077377"/>
                <a:gd name="connsiteY0" fmla="*/ 775793 h 1845114"/>
                <a:gd name="connsiteX1" fmla="*/ 4848225 w 5077377"/>
                <a:gd name="connsiteY1" fmla="*/ 1833813 h 1845114"/>
                <a:gd name="connsiteX2" fmla="*/ 2238375 w 5077377"/>
                <a:gd name="connsiteY2" fmla="*/ 1300413 h 1845114"/>
                <a:gd name="connsiteX3" fmla="*/ 1914525 w 5077377"/>
                <a:gd name="connsiteY3" fmla="*/ 1167063 h 1845114"/>
                <a:gd name="connsiteX4" fmla="*/ 200025 w 5077377"/>
                <a:gd name="connsiteY4" fmla="*/ 805113 h 1845114"/>
                <a:gd name="connsiteX5" fmla="*/ 323850 w 5077377"/>
                <a:gd name="connsiteY5" fmla="*/ 614613 h 1845114"/>
                <a:gd name="connsiteX6" fmla="*/ 0 w 5077377"/>
                <a:gd name="connsiteY6" fmla="*/ 566988 h 1845114"/>
                <a:gd name="connsiteX7" fmla="*/ 590550 w 5077377"/>
                <a:gd name="connsiteY7" fmla="*/ 347913 h 1845114"/>
                <a:gd name="connsiteX8" fmla="*/ 1495425 w 5077377"/>
                <a:gd name="connsiteY8" fmla="*/ 586038 h 1845114"/>
                <a:gd name="connsiteX9" fmla="*/ 2257425 w 5077377"/>
                <a:gd name="connsiteY9" fmla="*/ 490788 h 1845114"/>
                <a:gd name="connsiteX10" fmla="*/ 2171700 w 5077377"/>
                <a:gd name="connsiteY10" fmla="*/ 490788 h 1845114"/>
                <a:gd name="connsiteX11" fmla="*/ 1476375 w 5077377"/>
                <a:gd name="connsiteY11" fmla="*/ 443163 h 1845114"/>
                <a:gd name="connsiteX12" fmla="*/ 1362075 w 5077377"/>
                <a:gd name="connsiteY12" fmla="*/ 166938 h 1845114"/>
                <a:gd name="connsiteX13" fmla="*/ 2333625 w 5077377"/>
                <a:gd name="connsiteY13" fmla="*/ 81213 h 1845114"/>
                <a:gd name="connsiteX14" fmla="*/ 3700421 w 5077377"/>
                <a:gd name="connsiteY14" fmla="*/ 163791 h 1845114"/>
                <a:gd name="connsiteX15" fmla="*/ 4973541 w 5077377"/>
                <a:gd name="connsiteY15" fmla="*/ 775793 h 1845114"/>
                <a:gd name="connsiteX0" fmla="*/ 4973541 w 5077377"/>
                <a:gd name="connsiteY0" fmla="*/ 771984 h 1841305"/>
                <a:gd name="connsiteX1" fmla="*/ 4848225 w 5077377"/>
                <a:gd name="connsiteY1" fmla="*/ 1830004 h 1841305"/>
                <a:gd name="connsiteX2" fmla="*/ 2238375 w 5077377"/>
                <a:gd name="connsiteY2" fmla="*/ 1296604 h 1841305"/>
                <a:gd name="connsiteX3" fmla="*/ 1914525 w 5077377"/>
                <a:gd name="connsiteY3" fmla="*/ 1163254 h 1841305"/>
                <a:gd name="connsiteX4" fmla="*/ 200025 w 5077377"/>
                <a:gd name="connsiteY4" fmla="*/ 801304 h 1841305"/>
                <a:gd name="connsiteX5" fmla="*/ 323850 w 5077377"/>
                <a:gd name="connsiteY5" fmla="*/ 610804 h 1841305"/>
                <a:gd name="connsiteX6" fmla="*/ 0 w 5077377"/>
                <a:gd name="connsiteY6" fmla="*/ 563179 h 1841305"/>
                <a:gd name="connsiteX7" fmla="*/ 590550 w 5077377"/>
                <a:gd name="connsiteY7" fmla="*/ 344104 h 1841305"/>
                <a:gd name="connsiteX8" fmla="*/ 1495425 w 5077377"/>
                <a:gd name="connsiteY8" fmla="*/ 582229 h 1841305"/>
                <a:gd name="connsiteX9" fmla="*/ 2257425 w 5077377"/>
                <a:gd name="connsiteY9" fmla="*/ 486979 h 1841305"/>
                <a:gd name="connsiteX10" fmla="*/ 2171700 w 5077377"/>
                <a:gd name="connsiteY10" fmla="*/ 486979 h 1841305"/>
                <a:gd name="connsiteX11" fmla="*/ 1476375 w 5077377"/>
                <a:gd name="connsiteY11" fmla="*/ 439354 h 1841305"/>
                <a:gd name="connsiteX12" fmla="*/ 1362075 w 5077377"/>
                <a:gd name="connsiteY12" fmla="*/ 163129 h 1841305"/>
                <a:gd name="connsiteX13" fmla="*/ 2345552 w 5077377"/>
                <a:gd name="connsiteY13" fmla="*/ 89331 h 1841305"/>
                <a:gd name="connsiteX14" fmla="*/ 3700421 w 5077377"/>
                <a:gd name="connsiteY14" fmla="*/ 159982 h 1841305"/>
                <a:gd name="connsiteX15" fmla="*/ 4973541 w 5077377"/>
                <a:gd name="connsiteY15" fmla="*/ 771984 h 1841305"/>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362075 w 5077377"/>
                <a:gd name="connsiteY12" fmla="*/ 205171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362075 w 5077377"/>
                <a:gd name="connsiteY12" fmla="*/ 205171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362075 w 5077377"/>
                <a:gd name="connsiteY12" fmla="*/ 205171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476375 w 5077377"/>
                <a:gd name="connsiteY11" fmla="*/ 481396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659255 w 5077377"/>
                <a:gd name="connsiteY11" fmla="*/ 517177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2171700 w 5077377"/>
                <a:gd name="connsiteY10" fmla="*/ 529021 h 1883347"/>
                <a:gd name="connsiteX11" fmla="*/ 1659255 w 5077377"/>
                <a:gd name="connsiteY11" fmla="*/ 517177 h 1883347"/>
                <a:gd name="connsiteX12" fmla="*/ 1409783 w 5077377"/>
                <a:gd name="connsiteY12" fmla="*/ 165415 h 1883347"/>
                <a:gd name="connsiteX13" fmla="*/ 2345552 w 5077377"/>
                <a:gd name="connsiteY13" fmla="*/ 131373 h 1883347"/>
                <a:gd name="connsiteX14" fmla="*/ 3700421 w 5077377"/>
                <a:gd name="connsiteY14" fmla="*/ 202024 h 1883347"/>
                <a:gd name="connsiteX15" fmla="*/ 4973541 w 5077377"/>
                <a:gd name="connsiteY15"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57425 w 5077377"/>
                <a:gd name="connsiteY9" fmla="*/ 529021 h 1883347"/>
                <a:gd name="connsiteX10" fmla="*/ 1659255 w 5077377"/>
                <a:gd name="connsiteY10" fmla="*/ 517177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25620 w 5077377"/>
                <a:gd name="connsiteY9" fmla="*/ 513119 h 1883347"/>
                <a:gd name="connsiteX10" fmla="*/ 1659255 w 5077377"/>
                <a:gd name="connsiteY10" fmla="*/ 517177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59255 w 5077377"/>
                <a:gd name="connsiteY10" fmla="*/ 517177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59255 w 5077377"/>
                <a:gd name="connsiteY10" fmla="*/ 517177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27450 w 5077377"/>
                <a:gd name="connsiteY10" fmla="*/ 48537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27450 w 5077377"/>
                <a:gd name="connsiteY10" fmla="*/ 48537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41522 w 5077377"/>
                <a:gd name="connsiteY9" fmla="*/ 536973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513202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3541 w 5077377"/>
                <a:gd name="connsiteY0" fmla="*/ 814026 h 1883347"/>
                <a:gd name="connsiteX1" fmla="*/ 4848225 w 5077377"/>
                <a:gd name="connsiteY1" fmla="*/ 1872046 h 1883347"/>
                <a:gd name="connsiteX2" fmla="*/ 2238375 w 5077377"/>
                <a:gd name="connsiteY2" fmla="*/ 1338646 h 1883347"/>
                <a:gd name="connsiteX3" fmla="*/ 1914525 w 5077377"/>
                <a:gd name="connsiteY3" fmla="*/ 1205296 h 1883347"/>
                <a:gd name="connsiteX4" fmla="*/ 200025 w 5077377"/>
                <a:gd name="connsiteY4" fmla="*/ 843346 h 1883347"/>
                <a:gd name="connsiteX5" fmla="*/ 323850 w 5077377"/>
                <a:gd name="connsiteY5" fmla="*/ 652846 h 1883347"/>
                <a:gd name="connsiteX6" fmla="*/ 0 w 5077377"/>
                <a:gd name="connsiteY6" fmla="*/ 605221 h 1883347"/>
                <a:gd name="connsiteX7" fmla="*/ 590550 w 5077377"/>
                <a:gd name="connsiteY7" fmla="*/ 386146 h 1883347"/>
                <a:gd name="connsiteX8" fmla="*/ 1495425 w 5077377"/>
                <a:gd name="connsiteY8" fmla="*/ 624271 h 1883347"/>
                <a:gd name="connsiteX9" fmla="*/ 2205741 w 5077377"/>
                <a:gd name="connsiteY9" fmla="*/ 525046 h 1883347"/>
                <a:gd name="connsiteX10" fmla="*/ 1619499 w 5077377"/>
                <a:gd name="connsiteY10" fmla="*/ 493323 h 1883347"/>
                <a:gd name="connsiteX11" fmla="*/ 1409783 w 5077377"/>
                <a:gd name="connsiteY11" fmla="*/ 165415 h 1883347"/>
                <a:gd name="connsiteX12" fmla="*/ 2345552 w 5077377"/>
                <a:gd name="connsiteY12" fmla="*/ 131373 h 1883347"/>
                <a:gd name="connsiteX13" fmla="*/ 3700421 w 5077377"/>
                <a:gd name="connsiteY13" fmla="*/ 202024 h 1883347"/>
                <a:gd name="connsiteX14" fmla="*/ 4973541 w 5077377"/>
                <a:gd name="connsiteY14" fmla="*/ 814026 h 1883347"/>
                <a:gd name="connsiteX0" fmla="*/ 4977516 w 5081352"/>
                <a:gd name="connsiteY0" fmla="*/ 814026 h 1883347"/>
                <a:gd name="connsiteX1" fmla="*/ 4852200 w 5081352"/>
                <a:gd name="connsiteY1" fmla="*/ 1872046 h 1883347"/>
                <a:gd name="connsiteX2" fmla="*/ 2242350 w 5081352"/>
                <a:gd name="connsiteY2" fmla="*/ 1338646 h 1883347"/>
                <a:gd name="connsiteX3" fmla="*/ 1918500 w 5081352"/>
                <a:gd name="connsiteY3" fmla="*/ 1205296 h 1883347"/>
                <a:gd name="connsiteX4" fmla="*/ 204000 w 5081352"/>
                <a:gd name="connsiteY4" fmla="*/ 843346 h 1883347"/>
                <a:gd name="connsiteX5" fmla="*/ 327825 w 5081352"/>
                <a:gd name="connsiteY5" fmla="*/ 652846 h 1883347"/>
                <a:gd name="connsiteX6" fmla="*/ 0 w 5081352"/>
                <a:gd name="connsiteY6" fmla="*/ 585343 h 1883347"/>
                <a:gd name="connsiteX7" fmla="*/ 594525 w 5081352"/>
                <a:gd name="connsiteY7" fmla="*/ 386146 h 1883347"/>
                <a:gd name="connsiteX8" fmla="*/ 1499400 w 5081352"/>
                <a:gd name="connsiteY8" fmla="*/ 624271 h 1883347"/>
                <a:gd name="connsiteX9" fmla="*/ 2209716 w 5081352"/>
                <a:gd name="connsiteY9" fmla="*/ 525046 h 1883347"/>
                <a:gd name="connsiteX10" fmla="*/ 1623474 w 5081352"/>
                <a:gd name="connsiteY10" fmla="*/ 493323 h 1883347"/>
                <a:gd name="connsiteX11" fmla="*/ 1413758 w 5081352"/>
                <a:gd name="connsiteY11" fmla="*/ 165415 h 1883347"/>
                <a:gd name="connsiteX12" fmla="*/ 2349527 w 5081352"/>
                <a:gd name="connsiteY12" fmla="*/ 131373 h 1883347"/>
                <a:gd name="connsiteX13" fmla="*/ 3704396 w 5081352"/>
                <a:gd name="connsiteY13" fmla="*/ 202024 h 1883347"/>
                <a:gd name="connsiteX14" fmla="*/ 4977516 w 5081352"/>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06018 w 5083370"/>
                <a:gd name="connsiteY4" fmla="*/ 843346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06018 w 5083370"/>
                <a:gd name="connsiteY4" fmla="*/ 843346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170237 w 5083370"/>
                <a:gd name="connsiteY4" fmla="*/ 835395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170237 w 5083370"/>
                <a:gd name="connsiteY4" fmla="*/ 835395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25897 w 5083370"/>
                <a:gd name="connsiteY4" fmla="*/ 879127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25897 w 5083370"/>
                <a:gd name="connsiteY4" fmla="*/ 879127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25897 w 5083370"/>
                <a:gd name="connsiteY4" fmla="*/ 879127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83347"/>
                <a:gd name="connsiteX1" fmla="*/ 4854218 w 5083370"/>
                <a:gd name="connsiteY1" fmla="*/ 1872046 h 1883347"/>
                <a:gd name="connsiteX2" fmla="*/ 2244368 w 5083370"/>
                <a:gd name="connsiteY2" fmla="*/ 1338646 h 1883347"/>
                <a:gd name="connsiteX3" fmla="*/ 1920518 w 5083370"/>
                <a:gd name="connsiteY3" fmla="*/ 1205296 h 1883347"/>
                <a:gd name="connsiteX4" fmla="*/ 225897 w 5083370"/>
                <a:gd name="connsiteY4" fmla="*/ 879127 h 1883347"/>
                <a:gd name="connsiteX5" fmla="*/ 329843 w 5083370"/>
                <a:gd name="connsiteY5" fmla="*/ 652846 h 1883347"/>
                <a:gd name="connsiteX6" fmla="*/ 2018 w 5083370"/>
                <a:gd name="connsiteY6" fmla="*/ 585343 h 1883347"/>
                <a:gd name="connsiteX7" fmla="*/ 596543 w 5083370"/>
                <a:gd name="connsiteY7" fmla="*/ 386146 h 1883347"/>
                <a:gd name="connsiteX8" fmla="*/ 1501418 w 5083370"/>
                <a:gd name="connsiteY8" fmla="*/ 624271 h 1883347"/>
                <a:gd name="connsiteX9" fmla="*/ 2211734 w 5083370"/>
                <a:gd name="connsiteY9" fmla="*/ 525046 h 1883347"/>
                <a:gd name="connsiteX10" fmla="*/ 1625492 w 5083370"/>
                <a:gd name="connsiteY10" fmla="*/ 493323 h 1883347"/>
                <a:gd name="connsiteX11" fmla="*/ 1415776 w 5083370"/>
                <a:gd name="connsiteY11" fmla="*/ 165415 h 1883347"/>
                <a:gd name="connsiteX12" fmla="*/ 2351545 w 5083370"/>
                <a:gd name="connsiteY12" fmla="*/ 131373 h 1883347"/>
                <a:gd name="connsiteX13" fmla="*/ 3706414 w 5083370"/>
                <a:gd name="connsiteY13" fmla="*/ 202024 h 1883347"/>
                <a:gd name="connsiteX14" fmla="*/ 4979534 w 5083370"/>
                <a:gd name="connsiteY14" fmla="*/ 814026 h 1883347"/>
                <a:gd name="connsiteX0" fmla="*/ 4979534 w 5083370"/>
                <a:gd name="connsiteY0" fmla="*/ 814026 h 1877839"/>
                <a:gd name="connsiteX1" fmla="*/ 4854218 w 5083370"/>
                <a:gd name="connsiteY1" fmla="*/ 1872046 h 1877839"/>
                <a:gd name="connsiteX2" fmla="*/ 2244368 w 5083370"/>
                <a:gd name="connsiteY2" fmla="*/ 1338646 h 1877839"/>
                <a:gd name="connsiteX3" fmla="*/ 1920518 w 5083370"/>
                <a:gd name="connsiteY3" fmla="*/ 1205296 h 1877839"/>
                <a:gd name="connsiteX4" fmla="*/ 225897 w 5083370"/>
                <a:gd name="connsiteY4" fmla="*/ 879127 h 1877839"/>
                <a:gd name="connsiteX5" fmla="*/ 329843 w 5083370"/>
                <a:gd name="connsiteY5" fmla="*/ 652846 h 1877839"/>
                <a:gd name="connsiteX6" fmla="*/ 2018 w 5083370"/>
                <a:gd name="connsiteY6" fmla="*/ 585343 h 1877839"/>
                <a:gd name="connsiteX7" fmla="*/ 596543 w 5083370"/>
                <a:gd name="connsiteY7" fmla="*/ 386146 h 1877839"/>
                <a:gd name="connsiteX8" fmla="*/ 1501418 w 5083370"/>
                <a:gd name="connsiteY8" fmla="*/ 624271 h 1877839"/>
                <a:gd name="connsiteX9" fmla="*/ 2211734 w 5083370"/>
                <a:gd name="connsiteY9" fmla="*/ 525046 h 1877839"/>
                <a:gd name="connsiteX10" fmla="*/ 1625492 w 5083370"/>
                <a:gd name="connsiteY10" fmla="*/ 493323 h 1877839"/>
                <a:gd name="connsiteX11" fmla="*/ 1415776 w 5083370"/>
                <a:gd name="connsiteY11" fmla="*/ 165415 h 1877839"/>
                <a:gd name="connsiteX12" fmla="*/ 2351545 w 5083370"/>
                <a:gd name="connsiteY12" fmla="*/ 131373 h 1877839"/>
                <a:gd name="connsiteX13" fmla="*/ 3706414 w 5083370"/>
                <a:gd name="connsiteY13" fmla="*/ 202024 h 1877839"/>
                <a:gd name="connsiteX14" fmla="*/ 4979534 w 5083370"/>
                <a:gd name="connsiteY14" fmla="*/ 814026 h 1877839"/>
                <a:gd name="connsiteX0" fmla="*/ 4979534 w 5083370"/>
                <a:gd name="connsiteY0" fmla="*/ 814026 h 1877839"/>
                <a:gd name="connsiteX1" fmla="*/ 4854218 w 5083370"/>
                <a:gd name="connsiteY1" fmla="*/ 1872046 h 1877839"/>
                <a:gd name="connsiteX2" fmla="*/ 2244368 w 5083370"/>
                <a:gd name="connsiteY2" fmla="*/ 1338646 h 1877839"/>
                <a:gd name="connsiteX3" fmla="*/ 1920518 w 5083370"/>
                <a:gd name="connsiteY3" fmla="*/ 1205296 h 1877839"/>
                <a:gd name="connsiteX4" fmla="*/ 225897 w 5083370"/>
                <a:gd name="connsiteY4" fmla="*/ 879127 h 1877839"/>
                <a:gd name="connsiteX5" fmla="*/ 329843 w 5083370"/>
                <a:gd name="connsiteY5" fmla="*/ 652846 h 1877839"/>
                <a:gd name="connsiteX6" fmla="*/ 2018 w 5083370"/>
                <a:gd name="connsiteY6" fmla="*/ 585343 h 1877839"/>
                <a:gd name="connsiteX7" fmla="*/ 596543 w 5083370"/>
                <a:gd name="connsiteY7" fmla="*/ 386146 h 1877839"/>
                <a:gd name="connsiteX8" fmla="*/ 1501418 w 5083370"/>
                <a:gd name="connsiteY8" fmla="*/ 624271 h 1877839"/>
                <a:gd name="connsiteX9" fmla="*/ 2211734 w 5083370"/>
                <a:gd name="connsiteY9" fmla="*/ 525046 h 1877839"/>
                <a:gd name="connsiteX10" fmla="*/ 1625492 w 5083370"/>
                <a:gd name="connsiteY10" fmla="*/ 493323 h 1877839"/>
                <a:gd name="connsiteX11" fmla="*/ 1415776 w 5083370"/>
                <a:gd name="connsiteY11" fmla="*/ 165415 h 1877839"/>
                <a:gd name="connsiteX12" fmla="*/ 2351545 w 5083370"/>
                <a:gd name="connsiteY12" fmla="*/ 131373 h 1877839"/>
                <a:gd name="connsiteX13" fmla="*/ 3706414 w 5083370"/>
                <a:gd name="connsiteY13" fmla="*/ 202024 h 1877839"/>
                <a:gd name="connsiteX14" fmla="*/ 4979534 w 5083370"/>
                <a:gd name="connsiteY14" fmla="*/ 814026 h 1877839"/>
                <a:gd name="connsiteX0" fmla="*/ 4979534 w 5083370"/>
                <a:gd name="connsiteY0" fmla="*/ 814026 h 1877839"/>
                <a:gd name="connsiteX1" fmla="*/ 4854218 w 5083370"/>
                <a:gd name="connsiteY1" fmla="*/ 1872046 h 1877839"/>
                <a:gd name="connsiteX2" fmla="*/ 2244368 w 5083370"/>
                <a:gd name="connsiteY2" fmla="*/ 1338646 h 1877839"/>
                <a:gd name="connsiteX3" fmla="*/ 1829078 w 5083370"/>
                <a:gd name="connsiteY3" fmla="*/ 1181443 h 1877839"/>
                <a:gd name="connsiteX4" fmla="*/ 225897 w 5083370"/>
                <a:gd name="connsiteY4" fmla="*/ 879127 h 1877839"/>
                <a:gd name="connsiteX5" fmla="*/ 329843 w 5083370"/>
                <a:gd name="connsiteY5" fmla="*/ 652846 h 1877839"/>
                <a:gd name="connsiteX6" fmla="*/ 2018 w 5083370"/>
                <a:gd name="connsiteY6" fmla="*/ 585343 h 1877839"/>
                <a:gd name="connsiteX7" fmla="*/ 596543 w 5083370"/>
                <a:gd name="connsiteY7" fmla="*/ 386146 h 1877839"/>
                <a:gd name="connsiteX8" fmla="*/ 1501418 w 5083370"/>
                <a:gd name="connsiteY8" fmla="*/ 624271 h 1877839"/>
                <a:gd name="connsiteX9" fmla="*/ 2211734 w 5083370"/>
                <a:gd name="connsiteY9" fmla="*/ 525046 h 1877839"/>
                <a:gd name="connsiteX10" fmla="*/ 1625492 w 5083370"/>
                <a:gd name="connsiteY10" fmla="*/ 493323 h 1877839"/>
                <a:gd name="connsiteX11" fmla="*/ 1415776 w 5083370"/>
                <a:gd name="connsiteY11" fmla="*/ 165415 h 1877839"/>
                <a:gd name="connsiteX12" fmla="*/ 2351545 w 5083370"/>
                <a:gd name="connsiteY12" fmla="*/ 131373 h 1877839"/>
                <a:gd name="connsiteX13" fmla="*/ 3706414 w 5083370"/>
                <a:gd name="connsiteY13" fmla="*/ 202024 h 1877839"/>
                <a:gd name="connsiteX14" fmla="*/ 4979534 w 5083370"/>
                <a:gd name="connsiteY14" fmla="*/ 814026 h 1877839"/>
                <a:gd name="connsiteX0" fmla="*/ 4979534 w 5083370"/>
                <a:gd name="connsiteY0" fmla="*/ 814026 h 1880329"/>
                <a:gd name="connsiteX1" fmla="*/ 4854218 w 5083370"/>
                <a:gd name="connsiteY1" fmla="*/ 1872046 h 1880329"/>
                <a:gd name="connsiteX2" fmla="*/ 2244368 w 5083370"/>
                <a:gd name="connsiteY2" fmla="*/ 1338646 h 1880329"/>
                <a:gd name="connsiteX3" fmla="*/ 1829078 w 5083370"/>
                <a:gd name="connsiteY3" fmla="*/ 1181443 h 1880329"/>
                <a:gd name="connsiteX4" fmla="*/ 225897 w 5083370"/>
                <a:gd name="connsiteY4" fmla="*/ 879127 h 1880329"/>
                <a:gd name="connsiteX5" fmla="*/ 329843 w 5083370"/>
                <a:gd name="connsiteY5" fmla="*/ 652846 h 1880329"/>
                <a:gd name="connsiteX6" fmla="*/ 2018 w 5083370"/>
                <a:gd name="connsiteY6" fmla="*/ 585343 h 1880329"/>
                <a:gd name="connsiteX7" fmla="*/ 596543 w 5083370"/>
                <a:gd name="connsiteY7" fmla="*/ 386146 h 1880329"/>
                <a:gd name="connsiteX8" fmla="*/ 1501418 w 5083370"/>
                <a:gd name="connsiteY8" fmla="*/ 624271 h 1880329"/>
                <a:gd name="connsiteX9" fmla="*/ 2211734 w 5083370"/>
                <a:gd name="connsiteY9" fmla="*/ 525046 h 1880329"/>
                <a:gd name="connsiteX10" fmla="*/ 1625492 w 5083370"/>
                <a:gd name="connsiteY10" fmla="*/ 493323 h 1880329"/>
                <a:gd name="connsiteX11" fmla="*/ 1415776 w 5083370"/>
                <a:gd name="connsiteY11" fmla="*/ 165415 h 1880329"/>
                <a:gd name="connsiteX12" fmla="*/ 2351545 w 5083370"/>
                <a:gd name="connsiteY12" fmla="*/ 131373 h 1880329"/>
                <a:gd name="connsiteX13" fmla="*/ 3706414 w 5083370"/>
                <a:gd name="connsiteY13" fmla="*/ 202024 h 1880329"/>
                <a:gd name="connsiteX14" fmla="*/ 4979534 w 5083370"/>
                <a:gd name="connsiteY14" fmla="*/ 814026 h 1880329"/>
                <a:gd name="connsiteX0" fmla="*/ 4979534 w 5083370"/>
                <a:gd name="connsiteY0" fmla="*/ 814026 h 1880329"/>
                <a:gd name="connsiteX1" fmla="*/ 4854218 w 5083370"/>
                <a:gd name="connsiteY1" fmla="*/ 1872046 h 1880329"/>
                <a:gd name="connsiteX2" fmla="*/ 2244368 w 5083370"/>
                <a:gd name="connsiteY2" fmla="*/ 1338646 h 1880329"/>
                <a:gd name="connsiteX3" fmla="*/ 1829078 w 5083370"/>
                <a:gd name="connsiteY3" fmla="*/ 1181443 h 1880329"/>
                <a:gd name="connsiteX4" fmla="*/ 225897 w 5083370"/>
                <a:gd name="connsiteY4" fmla="*/ 879127 h 1880329"/>
                <a:gd name="connsiteX5" fmla="*/ 329843 w 5083370"/>
                <a:gd name="connsiteY5" fmla="*/ 652846 h 1880329"/>
                <a:gd name="connsiteX6" fmla="*/ 2018 w 5083370"/>
                <a:gd name="connsiteY6" fmla="*/ 585343 h 1880329"/>
                <a:gd name="connsiteX7" fmla="*/ 596543 w 5083370"/>
                <a:gd name="connsiteY7" fmla="*/ 386146 h 1880329"/>
                <a:gd name="connsiteX8" fmla="*/ 1501418 w 5083370"/>
                <a:gd name="connsiteY8" fmla="*/ 624271 h 1880329"/>
                <a:gd name="connsiteX9" fmla="*/ 2211734 w 5083370"/>
                <a:gd name="connsiteY9" fmla="*/ 525046 h 1880329"/>
                <a:gd name="connsiteX10" fmla="*/ 1625492 w 5083370"/>
                <a:gd name="connsiteY10" fmla="*/ 493323 h 1880329"/>
                <a:gd name="connsiteX11" fmla="*/ 1415776 w 5083370"/>
                <a:gd name="connsiteY11" fmla="*/ 165415 h 1880329"/>
                <a:gd name="connsiteX12" fmla="*/ 2351545 w 5083370"/>
                <a:gd name="connsiteY12" fmla="*/ 131373 h 1880329"/>
                <a:gd name="connsiteX13" fmla="*/ 3706414 w 5083370"/>
                <a:gd name="connsiteY13" fmla="*/ 202024 h 1880329"/>
                <a:gd name="connsiteX14" fmla="*/ 4979534 w 5083370"/>
                <a:gd name="connsiteY14" fmla="*/ 814026 h 1880329"/>
                <a:gd name="connsiteX0" fmla="*/ 4979534 w 4994661"/>
                <a:gd name="connsiteY0" fmla="*/ 814026 h 1877098"/>
                <a:gd name="connsiteX1" fmla="*/ 4854218 w 4994661"/>
                <a:gd name="connsiteY1" fmla="*/ 1872046 h 1877098"/>
                <a:gd name="connsiteX2" fmla="*/ 3494379 w 4994661"/>
                <a:gd name="connsiteY2" fmla="*/ 1219542 h 1877098"/>
                <a:gd name="connsiteX3" fmla="*/ 2244368 w 4994661"/>
                <a:gd name="connsiteY3" fmla="*/ 1338646 h 1877098"/>
                <a:gd name="connsiteX4" fmla="*/ 1829078 w 4994661"/>
                <a:gd name="connsiteY4" fmla="*/ 1181443 h 1877098"/>
                <a:gd name="connsiteX5" fmla="*/ 225897 w 4994661"/>
                <a:gd name="connsiteY5" fmla="*/ 879127 h 1877098"/>
                <a:gd name="connsiteX6" fmla="*/ 329843 w 4994661"/>
                <a:gd name="connsiteY6" fmla="*/ 652846 h 1877098"/>
                <a:gd name="connsiteX7" fmla="*/ 2018 w 4994661"/>
                <a:gd name="connsiteY7" fmla="*/ 585343 h 1877098"/>
                <a:gd name="connsiteX8" fmla="*/ 596543 w 4994661"/>
                <a:gd name="connsiteY8" fmla="*/ 386146 h 1877098"/>
                <a:gd name="connsiteX9" fmla="*/ 1501418 w 4994661"/>
                <a:gd name="connsiteY9" fmla="*/ 624271 h 1877098"/>
                <a:gd name="connsiteX10" fmla="*/ 2211734 w 4994661"/>
                <a:gd name="connsiteY10" fmla="*/ 525046 h 1877098"/>
                <a:gd name="connsiteX11" fmla="*/ 1625492 w 4994661"/>
                <a:gd name="connsiteY11" fmla="*/ 493323 h 1877098"/>
                <a:gd name="connsiteX12" fmla="*/ 1415776 w 4994661"/>
                <a:gd name="connsiteY12" fmla="*/ 165415 h 1877098"/>
                <a:gd name="connsiteX13" fmla="*/ 2351545 w 4994661"/>
                <a:gd name="connsiteY13" fmla="*/ 131373 h 1877098"/>
                <a:gd name="connsiteX14" fmla="*/ 3706414 w 4994661"/>
                <a:gd name="connsiteY14" fmla="*/ 202024 h 1877098"/>
                <a:gd name="connsiteX15" fmla="*/ 4979534 w 4994661"/>
                <a:gd name="connsiteY15" fmla="*/ 814026 h 1877098"/>
                <a:gd name="connsiteX0" fmla="*/ 4979534 w 4994661"/>
                <a:gd name="connsiteY0" fmla="*/ 814026 h 1877098"/>
                <a:gd name="connsiteX1" fmla="*/ 4854218 w 4994661"/>
                <a:gd name="connsiteY1" fmla="*/ 1872046 h 1877098"/>
                <a:gd name="connsiteX2" fmla="*/ 3494379 w 4994661"/>
                <a:gd name="connsiteY2" fmla="*/ 1219542 h 1877098"/>
                <a:gd name="connsiteX3" fmla="*/ 2244368 w 4994661"/>
                <a:gd name="connsiteY3" fmla="*/ 1338646 h 1877098"/>
                <a:gd name="connsiteX4" fmla="*/ 1829078 w 4994661"/>
                <a:gd name="connsiteY4" fmla="*/ 1181443 h 1877098"/>
                <a:gd name="connsiteX5" fmla="*/ 225897 w 4994661"/>
                <a:gd name="connsiteY5" fmla="*/ 879127 h 1877098"/>
                <a:gd name="connsiteX6" fmla="*/ 329843 w 4994661"/>
                <a:gd name="connsiteY6" fmla="*/ 652846 h 1877098"/>
                <a:gd name="connsiteX7" fmla="*/ 2018 w 4994661"/>
                <a:gd name="connsiteY7" fmla="*/ 585343 h 1877098"/>
                <a:gd name="connsiteX8" fmla="*/ 596543 w 4994661"/>
                <a:gd name="connsiteY8" fmla="*/ 386146 h 1877098"/>
                <a:gd name="connsiteX9" fmla="*/ 1501418 w 4994661"/>
                <a:gd name="connsiteY9" fmla="*/ 624271 h 1877098"/>
                <a:gd name="connsiteX10" fmla="*/ 2211734 w 4994661"/>
                <a:gd name="connsiteY10" fmla="*/ 525046 h 1877098"/>
                <a:gd name="connsiteX11" fmla="*/ 1625492 w 4994661"/>
                <a:gd name="connsiteY11" fmla="*/ 493323 h 1877098"/>
                <a:gd name="connsiteX12" fmla="*/ 1415776 w 4994661"/>
                <a:gd name="connsiteY12" fmla="*/ 165415 h 1877098"/>
                <a:gd name="connsiteX13" fmla="*/ 2351545 w 4994661"/>
                <a:gd name="connsiteY13" fmla="*/ 131373 h 1877098"/>
                <a:gd name="connsiteX14" fmla="*/ 3706414 w 4994661"/>
                <a:gd name="connsiteY14" fmla="*/ 202024 h 1877098"/>
                <a:gd name="connsiteX15" fmla="*/ 4979534 w 4994661"/>
                <a:gd name="connsiteY15" fmla="*/ 814026 h 1877098"/>
                <a:gd name="connsiteX0" fmla="*/ 4979534 w 4994661"/>
                <a:gd name="connsiteY0" fmla="*/ 814026 h 1877098"/>
                <a:gd name="connsiteX1" fmla="*/ 4854218 w 4994661"/>
                <a:gd name="connsiteY1" fmla="*/ 1872046 h 1877098"/>
                <a:gd name="connsiteX2" fmla="*/ 3494379 w 4994661"/>
                <a:gd name="connsiteY2" fmla="*/ 1219542 h 1877098"/>
                <a:gd name="connsiteX3" fmla="*/ 2244368 w 4994661"/>
                <a:gd name="connsiteY3" fmla="*/ 1338646 h 1877098"/>
                <a:gd name="connsiteX4" fmla="*/ 1829078 w 4994661"/>
                <a:gd name="connsiteY4" fmla="*/ 1181443 h 1877098"/>
                <a:gd name="connsiteX5" fmla="*/ 225897 w 4994661"/>
                <a:gd name="connsiteY5" fmla="*/ 879127 h 1877098"/>
                <a:gd name="connsiteX6" fmla="*/ 329843 w 4994661"/>
                <a:gd name="connsiteY6" fmla="*/ 652846 h 1877098"/>
                <a:gd name="connsiteX7" fmla="*/ 2018 w 4994661"/>
                <a:gd name="connsiteY7" fmla="*/ 585343 h 1877098"/>
                <a:gd name="connsiteX8" fmla="*/ 596543 w 4994661"/>
                <a:gd name="connsiteY8" fmla="*/ 386146 h 1877098"/>
                <a:gd name="connsiteX9" fmla="*/ 1501418 w 4994661"/>
                <a:gd name="connsiteY9" fmla="*/ 624271 h 1877098"/>
                <a:gd name="connsiteX10" fmla="*/ 2211734 w 4994661"/>
                <a:gd name="connsiteY10" fmla="*/ 525046 h 1877098"/>
                <a:gd name="connsiteX11" fmla="*/ 1625492 w 4994661"/>
                <a:gd name="connsiteY11" fmla="*/ 493323 h 1877098"/>
                <a:gd name="connsiteX12" fmla="*/ 1415776 w 4994661"/>
                <a:gd name="connsiteY12" fmla="*/ 165415 h 1877098"/>
                <a:gd name="connsiteX13" fmla="*/ 2351545 w 4994661"/>
                <a:gd name="connsiteY13" fmla="*/ 131373 h 1877098"/>
                <a:gd name="connsiteX14" fmla="*/ 3706414 w 4994661"/>
                <a:gd name="connsiteY14" fmla="*/ 202024 h 1877098"/>
                <a:gd name="connsiteX15" fmla="*/ 4979534 w 4994661"/>
                <a:gd name="connsiteY15" fmla="*/ 814026 h 1877098"/>
                <a:gd name="connsiteX0" fmla="*/ 4979534 w 5026969"/>
                <a:gd name="connsiteY0" fmla="*/ 814026 h 1837656"/>
                <a:gd name="connsiteX1" fmla="*/ 4905901 w 5026969"/>
                <a:gd name="connsiteY1" fmla="*/ 1832290 h 1837656"/>
                <a:gd name="connsiteX2" fmla="*/ 3494379 w 5026969"/>
                <a:gd name="connsiteY2" fmla="*/ 1219542 h 1837656"/>
                <a:gd name="connsiteX3" fmla="*/ 2244368 w 5026969"/>
                <a:gd name="connsiteY3" fmla="*/ 1338646 h 1837656"/>
                <a:gd name="connsiteX4" fmla="*/ 1829078 w 5026969"/>
                <a:gd name="connsiteY4" fmla="*/ 1181443 h 1837656"/>
                <a:gd name="connsiteX5" fmla="*/ 225897 w 5026969"/>
                <a:gd name="connsiteY5" fmla="*/ 879127 h 1837656"/>
                <a:gd name="connsiteX6" fmla="*/ 329843 w 5026969"/>
                <a:gd name="connsiteY6" fmla="*/ 652846 h 1837656"/>
                <a:gd name="connsiteX7" fmla="*/ 2018 w 5026969"/>
                <a:gd name="connsiteY7" fmla="*/ 585343 h 1837656"/>
                <a:gd name="connsiteX8" fmla="*/ 596543 w 5026969"/>
                <a:gd name="connsiteY8" fmla="*/ 386146 h 1837656"/>
                <a:gd name="connsiteX9" fmla="*/ 1501418 w 5026969"/>
                <a:gd name="connsiteY9" fmla="*/ 624271 h 1837656"/>
                <a:gd name="connsiteX10" fmla="*/ 2211734 w 5026969"/>
                <a:gd name="connsiteY10" fmla="*/ 525046 h 1837656"/>
                <a:gd name="connsiteX11" fmla="*/ 1625492 w 5026969"/>
                <a:gd name="connsiteY11" fmla="*/ 493323 h 1837656"/>
                <a:gd name="connsiteX12" fmla="*/ 1415776 w 5026969"/>
                <a:gd name="connsiteY12" fmla="*/ 165415 h 1837656"/>
                <a:gd name="connsiteX13" fmla="*/ 2351545 w 5026969"/>
                <a:gd name="connsiteY13" fmla="*/ 131373 h 1837656"/>
                <a:gd name="connsiteX14" fmla="*/ 3706414 w 5026969"/>
                <a:gd name="connsiteY14" fmla="*/ 202024 h 1837656"/>
                <a:gd name="connsiteX15" fmla="*/ 4979534 w 5026969"/>
                <a:gd name="connsiteY15" fmla="*/ 814026 h 1837656"/>
                <a:gd name="connsiteX0" fmla="*/ 4979534 w 5013760"/>
                <a:gd name="connsiteY0" fmla="*/ 814026 h 1847738"/>
                <a:gd name="connsiteX1" fmla="*/ 4905901 w 5013760"/>
                <a:gd name="connsiteY1" fmla="*/ 1832290 h 1847738"/>
                <a:gd name="connsiteX2" fmla="*/ 3494379 w 5013760"/>
                <a:gd name="connsiteY2" fmla="*/ 1219542 h 1847738"/>
                <a:gd name="connsiteX3" fmla="*/ 2244368 w 5013760"/>
                <a:gd name="connsiteY3" fmla="*/ 1338646 h 1847738"/>
                <a:gd name="connsiteX4" fmla="*/ 1829078 w 5013760"/>
                <a:gd name="connsiteY4" fmla="*/ 1181443 h 1847738"/>
                <a:gd name="connsiteX5" fmla="*/ 225897 w 5013760"/>
                <a:gd name="connsiteY5" fmla="*/ 879127 h 1847738"/>
                <a:gd name="connsiteX6" fmla="*/ 329843 w 5013760"/>
                <a:gd name="connsiteY6" fmla="*/ 652846 h 1847738"/>
                <a:gd name="connsiteX7" fmla="*/ 2018 w 5013760"/>
                <a:gd name="connsiteY7" fmla="*/ 585343 h 1847738"/>
                <a:gd name="connsiteX8" fmla="*/ 596543 w 5013760"/>
                <a:gd name="connsiteY8" fmla="*/ 386146 h 1847738"/>
                <a:gd name="connsiteX9" fmla="*/ 1501418 w 5013760"/>
                <a:gd name="connsiteY9" fmla="*/ 624271 h 1847738"/>
                <a:gd name="connsiteX10" fmla="*/ 2211734 w 5013760"/>
                <a:gd name="connsiteY10" fmla="*/ 525046 h 1847738"/>
                <a:gd name="connsiteX11" fmla="*/ 1625492 w 5013760"/>
                <a:gd name="connsiteY11" fmla="*/ 493323 h 1847738"/>
                <a:gd name="connsiteX12" fmla="*/ 1415776 w 5013760"/>
                <a:gd name="connsiteY12" fmla="*/ 165415 h 1847738"/>
                <a:gd name="connsiteX13" fmla="*/ 2351545 w 5013760"/>
                <a:gd name="connsiteY13" fmla="*/ 131373 h 1847738"/>
                <a:gd name="connsiteX14" fmla="*/ 3706414 w 5013760"/>
                <a:gd name="connsiteY14" fmla="*/ 202024 h 1847738"/>
                <a:gd name="connsiteX15" fmla="*/ 4979534 w 5013760"/>
                <a:gd name="connsiteY15" fmla="*/ 814026 h 1847738"/>
                <a:gd name="connsiteX0" fmla="*/ 4979534 w 5013760"/>
                <a:gd name="connsiteY0" fmla="*/ 814026 h 1847738"/>
                <a:gd name="connsiteX1" fmla="*/ 4905901 w 5013760"/>
                <a:gd name="connsiteY1" fmla="*/ 1832290 h 1847738"/>
                <a:gd name="connsiteX2" fmla="*/ 3494379 w 5013760"/>
                <a:gd name="connsiteY2" fmla="*/ 1219542 h 1847738"/>
                <a:gd name="connsiteX3" fmla="*/ 2244368 w 5013760"/>
                <a:gd name="connsiteY3" fmla="*/ 1338646 h 1847738"/>
                <a:gd name="connsiteX4" fmla="*/ 1829078 w 5013760"/>
                <a:gd name="connsiteY4" fmla="*/ 1181443 h 1847738"/>
                <a:gd name="connsiteX5" fmla="*/ 225897 w 5013760"/>
                <a:gd name="connsiteY5" fmla="*/ 879127 h 1847738"/>
                <a:gd name="connsiteX6" fmla="*/ 329843 w 5013760"/>
                <a:gd name="connsiteY6" fmla="*/ 652846 h 1847738"/>
                <a:gd name="connsiteX7" fmla="*/ 2018 w 5013760"/>
                <a:gd name="connsiteY7" fmla="*/ 585343 h 1847738"/>
                <a:gd name="connsiteX8" fmla="*/ 596543 w 5013760"/>
                <a:gd name="connsiteY8" fmla="*/ 386146 h 1847738"/>
                <a:gd name="connsiteX9" fmla="*/ 1501418 w 5013760"/>
                <a:gd name="connsiteY9" fmla="*/ 624271 h 1847738"/>
                <a:gd name="connsiteX10" fmla="*/ 2211734 w 5013760"/>
                <a:gd name="connsiteY10" fmla="*/ 525046 h 1847738"/>
                <a:gd name="connsiteX11" fmla="*/ 1625492 w 5013760"/>
                <a:gd name="connsiteY11" fmla="*/ 493323 h 1847738"/>
                <a:gd name="connsiteX12" fmla="*/ 1415776 w 5013760"/>
                <a:gd name="connsiteY12" fmla="*/ 165415 h 1847738"/>
                <a:gd name="connsiteX13" fmla="*/ 2351545 w 5013760"/>
                <a:gd name="connsiteY13" fmla="*/ 131373 h 1847738"/>
                <a:gd name="connsiteX14" fmla="*/ 3706414 w 5013760"/>
                <a:gd name="connsiteY14" fmla="*/ 202024 h 1847738"/>
                <a:gd name="connsiteX15" fmla="*/ 4979534 w 5013760"/>
                <a:gd name="connsiteY15" fmla="*/ 814026 h 1847738"/>
                <a:gd name="connsiteX0" fmla="*/ 4979534 w 4979534"/>
                <a:gd name="connsiteY0" fmla="*/ 814026 h 1676452"/>
                <a:gd name="connsiteX1" fmla="*/ 4587849 w 4979534"/>
                <a:gd name="connsiteY1" fmla="*/ 1657361 h 1676452"/>
                <a:gd name="connsiteX2" fmla="*/ 3494379 w 4979534"/>
                <a:gd name="connsiteY2" fmla="*/ 1219542 h 1676452"/>
                <a:gd name="connsiteX3" fmla="*/ 2244368 w 4979534"/>
                <a:gd name="connsiteY3" fmla="*/ 1338646 h 1676452"/>
                <a:gd name="connsiteX4" fmla="*/ 1829078 w 4979534"/>
                <a:gd name="connsiteY4" fmla="*/ 1181443 h 1676452"/>
                <a:gd name="connsiteX5" fmla="*/ 225897 w 4979534"/>
                <a:gd name="connsiteY5" fmla="*/ 879127 h 1676452"/>
                <a:gd name="connsiteX6" fmla="*/ 329843 w 4979534"/>
                <a:gd name="connsiteY6" fmla="*/ 652846 h 1676452"/>
                <a:gd name="connsiteX7" fmla="*/ 2018 w 4979534"/>
                <a:gd name="connsiteY7" fmla="*/ 585343 h 1676452"/>
                <a:gd name="connsiteX8" fmla="*/ 596543 w 4979534"/>
                <a:gd name="connsiteY8" fmla="*/ 386146 h 1676452"/>
                <a:gd name="connsiteX9" fmla="*/ 1501418 w 4979534"/>
                <a:gd name="connsiteY9" fmla="*/ 624271 h 1676452"/>
                <a:gd name="connsiteX10" fmla="*/ 2211734 w 4979534"/>
                <a:gd name="connsiteY10" fmla="*/ 525046 h 1676452"/>
                <a:gd name="connsiteX11" fmla="*/ 1625492 w 4979534"/>
                <a:gd name="connsiteY11" fmla="*/ 493323 h 1676452"/>
                <a:gd name="connsiteX12" fmla="*/ 1415776 w 4979534"/>
                <a:gd name="connsiteY12" fmla="*/ 165415 h 1676452"/>
                <a:gd name="connsiteX13" fmla="*/ 2351545 w 4979534"/>
                <a:gd name="connsiteY13" fmla="*/ 131373 h 1676452"/>
                <a:gd name="connsiteX14" fmla="*/ 3706414 w 4979534"/>
                <a:gd name="connsiteY14" fmla="*/ 202024 h 1676452"/>
                <a:gd name="connsiteX15" fmla="*/ 4979534 w 4979534"/>
                <a:gd name="connsiteY15" fmla="*/ 814026 h 167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534" h="1676452">
                  <a:moveTo>
                    <a:pt x="4979534" y="814026"/>
                  </a:moveTo>
                  <a:cubicBezTo>
                    <a:pt x="4937762" y="1166699"/>
                    <a:pt x="4805185" y="1793751"/>
                    <a:pt x="4587849" y="1657361"/>
                  </a:cubicBezTo>
                  <a:cubicBezTo>
                    <a:pt x="4062028" y="1327381"/>
                    <a:pt x="3949232" y="1260734"/>
                    <a:pt x="3494379" y="1219542"/>
                  </a:cubicBezTo>
                  <a:cubicBezTo>
                    <a:pt x="3059404" y="1154496"/>
                    <a:pt x="2535170" y="1357585"/>
                    <a:pt x="2244368" y="1338646"/>
                  </a:cubicBezTo>
                  <a:cubicBezTo>
                    <a:pt x="2148345" y="1322026"/>
                    <a:pt x="1937028" y="1225893"/>
                    <a:pt x="1829078" y="1181443"/>
                  </a:cubicBezTo>
                  <a:cubicBezTo>
                    <a:pt x="1264204" y="1072720"/>
                    <a:pt x="814625" y="948093"/>
                    <a:pt x="225897" y="879127"/>
                  </a:cubicBezTo>
                  <a:cubicBezTo>
                    <a:pt x="124047" y="863334"/>
                    <a:pt x="213030" y="700444"/>
                    <a:pt x="329843" y="652846"/>
                  </a:cubicBezTo>
                  <a:lnTo>
                    <a:pt x="2018" y="585343"/>
                  </a:lnTo>
                  <a:cubicBezTo>
                    <a:pt x="-27744" y="365219"/>
                    <a:pt x="276448" y="339902"/>
                    <a:pt x="596543" y="386146"/>
                  </a:cubicBezTo>
                  <a:cubicBezTo>
                    <a:pt x="933949" y="453594"/>
                    <a:pt x="1164012" y="517067"/>
                    <a:pt x="1501418" y="624271"/>
                  </a:cubicBezTo>
                  <a:cubicBezTo>
                    <a:pt x="1738190" y="591196"/>
                    <a:pt x="2050499" y="645585"/>
                    <a:pt x="2211734" y="525046"/>
                  </a:cubicBezTo>
                  <a:cubicBezTo>
                    <a:pt x="2016320" y="514472"/>
                    <a:pt x="1793077" y="539678"/>
                    <a:pt x="1625492" y="493323"/>
                  </a:cubicBezTo>
                  <a:cubicBezTo>
                    <a:pt x="1428366" y="479436"/>
                    <a:pt x="1278946" y="258815"/>
                    <a:pt x="1415776" y="165415"/>
                  </a:cubicBezTo>
                  <a:cubicBezTo>
                    <a:pt x="1711796" y="77205"/>
                    <a:pt x="2166843" y="187777"/>
                    <a:pt x="2351545" y="131373"/>
                  </a:cubicBezTo>
                  <a:cubicBezTo>
                    <a:pt x="2616313" y="19751"/>
                    <a:pt x="3111667" y="-127652"/>
                    <a:pt x="3706414" y="202024"/>
                  </a:cubicBezTo>
                  <a:cubicBezTo>
                    <a:pt x="4114885" y="423253"/>
                    <a:pt x="4443842" y="584846"/>
                    <a:pt x="4979534" y="814026"/>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86" name="Group 85">
              <a:extLst>
                <a:ext uri="{FF2B5EF4-FFF2-40B4-BE49-F238E27FC236}">
                  <a16:creationId xmlns:a16="http://schemas.microsoft.com/office/drawing/2014/main" id="{1B90A9A4-1642-014D-971D-D7043C895C08}"/>
                </a:ext>
              </a:extLst>
            </p:cNvPr>
            <p:cNvGrpSpPr/>
            <p:nvPr/>
          </p:nvGrpSpPr>
          <p:grpSpPr>
            <a:xfrm flipH="1">
              <a:off x="2499805" y="4765428"/>
              <a:ext cx="1258190" cy="631267"/>
              <a:chOff x="5250372" y="3335610"/>
              <a:chExt cx="1258190" cy="631267"/>
            </a:xfrm>
          </p:grpSpPr>
          <p:sp>
            <p:nvSpPr>
              <p:cNvPr id="87" name="Rectangle 86">
                <a:extLst>
                  <a:ext uri="{FF2B5EF4-FFF2-40B4-BE49-F238E27FC236}">
                    <a16:creationId xmlns:a16="http://schemas.microsoft.com/office/drawing/2014/main" id="{6DE2CECF-940F-2B4E-ABC5-F70505F86C7D}"/>
                  </a:ext>
                </a:extLst>
              </p:cNvPr>
              <p:cNvSpPr/>
              <p:nvPr/>
            </p:nvSpPr>
            <p:spPr>
              <a:xfrm flipH="1">
                <a:off x="5496730" y="3335610"/>
                <a:ext cx="1011832" cy="631267"/>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8" name="Rectangle 87">
                <a:extLst>
                  <a:ext uri="{FF2B5EF4-FFF2-40B4-BE49-F238E27FC236}">
                    <a16:creationId xmlns:a16="http://schemas.microsoft.com/office/drawing/2014/main" id="{CED83B2E-FAA3-F54C-9AC1-0E9C9985F0DC}"/>
                  </a:ext>
                </a:extLst>
              </p:cNvPr>
              <p:cNvSpPr/>
              <p:nvPr/>
            </p:nvSpPr>
            <p:spPr>
              <a:xfrm flipH="1">
                <a:off x="5250372" y="3364667"/>
                <a:ext cx="246361" cy="504000"/>
              </a:xfrm>
              <a:prstGeom prst="rect">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9" name="Oval 88">
                <a:extLst>
                  <a:ext uri="{FF2B5EF4-FFF2-40B4-BE49-F238E27FC236}">
                    <a16:creationId xmlns:a16="http://schemas.microsoft.com/office/drawing/2014/main" id="{F9828B9F-E226-2A4C-AAB8-7728B5858F7A}"/>
                  </a:ext>
                </a:extLst>
              </p:cNvPr>
              <p:cNvSpPr/>
              <p:nvPr/>
            </p:nvSpPr>
            <p:spPr>
              <a:xfrm flipH="1">
                <a:off x="5328935" y="3730353"/>
                <a:ext cx="108000" cy="108000"/>
              </a:xfrm>
              <a:prstGeom prst="ellipse">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grpSp>
        <p:nvGrpSpPr>
          <p:cNvPr id="101" name="Group 100">
            <a:extLst>
              <a:ext uri="{FF2B5EF4-FFF2-40B4-BE49-F238E27FC236}">
                <a16:creationId xmlns:a16="http://schemas.microsoft.com/office/drawing/2014/main" id="{A5784286-7E2B-154D-BE87-0642B5E5426F}"/>
              </a:ext>
            </a:extLst>
          </p:cNvPr>
          <p:cNvGrpSpPr>
            <a:grpSpLocks noChangeAspect="1"/>
          </p:cNvGrpSpPr>
          <p:nvPr/>
        </p:nvGrpSpPr>
        <p:grpSpPr>
          <a:xfrm>
            <a:off x="3212603" y="2974228"/>
            <a:ext cx="2275385" cy="2914573"/>
            <a:chOff x="3311332" y="192553"/>
            <a:chExt cx="4223096" cy="5409424"/>
          </a:xfrm>
        </p:grpSpPr>
        <p:grpSp>
          <p:nvGrpSpPr>
            <p:cNvPr id="96" name="Group 95">
              <a:extLst>
                <a:ext uri="{FF2B5EF4-FFF2-40B4-BE49-F238E27FC236}">
                  <a16:creationId xmlns:a16="http://schemas.microsoft.com/office/drawing/2014/main" id="{87026719-D021-B640-802C-48899FBDB742}"/>
                </a:ext>
              </a:extLst>
            </p:cNvPr>
            <p:cNvGrpSpPr/>
            <p:nvPr/>
          </p:nvGrpSpPr>
          <p:grpSpPr>
            <a:xfrm>
              <a:off x="3311332" y="192553"/>
              <a:ext cx="4223096" cy="5409424"/>
              <a:chOff x="6637979" y="1498077"/>
              <a:chExt cx="4223096" cy="5409424"/>
            </a:xfrm>
          </p:grpSpPr>
          <p:sp>
            <p:nvSpPr>
              <p:cNvPr id="94" name="Rounded Rectangle 39">
                <a:extLst>
                  <a:ext uri="{FF2B5EF4-FFF2-40B4-BE49-F238E27FC236}">
                    <a16:creationId xmlns:a16="http://schemas.microsoft.com/office/drawing/2014/main" id="{D9A32992-BB86-F047-8FF6-D0CE7294AF45}"/>
                  </a:ext>
                </a:extLst>
              </p:cNvPr>
              <p:cNvSpPr/>
              <p:nvPr/>
            </p:nvSpPr>
            <p:spPr>
              <a:xfrm rot="2483232">
                <a:off x="6637979" y="1804916"/>
                <a:ext cx="4223096" cy="5102585"/>
              </a:xfrm>
              <a:custGeom>
                <a:avLst/>
                <a:gdLst>
                  <a:gd name="connsiteX0" fmla="*/ 670001 w 2194524"/>
                  <a:gd name="connsiteY0" fmla="*/ 41365 h 3010473"/>
                  <a:gd name="connsiteX1" fmla="*/ 769866 w 2194524"/>
                  <a:gd name="connsiteY1" fmla="*/ 0 h 3010473"/>
                  <a:gd name="connsiteX2" fmla="*/ 911097 w 2194524"/>
                  <a:gd name="connsiteY2" fmla="*/ 141231 h 3010473"/>
                  <a:gd name="connsiteX3" fmla="*/ 911097 w 2194524"/>
                  <a:gd name="connsiteY3" fmla="*/ 753742 h 3010473"/>
                  <a:gd name="connsiteX4" fmla="*/ 1594794 w 2194524"/>
                  <a:gd name="connsiteY4" fmla="*/ 789196 h 3010473"/>
                  <a:gd name="connsiteX5" fmla="*/ 1875818 w 2194524"/>
                  <a:gd name="connsiteY5" fmla="*/ 1808656 h 3010473"/>
                  <a:gd name="connsiteX6" fmla="*/ 2194524 w 2194524"/>
                  <a:gd name="connsiteY6" fmla="*/ 2178856 h 3010473"/>
                  <a:gd name="connsiteX7" fmla="*/ 1488044 w 2194524"/>
                  <a:gd name="connsiteY7" fmla="*/ 3010473 h 3010473"/>
                  <a:gd name="connsiteX8" fmla="*/ 1136947 w 2194524"/>
                  <a:gd name="connsiteY8" fmla="*/ 2468062 h 3010473"/>
                  <a:gd name="connsiteX9" fmla="*/ 519460 w 2194524"/>
                  <a:gd name="connsiteY9" fmla="*/ 2013663 h 3010473"/>
                  <a:gd name="connsiteX10" fmla="*/ 0 w 2194524"/>
                  <a:gd name="connsiteY10" fmla="*/ 1326467 h 3010473"/>
                  <a:gd name="connsiteX11" fmla="*/ 628635 w 2194524"/>
                  <a:gd name="connsiteY11" fmla="*/ 1589678 h 3010473"/>
                  <a:gd name="connsiteX12" fmla="*/ 628635 w 2194524"/>
                  <a:gd name="connsiteY12" fmla="*/ 141231 h 3010473"/>
                  <a:gd name="connsiteX13" fmla="*/ 670001 w 2194524"/>
                  <a:gd name="connsiteY13" fmla="*/ 41365 h 3010473"/>
                  <a:gd name="connsiteX0" fmla="*/ 670001 w 2194524"/>
                  <a:gd name="connsiteY0" fmla="*/ 41365 h 3010473"/>
                  <a:gd name="connsiteX1" fmla="*/ 769866 w 2194524"/>
                  <a:gd name="connsiteY1" fmla="*/ 0 h 3010473"/>
                  <a:gd name="connsiteX2" fmla="*/ 911097 w 2194524"/>
                  <a:gd name="connsiteY2" fmla="*/ 141231 h 3010473"/>
                  <a:gd name="connsiteX3" fmla="*/ 960469 w 2194524"/>
                  <a:gd name="connsiteY3" fmla="*/ 784060 h 3010473"/>
                  <a:gd name="connsiteX4" fmla="*/ 1594794 w 2194524"/>
                  <a:gd name="connsiteY4" fmla="*/ 789196 h 3010473"/>
                  <a:gd name="connsiteX5" fmla="*/ 1875818 w 2194524"/>
                  <a:gd name="connsiteY5" fmla="*/ 1808656 h 3010473"/>
                  <a:gd name="connsiteX6" fmla="*/ 2194524 w 2194524"/>
                  <a:gd name="connsiteY6" fmla="*/ 2178856 h 3010473"/>
                  <a:gd name="connsiteX7" fmla="*/ 1488044 w 2194524"/>
                  <a:gd name="connsiteY7" fmla="*/ 3010473 h 3010473"/>
                  <a:gd name="connsiteX8" fmla="*/ 1136947 w 2194524"/>
                  <a:gd name="connsiteY8" fmla="*/ 2468062 h 3010473"/>
                  <a:gd name="connsiteX9" fmla="*/ 519460 w 2194524"/>
                  <a:gd name="connsiteY9" fmla="*/ 2013663 h 3010473"/>
                  <a:gd name="connsiteX10" fmla="*/ 0 w 2194524"/>
                  <a:gd name="connsiteY10" fmla="*/ 1326467 h 3010473"/>
                  <a:gd name="connsiteX11" fmla="*/ 628635 w 2194524"/>
                  <a:gd name="connsiteY11" fmla="*/ 1589678 h 3010473"/>
                  <a:gd name="connsiteX12" fmla="*/ 628635 w 2194524"/>
                  <a:gd name="connsiteY12" fmla="*/ 141231 h 3010473"/>
                  <a:gd name="connsiteX13" fmla="*/ 670001 w 2194524"/>
                  <a:gd name="connsiteY13" fmla="*/ 41365 h 3010473"/>
                  <a:gd name="connsiteX0" fmla="*/ 670001 w 2194524"/>
                  <a:gd name="connsiteY0" fmla="*/ 41365 h 3010473"/>
                  <a:gd name="connsiteX1" fmla="*/ 769866 w 2194524"/>
                  <a:gd name="connsiteY1" fmla="*/ 0 h 3010473"/>
                  <a:gd name="connsiteX2" fmla="*/ 911097 w 2194524"/>
                  <a:gd name="connsiteY2" fmla="*/ 141231 h 3010473"/>
                  <a:gd name="connsiteX3" fmla="*/ 960469 w 2194524"/>
                  <a:gd name="connsiteY3" fmla="*/ 784060 h 3010473"/>
                  <a:gd name="connsiteX4" fmla="*/ 1594794 w 2194524"/>
                  <a:gd name="connsiteY4" fmla="*/ 789196 h 3010473"/>
                  <a:gd name="connsiteX5" fmla="*/ 1875818 w 2194524"/>
                  <a:gd name="connsiteY5" fmla="*/ 1808656 h 3010473"/>
                  <a:gd name="connsiteX6" fmla="*/ 2194524 w 2194524"/>
                  <a:gd name="connsiteY6" fmla="*/ 2178856 h 3010473"/>
                  <a:gd name="connsiteX7" fmla="*/ 1488044 w 2194524"/>
                  <a:gd name="connsiteY7" fmla="*/ 3010473 h 3010473"/>
                  <a:gd name="connsiteX8" fmla="*/ 1136947 w 2194524"/>
                  <a:gd name="connsiteY8" fmla="*/ 2468062 h 3010473"/>
                  <a:gd name="connsiteX9" fmla="*/ 519460 w 2194524"/>
                  <a:gd name="connsiteY9" fmla="*/ 2013663 h 3010473"/>
                  <a:gd name="connsiteX10" fmla="*/ 0 w 2194524"/>
                  <a:gd name="connsiteY10" fmla="*/ 1326467 h 3010473"/>
                  <a:gd name="connsiteX11" fmla="*/ 628635 w 2194524"/>
                  <a:gd name="connsiteY11" fmla="*/ 1589678 h 3010473"/>
                  <a:gd name="connsiteX12" fmla="*/ 628635 w 2194524"/>
                  <a:gd name="connsiteY12" fmla="*/ 141231 h 3010473"/>
                  <a:gd name="connsiteX13" fmla="*/ 670001 w 2194524"/>
                  <a:gd name="connsiteY13" fmla="*/ 41365 h 3010473"/>
                  <a:gd name="connsiteX0" fmla="*/ 670001 w 2194524"/>
                  <a:gd name="connsiteY0" fmla="*/ 41365 h 3010473"/>
                  <a:gd name="connsiteX1" fmla="*/ 769866 w 2194524"/>
                  <a:gd name="connsiteY1" fmla="*/ 0 h 3010473"/>
                  <a:gd name="connsiteX2" fmla="*/ 911097 w 2194524"/>
                  <a:gd name="connsiteY2" fmla="*/ 141231 h 3010473"/>
                  <a:gd name="connsiteX3" fmla="*/ 960469 w 2194524"/>
                  <a:gd name="connsiteY3" fmla="*/ 784060 h 3010473"/>
                  <a:gd name="connsiteX4" fmla="*/ 1594794 w 2194524"/>
                  <a:gd name="connsiteY4" fmla="*/ 789196 h 3010473"/>
                  <a:gd name="connsiteX5" fmla="*/ 1875818 w 2194524"/>
                  <a:gd name="connsiteY5" fmla="*/ 1808656 h 3010473"/>
                  <a:gd name="connsiteX6" fmla="*/ 2194524 w 2194524"/>
                  <a:gd name="connsiteY6" fmla="*/ 2178856 h 3010473"/>
                  <a:gd name="connsiteX7" fmla="*/ 1488044 w 2194524"/>
                  <a:gd name="connsiteY7" fmla="*/ 3010473 h 3010473"/>
                  <a:gd name="connsiteX8" fmla="*/ 1136947 w 2194524"/>
                  <a:gd name="connsiteY8" fmla="*/ 2468062 h 3010473"/>
                  <a:gd name="connsiteX9" fmla="*/ 519460 w 2194524"/>
                  <a:gd name="connsiteY9" fmla="*/ 2013663 h 3010473"/>
                  <a:gd name="connsiteX10" fmla="*/ 0 w 2194524"/>
                  <a:gd name="connsiteY10" fmla="*/ 1326467 h 3010473"/>
                  <a:gd name="connsiteX11" fmla="*/ 628635 w 2194524"/>
                  <a:gd name="connsiteY11" fmla="*/ 1589678 h 3010473"/>
                  <a:gd name="connsiteX12" fmla="*/ 628635 w 2194524"/>
                  <a:gd name="connsiteY12" fmla="*/ 141231 h 3010473"/>
                  <a:gd name="connsiteX13" fmla="*/ 670001 w 2194524"/>
                  <a:gd name="connsiteY13" fmla="*/ 41365 h 3010473"/>
                  <a:gd name="connsiteX0" fmla="*/ 670001 w 2194524"/>
                  <a:gd name="connsiteY0" fmla="*/ 41365 h 3010473"/>
                  <a:gd name="connsiteX1" fmla="*/ 769866 w 2194524"/>
                  <a:gd name="connsiteY1" fmla="*/ 0 h 3010473"/>
                  <a:gd name="connsiteX2" fmla="*/ 911097 w 2194524"/>
                  <a:gd name="connsiteY2" fmla="*/ 141231 h 3010473"/>
                  <a:gd name="connsiteX3" fmla="*/ 960469 w 2194524"/>
                  <a:gd name="connsiteY3" fmla="*/ 784060 h 3010473"/>
                  <a:gd name="connsiteX4" fmla="*/ 1594794 w 2194524"/>
                  <a:gd name="connsiteY4" fmla="*/ 789196 h 3010473"/>
                  <a:gd name="connsiteX5" fmla="*/ 1848308 w 2194524"/>
                  <a:gd name="connsiteY5" fmla="*/ 1898342 h 3010473"/>
                  <a:gd name="connsiteX6" fmla="*/ 2194524 w 2194524"/>
                  <a:gd name="connsiteY6" fmla="*/ 2178856 h 3010473"/>
                  <a:gd name="connsiteX7" fmla="*/ 1488044 w 2194524"/>
                  <a:gd name="connsiteY7" fmla="*/ 3010473 h 3010473"/>
                  <a:gd name="connsiteX8" fmla="*/ 1136947 w 2194524"/>
                  <a:gd name="connsiteY8" fmla="*/ 2468062 h 3010473"/>
                  <a:gd name="connsiteX9" fmla="*/ 519460 w 2194524"/>
                  <a:gd name="connsiteY9" fmla="*/ 2013663 h 3010473"/>
                  <a:gd name="connsiteX10" fmla="*/ 0 w 2194524"/>
                  <a:gd name="connsiteY10" fmla="*/ 1326467 h 3010473"/>
                  <a:gd name="connsiteX11" fmla="*/ 628635 w 2194524"/>
                  <a:gd name="connsiteY11" fmla="*/ 1589678 h 3010473"/>
                  <a:gd name="connsiteX12" fmla="*/ 628635 w 2194524"/>
                  <a:gd name="connsiteY12" fmla="*/ 141231 h 3010473"/>
                  <a:gd name="connsiteX13" fmla="*/ 670001 w 2194524"/>
                  <a:gd name="connsiteY13" fmla="*/ 41365 h 3010473"/>
                  <a:gd name="connsiteX0" fmla="*/ 670001 w 2145453"/>
                  <a:gd name="connsiteY0" fmla="*/ 41365 h 3010473"/>
                  <a:gd name="connsiteX1" fmla="*/ 769866 w 2145453"/>
                  <a:gd name="connsiteY1" fmla="*/ 0 h 3010473"/>
                  <a:gd name="connsiteX2" fmla="*/ 911097 w 2145453"/>
                  <a:gd name="connsiteY2" fmla="*/ 141231 h 3010473"/>
                  <a:gd name="connsiteX3" fmla="*/ 960469 w 2145453"/>
                  <a:gd name="connsiteY3" fmla="*/ 784060 h 3010473"/>
                  <a:gd name="connsiteX4" fmla="*/ 1594794 w 2145453"/>
                  <a:gd name="connsiteY4" fmla="*/ 789196 h 3010473"/>
                  <a:gd name="connsiteX5" fmla="*/ 1848308 w 2145453"/>
                  <a:gd name="connsiteY5" fmla="*/ 1898342 h 3010473"/>
                  <a:gd name="connsiteX6" fmla="*/ 2145453 w 2145453"/>
                  <a:gd name="connsiteY6" fmla="*/ 2249789 h 3010473"/>
                  <a:gd name="connsiteX7" fmla="*/ 1488044 w 2145453"/>
                  <a:gd name="connsiteY7" fmla="*/ 3010473 h 3010473"/>
                  <a:gd name="connsiteX8" fmla="*/ 1136947 w 2145453"/>
                  <a:gd name="connsiteY8" fmla="*/ 2468062 h 3010473"/>
                  <a:gd name="connsiteX9" fmla="*/ 519460 w 2145453"/>
                  <a:gd name="connsiteY9" fmla="*/ 2013663 h 3010473"/>
                  <a:gd name="connsiteX10" fmla="*/ 0 w 2145453"/>
                  <a:gd name="connsiteY10" fmla="*/ 1326467 h 3010473"/>
                  <a:gd name="connsiteX11" fmla="*/ 628635 w 2145453"/>
                  <a:gd name="connsiteY11" fmla="*/ 1589678 h 3010473"/>
                  <a:gd name="connsiteX12" fmla="*/ 628635 w 2145453"/>
                  <a:gd name="connsiteY12" fmla="*/ 141231 h 3010473"/>
                  <a:gd name="connsiteX13" fmla="*/ 670001 w 2145453"/>
                  <a:gd name="connsiteY13" fmla="*/ 41365 h 3010473"/>
                  <a:gd name="connsiteX0" fmla="*/ 670001 w 2145453"/>
                  <a:gd name="connsiteY0" fmla="*/ 41365 h 2912664"/>
                  <a:gd name="connsiteX1" fmla="*/ 769866 w 2145453"/>
                  <a:gd name="connsiteY1" fmla="*/ 0 h 2912664"/>
                  <a:gd name="connsiteX2" fmla="*/ 911097 w 2145453"/>
                  <a:gd name="connsiteY2" fmla="*/ 141231 h 2912664"/>
                  <a:gd name="connsiteX3" fmla="*/ 960469 w 2145453"/>
                  <a:gd name="connsiteY3" fmla="*/ 784060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19460 w 2145453"/>
                  <a:gd name="connsiteY9" fmla="*/ 2013663 h 2912664"/>
                  <a:gd name="connsiteX10" fmla="*/ 0 w 2145453"/>
                  <a:gd name="connsiteY10" fmla="*/ 1326467 h 2912664"/>
                  <a:gd name="connsiteX11" fmla="*/ 628635 w 2145453"/>
                  <a:gd name="connsiteY11" fmla="*/ 1589678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60469 w 2145453"/>
                  <a:gd name="connsiteY3" fmla="*/ 784060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28635 w 2145453"/>
                  <a:gd name="connsiteY11" fmla="*/ 1589678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60469 w 2145453"/>
                  <a:gd name="connsiteY3" fmla="*/ 784060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28635 w 2145453"/>
                  <a:gd name="connsiteY11" fmla="*/ 1589678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60469 w 2145453"/>
                  <a:gd name="connsiteY3" fmla="*/ 784060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60469 w 2145453"/>
                  <a:gd name="connsiteY3" fmla="*/ 784060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79523 w 2145453"/>
                  <a:gd name="connsiteY3" fmla="*/ 863751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79523 w 2145453"/>
                  <a:gd name="connsiteY3" fmla="*/ 863751 h 2912664"/>
                  <a:gd name="connsiteX4" fmla="*/ 1594794 w 2145453"/>
                  <a:gd name="connsiteY4" fmla="*/ 789196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79523 w 2145453"/>
                  <a:gd name="connsiteY3" fmla="*/ 863751 h 2912664"/>
                  <a:gd name="connsiteX4" fmla="*/ 1578849 w 2145453"/>
                  <a:gd name="connsiteY4" fmla="*/ 851069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79523 w 2145453"/>
                  <a:gd name="connsiteY3" fmla="*/ 863751 h 2912664"/>
                  <a:gd name="connsiteX4" fmla="*/ 1578849 w 2145453"/>
                  <a:gd name="connsiteY4" fmla="*/ 851069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679880 w 2145453"/>
                  <a:gd name="connsiteY11" fmla="*/ 1646872 h 2912664"/>
                  <a:gd name="connsiteX12" fmla="*/ 628635 w 2145453"/>
                  <a:gd name="connsiteY12" fmla="*/ 141231 h 2912664"/>
                  <a:gd name="connsiteX13" fmla="*/ 670001 w 2145453"/>
                  <a:gd name="connsiteY13" fmla="*/ 41365 h 2912664"/>
                  <a:gd name="connsiteX0" fmla="*/ 670001 w 2145453"/>
                  <a:gd name="connsiteY0" fmla="*/ 41365 h 2912664"/>
                  <a:gd name="connsiteX1" fmla="*/ 769866 w 2145453"/>
                  <a:gd name="connsiteY1" fmla="*/ 0 h 2912664"/>
                  <a:gd name="connsiteX2" fmla="*/ 911097 w 2145453"/>
                  <a:gd name="connsiteY2" fmla="*/ 141231 h 2912664"/>
                  <a:gd name="connsiteX3" fmla="*/ 979523 w 2145453"/>
                  <a:gd name="connsiteY3" fmla="*/ 863751 h 2912664"/>
                  <a:gd name="connsiteX4" fmla="*/ 1578849 w 2145453"/>
                  <a:gd name="connsiteY4" fmla="*/ 851069 h 2912664"/>
                  <a:gd name="connsiteX5" fmla="*/ 1848308 w 2145453"/>
                  <a:gd name="connsiteY5" fmla="*/ 1898342 h 2912664"/>
                  <a:gd name="connsiteX6" fmla="*/ 2145453 w 2145453"/>
                  <a:gd name="connsiteY6" fmla="*/ 2249789 h 2912664"/>
                  <a:gd name="connsiteX7" fmla="*/ 1535243 w 2145453"/>
                  <a:gd name="connsiteY7" fmla="*/ 2912664 h 2912664"/>
                  <a:gd name="connsiteX8" fmla="*/ 1136947 w 2145453"/>
                  <a:gd name="connsiteY8" fmla="*/ 2468062 h 2912664"/>
                  <a:gd name="connsiteX9" fmla="*/ 530391 w 2145453"/>
                  <a:gd name="connsiteY9" fmla="*/ 2073665 h 2912664"/>
                  <a:gd name="connsiteX10" fmla="*/ 0 w 2145453"/>
                  <a:gd name="connsiteY10" fmla="*/ 1326467 h 2912664"/>
                  <a:gd name="connsiteX11" fmla="*/ 710556 w 2145453"/>
                  <a:gd name="connsiteY11" fmla="*/ 1634217 h 2912664"/>
                  <a:gd name="connsiteX12" fmla="*/ 628635 w 2145453"/>
                  <a:gd name="connsiteY12" fmla="*/ 141231 h 2912664"/>
                  <a:gd name="connsiteX13" fmla="*/ 670001 w 2145453"/>
                  <a:gd name="connsiteY13" fmla="*/ 41365 h 2912664"/>
                  <a:gd name="connsiteX0" fmla="*/ 733305 w 2208757"/>
                  <a:gd name="connsiteY0" fmla="*/ 41365 h 2912664"/>
                  <a:gd name="connsiteX1" fmla="*/ 833170 w 2208757"/>
                  <a:gd name="connsiteY1" fmla="*/ 0 h 2912664"/>
                  <a:gd name="connsiteX2" fmla="*/ 974401 w 2208757"/>
                  <a:gd name="connsiteY2" fmla="*/ 141231 h 2912664"/>
                  <a:gd name="connsiteX3" fmla="*/ 1042827 w 2208757"/>
                  <a:gd name="connsiteY3" fmla="*/ 863751 h 2912664"/>
                  <a:gd name="connsiteX4" fmla="*/ 1642153 w 2208757"/>
                  <a:gd name="connsiteY4" fmla="*/ 851069 h 2912664"/>
                  <a:gd name="connsiteX5" fmla="*/ 1911612 w 2208757"/>
                  <a:gd name="connsiteY5" fmla="*/ 1898342 h 2912664"/>
                  <a:gd name="connsiteX6" fmla="*/ 2208757 w 2208757"/>
                  <a:gd name="connsiteY6" fmla="*/ 2249789 h 2912664"/>
                  <a:gd name="connsiteX7" fmla="*/ 1598547 w 2208757"/>
                  <a:gd name="connsiteY7" fmla="*/ 2912664 h 2912664"/>
                  <a:gd name="connsiteX8" fmla="*/ 1200251 w 2208757"/>
                  <a:gd name="connsiteY8" fmla="*/ 2468062 h 2912664"/>
                  <a:gd name="connsiteX9" fmla="*/ 593695 w 2208757"/>
                  <a:gd name="connsiteY9" fmla="*/ 2073665 h 2912664"/>
                  <a:gd name="connsiteX10" fmla="*/ 0 w 2208757"/>
                  <a:gd name="connsiteY10" fmla="*/ 1399250 h 2912664"/>
                  <a:gd name="connsiteX11" fmla="*/ 773860 w 2208757"/>
                  <a:gd name="connsiteY11" fmla="*/ 1634217 h 2912664"/>
                  <a:gd name="connsiteX12" fmla="*/ 691939 w 2208757"/>
                  <a:gd name="connsiteY12" fmla="*/ 141231 h 2912664"/>
                  <a:gd name="connsiteX13" fmla="*/ 733305 w 2208757"/>
                  <a:gd name="connsiteY13" fmla="*/ 41365 h 2912664"/>
                  <a:gd name="connsiteX0" fmla="*/ 787104 w 2262556"/>
                  <a:gd name="connsiteY0" fmla="*/ 41365 h 2912664"/>
                  <a:gd name="connsiteX1" fmla="*/ 886969 w 2262556"/>
                  <a:gd name="connsiteY1" fmla="*/ 0 h 2912664"/>
                  <a:gd name="connsiteX2" fmla="*/ 1028200 w 2262556"/>
                  <a:gd name="connsiteY2" fmla="*/ 141231 h 2912664"/>
                  <a:gd name="connsiteX3" fmla="*/ 1096626 w 2262556"/>
                  <a:gd name="connsiteY3" fmla="*/ 863751 h 2912664"/>
                  <a:gd name="connsiteX4" fmla="*/ 1695952 w 2262556"/>
                  <a:gd name="connsiteY4" fmla="*/ 851069 h 2912664"/>
                  <a:gd name="connsiteX5" fmla="*/ 1965411 w 2262556"/>
                  <a:gd name="connsiteY5" fmla="*/ 1898342 h 2912664"/>
                  <a:gd name="connsiteX6" fmla="*/ 2262556 w 2262556"/>
                  <a:gd name="connsiteY6" fmla="*/ 2249789 h 2912664"/>
                  <a:gd name="connsiteX7" fmla="*/ 1652346 w 2262556"/>
                  <a:gd name="connsiteY7" fmla="*/ 2912664 h 2912664"/>
                  <a:gd name="connsiteX8" fmla="*/ 1254050 w 2262556"/>
                  <a:gd name="connsiteY8" fmla="*/ 2468062 h 2912664"/>
                  <a:gd name="connsiteX9" fmla="*/ 647494 w 2262556"/>
                  <a:gd name="connsiteY9" fmla="*/ 2073665 h 2912664"/>
                  <a:gd name="connsiteX10" fmla="*/ 0 w 2262556"/>
                  <a:gd name="connsiteY10" fmla="*/ 1381959 h 2912664"/>
                  <a:gd name="connsiteX11" fmla="*/ 827659 w 2262556"/>
                  <a:gd name="connsiteY11" fmla="*/ 1634217 h 2912664"/>
                  <a:gd name="connsiteX12" fmla="*/ 745738 w 2262556"/>
                  <a:gd name="connsiteY12" fmla="*/ 141231 h 2912664"/>
                  <a:gd name="connsiteX13" fmla="*/ 787104 w 2262556"/>
                  <a:gd name="connsiteY13" fmla="*/ 41365 h 2912664"/>
                  <a:gd name="connsiteX0" fmla="*/ 787104 w 2262556"/>
                  <a:gd name="connsiteY0" fmla="*/ 41365 h 2912664"/>
                  <a:gd name="connsiteX1" fmla="*/ 886969 w 2262556"/>
                  <a:gd name="connsiteY1" fmla="*/ 0 h 2912664"/>
                  <a:gd name="connsiteX2" fmla="*/ 1028200 w 2262556"/>
                  <a:gd name="connsiteY2" fmla="*/ 141231 h 2912664"/>
                  <a:gd name="connsiteX3" fmla="*/ 1096626 w 2262556"/>
                  <a:gd name="connsiteY3" fmla="*/ 863751 h 2912664"/>
                  <a:gd name="connsiteX4" fmla="*/ 1695952 w 2262556"/>
                  <a:gd name="connsiteY4" fmla="*/ 851069 h 2912664"/>
                  <a:gd name="connsiteX5" fmla="*/ 1965411 w 2262556"/>
                  <a:gd name="connsiteY5" fmla="*/ 1898342 h 2912664"/>
                  <a:gd name="connsiteX6" fmla="*/ 2262556 w 2262556"/>
                  <a:gd name="connsiteY6" fmla="*/ 2249789 h 2912664"/>
                  <a:gd name="connsiteX7" fmla="*/ 1652346 w 2262556"/>
                  <a:gd name="connsiteY7" fmla="*/ 2912664 h 2912664"/>
                  <a:gd name="connsiteX8" fmla="*/ 1254050 w 2262556"/>
                  <a:gd name="connsiteY8" fmla="*/ 2468062 h 2912664"/>
                  <a:gd name="connsiteX9" fmla="*/ 647494 w 2262556"/>
                  <a:gd name="connsiteY9" fmla="*/ 2073665 h 2912664"/>
                  <a:gd name="connsiteX10" fmla="*/ 0 w 2262556"/>
                  <a:gd name="connsiteY10" fmla="*/ 1381959 h 2912664"/>
                  <a:gd name="connsiteX11" fmla="*/ 827659 w 2262556"/>
                  <a:gd name="connsiteY11" fmla="*/ 1634217 h 2912664"/>
                  <a:gd name="connsiteX12" fmla="*/ 745738 w 2262556"/>
                  <a:gd name="connsiteY12" fmla="*/ 141231 h 2912664"/>
                  <a:gd name="connsiteX13" fmla="*/ 787104 w 2262556"/>
                  <a:gd name="connsiteY13" fmla="*/ 41365 h 2912664"/>
                  <a:gd name="connsiteX0" fmla="*/ 787104 w 2262556"/>
                  <a:gd name="connsiteY0" fmla="*/ 41365 h 2912664"/>
                  <a:gd name="connsiteX1" fmla="*/ 886969 w 2262556"/>
                  <a:gd name="connsiteY1" fmla="*/ 0 h 2912664"/>
                  <a:gd name="connsiteX2" fmla="*/ 1028200 w 2262556"/>
                  <a:gd name="connsiteY2" fmla="*/ 141231 h 2912664"/>
                  <a:gd name="connsiteX3" fmla="*/ 1096626 w 2262556"/>
                  <a:gd name="connsiteY3" fmla="*/ 863751 h 2912664"/>
                  <a:gd name="connsiteX4" fmla="*/ 1695952 w 2262556"/>
                  <a:gd name="connsiteY4" fmla="*/ 851069 h 2912664"/>
                  <a:gd name="connsiteX5" fmla="*/ 1965411 w 2262556"/>
                  <a:gd name="connsiteY5" fmla="*/ 1898342 h 2912664"/>
                  <a:gd name="connsiteX6" fmla="*/ 2262556 w 2262556"/>
                  <a:gd name="connsiteY6" fmla="*/ 2249789 h 2912664"/>
                  <a:gd name="connsiteX7" fmla="*/ 1652346 w 2262556"/>
                  <a:gd name="connsiteY7" fmla="*/ 2912664 h 2912664"/>
                  <a:gd name="connsiteX8" fmla="*/ 1254050 w 2262556"/>
                  <a:gd name="connsiteY8" fmla="*/ 2468062 h 2912664"/>
                  <a:gd name="connsiteX9" fmla="*/ 647494 w 2262556"/>
                  <a:gd name="connsiteY9" fmla="*/ 2073665 h 2912664"/>
                  <a:gd name="connsiteX10" fmla="*/ 0 w 2262556"/>
                  <a:gd name="connsiteY10" fmla="*/ 1381959 h 2912664"/>
                  <a:gd name="connsiteX11" fmla="*/ 827659 w 2262556"/>
                  <a:gd name="connsiteY11" fmla="*/ 1634217 h 2912664"/>
                  <a:gd name="connsiteX12" fmla="*/ 745738 w 2262556"/>
                  <a:gd name="connsiteY12" fmla="*/ 141231 h 2912664"/>
                  <a:gd name="connsiteX13" fmla="*/ 787104 w 2262556"/>
                  <a:gd name="connsiteY13" fmla="*/ 41365 h 2912664"/>
                  <a:gd name="connsiteX0" fmla="*/ 787104 w 2262556"/>
                  <a:gd name="connsiteY0" fmla="*/ 41365 h 3204020"/>
                  <a:gd name="connsiteX1" fmla="*/ 886969 w 2262556"/>
                  <a:gd name="connsiteY1" fmla="*/ 0 h 3204020"/>
                  <a:gd name="connsiteX2" fmla="*/ 1028200 w 2262556"/>
                  <a:gd name="connsiteY2" fmla="*/ 141231 h 3204020"/>
                  <a:gd name="connsiteX3" fmla="*/ 1096626 w 2262556"/>
                  <a:gd name="connsiteY3" fmla="*/ 863751 h 3204020"/>
                  <a:gd name="connsiteX4" fmla="*/ 1695952 w 2262556"/>
                  <a:gd name="connsiteY4" fmla="*/ 851069 h 3204020"/>
                  <a:gd name="connsiteX5" fmla="*/ 1965411 w 2262556"/>
                  <a:gd name="connsiteY5" fmla="*/ 1898342 h 3204020"/>
                  <a:gd name="connsiteX6" fmla="*/ 2262556 w 2262556"/>
                  <a:gd name="connsiteY6" fmla="*/ 2249789 h 3204020"/>
                  <a:gd name="connsiteX7" fmla="*/ 1875442 w 2262556"/>
                  <a:gd name="connsiteY7" fmla="*/ 3204020 h 3204020"/>
                  <a:gd name="connsiteX8" fmla="*/ 1254050 w 2262556"/>
                  <a:gd name="connsiteY8" fmla="*/ 2468062 h 3204020"/>
                  <a:gd name="connsiteX9" fmla="*/ 647494 w 2262556"/>
                  <a:gd name="connsiteY9" fmla="*/ 2073665 h 3204020"/>
                  <a:gd name="connsiteX10" fmla="*/ 0 w 2262556"/>
                  <a:gd name="connsiteY10" fmla="*/ 1381959 h 3204020"/>
                  <a:gd name="connsiteX11" fmla="*/ 827659 w 2262556"/>
                  <a:gd name="connsiteY11" fmla="*/ 1634217 h 3204020"/>
                  <a:gd name="connsiteX12" fmla="*/ 745738 w 2262556"/>
                  <a:gd name="connsiteY12" fmla="*/ 141231 h 3204020"/>
                  <a:gd name="connsiteX13" fmla="*/ 787104 w 2262556"/>
                  <a:gd name="connsiteY13" fmla="*/ 41365 h 3204020"/>
                  <a:gd name="connsiteX0" fmla="*/ 787104 w 2616797"/>
                  <a:gd name="connsiteY0" fmla="*/ 41365 h 3204020"/>
                  <a:gd name="connsiteX1" fmla="*/ 886969 w 2616797"/>
                  <a:gd name="connsiteY1" fmla="*/ 0 h 3204020"/>
                  <a:gd name="connsiteX2" fmla="*/ 1028200 w 2616797"/>
                  <a:gd name="connsiteY2" fmla="*/ 141231 h 3204020"/>
                  <a:gd name="connsiteX3" fmla="*/ 1096626 w 2616797"/>
                  <a:gd name="connsiteY3" fmla="*/ 863751 h 3204020"/>
                  <a:gd name="connsiteX4" fmla="*/ 1695952 w 2616797"/>
                  <a:gd name="connsiteY4" fmla="*/ 851069 h 3204020"/>
                  <a:gd name="connsiteX5" fmla="*/ 1965411 w 2616797"/>
                  <a:gd name="connsiteY5" fmla="*/ 1898342 h 3204020"/>
                  <a:gd name="connsiteX6" fmla="*/ 2616797 w 2616797"/>
                  <a:gd name="connsiteY6" fmla="*/ 2518120 h 3204020"/>
                  <a:gd name="connsiteX7" fmla="*/ 1875442 w 2616797"/>
                  <a:gd name="connsiteY7" fmla="*/ 3204020 h 3204020"/>
                  <a:gd name="connsiteX8" fmla="*/ 1254050 w 2616797"/>
                  <a:gd name="connsiteY8" fmla="*/ 2468062 h 3204020"/>
                  <a:gd name="connsiteX9" fmla="*/ 647494 w 2616797"/>
                  <a:gd name="connsiteY9" fmla="*/ 2073665 h 3204020"/>
                  <a:gd name="connsiteX10" fmla="*/ 0 w 2616797"/>
                  <a:gd name="connsiteY10" fmla="*/ 1381959 h 3204020"/>
                  <a:gd name="connsiteX11" fmla="*/ 827659 w 2616797"/>
                  <a:gd name="connsiteY11" fmla="*/ 1634217 h 3204020"/>
                  <a:gd name="connsiteX12" fmla="*/ 745738 w 2616797"/>
                  <a:gd name="connsiteY12" fmla="*/ 141231 h 3204020"/>
                  <a:gd name="connsiteX13" fmla="*/ 787104 w 2616797"/>
                  <a:gd name="connsiteY13" fmla="*/ 41365 h 3204020"/>
                  <a:gd name="connsiteX0" fmla="*/ 787104 w 2616797"/>
                  <a:gd name="connsiteY0" fmla="*/ 41365 h 3204020"/>
                  <a:gd name="connsiteX1" fmla="*/ 886969 w 2616797"/>
                  <a:gd name="connsiteY1" fmla="*/ 0 h 3204020"/>
                  <a:gd name="connsiteX2" fmla="*/ 1028200 w 2616797"/>
                  <a:gd name="connsiteY2" fmla="*/ 141231 h 3204020"/>
                  <a:gd name="connsiteX3" fmla="*/ 1096626 w 2616797"/>
                  <a:gd name="connsiteY3" fmla="*/ 863751 h 3204020"/>
                  <a:gd name="connsiteX4" fmla="*/ 1695952 w 2616797"/>
                  <a:gd name="connsiteY4" fmla="*/ 851069 h 3204020"/>
                  <a:gd name="connsiteX5" fmla="*/ 1965411 w 2616797"/>
                  <a:gd name="connsiteY5" fmla="*/ 1898342 h 3204020"/>
                  <a:gd name="connsiteX6" fmla="*/ 2616797 w 2616797"/>
                  <a:gd name="connsiteY6" fmla="*/ 2518120 h 3204020"/>
                  <a:gd name="connsiteX7" fmla="*/ 1875442 w 2616797"/>
                  <a:gd name="connsiteY7" fmla="*/ 3204020 h 3204020"/>
                  <a:gd name="connsiteX8" fmla="*/ 1254050 w 2616797"/>
                  <a:gd name="connsiteY8" fmla="*/ 2468062 h 3204020"/>
                  <a:gd name="connsiteX9" fmla="*/ 647494 w 2616797"/>
                  <a:gd name="connsiteY9" fmla="*/ 2073665 h 3204020"/>
                  <a:gd name="connsiteX10" fmla="*/ 0 w 2616797"/>
                  <a:gd name="connsiteY10" fmla="*/ 1381959 h 3204020"/>
                  <a:gd name="connsiteX11" fmla="*/ 827659 w 2616797"/>
                  <a:gd name="connsiteY11" fmla="*/ 1634217 h 3204020"/>
                  <a:gd name="connsiteX12" fmla="*/ 745738 w 2616797"/>
                  <a:gd name="connsiteY12" fmla="*/ 141231 h 3204020"/>
                  <a:gd name="connsiteX13" fmla="*/ 787104 w 2616797"/>
                  <a:gd name="connsiteY13" fmla="*/ 41365 h 3204020"/>
                  <a:gd name="connsiteX0" fmla="*/ 787104 w 2635848"/>
                  <a:gd name="connsiteY0" fmla="*/ 41365 h 3204020"/>
                  <a:gd name="connsiteX1" fmla="*/ 886969 w 2635848"/>
                  <a:gd name="connsiteY1" fmla="*/ 0 h 3204020"/>
                  <a:gd name="connsiteX2" fmla="*/ 1028200 w 2635848"/>
                  <a:gd name="connsiteY2" fmla="*/ 141231 h 3204020"/>
                  <a:gd name="connsiteX3" fmla="*/ 1096626 w 2635848"/>
                  <a:gd name="connsiteY3" fmla="*/ 863751 h 3204020"/>
                  <a:gd name="connsiteX4" fmla="*/ 1695952 w 2635848"/>
                  <a:gd name="connsiteY4" fmla="*/ 851069 h 3204020"/>
                  <a:gd name="connsiteX5" fmla="*/ 1965411 w 2635848"/>
                  <a:gd name="connsiteY5" fmla="*/ 1898342 h 3204020"/>
                  <a:gd name="connsiteX6" fmla="*/ 2635848 w 2635848"/>
                  <a:gd name="connsiteY6" fmla="*/ 2523197 h 3204020"/>
                  <a:gd name="connsiteX7" fmla="*/ 1875442 w 2635848"/>
                  <a:gd name="connsiteY7" fmla="*/ 3204020 h 3204020"/>
                  <a:gd name="connsiteX8" fmla="*/ 1254050 w 2635848"/>
                  <a:gd name="connsiteY8" fmla="*/ 2468062 h 3204020"/>
                  <a:gd name="connsiteX9" fmla="*/ 647494 w 2635848"/>
                  <a:gd name="connsiteY9" fmla="*/ 2073665 h 3204020"/>
                  <a:gd name="connsiteX10" fmla="*/ 0 w 2635848"/>
                  <a:gd name="connsiteY10" fmla="*/ 1381959 h 3204020"/>
                  <a:gd name="connsiteX11" fmla="*/ 827659 w 2635848"/>
                  <a:gd name="connsiteY11" fmla="*/ 1634217 h 3204020"/>
                  <a:gd name="connsiteX12" fmla="*/ 745738 w 2635848"/>
                  <a:gd name="connsiteY12" fmla="*/ 141231 h 3204020"/>
                  <a:gd name="connsiteX13" fmla="*/ 787104 w 2635848"/>
                  <a:gd name="connsiteY13" fmla="*/ 41365 h 3204020"/>
                  <a:gd name="connsiteX0" fmla="*/ 787104 w 2651771"/>
                  <a:gd name="connsiteY0" fmla="*/ 41365 h 3204020"/>
                  <a:gd name="connsiteX1" fmla="*/ 886969 w 2651771"/>
                  <a:gd name="connsiteY1" fmla="*/ 0 h 3204020"/>
                  <a:gd name="connsiteX2" fmla="*/ 1028200 w 2651771"/>
                  <a:gd name="connsiteY2" fmla="*/ 141231 h 3204020"/>
                  <a:gd name="connsiteX3" fmla="*/ 1096626 w 2651771"/>
                  <a:gd name="connsiteY3" fmla="*/ 863751 h 3204020"/>
                  <a:gd name="connsiteX4" fmla="*/ 1695952 w 2651771"/>
                  <a:gd name="connsiteY4" fmla="*/ 851069 h 3204020"/>
                  <a:gd name="connsiteX5" fmla="*/ 1965411 w 2651771"/>
                  <a:gd name="connsiteY5" fmla="*/ 1898342 h 3204020"/>
                  <a:gd name="connsiteX6" fmla="*/ 2651771 w 2651771"/>
                  <a:gd name="connsiteY6" fmla="*/ 2516454 h 3204020"/>
                  <a:gd name="connsiteX7" fmla="*/ 1875442 w 2651771"/>
                  <a:gd name="connsiteY7" fmla="*/ 3204020 h 3204020"/>
                  <a:gd name="connsiteX8" fmla="*/ 1254050 w 2651771"/>
                  <a:gd name="connsiteY8" fmla="*/ 2468062 h 3204020"/>
                  <a:gd name="connsiteX9" fmla="*/ 647494 w 2651771"/>
                  <a:gd name="connsiteY9" fmla="*/ 2073665 h 3204020"/>
                  <a:gd name="connsiteX10" fmla="*/ 0 w 2651771"/>
                  <a:gd name="connsiteY10" fmla="*/ 1381959 h 3204020"/>
                  <a:gd name="connsiteX11" fmla="*/ 827659 w 2651771"/>
                  <a:gd name="connsiteY11" fmla="*/ 1634217 h 3204020"/>
                  <a:gd name="connsiteX12" fmla="*/ 745738 w 2651771"/>
                  <a:gd name="connsiteY12" fmla="*/ 141231 h 3204020"/>
                  <a:gd name="connsiteX13" fmla="*/ 787104 w 2651771"/>
                  <a:gd name="connsiteY13" fmla="*/ 41365 h 3204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51771" h="3204020">
                    <a:moveTo>
                      <a:pt x="787104" y="41365"/>
                    </a:moveTo>
                    <a:cubicBezTo>
                      <a:pt x="812661" y="15808"/>
                      <a:pt x="847969" y="0"/>
                      <a:pt x="886969" y="0"/>
                    </a:cubicBezTo>
                    <a:cubicBezTo>
                      <a:pt x="964969" y="0"/>
                      <a:pt x="1028200" y="63231"/>
                      <a:pt x="1028200" y="141231"/>
                    </a:cubicBezTo>
                    <a:lnTo>
                      <a:pt x="1096626" y="863751"/>
                    </a:lnTo>
                    <a:cubicBezTo>
                      <a:pt x="1324950" y="817026"/>
                      <a:pt x="1594219" y="679679"/>
                      <a:pt x="1695952" y="851069"/>
                    </a:cubicBezTo>
                    <a:cubicBezTo>
                      <a:pt x="1896857" y="1284096"/>
                      <a:pt x="2012961" y="1443677"/>
                      <a:pt x="1965411" y="1898342"/>
                    </a:cubicBezTo>
                    <a:cubicBezTo>
                      <a:pt x="2062863" y="2027881"/>
                      <a:pt x="2521735" y="2407218"/>
                      <a:pt x="2651771" y="2516454"/>
                    </a:cubicBezTo>
                    <a:lnTo>
                      <a:pt x="1875442" y="3204020"/>
                    </a:lnTo>
                    <a:lnTo>
                      <a:pt x="1254050" y="2468062"/>
                    </a:lnTo>
                    <a:cubicBezTo>
                      <a:pt x="1117281" y="2338792"/>
                      <a:pt x="856388" y="2269133"/>
                      <a:pt x="647494" y="2073665"/>
                    </a:cubicBezTo>
                    <a:cubicBezTo>
                      <a:pt x="560013" y="2007911"/>
                      <a:pt x="439289" y="1645529"/>
                      <a:pt x="0" y="1381959"/>
                    </a:cubicBezTo>
                    <a:cubicBezTo>
                      <a:pt x="137000" y="1119373"/>
                      <a:pt x="679491" y="1549956"/>
                      <a:pt x="827659" y="1634217"/>
                    </a:cubicBezTo>
                    <a:lnTo>
                      <a:pt x="745738" y="141231"/>
                    </a:lnTo>
                    <a:cubicBezTo>
                      <a:pt x="745738" y="102231"/>
                      <a:pt x="761546" y="66923"/>
                      <a:pt x="787104" y="41365"/>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pic>
            <p:nvPicPr>
              <p:cNvPr id="95" name="Picture 2" descr="D:\Fullppt\PNG이미지\핸드폰2.png">
                <a:extLst>
                  <a:ext uri="{FF2B5EF4-FFF2-40B4-BE49-F238E27FC236}">
                    <a16:creationId xmlns:a16="http://schemas.microsoft.com/office/drawing/2014/main" id="{79D4985A-CC2C-4E46-B8BF-E26C80DFE4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700000">
                <a:off x="7284605" y="1498077"/>
                <a:ext cx="3097075" cy="37504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a:extLst>
                <a:ext uri="{FF2B5EF4-FFF2-40B4-BE49-F238E27FC236}">
                  <a16:creationId xmlns:a16="http://schemas.microsoft.com/office/drawing/2014/main" id="{44DF7185-612A-3A4C-B623-45D15FED56E2}"/>
                </a:ext>
              </a:extLst>
            </p:cNvPr>
            <p:cNvGrpSpPr/>
            <p:nvPr/>
          </p:nvGrpSpPr>
          <p:grpSpPr>
            <a:xfrm>
              <a:off x="6003763" y="1245649"/>
              <a:ext cx="751104" cy="1441755"/>
              <a:chOff x="4661983" y="2106581"/>
              <a:chExt cx="497554" cy="745743"/>
            </a:xfrm>
            <a:solidFill>
              <a:schemeClr val="bg1">
                <a:lumMod val="85000"/>
              </a:schemeClr>
            </a:solidFill>
          </p:grpSpPr>
          <p:sp>
            <p:nvSpPr>
              <p:cNvPr id="98" name="Rounded Rectangle 97">
                <a:extLst>
                  <a:ext uri="{FF2B5EF4-FFF2-40B4-BE49-F238E27FC236}">
                    <a16:creationId xmlns:a16="http://schemas.microsoft.com/office/drawing/2014/main" id="{AC51EB7A-4D76-3142-927C-46102AFCB875}"/>
                  </a:ext>
                </a:extLst>
              </p:cNvPr>
              <p:cNvSpPr/>
              <p:nvPr/>
            </p:nvSpPr>
            <p:spPr>
              <a:xfrm rot="3148397">
                <a:off x="4756549" y="2012015"/>
                <a:ext cx="265003" cy="45413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9" name="Rounded Rectangle 98">
                <a:extLst>
                  <a:ext uri="{FF2B5EF4-FFF2-40B4-BE49-F238E27FC236}">
                    <a16:creationId xmlns:a16="http://schemas.microsoft.com/office/drawing/2014/main" id="{CE2C8BAC-5DF5-9740-B140-2D9DD88F60F3}"/>
                  </a:ext>
                </a:extLst>
              </p:cNvPr>
              <p:cNvSpPr/>
              <p:nvPr/>
            </p:nvSpPr>
            <p:spPr>
              <a:xfrm rot="3148397">
                <a:off x="4786261" y="2266384"/>
                <a:ext cx="265003" cy="45413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00" name="Rounded Rectangle 99">
                <a:extLst>
                  <a:ext uri="{FF2B5EF4-FFF2-40B4-BE49-F238E27FC236}">
                    <a16:creationId xmlns:a16="http://schemas.microsoft.com/office/drawing/2014/main" id="{4D1AF73B-A09D-904E-9BC1-33FF35845EEE}"/>
                  </a:ext>
                </a:extLst>
              </p:cNvPr>
              <p:cNvSpPr/>
              <p:nvPr/>
            </p:nvSpPr>
            <p:spPr>
              <a:xfrm rot="3148397">
                <a:off x="4839828" y="2532616"/>
                <a:ext cx="251279" cy="38813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grpSp>
        <p:nvGrpSpPr>
          <p:cNvPr id="102" name="Group 101">
            <a:extLst>
              <a:ext uri="{FF2B5EF4-FFF2-40B4-BE49-F238E27FC236}">
                <a16:creationId xmlns:a16="http://schemas.microsoft.com/office/drawing/2014/main" id="{0F20E504-BFCE-F54C-8CB9-78BEB4B4F064}"/>
              </a:ext>
            </a:extLst>
          </p:cNvPr>
          <p:cNvGrpSpPr/>
          <p:nvPr/>
        </p:nvGrpSpPr>
        <p:grpSpPr>
          <a:xfrm>
            <a:off x="5038513" y="1837924"/>
            <a:ext cx="2757609" cy="2212583"/>
            <a:chOff x="5342733" y="3335754"/>
            <a:chExt cx="3442340" cy="2599567"/>
          </a:xfrm>
        </p:grpSpPr>
        <p:grpSp>
          <p:nvGrpSpPr>
            <p:cNvPr id="103" name="Group 102">
              <a:extLst>
                <a:ext uri="{FF2B5EF4-FFF2-40B4-BE49-F238E27FC236}">
                  <a16:creationId xmlns:a16="http://schemas.microsoft.com/office/drawing/2014/main" id="{47C8D269-E18A-C049-894F-F89D766275DC}"/>
                </a:ext>
              </a:extLst>
            </p:cNvPr>
            <p:cNvGrpSpPr/>
            <p:nvPr/>
          </p:nvGrpSpPr>
          <p:grpSpPr>
            <a:xfrm rot="17995255">
              <a:off x="6564207" y="3984138"/>
              <a:ext cx="1503255" cy="1500689"/>
              <a:chOff x="2417597" y="1836205"/>
              <a:chExt cx="1913618" cy="1910351"/>
            </a:xfrm>
          </p:grpSpPr>
          <p:sp>
            <p:nvSpPr>
              <p:cNvPr id="114" name="Block Arc 113">
                <a:extLst>
                  <a:ext uri="{FF2B5EF4-FFF2-40B4-BE49-F238E27FC236}">
                    <a16:creationId xmlns:a16="http://schemas.microsoft.com/office/drawing/2014/main" id="{B906E3FB-E831-FE48-BEAB-27CF385B9DE2}"/>
                  </a:ext>
                </a:extLst>
              </p:cNvPr>
              <p:cNvSpPr/>
              <p:nvPr/>
            </p:nvSpPr>
            <p:spPr>
              <a:xfrm>
                <a:off x="2420864" y="1836205"/>
                <a:ext cx="1910351" cy="1910351"/>
              </a:xfrm>
              <a:prstGeom prst="blockArc">
                <a:avLst>
                  <a:gd name="adj1" fmla="val 10800000"/>
                  <a:gd name="adj2" fmla="val 21522627"/>
                  <a:gd name="adj3" fmla="val 20545"/>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5" name="Rectangle 114">
                <a:extLst>
                  <a:ext uri="{FF2B5EF4-FFF2-40B4-BE49-F238E27FC236}">
                    <a16:creationId xmlns:a16="http://schemas.microsoft.com/office/drawing/2014/main" id="{26485414-2E61-FA47-AD29-EA64DF6F758D}"/>
                  </a:ext>
                </a:extLst>
              </p:cNvPr>
              <p:cNvSpPr/>
              <p:nvPr/>
            </p:nvSpPr>
            <p:spPr>
              <a:xfrm>
                <a:off x="2420864" y="2762119"/>
                <a:ext cx="396000" cy="720000"/>
              </a:xfrm>
              <a:prstGeom prst="rect">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6" name="Rectangle 115">
                <a:extLst>
                  <a:ext uri="{FF2B5EF4-FFF2-40B4-BE49-F238E27FC236}">
                    <a16:creationId xmlns:a16="http://schemas.microsoft.com/office/drawing/2014/main" id="{EF23A138-4EB8-DF40-981D-68B7EBFF6C7F}"/>
                  </a:ext>
                </a:extLst>
              </p:cNvPr>
              <p:cNvSpPr/>
              <p:nvPr/>
            </p:nvSpPr>
            <p:spPr>
              <a:xfrm>
                <a:off x="3935215" y="2762119"/>
                <a:ext cx="396000" cy="720000"/>
              </a:xfrm>
              <a:prstGeom prst="rect">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7" name="Rectangle 116">
                <a:extLst>
                  <a:ext uri="{FF2B5EF4-FFF2-40B4-BE49-F238E27FC236}">
                    <a16:creationId xmlns:a16="http://schemas.microsoft.com/office/drawing/2014/main" id="{4AF18150-39F8-5248-BB58-56FF002ADF35}"/>
                  </a:ext>
                </a:extLst>
              </p:cNvPr>
              <p:cNvSpPr/>
              <p:nvPr/>
            </p:nvSpPr>
            <p:spPr>
              <a:xfrm>
                <a:off x="2417597" y="3475288"/>
                <a:ext cx="396000" cy="178727"/>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8" name="Rectangle 117">
                <a:extLst>
                  <a:ext uri="{FF2B5EF4-FFF2-40B4-BE49-F238E27FC236}">
                    <a16:creationId xmlns:a16="http://schemas.microsoft.com/office/drawing/2014/main" id="{73ED4DDD-7A22-BF42-B62A-B93030D91401}"/>
                  </a:ext>
                </a:extLst>
              </p:cNvPr>
              <p:cNvSpPr/>
              <p:nvPr/>
            </p:nvSpPr>
            <p:spPr>
              <a:xfrm>
                <a:off x="3931941" y="3475283"/>
                <a:ext cx="396000" cy="178727"/>
              </a:xfrm>
              <a:prstGeom prst="rect">
                <a:avLst/>
              </a:pr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04" name="Group 103">
              <a:extLst>
                <a:ext uri="{FF2B5EF4-FFF2-40B4-BE49-F238E27FC236}">
                  <a16:creationId xmlns:a16="http://schemas.microsoft.com/office/drawing/2014/main" id="{41647433-7F5E-2743-BA35-4296E0CD345C}"/>
                </a:ext>
              </a:extLst>
            </p:cNvPr>
            <p:cNvGrpSpPr/>
            <p:nvPr/>
          </p:nvGrpSpPr>
          <p:grpSpPr>
            <a:xfrm>
              <a:off x="7581985" y="4561384"/>
              <a:ext cx="1203088" cy="1373937"/>
              <a:chOff x="1937906" y="2024163"/>
              <a:chExt cx="1203088" cy="1373937"/>
            </a:xfrm>
          </p:grpSpPr>
          <p:sp>
            <p:nvSpPr>
              <p:cNvPr id="110" name="Isosceles Triangle 30">
                <a:extLst>
                  <a:ext uri="{FF2B5EF4-FFF2-40B4-BE49-F238E27FC236}">
                    <a16:creationId xmlns:a16="http://schemas.microsoft.com/office/drawing/2014/main" id="{093EDDD2-1B5B-AA40-AA8C-30B63AB13C8A}"/>
                  </a:ext>
                </a:extLst>
              </p:cNvPr>
              <p:cNvSpPr/>
              <p:nvPr/>
            </p:nvSpPr>
            <p:spPr>
              <a:xfrm rot="18794210">
                <a:off x="2787697" y="1863364"/>
                <a:ext cx="192498" cy="514096"/>
              </a:xfrm>
              <a:custGeom>
                <a:avLst/>
                <a:gdLst>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24307 w 696456"/>
                  <a:gd name="connsiteY5" fmla="*/ 772149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06386 w 696456"/>
                  <a:gd name="connsiteY5" fmla="*/ 827860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480834 w 696456"/>
                  <a:gd name="connsiteY2" fmla="*/ 928544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340376 w 696456"/>
                  <a:gd name="connsiteY5" fmla="*/ 700968 h 1522641"/>
                  <a:gd name="connsiteX6" fmla="*/ 209433 w 696456"/>
                  <a:gd name="connsiteY6" fmla="*/ 0 h 1522641"/>
                  <a:gd name="connsiteX0" fmla="*/ 319878 w 806901"/>
                  <a:gd name="connsiteY0" fmla="*/ 0 h 1522641"/>
                  <a:gd name="connsiteX1" fmla="*/ 806901 w 806901"/>
                  <a:gd name="connsiteY1" fmla="*/ 891485 h 1522641"/>
                  <a:gd name="connsiteX2" fmla="*/ 475857 w 806901"/>
                  <a:gd name="connsiteY2" fmla="*/ 815137 h 1522641"/>
                  <a:gd name="connsiteX3" fmla="*/ 585799 w 806901"/>
                  <a:gd name="connsiteY3" fmla="*/ 1522641 h 1522641"/>
                  <a:gd name="connsiteX4" fmla="*/ 0 w 806901"/>
                  <a:gd name="connsiteY4" fmla="*/ 503672 h 1522641"/>
                  <a:gd name="connsiteX5" fmla="*/ 450821 w 806901"/>
                  <a:gd name="connsiteY5" fmla="*/ 700968 h 1522641"/>
                  <a:gd name="connsiteX6" fmla="*/ 319878 w 806901"/>
                  <a:gd name="connsiteY6" fmla="*/ 0 h 1522641"/>
                  <a:gd name="connsiteX0" fmla="*/ 319878 w 865961"/>
                  <a:gd name="connsiteY0" fmla="*/ 0 h 1522641"/>
                  <a:gd name="connsiteX1" fmla="*/ 865960 w 865961"/>
                  <a:gd name="connsiteY1" fmla="*/ 1012964 h 1522641"/>
                  <a:gd name="connsiteX2" fmla="*/ 475857 w 865961"/>
                  <a:gd name="connsiteY2" fmla="*/ 815137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 name="connsiteX0" fmla="*/ 319878 w 865961"/>
                  <a:gd name="connsiteY0" fmla="*/ 0 h 1522641"/>
                  <a:gd name="connsiteX1" fmla="*/ 865960 w 865961"/>
                  <a:gd name="connsiteY1" fmla="*/ 1012964 h 1522641"/>
                  <a:gd name="connsiteX2" fmla="*/ 445997 w 865961"/>
                  <a:gd name="connsiteY2" fmla="*/ 861940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961" h="1522641">
                    <a:moveTo>
                      <a:pt x="319878" y="0"/>
                    </a:moveTo>
                    <a:lnTo>
                      <a:pt x="865960" y="1012964"/>
                    </a:lnTo>
                    <a:lnTo>
                      <a:pt x="445997" y="861940"/>
                    </a:lnTo>
                    <a:cubicBezTo>
                      <a:pt x="444170" y="1059972"/>
                      <a:pt x="587626" y="1324609"/>
                      <a:pt x="585799" y="1522641"/>
                    </a:cubicBezTo>
                    <a:lnTo>
                      <a:pt x="0" y="503672"/>
                    </a:lnTo>
                    <a:lnTo>
                      <a:pt x="450821" y="700968"/>
                    </a:lnTo>
                    <a:cubicBezTo>
                      <a:pt x="450821" y="491764"/>
                      <a:pt x="319878" y="209204"/>
                      <a:pt x="319878"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1" name="Isosceles Triangle 30">
                <a:extLst>
                  <a:ext uri="{FF2B5EF4-FFF2-40B4-BE49-F238E27FC236}">
                    <a16:creationId xmlns:a16="http://schemas.microsoft.com/office/drawing/2014/main" id="{ECF40F81-E742-054E-A08D-C6D418C5FF23}"/>
                  </a:ext>
                </a:extLst>
              </p:cNvPr>
              <p:cNvSpPr/>
              <p:nvPr/>
            </p:nvSpPr>
            <p:spPr>
              <a:xfrm rot="18794210">
                <a:off x="2171381" y="2861639"/>
                <a:ext cx="192498" cy="514096"/>
              </a:xfrm>
              <a:custGeom>
                <a:avLst/>
                <a:gdLst>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24307 w 696456"/>
                  <a:gd name="connsiteY5" fmla="*/ 772149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06386 w 696456"/>
                  <a:gd name="connsiteY5" fmla="*/ 827860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480834 w 696456"/>
                  <a:gd name="connsiteY2" fmla="*/ 928544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340376 w 696456"/>
                  <a:gd name="connsiteY5" fmla="*/ 700968 h 1522641"/>
                  <a:gd name="connsiteX6" fmla="*/ 209433 w 696456"/>
                  <a:gd name="connsiteY6" fmla="*/ 0 h 1522641"/>
                  <a:gd name="connsiteX0" fmla="*/ 319878 w 806901"/>
                  <a:gd name="connsiteY0" fmla="*/ 0 h 1522641"/>
                  <a:gd name="connsiteX1" fmla="*/ 806901 w 806901"/>
                  <a:gd name="connsiteY1" fmla="*/ 891485 h 1522641"/>
                  <a:gd name="connsiteX2" fmla="*/ 475857 w 806901"/>
                  <a:gd name="connsiteY2" fmla="*/ 815137 h 1522641"/>
                  <a:gd name="connsiteX3" fmla="*/ 585799 w 806901"/>
                  <a:gd name="connsiteY3" fmla="*/ 1522641 h 1522641"/>
                  <a:gd name="connsiteX4" fmla="*/ 0 w 806901"/>
                  <a:gd name="connsiteY4" fmla="*/ 503672 h 1522641"/>
                  <a:gd name="connsiteX5" fmla="*/ 450821 w 806901"/>
                  <a:gd name="connsiteY5" fmla="*/ 700968 h 1522641"/>
                  <a:gd name="connsiteX6" fmla="*/ 319878 w 806901"/>
                  <a:gd name="connsiteY6" fmla="*/ 0 h 1522641"/>
                  <a:gd name="connsiteX0" fmla="*/ 319878 w 865961"/>
                  <a:gd name="connsiteY0" fmla="*/ 0 h 1522641"/>
                  <a:gd name="connsiteX1" fmla="*/ 865960 w 865961"/>
                  <a:gd name="connsiteY1" fmla="*/ 1012964 h 1522641"/>
                  <a:gd name="connsiteX2" fmla="*/ 475857 w 865961"/>
                  <a:gd name="connsiteY2" fmla="*/ 815137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 name="connsiteX0" fmla="*/ 319878 w 865961"/>
                  <a:gd name="connsiteY0" fmla="*/ 0 h 1522641"/>
                  <a:gd name="connsiteX1" fmla="*/ 865960 w 865961"/>
                  <a:gd name="connsiteY1" fmla="*/ 1012964 h 1522641"/>
                  <a:gd name="connsiteX2" fmla="*/ 445997 w 865961"/>
                  <a:gd name="connsiteY2" fmla="*/ 861940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961" h="1522641">
                    <a:moveTo>
                      <a:pt x="319878" y="0"/>
                    </a:moveTo>
                    <a:lnTo>
                      <a:pt x="865960" y="1012964"/>
                    </a:lnTo>
                    <a:lnTo>
                      <a:pt x="445997" y="861940"/>
                    </a:lnTo>
                    <a:cubicBezTo>
                      <a:pt x="444170" y="1059972"/>
                      <a:pt x="587626" y="1324609"/>
                      <a:pt x="585799" y="1522641"/>
                    </a:cubicBezTo>
                    <a:lnTo>
                      <a:pt x="0" y="503672"/>
                    </a:lnTo>
                    <a:lnTo>
                      <a:pt x="450821" y="700968"/>
                    </a:lnTo>
                    <a:cubicBezTo>
                      <a:pt x="450821" y="491764"/>
                      <a:pt x="319878" y="209204"/>
                      <a:pt x="319878"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2" name="Isosceles Triangle 30">
                <a:extLst>
                  <a:ext uri="{FF2B5EF4-FFF2-40B4-BE49-F238E27FC236}">
                    <a16:creationId xmlns:a16="http://schemas.microsoft.com/office/drawing/2014/main" id="{D5B0FA9D-0FF8-724A-91DB-4F5081A38BBB}"/>
                  </a:ext>
                </a:extLst>
              </p:cNvPr>
              <p:cNvSpPr/>
              <p:nvPr/>
            </p:nvSpPr>
            <p:spPr>
              <a:xfrm rot="18794210">
                <a:off x="2098705" y="3044803"/>
                <a:ext cx="192498" cy="514096"/>
              </a:xfrm>
              <a:custGeom>
                <a:avLst/>
                <a:gdLst>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24307 w 696456"/>
                  <a:gd name="connsiteY5" fmla="*/ 772149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06386 w 696456"/>
                  <a:gd name="connsiteY5" fmla="*/ 827860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480834 w 696456"/>
                  <a:gd name="connsiteY2" fmla="*/ 928544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340376 w 696456"/>
                  <a:gd name="connsiteY5" fmla="*/ 700968 h 1522641"/>
                  <a:gd name="connsiteX6" fmla="*/ 209433 w 696456"/>
                  <a:gd name="connsiteY6" fmla="*/ 0 h 1522641"/>
                  <a:gd name="connsiteX0" fmla="*/ 319878 w 806901"/>
                  <a:gd name="connsiteY0" fmla="*/ 0 h 1522641"/>
                  <a:gd name="connsiteX1" fmla="*/ 806901 w 806901"/>
                  <a:gd name="connsiteY1" fmla="*/ 891485 h 1522641"/>
                  <a:gd name="connsiteX2" fmla="*/ 475857 w 806901"/>
                  <a:gd name="connsiteY2" fmla="*/ 815137 h 1522641"/>
                  <a:gd name="connsiteX3" fmla="*/ 585799 w 806901"/>
                  <a:gd name="connsiteY3" fmla="*/ 1522641 h 1522641"/>
                  <a:gd name="connsiteX4" fmla="*/ 0 w 806901"/>
                  <a:gd name="connsiteY4" fmla="*/ 503672 h 1522641"/>
                  <a:gd name="connsiteX5" fmla="*/ 450821 w 806901"/>
                  <a:gd name="connsiteY5" fmla="*/ 700968 h 1522641"/>
                  <a:gd name="connsiteX6" fmla="*/ 319878 w 806901"/>
                  <a:gd name="connsiteY6" fmla="*/ 0 h 1522641"/>
                  <a:gd name="connsiteX0" fmla="*/ 319878 w 865961"/>
                  <a:gd name="connsiteY0" fmla="*/ 0 h 1522641"/>
                  <a:gd name="connsiteX1" fmla="*/ 865960 w 865961"/>
                  <a:gd name="connsiteY1" fmla="*/ 1012964 h 1522641"/>
                  <a:gd name="connsiteX2" fmla="*/ 475857 w 865961"/>
                  <a:gd name="connsiteY2" fmla="*/ 815137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 name="connsiteX0" fmla="*/ 319878 w 865961"/>
                  <a:gd name="connsiteY0" fmla="*/ 0 h 1522641"/>
                  <a:gd name="connsiteX1" fmla="*/ 865960 w 865961"/>
                  <a:gd name="connsiteY1" fmla="*/ 1012964 h 1522641"/>
                  <a:gd name="connsiteX2" fmla="*/ 445997 w 865961"/>
                  <a:gd name="connsiteY2" fmla="*/ 861940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961" h="1522641">
                    <a:moveTo>
                      <a:pt x="319878" y="0"/>
                    </a:moveTo>
                    <a:lnTo>
                      <a:pt x="865960" y="1012964"/>
                    </a:lnTo>
                    <a:lnTo>
                      <a:pt x="445997" y="861940"/>
                    </a:lnTo>
                    <a:cubicBezTo>
                      <a:pt x="444170" y="1059972"/>
                      <a:pt x="587626" y="1324609"/>
                      <a:pt x="585799" y="1522641"/>
                    </a:cubicBezTo>
                    <a:lnTo>
                      <a:pt x="0" y="503672"/>
                    </a:lnTo>
                    <a:lnTo>
                      <a:pt x="450821" y="700968"/>
                    </a:lnTo>
                    <a:cubicBezTo>
                      <a:pt x="450821" y="491764"/>
                      <a:pt x="319878" y="209204"/>
                      <a:pt x="319878"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13" name="Isosceles Triangle 30">
                <a:extLst>
                  <a:ext uri="{FF2B5EF4-FFF2-40B4-BE49-F238E27FC236}">
                    <a16:creationId xmlns:a16="http://schemas.microsoft.com/office/drawing/2014/main" id="{D9C67142-AFFE-2E46-89CE-BA36491E20B7}"/>
                  </a:ext>
                </a:extLst>
              </p:cNvPr>
              <p:cNvSpPr/>
              <p:nvPr/>
            </p:nvSpPr>
            <p:spPr>
              <a:xfrm rot="18794210">
                <a:off x="2722704" y="2061299"/>
                <a:ext cx="192498" cy="514096"/>
              </a:xfrm>
              <a:custGeom>
                <a:avLst/>
                <a:gdLst>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24307 w 696456"/>
                  <a:gd name="connsiteY5" fmla="*/ 772149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306386 w 696456"/>
                  <a:gd name="connsiteY5" fmla="*/ 827860 h 1522641"/>
                  <a:gd name="connsiteX6" fmla="*/ 209433 w 696456"/>
                  <a:gd name="connsiteY6" fmla="*/ 0 h 1522641"/>
                  <a:gd name="connsiteX0" fmla="*/ 209433 w 696456"/>
                  <a:gd name="connsiteY0" fmla="*/ 0 h 1522641"/>
                  <a:gd name="connsiteX1" fmla="*/ 696456 w 696456"/>
                  <a:gd name="connsiteY1" fmla="*/ 891485 h 1522641"/>
                  <a:gd name="connsiteX2" fmla="*/ 483587 w 696456"/>
                  <a:gd name="connsiteY2" fmla="*/ 891485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70838 w 696456"/>
                  <a:gd name="connsiteY5" fmla="*/ 747265 h 1522641"/>
                  <a:gd name="connsiteX6" fmla="*/ 209433 w 696456"/>
                  <a:gd name="connsiteY6" fmla="*/ 0 h 1522641"/>
                  <a:gd name="connsiteX0" fmla="*/ 209433 w 696456"/>
                  <a:gd name="connsiteY0" fmla="*/ 0 h 1522641"/>
                  <a:gd name="connsiteX1" fmla="*/ 696456 w 696456"/>
                  <a:gd name="connsiteY1" fmla="*/ 891485 h 1522641"/>
                  <a:gd name="connsiteX2" fmla="*/ 475651 w 696456"/>
                  <a:gd name="connsiteY2" fmla="*/ 796718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480834 w 696456"/>
                  <a:gd name="connsiteY2" fmla="*/ 928544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246479 w 696456"/>
                  <a:gd name="connsiteY5" fmla="*/ 634091 h 1522641"/>
                  <a:gd name="connsiteX6" fmla="*/ 209433 w 696456"/>
                  <a:gd name="connsiteY6" fmla="*/ 0 h 1522641"/>
                  <a:gd name="connsiteX0" fmla="*/ 209433 w 696456"/>
                  <a:gd name="connsiteY0" fmla="*/ 0 h 1522641"/>
                  <a:gd name="connsiteX1" fmla="*/ 696456 w 696456"/>
                  <a:gd name="connsiteY1" fmla="*/ 891485 h 1522641"/>
                  <a:gd name="connsiteX2" fmla="*/ 365412 w 696456"/>
                  <a:gd name="connsiteY2" fmla="*/ 815137 h 1522641"/>
                  <a:gd name="connsiteX3" fmla="*/ 475354 w 696456"/>
                  <a:gd name="connsiteY3" fmla="*/ 1522641 h 1522641"/>
                  <a:gd name="connsiteX4" fmla="*/ 0 w 696456"/>
                  <a:gd name="connsiteY4" fmla="*/ 624880 h 1522641"/>
                  <a:gd name="connsiteX5" fmla="*/ 340376 w 696456"/>
                  <a:gd name="connsiteY5" fmla="*/ 700968 h 1522641"/>
                  <a:gd name="connsiteX6" fmla="*/ 209433 w 696456"/>
                  <a:gd name="connsiteY6" fmla="*/ 0 h 1522641"/>
                  <a:gd name="connsiteX0" fmla="*/ 319878 w 806901"/>
                  <a:gd name="connsiteY0" fmla="*/ 0 h 1522641"/>
                  <a:gd name="connsiteX1" fmla="*/ 806901 w 806901"/>
                  <a:gd name="connsiteY1" fmla="*/ 891485 h 1522641"/>
                  <a:gd name="connsiteX2" fmla="*/ 475857 w 806901"/>
                  <a:gd name="connsiteY2" fmla="*/ 815137 h 1522641"/>
                  <a:gd name="connsiteX3" fmla="*/ 585799 w 806901"/>
                  <a:gd name="connsiteY3" fmla="*/ 1522641 h 1522641"/>
                  <a:gd name="connsiteX4" fmla="*/ 0 w 806901"/>
                  <a:gd name="connsiteY4" fmla="*/ 503672 h 1522641"/>
                  <a:gd name="connsiteX5" fmla="*/ 450821 w 806901"/>
                  <a:gd name="connsiteY5" fmla="*/ 700968 h 1522641"/>
                  <a:gd name="connsiteX6" fmla="*/ 319878 w 806901"/>
                  <a:gd name="connsiteY6" fmla="*/ 0 h 1522641"/>
                  <a:gd name="connsiteX0" fmla="*/ 319878 w 865961"/>
                  <a:gd name="connsiteY0" fmla="*/ 0 h 1522641"/>
                  <a:gd name="connsiteX1" fmla="*/ 865960 w 865961"/>
                  <a:gd name="connsiteY1" fmla="*/ 1012964 h 1522641"/>
                  <a:gd name="connsiteX2" fmla="*/ 475857 w 865961"/>
                  <a:gd name="connsiteY2" fmla="*/ 815137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 name="connsiteX0" fmla="*/ 319878 w 865961"/>
                  <a:gd name="connsiteY0" fmla="*/ 0 h 1522641"/>
                  <a:gd name="connsiteX1" fmla="*/ 865960 w 865961"/>
                  <a:gd name="connsiteY1" fmla="*/ 1012964 h 1522641"/>
                  <a:gd name="connsiteX2" fmla="*/ 445997 w 865961"/>
                  <a:gd name="connsiteY2" fmla="*/ 861940 h 1522641"/>
                  <a:gd name="connsiteX3" fmla="*/ 585799 w 865961"/>
                  <a:gd name="connsiteY3" fmla="*/ 1522641 h 1522641"/>
                  <a:gd name="connsiteX4" fmla="*/ 0 w 865961"/>
                  <a:gd name="connsiteY4" fmla="*/ 503672 h 1522641"/>
                  <a:gd name="connsiteX5" fmla="*/ 450821 w 865961"/>
                  <a:gd name="connsiteY5" fmla="*/ 700968 h 1522641"/>
                  <a:gd name="connsiteX6" fmla="*/ 319878 w 865961"/>
                  <a:gd name="connsiteY6" fmla="*/ 0 h 152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961" h="1522641">
                    <a:moveTo>
                      <a:pt x="319878" y="0"/>
                    </a:moveTo>
                    <a:lnTo>
                      <a:pt x="865960" y="1012964"/>
                    </a:lnTo>
                    <a:lnTo>
                      <a:pt x="445997" y="861940"/>
                    </a:lnTo>
                    <a:cubicBezTo>
                      <a:pt x="444170" y="1059972"/>
                      <a:pt x="587626" y="1324609"/>
                      <a:pt x="585799" y="1522641"/>
                    </a:cubicBezTo>
                    <a:lnTo>
                      <a:pt x="0" y="503672"/>
                    </a:lnTo>
                    <a:lnTo>
                      <a:pt x="450821" y="700968"/>
                    </a:lnTo>
                    <a:cubicBezTo>
                      <a:pt x="450821" y="491764"/>
                      <a:pt x="319878" y="209204"/>
                      <a:pt x="319878"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105" name="Group 104">
              <a:extLst>
                <a:ext uri="{FF2B5EF4-FFF2-40B4-BE49-F238E27FC236}">
                  <a16:creationId xmlns:a16="http://schemas.microsoft.com/office/drawing/2014/main" id="{F5FD7BE2-70AC-5647-967D-A465E9B2EC2B}"/>
                </a:ext>
              </a:extLst>
            </p:cNvPr>
            <p:cNvGrpSpPr/>
            <p:nvPr/>
          </p:nvGrpSpPr>
          <p:grpSpPr>
            <a:xfrm>
              <a:off x="5342733" y="3335754"/>
              <a:ext cx="2131281" cy="1453434"/>
              <a:chOff x="-301346" y="798533"/>
              <a:chExt cx="2131281" cy="1453434"/>
            </a:xfrm>
          </p:grpSpPr>
          <p:sp>
            <p:nvSpPr>
              <p:cNvPr id="106" name="Freeform 105">
                <a:extLst>
                  <a:ext uri="{FF2B5EF4-FFF2-40B4-BE49-F238E27FC236}">
                    <a16:creationId xmlns:a16="http://schemas.microsoft.com/office/drawing/2014/main" id="{ADDCF694-2C52-8E42-AF0A-EC30F51319C6}"/>
                  </a:ext>
                </a:extLst>
              </p:cNvPr>
              <p:cNvSpPr/>
              <p:nvPr/>
            </p:nvSpPr>
            <p:spPr>
              <a:xfrm rot="2062115">
                <a:off x="729413" y="1132447"/>
                <a:ext cx="1100522" cy="1119520"/>
              </a:xfrm>
              <a:custGeom>
                <a:avLst/>
                <a:gdLst>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0098 w 1117102"/>
                  <a:gd name="connsiteY13" fmla="*/ 495849 h 1119520"/>
                  <a:gd name="connsiteX14" fmla="*/ 16214 w 1117102"/>
                  <a:gd name="connsiteY14" fmla="*/ 494102 h 1119520"/>
                  <a:gd name="connsiteX15" fmla="*/ 16580 w 1117102"/>
                  <a:gd name="connsiteY15" fmla="*/ 495501 h 1119520"/>
                  <a:gd name="connsiteX16" fmla="*/ 16580 w 1117102"/>
                  <a:gd name="connsiteY16" fmla="*/ 519208 h 1119520"/>
                  <a:gd name="connsiteX17" fmla="*/ 53230 w 1117102"/>
                  <a:gd name="connsiteY17" fmla="*/ 504961 h 1119520"/>
                  <a:gd name="connsiteX18" fmla="*/ 163187 w 1117102"/>
                  <a:gd name="connsiteY18" fmla="*/ 352712 h 1119520"/>
                  <a:gd name="connsiteX19" fmla="*/ 280970 w 1117102"/>
                  <a:gd name="connsiteY19"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0098 w 1117102"/>
                  <a:gd name="connsiteY13" fmla="*/ 495849 h 1119520"/>
                  <a:gd name="connsiteX14" fmla="*/ 16214 w 1117102"/>
                  <a:gd name="connsiteY14" fmla="*/ 494102 h 1119520"/>
                  <a:gd name="connsiteX15" fmla="*/ 16580 w 1117102"/>
                  <a:gd name="connsiteY15" fmla="*/ 495501 h 1119520"/>
                  <a:gd name="connsiteX16" fmla="*/ 16580 w 1117102"/>
                  <a:gd name="connsiteY16" fmla="*/ 519208 h 1119520"/>
                  <a:gd name="connsiteX17" fmla="*/ 53230 w 1117102"/>
                  <a:gd name="connsiteY17" fmla="*/ 504961 h 1119520"/>
                  <a:gd name="connsiteX18" fmla="*/ 163187 w 1117102"/>
                  <a:gd name="connsiteY18" fmla="*/ 352712 h 1119520"/>
                  <a:gd name="connsiteX19" fmla="*/ 280970 w 1117102"/>
                  <a:gd name="connsiteY19"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0098 w 1117102"/>
                  <a:gd name="connsiteY13" fmla="*/ 495849 h 1119520"/>
                  <a:gd name="connsiteX14" fmla="*/ 16214 w 1117102"/>
                  <a:gd name="connsiteY14" fmla="*/ 494102 h 1119520"/>
                  <a:gd name="connsiteX15" fmla="*/ 16580 w 1117102"/>
                  <a:gd name="connsiteY15" fmla="*/ 519208 h 1119520"/>
                  <a:gd name="connsiteX16" fmla="*/ 53230 w 1117102"/>
                  <a:gd name="connsiteY16" fmla="*/ 504961 h 1119520"/>
                  <a:gd name="connsiteX17" fmla="*/ 163187 w 1117102"/>
                  <a:gd name="connsiteY17" fmla="*/ 352712 h 1119520"/>
                  <a:gd name="connsiteX18" fmla="*/ 280970 w 1117102"/>
                  <a:gd name="connsiteY18"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0098 w 1117102"/>
                  <a:gd name="connsiteY13" fmla="*/ 495849 h 1119520"/>
                  <a:gd name="connsiteX14" fmla="*/ 16580 w 1117102"/>
                  <a:gd name="connsiteY14" fmla="*/ 519208 h 1119520"/>
                  <a:gd name="connsiteX15" fmla="*/ 53230 w 1117102"/>
                  <a:gd name="connsiteY15" fmla="*/ 504961 h 1119520"/>
                  <a:gd name="connsiteX16" fmla="*/ 163187 w 1117102"/>
                  <a:gd name="connsiteY16" fmla="*/ 352712 h 1119520"/>
                  <a:gd name="connsiteX17" fmla="*/ 280970 w 1117102"/>
                  <a:gd name="connsiteY17"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6580 w 1117102"/>
                  <a:gd name="connsiteY13" fmla="*/ 519208 h 1119520"/>
                  <a:gd name="connsiteX14" fmla="*/ 53230 w 1117102"/>
                  <a:gd name="connsiteY14" fmla="*/ 504961 h 1119520"/>
                  <a:gd name="connsiteX15" fmla="*/ 163187 w 1117102"/>
                  <a:gd name="connsiteY15" fmla="*/ 352712 h 1119520"/>
                  <a:gd name="connsiteX16" fmla="*/ 280970 w 1117102"/>
                  <a:gd name="connsiteY16"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6580 w 1117102"/>
                  <a:gd name="connsiteY13" fmla="*/ 519208 h 1119520"/>
                  <a:gd name="connsiteX14" fmla="*/ 53230 w 1117102"/>
                  <a:gd name="connsiteY14" fmla="*/ 504961 h 1119520"/>
                  <a:gd name="connsiteX15" fmla="*/ 163187 w 1117102"/>
                  <a:gd name="connsiteY15" fmla="*/ 352712 h 1119520"/>
                  <a:gd name="connsiteX16" fmla="*/ 280970 w 1117102"/>
                  <a:gd name="connsiteY16" fmla="*/ 263948 h 1119520"/>
                  <a:gd name="connsiteX0" fmla="*/ 280970 w 1117102"/>
                  <a:gd name="connsiteY0" fmla="*/ 263948 h 1119520"/>
                  <a:gd name="connsiteX1" fmla="*/ 706388 w 1117102"/>
                  <a:gd name="connsiteY1" fmla="*/ 20162 h 1119520"/>
                  <a:gd name="connsiteX2" fmla="*/ 775867 w 1117102"/>
                  <a:gd name="connsiteY2" fmla="*/ 4813 h 1119520"/>
                  <a:gd name="connsiteX3" fmla="*/ 806820 w 1117102"/>
                  <a:gd name="connsiteY3" fmla="*/ 75346 h 1119520"/>
                  <a:gd name="connsiteX4" fmla="*/ 588921 w 1117102"/>
                  <a:gd name="connsiteY4" fmla="*/ 372448 h 1119520"/>
                  <a:gd name="connsiteX5" fmla="*/ 938531 w 1117102"/>
                  <a:gd name="connsiteY5" fmla="*/ 341435 h 1119520"/>
                  <a:gd name="connsiteX6" fmla="*/ 1025933 w 1117102"/>
                  <a:gd name="connsiteY6" fmla="*/ 516239 h 1119520"/>
                  <a:gd name="connsiteX7" fmla="*/ 1034391 w 1117102"/>
                  <a:gd name="connsiteY7" fmla="*/ 702321 h 1119520"/>
                  <a:gd name="connsiteX8" fmla="*/ 1014655 w 1117102"/>
                  <a:gd name="connsiteY8" fmla="*/ 913779 h 1119520"/>
                  <a:gd name="connsiteX9" fmla="*/ 1006197 w 1117102"/>
                  <a:gd name="connsiteY9" fmla="*/ 1054750 h 1119520"/>
                  <a:gd name="connsiteX10" fmla="*/ 259048 w 1117102"/>
                  <a:gd name="connsiteY10" fmla="*/ 1066027 h 1119520"/>
                  <a:gd name="connsiteX11" fmla="*/ 23491 w 1117102"/>
                  <a:gd name="connsiteY11" fmla="*/ 992277 h 1119520"/>
                  <a:gd name="connsiteX12" fmla="*/ 0 w 1117102"/>
                  <a:gd name="connsiteY12" fmla="*/ 957928 h 1119520"/>
                  <a:gd name="connsiteX13" fmla="*/ 16580 w 1117102"/>
                  <a:gd name="connsiteY13" fmla="*/ 519208 h 1119520"/>
                  <a:gd name="connsiteX14" fmla="*/ 53230 w 1117102"/>
                  <a:gd name="connsiteY14" fmla="*/ 504961 h 1119520"/>
                  <a:gd name="connsiteX15" fmla="*/ 163187 w 1117102"/>
                  <a:gd name="connsiteY15" fmla="*/ 352712 h 1119520"/>
                  <a:gd name="connsiteX16" fmla="*/ 280970 w 1117102"/>
                  <a:gd name="connsiteY16" fmla="*/ 263948 h 1119520"/>
                  <a:gd name="connsiteX0" fmla="*/ 264390 w 1100522"/>
                  <a:gd name="connsiteY0" fmla="*/ 263948 h 1119520"/>
                  <a:gd name="connsiteX1" fmla="*/ 689808 w 1100522"/>
                  <a:gd name="connsiteY1" fmla="*/ 20162 h 1119520"/>
                  <a:gd name="connsiteX2" fmla="*/ 759287 w 1100522"/>
                  <a:gd name="connsiteY2" fmla="*/ 4813 h 1119520"/>
                  <a:gd name="connsiteX3" fmla="*/ 790240 w 1100522"/>
                  <a:gd name="connsiteY3" fmla="*/ 75346 h 1119520"/>
                  <a:gd name="connsiteX4" fmla="*/ 572341 w 1100522"/>
                  <a:gd name="connsiteY4" fmla="*/ 372448 h 1119520"/>
                  <a:gd name="connsiteX5" fmla="*/ 921951 w 1100522"/>
                  <a:gd name="connsiteY5" fmla="*/ 341435 h 1119520"/>
                  <a:gd name="connsiteX6" fmla="*/ 1009353 w 1100522"/>
                  <a:gd name="connsiteY6" fmla="*/ 516239 h 1119520"/>
                  <a:gd name="connsiteX7" fmla="*/ 1017811 w 1100522"/>
                  <a:gd name="connsiteY7" fmla="*/ 702321 h 1119520"/>
                  <a:gd name="connsiteX8" fmla="*/ 998075 w 1100522"/>
                  <a:gd name="connsiteY8" fmla="*/ 913779 h 1119520"/>
                  <a:gd name="connsiteX9" fmla="*/ 989617 w 1100522"/>
                  <a:gd name="connsiteY9" fmla="*/ 1054750 h 1119520"/>
                  <a:gd name="connsiteX10" fmla="*/ 242468 w 1100522"/>
                  <a:gd name="connsiteY10" fmla="*/ 1066027 h 1119520"/>
                  <a:gd name="connsiteX11" fmla="*/ 6911 w 1100522"/>
                  <a:gd name="connsiteY11" fmla="*/ 992277 h 1119520"/>
                  <a:gd name="connsiteX12" fmla="*/ 0 w 1100522"/>
                  <a:gd name="connsiteY12" fmla="*/ 519208 h 1119520"/>
                  <a:gd name="connsiteX13" fmla="*/ 36650 w 1100522"/>
                  <a:gd name="connsiteY13" fmla="*/ 504961 h 1119520"/>
                  <a:gd name="connsiteX14" fmla="*/ 146607 w 1100522"/>
                  <a:gd name="connsiteY14" fmla="*/ 352712 h 1119520"/>
                  <a:gd name="connsiteX15" fmla="*/ 264390 w 1100522"/>
                  <a:gd name="connsiteY15" fmla="*/ 263948 h 11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00522" h="1119520">
                    <a:moveTo>
                      <a:pt x="264390" y="263948"/>
                    </a:moveTo>
                    <a:cubicBezTo>
                      <a:pt x="381257" y="190131"/>
                      <a:pt x="502300" y="148084"/>
                      <a:pt x="689808" y="20162"/>
                    </a:cubicBezTo>
                    <a:cubicBezTo>
                      <a:pt x="726679" y="1841"/>
                      <a:pt x="735351" y="-5755"/>
                      <a:pt x="759287" y="4813"/>
                    </a:cubicBezTo>
                    <a:cubicBezTo>
                      <a:pt x="781648" y="17423"/>
                      <a:pt x="787052" y="43633"/>
                      <a:pt x="790240" y="75346"/>
                    </a:cubicBezTo>
                    <a:cubicBezTo>
                      <a:pt x="775103" y="234834"/>
                      <a:pt x="383440" y="362110"/>
                      <a:pt x="572341" y="372448"/>
                    </a:cubicBezTo>
                    <a:cubicBezTo>
                      <a:pt x="705794" y="359291"/>
                      <a:pt x="777220" y="346134"/>
                      <a:pt x="921951" y="341435"/>
                    </a:cubicBezTo>
                    <a:cubicBezTo>
                      <a:pt x="1053524" y="343314"/>
                      <a:pt x="1075140" y="426957"/>
                      <a:pt x="1009353" y="516239"/>
                    </a:cubicBezTo>
                    <a:cubicBezTo>
                      <a:pt x="1092056" y="520938"/>
                      <a:pt x="1160663" y="649692"/>
                      <a:pt x="1017811" y="702321"/>
                    </a:cubicBezTo>
                    <a:cubicBezTo>
                      <a:pt x="1154083" y="786904"/>
                      <a:pt x="1076080" y="894043"/>
                      <a:pt x="998075" y="913779"/>
                    </a:cubicBezTo>
                    <a:cubicBezTo>
                      <a:pt x="1063862" y="972986"/>
                      <a:pt x="1056344" y="1018097"/>
                      <a:pt x="989617" y="1054750"/>
                    </a:cubicBezTo>
                    <a:cubicBezTo>
                      <a:pt x="841597" y="1115838"/>
                      <a:pt x="459094" y="1158129"/>
                      <a:pt x="242468" y="1066027"/>
                    </a:cubicBezTo>
                    <a:cubicBezTo>
                      <a:pt x="142822" y="1031908"/>
                      <a:pt x="78047" y="996188"/>
                      <a:pt x="6911" y="992277"/>
                    </a:cubicBezTo>
                    <a:lnTo>
                      <a:pt x="0" y="519208"/>
                    </a:lnTo>
                    <a:cubicBezTo>
                      <a:pt x="9193" y="517763"/>
                      <a:pt x="20149" y="513929"/>
                      <a:pt x="36650" y="504961"/>
                    </a:cubicBezTo>
                    <a:cubicBezTo>
                      <a:pt x="57325" y="453272"/>
                      <a:pt x="83170" y="410510"/>
                      <a:pt x="146607" y="352712"/>
                    </a:cubicBezTo>
                    <a:cubicBezTo>
                      <a:pt x="186942" y="316689"/>
                      <a:pt x="225434" y="288554"/>
                      <a:pt x="264390" y="263948"/>
                    </a:cubicBez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7" name="Rectangle 106">
                <a:extLst>
                  <a:ext uri="{FF2B5EF4-FFF2-40B4-BE49-F238E27FC236}">
                    <a16:creationId xmlns:a16="http://schemas.microsoft.com/office/drawing/2014/main" id="{5C91A01C-14EC-7842-81F7-5602689C50C7}"/>
                  </a:ext>
                </a:extLst>
              </p:cNvPr>
              <p:cNvSpPr/>
              <p:nvPr/>
            </p:nvSpPr>
            <p:spPr>
              <a:xfrm rot="2088680">
                <a:off x="500187" y="1191785"/>
                <a:ext cx="251778" cy="561342"/>
              </a:xfrm>
              <a:prstGeom prst="rect">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8" name="Rectangle 56">
                <a:extLst>
                  <a:ext uri="{FF2B5EF4-FFF2-40B4-BE49-F238E27FC236}">
                    <a16:creationId xmlns:a16="http://schemas.microsoft.com/office/drawing/2014/main" id="{AC41796D-8056-DC46-A73D-F47B7D0E15F1}"/>
                  </a:ext>
                </a:extLst>
              </p:cNvPr>
              <p:cNvSpPr/>
              <p:nvPr/>
            </p:nvSpPr>
            <p:spPr>
              <a:xfrm rot="2088680">
                <a:off x="-301346" y="798533"/>
                <a:ext cx="895191" cy="730615"/>
              </a:xfrm>
              <a:custGeom>
                <a:avLst/>
                <a:gdLst/>
                <a:ahLst/>
                <a:cxnLst/>
                <a:rect l="l" t="t" r="r" b="b"/>
                <a:pathLst>
                  <a:path w="895191" h="730615">
                    <a:moveTo>
                      <a:pt x="0" y="0"/>
                    </a:moveTo>
                    <a:lnTo>
                      <a:pt x="895191" y="0"/>
                    </a:lnTo>
                    <a:lnTo>
                      <a:pt x="895191" y="730615"/>
                    </a:lnTo>
                    <a:lnTo>
                      <a:pt x="508005" y="730615"/>
                    </a:ln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9" name="Oval 108">
                <a:extLst>
                  <a:ext uri="{FF2B5EF4-FFF2-40B4-BE49-F238E27FC236}">
                    <a16:creationId xmlns:a16="http://schemas.microsoft.com/office/drawing/2014/main" id="{6EAEC4D4-0677-0042-A91F-1067882E73A8}"/>
                  </a:ext>
                </a:extLst>
              </p:cNvPr>
              <p:cNvSpPr/>
              <p:nvPr/>
            </p:nvSpPr>
            <p:spPr>
              <a:xfrm>
                <a:off x="490431" y="1573495"/>
                <a:ext cx="94897" cy="9489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spTree>
    <p:extLst>
      <p:ext uri="{BB962C8B-B14F-4D97-AF65-F5344CB8AC3E}">
        <p14:creationId xmlns:p14="http://schemas.microsoft.com/office/powerpoint/2010/main" val="41770335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DD275B-7430-0841-8326-437984B4F71D}"/>
              </a:ext>
            </a:extLst>
          </p:cNvPr>
          <p:cNvSpPr>
            <a:spLocks noGrp="1"/>
          </p:cNvSpPr>
          <p:nvPr>
            <p:ph type="sldNum" sz="quarter" idx="4"/>
          </p:nvPr>
        </p:nvSpPr>
        <p:spPr/>
        <p:txBody>
          <a:bodyPr/>
          <a:lstStyle/>
          <a:p>
            <a:fld id="{3D966009-6E5A-4F8C-8CA7-E37AFBF5FB92}" type="slidenum">
              <a:rPr lang="en-US" smtClean="0"/>
              <a:t>168</a:t>
            </a:fld>
            <a:endParaRPr lang="en-US"/>
          </a:p>
        </p:txBody>
      </p:sp>
      <p:sp>
        <p:nvSpPr>
          <p:cNvPr id="3" name="Title 2">
            <a:extLst>
              <a:ext uri="{FF2B5EF4-FFF2-40B4-BE49-F238E27FC236}">
                <a16:creationId xmlns:a16="http://schemas.microsoft.com/office/drawing/2014/main" id="{2B5975B3-F42F-AD40-879C-94F1DB4FE1E2}"/>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7B937045-F130-8C4F-98A0-F4E186BA0F2D}"/>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C1351D1F-150C-564D-B13E-7977A5BC9291}"/>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8AAB1CA8-353A-AF4F-9527-1F3EA0813900}"/>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ADB401E5-49C4-BE44-99DF-5AF7263BAA54}"/>
              </a:ext>
            </a:extLst>
          </p:cNvPr>
          <p:cNvSpPr>
            <a:spLocks noGrp="1"/>
          </p:cNvSpPr>
          <p:nvPr>
            <p:ph sz="quarter" idx="14"/>
          </p:nvPr>
        </p:nvSpPr>
        <p:spPr/>
        <p:txBody>
          <a:bodyPr/>
          <a:lstStyle/>
          <a:p>
            <a:endParaRPr lang="en-GB"/>
          </a:p>
        </p:txBody>
      </p:sp>
      <p:grpSp>
        <p:nvGrpSpPr>
          <p:cNvPr id="9" name="그룹 4">
            <a:extLst>
              <a:ext uri="{FF2B5EF4-FFF2-40B4-BE49-F238E27FC236}">
                <a16:creationId xmlns:a16="http://schemas.microsoft.com/office/drawing/2014/main" id="{5FB95676-79BC-4044-BED3-BF32AA5DED6D}"/>
              </a:ext>
            </a:extLst>
          </p:cNvPr>
          <p:cNvGrpSpPr/>
          <p:nvPr/>
        </p:nvGrpSpPr>
        <p:grpSpPr>
          <a:xfrm>
            <a:off x="1128534" y="2875787"/>
            <a:ext cx="1728192" cy="2736304"/>
            <a:chOff x="5216827" y="2636912"/>
            <a:chExt cx="1728192" cy="2736304"/>
          </a:xfrm>
        </p:grpSpPr>
        <p:sp>
          <p:nvSpPr>
            <p:cNvPr id="10" name="Rectangle 215">
              <a:extLst>
                <a:ext uri="{FF2B5EF4-FFF2-40B4-BE49-F238E27FC236}">
                  <a16:creationId xmlns:a16="http://schemas.microsoft.com/office/drawing/2014/main" id="{37225CA2-B5B1-EB47-A109-867C29E684DF}"/>
                </a:ext>
              </a:extLst>
            </p:cNvPr>
            <p:cNvSpPr/>
            <p:nvPr/>
          </p:nvSpPr>
          <p:spPr>
            <a:xfrm>
              <a:off x="5216827" y="2636912"/>
              <a:ext cx="1728192" cy="2736304"/>
            </a:xfrm>
            <a:custGeom>
              <a:avLst/>
              <a:gdLst/>
              <a:ahLst/>
              <a:cxnLst/>
              <a:rect l="l" t="t" r="r" b="b"/>
              <a:pathLst>
                <a:path w="1728192" h="2736304">
                  <a:moveTo>
                    <a:pt x="864096" y="1490204"/>
                  </a:moveTo>
                  <a:cubicBezTo>
                    <a:pt x="764674" y="1490204"/>
                    <a:pt x="684076" y="1570802"/>
                    <a:pt x="684076" y="1670224"/>
                  </a:cubicBezTo>
                  <a:cubicBezTo>
                    <a:pt x="684076" y="1736166"/>
                    <a:pt x="719532" y="1793828"/>
                    <a:pt x="773967" y="1822574"/>
                  </a:cubicBezTo>
                  <a:lnTo>
                    <a:pt x="648072" y="2254213"/>
                  </a:lnTo>
                  <a:lnTo>
                    <a:pt x="1080120" y="2254213"/>
                  </a:lnTo>
                  <a:lnTo>
                    <a:pt x="954225" y="1822574"/>
                  </a:lnTo>
                  <a:cubicBezTo>
                    <a:pt x="1008660" y="1793828"/>
                    <a:pt x="1044116" y="1736166"/>
                    <a:pt x="1044116" y="1670224"/>
                  </a:cubicBezTo>
                  <a:cubicBezTo>
                    <a:pt x="1044116" y="1570802"/>
                    <a:pt x="963518" y="1490204"/>
                    <a:pt x="864096" y="1490204"/>
                  </a:cubicBezTo>
                  <a:close/>
                  <a:moveTo>
                    <a:pt x="864096" y="228600"/>
                  </a:moveTo>
                  <a:cubicBezTo>
                    <a:pt x="737844" y="228600"/>
                    <a:pt x="635496" y="330948"/>
                    <a:pt x="635496" y="457200"/>
                  </a:cubicBezTo>
                  <a:lnTo>
                    <a:pt x="635078" y="457200"/>
                  </a:lnTo>
                  <a:lnTo>
                    <a:pt x="635078" y="1008112"/>
                  </a:lnTo>
                  <a:lnTo>
                    <a:pt x="1093113" y="1008112"/>
                  </a:lnTo>
                  <a:lnTo>
                    <a:pt x="1093113" y="457200"/>
                  </a:lnTo>
                  <a:lnTo>
                    <a:pt x="1092696" y="457200"/>
                  </a:lnTo>
                  <a:cubicBezTo>
                    <a:pt x="1092696" y="330948"/>
                    <a:pt x="990348" y="228600"/>
                    <a:pt x="864096" y="228600"/>
                  </a:cubicBezTo>
                  <a:close/>
                  <a:moveTo>
                    <a:pt x="864096" y="0"/>
                  </a:moveTo>
                  <a:cubicBezTo>
                    <a:pt x="1108128" y="0"/>
                    <a:pt x="1307504" y="191187"/>
                    <a:pt x="1318761" y="432048"/>
                  </a:cubicBezTo>
                  <a:lnTo>
                    <a:pt x="1321296" y="432048"/>
                  </a:lnTo>
                  <a:lnTo>
                    <a:pt x="1321296" y="457200"/>
                  </a:lnTo>
                  <a:lnTo>
                    <a:pt x="1321296" y="1008112"/>
                  </a:lnTo>
                  <a:lnTo>
                    <a:pt x="1440154" y="1008112"/>
                  </a:lnTo>
                  <a:cubicBezTo>
                    <a:pt x="1599233" y="1008112"/>
                    <a:pt x="1728192" y="1137071"/>
                    <a:pt x="1728192" y="1296150"/>
                  </a:cubicBezTo>
                  <a:lnTo>
                    <a:pt x="1728192" y="2448266"/>
                  </a:lnTo>
                  <a:cubicBezTo>
                    <a:pt x="1728192" y="2607345"/>
                    <a:pt x="1599233" y="2736304"/>
                    <a:pt x="1440154" y="2736304"/>
                  </a:cubicBezTo>
                  <a:lnTo>
                    <a:pt x="288038" y="2736304"/>
                  </a:lnTo>
                  <a:cubicBezTo>
                    <a:pt x="128959" y="2736304"/>
                    <a:pt x="0" y="2607345"/>
                    <a:pt x="0" y="2448266"/>
                  </a:cubicBezTo>
                  <a:lnTo>
                    <a:pt x="0" y="1296150"/>
                  </a:lnTo>
                  <a:cubicBezTo>
                    <a:pt x="0" y="1137071"/>
                    <a:pt x="128959" y="1008112"/>
                    <a:pt x="288038" y="1008112"/>
                  </a:cubicBezTo>
                  <a:lnTo>
                    <a:pt x="406895" y="1008112"/>
                  </a:lnTo>
                  <a:lnTo>
                    <a:pt x="406895" y="451098"/>
                  </a:lnTo>
                  <a:lnTo>
                    <a:pt x="407511" y="451098"/>
                  </a:lnTo>
                  <a:cubicBezTo>
                    <a:pt x="410206" y="201401"/>
                    <a:pt x="613631" y="0"/>
                    <a:pt x="864096" y="0"/>
                  </a:cubicBezTo>
                  <a:close/>
                </a:path>
              </a:pathLst>
            </a:custGeom>
            <a:solidFill>
              <a:schemeClr val="accent5">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11" name="Rounded Rectangle 213">
              <a:extLst>
                <a:ext uri="{FF2B5EF4-FFF2-40B4-BE49-F238E27FC236}">
                  <a16:creationId xmlns:a16="http://schemas.microsoft.com/office/drawing/2014/main" id="{A21561EA-1458-E64A-B3E3-AFF091E785F0}"/>
                </a:ext>
              </a:extLst>
            </p:cNvPr>
            <p:cNvSpPr/>
            <p:nvPr/>
          </p:nvSpPr>
          <p:spPr>
            <a:xfrm>
              <a:off x="5348014" y="3783285"/>
              <a:ext cx="1455440" cy="1455440"/>
            </a:xfrm>
            <a:prstGeom prst="roundRect">
              <a:avLst>
                <a:gd name="adj" fmla="val 14209"/>
              </a:avLst>
            </a:prstGeom>
            <a:solidFill>
              <a:schemeClr val="accent5">
                <a:alpha val="10000"/>
              </a:schemeClr>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sp>
        <p:nvSpPr>
          <p:cNvPr id="12" name="Oval 93">
            <a:extLst>
              <a:ext uri="{FF2B5EF4-FFF2-40B4-BE49-F238E27FC236}">
                <a16:creationId xmlns:a16="http://schemas.microsoft.com/office/drawing/2014/main" id="{89074F15-9E84-E740-8EB7-7132F9FE22DB}"/>
              </a:ext>
            </a:extLst>
          </p:cNvPr>
          <p:cNvSpPr/>
          <p:nvPr/>
        </p:nvSpPr>
        <p:spPr>
          <a:xfrm rot="20700000" flipH="1">
            <a:off x="3002240" y="2324332"/>
            <a:ext cx="2512640" cy="920956"/>
          </a:xfrm>
          <a:custGeom>
            <a:avLst/>
            <a:gdLst/>
            <a:ahLst/>
            <a:cxnLst/>
            <a:rect l="l" t="t" r="r" b="b"/>
            <a:pathLst>
              <a:path w="2512640" h="920956">
                <a:moveTo>
                  <a:pt x="385100" y="94051"/>
                </a:moveTo>
                <a:cubicBezTo>
                  <a:pt x="214663" y="128927"/>
                  <a:pt x="86452" y="279731"/>
                  <a:pt x="86453" y="460479"/>
                </a:cubicBezTo>
                <a:cubicBezTo>
                  <a:pt x="86453" y="667048"/>
                  <a:pt x="253910" y="834506"/>
                  <a:pt x="460480" y="834506"/>
                </a:cubicBezTo>
                <a:cubicBezTo>
                  <a:pt x="667048" y="834506"/>
                  <a:pt x="834507" y="667048"/>
                  <a:pt x="834507" y="460479"/>
                </a:cubicBezTo>
                <a:cubicBezTo>
                  <a:pt x="834507" y="253910"/>
                  <a:pt x="667048" y="86452"/>
                  <a:pt x="460480" y="86452"/>
                </a:cubicBezTo>
                <a:cubicBezTo>
                  <a:pt x="434658" y="86452"/>
                  <a:pt x="409448" y="89068"/>
                  <a:pt x="385100" y="94051"/>
                </a:cubicBezTo>
                <a:close/>
                <a:moveTo>
                  <a:pt x="367676" y="9355"/>
                </a:moveTo>
                <a:cubicBezTo>
                  <a:pt x="397652" y="3221"/>
                  <a:pt x="428689" y="0"/>
                  <a:pt x="460478" y="0"/>
                </a:cubicBezTo>
                <a:cubicBezTo>
                  <a:pt x="641050" y="0"/>
                  <a:pt x="797347" y="103936"/>
                  <a:pt x="871118" y="256089"/>
                </a:cubicBezTo>
                <a:lnTo>
                  <a:pt x="1045780" y="256089"/>
                </a:lnTo>
                <a:cubicBezTo>
                  <a:pt x="1078943" y="256089"/>
                  <a:pt x="1106554" y="279855"/>
                  <a:pt x="1111181" y="311537"/>
                </a:cubicBezTo>
                <a:lnTo>
                  <a:pt x="1155264" y="311537"/>
                </a:lnTo>
                <a:lnTo>
                  <a:pt x="1155264" y="309907"/>
                </a:lnTo>
                <a:cubicBezTo>
                  <a:pt x="1155263" y="287615"/>
                  <a:pt x="1168817" y="268488"/>
                  <a:pt x="1188133" y="260318"/>
                </a:cubicBezTo>
                <a:cubicBezTo>
                  <a:pt x="1194572" y="257595"/>
                  <a:pt x="1201651" y="256089"/>
                  <a:pt x="1209081" y="256089"/>
                </a:cubicBezTo>
                <a:lnTo>
                  <a:pt x="1253772" y="256089"/>
                </a:lnTo>
                <a:cubicBezTo>
                  <a:pt x="1283495" y="256089"/>
                  <a:pt x="1307589" y="280184"/>
                  <a:pt x="1307589" y="309907"/>
                </a:cubicBezTo>
                <a:lnTo>
                  <a:pt x="1307590" y="311537"/>
                </a:lnTo>
                <a:lnTo>
                  <a:pt x="2479916" y="311537"/>
                </a:lnTo>
                <a:cubicBezTo>
                  <a:pt x="2497988" y="311537"/>
                  <a:pt x="2512639" y="326188"/>
                  <a:pt x="2512640" y="344260"/>
                </a:cubicBezTo>
                <a:lnTo>
                  <a:pt x="2512640" y="611501"/>
                </a:lnTo>
                <a:lnTo>
                  <a:pt x="2512639" y="611502"/>
                </a:lnTo>
                <a:lnTo>
                  <a:pt x="2512639" y="909402"/>
                </a:lnTo>
                <a:lnTo>
                  <a:pt x="2263124" y="909402"/>
                </a:lnTo>
                <a:lnTo>
                  <a:pt x="2263124" y="644224"/>
                </a:lnTo>
                <a:lnTo>
                  <a:pt x="2197534" y="644224"/>
                </a:lnTo>
                <a:lnTo>
                  <a:pt x="2197534" y="909402"/>
                </a:lnTo>
                <a:lnTo>
                  <a:pt x="1948019" y="909402"/>
                </a:lnTo>
                <a:lnTo>
                  <a:pt x="1948019" y="644224"/>
                </a:lnTo>
                <a:lnTo>
                  <a:pt x="1882429" y="644224"/>
                </a:lnTo>
                <a:lnTo>
                  <a:pt x="1882429" y="909402"/>
                </a:lnTo>
                <a:lnTo>
                  <a:pt x="1632914" y="909402"/>
                </a:lnTo>
                <a:lnTo>
                  <a:pt x="1632914" y="644224"/>
                </a:lnTo>
                <a:lnTo>
                  <a:pt x="1307589" y="644224"/>
                </a:lnTo>
                <a:lnTo>
                  <a:pt x="1307589" y="645853"/>
                </a:lnTo>
                <a:cubicBezTo>
                  <a:pt x="1307590" y="675576"/>
                  <a:pt x="1283495" y="699671"/>
                  <a:pt x="1253771" y="699671"/>
                </a:cubicBezTo>
                <a:lnTo>
                  <a:pt x="1209081" y="699671"/>
                </a:lnTo>
                <a:cubicBezTo>
                  <a:pt x="1179358" y="699671"/>
                  <a:pt x="1155263" y="675576"/>
                  <a:pt x="1155264" y="645853"/>
                </a:cubicBezTo>
                <a:lnTo>
                  <a:pt x="1155264" y="644224"/>
                </a:lnTo>
                <a:lnTo>
                  <a:pt x="1111181" y="644224"/>
                </a:lnTo>
                <a:cubicBezTo>
                  <a:pt x="1106554" y="675905"/>
                  <a:pt x="1078943" y="699671"/>
                  <a:pt x="1045780" y="699671"/>
                </a:cubicBezTo>
                <a:lnTo>
                  <a:pt x="852227" y="699671"/>
                </a:lnTo>
                <a:cubicBezTo>
                  <a:pt x="772630" y="832714"/>
                  <a:pt x="626859" y="920956"/>
                  <a:pt x="460478" y="920956"/>
                </a:cubicBezTo>
                <a:cubicBezTo>
                  <a:pt x="206163" y="920956"/>
                  <a:pt x="0" y="714793"/>
                  <a:pt x="0" y="460478"/>
                </a:cubicBezTo>
                <a:cubicBezTo>
                  <a:pt x="0" y="237952"/>
                  <a:pt x="157843" y="52293"/>
                  <a:pt x="367676" y="935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nvGrpSpPr>
          <p:cNvPr id="13" name="그룹 35">
            <a:extLst>
              <a:ext uri="{FF2B5EF4-FFF2-40B4-BE49-F238E27FC236}">
                <a16:creationId xmlns:a16="http://schemas.microsoft.com/office/drawing/2014/main" id="{C7274234-53FA-674C-A5B5-249DD1D0F477}"/>
              </a:ext>
            </a:extLst>
          </p:cNvPr>
          <p:cNvGrpSpPr/>
          <p:nvPr/>
        </p:nvGrpSpPr>
        <p:grpSpPr>
          <a:xfrm>
            <a:off x="6170323" y="2771699"/>
            <a:ext cx="2912794" cy="2422866"/>
            <a:chOff x="3627342" y="1782392"/>
            <a:chExt cx="4959335" cy="4125182"/>
          </a:xfrm>
        </p:grpSpPr>
        <p:sp>
          <p:nvSpPr>
            <p:cNvPr id="14" name="자유형: 도형 27">
              <a:extLst>
                <a:ext uri="{FF2B5EF4-FFF2-40B4-BE49-F238E27FC236}">
                  <a16:creationId xmlns:a16="http://schemas.microsoft.com/office/drawing/2014/main" id="{4A0C6F85-0102-0741-AAA8-D59FBCF56681}"/>
                </a:ext>
              </a:extLst>
            </p:cNvPr>
            <p:cNvSpPr>
              <a:spLocks noChangeAspect="1"/>
            </p:cNvSpPr>
            <p:nvPr/>
          </p:nvSpPr>
          <p:spPr>
            <a:xfrm rot="16200000">
              <a:off x="5768086" y="3088983"/>
              <a:ext cx="4125182" cy="1512000"/>
            </a:xfrm>
            <a:custGeom>
              <a:avLst/>
              <a:gdLst>
                <a:gd name="connsiteX0" fmla="*/ 2512640 w 2512640"/>
                <a:gd name="connsiteY0" fmla="*/ 611501 h 920956"/>
                <a:gd name="connsiteX1" fmla="*/ 2512640 w 2512640"/>
                <a:gd name="connsiteY1" fmla="*/ 344260 h 920956"/>
                <a:gd name="connsiteX2" fmla="*/ 2479916 w 2512640"/>
                <a:gd name="connsiteY2" fmla="*/ 311537 h 920956"/>
                <a:gd name="connsiteX3" fmla="*/ 1307590 w 2512640"/>
                <a:gd name="connsiteY3" fmla="*/ 311537 h 920956"/>
                <a:gd name="connsiteX4" fmla="*/ 1307589 w 2512640"/>
                <a:gd name="connsiteY4" fmla="*/ 309907 h 920956"/>
                <a:gd name="connsiteX5" fmla="*/ 1253772 w 2512640"/>
                <a:gd name="connsiteY5" fmla="*/ 256089 h 920956"/>
                <a:gd name="connsiteX6" fmla="*/ 1209081 w 2512640"/>
                <a:gd name="connsiteY6" fmla="*/ 256089 h 920956"/>
                <a:gd name="connsiteX7" fmla="*/ 1188133 w 2512640"/>
                <a:gd name="connsiteY7" fmla="*/ 260318 h 920956"/>
                <a:gd name="connsiteX8" fmla="*/ 1155264 w 2512640"/>
                <a:gd name="connsiteY8" fmla="*/ 309907 h 920956"/>
                <a:gd name="connsiteX9" fmla="*/ 1155264 w 2512640"/>
                <a:gd name="connsiteY9" fmla="*/ 311537 h 920956"/>
                <a:gd name="connsiteX10" fmla="*/ 1111181 w 2512640"/>
                <a:gd name="connsiteY10" fmla="*/ 311537 h 920956"/>
                <a:gd name="connsiteX11" fmla="*/ 1045780 w 2512640"/>
                <a:gd name="connsiteY11" fmla="*/ 256089 h 920956"/>
                <a:gd name="connsiteX12" fmla="*/ 871118 w 2512640"/>
                <a:gd name="connsiteY12" fmla="*/ 256089 h 920956"/>
                <a:gd name="connsiteX13" fmla="*/ 460478 w 2512640"/>
                <a:gd name="connsiteY13" fmla="*/ 0 h 920956"/>
                <a:gd name="connsiteX14" fmla="*/ 367676 w 2512640"/>
                <a:gd name="connsiteY14" fmla="*/ 9355 h 920956"/>
                <a:gd name="connsiteX15" fmla="*/ 0 w 2512640"/>
                <a:gd name="connsiteY15" fmla="*/ 460478 h 920956"/>
                <a:gd name="connsiteX16" fmla="*/ 460478 w 2512640"/>
                <a:gd name="connsiteY16" fmla="*/ 920956 h 920956"/>
                <a:gd name="connsiteX17" fmla="*/ 852227 w 2512640"/>
                <a:gd name="connsiteY17" fmla="*/ 699671 h 920956"/>
                <a:gd name="connsiteX18" fmla="*/ 1045780 w 2512640"/>
                <a:gd name="connsiteY18" fmla="*/ 699671 h 920956"/>
                <a:gd name="connsiteX19" fmla="*/ 1111181 w 2512640"/>
                <a:gd name="connsiteY19" fmla="*/ 644224 h 920956"/>
                <a:gd name="connsiteX20" fmla="*/ 1155264 w 2512640"/>
                <a:gd name="connsiteY20" fmla="*/ 644224 h 920956"/>
                <a:gd name="connsiteX21" fmla="*/ 1155264 w 2512640"/>
                <a:gd name="connsiteY21" fmla="*/ 645853 h 920956"/>
                <a:gd name="connsiteX22" fmla="*/ 1209081 w 2512640"/>
                <a:gd name="connsiteY22" fmla="*/ 699671 h 920956"/>
                <a:gd name="connsiteX23" fmla="*/ 1253771 w 2512640"/>
                <a:gd name="connsiteY23" fmla="*/ 699671 h 920956"/>
                <a:gd name="connsiteX24" fmla="*/ 1307589 w 2512640"/>
                <a:gd name="connsiteY24" fmla="*/ 645853 h 920956"/>
                <a:gd name="connsiteX25" fmla="*/ 1307589 w 2512640"/>
                <a:gd name="connsiteY25" fmla="*/ 644224 h 920956"/>
                <a:gd name="connsiteX26" fmla="*/ 1632914 w 2512640"/>
                <a:gd name="connsiteY26" fmla="*/ 644224 h 920956"/>
                <a:gd name="connsiteX27" fmla="*/ 1632914 w 2512640"/>
                <a:gd name="connsiteY27" fmla="*/ 909402 h 920956"/>
                <a:gd name="connsiteX28" fmla="*/ 1882429 w 2512640"/>
                <a:gd name="connsiteY28" fmla="*/ 909402 h 920956"/>
                <a:gd name="connsiteX29" fmla="*/ 1882429 w 2512640"/>
                <a:gd name="connsiteY29" fmla="*/ 644224 h 920956"/>
                <a:gd name="connsiteX30" fmla="*/ 1948019 w 2512640"/>
                <a:gd name="connsiteY30" fmla="*/ 644224 h 920956"/>
                <a:gd name="connsiteX31" fmla="*/ 1948019 w 2512640"/>
                <a:gd name="connsiteY31" fmla="*/ 909402 h 920956"/>
                <a:gd name="connsiteX32" fmla="*/ 2197534 w 2512640"/>
                <a:gd name="connsiteY32" fmla="*/ 909402 h 920956"/>
                <a:gd name="connsiteX33" fmla="*/ 2197534 w 2512640"/>
                <a:gd name="connsiteY33" fmla="*/ 644224 h 920956"/>
                <a:gd name="connsiteX34" fmla="*/ 2263124 w 2512640"/>
                <a:gd name="connsiteY34" fmla="*/ 644224 h 920956"/>
                <a:gd name="connsiteX35" fmla="*/ 2263124 w 2512640"/>
                <a:gd name="connsiteY35" fmla="*/ 909402 h 920956"/>
                <a:gd name="connsiteX36" fmla="*/ 2512639 w 2512640"/>
                <a:gd name="connsiteY36" fmla="*/ 909402 h 920956"/>
                <a:gd name="connsiteX37" fmla="*/ 2512639 w 2512640"/>
                <a:gd name="connsiteY37" fmla="*/ 611502 h 92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12640" h="920956">
                  <a:moveTo>
                    <a:pt x="2512640" y="611501"/>
                  </a:moveTo>
                  <a:lnTo>
                    <a:pt x="2512640" y="344260"/>
                  </a:lnTo>
                  <a:cubicBezTo>
                    <a:pt x="2512639" y="326188"/>
                    <a:pt x="2497988" y="311537"/>
                    <a:pt x="2479916" y="311537"/>
                  </a:cubicBezTo>
                  <a:lnTo>
                    <a:pt x="1307590" y="311537"/>
                  </a:lnTo>
                  <a:lnTo>
                    <a:pt x="1307589" y="309907"/>
                  </a:lnTo>
                  <a:cubicBezTo>
                    <a:pt x="1307589" y="280184"/>
                    <a:pt x="1283495" y="256089"/>
                    <a:pt x="1253772" y="256089"/>
                  </a:cubicBezTo>
                  <a:lnTo>
                    <a:pt x="1209081" y="256089"/>
                  </a:lnTo>
                  <a:cubicBezTo>
                    <a:pt x="1201651" y="256089"/>
                    <a:pt x="1194572" y="257595"/>
                    <a:pt x="1188133" y="260318"/>
                  </a:cubicBezTo>
                  <a:cubicBezTo>
                    <a:pt x="1168817" y="268488"/>
                    <a:pt x="1155263" y="287615"/>
                    <a:pt x="1155264" y="309907"/>
                  </a:cubicBezTo>
                  <a:lnTo>
                    <a:pt x="1155264" y="311537"/>
                  </a:lnTo>
                  <a:lnTo>
                    <a:pt x="1111181" y="311537"/>
                  </a:lnTo>
                  <a:cubicBezTo>
                    <a:pt x="1106554" y="279855"/>
                    <a:pt x="1078943" y="256089"/>
                    <a:pt x="1045780" y="256089"/>
                  </a:cubicBezTo>
                  <a:lnTo>
                    <a:pt x="871118" y="256089"/>
                  </a:lnTo>
                  <a:cubicBezTo>
                    <a:pt x="797347" y="103936"/>
                    <a:pt x="641050" y="0"/>
                    <a:pt x="460478" y="0"/>
                  </a:cubicBezTo>
                  <a:cubicBezTo>
                    <a:pt x="428689" y="0"/>
                    <a:pt x="397652" y="3221"/>
                    <a:pt x="367676" y="9355"/>
                  </a:cubicBezTo>
                  <a:cubicBezTo>
                    <a:pt x="157843" y="52293"/>
                    <a:pt x="0" y="237952"/>
                    <a:pt x="0" y="460478"/>
                  </a:cubicBezTo>
                  <a:cubicBezTo>
                    <a:pt x="0" y="714793"/>
                    <a:pt x="206163" y="920956"/>
                    <a:pt x="460478" y="920956"/>
                  </a:cubicBezTo>
                  <a:cubicBezTo>
                    <a:pt x="626859" y="920956"/>
                    <a:pt x="772630" y="832714"/>
                    <a:pt x="852227" y="699671"/>
                  </a:cubicBezTo>
                  <a:lnTo>
                    <a:pt x="1045780" y="699671"/>
                  </a:lnTo>
                  <a:cubicBezTo>
                    <a:pt x="1078943" y="699671"/>
                    <a:pt x="1106554" y="675905"/>
                    <a:pt x="1111181" y="644224"/>
                  </a:cubicBezTo>
                  <a:lnTo>
                    <a:pt x="1155264" y="644224"/>
                  </a:lnTo>
                  <a:lnTo>
                    <a:pt x="1155264" y="645853"/>
                  </a:lnTo>
                  <a:cubicBezTo>
                    <a:pt x="1155263" y="675576"/>
                    <a:pt x="1179358" y="699671"/>
                    <a:pt x="1209081" y="699671"/>
                  </a:cubicBezTo>
                  <a:lnTo>
                    <a:pt x="1253771" y="699671"/>
                  </a:lnTo>
                  <a:cubicBezTo>
                    <a:pt x="1283495" y="699671"/>
                    <a:pt x="1307590" y="675576"/>
                    <a:pt x="1307589" y="645853"/>
                  </a:cubicBezTo>
                  <a:lnTo>
                    <a:pt x="1307589" y="644224"/>
                  </a:lnTo>
                  <a:lnTo>
                    <a:pt x="1632914" y="644224"/>
                  </a:lnTo>
                  <a:lnTo>
                    <a:pt x="1632914" y="909402"/>
                  </a:lnTo>
                  <a:lnTo>
                    <a:pt x="1882429" y="909402"/>
                  </a:lnTo>
                  <a:lnTo>
                    <a:pt x="1882429" y="644224"/>
                  </a:lnTo>
                  <a:lnTo>
                    <a:pt x="1948019" y="644224"/>
                  </a:lnTo>
                  <a:lnTo>
                    <a:pt x="1948019" y="909402"/>
                  </a:lnTo>
                  <a:lnTo>
                    <a:pt x="2197534" y="909402"/>
                  </a:lnTo>
                  <a:lnTo>
                    <a:pt x="2197534" y="644224"/>
                  </a:lnTo>
                  <a:lnTo>
                    <a:pt x="2263124" y="644224"/>
                  </a:lnTo>
                  <a:lnTo>
                    <a:pt x="2263124" y="909402"/>
                  </a:lnTo>
                  <a:lnTo>
                    <a:pt x="2512639" y="909402"/>
                  </a:lnTo>
                  <a:lnTo>
                    <a:pt x="2512639" y="611502"/>
                  </a:lnTo>
                  <a:close/>
                </a:path>
              </a:pathLst>
            </a:cu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tx1">
                    <a:lumMod val="75000"/>
                    <a:lumOff val="25000"/>
                  </a:schemeClr>
                </a:solidFill>
              </a:endParaRPr>
            </a:p>
          </p:txBody>
        </p:sp>
        <p:sp>
          <p:nvSpPr>
            <p:cNvPr id="15" name="자유형: 도형 28">
              <a:extLst>
                <a:ext uri="{FF2B5EF4-FFF2-40B4-BE49-F238E27FC236}">
                  <a16:creationId xmlns:a16="http://schemas.microsoft.com/office/drawing/2014/main" id="{1924D356-C588-3648-BB39-000012D126A8}"/>
                </a:ext>
              </a:extLst>
            </p:cNvPr>
            <p:cNvSpPr/>
            <p:nvPr/>
          </p:nvSpPr>
          <p:spPr>
            <a:xfrm>
              <a:off x="7586085" y="4785963"/>
              <a:ext cx="489183" cy="795967"/>
            </a:xfrm>
            <a:custGeom>
              <a:avLst/>
              <a:gdLst>
                <a:gd name="connsiteX0" fmla="*/ 291289 w 489183"/>
                <a:gd name="connsiteY0" fmla="*/ 454310 h 795967"/>
                <a:gd name="connsiteX1" fmla="*/ 291289 w 489183"/>
                <a:gd name="connsiteY1" fmla="*/ 660228 h 795967"/>
                <a:gd name="connsiteX2" fmla="*/ 323831 w 489183"/>
                <a:gd name="connsiteY2" fmla="*/ 647833 h 795967"/>
                <a:gd name="connsiteX3" fmla="*/ 378302 w 489183"/>
                <a:gd name="connsiteY3" fmla="*/ 541554 h 795967"/>
                <a:gd name="connsiteX4" fmla="*/ 340744 w 489183"/>
                <a:gd name="connsiteY4" fmla="*/ 479544 h 795967"/>
                <a:gd name="connsiteX5" fmla="*/ 187687 w 489183"/>
                <a:gd name="connsiteY5" fmla="*/ 139435 h 795967"/>
                <a:gd name="connsiteX6" fmla="*/ 165228 w 489183"/>
                <a:gd name="connsiteY6" fmla="*/ 148134 h 795967"/>
                <a:gd name="connsiteX7" fmla="*/ 110757 w 489183"/>
                <a:gd name="connsiteY7" fmla="*/ 254413 h 795967"/>
                <a:gd name="connsiteX8" fmla="*/ 174311 w 489183"/>
                <a:gd name="connsiteY8" fmla="*/ 327332 h 795967"/>
                <a:gd name="connsiteX9" fmla="*/ 187687 w 489183"/>
                <a:gd name="connsiteY9" fmla="*/ 331205 h 795967"/>
                <a:gd name="connsiteX10" fmla="*/ 187687 w 489183"/>
                <a:gd name="connsiteY10" fmla="*/ 0 h 795967"/>
                <a:gd name="connsiteX11" fmla="*/ 210339 w 489183"/>
                <a:gd name="connsiteY11" fmla="*/ 0 h 795967"/>
                <a:gd name="connsiteX12" fmla="*/ 276603 w 489183"/>
                <a:gd name="connsiteY12" fmla="*/ 0 h 795967"/>
                <a:gd name="connsiteX13" fmla="*/ 291289 w 489183"/>
                <a:gd name="connsiteY13" fmla="*/ 0 h 795967"/>
                <a:gd name="connsiteX14" fmla="*/ 291289 w 489183"/>
                <a:gd name="connsiteY14" fmla="*/ 41498 h 795967"/>
                <a:gd name="connsiteX15" fmla="*/ 352273 w 489183"/>
                <a:gd name="connsiteY15" fmla="*/ 56726 h 795967"/>
                <a:gd name="connsiteX16" fmla="*/ 489059 w 489183"/>
                <a:gd name="connsiteY16" fmla="*/ 232433 h 795967"/>
                <a:gd name="connsiteX17" fmla="*/ 379558 w 489183"/>
                <a:gd name="connsiteY17" fmla="*/ 235280 h 795967"/>
                <a:gd name="connsiteX18" fmla="*/ 304026 w 489183"/>
                <a:gd name="connsiteY18" fmla="*/ 138254 h 795967"/>
                <a:gd name="connsiteX19" fmla="*/ 291289 w 489183"/>
                <a:gd name="connsiteY19" fmla="*/ 134545 h 795967"/>
                <a:gd name="connsiteX20" fmla="*/ 291289 w 489183"/>
                <a:gd name="connsiteY20" fmla="*/ 355191 h 795967"/>
                <a:gd name="connsiteX21" fmla="*/ 339464 w 489183"/>
                <a:gd name="connsiteY21" fmla="*/ 367789 h 795967"/>
                <a:gd name="connsiteX22" fmla="*/ 486785 w 489183"/>
                <a:gd name="connsiteY22" fmla="*/ 528885 h 795967"/>
                <a:gd name="connsiteX23" fmla="*/ 388141 w 489183"/>
                <a:gd name="connsiteY23" fmla="*/ 721350 h 795967"/>
                <a:gd name="connsiteX24" fmla="*/ 291289 w 489183"/>
                <a:gd name="connsiteY24" fmla="*/ 753276 h 795967"/>
                <a:gd name="connsiteX25" fmla="*/ 291289 w 489183"/>
                <a:gd name="connsiteY25" fmla="*/ 795967 h 795967"/>
                <a:gd name="connsiteX26" fmla="*/ 276603 w 489183"/>
                <a:gd name="connsiteY26" fmla="*/ 795967 h 795967"/>
                <a:gd name="connsiteX27" fmla="*/ 210339 w 489183"/>
                <a:gd name="connsiteY27" fmla="*/ 795967 h 795967"/>
                <a:gd name="connsiteX28" fmla="*/ 187687 w 489183"/>
                <a:gd name="connsiteY28" fmla="*/ 795967 h 795967"/>
                <a:gd name="connsiteX29" fmla="*/ 187687 w 489183"/>
                <a:gd name="connsiteY29" fmla="*/ 752135 h 795967"/>
                <a:gd name="connsiteX30" fmla="*/ 136786 w 489183"/>
                <a:gd name="connsiteY30" fmla="*/ 739241 h 795967"/>
                <a:gd name="connsiteX31" fmla="*/ 0 w 489183"/>
                <a:gd name="connsiteY31" fmla="*/ 563534 h 795967"/>
                <a:gd name="connsiteX32" fmla="*/ 109501 w 489183"/>
                <a:gd name="connsiteY32" fmla="*/ 560687 h 795967"/>
                <a:gd name="connsiteX33" fmla="*/ 185033 w 489183"/>
                <a:gd name="connsiteY33" fmla="*/ 657713 h 795967"/>
                <a:gd name="connsiteX34" fmla="*/ 187687 w 489183"/>
                <a:gd name="connsiteY34" fmla="*/ 658503 h 795967"/>
                <a:gd name="connsiteX35" fmla="*/ 187687 w 489183"/>
                <a:gd name="connsiteY35" fmla="*/ 422939 h 795967"/>
                <a:gd name="connsiteX36" fmla="*/ 145408 w 489183"/>
                <a:gd name="connsiteY36" fmla="*/ 411544 h 795967"/>
                <a:gd name="connsiteX37" fmla="*/ 2267 w 489183"/>
                <a:gd name="connsiteY37" fmla="*/ 265623 h 795967"/>
                <a:gd name="connsiteX38" fmla="*/ 100918 w 489183"/>
                <a:gd name="connsiteY38" fmla="*/ 74617 h 795967"/>
                <a:gd name="connsiteX39" fmla="*/ 187687 w 489183"/>
                <a:gd name="connsiteY39" fmla="*/ 45628 h 795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9183" h="795967">
                  <a:moveTo>
                    <a:pt x="291289" y="454310"/>
                  </a:moveTo>
                  <a:lnTo>
                    <a:pt x="291289" y="660228"/>
                  </a:lnTo>
                  <a:lnTo>
                    <a:pt x="323831" y="647833"/>
                  </a:lnTo>
                  <a:cubicBezTo>
                    <a:pt x="364323" y="623496"/>
                    <a:pt x="385280" y="582607"/>
                    <a:pt x="378302" y="541554"/>
                  </a:cubicBezTo>
                  <a:cubicBezTo>
                    <a:pt x="371589" y="514172"/>
                    <a:pt x="358381" y="494418"/>
                    <a:pt x="340744" y="479544"/>
                  </a:cubicBezTo>
                  <a:close/>
                  <a:moveTo>
                    <a:pt x="187687" y="139435"/>
                  </a:moveTo>
                  <a:lnTo>
                    <a:pt x="165228" y="148134"/>
                  </a:lnTo>
                  <a:cubicBezTo>
                    <a:pt x="124736" y="172471"/>
                    <a:pt x="103779" y="213360"/>
                    <a:pt x="110757" y="254413"/>
                  </a:cubicBezTo>
                  <a:cubicBezTo>
                    <a:pt x="117086" y="294589"/>
                    <a:pt x="141063" y="314796"/>
                    <a:pt x="174311" y="327332"/>
                  </a:cubicBezTo>
                  <a:lnTo>
                    <a:pt x="187687" y="331205"/>
                  </a:lnTo>
                  <a:close/>
                  <a:moveTo>
                    <a:pt x="187687" y="0"/>
                  </a:moveTo>
                  <a:lnTo>
                    <a:pt x="210339" y="0"/>
                  </a:lnTo>
                  <a:lnTo>
                    <a:pt x="276603" y="0"/>
                  </a:lnTo>
                  <a:lnTo>
                    <a:pt x="291289" y="0"/>
                  </a:lnTo>
                  <a:lnTo>
                    <a:pt x="291289" y="41498"/>
                  </a:lnTo>
                  <a:lnTo>
                    <a:pt x="352273" y="56726"/>
                  </a:lnTo>
                  <a:cubicBezTo>
                    <a:pt x="433593" y="89791"/>
                    <a:pt x="486220" y="157392"/>
                    <a:pt x="489059" y="232433"/>
                  </a:cubicBezTo>
                  <a:lnTo>
                    <a:pt x="379558" y="235280"/>
                  </a:lnTo>
                  <a:cubicBezTo>
                    <a:pt x="377990" y="193842"/>
                    <a:pt x="348930" y="156512"/>
                    <a:pt x="304026" y="138254"/>
                  </a:cubicBezTo>
                  <a:lnTo>
                    <a:pt x="291289" y="134545"/>
                  </a:lnTo>
                  <a:lnTo>
                    <a:pt x="291289" y="355191"/>
                  </a:lnTo>
                  <a:lnTo>
                    <a:pt x="339464" y="367789"/>
                  </a:lnTo>
                  <a:cubicBezTo>
                    <a:pt x="401760" y="389312"/>
                    <a:pt x="459486" y="430319"/>
                    <a:pt x="486785" y="528885"/>
                  </a:cubicBezTo>
                  <a:cubicBezTo>
                    <a:pt x="499422" y="603230"/>
                    <a:pt x="461471" y="677278"/>
                    <a:pt x="388141" y="721350"/>
                  </a:cubicBezTo>
                  <a:lnTo>
                    <a:pt x="291289" y="753276"/>
                  </a:lnTo>
                  <a:lnTo>
                    <a:pt x="291289" y="795967"/>
                  </a:lnTo>
                  <a:lnTo>
                    <a:pt x="276603" y="795967"/>
                  </a:lnTo>
                  <a:lnTo>
                    <a:pt x="210339" y="795967"/>
                  </a:lnTo>
                  <a:lnTo>
                    <a:pt x="187687" y="795967"/>
                  </a:lnTo>
                  <a:lnTo>
                    <a:pt x="187687" y="752135"/>
                  </a:lnTo>
                  <a:lnTo>
                    <a:pt x="136786" y="739241"/>
                  </a:lnTo>
                  <a:cubicBezTo>
                    <a:pt x="55466" y="706176"/>
                    <a:pt x="2839" y="638575"/>
                    <a:pt x="0" y="563534"/>
                  </a:cubicBezTo>
                  <a:lnTo>
                    <a:pt x="109501" y="560687"/>
                  </a:lnTo>
                  <a:cubicBezTo>
                    <a:pt x="111068" y="602125"/>
                    <a:pt x="140129" y="639455"/>
                    <a:pt x="185033" y="657713"/>
                  </a:cubicBezTo>
                  <a:lnTo>
                    <a:pt x="187687" y="658503"/>
                  </a:lnTo>
                  <a:lnTo>
                    <a:pt x="187687" y="422939"/>
                  </a:lnTo>
                  <a:lnTo>
                    <a:pt x="145408" y="411544"/>
                  </a:lnTo>
                  <a:cubicBezTo>
                    <a:pt x="81534" y="390597"/>
                    <a:pt x="24080" y="354967"/>
                    <a:pt x="2267" y="265623"/>
                  </a:cubicBezTo>
                  <a:cubicBezTo>
                    <a:pt x="-9875" y="191787"/>
                    <a:pt x="28059" y="118406"/>
                    <a:pt x="100918" y="74617"/>
                  </a:cubicBezTo>
                  <a:lnTo>
                    <a:pt x="187687" y="4562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tx1"/>
                </a:solidFill>
              </a:endParaRPr>
            </a:p>
          </p:txBody>
        </p:sp>
        <p:sp>
          <p:nvSpPr>
            <p:cNvPr id="16" name="자유형: 도형 29">
              <a:extLst>
                <a:ext uri="{FF2B5EF4-FFF2-40B4-BE49-F238E27FC236}">
                  <a16:creationId xmlns:a16="http://schemas.microsoft.com/office/drawing/2014/main" id="{9A6BC377-F91C-5541-9C4E-95C7B1D2C8B4}"/>
                </a:ext>
              </a:extLst>
            </p:cNvPr>
            <p:cNvSpPr>
              <a:spLocks noChangeAspect="1"/>
            </p:cNvSpPr>
            <p:nvPr/>
          </p:nvSpPr>
          <p:spPr>
            <a:xfrm rot="16200000">
              <a:off x="4604303" y="3290309"/>
              <a:ext cx="3830526" cy="1404000"/>
            </a:xfrm>
            <a:custGeom>
              <a:avLst/>
              <a:gdLst>
                <a:gd name="connsiteX0" fmla="*/ 2512640 w 2512640"/>
                <a:gd name="connsiteY0" fmla="*/ 611501 h 920956"/>
                <a:gd name="connsiteX1" fmla="*/ 2512640 w 2512640"/>
                <a:gd name="connsiteY1" fmla="*/ 344260 h 920956"/>
                <a:gd name="connsiteX2" fmla="*/ 2479916 w 2512640"/>
                <a:gd name="connsiteY2" fmla="*/ 311537 h 920956"/>
                <a:gd name="connsiteX3" fmla="*/ 1307590 w 2512640"/>
                <a:gd name="connsiteY3" fmla="*/ 311537 h 920956"/>
                <a:gd name="connsiteX4" fmla="*/ 1307589 w 2512640"/>
                <a:gd name="connsiteY4" fmla="*/ 309907 h 920956"/>
                <a:gd name="connsiteX5" fmla="*/ 1253772 w 2512640"/>
                <a:gd name="connsiteY5" fmla="*/ 256089 h 920956"/>
                <a:gd name="connsiteX6" fmla="*/ 1209081 w 2512640"/>
                <a:gd name="connsiteY6" fmla="*/ 256089 h 920956"/>
                <a:gd name="connsiteX7" fmla="*/ 1188133 w 2512640"/>
                <a:gd name="connsiteY7" fmla="*/ 260318 h 920956"/>
                <a:gd name="connsiteX8" fmla="*/ 1155264 w 2512640"/>
                <a:gd name="connsiteY8" fmla="*/ 309907 h 920956"/>
                <a:gd name="connsiteX9" fmla="*/ 1155264 w 2512640"/>
                <a:gd name="connsiteY9" fmla="*/ 311537 h 920956"/>
                <a:gd name="connsiteX10" fmla="*/ 1111181 w 2512640"/>
                <a:gd name="connsiteY10" fmla="*/ 311537 h 920956"/>
                <a:gd name="connsiteX11" fmla="*/ 1045780 w 2512640"/>
                <a:gd name="connsiteY11" fmla="*/ 256089 h 920956"/>
                <a:gd name="connsiteX12" fmla="*/ 871118 w 2512640"/>
                <a:gd name="connsiteY12" fmla="*/ 256089 h 920956"/>
                <a:gd name="connsiteX13" fmla="*/ 460478 w 2512640"/>
                <a:gd name="connsiteY13" fmla="*/ 0 h 920956"/>
                <a:gd name="connsiteX14" fmla="*/ 367676 w 2512640"/>
                <a:gd name="connsiteY14" fmla="*/ 9355 h 920956"/>
                <a:gd name="connsiteX15" fmla="*/ 0 w 2512640"/>
                <a:gd name="connsiteY15" fmla="*/ 460478 h 920956"/>
                <a:gd name="connsiteX16" fmla="*/ 460478 w 2512640"/>
                <a:gd name="connsiteY16" fmla="*/ 920956 h 920956"/>
                <a:gd name="connsiteX17" fmla="*/ 852227 w 2512640"/>
                <a:gd name="connsiteY17" fmla="*/ 699671 h 920956"/>
                <a:gd name="connsiteX18" fmla="*/ 1045780 w 2512640"/>
                <a:gd name="connsiteY18" fmla="*/ 699671 h 920956"/>
                <a:gd name="connsiteX19" fmla="*/ 1111181 w 2512640"/>
                <a:gd name="connsiteY19" fmla="*/ 644224 h 920956"/>
                <a:gd name="connsiteX20" fmla="*/ 1155264 w 2512640"/>
                <a:gd name="connsiteY20" fmla="*/ 644224 h 920956"/>
                <a:gd name="connsiteX21" fmla="*/ 1155264 w 2512640"/>
                <a:gd name="connsiteY21" fmla="*/ 645853 h 920956"/>
                <a:gd name="connsiteX22" fmla="*/ 1209081 w 2512640"/>
                <a:gd name="connsiteY22" fmla="*/ 699671 h 920956"/>
                <a:gd name="connsiteX23" fmla="*/ 1253771 w 2512640"/>
                <a:gd name="connsiteY23" fmla="*/ 699671 h 920956"/>
                <a:gd name="connsiteX24" fmla="*/ 1307589 w 2512640"/>
                <a:gd name="connsiteY24" fmla="*/ 645853 h 920956"/>
                <a:gd name="connsiteX25" fmla="*/ 1307589 w 2512640"/>
                <a:gd name="connsiteY25" fmla="*/ 644224 h 920956"/>
                <a:gd name="connsiteX26" fmla="*/ 1632914 w 2512640"/>
                <a:gd name="connsiteY26" fmla="*/ 644224 h 920956"/>
                <a:gd name="connsiteX27" fmla="*/ 1632914 w 2512640"/>
                <a:gd name="connsiteY27" fmla="*/ 909402 h 920956"/>
                <a:gd name="connsiteX28" fmla="*/ 1882429 w 2512640"/>
                <a:gd name="connsiteY28" fmla="*/ 909402 h 920956"/>
                <a:gd name="connsiteX29" fmla="*/ 1882429 w 2512640"/>
                <a:gd name="connsiteY29" fmla="*/ 644224 h 920956"/>
                <a:gd name="connsiteX30" fmla="*/ 1948019 w 2512640"/>
                <a:gd name="connsiteY30" fmla="*/ 644224 h 920956"/>
                <a:gd name="connsiteX31" fmla="*/ 1948019 w 2512640"/>
                <a:gd name="connsiteY31" fmla="*/ 909402 h 920956"/>
                <a:gd name="connsiteX32" fmla="*/ 2197534 w 2512640"/>
                <a:gd name="connsiteY32" fmla="*/ 909402 h 920956"/>
                <a:gd name="connsiteX33" fmla="*/ 2197534 w 2512640"/>
                <a:gd name="connsiteY33" fmla="*/ 644224 h 920956"/>
                <a:gd name="connsiteX34" fmla="*/ 2263124 w 2512640"/>
                <a:gd name="connsiteY34" fmla="*/ 644224 h 920956"/>
                <a:gd name="connsiteX35" fmla="*/ 2263124 w 2512640"/>
                <a:gd name="connsiteY35" fmla="*/ 909402 h 920956"/>
                <a:gd name="connsiteX36" fmla="*/ 2512639 w 2512640"/>
                <a:gd name="connsiteY36" fmla="*/ 909402 h 920956"/>
                <a:gd name="connsiteX37" fmla="*/ 2512639 w 2512640"/>
                <a:gd name="connsiteY37" fmla="*/ 611502 h 92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12640" h="920956">
                  <a:moveTo>
                    <a:pt x="2512640" y="611501"/>
                  </a:moveTo>
                  <a:lnTo>
                    <a:pt x="2512640" y="344260"/>
                  </a:lnTo>
                  <a:cubicBezTo>
                    <a:pt x="2512639" y="326188"/>
                    <a:pt x="2497988" y="311537"/>
                    <a:pt x="2479916" y="311537"/>
                  </a:cubicBezTo>
                  <a:lnTo>
                    <a:pt x="1307590" y="311537"/>
                  </a:lnTo>
                  <a:lnTo>
                    <a:pt x="1307589" y="309907"/>
                  </a:lnTo>
                  <a:cubicBezTo>
                    <a:pt x="1307589" y="280184"/>
                    <a:pt x="1283495" y="256089"/>
                    <a:pt x="1253772" y="256089"/>
                  </a:cubicBezTo>
                  <a:lnTo>
                    <a:pt x="1209081" y="256089"/>
                  </a:lnTo>
                  <a:cubicBezTo>
                    <a:pt x="1201651" y="256089"/>
                    <a:pt x="1194572" y="257595"/>
                    <a:pt x="1188133" y="260318"/>
                  </a:cubicBezTo>
                  <a:cubicBezTo>
                    <a:pt x="1168817" y="268488"/>
                    <a:pt x="1155263" y="287615"/>
                    <a:pt x="1155264" y="309907"/>
                  </a:cubicBezTo>
                  <a:lnTo>
                    <a:pt x="1155264" y="311537"/>
                  </a:lnTo>
                  <a:lnTo>
                    <a:pt x="1111181" y="311537"/>
                  </a:lnTo>
                  <a:cubicBezTo>
                    <a:pt x="1106554" y="279855"/>
                    <a:pt x="1078943" y="256089"/>
                    <a:pt x="1045780" y="256089"/>
                  </a:cubicBezTo>
                  <a:lnTo>
                    <a:pt x="871118" y="256089"/>
                  </a:lnTo>
                  <a:cubicBezTo>
                    <a:pt x="797347" y="103936"/>
                    <a:pt x="641050" y="0"/>
                    <a:pt x="460478" y="0"/>
                  </a:cubicBezTo>
                  <a:cubicBezTo>
                    <a:pt x="428689" y="0"/>
                    <a:pt x="397652" y="3221"/>
                    <a:pt x="367676" y="9355"/>
                  </a:cubicBezTo>
                  <a:cubicBezTo>
                    <a:pt x="157843" y="52293"/>
                    <a:pt x="0" y="237952"/>
                    <a:pt x="0" y="460478"/>
                  </a:cubicBezTo>
                  <a:cubicBezTo>
                    <a:pt x="0" y="714793"/>
                    <a:pt x="206163" y="920956"/>
                    <a:pt x="460478" y="920956"/>
                  </a:cubicBezTo>
                  <a:cubicBezTo>
                    <a:pt x="626859" y="920956"/>
                    <a:pt x="772630" y="832714"/>
                    <a:pt x="852227" y="699671"/>
                  </a:cubicBezTo>
                  <a:lnTo>
                    <a:pt x="1045780" y="699671"/>
                  </a:lnTo>
                  <a:cubicBezTo>
                    <a:pt x="1078943" y="699671"/>
                    <a:pt x="1106554" y="675905"/>
                    <a:pt x="1111181" y="644224"/>
                  </a:cubicBezTo>
                  <a:lnTo>
                    <a:pt x="1155264" y="644224"/>
                  </a:lnTo>
                  <a:lnTo>
                    <a:pt x="1155264" y="645853"/>
                  </a:lnTo>
                  <a:cubicBezTo>
                    <a:pt x="1155263" y="675576"/>
                    <a:pt x="1179358" y="699671"/>
                    <a:pt x="1209081" y="699671"/>
                  </a:cubicBezTo>
                  <a:lnTo>
                    <a:pt x="1253771" y="699671"/>
                  </a:lnTo>
                  <a:cubicBezTo>
                    <a:pt x="1283495" y="699671"/>
                    <a:pt x="1307590" y="675576"/>
                    <a:pt x="1307589" y="645853"/>
                  </a:cubicBezTo>
                  <a:lnTo>
                    <a:pt x="1307589" y="644224"/>
                  </a:lnTo>
                  <a:lnTo>
                    <a:pt x="1632914" y="644224"/>
                  </a:lnTo>
                  <a:lnTo>
                    <a:pt x="1632914" y="909402"/>
                  </a:lnTo>
                  <a:lnTo>
                    <a:pt x="1882429" y="909402"/>
                  </a:lnTo>
                  <a:lnTo>
                    <a:pt x="1882429" y="644224"/>
                  </a:lnTo>
                  <a:lnTo>
                    <a:pt x="1948019" y="644224"/>
                  </a:lnTo>
                  <a:lnTo>
                    <a:pt x="1948019" y="909402"/>
                  </a:lnTo>
                  <a:lnTo>
                    <a:pt x="2197534" y="909402"/>
                  </a:lnTo>
                  <a:lnTo>
                    <a:pt x="2197534" y="644224"/>
                  </a:lnTo>
                  <a:lnTo>
                    <a:pt x="2263124" y="644224"/>
                  </a:lnTo>
                  <a:lnTo>
                    <a:pt x="2263124" y="909402"/>
                  </a:lnTo>
                  <a:lnTo>
                    <a:pt x="2512639" y="909402"/>
                  </a:lnTo>
                  <a:lnTo>
                    <a:pt x="2512639" y="611502"/>
                  </a:lnTo>
                  <a:close/>
                </a:path>
              </a:pathLst>
            </a:cu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tx1">
                    <a:lumMod val="75000"/>
                    <a:lumOff val="25000"/>
                  </a:schemeClr>
                </a:solidFill>
              </a:endParaRPr>
            </a:p>
          </p:txBody>
        </p:sp>
        <p:sp>
          <p:nvSpPr>
            <p:cNvPr id="17" name="자유형: 도형 30">
              <a:extLst>
                <a:ext uri="{FF2B5EF4-FFF2-40B4-BE49-F238E27FC236}">
                  <a16:creationId xmlns:a16="http://schemas.microsoft.com/office/drawing/2014/main" id="{86253593-AA1A-F34D-B956-65D4195D4675}"/>
                </a:ext>
              </a:extLst>
            </p:cNvPr>
            <p:cNvSpPr>
              <a:spLocks noChangeAspect="1"/>
            </p:cNvSpPr>
            <p:nvPr/>
          </p:nvSpPr>
          <p:spPr>
            <a:xfrm rot="16200000">
              <a:off x="3548519" y="3491636"/>
              <a:ext cx="3535869" cy="1296000"/>
            </a:xfrm>
            <a:custGeom>
              <a:avLst/>
              <a:gdLst>
                <a:gd name="connsiteX0" fmla="*/ 2512640 w 2512640"/>
                <a:gd name="connsiteY0" fmla="*/ 611501 h 920956"/>
                <a:gd name="connsiteX1" fmla="*/ 2512640 w 2512640"/>
                <a:gd name="connsiteY1" fmla="*/ 344260 h 920956"/>
                <a:gd name="connsiteX2" fmla="*/ 2479916 w 2512640"/>
                <a:gd name="connsiteY2" fmla="*/ 311537 h 920956"/>
                <a:gd name="connsiteX3" fmla="*/ 1307590 w 2512640"/>
                <a:gd name="connsiteY3" fmla="*/ 311537 h 920956"/>
                <a:gd name="connsiteX4" fmla="*/ 1307589 w 2512640"/>
                <a:gd name="connsiteY4" fmla="*/ 309907 h 920956"/>
                <a:gd name="connsiteX5" fmla="*/ 1253772 w 2512640"/>
                <a:gd name="connsiteY5" fmla="*/ 256089 h 920956"/>
                <a:gd name="connsiteX6" fmla="*/ 1209081 w 2512640"/>
                <a:gd name="connsiteY6" fmla="*/ 256089 h 920956"/>
                <a:gd name="connsiteX7" fmla="*/ 1188133 w 2512640"/>
                <a:gd name="connsiteY7" fmla="*/ 260318 h 920956"/>
                <a:gd name="connsiteX8" fmla="*/ 1155264 w 2512640"/>
                <a:gd name="connsiteY8" fmla="*/ 309907 h 920956"/>
                <a:gd name="connsiteX9" fmla="*/ 1155264 w 2512640"/>
                <a:gd name="connsiteY9" fmla="*/ 311537 h 920956"/>
                <a:gd name="connsiteX10" fmla="*/ 1111181 w 2512640"/>
                <a:gd name="connsiteY10" fmla="*/ 311537 h 920956"/>
                <a:gd name="connsiteX11" fmla="*/ 1045780 w 2512640"/>
                <a:gd name="connsiteY11" fmla="*/ 256089 h 920956"/>
                <a:gd name="connsiteX12" fmla="*/ 871118 w 2512640"/>
                <a:gd name="connsiteY12" fmla="*/ 256089 h 920956"/>
                <a:gd name="connsiteX13" fmla="*/ 460478 w 2512640"/>
                <a:gd name="connsiteY13" fmla="*/ 0 h 920956"/>
                <a:gd name="connsiteX14" fmla="*/ 367676 w 2512640"/>
                <a:gd name="connsiteY14" fmla="*/ 9355 h 920956"/>
                <a:gd name="connsiteX15" fmla="*/ 0 w 2512640"/>
                <a:gd name="connsiteY15" fmla="*/ 460478 h 920956"/>
                <a:gd name="connsiteX16" fmla="*/ 460478 w 2512640"/>
                <a:gd name="connsiteY16" fmla="*/ 920956 h 920956"/>
                <a:gd name="connsiteX17" fmla="*/ 852227 w 2512640"/>
                <a:gd name="connsiteY17" fmla="*/ 699671 h 920956"/>
                <a:gd name="connsiteX18" fmla="*/ 1045780 w 2512640"/>
                <a:gd name="connsiteY18" fmla="*/ 699671 h 920956"/>
                <a:gd name="connsiteX19" fmla="*/ 1111181 w 2512640"/>
                <a:gd name="connsiteY19" fmla="*/ 644224 h 920956"/>
                <a:gd name="connsiteX20" fmla="*/ 1155264 w 2512640"/>
                <a:gd name="connsiteY20" fmla="*/ 644224 h 920956"/>
                <a:gd name="connsiteX21" fmla="*/ 1155264 w 2512640"/>
                <a:gd name="connsiteY21" fmla="*/ 645853 h 920956"/>
                <a:gd name="connsiteX22" fmla="*/ 1209081 w 2512640"/>
                <a:gd name="connsiteY22" fmla="*/ 699671 h 920956"/>
                <a:gd name="connsiteX23" fmla="*/ 1253771 w 2512640"/>
                <a:gd name="connsiteY23" fmla="*/ 699671 h 920956"/>
                <a:gd name="connsiteX24" fmla="*/ 1307589 w 2512640"/>
                <a:gd name="connsiteY24" fmla="*/ 645853 h 920956"/>
                <a:gd name="connsiteX25" fmla="*/ 1307589 w 2512640"/>
                <a:gd name="connsiteY25" fmla="*/ 644224 h 920956"/>
                <a:gd name="connsiteX26" fmla="*/ 1632914 w 2512640"/>
                <a:gd name="connsiteY26" fmla="*/ 644224 h 920956"/>
                <a:gd name="connsiteX27" fmla="*/ 1632914 w 2512640"/>
                <a:gd name="connsiteY27" fmla="*/ 909402 h 920956"/>
                <a:gd name="connsiteX28" fmla="*/ 1882429 w 2512640"/>
                <a:gd name="connsiteY28" fmla="*/ 909402 h 920956"/>
                <a:gd name="connsiteX29" fmla="*/ 1882429 w 2512640"/>
                <a:gd name="connsiteY29" fmla="*/ 644224 h 920956"/>
                <a:gd name="connsiteX30" fmla="*/ 1948019 w 2512640"/>
                <a:gd name="connsiteY30" fmla="*/ 644224 h 920956"/>
                <a:gd name="connsiteX31" fmla="*/ 1948019 w 2512640"/>
                <a:gd name="connsiteY31" fmla="*/ 909402 h 920956"/>
                <a:gd name="connsiteX32" fmla="*/ 2197534 w 2512640"/>
                <a:gd name="connsiteY32" fmla="*/ 909402 h 920956"/>
                <a:gd name="connsiteX33" fmla="*/ 2197534 w 2512640"/>
                <a:gd name="connsiteY33" fmla="*/ 644224 h 920956"/>
                <a:gd name="connsiteX34" fmla="*/ 2263124 w 2512640"/>
                <a:gd name="connsiteY34" fmla="*/ 644224 h 920956"/>
                <a:gd name="connsiteX35" fmla="*/ 2263124 w 2512640"/>
                <a:gd name="connsiteY35" fmla="*/ 909402 h 920956"/>
                <a:gd name="connsiteX36" fmla="*/ 2512639 w 2512640"/>
                <a:gd name="connsiteY36" fmla="*/ 909402 h 920956"/>
                <a:gd name="connsiteX37" fmla="*/ 2512639 w 2512640"/>
                <a:gd name="connsiteY37" fmla="*/ 611502 h 92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12640" h="920956">
                  <a:moveTo>
                    <a:pt x="2512640" y="611501"/>
                  </a:moveTo>
                  <a:lnTo>
                    <a:pt x="2512640" y="344260"/>
                  </a:lnTo>
                  <a:cubicBezTo>
                    <a:pt x="2512639" y="326188"/>
                    <a:pt x="2497988" y="311537"/>
                    <a:pt x="2479916" y="311537"/>
                  </a:cubicBezTo>
                  <a:lnTo>
                    <a:pt x="1307590" y="311537"/>
                  </a:lnTo>
                  <a:lnTo>
                    <a:pt x="1307589" y="309907"/>
                  </a:lnTo>
                  <a:cubicBezTo>
                    <a:pt x="1307589" y="280184"/>
                    <a:pt x="1283495" y="256089"/>
                    <a:pt x="1253772" y="256089"/>
                  </a:cubicBezTo>
                  <a:lnTo>
                    <a:pt x="1209081" y="256089"/>
                  </a:lnTo>
                  <a:cubicBezTo>
                    <a:pt x="1201651" y="256089"/>
                    <a:pt x="1194572" y="257595"/>
                    <a:pt x="1188133" y="260318"/>
                  </a:cubicBezTo>
                  <a:cubicBezTo>
                    <a:pt x="1168817" y="268488"/>
                    <a:pt x="1155263" y="287615"/>
                    <a:pt x="1155264" y="309907"/>
                  </a:cubicBezTo>
                  <a:lnTo>
                    <a:pt x="1155264" y="311537"/>
                  </a:lnTo>
                  <a:lnTo>
                    <a:pt x="1111181" y="311537"/>
                  </a:lnTo>
                  <a:cubicBezTo>
                    <a:pt x="1106554" y="279855"/>
                    <a:pt x="1078943" y="256089"/>
                    <a:pt x="1045780" y="256089"/>
                  </a:cubicBezTo>
                  <a:lnTo>
                    <a:pt x="871118" y="256089"/>
                  </a:lnTo>
                  <a:cubicBezTo>
                    <a:pt x="797347" y="103936"/>
                    <a:pt x="641050" y="0"/>
                    <a:pt x="460478" y="0"/>
                  </a:cubicBezTo>
                  <a:cubicBezTo>
                    <a:pt x="428689" y="0"/>
                    <a:pt x="397652" y="3221"/>
                    <a:pt x="367676" y="9355"/>
                  </a:cubicBezTo>
                  <a:cubicBezTo>
                    <a:pt x="157843" y="52293"/>
                    <a:pt x="0" y="237952"/>
                    <a:pt x="0" y="460478"/>
                  </a:cubicBezTo>
                  <a:cubicBezTo>
                    <a:pt x="0" y="714793"/>
                    <a:pt x="206163" y="920956"/>
                    <a:pt x="460478" y="920956"/>
                  </a:cubicBezTo>
                  <a:cubicBezTo>
                    <a:pt x="626859" y="920956"/>
                    <a:pt x="772630" y="832714"/>
                    <a:pt x="852227" y="699671"/>
                  </a:cubicBezTo>
                  <a:lnTo>
                    <a:pt x="1045780" y="699671"/>
                  </a:lnTo>
                  <a:cubicBezTo>
                    <a:pt x="1078943" y="699671"/>
                    <a:pt x="1106554" y="675905"/>
                    <a:pt x="1111181" y="644224"/>
                  </a:cubicBezTo>
                  <a:lnTo>
                    <a:pt x="1155264" y="644224"/>
                  </a:lnTo>
                  <a:lnTo>
                    <a:pt x="1155264" y="645853"/>
                  </a:lnTo>
                  <a:cubicBezTo>
                    <a:pt x="1155263" y="675576"/>
                    <a:pt x="1179358" y="699671"/>
                    <a:pt x="1209081" y="699671"/>
                  </a:cubicBezTo>
                  <a:lnTo>
                    <a:pt x="1253771" y="699671"/>
                  </a:lnTo>
                  <a:cubicBezTo>
                    <a:pt x="1283495" y="699671"/>
                    <a:pt x="1307590" y="675576"/>
                    <a:pt x="1307589" y="645853"/>
                  </a:cubicBezTo>
                  <a:lnTo>
                    <a:pt x="1307589" y="644224"/>
                  </a:lnTo>
                  <a:lnTo>
                    <a:pt x="1632914" y="644224"/>
                  </a:lnTo>
                  <a:lnTo>
                    <a:pt x="1632914" y="909402"/>
                  </a:lnTo>
                  <a:lnTo>
                    <a:pt x="1882429" y="909402"/>
                  </a:lnTo>
                  <a:lnTo>
                    <a:pt x="1882429" y="644224"/>
                  </a:lnTo>
                  <a:lnTo>
                    <a:pt x="1948019" y="644224"/>
                  </a:lnTo>
                  <a:lnTo>
                    <a:pt x="1948019" y="909402"/>
                  </a:lnTo>
                  <a:lnTo>
                    <a:pt x="2197534" y="909402"/>
                  </a:lnTo>
                  <a:lnTo>
                    <a:pt x="2197534" y="644224"/>
                  </a:lnTo>
                  <a:lnTo>
                    <a:pt x="2263124" y="644224"/>
                  </a:lnTo>
                  <a:lnTo>
                    <a:pt x="2263124" y="909402"/>
                  </a:lnTo>
                  <a:lnTo>
                    <a:pt x="2512639" y="909402"/>
                  </a:lnTo>
                  <a:lnTo>
                    <a:pt x="2512639" y="611502"/>
                  </a:lnTo>
                  <a:close/>
                </a:path>
              </a:pathLst>
            </a:cu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tx1">
                    <a:lumMod val="75000"/>
                    <a:lumOff val="25000"/>
                  </a:schemeClr>
                </a:solidFill>
              </a:endParaRPr>
            </a:p>
          </p:txBody>
        </p:sp>
        <p:sp>
          <p:nvSpPr>
            <p:cNvPr id="18" name="자유형: 도형 31">
              <a:extLst>
                <a:ext uri="{FF2B5EF4-FFF2-40B4-BE49-F238E27FC236}">
                  <a16:creationId xmlns:a16="http://schemas.microsoft.com/office/drawing/2014/main" id="{6D394B6E-572D-0344-8EC2-D4BDE408C804}"/>
                </a:ext>
              </a:extLst>
            </p:cNvPr>
            <p:cNvSpPr>
              <a:spLocks noChangeAspect="1"/>
            </p:cNvSpPr>
            <p:nvPr/>
          </p:nvSpPr>
          <p:spPr>
            <a:xfrm rot="16200000">
              <a:off x="2600736" y="3692965"/>
              <a:ext cx="3241212" cy="1188000"/>
            </a:xfrm>
            <a:custGeom>
              <a:avLst/>
              <a:gdLst>
                <a:gd name="connsiteX0" fmla="*/ 2512640 w 2512640"/>
                <a:gd name="connsiteY0" fmla="*/ 611501 h 920956"/>
                <a:gd name="connsiteX1" fmla="*/ 2512640 w 2512640"/>
                <a:gd name="connsiteY1" fmla="*/ 344260 h 920956"/>
                <a:gd name="connsiteX2" fmla="*/ 2479916 w 2512640"/>
                <a:gd name="connsiteY2" fmla="*/ 311537 h 920956"/>
                <a:gd name="connsiteX3" fmla="*/ 1307590 w 2512640"/>
                <a:gd name="connsiteY3" fmla="*/ 311537 h 920956"/>
                <a:gd name="connsiteX4" fmla="*/ 1307589 w 2512640"/>
                <a:gd name="connsiteY4" fmla="*/ 309907 h 920956"/>
                <a:gd name="connsiteX5" fmla="*/ 1253772 w 2512640"/>
                <a:gd name="connsiteY5" fmla="*/ 256089 h 920956"/>
                <a:gd name="connsiteX6" fmla="*/ 1209081 w 2512640"/>
                <a:gd name="connsiteY6" fmla="*/ 256089 h 920956"/>
                <a:gd name="connsiteX7" fmla="*/ 1188133 w 2512640"/>
                <a:gd name="connsiteY7" fmla="*/ 260318 h 920956"/>
                <a:gd name="connsiteX8" fmla="*/ 1155264 w 2512640"/>
                <a:gd name="connsiteY8" fmla="*/ 309907 h 920956"/>
                <a:gd name="connsiteX9" fmla="*/ 1155264 w 2512640"/>
                <a:gd name="connsiteY9" fmla="*/ 311537 h 920956"/>
                <a:gd name="connsiteX10" fmla="*/ 1111181 w 2512640"/>
                <a:gd name="connsiteY10" fmla="*/ 311537 h 920956"/>
                <a:gd name="connsiteX11" fmla="*/ 1045780 w 2512640"/>
                <a:gd name="connsiteY11" fmla="*/ 256089 h 920956"/>
                <a:gd name="connsiteX12" fmla="*/ 871118 w 2512640"/>
                <a:gd name="connsiteY12" fmla="*/ 256089 h 920956"/>
                <a:gd name="connsiteX13" fmla="*/ 460478 w 2512640"/>
                <a:gd name="connsiteY13" fmla="*/ 0 h 920956"/>
                <a:gd name="connsiteX14" fmla="*/ 367676 w 2512640"/>
                <a:gd name="connsiteY14" fmla="*/ 9355 h 920956"/>
                <a:gd name="connsiteX15" fmla="*/ 0 w 2512640"/>
                <a:gd name="connsiteY15" fmla="*/ 460478 h 920956"/>
                <a:gd name="connsiteX16" fmla="*/ 460478 w 2512640"/>
                <a:gd name="connsiteY16" fmla="*/ 920956 h 920956"/>
                <a:gd name="connsiteX17" fmla="*/ 852227 w 2512640"/>
                <a:gd name="connsiteY17" fmla="*/ 699671 h 920956"/>
                <a:gd name="connsiteX18" fmla="*/ 1045780 w 2512640"/>
                <a:gd name="connsiteY18" fmla="*/ 699671 h 920956"/>
                <a:gd name="connsiteX19" fmla="*/ 1111181 w 2512640"/>
                <a:gd name="connsiteY19" fmla="*/ 644224 h 920956"/>
                <a:gd name="connsiteX20" fmla="*/ 1155264 w 2512640"/>
                <a:gd name="connsiteY20" fmla="*/ 644224 h 920956"/>
                <a:gd name="connsiteX21" fmla="*/ 1155264 w 2512640"/>
                <a:gd name="connsiteY21" fmla="*/ 645853 h 920956"/>
                <a:gd name="connsiteX22" fmla="*/ 1209081 w 2512640"/>
                <a:gd name="connsiteY22" fmla="*/ 699671 h 920956"/>
                <a:gd name="connsiteX23" fmla="*/ 1253771 w 2512640"/>
                <a:gd name="connsiteY23" fmla="*/ 699671 h 920956"/>
                <a:gd name="connsiteX24" fmla="*/ 1307589 w 2512640"/>
                <a:gd name="connsiteY24" fmla="*/ 645853 h 920956"/>
                <a:gd name="connsiteX25" fmla="*/ 1307589 w 2512640"/>
                <a:gd name="connsiteY25" fmla="*/ 644224 h 920956"/>
                <a:gd name="connsiteX26" fmla="*/ 1632914 w 2512640"/>
                <a:gd name="connsiteY26" fmla="*/ 644224 h 920956"/>
                <a:gd name="connsiteX27" fmla="*/ 1632914 w 2512640"/>
                <a:gd name="connsiteY27" fmla="*/ 909402 h 920956"/>
                <a:gd name="connsiteX28" fmla="*/ 1882429 w 2512640"/>
                <a:gd name="connsiteY28" fmla="*/ 909402 h 920956"/>
                <a:gd name="connsiteX29" fmla="*/ 1882429 w 2512640"/>
                <a:gd name="connsiteY29" fmla="*/ 644224 h 920956"/>
                <a:gd name="connsiteX30" fmla="*/ 1948019 w 2512640"/>
                <a:gd name="connsiteY30" fmla="*/ 644224 h 920956"/>
                <a:gd name="connsiteX31" fmla="*/ 1948019 w 2512640"/>
                <a:gd name="connsiteY31" fmla="*/ 909402 h 920956"/>
                <a:gd name="connsiteX32" fmla="*/ 2197534 w 2512640"/>
                <a:gd name="connsiteY32" fmla="*/ 909402 h 920956"/>
                <a:gd name="connsiteX33" fmla="*/ 2197534 w 2512640"/>
                <a:gd name="connsiteY33" fmla="*/ 644224 h 920956"/>
                <a:gd name="connsiteX34" fmla="*/ 2263124 w 2512640"/>
                <a:gd name="connsiteY34" fmla="*/ 644224 h 920956"/>
                <a:gd name="connsiteX35" fmla="*/ 2263124 w 2512640"/>
                <a:gd name="connsiteY35" fmla="*/ 909402 h 920956"/>
                <a:gd name="connsiteX36" fmla="*/ 2512639 w 2512640"/>
                <a:gd name="connsiteY36" fmla="*/ 909402 h 920956"/>
                <a:gd name="connsiteX37" fmla="*/ 2512639 w 2512640"/>
                <a:gd name="connsiteY37" fmla="*/ 611502 h 92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12640" h="920956">
                  <a:moveTo>
                    <a:pt x="2512640" y="611501"/>
                  </a:moveTo>
                  <a:lnTo>
                    <a:pt x="2512640" y="344260"/>
                  </a:lnTo>
                  <a:cubicBezTo>
                    <a:pt x="2512639" y="326188"/>
                    <a:pt x="2497988" y="311537"/>
                    <a:pt x="2479916" y="311537"/>
                  </a:cubicBezTo>
                  <a:lnTo>
                    <a:pt x="1307590" y="311537"/>
                  </a:lnTo>
                  <a:lnTo>
                    <a:pt x="1307589" y="309907"/>
                  </a:lnTo>
                  <a:cubicBezTo>
                    <a:pt x="1307589" y="280184"/>
                    <a:pt x="1283495" y="256089"/>
                    <a:pt x="1253772" y="256089"/>
                  </a:cubicBezTo>
                  <a:lnTo>
                    <a:pt x="1209081" y="256089"/>
                  </a:lnTo>
                  <a:cubicBezTo>
                    <a:pt x="1201651" y="256089"/>
                    <a:pt x="1194572" y="257595"/>
                    <a:pt x="1188133" y="260318"/>
                  </a:cubicBezTo>
                  <a:cubicBezTo>
                    <a:pt x="1168817" y="268488"/>
                    <a:pt x="1155263" y="287615"/>
                    <a:pt x="1155264" y="309907"/>
                  </a:cubicBezTo>
                  <a:lnTo>
                    <a:pt x="1155264" y="311537"/>
                  </a:lnTo>
                  <a:lnTo>
                    <a:pt x="1111181" y="311537"/>
                  </a:lnTo>
                  <a:cubicBezTo>
                    <a:pt x="1106554" y="279855"/>
                    <a:pt x="1078943" y="256089"/>
                    <a:pt x="1045780" y="256089"/>
                  </a:cubicBezTo>
                  <a:lnTo>
                    <a:pt x="871118" y="256089"/>
                  </a:lnTo>
                  <a:cubicBezTo>
                    <a:pt x="797347" y="103936"/>
                    <a:pt x="641050" y="0"/>
                    <a:pt x="460478" y="0"/>
                  </a:cubicBezTo>
                  <a:cubicBezTo>
                    <a:pt x="428689" y="0"/>
                    <a:pt x="397652" y="3221"/>
                    <a:pt x="367676" y="9355"/>
                  </a:cubicBezTo>
                  <a:cubicBezTo>
                    <a:pt x="157843" y="52293"/>
                    <a:pt x="0" y="237952"/>
                    <a:pt x="0" y="460478"/>
                  </a:cubicBezTo>
                  <a:cubicBezTo>
                    <a:pt x="0" y="714793"/>
                    <a:pt x="206163" y="920956"/>
                    <a:pt x="460478" y="920956"/>
                  </a:cubicBezTo>
                  <a:cubicBezTo>
                    <a:pt x="626859" y="920956"/>
                    <a:pt x="772630" y="832714"/>
                    <a:pt x="852227" y="699671"/>
                  </a:cubicBezTo>
                  <a:lnTo>
                    <a:pt x="1045780" y="699671"/>
                  </a:lnTo>
                  <a:cubicBezTo>
                    <a:pt x="1078943" y="699671"/>
                    <a:pt x="1106554" y="675905"/>
                    <a:pt x="1111181" y="644224"/>
                  </a:cubicBezTo>
                  <a:lnTo>
                    <a:pt x="1155264" y="644224"/>
                  </a:lnTo>
                  <a:lnTo>
                    <a:pt x="1155264" y="645853"/>
                  </a:lnTo>
                  <a:cubicBezTo>
                    <a:pt x="1155263" y="675576"/>
                    <a:pt x="1179358" y="699671"/>
                    <a:pt x="1209081" y="699671"/>
                  </a:cubicBezTo>
                  <a:lnTo>
                    <a:pt x="1253771" y="699671"/>
                  </a:lnTo>
                  <a:cubicBezTo>
                    <a:pt x="1283495" y="699671"/>
                    <a:pt x="1307590" y="675576"/>
                    <a:pt x="1307589" y="645853"/>
                  </a:cubicBezTo>
                  <a:lnTo>
                    <a:pt x="1307589" y="644224"/>
                  </a:lnTo>
                  <a:lnTo>
                    <a:pt x="1632914" y="644224"/>
                  </a:lnTo>
                  <a:lnTo>
                    <a:pt x="1632914" y="909402"/>
                  </a:lnTo>
                  <a:lnTo>
                    <a:pt x="1882429" y="909402"/>
                  </a:lnTo>
                  <a:lnTo>
                    <a:pt x="1882429" y="644224"/>
                  </a:lnTo>
                  <a:lnTo>
                    <a:pt x="1948019" y="644224"/>
                  </a:lnTo>
                  <a:lnTo>
                    <a:pt x="1948019" y="909402"/>
                  </a:lnTo>
                  <a:lnTo>
                    <a:pt x="2197534" y="909402"/>
                  </a:lnTo>
                  <a:lnTo>
                    <a:pt x="2197534" y="644224"/>
                  </a:lnTo>
                  <a:lnTo>
                    <a:pt x="2263124" y="644224"/>
                  </a:lnTo>
                  <a:lnTo>
                    <a:pt x="2263124" y="909402"/>
                  </a:lnTo>
                  <a:lnTo>
                    <a:pt x="2512639" y="909402"/>
                  </a:lnTo>
                  <a:lnTo>
                    <a:pt x="2512639" y="611502"/>
                  </a:ln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tx1">
                    <a:lumMod val="75000"/>
                    <a:lumOff val="25000"/>
                  </a:schemeClr>
                </a:solidFill>
              </a:endParaRPr>
            </a:p>
          </p:txBody>
        </p:sp>
        <p:sp>
          <p:nvSpPr>
            <p:cNvPr id="19" name="Isosceles Triangle 23">
              <a:extLst>
                <a:ext uri="{FF2B5EF4-FFF2-40B4-BE49-F238E27FC236}">
                  <a16:creationId xmlns:a16="http://schemas.microsoft.com/office/drawing/2014/main" id="{0F86E461-C99A-EF47-8BBF-3C3688102309}"/>
                </a:ext>
              </a:extLst>
            </p:cNvPr>
            <p:cNvSpPr>
              <a:spLocks noChangeAspect="1"/>
            </p:cNvSpPr>
            <p:nvPr/>
          </p:nvSpPr>
          <p:spPr>
            <a:xfrm rot="10800000">
              <a:off x="3999603" y="5069805"/>
              <a:ext cx="459835" cy="512125"/>
            </a:xfrm>
            <a:custGeom>
              <a:avLst/>
              <a:gdLst/>
              <a:ahLst/>
              <a:cxnLst/>
              <a:rect l="l" t="t" r="r" b="b"/>
              <a:pathLst>
                <a:path w="3369757" h="3752953">
                  <a:moveTo>
                    <a:pt x="3369757" y="3752953"/>
                  </a:moveTo>
                  <a:lnTo>
                    <a:pt x="2458436" y="3752953"/>
                  </a:lnTo>
                  <a:lnTo>
                    <a:pt x="1684879" y="2471479"/>
                  </a:lnTo>
                  <a:lnTo>
                    <a:pt x="911321" y="3752953"/>
                  </a:lnTo>
                  <a:lnTo>
                    <a:pt x="0" y="3752953"/>
                  </a:lnTo>
                  <a:lnTo>
                    <a:pt x="962779" y="2158018"/>
                  </a:lnTo>
                  <a:lnTo>
                    <a:pt x="164866" y="2158018"/>
                  </a:lnTo>
                  <a:lnTo>
                    <a:pt x="164866" y="1449998"/>
                  </a:lnTo>
                  <a:lnTo>
                    <a:pt x="1199503" y="1449998"/>
                  </a:lnTo>
                  <a:lnTo>
                    <a:pt x="1199503" y="1349401"/>
                  </a:lnTo>
                  <a:lnTo>
                    <a:pt x="164862" y="1349401"/>
                  </a:lnTo>
                  <a:lnTo>
                    <a:pt x="164862" y="641379"/>
                  </a:lnTo>
                  <a:lnTo>
                    <a:pt x="1199503" y="641379"/>
                  </a:lnTo>
                  <a:lnTo>
                    <a:pt x="1199503" y="0"/>
                  </a:lnTo>
                  <a:lnTo>
                    <a:pt x="2170259" y="0"/>
                  </a:lnTo>
                  <a:lnTo>
                    <a:pt x="2170259" y="641379"/>
                  </a:lnTo>
                  <a:lnTo>
                    <a:pt x="3204902" y="641379"/>
                  </a:lnTo>
                  <a:lnTo>
                    <a:pt x="3204902" y="1349401"/>
                  </a:lnTo>
                  <a:lnTo>
                    <a:pt x="2170259" y="1349401"/>
                  </a:lnTo>
                  <a:lnTo>
                    <a:pt x="2170259" y="1449998"/>
                  </a:lnTo>
                  <a:lnTo>
                    <a:pt x="3204906" y="1449998"/>
                  </a:lnTo>
                  <a:lnTo>
                    <a:pt x="3204906" y="2158018"/>
                  </a:lnTo>
                  <a:lnTo>
                    <a:pt x="2406979" y="215801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Block Arc 19">
              <a:extLst>
                <a:ext uri="{FF2B5EF4-FFF2-40B4-BE49-F238E27FC236}">
                  <a16:creationId xmlns:a16="http://schemas.microsoft.com/office/drawing/2014/main" id="{67202F15-C2F8-B94D-8245-F95B687EE774}"/>
                </a:ext>
              </a:extLst>
            </p:cNvPr>
            <p:cNvSpPr>
              <a:spLocks noChangeAspect="1"/>
            </p:cNvSpPr>
            <p:nvPr/>
          </p:nvSpPr>
          <p:spPr>
            <a:xfrm rot="16200000">
              <a:off x="6177706" y="4916027"/>
              <a:ext cx="634182" cy="642656"/>
            </a:xfrm>
            <a:custGeom>
              <a:avLst/>
              <a:gdLst/>
              <a:ahLst/>
              <a:cxnLst/>
              <a:rect l="l" t="t" r="r" b="b"/>
              <a:pathLst>
                <a:path w="3888432" h="3940389">
                  <a:moveTo>
                    <a:pt x="3886477" y="2596624"/>
                  </a:moveTo>
                  <a:cubicBezTo>
                    <a:pt x="3863903" y="3099396"/>
                    <a:pt x="3646450" y="3585439"/>
                    <a:pt x="3260784" y="3940389"/>
                  </a:cubicBezTo>
                  <a:lnTo>
                    <a:pt x="2740134" y="3374682"/>
                  </a:lnTo>
                  <a:cubicBezTo>
                    <a:pt x="3095411" y="3047701"/>
                    <a:pt x="3214561" y="2536699"/>
                    <a:pt x="3040544" y="2086301"/>
                  </a:cubicBezTo>
                  <a:cubicBezTo>
                    <a:pt x="2946224" y="1842179"/>
                    <a:pt x="2776177" y="1642784"/>
                    <a:pt x="2561820" y="1513267"/>
                  </a:cubicBezTo>
                  <a:lnTo>
                    <a:pt x="2561820" y="2502838"/>
                  </a:lnTo>
                  <a:lnTo>
                    <a:pt x="1956545" y="2502838"/>
                  </a:lnTo>
                  <a:lnTo>
                    <a:pt x="1956545" y="1334980"/>
                  </a:lnTo>
                  <a:cubicBezTo>
                    <a:pt x="1955005" y="1334620"/>
                    <a:pt x="1953461" y="1334606"/>
                    <a:pt x="1951918" y="1334596"/>
                  </a:cubicBezTo>
                  <a:cubicBezTo>
                    <a:pt x="1865937" y="1334033"/>
                    <a:pt x="1781451" y="1342845"/>
                    <a:pt x="1700312" y="1363399"/>
                  </a:cubicBezTo>
                  <a:lnTo>
                    <a:pt x="1700312" y="2502838"/>
                  </a:lnTo>
                  <a:lnTo>
                    <a:pt x="1095037" y="2502838"/>
                  </a:lnTo>
                  <a:lnTo>
                    <a:pt x="1095037" y="1701931"/>
                  </a:lnTo>
                  <a:cubicBezTo>
                    <a:pt x="992004" y="1805496"/>
                    <a:pt x="910118" y="1931035"/>
                    <a:pt x="853532" y="2071968"/>
                  </a:cubicBezTo>
                  <a:cubicBezTo>
                    <a:pt x="673626" y="2520045"/>
                    <a:pt x="786067" y="3032565"/>
                    <a:pt x="1137028" y="3364176"/>
                  </a:cubicBezTo>
                  <a:lnTo>
                    <a:pt x="609006" y="3923009"/>
                  </a:lnTo>
                  <a:cubicBezTo>
                    <a:pt x="28464" y="3374477"/>
                    <a:pt x="-157531" y="2526691"/>
                    <a:pt x="140060" y="1785506"/>
                  </a:cubicBezTo>
                  <a:cubicBezTo>
                    <a:pt x="323894" y="1327647"/>
                    <a:pt x="669158" y="968018"/>
                    <a:pt x="1095037" y="762253"/>
                  </a:cubicBezTo>
                  <a:lnTo>
                    <a:pt x="1095037" y="0"/>
                  </a:lnTo>
                  <a:lnTo>
                    <a:pt x="1700312" y="0"/>
                  </a:lnTo>
                  <a:lnTo>
                    <a:pt x="1700312" y="583614"/>
                  </a:lnTo>
                  <a:lnTo>
                    <a:pt x="1956545" y="565812"/>
                  </a:lnTo>
                  <a:lnTo>
                    <a:pt x="1956545" y="0"/>
                  </a:lnTo>
                  <a:lnTo>
                    <a:pt x="2561820" y="0"/>
                  </a:lnTo>
                  <a:lnTo>
                    <a:pt x="2561820" y="668400"/>
                  </a:lnTo>
                  <a:cubicBezTo>
                    <a:pt x="3101312" y="847375"/>
                    <a:pt x="3545438" y="1259818"/>
                    <a:pt x="3757706" y="1809216"/>
                  </a:cubicBezTo>
                  <a:cubicBezTo>
                    <a:pt x="3829668" y="1995473"/>
                    <a:pt x="3871323" y="2187994"/>
                    <a:pt x="3884141" y="2380458"/>
                  </a:cubicBezTo>
                  <a:cubicBezTo>
                    <a:pt x="3888948" y="2452632"/>
                    <a:pt x="3889701" y="2524800"/>
                    <a:pt x="3886477" y="25966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21" name="Rectangle 44">
              <a:extLst>
                <a:ext uri="{FF2B5EF4-FFF2-40B4-BE49-F238E27FC236}">
                  <a16:creationId xmlns:a16="http://schemas.microsoft.com/office/drawing/2014/main" id="{B4424423-33BE-A244-9DE0-274E696F4B30}"/>
                </a:ext>
              </a:extLst>
            </p:cNvPr>
            <p:cNvSpPr>
              <a:spLocks noChangeAspect="1"/>
            </p:cNvSpPr>
            <p:nvPr/>
          </p:nvSpPr>
          <p:spPr>
            <a:xfrm>
              <a:off x="5112675" y="5017135"/>
              <a:ext cx="450067" cy="537311"/>
            </a:xfrm>
            <a:custGeom>
              <a:avLst/>
              <a:gdLst/>
              <a:ahLst/>
              <a:cxnLst/>
              <a:rect l="l" t="t" r="r" b="b"/>
              <a:pathLst>
                <a:path w="1930109" h="2304256">
                  <a:moveTo>
                    <a:pt x="499032" y="360040"/>
                  </a:moveTo>
                  <a:lnTo>
                    <a:pt x="499032" y="1016070"/>
                  </a:lnTo>
                  <a:lnTo>
                    <a:pt x="1258521" y="1016070"/>
                  </a:lnTo>
                  <a:cubicBezTo>
                    <a:pt x="1368910" y="1012801"/>
                    <a:pt x="1469808" y="952440"/>
                    <a:pt x="1526552" y="856603"/>
                  </a:cubicBezTo>
                  <a:cubicBezTo>
                    <a:pt x="1587011" y="754492"/>
                    <a:pt x="1588055" y="627797"/>
                    <a:pt x="1529286" y="524704"/>
                  </a:cubicBezTo>
                  <a:cubicBezTo>
                    <a:pt x="1473114" y="426166"/>
                    <a:pt x="1370550" y="363662"/>
                    <a:pt x="1257894" y="360040"/>
                  </a:cubicBezTo>
                  <a:close/>
                  <a:moveTo>
                    <a:pt x="138992" y="0"/>
                  </a:moveTo>
                  <a:lnTo>
                    <a:pt x="180856" y="0"/>
                  </a:lnTo>
                  <a:lnTo>
                    <a:pt x="499032" y="0"/>
                  </a:lnTo>
                  <a:lnTo>
                    <a:pt x="1260856" y="0"/>
                  </a:lnTo>
                  <a:lnTo>
                    <a:pt x="1260856" y="1730"/>
                  </a:lnTo>
                  <a:cubicBezTo>
                    <a:pt x="1500773" y="7202"/>
                    <a:pt x="1720550" y="138412"/>
                    <a:pt x="1839840" y="347673"/>
                  </a:cubicBezTo>
                  <a:cubicBezTo>
                    <a:pt x="1962203" y="562326"/>
                    <a:pt x="1960030" y="826119"/>
                    <a:pt x="1834148" y="1038727"/>
                  </a:cubicBezTo>
                  <a:cubicBezTo>
                    <a:pt x="1717086" y="1236437"/>
                    <a:pt x="1509773" y="1361631"/>
                    <a:pt x="1282539" y="1373428"/>
                  </a:cubicBezTo>
                  <a:lnTo>
                    <a:pt x="1282539" y="1376110"/>
                  </a:lnTo>
                  <a:lnTo>
                    <a:pt x="499032" y="1376110"/>
                  </a:lnTo>
                  <a:lnTo>
                    <a:pt x="499032" y="1533934"/>
                  </a:lnTo>
                  <a:lnTo>
                    <a:pt x="1296144" y="1533934"/>
                  </a:lnTo>
                  <a:lnTo>
                    <a:pt x="1296144" y="1821966"/>
                  </a:lnTo>
                  <a:lnTo>
                    <a:pt x="499032" y="1821966"/>
                  </a:lnTo>
                  <a:lnTo>
                    <a:pt x="499032" y="2304256"/>
                  </a:lnTo>
                  <a:lnTo>
                    <a:pt x="138992" y="2304256"/>
                  </a:lnTo>
                  <a:lnTo>
                    <a:pt x="138992" y="1821966"/>
                  </a:lnTo>
                  <a:lnTo>
                    <a:pt x="0" y="1821966"/>
                  </a:lnTo>
                  <a:lnTo>
                    <a:pt x="0" y="1533934"/>
                  </a:lnTo>
                  <a:lnTo>
                    <a:pt x="138992" y="1533934"/>
                  </a:lnTo>
                  <a:lnTo>
                    <a:pt x="138992" y="1376110"/>
                  </a:lnTo>
                  <a:lnTo>
                    <a:pt x="0" y="1376110"/>
                  </a:lnTo>
                  <a:lnTo>
                    <a:pt x="0" y="1016070"/>
                  </a:lnTo>
                  <a:lnTo>
                    <a:pt x="138992" y="101607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pic>
        <p:nvPicPr>
          <p:cNvPr id="22" name="Picture 6">
            <a:extLst>
              <a:ext uri="{FF2B5EF4-FFF2-40B4-BE49-F238E27FC236}">
                <a16:creationId xmlns:a16="http://schemas.microsoft.com/office/drawing/2014/main" id="{73F8AEF6-F704-F045-BC37-EB0979C50D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1463" y="2196225"/>
            <a:ext cx="1294768" cy="3245728"/>
          </a:xfrm>
          <a:prstGeom prst="rect">
            <a:avLst/>
          </a:prstGeom>
        </p:spPr>
      </p:pic>
    </p:spTree>
    <p:extLst>
      <p:ext uri="{BB962C8B-B14F-4D97-AF65-F5344CB8AC3E}">
        <p14:creationId xmlns:p14="http://schemas.microsoft.com/office/powerpoint/2010/main" val="12078561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9" name="Object 468" hidden="1">
            <a:extLst>
              <a:ext uri="{FF2B5EF4-FFF2-40B4-BE49-F238E27FC236}">
                <a16:creationId xmlns:a16="http://schemas.microsoft.com/office/drawing/2014/main" id="{4C467223-4141-C843-89C0-B3B05E8EC480}"/>
              </a:ext>
            </a:extLst>
          </p:cNvPr>
          <p:cNvGraphicFramePr>
            <a:graphicFrameLocks noChangeAspect="1"/>
          </p:cNvGraphicFramePr>
          <p:nvPr>
            <p:custDataLst>
              <p:tags r:id="rId1"/>
            </p:custDataLst>
            <p:extLst>
              <p:ext uri="{D42A27DB-BD31-4B8C-83A1-F6EECF244321}">
                <p14:modId xmlns:p14="http://schemas.microsoft.com/office/powerpoint/2010/main" val="4217123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69" name="Object 468" hidden="1">
                        <a:extLst>
                          <a:ext uri="{FF2B5EF4-FFF2-40B4-BE49-F238E27FC236}">
                            <a16:creationId xmlns:a16="http://schemas.microsoft.com/office/drawing/2014/main" id="{4C467223-4141-C843-89C0-B3B05E8EC48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1EF842A-5FDC-3A4F-B67A-A7F7100FADCE}"/>
              </a:ext>
            </a:extLst>
          </p:cNvPr>
          <p:cNvSpPr>
            <a:spLocks noGrp="1"/>
          </p:cNvSpPr>
          <p:nvPr>
            <p:ph type="sldNum" sz="quarter" idx="4"/>
          </p:nvPr>
        </p:nvSpPr>
        <p:spPr/>
        <p:txBody>
          <a:bodyPr/>
          <a:lstStyle/>
          <a:p>
            <a:fld id="{3D966009-6E5A-4F8C-8CA7-E37AFBF5FB92}" type="slidenum">
              <a:rPr lang="en-US" smtClean="0"/>
              <a:t>169</a:t>
            </a:fld>
            <a:endParaRPr lang="en-US"/>
          </a:p>
        </p:txBody>
      </p:sp>
      <p:sp>
        <p:nvSpPr>
          <p:cNvPr id="3" name="Title 2">
            <a:extLst>
              <a:ext uri="{FF2B5EF4-FFF2-40B4-BE49-F238E27FC236}">
                <a16:creationId xmlns:a16="http://schemas.microsoft.com/office/drawing/2014/main" id="{23690D51-0671-A548-A281-980AEF9C296E}"/>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30F16B71-3C76-3B46-909A-B361EA2F72A3}"/>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65549CC8-6930-594B-84BD-0057CE25EA9D}"/>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F44EF550-5ECF-C948-9FE0-817931CEFF2E}"/>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BD561394-80D9-4647-BA04-9D09EBE24505}"/>
              </a:ext>
            </a:extLst>
          </p:cNvPr>
          <p:cNvSpPr>
            <a:spLocks noGrp="1"/>
          </p:cNvSpPr>
          <p:nvPr>
            <p:ph sz="quarter" idx="14"/>
          </p:nvPr>
        </p:nvSpPr>
        <p:spPr/>
        <p:txBody>
          <a:bodyPr/>
          <a:lstStyle/>
          <a:p>
            <a:endParaRPr lang="de-DE"/>
          </a:p>
        </p:txBody>
      </p:sp>
      <p:grpSp>
        <p:nvGrpSpPr>
          <p:cNvPr id="19" name="Group 18">
            <a:extLst>
              <a:ext uri="{FF2B5EF4-FFF2-40B4-BE49-F238E27FC236}">
                <a16:creationId xmlns:a16="http://schemas.microsoft.com/office/drawing/2014/main" id="{41A98891-B3EA-2447-8038-263B23783C2D}"/>
              </a:ext>
            </a:extLst>
          </p:cNvPr>
          <p:cNvGrpSpPr>
            <a:grpSpLocks noChangeAspect="1"/>
          </p:cNvGrpSpPr>
          <p:nvPr/>
        </p:nvGrpSpPr>
        <p:grpSpPr>
          <a:xfrm>
            <a:off x="410664" y="4662677"/>
            <a:ext cx="1037136" cy="1312447"/>
            <a:chOff x="7726468" y="1571132"/>
            <a:chExt cx="3497537" cy="4465741"/>
          </a:xfrm>
        </p:grpSpPr>
        <p:grpSp>
          <p:nvGrpSpPr>
            <p:cNvPr id="9" name="Group 8">
              <a:extLst>
                <a:ext uri="{FF2B5EF4-FFF2-40B4-BE49-F238E27FC236}">
                  <a16:creationId xmlns:a16="http://schemas.microsoft.com/office/drawing/2014/main" id="{1281D3B9-8E3F-8647-9639-1CF8DC751221}"/>
                </a:ext>
              </a:extLst>
            </p:cNvPr>
            <p:cNvGrpSpPr/>
            <p:nvPr/>
          </p:nvGrpSpPr>
          <p:grpSpPr>
            <a:xfrm>
              <a:off x="9959106" y="1571132"/>
              <a:ext cx="1207911" cy="1207911"/>
              <a:chOff x="1259632" y="1927684"/>
              <a:chExt cx="2005372" cy="2005372"/>
            </a:xfrm>
          </p:grpSpPr>
          <p:sp>
            <p:nvSpPr>
              <p:cNvPr id="10" name="Oval 9">
                <a:extLst>
                  <a:ext uri="{FF2B5EF4-FFF2-40B4-BE49-F238E27FC236}">
                    <a16:creationId xmlns:a16="http://schemas.microsoft.com/office/drawing/2014/main" id="{0A6020D9-F514-D447-AD43-472DB3FEA08A}"/>
                  </a:ext>
                </a:extLst>
              </p:cNvPr>
              <p:cNvSpPr/>
              <p:nvPr/>
            </p:nvSpPr>
            <p:spPr>
              <a:xfrm>
                <a:off x="1541124" y="2209176"/>
                <a:ext cx="1442389" cy="1442389"/>
              </a:xfrm>
              <a:prstGeom prst="ellipse">
                <a:avLst/>
              </a:prstGeom>
              <a:noFill/>
              <a:ln w="1270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 name="Oval 10">
                <a:extLst>
                  <a:ext uri="{FF2B5EF4-FFF2-40B4-BE49-F238E27FC236}">
                    <a16:creationId xmlns:a16="http://schemas.microsoft.com/office/drawing/2014/main" id="{2703743A-D795-3142-9898-74F16007F8DD}"/>
                  </a:ext>
                </a:extLst>
              </p:cNvPr>
              <p:cNvSpPr/>
              <p:nvPr/>
            </p:nvSpPr>
            <p:spPr>
              <a:xfrm>
                <a:off x="1832924" y="2500976"/>
                <a:ext cx="858789" cy="858789"/>
              </a:xfrm>
              <a:prstGeom prst="ellipse">
                <a:avLst/>
              </a:prstGeom>
              <a:noFill/>
              <a:ln w="1270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Oval 11">
                <a:extLst>
                  <a:ext uri="{FF2B5EF4-FFF2-40B4-BE49-F238E27FC236}">
                    <a16:creationId xmlns:a16="http://schemas.microsoft.com/office/drawing/2014/main" id="{B2686AFD-1A8E-4143-8FFF-E134ECAB5101}"/>
                  </a:ext>
                </a:extLst>
              </p:cNvPr>
              <p:cNvSpPr/>
              <p:nvPr/>
            </p:nvSpPr>
            <p:spPr>
              <a:xfrm>
                <a:off x="1259632" y="1927684"/>
                <a:ext cx="2005372" cy="2005372"/>
              </a:xfrm>
              <a:prstGeom prst="ellipse">
                <a:avLst/>
              </a:prstGeom>
              <a:noFill/>
              <a:ln w="1270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nvGrpSpPr>
            <p:cNvPr id="13" name="Group 12">
              <a:extLst>
                <a:ext uri="{FF2B5EF4-FFF2-40B4-BE49-F238E27FC236}">
                  <a16:creationId xmlns:a16="http://schemas.microsoft.com/office/drawing/2014/main" id="{7B1A2A90-B367-574F-AA33-828CCD0E9545}"/>
                </a:ext>
              </a:extLst>
            </p:cNvPr>
            <p:cNvGrpSpPr/>
            <p:nvPr/>
          </p:nvGrpSpPr>
          <p:grpSpPr>
            <a:xfrm>
              <a:off x="7726468" y="2053234"/>
              <a:ext cx="3497537" cy="3983639"/>
              <a:chOff x="5710368" y="1700808"/>
              <a:chExt cx="2528707" cy="4176464"/>
            </a:xfrm>
          </p:grpSpPr>
          <p:sp>
            <p:nvSpPr>
              <p:cNvPr id="14" name="Up Arrow 3">
                <a:extLst>
                  <a:ext uri="{FF2B5EF4-FFF2-40B4-BE49-F238E27FC236}">
                    <a16:creationId xmlns:a16="http://schemas.microsoft.com/office/drawing/2014/main" id="{B4FF97BB-4005-504B-B47D-28D0412058C9}"/>
                  </a:ext>
                </a:extLst>
              </p:cNvPr>
              <p:cNvSpPr/>
              <p:nvPr/>
            </p:nvSpPr>
            <p:spPr>
              <a:xfrm>
                <a:off x="6870923" y="1700808"/>
                <a:ext cx="1368152" cy="2035274"/>
              </a:xfrm>
              <a:prstGeom prst="upArrow">
                <a:avLst/>
              </a:prstGeom>
              <a:solidFill>
                <a:srgbClr val="004149"/>
              </a:soli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 name="Flowchart: Data 6">
                <a:extLst>
                  <a:ext uri="{FF2B5EF4-FFF2-40B4-BE49-F238E27FC236}">
                    <a16:creationId xmlns:a16="http://schemas.microsoft.com/office/drawing/2014/main" id="{9010A525-FC3B-4245-B72A-32773754FB1A}"/>
                  </a:ext>
                </a:extLst>
              </p:cNvPr>
              <p:cNvSpPr/>
              <p:nvPr/>
            </p:nvSpPr>
            <p:spPr>
              <a:xfrm flipH="1">
                <a:off x="6592296" y="3500344"/>
                <a:ext cx="1030423" cy="15466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2315 h 12315"/>
                  <a:gd name="connsiteX1" fmla="*/ 2000 w 10000"/>
                  <a:gd name="connsiteY1" fmla="*/ 0 h 12315"/>
                  <a:gd name="connsiteX2" fmla="*/ 10000 w 10000"/>
                  <a:gd name="connsiteY2" fmla="*/ 2315 h 12315"/>
                  <a:gd name="connsiteX3" fmla="*/ 8000 w 10000"/>
                  <a:gd name="connsiteY3" fmla="*/ 12315 h 12315"/>
                  <a:gd name="connsiteX4" fmla="*/ 0 w 10000"/>
                  <a:gd name="connsiteY4" fmla="*/ 12315 h 12315"/>
                  <a:gd name="connsiteX0" fmla="*/ 0 w 10000"/>
                  <a:gd name="connsiteY0" fmla="*/ 16614 h 16614"/>
                  <a:gd name="connsiteX1" fmla="*/ 4728 w 10000"/>
                  <a:gd name="connsiteY1" fmla="*/ 0 h 16614"/>
                  <a:gd name="connsiteX2" fmla="*/ 10000 w 10000"/>
                  <a:gd name="connsiteY2" fmla="*/ 6614 h 16614"/>
                  <a:gd name="connsiteX3" fmla="*/ 8000 w 10000"/>
                  <a:gd name="connsiteY3" fmla="*/ 16614 h 16614"/>
                  <a:gd name="connsiteX4" fmla="*/ 0 w 10000"/>
                  <a:gd name="connsiteY4" fmla="*/ 16614 h 16614"/>
                  <a:gd name="connsiteX0" fmla="*/ 0 w 8016"/>
                  <a:gd name="connsiteY0" fmla="*/ 5370 h 16614"/>
                  <a:gd name="connsiteX1" fmla="*/ 2744 w 8016"/>
                  <a:gd name="connsiteY1" fmla="*/ 0 h 16614"/>
                  <a:gd name="connsiteX2" fmla="*/ 8016 w 8016"/>
                  <a:gd name="connsiteY2" fmla="*/ 6614 h 16614"/>
                  <a:gd name="connsiteX3" fmla="*/ 6016 w 8016"/>
                  <a:gd name="connsiteY3" fmla="*/ 16614 h 16614"/>
                  <a:gd name="connsiteX4" fmla="*/ 0 w 8016"/>
                  <a:gd name="connsiteY4" fmla="*/ 5370 h 16614"/>
                  <a:gd name="connsiteX0" fmla="*/ 0 w 9175"/>
                  <a:gd name="connsiteY0" fmla="*/ 3431 h 10199"/>
                  <a:gd name="connsiteX1" fmla="*/ 3423 w 9175"/>
                  <a:gd name="connsiteY1" fmla="*/ 199 h 10199"/>
                  <a:gd name="connsiteX2" fmla="*/ 9175 w 9175"/>
                  <a:gd name="connsiteY2" fmla="*/ 0 h 10199"/>
                  <a:gd name="connsiteX3" fmla="*/ 7505 w 9175"/>
                  <a:gd name="connsiteY3" fmla="*/ 10199 h 10199"/>
                  <a:gd name="connsiteX4" fmla="*/ 0 w 9175"/>
                  <a:gd name="connsiteY4" fmla="*/ 3431 h 10199"/>
                  <a:gd name="connsiteX0" fmla="*/ 0 w 10000"/>
                  <a:gd name="connsiteY0" fmla="*/ 3364 h 3364"/>
                  <a:gd name="connsiteX1" fmla="*/ 3731 w 10000"/>
                  <a:gd name="connsiteY1" fmla="*/ 195 h 3364"/>
                  <a:gd name="connsiteX2" fmla="*/ 10000 w 10000"/>
                  <a:gd name="connsiteY2" fmla="*/ 0 h 3364"/>
                  <a:gd name="connsiteX3" fmla="*/ 6831 w 10000"/>
                  <a:gd name="connsiteY3" fmla="*/ 3169 h 3364"/>
                  <a:gd name="connsiteX4" fmla="*/ 0 w 10000"/>
                  <a:gd name="connsiteY4" fmla="*/ 3364 h 3364"/>
                  <a:gd name="connsiteX0" fmla="*/ 0 w 10000"/>
                  <a:gd name="connsiteY0" fmla="*/ 11741 h 11741"/>
                  <a:gd name="connsiteX1" fmla="*/ 4068 w 10000"/>
                  <a:gd name="connsiteY1" fmla="*/ 0 h 11741"/>
                  <a:gd name="connsiteX2" fmla="*/ 10000 w 10000"/>
                  <a:gd name="connsiteY2" fmla="*/ 1741 h 11741"/>
                  <a:gd name="connsiteX3" fmla="*/ 6831 w 10000"/>
                  <a:gd name="connsiteY3" fmla="*/ 11161 h 11741"/>
                  <a:gd name="connsiteX4" fmla="*/ 0 w 10000"/>
                  <a:gd name="connsiteY4" fmla="*/ 11741 h 11741"/>
                  <a:gd name="connsiteX0" fmla="*/ 0 w 10000"/>
                  <a:gd name="connsiteY0" fmla="*/ 10000 h 10000"/>
                  <a:gd name="connsiteX1" fmla="*/ 4068 w 10000"/>
                  <a:gd name="connsiteY1" fmla="*/ 580 h 10000"/>
                  <a:gd name="connsiteX2" fmla="*/ 10000 w 10000"/>
                  <a:gd name="connsiteY2" fmla="*/ 0 h 10000"/>
                  <a:gd name="connsiteX3" fmla="*/ 6831 w 10000"/>
                  <a:gd name="connsiteY3" fmla="*/ 9420 h 10000"/>
                  <a:gd name="connsiteX4" fmla="*/ 0 w 10000"/>
                  <a:gd name="connsiteY4" fmla="*/ 10000 h 10000"/>
                  <a:gd name="connsiteX0" fmla="*/ 0 w 9830"/>
                  <a:gd name="connsiteY0" fmla="*/ 8685 h 9420"/>
                  <a:gd name="connsiteX1" fmla="*/ 3898 w 9830"/>
                  <a:gd name="connsiteY1" fmla="*/ 580 h 9420"/>
                  <a:gd name="connsiteX2" fmla="*/ 9830 w 9830"/>
                  <a:gd name="connsiteY2" fmla="*/ 0 h 9420"/>
                  <a:gd name="connsiteX3" fmla="*/ 6661 w 9830"/>
                  <a:gd name="connsiteY3" fmla="*/ 9420 h 9420"/>
                  <a:gd name="connsiteX4" fmla="*/ 0 w 9830"/>
                  <a:gd name="connsiteY4" fmla="*/ 8685 h 9420"/>
                  <a:gd name="connsiteX0" fmla="*/ 0 w 10000"/>
                  <a:gd name="connsiteY0" fmla="*/ 9220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220 h 10000"/>
                  <a:gd name="connsiteX0" fmla="*/ 0 w 10000"/>
                  <a:gd name="connsiteY0" fmla="*/ 9499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499 h 10000"/>
                  <a:gd name="connsiteX0" fmla="*/ 0 w 10000"/>
                  <a:gd name="connsiteY0" fmla="*/ 9499 h 10000"/>
                  <a:gd name="connsiteX1" fmla="*/ 4601 w 10000"/>
                  <a:gd name="connsiteY1" fmla="*/ 58 h 10000"/>
                  <a:gd name="connsiteX2" fmla="*/ 10000 w 10000"/>
                  <a:gd name="connsiteY2" fmla="*/ 0 h 10000"/>
                  <a:gd name="connsiteX3" fmla="*/ 6776 w 10000"/>
                  <a:gd name="connsiteY3" fmla="*/ 10000 h 10000"/>
                  <a:gd name="connsiteX4" fmla="*/ 0 w 10000"/>
                  <a:gd name="connsiteY4" fmla="*/ 94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499"/>
                    </a:moveTo>
                    <a:lnTo>
                      <a:pt x="4601" y="58"/>
                    </a:lnTo>
                    <a:lnTo>
                      <a:pt x="10000" y="0"/>
                    </a:lnTo>
                    <a:lnTo>
                      <a:pt x="6776" y="10000"/>
                    </a:lnTo>
                    <a:cubicBezTo>
                      <a:pt x="4517" y="9740"/>
                      <a:pt x="2403" y="9480"/>
                      <a:pt x="0" y="9499"/>
                    </a:cubicBezTo>
                    <a:close/>
                  </a:path>
                </a:pathLst>
              </a:custGeom>
              <a:gradFill>
                <a:gsLst>
                  <a:gs pos="99000">
                    <a:schemeClr val="accent4">
                      <a:lumMod val="48000"/>
                    </a:schemeClr>
                  </a:gs>
                  <a:gs pos="0">
                    <a:schemeClr val="accent4">
                      <a:lumMod val="9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 name="Rectangle 15">
                <a:extLst>
                  <a:ext uri="{FF2B5EF4-FFF2-40B4-BE49-F238E27FC236}">
                    <a16:creationId xmlns:a16="http://schemas.microsoft.com/office/drawing/2014/main" id="{215ADFAA-9422-B848-88C4-AE54FFE33346}"/>
                  </a:ext>
                </a:extLst>
              </p:cNvPr>
              <p:cNvSpPr/>
              <p:nvPr/>
            </p:nvSpPr>
            <p:spPr>
              <a:xfrm>
                <a:off x="6372200" y="3429000"/>
                <a:ext cx="720080" cy="1368152"/>
              </a:xfrm>
              <a:prstGeom prst="rect">
                <a:avLst/>
              </a:prstGeom>
              <a:solidFill>
                <a:srgbClr val="004149"/>
              </a:soli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7" name="Flowchart: Data 6">
                <a:extLst>
                  <a:ext uri="{FF2B5EF4-FFF2-40B4-BE49-F238E27FC236}">
                    <a16:creationId xmlns:a16="http://schemas.microsoft.com/office/drawing/2014/main" id="{CF1A98F3-793A-174C-A1E9-54141F82226E}"/>
                  </a:ext>
                </a:extLst>
              </p:cNvPr>
              <p:cNvSpPr/>
              <p:nvPr/>
            </p:nvSpPr>
            <p:spPr>
              <a:xfrm flipH="1">
                <a:off x="5916298" y="4572715"/>
                <a:ext cx="954624" cy="16418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2315 h 12315"/>
                  <a:gd name="connsiteX1" fmla="*/ 2000 w 10000"/>
                  <a:gd name="connsiteY1" fmla="*/ 0 h 12315"/>
                  <a:gd name="connsiteX2" fmla="*/ 10000 w 10000"/>
                  <a:gd name="connsiteY2" fmla="*/ 2315 h 12315"/>
                  <a:gd name="connsiteX3" fmla="*/ 8000 w 10000"/>
                  <a:gd name="connsiteY3" fmla="*/ 12315 h 12315"/>
                  <a:gd name="connsiteX4" fmla="*/ 0 w 10000"/>
                  <a:gd name="connsiteY4" fmla="*/ 12315 h 12315"/>
                  <a:gd name="connsiteX0" fmla="*/ 0 w 10000"/>
                  <a:gd name="connsiteY0" fmla="*/ 16614 h 16614"/>
                  <a:gd name="connsiteX1" fmla="*/ 4728 w 10000"/>
                  <a:gd name="connsiteY1" fmla="*/ 0 h 16614"/>
                  <a:gd name="connsiteX2" fmla="*/ 10000 w 10000"/>
                  <a:gd name="connsiteY2" fmla="*/ 6614 h 16614"/>
                  <a:gd name="connsiteX3" fmla="*/ 8000 w 10000"/>
                  <a:gd name="connsiteY3" fmla="*/ 16614 h 16614"/>
                  <a:gd name="connsiteX4" fmla="*/ 0 w 10000"/>
                  <a:gd name="connsiteY4" fmla="*/ 16614 h 16614"/>
                  <a:gd name="connsiteX0" fmla="*/ 0 w 8016"/>
                  <a:gd name="connsiteY0" fmla="*/ 5370 h 16614"/>
                  <a:gd name="connsiteX1" fmla="*/ 2744 w 8016"/>
                  <a:gd name="connsiteY1" fmla="*/ 0 h 16614"/>
                  <a:gd name="connsiteX2" fmla="*/ 8016 w 8016"/>
                  <a:gd name="connsiteY2" fmla="*/ 6614 h 16614"/>
                  <a:gd name="connsiteX3" fmla="*/ 6016 w 8016"/>
                  <a:gd name="connsiteY3" fmla="*/ 16614 h 16614"/>
                  <a:gd name="connsiteX4" fmla="*/ 0 w 8016"/>
                  <a:gd name="connsiteY4" fmla="*/ 5370 h 16614"/>
                  <a:gd name="connsiteX0" fmla="*/ 0 w 9175"/>
                  <a:gd name="connsiteY0" fmla="*/ 3431 h 10199"/>
                  <a:gd name="connsiteX1" fmla="*/ 3423 w 9175"/>
                  <a:gd name="connsiteY1" fmla="*/ 199 h 10199"/>
                  <a:gd name="connsiteX2" fmla="*/ 9175 w 9175"/>
                  <a:gd name="connsiteY2" fmla="*/ 0 h 10199"/>
                  <a:gd name="connsiteX3" fmla="*/ 7505 w 9175"/>
                  <a:gd name="connsiteY3" fmla="*/ 10199 h 10199"/>
                  <a:gd name="connsiteX4" fmla="*/ 0 w 9175"/>
                  <a:gd name="connsiteY4" fmla="*/ 3431 h 10199"/>
                  <a:gd name="connsiteX0" fmla="*/ 0 w 10000"/>
                  <a:gd name="connsiteY0" fmla="*/ 3364 h 3364"/>
                  <a:gd name="connsiteX1" fmla="*/ 3731 w 10000"/>
                  <a:gd name="connsiteY1" fmla="*/ 195 h 3364"/>
                  <a:gd name="connsiteX2" fmla="*/ 10000 w 10000"/>
                  <a:gd name="connsiteY2" fmla="*/ 0 h 3364"/>
                  <a:gd name="connsiteX3" fmla="*/ 6831 w 10000"/>
                  <a:gd name="connsiteY3" fmla="*/ 3169 h 3364"/>
                  <a:gd name="connsiteX4" fmla="*/ 0 w 10000"/>
                  <a:gd name="connsiteY4" fmla="*/ 3364 h 3364"/>
                  <a:gd name="connsiteX0" fmla="*/ 0 w 10000"/>
                  <a:gd name="connsiteY0" fmla="*/ 11741 h 11741"/>
                  <a:gd name="connsiteX1" fmla="*/ 4068 w 10000"/>
                  <a:gd name="connsiteY1" fmla="*/ 0 h 11741"/>
                  <a:gd name="connsiteX2" fmla="*/ 10000 w 10000"/>
                  <a:gd name="connsiteY2" fmla="*/ 1741 h 11741"/>
                  <a:gd name="connsiteX3" fmla="*/ 6831 w 10000"/>
                  <a:gd name="connsiteY3" fmla="*/ 11161 h 11741"/>
                  <a:gd name="connsiteX4" fmla="*/ 0 w 10000"/>
                  <a:gd name="connsiteY4" fmla="*/ 11741 h 11741"/>
                  <a:gd name="connsiteX0" fmla="*/ 0 w 10000"/>
                  <a:gd name="connsiteY0" fmla="*/ 10000 h 10000"/>
                  <a:gd name="connsiteX1" fmla="*/ 4068 w 10000"/>
                  <a:gd name="connsiteY1" fmla="*/ 580 h 10000"/>
                  <a:gd name="connsiteX2" fmla="*/ 10000 w 10000"/>
                  <a:gd name="connsiteY2" fmla="*/ 0 h 10000"/>
                  <a:gd name="connsiteX3" fmla="*/ 6831 w 10000"/>
                  <a:gd name="connsiteY3" fmla="*/ 942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4068" y="580"/>
                    </a:lnTo>
                    <a:lnTo>
                      <a:pt x="10000" y="0"/>
                    </a:lnTo>
                    <a:lnTo>
                      <a:pt x="6831" y="9420"/>
                    </a:lnTo>
                    <a:lnTo>
                      <a:pt x="0" y="10000"/>
                    </a:lnTo>
                    <a:close/>
                  </a:path>
                </a:pathLst>
              </a:custGeom>
              <a:gradFill>
                <a:gsLst>
                  <a:gs pos="99000">
                    <a:schemeClr val="accent4">
                      <a:lumMod val="17000"/>
                    </a:schemeClr>
                  </a:gs>
                  <a:gs pos="0">
                    <a:schemeClr val="accent4">
                      <a:lumMod val="78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8" name="Rectangle 17">
                <a:extLst>
                  <a:ext uri="{FF2B5EF4-FFF2-40B4-BE49-F238E27FC236}">
                    <a16:creationId xmlns:a16="http://schemas.microsoft.com/office/drawing/2014/main" id="{8C3812F8-6D2A-CE4F-9F64-2FD79DFFF90B}"/>
                  </a:ext>
                </a:extLst>
              </p:cNvPr>
              <p:cNvSpPr/>
              <p:nvPr/>
            </p:nvSpPr>
            <p:spPr>
              <a:xfrm>
                <a:off x="5710368" y="4509120"/>
                <a:ext cx="720080" cy="1368152"/>
              </a:xfrm>
              <a:prstGeom prst="rect">
                <a:avLst/>
              </a:prstGeom>
              <a:solidFill>
                <a:srgbClr val="004149"/>
              </a:soli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grpSp>
      <p:sp>
        <p:nvSpPr>
          <p:cNvPr id="20" name="Graphic 3">
            <a:extLst>
              <a:ext uri="{FF2B5EF4-FFF2-40B4-BE49-F238E27FC236}">
                <a16:creationId xmlns:a16="http://schemas.microsoft.com/office/drawing/2014/main" id="{6396AF14-731B-434D-B354-3F116C53CFC5}"/>
              </a:ext>
            </a:extLst>
          </p:cNvPr>
          <p:cNvSpPr>
            <a:spLocks noChangeAspect="1"/>
          </p:cNvSpPr>
          <p:nvPr/>
        </p:nvSpPr>
        <p:spPr>
          <a:xfrm>
            <a:off x="467520" y="3633639"/>
            <a:ext cx="1132680" cy="770065"/>
          </a:xfrm>
          <a:custGeom>
            <a:avLst/>
            <a:gdLst>
              <a:gd name="connsiteX0" fmla="*/ 2572230 w 5562600"/>
              <a:gd name="connsiteY0" fmla="*/ 3667286 h 3876675"/>
              <a:gd name="connsiteX1" fmla="*/ 2326485 w 5562600"/>
              <a:gd name="connsiteY1" fmla="*/ 3800636 h 3876675"/>
              <a:gd name="connsiteX2" fmla="*/ 1794990 w 5562600"/>
              <a:gd name="connsiteY2" fmla="*/ 3785396 h 3876675"/>
              <a:gd name="connsiteX3" fmla="*/ 1635922 w 5562600"/>
              <a:gd name="connsiteY3" fmla="*/ 3705386 h 3876675"/>
              <a:gd name="connsiteX4" fmla="*/ 1390177 w 5562600"/>
              <a:gd name="connsiteY4" fmla="*/ 3552986 h 3876675"/>
              <a:gd name="connsiteX5" fmla="*/ 1248255 w 5562600"/>
              <a:gd name="connsiteY5" fmla="*/ 3333911 h 3876675"/>
              <a:gd name="connsiteX6" fmla="*/ 1233015 w 5562600"/>
              <a:gd name="connsiteY6" fmla="*/ 3237708 h 3876675"/>
              <a:gd name="connsiteX7" fmla="*/ 1109190 w 5562600"/>
              <a:gd name="connsiteY7" fmla="*/ 3250090 h 3876675"/>
              <a:gd name="connsiteX8" fmla="*/ 840585 w 5562600"/>
              <a:gd name="connsiteY8" fmla="*/ 3277713 h 3876675"/>
              <a:gd name="connsiteX9" fmla="*/ 616747 w 5562600"/>
              <a:gd name="connsiteY9" fmla="*/ 3267236 h 3876675"/>
              <a:gd name="connsiteX10" fmla="*/ 424342 w 5562600"/>
              <a:gd name="connsiteY10" fmla="*/ 3113883 h 3876675"/>
              <a:gd name="connsiteX11" fmla="*/ 567217 w 5562600"/>
              <a:gd name="connsiteY11" fmla="*/ 3077688 h 3876675"/>
              <a:gd name="connsiteX12" fmla="*/ 710092 w 5562600"/>
              <a:gd name="connsiteY12" fmla="*/ 3046255 h 3876675"/>
              <a:gd name="connsiteX13" fmla="*/ 544357 w 5562600"/>
              <a:gd name="connsiteY13" fmla="*/ 3017680 h 3876675"/>
              <a:gd name="connsiteX14" fmla="*/ 7147 w 5562600"/>
              <a:gd name="connsiteY14" fmla="*/ 2341405 h 3876675"/>
              <a:gd name="connsiteX15" fmla="*/ 200505 w 5562600"/>
              <a:gd name="connsiteY15" fmla="*/ 1625125 h 3876675"/>
              <a:gd name="connsiteX16" fmla="*/ 369097 w 5562600"/>
              <a:gd name="connsiteY16" fmla="*/ 1269843 h 3876675"/>
              <a:gd name="connsiteX17" fmla="*/ 722475 w 5562600"/>
              <a:gd name="connsiteY17" fmla="*/ 909798 h 3876675"/>
              <a:gd name="connsiteX18" fmla="*/ 906307 w 5562600"/>
              <a:gd name="connsiteY18" fmla="*/ 751683 h 3876675"/>
              <a:gd name="connsiteX19" fmla="*/ 1328265 w 5562600"/>
              <a:gd name="connsiteY19" fmla="*/ 464028 h 3876675"/>
              <a:gd name="connsiteX20" fmla="*/ 1680690 w 5562600"/>
              <a:gd name="connsiteY20" fmla="*/ 316390 h 3876675"/>
              <a:gd name="connsiteX21" fmla="*/ 2042640 w 5562600"/>
              <a:gd name="connsiteY21" fmla="*/ 143035 h 3876675"/>
              <a:gd name="connsiteX22" fmla="*/ 2196945 w 5562600"/>
              <a:gd name="connsiteY22" fmla="*/ 72550 h 3876675"/>
              <a:gd name="connsiteX23" fmla="*/ 2284575 w 5562600"/>
              <a:gd name="connsiteY23" fmla="*/ 39213 h 3876675"/>
              <a:gd name="connsiteX24" fmla="*/ 2658907 w 5562600"/>
              <a:gd name="connsiteY24" fmla="*/ 32545 h 3876675"/>
              <a:gd name="connsiteX25" fmla="*/ 2726535 w 5562600"/>
              <a:gd name="connsiteY25" fmla="*/ 95410 h 3876675"/>
              <a:gd name="connsiteX26" fmla="*/ 2908463 w 5562600"/>
              <a:gd name="connsiteY26" fmla="*/ 148750 h 3876675"/>
              <a:gd name="connsiteX27" fmla="*/ 3210405 w 5562600"/>
              <a:gd name="connsiteY27" fmla="*/ 162085 h 3876675"/>
              <a:gd name="connsiteX28" fmla="*/ 3469485 w 5562600"/>
              <a:gd name="connsiteY28" fmla="*/ 203995 h 3876675"/>
              <a:gd name="connsiteX29" fmla="*/ 3652365 w 5562600"/>
              <a:gd name="connsiteY29" fmla="*/ 226855 h 3876675"/>
              <a:gd name="connsiteX30" fmla="*/ 3959070 w 5562600"/>
              <a:gd name="connsiteY30" fmla="*/ 294483 h 3876675"/>
              <a:gd name="connsiteX31" fmla="*/ 4295303 w 5562600"/>
              <a:gd name="connsiteY31" fmla="*/ 469743 h 3876675"/>
              <a:gd name="connsiteX32" fmla="*/ 4529618 w 5562600"/>
              <a:gd name="connsiteY32" fmla="*/ 641193 h 3876675"/>
              <a:gd name="connsiteX33" fmla="*/ 4570575 w 5562600"/>
              <a:gd name="connsiteY33" fmla="*/ 712630 h 3876675"/>
              <a:gd name="connsiteX34" fmla="*/ 4807748 w 5562600"/>
              <a:gd name="connsiteY34" fmla="*/ 887890 h 3876675"/>
              <a:gd name="connsiteX35" fmla="*/ 4959195 w 5562600"/>
              <a:gd name="connsiteY35" fmla="*/ 1061245 h 3876675"/>
              <a:gd name="connsiteX36" fmla="*/ 5135408 w 5562600"/>
              <a:gd name="connsiteY36" fmla="*/ 1338423 h 3876675"/>
              <a:gd name="connsiteX37" fmla="*/ 5166840 w 5562600"/>
              <a:gd name="connsiteY37" fmla="*/ 1372713 h 3876675"/>
              <a:gd name="connsiteX38" fmla="*/ 5433540 w 5562600"/>
              <a:gd name="connsiteY38" fmla="*/ 1747045 h 3876675"/>
              <a:gd name="connsiteX39" fmla="*/ 5545935 w 5562600"/>
              <a:gd name="connsiteY39" fmla="*/ 2105185 h 3876675"/>
              <a:gd name="connsiteX40" fmla="*/ 5557365 w 5562600"/>
              <a:gd name="connsiteY40" fmla="*/ 2261396 h 3876675"/>
              <a:gd name="connsiteX41" fmla="*/ 5429730 w 5562600"/>
              <a:gd name="connsiteY41" fmla="*/ 2852898 h 3876675"/>
              <a:gd name="connsiteX42" fmla="*/ 5169698 w 5562600"/>
              <a:gd name="connsiteY42" fmla="*/ 2990058 h 3876675"/>
              <a:gd name="connsiteX43" fmla="*/ 4775363 w 5562600"/>
              <a:gd name="connsiteY43" fmla="*/ 3005298 h 3876675"/>
              <a:gd name="connsiteX44" fmla="*/ 4267680 w 5562600"/>
              <a:gd name="connsiteY44" fmla="*/ 2998630 h 3876675"/>
              <a:gd name="connsiteX45" fmla="*/ 3700942 w 5562600"/>
              <a:gd name="connsiteY45" fmla="*/ 3133886 h 3876675"/>
              <a:gd name="connsiteX46" fmla="*/ 3403763 w 5562600"/>
              <a:gd name="connsiteY46" fmla="*/ 3223421 h 3876675"/>
              <a:gd name="connsiteX47" fmla="*/ 3073245 w 5562600"/>
              <a:gd name="connsiteY47" fmla="*/ 3231993 h 3876675"/>
              <a:gd name="connsiteX48" fmla="*/ 2824642 w 5562600"/>
              <a:gd name="connsiteY48" fmla="*/ 3411063 h 3876675"/>
              <a:gd name="connsiteX49" fmla="*/ 2572230 w 5562600"/>
              <a:gd name="connsiteY49" fmla="*/ 3667286 h 3876675"/>
              <a:gd name="connsiteX50" fmla="*/ 2572230 w 5562600"/>
              <a:gd name="connsiteY50" fmla="*/ 3667286 h 3876675"/>
              <a:gd name="connsiteX51" fmla="*/ 2189325 w 5562600"/>
              <a:gd name="connsiteY51" fmla="*/ 3836830 h 3876675"/>
              <a:gd name="connsiteX52" fmla="*/ 2321723 w 5562600"/>
              <a:gd name="connsiteY52" fmla="*/ 3772061 h 3876675"/>
              <a:gd name="connsiteX53" fmla="*/ 2373157 w 5562600"/>
              <a:gd name="connsiteY53" fmla="*/ 3729198 h 3876675"/>
              <a:gd name="connsiteX54" fmla="*/ 2281718 w 5562600"/>
              <a:gd name="connsiteY54" fmla="*/ 3728246 h 3876675"/>
              <a:gd name="connsiteX55" fmla="*/ 2082645 w 5562600"/>
              <a:gd name="connsiteY55" fmla="*/ 3654903 h 3876675"/>
              <a:gd name="connsiteX56" fmla="*/ 1975013 w 5562600"/>
              <a:gd name="connsiteY56" fmla="*/ 3582513 h 3876675"/>
              <a:gd name="connsiteX57" fmla="*/ 1935960 w 5562600"/>
              <a:gd name="connsiteY57" fmla="*/ 3634900 h 3876675"/>
              <a:gd name="connsiteX58" fmla="*/ 1841663 w 5562600"/>
              <a:gd name="connsiteY58" fmla="*/ 3708243 h 3876675"/>
              <a:gd name="connsiteX59" fmla="*/ 1815945 w 5562600"/>
              <a:gd name="connsiteY59" fmla="*/ 3765393 h 3876675"/>
              <a:gd name="connsiteX60" fmla="*/ 2189325 w 5562600"/>
              <a:gd name="connsiteY60" fmla="*/ 3836830 h 3876675"/>
              <a:gd name="connsiteX61" fmla="*/ 2189325 w 5562600"/>
              <a:gd name="connsiteY61" fmla="*/ 3836830 h 3876675"/>
              <a:gd name="connsiteX62" fmla="*/ 1831185 w 5562600"/>
              <a:gd name="connsiteY62" fmla="*/ 3680621 h 3876675"/>
              <a:gd name="connsiteX63" fmla="*/ 1946438 w 5562600"/>
              <a:gd name="connsiteY63" fmla="*/ 3480596 h 3876675"/>
              <a:gd name="connsiteX64" fmla="*/ 1965488 w 5562600"/>
              <a:gd name="connsiteY64" fmla="*/ 3458688 h 3876675"/>
              <a:gd name="connsiteX65" fmla="*/ 2333153 w 5562600"/>
              <a:gd name="connsiteY65" fmla="*/ 3704433 h 3876675"/>
              <a:gd name="connsiteX66" fmla="*/ 2745585 w 5562600"/>
              <a:gd name="connsiteY66" fmla="*/ 3438686 h 3876675"/>
              <a:gd name="connsiteX67" fmla="*/ 2969423 w 5562600"/>
              <a:gd name="connsiteY67" fmla="*/ 3238661 h 3876675"/>
              <a:gd name="connsiteX68" fmla="*/ 3062767 w 5562600"/>
              <a:gd name="connsiteY68" fmla="*/ 3189130 h 3876675"/>
              <a:gd name="connsiteX69" fmla="*/ 2976090 w 5562600"/>
              <a:gd name="connsiteY69" fmla="*/ 3125313 h 3876675"/>
              <a:gd name="connsiteX70" fmla="*/ 2889413 w 5562600"/>
              <a:gd name="connsiteY70" fmla="*/ 3061496 h 3876675"/>
              <a:gd name="connsiteX71" fmla="*/ 2719867 w 5562600"/>
              <a:gd name="connsiteY71" fmla="*/ 3171986 h 3876675"/>
              <a:gd name="connsiteX72" fmla="*/ 2445548 w 5562600"/>
              <a:gd name="connsiteY72" fmla="*/ 3332958 h 3876675"/>
              <a:gd name="connsiteX73" fmla="*/ 2396018 w 5562600"/>
              <a:gd name="connsiteY73" fmla="*/ 3452973 h 3876675"/>
              <a:gd name="connsiteX74" fmla="*/ 2451263 w 5562600"/>
              <a:gd name="connsiteY74" fmla="*/ 3486311 h 3876675"/>
              <a:gd name="connsiteX75" fmla="*/ 2315055 w 5562600"/>
              <a:gd name="connsiteY75" fmla="*/ 3433923 h 3876675"/>
              <a:gd name="connsiteX76" fmla="*/ 2458882 w 5562600"/>
              <a:gd name="connsiteY76" fmla="*/ 3292953 h 3876675"/>
              <a:gd name="connsiteX77" fmla="*/ 2855123 w 5562600"/>
              <a:gd name="connsiteY77" fmla="*/ 3016728 h 3876675"/>
              <a:gd name="connsiteX78" fmla="*/ 2484600 w 5562600"/>
              <a:gd name="connsiteY78" fmla="*/ 2889093 h 3876675"/>
              <a:gd name="connsiteX79" fmla="*/ 2330295 w 5562600"/>
              <a:gd name="connsiteY79" fmla="*/ 2874805 h 3876675"/>
              <a:gd name="connsiteX80" fmla="*/ 2467455 w 5562600"/>
              <a:gd name="connsiteY80" fmla="*/ 2871948 h 3876675"/>
              <a:gd name="connsiteX81" fmla="*/ 2715105 w 5562600"/>
              <a:gd name="connsiteY81" fmla="*/ 2911000 h 3876675"/>
              <a:gd name="connsiteX82" fmla="*/ 2825595 w 5562600"/>
              <a:gd name="connsiteY82" fmla="*/ 2923383 h 3876675"/>
              <a:gd name="connsiteX83" fmla="*/ 3169448 w 5562600"/>
              <a:gd name="connsiteY83" fmla="*/ 2799558 h 3876675"/>
              <a:gd name="connsiteX84" fmla="*/ 3089438 w 5562600"/>
              <a:gd name="connsiteY84" fmla="*/ 2824323 h 3876675"/>
              <a:gd name="connsiteX85" fmla="*/ 2902748 w 5562600"/>
              <a:gd name="connsiteY85" fmla="*/ 2877663 h 3876675"/>
              <a:gd name="connsiteX86" fmla="*/ 2865600 w 5562600"/>
              <a:gd name="connsiteY86" fmla="*/ 2982438 h 3876675"/>
              <a:gd name="connsiteX87" fmla="*/ 3003713 w 5562600"/>
              <a:gd name="connsiteY87" fmla="*/ 3110073 h 3876675"/>
              <a:gd name="connsiteX88" fmla="*/ 3305655 w 5562600"/>
              <a:gd name="connsiteY88" fmla="*/ 3186273 h 3876675"/>
              <a:gd name="connsiteX89" fmla="*/ 3748567 w 5562600"/>
              <a:gd name="connsiteY89" fmla="*/ 3070068 h 3876675"/>
              <a:gd name="connsiteX90" fmla="*/ 4362930 w 5562600"/>
              <a:gd name="connsiteY90" fmla="*/ 2969103 h 3876675"/>
              <a:gd name="connsiteX91" fmla="*/ 4659158 w 5562600"/>
              <a:gd name="connsiteY91" fmla="*/ 2979580 h 3876675"/>
              <a:gd name="connsiteX92" fmla="*/ 5056350 w 5562600"/>
              <a:gd name="connsiteY92" fmla="*/ 2961483 h 3876675"/>
              <a:gd name="connsiteX93" fmla="*/ 5510693 w 5562600"/>
              <a:gd name="connsiteY93" fmla="*/ 2549050 h 3876675"/>
              <a:gd name="connsiteX94" fmla="*/ 5464973 w 5562600"/>
              <a:gd name="connsiteY94" fmla="*/ 2109948 h 3876675"/>
              <a:gd name="connsiteX95" fmla="*/ 5387820 w 5562600"/>
              <a:gd name="connsiteY95" fmla="*/ 1916590 h 3876675"/>
              <a:gd name="connsiteX96" fmla="*/ 5330670 w 5562600"/>
              <a:gd name="connsiteY96" fmla="*/ 1784193 h 3876675"/>
              <a:gd name="connsiteX97" fmla="*/ 5299237 w 5562600"/>
              <a:gd name="connsiteY97" fmla="*/ 1867060 h 3876675"/>
              <a:gd name="connsiteX98" fmla="*/ 5287808 w 5562600"/>
              <a:gd name="connsiteY98" fmla="*/ 1910875 h 3876675"/>
              <a:gd name="connsiteX99" fmla="*/ 5254470 w 5562600"/>
              <a:gd name="connsiteY99" fmla="*/ 1771810 h 3876675"/>
              <a:gd name="connsiteX100" fmla="*/ 5047778 w 5562600"/>
              <a:gd name="connsiteY100" fmla="*/ 1659415 h 3876675"/>
              <a:gd name="connsiteX101" fmla="*/ 4899187 w 5562600"/>
              <a:gd name="connsiteY101" fmla="*/ 1863250 h 3876675"/>
              <a:gd name="connsiteX102" fmla="*/ 4714403 w 5562600"/>
              <a:gd name="connsiteY102" fmla="*/ 2076610 h 3876675"/>
              <a:gd name="connsiteX103" fmla="*/ 4664873 w 5562600"/>
              <a:gd name="connsiteY103" fmla="*/ 2119473 h 3876675"/>
              <a:gd name="connsiteX104" fmla="*/ 4828703 w 5562600"/>
              <a:gd name="connsiteY104" fmla="*/ 1910875 h 3876675"/>
              <a:gd name="connsiteX105" fmla="*/ 5018250 w 5562600"/>
              <a:gd name="connsiteY105" fmla="*/ 1664178 h 3876675"/>
              <a:gd name="connsiteX106" fmla="*/ 4794413 w 5562600"/>
              <a:gd name="connsiteY106" fmla="*/ 1325088 h 3876675"/>
              <a:gd name="connsiteX107" fmla="*/ 4557240 w 5562600"/>
              <a:gd name="connsiteY107" fmla="*/ 1235553 h 3876675"/>
              <a:gd name="connsiteX108" fmla="*/ 4544858 w 5562600"/>
              <a:gd name="connsiteY108" fmla="*/ 1213645 h 3876675"/>
              <a:gd name="connsiteX109" fmla="*/ 4455323 w 5562600"/>
              <a:gd name="connsiteY109" fmla="*/ 1108870 h 3876675"/>
              <a:gd name="connsiteX110" fmla="*/ 4323878 w 5562600"/>
              <a:gd name="connsiteY110" fmla="*/ 1064103 h 3876675"/>
              <a:gd name="connsiteX111" fmla="*/ 4300065 w 5562600"/>
              <a:gd name="connsiteY111" fmla="*/ 1119348 h 3876675"/>
              <a:gd name="connsiteX112" fmla="*/ 4303875 w 5562600"/>
              <a:gd name="connsiteY112" fmla="*/ 1174593 h 3876675"/>
              <a:gd name="connsiteX113" fmla="*/ 4259108 w 5562600"/>
              <a:gd name="connsiteY113" fmla="*/ 1097440 h 3876675"/>
              <a:gd name="connsiteX114" fmla="*/ 3713325 w 5562600"/>
              <a:gd name="connsiteY114" fmla="*/ 861220 h 3876675"/>
              <a:gd name="connsiteX115" fmla="*/ 3553305 w 5562600"/>
              <a:gd name="connsiteY115" fmla="*/ 891700 h 3876675"/>
              <a:gd name="connsiteX116" fmla="*/ 3572355 w 5562600"/>
              <a:gd name="connsiteY116" fmla="*/ 957423 h 3876675"/>
              <a:gd name="connsiteX117" fmla="*/ 3539017 w 5562600"/>
              <a:gd name="connsiteY117" fmla="*/ 909798 h 3876675"/>
              <a:gd name="connsiteX118" fmla="*/ 3248505 w 5562600"/>
              <a:gd name="connsiteY118" fmla="*/ 703105 h 3876675"/>
              <a:gd name="connsiteX119" fmla="*/ 3102773 w 5562600"/>
              <a:gd name="connsiteY119" fmla="*/ 791688 h 3876675"/>
              <a:gd name="connsiteX120" fmla="*/ 2975138 w 5562600"/>
              <a:gd name="connsiteY120" fmla="*/ 989808 h 3876675"/>
              <a:gd name="connsiteX121" fmla="*/ 2833215 w 5562600"/>
              <a:gd name="connsiteY121" fmla="*/ 1225075 h 3876675"/>
              <a:gd name="connsiteX122" fmla="*/ 2780828 w 5562600"/>
              <a:gd name="connsiteY122" fmla="*/ 1423195 h 3876675"/>
              <a:gd name="connsiteX123" fmla="*/ 2817023 w 5562600"/>
              <a:gd name="connsiteY123" fmla="*/ 1581310 h 3876675"/>
              <a:gd name="connsiteX124" fmla="*/ 2823690 w 5562600"/>
              <a:gd name="connsiteY124" fmla="*/ 1668940 h 3876675"/>
              <a:gd name="connsiteX125" fmla="*/ 2807498 w 5562600"/>
              <a:gd name="connsiteY125" fmla="*/ 1580358 h 3876675"/>
              <a:gd name="connsiteX126" fmla="*/ 2755110 w 5562600"/>
              <a:gd name="connsiteY126" fmla="*/ 1439388 h 3876675"/>
              <a:gd name="connsiteX127" fmla="*/ 2749395 w 5562600"/>
              <a:gd name="connsiteY127" fmla="*/ 1311753 h 3876675"/>
              <a:gd name="connsiteX128" fmla="*/ 2828453 w 5562600"/>
              <a:gd name="connsiteY128" fmla="*/ 1170783 h 3876675"/>
              <a:gd name="connsiteX129" fmla="*/ 2850360 w 5562600"/>
              <a:gd name="connsiteY129" fmla="*/ 1078390 h 3876675"/>
              <a:gd name="connsiteX130" fmla="*/ 2803688 w 5562600"/>
              <a:gd name="connsiteY130" fmla="*/ 1086010 h 3876675"/>
              <a:gd name="connsiteX131" fmla="*/ 2782732 w 5562600"/>
              <a:gd name="connsiteY131" fmla="*/ 1083153 h 3876675"/>
              <a:gd name="connsiteX132" fmla="*/ 2859885 w 5562600"/>
              <a:gd name="connsiteY132" fmla="*/ 1043148 h 3876675"/>
              <a:gd name="connsiteX133" fmla="*/ 2966565 w 5562600"/>
              <a:gd name="connsiteY133" fmla="*/ 959328 h 3876675"/>
              <a:gd name="connsiteX134" fmla="*/ 2900842 w 5562600"/>
              <a:gd name="connsiteY134" fmla="*/ 745968 h 3876675"/>
              <a:gd name="connsiteX135" fmla="*/ 2874173 w 5562600"/>
              <a:gd name="connsiteY135" fmla="*/ 712630 h 3876675"/>
              <a:gd name="connsiteX136" fmla="*/ 2975138 w 5562600"/>
              <a:gd name="connsiteY136" fmla="*/ 766923 h 3876675"/>
              <a:gd name="connsiteX137" fmla="*/ 3038955 w 5562600"/>
              <a:gd name="connsiteY137" fmla="*/ 821215 h 3876675"/>
              <a:gd name="connsiteX138" fmla="*/ 3084675 w 5562600"/>
              <a:gd name="connsiteY138" fmla="*/ 759303 h 3876675"/>
              <a:gd name="connsiteX139" fmla="*/ 3214215 w 5562600"/>
              <a:gd name="connsiteY139" fmla="*/ 658338 h 3876675"/>
              <a:gd name="connsiteX140" fmla="*/ 3375188 w 5562600"/>
              <a:gd name="connsiteY140" fmla="*/ 511653 h 3876675"/>
              <a:gd name="connsiteX141" fmla="*/ 3322800 w 5562600"/>
              <a:gd name="connsiteY141" fmla="*/ 507843 h 3876675"/>
              <a:gd name="connsiteX142" fmla="*/ 3210405 w 5562600"/>
              <a:gd name="connsiteY142" fmla="*/ 485935 h 3876675"/>
              <a:gd name="connsiteX143" fmla="*/ 3268507 w 5562600"/>
              <a:gd name="connsiteY143" fmla="*/ 463075 h 3876675"/>
              <a:gd name="connsiteX144" fmla="*/ 3408525 w 5562600"/>
              <a:gd name="connsiteY144" fmla="*/ 454503 h 3876675"/>
              <a:gd name="connsiteX145" fmla="*/ 3548542 w 5562600"/>
              <a:gd name="connsiteY145" fmla="*/ 262098 h 3876675"/>
              <a:gd name="connsiteX146" fmla="*/ 3238028 w 5562600"/>
              <a:gd name="connsiteY146" fmla="*/ 183993 h 3876675"/>
              <a:gd name="connsiteX147" fmla="*/ 3273270 w 5562600"/>
              <a:gd name="connsiteY147" fmla="*/ 259240 h 3876675"/>
              <a:gd name="connsiteX148" fmla="*/ 3354232 w 5562600"/>
              <a:gd name="connsiteY148" fmla="*/ 297340 h 3876675"/>
              <a:gd name="connsiteX149" fmla="*/ 3170400 w 5562600"/>
              <a:gd name="connsiteY149" fmla="*/ 244953 h 3876675"/>
              <a:gd name="connsiteX150" fmla="*/ 2880840 w 5562600"/>
              <a:gd name="connsiteY150" fmla="*/ 165895 h 3876675"/>
              <a:gd name="connsiteX151" fmla="*/ 2748442 w 5562600"/>
              <a:gd name="connsiteY151" fmla="*/ 157323 h 3876675"/>
              <a:gd name="connsiteX152" fmla="*/ 2712248 w 5562600"/>
              <a:gd name="connsiteY152" fmla="*/ 252573 h 3876675"/>
              <a:gd name="connsiteX153" fmla="*/ 2592232 w 5562600"/>
              <a:gd name="connsiteY153" fmla="*/ 545943 h 3876675"/>
              <a:gd name="connsiteX154" fmla="*/ 2502698 w 5562600"/>
              <a:gd name="connsiteY154" fmla="*/ 1001238 h 3876675"/>
              <a:gd name="connsiteX155" fmla="*/ 2418878 w 5562600"/>
              <a:gd name="connsiteY155" fmla="*/ 1498443 h 3876675"/>
              <a:gd name="connsiteX156" fmla="*/ 2341725 w 5562600"/>
              <a:gd name="connsiteY156" fmla="*/ 1831818 h 3876675"/>
              <a:gd name="connsiteX157" fmla="*/ 2341725 w 5562600"/>
              <a:gd name="connsiteY157" fmla="*/ 1925163 h 3876675"/>
              <a:gd name="connsiteX158" fmla="*/ 2407448 w 5562600"/>
              <a:gd name="connsiteY158" fmla="*/ 1869918 h 3876675"/>
              <a:gd name="connsiteX159" fmla="*/ 2599853 w 5562600"/>
              <a:gd name="connsiteY159" fmla="*/ 1788003 h 3876675"/>
              <a:gd name="connsiteX160" fmla="*/ 2858932 w 5562600"/>
              <a:gd name="connsiteY160" fmla="*/ 1729900 h 3876675"/>
              <a:gd name="connsiteX161" fmla="*/ 3133253 w 5562600"/>
              <a:gd name="connsiteY161" fmla="*/ 1678465 h 3876675"/>
              <a:gd name="connsiteX162" fmla="*/ 3284700 w 5562600"/>
              <a:gd name="connsiteY162" fmla="*/ 1445103 h 3876675"/>
              <a:gd name="connsiteX163" fmla="*/ 3181830 w 5562600"/>
              <a:gd name="connsiteY163" fmla="*/ 1351758 h 3876675"/>
              <a:gd name="connsiteX164" fmla="*/ 3125632 w 5562600"/>
              <a:gd name="connsiteY164" fmla="*/ 1304133 h 3876675"/>
              <a:gd name="connsiteX165" fmla="*/ 3231360 w 5562600"/>
              <a:gd name="connsiteY165" fmla="*/ 1358425 h 3876675"/>
              <a:gd name="connsiteX166" fmla="*/ 3324705 w 5562600"/>
              <a:gd name="connsiteY166" fmla="*/ 1380333 h 3876675"/>
              <a:gd name="connsiteX167" fmla="*/ 3301845 w 5562600"/>
              <a:gd name="connsiteY167" fmla="*/ 1116490 h 3876675"/>
              <a:gd name="connsiteX168" fmla="*/ 3320895 w 5562600"/>
              <a:gd name="connsiteY168" fmla="*/ 1116490 h 3876675"/>
              <a:gd name="connsiteX169" fmla="*/ 3348517 w 5562600"/>
              <a:gd name="connsiteY169" fmla="*/ 1407955 h 3876675"/>
              <a:gd name="connsiteX170" fmla="*/ 3384713 w 5562600"/>
              <a:gd name="connsiteY170" fmla="*/ 1655605 h 3876675"/>
              <a:gd name="connsiteX171" fmla="*/ 3465675 w 5562600"/>
              <a:gd name="connsiteY171" fmla="*/ 1688943 h 3876675"/>
              <a:gd name="connsiteX172" fmla="*/ 3563782 w 5562600"/>
              <a:gd name="connsiteY172" fmla="*/ 1699420 h 3876675"/>
              <a:gd name="connsiteX173" fmla="*/ 3636173 w 5562600"/>
              <a:gd name="connsiteY173" fmla="*/ 1687038 h 3876675"/>
              <a:gd name="connsiteX174" fmla="*/ 3583785 w 5562600"/>
              <a:gd name="connsiteY174" fmla="*/ 1722280 h 3876675"/>
              <a:gd name="connsiteX175" fmla="*/ 3448530 w 5562600"/>
              <a:gd name="connsiteY175" fmla="*/ 1801338 h 3876675"/>
              <a:gd name="connsiteX176" fmla="*/ 3377092 w 5562600"/>
              <a:gd name="connsiteY176" fmla="*/ 1948023 h 3876675"/>
              <a:gd name="connsiteX177" fmla="*/ 3419003 w 5562600"/>
              <a:gd name="connsiteY177" fmla="*/ 2108043 h 3876675"/>
              <a:gd name="connsiteX178" fmla="*/ 3545685 w 5562600"/>
              <a:gd name="connsiteY178" fmla="*/ 2163288 h 3876675"/>
              <a:gd name="connsiteX179" fmla="*/ 3719992 w 5562600"/>
              <a:gd name="connsiteY179" fmla="*/ 2102328 h 3876675"/>
              <a:gd name="connsiteX180" fmla="*/ 4127663 w 5562600"/>
              <a:gd name="connsiteY180" fmla="*/ 1583215 h 3876675"/>
              <a:gd name="connsiteX181" fmla="*/ 4285778 w 5562600"/>
              <a:gd name="connsiteY181" fmla="*/ 1414623 h 3876675"/>
              <a:gd name="connsiteX182" fmla="*/ 4267680 w 5562600"/>
              <a:gd name="connsiteY182" fmla="*/ 1445103 h 3876675"/>
              <a:gd name="connsiteX183" fmla="*/ 4152428 w 5562600"/>
              <a:gd name="connsiteY183" fmla="*/ 1606075 h 3876675"/>
              <a:gd name="connsiteX184" fmla="*/ 3771428 w 5562600"/>
              <a:gd name="connsiteY184" fmla="*/ 2102328 h 3876675"/>
              <a:gd name="connsiteX185" fmla="*/ 3663795 w 5562600"/>
              <a:gd name="connsiteY185" fmla="*/ 2215675 h 3876675"/>
              <a:gd name="connsiteX186" fmla="*/ 3640935 w 5562600"/>
              <a:gd name="connsiteY186" fmla="*/ 2223296 h 3876675"/>
              <a:gd name="connsiteX187" fmla="*/ 3389475 w 5562600"/>
              <a:gd name="connsiteY187" fmla="*/ 2284255 h 3876675"/>
              <a:gd name="connsiteX188" fmla="*/ 3144682 w 5562600"/>
              <a:gd name="connsiteY188" fmla="*/ 2409985 h 3876675"/>
              <a:gd name="connsiteX189" fmla="*/ 3072292 w 5562600"/>
              <a:gd name="connsiteY189" fmla="*/ 2517618 h 3876675"/>
              <a:gd name="connsiteX190" fmla="*/ 3378998 w 5562600"/>
              <a:gd name="connsiteY190" fmla="*/ 2679543 h 3876675"/>
              <a:gd name="connsiteX191" fmla="*/ 3420907 w 5562600"/>
              <a:gd name="connsiteY191" fmla="*/ 2535715 h 3876675"/>
              <a:gd name="connsiteX192" fmla="*/ 3458055 w 5562600"/>
              <a:gd name="connsiteY192" fmla="*/ 2411890 h 3876675"/>
              <a:gd name="connsiteX193" fmla="*/ 3441863 w 5562600"/>
              <a:gd name="connsiteY193" fmla="*/ 2558575 h 3876675"/>
              <a:gd name="connsiteX194" fmla="*/ 3415192 w 5562600"/>
              <a:gd name="connsiteY194" fmla="*/ 2694783 h 3876675"/>
              <a:gd name="connsiteX195" fmla="*/ 3484725 w 5562600"/>
              <a:gd name="connsiteY195" fmla="*/ 2764315 h 3876675"/>
              <a:gd name="connsiteX196" fmla="*/ 3713325 w 5562600"/>
              <a:gd name="connsiteY196" fmla="*/ 2833848 h 3876675"/>
              <a:gd name="connsiteX197" fmla="*/ 4070513 w 5562600"/>
              <a:gd name="connsiteY197" fmla="*/ 2694783 h 3876675"/>
              <a:gd name="connsiteX198" fmla="*/ 4109565 w 5562600"/>
              <a:gd name="connsiteY198" fmla="*/ 2647158 h 3876675"/>
              <a:gd name="connsiteX199" fmla="*/ 4094325 w 5562600"/>
              <a:gd name="connsiteY199" fmla="*/ 2710023 h 3876675"/>
              <a:gd name="connsiteX200" fmla="*/ 3615217 w 5562600"/>
              <a:gd name="connsiteY200" fmla="*/ 2870043 h 3876675"/>
              <a:gd name="connsiteX201" fmla="*/ 3541875 w 5562600"/>
              <a:gd name="connsiteY201" fmla="*/ 2868138 h 3876675"/>
              <a:gd name="connsiteX202" fmla="*/ 3240885 w 5562600"/>
              <a:gd name="connsiteY202" fmla="*/ 2973865 h 3876675"/>
              <a:gd name="connsiteX203" fmla="*/ 3124680 w 5562600"/>
              <a:gd name="connsiteY203" fmla="*/ 2971008 h 3876675"/>
              <a:gd name="connsiteX204" fmla="*/ 3257078 w 5562600"/>
              <a:gd name="connsiteY204" fmla="*/ 2955768 h 3876675"/>
              <a:gd name="connsiteX205" fmla="*/ 3433290 w 5562600"/>
              <a:gd name="connsiteY205" fmla="*/ 2915763 h 3876675"/>
              <a:gd name="connsiteX206" fmla="*/ 3463770 w 5562600"/>
              <a:gd name="connsiteY206" fmla="*/ 2782413 h 3876675"/>
              <a:gd name="connsiteX207" fmla="*/ 3367567 w 5562600"/>
              <a:gd name="connsiteY207" fmla="*/ 2713833 h 3876675"/>
              <a:gd name="connsiteX208" fmla="*/ 3072292 w 5562600"/>
              <a:gd name="connsiteY208" fmla="*/ 2561433 h 3876675"/>
              <a:gd name="connsiteX209" fmla="*/ 3026573 w 5562600"/>
              <a:gd name="connsiteY209" fmla="*/ 2460468 h 3876675"/>
              <a:gd name="connsiteX210" fmla="*/ 2971328 w 5562600"/>
              <a:gd name="connsiteY210" fmla="*/ 2471898 h 3876675"/>
              <a:gd name="connsiteX211" fmla="*/ 2691292 w 5562600"/>
              <a:gd name="connsiteY211" fmla="*/ 2822418 h 3876675"/>
              <a:gd name="connsiteX212" fmla="*/ 2769398 w 5562600"/>
              <a:gd name="connsiteY212" fmla="*/ 2729073 h 3876675"/>
              <a:gd name="connsiteX213" fmla="*/ 2959898 w 5562600"/>
              <a:gd name="connsiteY213" fmla="*/ 2386173 h 3876675"/>
              <a:gd name="connsiteX214" fmla="*/ 2844645 w 5562600"/>
              <a:gd name="connsiteY214" fmla="*/ 2124235 h 3876675"/>
              <a:gd name="connsiteX215" fmla="*/ 2819880 w 5562600"/>
              <a:gd name="connsiteY215" fmla="*/ 2074705 h 3876675"/>
              <a:gd name="connsiteX216" fmla="*/ 2957992 w 5562600"/>
              <a:gd name="connsiteY216" fmla="*/ 2265205 h 3876675"/>
              <a:gd name="connsiteX217" fmla="*/ 3078007 w 5562600"/>
              <a:gd name="connsiteY217" fmla="*/ 2378553 h 3876675"/>
              <a:gd name="connsiteX218" fmla="*/ 3291367 w 5562600"/>
              <a:gd name="connsiteY218" fmla="*/ 2313783 h 3876675"/>
              <a:gd name="connsiteX219" fmla="*/ 3436148 w 5562600"/>
              <a:gd name="connsiteY219" fmla="*/ 2214723 h 3876675"/>
              <a:gd name="connsiteX220" fmla="*/ 3401857 w 5562600"/>
              <a:gd name="connsiteY220" fmla="*/ 2125188 h 3876675"/>
              <a:gd name="connsiteX221" fmla="*/ 3342803 w 5562600"/>
              <a:gd name="connsiteY221" fmla="*/ 1983265 h 3876675"/>
              <a:gd name="connsiteX222" fmla="*/ 3407573 w 5562600"/>
              <a:gd name="connsiteY222" fmla="*/ 1815625 h 3876675"/>
              <a:gd name="connsiteX223" fmla="*/ 3459007 w 5562600"/>
              <a:gd name="connsiteY223" fmla="*/ 1705135 h 3876675"/>
              <a:gd name="connsiteX224" fmla="*/ 2437928 w 5562600"/>
              <a:gd name="connsiteY224" fmla="*/ 1878490 h 3876675"/>
              <a:gd name="connsiteX225" fmla="*/ 2297910 w 5562600"/>
              <a:gd name="connsiteY225" fmla="*/ 2104233 h 3876675"/>
              <a:gd name="connsiteX226" fmla="*/ 2614140 w 5562600"/>
              <a:gd name="connsiteY226" fmla="*/ 2382363 h 3876675"/>
              <a:gd name="connsiteX227" fmla="*/ 2694150 w 5562600"/>
              <a:gd name="connsiteY227" fmla="*/ 2407128 h 3876675"/>
              <a:gd name="connsiteX228" fmla="*/ 2600805 w 5562600"/>
              <a:gd name="connsiteY228" fmla="*/ 2415700 h 3876675"/>
              <a:gd name="connsiteX229" fmla="*/ 2441738 w 5562600"/>
              <a:gd name="connsiteY229" fmla="*/ 2396650 h 3876675"/>
              <a:gd name="connsiteX230" fmla="*/ 2376015 w 5562600"/>
              <a:gd name="connsiteY230" fmla="*/ 2466183 h 3876675"/>
              <a:gd name="connsiteX231" fmla="*/ 2184563 w 5562600"/>
              <a:gd name="connsiteY231" fmla="*/ 2615725 h 3876675"/>
              <a:gd name="connsiteX232" fmla="*/ 2023590 w 5562600"/>
              <a:gd name="connsiteY232" fmla="*/ 2694783 h 3876675"/>
              <a:gd name="connsiteX233" fmla="*/ 1996920 w 5562600"/>
              <a:gd name="connsiteY233" fmla="*/ 2840515 h 3876675"/>
              <a:gd name="connsiteX234" fmla="*/ 2079788 w 5562600"/>
              <a:gd name="connsiteY234" fmla="*/ 2982438 h 3876675"/>
              <a:gd name="connsiteX235" fmla="*/ 2212185 w 5562600"/>
              <a:gd name="connsiteY235" fmla="*/ 3111025 h 3876675"/>
              <a:gd name="connsiteX236" fmla="*/ 2228378 w 5562600"/>
              <a:gd name="connsiteY236" fmla="*/ 3127218 h 3876675"/>
              <a:gd name="connsiteX237" fmla="*/ 2167418 w 5562600"/>
              <a:gd name="connsiteY237" fmla="*/ 3168175 h 3876675"/>
              <a:gd name="connsiteX238" fmla="*/ 2143605 w 5562600"/>
              <a:gd name="connsiteY238" fmla="*/ 3239613 h 3876675"/>
              <a:gd name="connsiteX239" fmla="*/ 2134080 w 5562600"/>
              <a:gd name="connsiteY239" fmla="*/ 3203418 h 3876675"/>
              <a:gd name="connsiteX240" fmla="*/ 2123603 w 5562600"/>
              <a:gd name="connsiteY240" fmla="*/ 3118646 h 3876675"/>
              <a:gd name="connsiteX241" fmla="*/ 2044545 w 5562600"/>
              <a:gd name="connsiteY241" fmla="*/ 2979580 h 3876675"/>
              <a:gd name="connsiteX242" fmla="*/ 1760700 w 5562600"/>
              <a:gd name="connsiteY242" fmla="*/ 2892903 h 3876675"/>
              <a:gd name="connsiteX243" fmla="*/ 1597822 w 5562600"/>
              <a:gd name="connsiteY243" fmla="*/ 3274855 h 3876675"/>
              <a:gd name="connsiteX244" fmla="*/ 1591155 w 5562600"/>
              <a:gd name="connsiteY244" fmla="*/ 3386298 h 3876675"/>
              <a:gd name="connsiteX245" fmla="*/ 1601632 w 5562600"/>
              <a:gd name="connsiteY245" fmla="*/ 3026253 h 3876675"/>
              <a:gd name="connsiteX246" fmla="*/ 1874047 w 5562600"/>
              <a:gd name="connsiteY246" fmla="*/ 2803368 h 3876675"/>
              <a:gd name="connsiteX247" fmla="*/ 2015018 w 5562600"/>
              <a:gd name="connsiteY247" fmla="*/ 2625250 h 3876675"/>
              <a:gd name="connsiteX248" fmla="*/ 2146463 w 5562600"/>
              <a:gd name="connsiteY248" fmla="*/ 2597628 h 3876675"/>
              <a:gd name="connsiteX249" fmla="*/ 2340773 w 5562600"/>
              <a:gd name="connsiteY249" fmla="*/ 2465230 h 3876675"/>
              <a:gd name="connsiteX250" fmla="*/ 2359823 w 5562600"/>
              <a:gd name="connsiteY250" fmla="*/ 2366171 h 3876675"/>
              <a:gd name="connsiteX251" fmla="*/ 2326485 w 5562600"/>
              <a:gd name="connsiteY251" fmla="*/ 2258538 h 3876675"/>
              <a:gd name="connsiteX252" fmla="*/ 2274098 w 5562600"/>
              <a:gd name="connsiteY252" fmla="*/ 2118521 h 3876675"/>
              <a:gd name="connsiteX253" fmla="*/ 2060738 w 5562600"/>
              <a:gd name="connsiteY253" fmla="*/ 2182338 h 3876675"/>
              <a:gd name="connsiteX254" fmla="*/ 1899765 w 5562600"/>
              <a:gd name="connsiteY254" fmla="*/ 2449038 h 3876675"/>
              <a:gd name="connsiteX255" fmla="*/ 1875000 w 5562600"/>
              <a:gd name="connsiteY255" fmla="*/ 2509046 h 3876675"/>
              <a:gd name="connsiteX256" fmla="*/ 1892145 w 5562600"/>
              <a:gd name="connsiteY256" fmla="*/ 2374743 h 3876675"/>
              <a:gd name="connsiteX257" fmla="*/ 1433040 w 5562600"/>
              <a:gd name="connsiteY257" fmla="*/ 2730025 h 3876675"/>
              <a:gd name="connsiteX258" fmla="*/ 1303500 w 5562600"/>
              <a:gd name="connsiteY258" fmla="*/ 3009108 h 3876675"/>
              <a:gd name="connsiteX259" fmla="*/ 1340647 w 5562600"/>
              <a:gd name="connsiteY259" fmla="*/ 3127218 h 3876675"/>
              <a:gd name="connsiteX260" fmla="*/ 1387320 w 5562600"/>
              <a:gd name="connsiteY260" fmla="*/ 3191036 h 3876675"/>
              <a:gd name="connsiteX261" fmla="*/ 1338743 w 5562600"/>
              <a:gd name="connsiteY261" fmla="*/ 3155793 h 3876675"/>
              <a:gd name="connsiteX262" fmla="*/ 1280640 w 5562600"/>
              <a:gd name="connsiteY262" fmla="*/ 3111978 h 3876675"/>
              <a:gd name="connsiteX263" fmla="*/ 1284450 w 5562600"/>
              <a:gd name="connsiteY263" fmla="*/ 3380583 h 3876675"/>
              <a:gd name="connsiteX264" fmla="*/ 1598775 w 5562600"/>
              <a:gd name="connsiteY264" fmla="*/ 3670143 h 3876675"/>
              <a:gd name="connsiteX265" fmla="*/ 1831185 w 5562600"/>
              <a:gd name="connsiteY265" fmla="*/ 3680621 h 3876675"/>
              <a:gd name="connsiteX266" fmla="*/ 1831185 w 5562600"/>
              <a:gd name="connsiteY266" fmla="*/ 3680621 h 3876675"/>
              <a:gd name="connsiteX267" fmla="*/ 2141700 w 5562600"/>
              <a:gd name="connsiteY267" fmla="*/ 3481548 h 3876675"/>
              <a:gd name="connsiteX268" fmla="*/ 1959772 w 5562600"/>
              <a:gd name="connsiteY268" fmla="*/ 3348198 h 3876675"/>
              <a:gd name="connsiteX269" fmla="*/ 1790227 w 5562600"/>
              <a:gd name="connsiteY269" fmla="*/ 3128171 h 3876675"/>
              <a:gd name="connsiteX270" fmla="*/ 1828327 w 5562600"/>
              <a:gd name="connsiteY270" fmla="*/ 3176748 h 3876675"/>
              <a:gd name="connsiteX271" fmla="*/ 1987395 w 5562600"/>
              <a:gd name="connsiteY271" fmla="*/ 3333911 h 3876675"/>
              <a:gd name="connsiteX272" fmla="*/ 2228378 w 5562600"/>
              <a:gd name="connsiteY272" fmla="*/ 3550128 h 3876675"/>
              <a:gd name="connsiteX273" fmla="*/ 2141700 w 5562600"/>
              <a:gd name="connsiteY273" fmla="*/ 3481548 h 3876675"/>
              <a:gd name="connsiteX274" fmla="*/ 2141700 w 5562600"/>
              <a:gd name="connsiteY274" fmla="*/ 3481548 h 3876675"/>
              <a:gd name="connsiteX275" fmla="*/ 5105880 w 5562600"/>
              <a:gd name="connsiteY275" fmla="*/ 2824323 h 3876675"/>
              <a:gd name="connsiteX276" fmla="*/ 5212560 w 5562600"/>
              <a:gd name="connsiteY276" fmla="*/ 2633823 h 3876675"/>
              <a:gd name="connsiteX277" fmla="*/ 5225895 w 5562600"/>
              <a:gd name="connsiteY277" fmla="*/ 2620488 h 3876675"/>
              <a:gd name="connsiteX278" fmla="*/ 5372580 w 5562600"/>
              <a:gd name="connsiteY278" fmla="*/ 2625250 h 3876675"/>
              <a:gd name="connsiteX279" fmla="*/ 5421158 w 5562600"/>
              <a:gd name="connsiteY279" fmla="*/ 2405223 h 3876675"/>
              <a:gd name="connsiteX280" fmla="*/ 5375437 w 5562600"/>
              <a:gd name="connsiteY280" fmla="*/ 2184243 h 3876675"/>
              <a:gd name="connsiteX281" fmla="*/ 5190653 w 5562600"/>
              <a:gd name="connsiteY281" fmla="*/ 2174718 h 3876675"/>
              <a:gd name="connsiteX282" fmla="*/ 5189700 w 5562600"/>
              <a:gd name="connsiteY282" fmla="*/ 2155668 h 3876675"/>
              <a:gd name="connsiteX283" fmla="*/ 5400203 w 5562600"/>
              <a:gd name="connsiteY283" fmla="*/ 2165193 h 3876675"/>
              <a:gd name="connsiteX284" fmla="*/ 5444018 w 5562600"/>
              <a:gd name="connsiteY284" fmla="*/ 2387125 h 3876675"/>
              <a:gd name="connsiteX285" fmla="*/ 5327812 w 5562600"/>
              <a:gd name="connsiteY285" fmla="*/ 2686211 h 3876675"/>
              <a:gd name="connsiteX286" fmla="*/ 5198273 w 5562600"/>
              <a:gd name="connsiteY286" fmla="*/ 2785271 h 3876675"/>
              <a:gd name="connsiteX287" fmla="*/ 5099212 w 5562600"/>
              <a:gd name="connsiteY287" fmla="*/ 2846230 h 3876675"/>
              <a:gd name="connsiteX288" fmla="*/ 5105880 w 5562600"/>
              <a:gd name="connsiteY288" fmla="*/ 2824323 h 3876675"/>
              <a:gd name="connsiteX289" fmla="*/ 5105880 w 5562600"/>
              <a:gd name="connsiteY289" fmla="*/ 2824323 h 3876675"/>
              <a:gd name="connsiteX290" fmla="*/ 4762028 w 5562600"/>
              <a:gd name="connsiteY290" fmla="*/ 2717643 h 3876675"/>
              <a:gd name="connsiteX291" fmla="*/ 4679160 w 5562600"/>
              <a:gd name="connsiteY291" fmla="*/ 2629061 h 3876675"/>
              <a:gd name="connsiteX292" fmla="*/ 4636298 w 5562600"/>
              <a:gd name="connsiteY292" fmla="*/ 2590008 h 3876675"/>
              <a:gd name="connsiteX293" fmla="*/ 4702020 w 5562600"/>
              <a:gd name="connsiteY293" fmla="*/ 2610963 h 3876675"/>
              <a:gd name="connsiteX294" fmla="*/ 4811558 w 5562600"/>
              <a:gd name="connsiteY294" fmla="*/ 2608105 h 3876675"/>
              <a:gd name="connsiteX295" fmla="*/ 4965862 w 5562600"/>
              <a:gd name="connsiteY295" fmla="*/ 2429035 h 3876675"/>
              <a:gd name="connsiteX296" fmla="*/ 4980150 w 5562600"/>
              <a:gd name="connsiteY296" fmla="*/ 2442371 h 3876675"/>
              <a:gd name="connsiteX297" fmla="*/ 4882995 w 5562600"/>
              <a:gd name="connsiteY297" fmla="*/ 2580483 h 3876675"/>
              <a:gd name="connsiteX298" fmla="*/ 4797270 w 5562600"/>
              <a:gd name="connsiteY298" fmla="*/ 2726215 h 3876675"/>
              <a:gd name="connsiteX299" fmla="*/ 4762028 w 5562600"/>
              <a:gd name="connsiteY299" fmla="*/ 2717643 h 3876675"/>
              <a:gd name="connsiteX300" fmla="*/ 4762028 w 5562600"/>
              <a:gd name="connsiteY300" fmla="*/ 2717643 h 3876675"/>
              <a:gd name="connsiteX301" fmla="*/ 3641888 w 5562600"/>
              <a:gd name="connsiteY301" fmla="*/ 2663350 h 3876675"/>
              <a:gd name="connsiteX302" fmla="*/ 3682845 w 5562600"/>
              <a:gd name="connsiteY302" fmla="*/ 2567148 h 3876675"/>
              <a:gd name="connsiteX303" fmla="*/ 3715230 w 5562600"/>
              <a:gd name="connsiteY303" fmla="*/ 2497615 h 3876675"/>
              <a:gd name="connsiteX304" fmla="*/ 3729517 w 5562600"/>
              <a:gd name="connsiteY304" fmla="*/ 2489043 h 3876675"/>
              <a:gd name="connsiteX305" fmla="*/ 3900967 w 5562600"/>
              <a:gd name="connsiteY305" fmla="*/ 2537621 h 3876675"/>
              <a:gd name="connsiteX306" fmla="*/ 4133378 w 5562600"/>
              <a:gd name="connsiteY306" fmla="*/ 2505236 h 3876675"/>
              <a:gd name="connsiteX307" fmla="*/ 4188623 w 5562600"/>
              <a:gd name="connsiteY307" fmla="*/ 2516665 h 3876675"/>
              <a:gd name="connsiteX308" fmla="*/ 3919065 w 5562600"/>
              <a:gd name="connsiteY308" fmla="*/ 2561433 h 3876675"/>
              <a:gd name="connsiteX309" fmla="*/ 3680940 w 5562600"/>
              <a:gd name="connsiteY309" fmla="*/ 2597628 h 3876675"/>
              <a:gd name="connsiteX310" fmla="*/ 3655223 w 5562600"/>
              <a:gd name="connsiteY310" fmla="*/ 2680496 h 3876675"/>
              <a:gd name="connsiteX311" fmla="*/ 3641888 w 5562600"/>
              <a:gd name="connsiteY311" fmla="*/ 2663350 h 3876675"/>
              <a:gd name="connsiteX312" fmla="*/ 3641888 w 5562600"/>
              <a:gd name="connsiteY312" fmla="*/ 2663350 h 3876675"/>
              <a:gd name="connsiteX313" fmla="*/ 4447703 w 5562600"/>
              <a:gd name="connsiteY313" fmla="*/ 2430940 h 3876675"/>
              <a:gd name="connsiteX314" fmla="*/ 4430558 w 5562600"/>
              <a:gd name="connsiteY314" fmla="*/ 2308068 h 3876675"/>
              <a:gd name="connsiteX315" fmla="*/ 4177192 w 5562600"/>
              <a:gd name="connsiteY315" fmla="*/ 2289018 h 3876675"/>
              <a:gd name="connsiteX316" fmla="*/ 3929542 w 5562600"/>
              <a:gd name="connsiteY316" fmla="*/ 2241393 h 3876675"/>
              <a:gd name="connsiteX317" fmla="*/ 4037175 w 5562600"/>
              <a:gd name="connsiteY317" fmla="*/ 2254728 h 3876675"/>
              <a:gd name="connsiteX318" fmla="*/ 4267680 w 5562600"/>
              <a:gd name="connsiteY318" fmla="*/ 2265205 h 3876675"/>
              <a:gd name="connsiteX319" fmla="*/ 4403888 w 5562600"/>
              <a:gd name="connsiteY319" fmla="*/ 2250918 h 3876675"/>
              <a:gd name="connsiteX320" fmla="*/ 4451513 w 5562600"/>
              <a:gd name="connsiteY320" fmla="*/ 2044225 h 3876675"/>
              <a:gd name="connsiteX321" fmla="*/ 4607723 w 5562600"/>
              <a:gd name="connsiteY321" fmla="*/ 1690848 h 3876675"/>
              <a:gd name="connsiteX322" fmla="*/ 4715355 w 5562600"/>
              <a:gd name="connsiteY322" fmla="*/ 1563213 h 3876675"/>
              <a:gd name="connsiteX323" fmla="*/ 4682018 w 5562600"/>
              <a:gd name="connsiteY323" fmla="*/ 1625125 h 3876675"/>
              <a:gd name="connsiteX324" fmla="*/ 4646775 w 5562600"/>
              <a:gd name="connsiteY324" fmla="*/ 1735615 h 3876675"/>
              <a:gd name="connsiteX325" fmla="*/ 4634393 w 5562600"/>
              <a:gd name="connsiteY325" fmla="*/ 1764190 h 3876675"/>
              <a:gd name="connsiteX326" fmla="*/ 4473420 w 5562600"/>
              <a:gd name="connsiteY326" fmla="*/ 2055655 h 3876675"/>
              <a:gd name="connsiteX327" fmla="*/ 4439130 w 5562600"/>
              <a:gd name="connsiteY327" fmla="*/ 2271873 h 3876675"/>
              <a:gd name="connsiteX328" fmla="*/ 4450560 w 5562600"/>
              <a:gd name="connsiteY328" fmla="*/ 2256633 h 3876675"/>
              <a:gd name="connsiteX329" fmla="*/ 4681065 w 5562600"/>
              <a:gd name="connsiteY329" fmla="*/ 2235678 h 3876675"/>
              <a:gd name="connsiteX330" fmla="*/ 4972530 w 5562600"/>
              <a:gd name="connsiteY330" fmla="*/ 2196625 h 3876675"/>
              <a:gd name="connsiteX331" fmla="*/ 5045873 w 5562600"/>
              <a:gd name="connsiteY331" fmla="*/ 2059465 h 3876675"/>
              <a:gd name="connsiteX332" fmla="*/ 5098260 w 5562600"/>
              <a:gd name="connsiteY332" fmla="*/ 1929925 h 3876675"/>
              <a:gd name="connsiteX333" fmla="*/ 5108737 w 5562600"/>
              <a:gd name="connsiteY333" fmla="*/ 1947070 h 3876675"/>
              <a:gd name="connsiteX334" fmla="*/ 5067780 w 5562600"/>
              <a:gd name="connsiteY334" fmla="*/ 2088040 h 3876675"/>
              <a:gd name="connsiteX335" fmla="*/ 4993485 w 5562600"/>
              <a:gd name="connsiteY335" fmla="*/ 2220438 h 3876675"/>
              <a:gd name="connsiteX336" fmla="*/ 4702020 w 5562600"/>
              <a:gd name="connsiteY336" fmla="*/ 2260443 h 3876675"/>
              <a:gd name="connsiteX337" fmla="*/ 4470563 w 5562600"/>
              <a:gd name="connsiteY337" fmla="*/ 2282350 h 3876675"/>
              <a:gd name="connsiteX338" fmla="*/ 4472468 w 5562600"/>
              <a:gd name="connsiteY338" fmla="*/ 2413796 h 3876675"/>
              <a:gd name="connsiteX339" fmla="*/ 4455323 w 5562600"/>
              <a:gd name="connsiteY339" fmla="*/ 2529048 h 3876675"/>
              <a:gd name="connsiteX340" fmla="*/ 4447703 w 5562600"/>
              <a:gd name="connsiteY340" fmla="*/ 2430940 h 3876675"/>
              <a:gd name="connsiteX341" fmla="*/ 4447703 w 5562600"/>
              <a:gd name="connsiteY341" fmla="*/ 2430940 h 3876675"/>
              <a:gd name="connsiteX342" fmla="*/ 5297333 w 5562600"/>
              <a:gd name="connsiteY342" fmla="*/ 2400460 h 3876675"/>
              <a:gd name="connsiteX343" fmla="*/ 5332575 w 5562600"/>
              <a:gd name="connsiteY343" fmla="*/ 2246155 h 3876675"/>
              <a:gd name="connsiteX344" fmla="*/ 5344958 w 5562600"/>
              <a:gd name="connsiteY344" fmla="*/ 2263300 h 3876675"/>
              <a:gd name="connsiteX345" fmla="*/ 5309715 w 5562600"/>
              <a:gd name="connsiteY345" fmla="*/ 2417605 h 3876675"/>
              <a:gd name="connsiteX346" fmla="*/ 5291618 w 5562600"/>
              <a:gd name="connsiteY346" fmla="*/ 2528096 h 3876675"/>
              <a:gd name="connsiteX347" fmla="*/ 5297333 w 5562600"/>
              <a:gd name="connsiteY347" fmla="*/ 2400460 h 3876675"/>
              <a:gd name="connsiteX348" fmla="*/ 5297333 w 5562600"/>
              <a:gd name="connsiteY348" fmla="*/ 2400460 h 3876675"/>
              <a:gd name="connsiteX349" fmla="*/ 3783810 w 5562600"/>
              <a:gd name="connsiteY349" fmla="*/ 1514635 h 3876675"/>
              <a:gd name="connsiteX350" fmla="*/ 3749520 w 5562600"/>
              <a:gd name="connsiteY350" fmla="*/ 1154590 h 3876675"/>
              <a:gd name="connsiteX351" fmla="*/ 3737138 w 5562600"/>
              <a:gd name="connsiteY351" fmla="*/ 954565 h 3876675"/>
              <a:gd name="connsiteX352" fmla="*/ 3750473 w 5562600"/>
              <a:gd name="connsiteY352" fmla="*/ 994570 h 3876675"/>
              <a:gd name="connsiteX353" fmla="*/ 3782857 w 5562600"/>
              <a:gd name="connsiteY353" fmla="*/ 1152685 h 3876675"/>
              <a:gd name="connsiteX354" fmla="*/ 3836198 w 5562600"/>
              <a:gd name="connsiteY354" fmla="*/ 1366045 h 3876675"/>
              <a:gd name="connsiteX355" fmla="*/ 3766665 w 5562600"/>
              <a:gd name="connsiteY355" fmla="*/ 1570833 h 3876675"/>
              <a:gd name="connsiteX356" fmla="*/ 3783810 w 5562600"/>
              <a:gd name="connsiteY356" fmla="*/ 1514635 h 3876675"/>
              <a:gd name="connsiteX357" fmla="*/ 3783810 w 5562600"/>
              <a:gd name="connsiteY357" fmla="*/ 1514635 h 3876675"/>
              <a:gd name="connsiteX358" fmla="*/ 4717260 w 5562600"/>
              <a:gd name="connsiteY358" fmla="*/ 1482250 h 3876675"/>
              <a:gd name="connsiteX359" fmla="*/ 4737263 w 5562600"/>
              <a:gd name="connsiteY359" fmla="*/ 1438435 h 3876675"/>
              <a:gd name="connsiteX360" fmla="*/ 4745835 w 5562600"/>
              <a:gd name="connsiteY360" fmla="*/ 1482250 h 3876675"/>
              <a:gd name="connsiteX361" fmla="*/ 4725833 w 5562600"/>
              <a:gd name="connsiteY361" fmla="*/ 1526065 h 3876675"/>
              <a:gd name="connsiteX362" fmla="*/ 4717260 w 5562600"/>
              <a:gd name="connsiteY362" fmla="*/ 1482250 h 3876675"/>
              <a:gd name="connsiteX363" fmla="*/ 4894425 w 5562600"/>
              <a:gd name="connsiteY363" fmla="*/ 2983390 h 3876675"/>
              <a:gd name="connsiteX364" fmla="*/ 4758218 w 5562600"/>
              <a:gd name="connsiteY364" fmla="*/ 3001488 h 3876675"/>
              <a:gd name="connsiteX365" fmla="*/ 4894425 w 5562600"/>
              <a:gd name="connsiteY365" fmla="*/ 2983390 h 3876675"/>
              <a:gd name="connsiteX366" fmla="*/ 1091093 w 5562600"/>
              <a:gd name="connsiteY366" fmla="*/ 3230088 h 3876675"/>
              <a:gd name="connsiteX367" fmla="*/ 1239682 w 5562600"/>
              <a:gd name="connsiteY367" fmla="*/ 3185321 h 3876675"/>
              <a:gd name="connsiteX368" fmla="*/ 1167293 w 5562600"/>
              <a:gd name="connsiteY368" fmla="*/ 3155793 h 3876675"/>
              <a:gd name="connsiteX369" fmla="*/ 936787 w 5562600"/>
              <a:gd name="connsiteY369" fmla="*/ 3111978 h 3876675"/>
              <a:gd name="connsiteX370" fmla="*/ 611985 w 5562600"/>
              <a:gd name="connsiteY370" fmla="*/ 3092928 h 3876675"/>
              <a:gd name="connsiteX371" fmla="*/ 485302 w 5562600"/>
              <a:gd name="connsiteY371" fmla="*/ 3161508 h 3876675"/>
              <a:gd name="connsiteX372" fmla="*/ 1091093 w 5562600"/>
              <a:gd name="connsiteY372" fmla="*/ 3230088 h 3876675"/>
              <a:gd name="connsiteX373" fmla="*/ 1091093 w 5562600"/>
              <a:gd name="connsiteY373" fmla="*/ 3230088 h 3876675"/>
              <a:gd name="connsiteX374" fmla="*/ 1234920 w 5562600"/>
              <a:gd name="connsiteY374" fmla="*/ 3106263 h 3876675"/>
              <a:gd name="connsiteX375" fmla="*/ 1218727 w 5562600"/>
              <a:gd name="connsiteY375" fmla="*/ 3022443 h 3876675"/>
              <a:gd name="connsiteX376" fmla="*/ 881542 w 5562600"/>
              <a:gd name="connsiteY376" fmla="*/ 2910048 h 3876675"/>
              <a:gd name="connsiteX377" fmla="*/ 720570 w 5562600"/>
              <a:gd name="connsiteY377" fmla="*/ 2847183 h 3876675"/>
              <a:gd name="connsiteX378" fmla="*/ 648180 w 5562600"/>
              <a:gd name="connsiteY378" fmla="*/ 2944338 h 3876675"/>
              <a:gd name="connsiteX379" fmla="*/ 920595 w 5562600"/>
              <a:gd name="connsiteY379" fmla="*/ 3078640 h 3876675"/>
              <a:gd name="connsiteX380" fmla="*/ 1234920 w 5562600"/>
              <a:gd name="connsiteY380" fmla="*/ 3106263 h 3876675"/>
              <a:gd name="connsiteX381" fmla="*/ 1234920 w 5562600"/>
              <a:gd name="connsiteY381" fmla="*/ 3106263 h 3876675"/>
              <a:gd name="connsiteX382" fmla="*/ 612937 w 5562600"/>
              <a:gd name="connsiteY382" fmla="*/ 2929098 h 3876675"/>
              <a:gd name="connsiteX383" fmla="*/ 425295 w 5562600"/>
              <a:gd name="connsiteY383" fmla="*/ 2835753 h 3876675"/>
              <a:gd name="connsiteX384" fmla="*/ 205267 w 5562600"/>
              <a:gd name="connsiteY384" fmla="*/ 2689068 h 3876675"/>
              <a:gd name="connsiteX385" fmla="*/ 139545 w 5562600"/>
              <a:gd name="connsiteY385" fmla="*/ 2546193 h 3876675"/>
              <a:gd name="connsiteX386" fmla="*/ 73822 w 5562600"/>
              <a:gd name="connsiteY386" fmla="*/ 2396650 h 3876675"/>
              <a:gd name="connsiteX387" fmla="*/ 104302 w 5562600"/>
              <a:gd name="connsiteY387" fmla="*/ 2433798 h 3876675"/>
              <a:gd name="connsiteX388" fmla="*/ 163357 w 5562600"/>
              <a:gd name="connsiteY388" fmla="*/ 2554765 h 3876675"/>
              <a:gd name="connsiteX389" fmla="*/ 195742 w 5562600"/>
              <a:gd name="connsiteY389" fmla="*/ 2599533 h 3876675"/>
              <a:gd name="connsiteX390" fmla="*/ 265275 w 5562600"/>
              <a:gd name="connsiteY390" fmla="*/ 2568100 h 3876675"/>
              <a:gd name="connsiteX391" fmla="*/ 344332 w 5562600"/>
              <a:gd name="connsiteY391" fmla="*/ 2388078 h 3876675"/>
              <a:gd name="connsiteX392" fmla="*/ 346237 w 5562600"/>
              <a:gd name="connsiteY392" fmla="*/ 2227105 h 3876675"/>
              <a:gd name="connsiteX393" fmla="*/ 227175 w 5562600"/>
              <a:gd name="connsiteY393" fmla="*/ 2229963 h 3876675"/>
              <a:gd name="connsiteX394" fmla="*/ 202410 w 5562600"/>
              <a:gd name="connsiteY394" fmla="*/ 2251871 h 3876675"/>
              <a:gd name="connsiteX395" fmla="*/ 205267 w 5562600"/>
              <a:gd name="connsiteY395" fmla="*/ 2218533 h 3876675"/>
              <a:gd name="connsiteX396" fmla="*/ 283372 w 5562600"/>
              <a:gd name="connsiteY396" fmla="*/ 2185196 h 3876675"/>
              <a:gd name="connsiteX397" fmla="*/ 348142 w 5562600"/>
              <a:gd name="connsiteY397" fmla="*/ 2091850 h 3876675"/>
              <a:gd name="connsiteX398" fmla="*/ 624367 w 5562600"/>
              <a:gd name="connsiteY398" fmla="*/ 1767048 h 3876675"/>
              <a:gd name="connsiteX399" fmla="*/ 689137 w 5562600"/>
              <a:gd name="connsiteY399" fmla="*/ 1703230 h 3876675"/>
              <a:gd name="connsiteX400" fmla="*/ 735810 w 5562600"/>
              <a:gd name="connsiteY400" fmla="*/ 1568928 h 3876675"/>
              <a:gd name="connsiteX401" fmla="*/ 733905 w 5562600"/>
              <a:gd name="connsiteY401" fmla="*/ 1611790 h 3876675"/>
              <a:gd name="connsiteX402" fmla="*/ 801532 w 5562600"/>
              <a:gd name="connsiteY402" fmla="*/ 2025175 h 3876675"/>
              <a:gd name="connsiteX403" fmla="*/ 882495 w 5562600"/>
              <a:gd name="connsiteY403" fmla="*/ 2219485 h 3876675"/>
              <a:gd name="connsiteX404" fmla="*/ 689137 w 5562600"/>
              <a:gd name="connsiteY404" fmla="*/ 1826103 h 3876675"/>
              <a:gd name="connsiteX405" fmla="*/ 514830 w 5562600"/>
              <a:gd name="connsiteY405" fmla="*/ 1821340 h 3876675"/>
              <a:gd name="connsiteX406" fmla="*/ 413865 w 5562600"/>
              <a:gd name="connsiteY406" fmla="*/ 2317593 h 3876675"/>
              <a:gd name="connsiteX407" fmla="*/ 413865 w 5562600"/>
              <a:gd name="connsiteY407" fmla="*/ 2374743 h 3876675"/>
              <a:gd name="connsiteX408" fmla="*/ 368145 w 5562600"/>
              <a:gd name="connsiteY408" fmla="*/ 2369980 h 3876675"/>
              <a:gd name="connsiteX409" fmla="*/ 435772 w 5562600"/>
              <a:gd name="connsiteY409" fmla="*/ 2645253 h 3876675"/>
              <a:gd name="connsiteX410" fmla="*/ 492922 w 5562600"/>
              <a:gd name="connsiteY410" fmla="*/ 2702403 h 3876675"/>
              <a:gd name="connsiteX411" fmla="*/ 971077 w 5562600"/>
              <a:gd name="connsiteY411" fmla="*/ 2696688 h 3876675"/>
              <a:gd name="connsiteX412" fmla="*/ 1449232 w 5562600"/>
              <a:gd name="connsiteY412" fmla="*/ 2690973 h 3876675"/>
              <a:gd name="connsiteX413" fmla="*/ 1534005 w 5562600"/>
              <a:gd name="connsiteY413" fmla="*/ 2606200 h 3876675"/>
              <a:gd name="connsiteX414" fmla="*/ 1583535 w 5562600"/>
              <a:gd name="connsiteY414" fmla="*/ 2452848 h 3876675"/>
              <a:gd name="connsiteX415" fmla="*/ 1256827 w 5562600"/>
              <a:gd name="connsiteY415" fmla="*/ 2309021 h 3876675"/>
              <a:gd name="connsiteX416" fmla="*/ 1144432 w 5562600"/>
              <a:gd name="connsiteY416" fmla="*/ 2288065 h 3876675"/>
              <a:gd name="connsiteX417" fmla="*/ 1496857 w 5562600"/>
              <a:gd name="connsiteY417" fmla="*/ 2329023 h 3876675"/>
              <a:gd name="connsiteX418" fmla="*/ 1594013 w 5562600"/>
              <a:gd name="connsiteY418" fmla="*/ 2325213 h 3876675"/>
              <a:gd name="connsiteX419" fmla="*/ 1602585 w 5562600"/>
              <a:gd name="connsiteY419" fmla="*/ 2134713 h 3876675"/>
              <a:gd name="connsiteX420" fmla="*/ 1562580 w 5562600"/>
              <a:gd name="connsiteY420" fmla="*/ 1892778 h 3876675"/>
              <a:gd name="connsiteX421" fmla="*/ 1536863 w 5562600"/>
              <a:gd name="connsiteY421" fmla="*/ 1756570 h 3876675"/>
              <a:gd name="connsiteX422" fmla="*/ 1537815 w 5562600"/>
              <a:gd name="connsiteY422" fmla="*/ 1728948 h 3876675"/>
              <a:gd name="connsiteX423" fmla="*/ 1583535 w 5562600"/>
              <a:gd name="connsiteY423" fmla="*/ 1722280 h 3876675"/>
              <a:gd name="connsiteX424" fmla="*/ 1599727 w 5562600"/>
              <a:gd name="connsiteY424" fmla="*/ 1816578 h 3876675"/>
              <a:gd name="connsiteX425" fmla="*/ 1683547 w 5562600"/>
              <a:gd name="connsiteY425" fmla="*/ 2346168 h 3876675"/>
              <a:gd name="connsiteX426" fmla="*/ 1763557 w 5562600"/>
              <a:gd name="connsiteY426" fmla="*/ 2385221 h 3876675"/>
              <a:gd name="connsiteX427" fmla="*/ 1994063 w 5562600"/>
              <a:gd name="connsiteY427" fmla="*/ 2207103 h 3876675"/>
              <a:gd name="connsiteX428" fmla="*/ 2111220 w 5562600"/>
              <a:gd name="connsiteY428" fmla="*/ 1789908 h 3876675"/>
              <a:gd name="connsiteX429" fmla="*/ 2077882 w 5562600"/>
              <a:gd name="connsiteY429" fmla="*/ 1610838 h 3876675"/>
              <a:gd name="connsiteX430" fmla="*/ 2206470 w 5562600"/>
              <a:gd name="connsiteY430" fmla="*/ 1462248 h 3876675"/>
              <a:gd name="connsiteX431" fmla="*/ 2194088 w 5562600"/>
              <a:gd name="connsiteY431" fmla="*/ 1487013 h 3876675"/>
              <a:gd name="connsiteX432" fmla="*/ 2131223 w 5562600"/>
              <a:gd name="connsiteY432" fmla="*/ 1741330 h 3876675"/>
              <a:gd name="connsiteX433" fmla="*/ 2179800 w 5562600"/>
              <a:gd name="connsiteY433" fmla="*/ 1926115 h 3876675"/>
              <a:gd name="connsiteX434" fmla="*/ 2236950 w 5562600"/>
              <a:gd name="connsiteY434" fmla="*/ 2018508 h 3876675"/>
              <a:gd name="connsiteX435" fmla="*/ 2315055 w 5562600"/>
              <a:gd name="connsiteY435" fmla="*/ 1853725 h 3876675"/>
              <a:gd name="connsiteX436" fmla="*/ 2393160 w 5562600"/>
              <a:gd name="connsiteY436" fmla="*/ 1485108 h 3876675"/>
              <a:gd name="connsiteX437" fmla="*/ 2472217 w 5562600"/>
              <a:gd name="connsiteY437" fmla="*/ 1023145 h 3876675"/>
              <a:gd name="connsiteX438" fmla="*/ 2635095 w 5562600"/>
              <a:gd name="connsiteY438" fmla="*/ 371635 h 3876675"/>
              <a:gd name="connsiteX439" fmla="*/ 2714153 w 5562600"/>
              <a:gd name="connsiteY439" fmla="*/ 146845 h 3876675"/>
              <a:gd name="connsiteX440" fmla="*/ 2483648 w 5562600"/>
              <a:gd name="connsiteY440" fmla="*/ 30640 h 3876675"/>
              <a:gd name="connsiteX441" fmla="*/ 2347440 w 5562600"/>
              <a:gd name="connsiteY441" fmla="*/ 140178 h 3876675"/>
              <a:gd name="connsiteX442" fmla="*/ 2406495 w 5562600"/>
              <a:gd name="connsiteY442" fmla="*/ 224950 h 3876675"/>
              <a:gd name="connsiteX443" fmla="*/ 2286480 w 5562600"/>
              <a:gd name="connsiteY443" fmla="*/ 439263 h 3876675"/>
              <a:gd name="connsiteX444" fmla="*/ 2245523 w 5562600"/>
              <a:gd name="connsiteY444" fmla="*/ 637383 h 3876675"/>
              <a:gd name="connsiteX445" fmla="*/ 1915957 w 5562600"/>
              <a:gd name="connsiteY445" fmla="*/ 1276510 h 3876675"/>
              <a:gd name="connsiteX446" fmla="*/ 1701645 w 5562600"/>
              <a:gd name="connsiteY446" fmla="*/ 1605123 h 3876675"/>
              <a:gd name="connsiteX447" fmla="*/ 1768320 w 5562600"/>
              <a:gd name="connsiteY447" fmla="*/ 1722280 h 3876675"/>
              <a:gd name="connsiteX448" fmla="*/ 1836900 w 5562600"/>
              <a:gd name="connsiteY448" fmla="*/ 1879443 h 3876675"/>
              <a:gd name="connsiteX449" fmla="*/ 1879763 w 5562600"/>
              <a:gd name="connsiteY449" fmla="*/ 1956595 h 3876675"/>
              <a:gd name="connsiteX450" fmla="*/ 1831185 w 5562600"/>
              <a:gd name="connsiteY450" fmla="*/ 1897540 h 3876675"/>
              <a:gd name="connsiteX451" fmla="*/ 1735935 w 5562600"/>
              <a:gd name="connsiteY451" fmla="*/ 1721328 h 3876675"/>
              <a:gd name="connsiteX452" fmla="*/ 1594965 w 5562600"/>
              <a:gd name="connsiteY452" fmla="*/ 1571785 h 3876675"/>
              <a:gd name="connsiteX453" fmla="*/ 1400655 w 5562600"/>
              <a:gd name="connsiteY453" fmla="*/ 1729900 h 3876675"/>
              <a:gd name="connsiteX454" fmla="*/ 1122525 w 5562600"/>
              <a:gd name="connsiteY454" fmla="*/ 2118521 h 3876675"/>
              <a:gd name="connsiteX455" fmla="*/ 949170 w 5562600"/>
              <a:gd name="connsiteY455" fmla="*/ 2447133 h 3876675"/>
              <a:gd name="connsiteX456" fmla="*/ 1130145 w 5562600"/>
              <a:gd name="connsiteY456" fmla="*/ 2495711 h 3876675"/>
              <a:gd name="connsiteX457" fmla="*/ 1293022 w 5562600"/>
              <a:gd name="connsiteY457" fmla="*/ 2514761 h 3876675"/>
              <a:gd name="connsiteX458" fmla="*/ 1128240 w 5562600"/>
              <a:gd name="connsiteY458" fmla="*/ 2508093 h 3876675"/>
              <a:gd name="connsiteX459" fmla="*/ 640560 w 5562600"/>
              <a:gd name="connsiteY459" fmla="*/ 2349025 h 3876675"/>
              <a:gd name="connsiteX460" fmla="*/ 590077 w 5562600"/>
              <a:gd name="connsiteY460" fmla="*/ 2278540 h 3876675"/>
              <a:gd name="connsiteX461" fmla="*/ 661515 w 5562600"/>
              <a:gd name="connsiteY461" fmla="*/ 2325213 h 3876675"/>
              <a:gd name="connsiteX462" fmla="*/ 815820 w 5562600"/>
              <a:gd name="connsiteY462" fmla="*/ 2415700 h 3876675"/>
              <a:gd name="connsiteX463" fmla="*/ 909165 w 5562600"/>
              <a:gd name="connsiteY463" fmla="*/ 2449038 h 3876675"/>
              <a:gd name="connsiteX464" fmla="*/ 909165 w 5562600"/>
              <a:gd name="connsiteY464" fmla="*/ 2367123 h 3876675"/>
              <a:gd name="connsiteX465" fmla="*/ 1075852 w 5562600"/>
              <a:gd name="connsiteY465" fmla="*/ 2107090 h 3876675"/>
              <a:gd name="connsiteX466" fmla="*/ 1153957 w 5562600"/>
              <a:gd name="connsiteY466" fmla="*/ 2074705 h 3876675"/>
              <a:gd name="connsiteX467" fmla="*/ 1054897 w 5562600"/>
              <a:gd name="connsiteY467" fmla="*/ 1965168 h 3876675"/>
              <a:gd name="connsiteX468" fmla="*/ 917737 w 5562600"/>
              <a:gd name="connsiteY468" fmla="*/ 1687038 h 3876675"/>
              <a:gd name="connsiteX469" fmla="*/ 943455 w 5562600"/>
              <a:gd name="connsiteY469" fmla="*/ 1715613 h 3876675"/>
              <a:gd name="connsiteX470" fmla="*/ 1030132 w 5562600"/>
              <a:gd name="connsiteY470" fmla="*/ 1856583 h 3876675"/>
              <a:gd name="connsiteX471" fmla="*/ 1224443 w 5562600"/>
              <a:gd name="connsiteY471" fmla="*/ 1694658 h 3876675"/>
              <a:gd name="connsiteX472" fmla="*/ 1339695 w 5562600"/>
              <a:gd name="connsiteY472" fmla="*/ 1547973 h 3876675"/>
              <a:gd name="connsiteX473" fmla="*/ 1400655 w 5562600"/>
              <a:gd name="connsiteY473" fmla="*/ 1492728 h 3876675"/>
              <a:gd name="connsiteX474" fmla="*/ 1333980 w 5562600"/>
              <a:gd name="connsiteY474" fmla="*/ 1580358 h 3876675"/>
              <a:gd name="connsiteX475" fmla="*/ 1218727 w 5562600"/>
              <a:gd name="connsiteY475" fmla="*/ 1749903 h 3876675"/>
              <a:gd name="connsiteX476" fmla="*/ 1104427 w 5562600"/>
              <a:gd name="connsiteY476" fmla="*/ 1859440 h 3876675"/>
              <a:gd name="connsiteX477" fmla="*/ 1039657 w 5562600"/>
              <a:gd name="connsiteY477" fmla="*/ 1904208 h 3876675"/>
              <a:gd name="connsiteX478" fmla="*/ 1104427 w 5562600"/>
              <a:gd name="connsiteY478" fmla="*/ 1992790 h 3876675"/>
              <a:gd name="connsiteX479" fmla="*/ 1209202 w 5562600"/>
              <a:gd name="connsiteY479" fmla="*/ 2040415 h 3876675"/>
              <a:gd name="connsiteX480" fmla="*/ 1358745 w 5562600"/>
              <a:gd name="connsiteY480" fmla="*/ 1792765 h 3876675"/>
              <a:gd name="connsiteX481" fmla="*/ 1397797 w 5562600"/>
              <a:gd name="connsiteY481" fmla="*/ 1625125 h 3876675"/>
              <a:gd name="connsiteX482" fmla="*/ 1488285 w 5562600"/>
              <a:gd name="connsiteY482" fmla="*/ 1529875 h 3876675"/>
              <a:gd name="connsiteX483" fmla="*/ 1551150 w 5562600"/>
              <a:gd name="connsiteY483" fmla="*/ 1522255 h 3876675"/>
              <a:gd name="connsiteX484" fmla="*/ 1537815 w 5562600"/>
              <a:gd name="connsiteY484" fmla="*/ 1375570 h 3876675"/>
              <a:gd name="connsiteX485" fmla="*/ 1530195 w 5562600"/>
              <a:gd name="connsiteY485" fmla="*/ 740253 h 3876675"/>
              <a:gd name="connsiteX486" fmla="*/ 1537815 w 5562600"/>
              <a:gd name="connsiteY486" fmla="*/ 638335 h 3876675"/>
              <a:gd name="connsiteX487" fmla="*/ 1530195 w 5562600"/>
              <a:gd name="connsiteY487" fmla="*/ 611665 h 3876675"/>
              <a:gd name="connsiteX488" fmla="*/ 1570200 w 5562600"/>
              <a:gd name="connsiteY488" fmla="*/ 617380 h 3876675"/>
              <a:gd name="connsiteX489" fmla="*/ 1558770 w 5562600"/>
              <a:gd name="connsiteY489" fmla="*/ 743110 h 3876675"/>
              <a:gd name="connsiteX490" fmla="*/ 1560675 w 5562600"/>
              <a:gd name="connsiteY490" fmla="*/ 1278415 h 3876675"/>
              <a:gd name="connsiteX491" fmla="*/ 1693072 w 5562600"/>
              <a:gd name="connsiteY491" fmla="*/ 1495585 h 3876675"/>
              <a:gd name="connsiteX492" fmla="*/ 1903575 w 5562600"/>
              <a:gd name="connsiteY492" fmla="*/ 1250793 h 3876675"/>
              <a:gd name="connsiteX493" fmla="*/ 2214090 w 5562600"/>
              <a:gd name="connsiteY493" fmla="*/ 617380 h 3876675"/>
              <a:gd name="connsiteX494" fmla="*/ 1838805 w 5562600"/>
              <a:gd name="connsiteY494" fmla="*/ 477363 h 3876675"/>
              <a:gd name="connsiteX495" fmla="*/ 1350172 w 5562600"/>
              <a:gd name="connsiteY495" fmla="*/ 692628 h 3876675"/>
              <a:gd name="connsiteX496" fmla="*/ 778672 w 5562600"/>
              <a:gd name="connsiteY496" fmla="*/ 1184118 h 3876675"/>
              <a:gd name="connsiteX497" fmla="*/ 525307 w 5562600"/>
              <a:gd name="connsiteY497" fmla="*/ 1520350 h 3876675"/>
              <a:gd name="connsiteX498" fmla="*/ 353857 w 5562600"/>
              <a:gd name="connsiteY498" fmla="*/ 1757523 h 3876675"/>
              <a:gd name="connsiteX499" fmla="*/ 246225 w 5562600"/>
              <a:gd name="connsiteY499" fmla="*/ 1861345 h 3876675"/>
              <a:gd name="connsiteX500" fmla="*/ 203362 w 5562600"/>
              <a:gd name="connsiteY500" fmla="*/ 1894683 h 3876675"/>
              <a:gd name="connsiteX501" fmla="*/ 271942 w 5562600"/>
              <a:gd name="connsiteY501" fmla="*/ 1795623 h 3876675"/>
              <a:gd name="connsiteX502" fmla="*/ 501495 w 5562600"/>
              <a:gd name="connsiteY502" fmla="*/ 1511778 h 3876675"/>
              <a:gd name="connsiteX503" fmla="*/ 809152 w 5562600"/>
              <a:gd name="connsiteY503" fmla="*/ 1126968 h 3876675"/>
              <a:gd name="connsiteX504" fmla="*/ 1116810 w 5562600"/>
              <a:gd name="connsiteY504" fmla="*/ 889795 h 3876675"/>
              <a:gd name="connsiteX505" fmla="*/ 1327313 w 5562600"/>
              <a:gd name="connsiteY505" fmla="*/ 674530 h 3876675"/>
              <a:gd name="connsiteX506" fmla="*/ 1915957 w 5562600"/>
              <a:gd name="connsiteY506" fmla="*/ 443073 h 3876675"/>
              <a:gd name="connsiteX507" fmla="*/ 2299815 w 5562600"/>
              <a:gd name="connsiteY507" fmla="*/ 355443 h 3876675"/>
              <a:gd name="connsiteX508" fmla="*/ 2018827 w 5562600"/>
              <a:gd name="connsiteY508" fmla="*/ 179230 h 3876675"/>
              <a:gd name="connsiteX509" fmla="*/ 1638780 w 5562600"/>
              <a:gd name="connsiteY509" fmla="*/ 355443 h 3876675"/>
              <a:gd name="connsiteX510" fmla="*/ 1277782 w 5562600"/>
              <a:gd name="connsiteY510" fmla="*/ 516415 h 3876675"/>
              <a:gd name="connsiteX511" fmla="*/ 1074900 w 5562600"/>
              <a:gd name="connsiteY511" fmla="*/ 636430 h 3876675"/>
              <a:gd name="connsiteX512" fmla="*/ 915832 w 5562600"/>
              <a:gd name="connsiteY512" fmla="*/ 769780 h 3876675"/>
              <a:gd name="connsiteX513" fmla="*/ 675802 w 5562600"/>
              <a:gd name="connsiteY513" fmla="*/ 976473 h 3876675"/>
              <a:gd name="connsiteX514" fmla="*/ 368145 w 5562600"/>
              <a:gd name="connsiteY514" fmla="*/ 1338423 h 3876675"/>
              <a:gd name="connsiteX515" fmla="*/ 310995 w 5562600"/>
              <a:gd name="connsiteY515" fmla="*/ 1463200 h 3876675"/>
              <a:gd name="connsiteX516" fmla="*/ 90015 w 5562600"/>
              <a:gd name="connsiteY516" fmla="*/ 1944213 h 3876675"/>
              <a:gd name="connsiteX517" fmla="*/ 58582 w 5562600"/>
              <a:gd name="connsiteY517" fmla="*/ 2582388 h 3876675"/>
              <a:gd name="connsiteX518" fmla="*/ 560550 w 5562600"/>
              <a:gd name="connsiteY518" fmla="*/ 2998630 h 3876675"/>
              <a:gd name="connsiteX519" fmla="*/ 642465 w 5562600"/>
              <a:gd name="connsiteY519" fmla="*/ 3000536 h 3876675"/>
              <a:gd name="connsiteX520" fmla="*/ 612937 w 5562600"/>
              <a:gd name="connsiteY520" fmla="*/ 2929098 h 3876675"/>
              <a:gd name="connsiteX521" fmla="*/ 612937 w 5562600"/>
              <a:gd name="connsiteY521" fmla="*/ 2929098 h 3876675"/>
              <a:gd name="connsiteX522" fmla="*/ 1965488 w 5562600"/>
              <a:gd name="connsiteY522" fmla="*/ 1623220 h 3876675"/>
              <a:gd name="connsiteX523" fmla="*/ 1944532 w 5562600"/>
              <a:gd name="connsiteY523" fmla="*/ 1592740 h 3876675"/>
              <a:gd name="connsiteX524" fmla="*/ 2021685 w 5562600"/>
              <a:gd name="connsiteY524" fmla="*/ 1625125 h 3876675"/>
              <a:gd name="connsiteX525" fmla="*/ 1965488 w 5562600"/>
              <a:gd name="connsiteY525" fmla="*/ 1623220 h 3876675"/>
              <a:gd name="connsiteX526" fmla="*/ 1965488 w 5562600"/>
              <a:gd name="connsiteY526" fmla="*/ 1623220 h 3876675"/>
              <a:gd name="connsiteX527" fmla="*/ 1075852 w 5562600"/>
              <a:gd name="connsiteY527" fmla="*/ 1331755 h 3876675"/>
              <a:gd name="connsiteX528" fmla="*/ 1043467 w 5562600"/>
              <a:gd name="connsiteY528" fmla="*/ 1203168 h 3876675"/>
              <a:gd name="connsiteX529" fmla="*/ 1045372 w 5562600"/>
              <a:gd name="connsiteY529" fmla="*/ 1141255 h 3876675"/>
              <a:gd name="connsiteX530" fmla="*/ 1061565 w 5562600"/>
              <a:gd name="connsiteY530" fmla="*/ 1206978 h 3876675"/>
              <a:gd name="connsiteX531" fmla="*/ 1105380 w 5562600"/>
              <a:gd name="connsiteY531" fmla="*/ 1324135 h 3876675"/>
              <a:gd name="connsiteX532" fmla="*/ 1121572 w 5562600"/>
              <a:gd name="connsiteY532" fmla="*/ 1387000 h 3876675"/>
              <a:gd name="connsiteX533" fmla="*/ 1075852 w 5562600"/>
              <a:gd name="connsiteY533" fmla="*/ 1331755 h 3876675"/>
              <a:gd name="connsiteX534" fmla="*/ 1075852 w 5562600"/>
              <a:gd name="connsiteY534" fmla="*/ 1331755 h 3876675"/>
              <a:gd name="connsiteX535" fmla="*/ 1825470 w 5562600"/>
              <a:gd name="connsiteY535" fmla="*/ 1160305 h 3876675"/>
              <a:gd name="connsiteX536" fmla="*/ 1936913 w 5562600"/>
              <a:gd name="connsiteY536" fmla="*/ 761208 h 3876675"/>
              <a:gd name="connsiteX537" fmla="*/ 2025495 w 5562600"/>
              <a:gd name="connsiteY537" fmla="*/ 655480 h 3876675"/>
              <a:gd name="connsiteX538" fmla="*/ 1980727 w 5562600"/>
              <a:gd name="connsiteY538" fmla="*/ 738348 h 3876675"/>
              <a:gd name="connsiteX539" fmla="*/ 1854997 w 5562600"/>
              <a:gd name="connsiteY539" fmla="*/ 1086010 h 3876675"/>
              <a:gd name="connsiteX540" fmla="*/ 1825470 w 5562600"/>
              <a:gd name="connsiteY540" fmla="*/ 1160305 h 3876675"/>
              <a:gd name="connsiteX541" fmla="*/ 1825470 w 5562600"/>
              <a:gd name="connsiteY541" fmla="*/ 1160305 h 3876675"/>
              <a:gd name="connsiteX542" fmla="*/ 1293022 w 5562600"/>
              <a:gd name="connsiteY542" fmla="*/ 2937671 h 3876675"/>
              <a:gd name="connsiteX543" fmla="*/ 1312072 w 5562600"/>
              <a:gd name="connsiteY543" fmla="*/ 2860518 h 3876675"/>
              <a:gd name="connsiteX544" fmla="*/ 1078710 w 5562600"/>
              <a:gd name="connsiteY544" fmla="*/ 2847183 h 3876675"/>
              <a:gd name="connsiteX545" fmla="*/ 888210 w 5562600"/>
              <a:gd name="connsiteY545" fmla="*/ 2881473 h 3876675"/>
              <a:gd name="connsiteX546" fmla="*/ 1095855 w 5562600"/>
              <a:gd name="connsiteY546" fmla="*/ 2980533 h 3876675"/>
              <a:gd name="connsiteX547" fmla="*/ 1293022 w 5562600"/>
              <a:gd name="connsiteY547" fmla="*/ 2937671 h 3876675"/>
              <a:gd name="connsiteX548" fmla="*/ 1293022 w 5562600"/>
              <a:gd name="connsiteY548" fmla="*/ 2937671 h 3876675"/>
              <a:gd name="connsiteX549" fmla="*/ 1374938 w 5562600"/>
              <a:gd name="connsiteY549" fmla="*/ 2774793 h 3876675"/>
              <a:gd name="connsiteX550" fmla="*/ 1133955 w 5562600"/>
              <a:gd name="connsiteY550" fmla="*/ 2728121 h 3876675"/>
              <a:gd name="connsiteX551" fmla="*/ 740572 w 5562600"/>
              <a:gd name="connsiteY551" fmla="*/ 2743361 h 3876675"/>
              <a:gd name="connsiteX552" fmla="*/ 376717 w 5562600"/>
              <a:gd name="connsiteY552" fmla="*/ 2614773 h 3876675"/>
              <a:gd name="connsiteX553" fmla="*/ 270037 w 5562600"/>
              <a:gd name="connsiteY553" fmla="*/ 2606200 h 3876675"/>
              <a:gd name="connsiteX554" fmla="*/ 239557 w 5562600"/>
              <a:gd name="connsiteY554" fmla="*/ 2699546 h 3876675"/>
              <a:gd name="connsiteX555" fmla="*/ 938692 w 5562600"/>
              <a:gd name="connsiteY555" fmla="*/ 2815750 h 3876675"/>
              <a:gd name="connsiteX556" fmla="*/ 1374938 w 5562600"/>
              <a:gd name="connsiteY556" fmla="*/ 2774793 h 3876675"/>
              <a:gd name="connsiteX557" fmla="*/ 1374938 w 5562600"/>
              <a:gd name="connsiteY557" fmla="*/ 2774793 h 3876675"/>
              <a:gd name="connsiteX558" fmla="*/ 1743555 w 5562600"/>
              <a:gd name="connsiteY558" fmla="*/ 2410938 h 3876675"/>
              <a:gd name="connsiteX559" fmla="*/ 1674022 w 5562600"/>
              <a:gd name="connsiteY559" fmla="*/ 2368075 h 3876675"/>
              <a:gd name="connsiteX560" fmla="*/ 1604490 w 5562600"/>
              <a:gd name="connsiteY560" fmla="*/ 2361408 h 3876675"/>
              <a:gd name="connsiteX561" fmla="*/ 1609252 w 5562600"/>
              <a:gd name="connsiteY561" fmla="*/ 2450943 h 3876675"/>
              <a:gd name="connsiteX562" fmla="*/ 1645447 w 5562600"/>
              <a:gd name="connsiteY562" fmla="*/ 2513808 h 3876675"/>
              <a:gd name="connsiteX563" fmla="*/ 1710218 w 5562600"/>
              <a:gd name="connsiteY563" fmla="*/ 2467136 h 3876675"/>
              <a:gd name="connsiteX564" fmla="*/ 1743555 w 5562600"/>
              <a:gd name="connsiteY564" fmla="*/ 2410938 h 3876675"/>
              <a:gd name="connsiteX565" fmla="*/ 1743555 w 5562600"/>
              <a:gd name="connsiteY565" fmla="*/ 2410938 h 3876675"/>
              <a:gd name="connsiteX566" fmla="*/ 5521170 w 5562600"/>
              <a:gd name="connsiteY566" fmla="*/ 2042320 h 3876675"/>
              <a:gd name="connsiteX567" fmla="*/ 5296380 w 5562600"/>
              <a:gd name="connsiteY567" fmla="*/ 1512730 h 3876675"/>
              <a:gd name="connsiteX568" fmla="*/ 5208750 w 5562600"/>
              <a:gd name="connsiteY568" fmla="*/ 1419385 h 3876675"/>
              <a:gd name="connsiteX569" fmla="*/ 5167793 w 5562600"/>
              <a:gd name="connsiteY569" fmla="*/ 1441293 h 3876675"/>
              <a:gd name="connsiteX570" fmla="*/ 5161125 w 5562600"/>
              <a:gd name="connsiteY570" fmla="*/ 1474630 h 3876675"/>
              <a:gd name="connsiteX571" fmla="*/ 5113500 w 5562600"/>
              <a:gd name="connsiteY571" fmla="*/ 1356520 h 3876675"/>
              <a:gd name="connsiteX572" fmla="*/ 4716308 w 5562600"/>
              <a:gd name="connsiteY572" fmla="*/ 986950 h 3876675"/>
              <a:gd name="connsiteX573" fmla="*/ 4583910 w 5562600"/>
              <a:gd name="connsiteY573" fmla="*/ 950755 h 3876675"/>
              <a:gd name="connsiteX574" fmla="*/ 4762028 w 5562600"/>
              <a:gd name="connsiteY574" fmla="*/ 966948 h 3876675"/>
              <a:gd name="connsiteX575" fmla="*/ 4829655 w 5562600"/>
              <a:gd name="connsiteY575" fmla="*/ 980283 h 3876675"/>
              <a:gd name="connsiteX576" fmla="*/ 4795365 w 5562600"/>
              <a:gd name="connsiteY576" fmla="*/ 913608 h 3876675"/>
              <a:gd name="connsiteX577" fmla="*/ 4469610 w 5562600"/>
              <a:gd name="connsiteY577" fmla="*/ 737395 h 3876675"/>
              <a:gd name="connsiteX578" fmla="*/ 4419128 w 5562600"/>
              <a:gd name="connsiteY578" fmla="*/ 689770 h 3876675"/>
              <a:gd name="connsiteX579" fmla="*/ 4518188 w 5562600"/>
              <a:gd name="connsiteY579" fmla="*/ 669768 h 3876675"/>
              <a:gd name="connsiteX580" fmla="*/ 4323878 w 5562600"/>
              <a:gd name="connsiteY580" fmla="*/ 502128 h 3876675"/>
              <a:gd name="connsiteX581" fmla="*/ 3980025 w 5562600"/>
              <a:gd name="connsiteY581" fmla="*/ 337345 h 3876675"/>
              <a:gd name="connsiteX582" fmla="*/ 3789525 w 5562600"/>
              <a:gd name="connsiteY582" fmla="*/ 227808 h 3876675"/>
              <a:gd name="connsiteX583" fmla="*/ 3531398 w 5562600"/>
              <a:gd name="connsiteY583" fmla="*/ 351633 h 3876675"/>
              <a:gd name="connsiteX584" fmla="*/ 3385665 w 5562600"/>
              <a:gd name="connsiteY584" fmla="*/ 539275 h 3876675"/>
              <a:gd name="connsiteX585" fmla="*/ 3288510 w 5562600"/>
              <a:gd name="connsiteY585" fmla="*/ 664053 h 3876675"/>
              <a:gd name="connsiteX586" fmla="*/ 3424717 w 5562600"/>
              <a:gd name="connsiteY586" fmla="*/ 747873 h 3876675"/>
              <a:gd name="connsiteX587" fmla="*/ 3791430 w 5562600"/>
              <a:gd name="connsiteY587" fmla="*/ 845028 h 3876675"/>
              <a:gd name="connsiteX588" fmla="*/ 4226723 w 5562600"/>
              <a:gd name="connsiteY588" fmla="*/ 986950 h 3876675"/>
              <a:gd name="connsiteX589" fmla="*/ 4350548 w 5562600"/>
              <a:gd name="connsiteY589" fmla="*/ 1049815 h 3876675"/>
              <a:gd name="connsiteX590" fmla="*/ 5037300 w 5562600"/>
              <a:gd name="connsiteY590" fmla="*/ 1543210 h 3876675"/>
              <a:gd name="connsiteX591" fmla="*/ 5099212 w 5562600"/>
              <a:gd name="connsiteY591" fmla="*/ 1593693 h 3876675"/>
              <a:gd name="connsiteX592" fmla="*/ 5400203 w 5562600"/>
              <a:gd name="connsiteY592" fmla="*/ 1888015 h 3876675"/>
              <a:gd name="connsiteX593" fmla="*/ 5512598 w 5562600"/>
              <a:gd name="connsiteY593" fmla="*/ 2129950 h 3876675"/>
              <a:gd name="connsiteX594" fmla="*/ 5521170 w 5562600"/>
              <a:gd name="connsiteY594" fmla="*/ 2042320 h 3876675"/>
              <a:gd name="connsiteX595" fmla="*/ 5521170 w 5562600"/>
              <a:gd name="connsiteY595" fmla="*/ 2042320 h 3876675"/>
              <a:gd name="connsiteX596" fmla="*/ 3828578 w 5562600"/>
              <a:gd name="connsiteY596" fmla="*/ 512605 h 3876675"/>
              <a:gd name="connsiteX597" fmla="*/ 3619028 w 5562600"/>
              <a:gd name="connsiteY597" fmla="*/ 480220 h 3876675"/>
              <a:gd name="connsiteX598" fmla="*/ 4038128 w 5562600"/>
              <a:gd name="connsiteY598" fmla="*/ 509748 h 3876675"/>
              <a:gd name="connsiteX599" fmla="*/ 4043842 w 5562600"/>
              <a:gd name="connsiteY599" fmla="*/ 532608 h 3876675"/>
              <a:gd name="connsiteX600" fmla="*/ 3828578 w 5562600"/>
              <a:gd name="connsiteY600" fmla="*/ 512605 h 3876675"/>
              <a:gd name="connsiteX601" fmla="*/ 3828578 w 5562600"/>
              <a:gd name="connsiteY601" fmla="*/ 512605 h 387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Lst>
            <a:rect l="l" t="t" r="r" b="b"/>
            <a:pathLst>
              <a:path w="5562600" h="3876675">
                <a:moveTo>
                  <a:pt x="2572230" y="3667286"/>
                </a:moveTo>
                <a:cubicBezTo>
                  <a:pt x="2565563" y="3658713"/>
                  <a:pt x="2423640" y="3735865"/>
                  <a:pt x="2326485" y="3800636"/>
                </a:cubicBezTo>
                <a:cubicBezTo>
                  <a:pt x="2165513" y="3908268"/>
                  <a:pt x="1885477" y="3899696"/>
                  <a:pt x="1794990" y="3785396"/>
                </a:cubicBezTo>
                <a:cubicBezTo>
                  <a:pt x="1770225" y="3753963"/>
                  <a:pt x="1710218" y="3723483"/>
                  <a:pt x="1635922" y="3705386"/>
                </a:cubicBezTo>
                <a:cubicBezTo>
                  <a:pt x="1539720" y="3682525"/>
                  <a:pt x="1492095" y="3652998"/>
                  <a:pt x="1390177" y="3552986"/>
                </a:cubicBezTo>
                <a:cubicBezTo>
                  <a:pt x="1286355" y="3452021"/>
                  <a:pt x="1260638" y="3412015"/>
                  <a:pt x="1248255" y="3333911"/>
                </a:cubicBezTo>
                <a:lnTo>
                  <a:pt x="1233015" y="3237708"/>
                </a:lnTo>
                <a:lnTo>
                  <a:pt x="1109190" y="3250090"/>
                </a:lnTo>
                <a:cubicBezTo>
                  <a:pt x="1041562" y="3256758"/>
                  <a:pt x="920595" y="3269140"/>
                  <a:pt x="840585" y="3277713"/>
                </a:cubicBezTo>
                <a:cubicBezTo>
                  <a:pt x="748192" y="3287238"/>
                  <a:pt x="666277" y="3283428"/>
                  <a:pt x="616747" y="3267236"/>
                </a:cubicBezTo>
                <a:cubicBezTo>
                  <a:pt x="535785" y="3240565"/>
                  <a:pt x="424342" y="3151983"/>
                  <a:pt x="424342" y="3113883"/>
                </a:cubicBezTo>
                <a:cubicBezTo>
                  <a:pt x="424342" y="3102453"/>
                  <a:pt x="489112" y="3085308"/>
                  <a:pt x="567217" y="3077688"/>
                </a:cubicBezTo>
                <a:cubicBezTo>
                  <a:pt x="645322" y="3070068"/>
                  <a:pt x="710092" y="3054828"/>
                  <a:pt x="710092" y="3046255"/>
                </a:cubicBezTo>
                <a:cubicBezTo>
                  <a:pt x="710092" y="3037683"/>
                  <a:pt x="635797" y="3024348"/>
                  <a:pt x="544357" y="3017680"/>
                </a:cubicBezTo>
                <a:cubicBezTo>
                  <a:pt x="190980" y="2990058"/>
                  <a:pt x="6195" y="2757648"/>
                  <a:pt x="7147" y="2341405"/>
                </a:cubicBezTo>
                <a:cubicBezTo>
                  <a:pt x="8100" y="2106138"/>
                  <a:pt x="60487" y="1910875"/>
                  <a:pt x="200505" y="1625125"/>
                </a:cubicBezTo>
                <a:cubicBezTo>
                  <a:pt x="271942" y="1479393"/>
                  <a:pt x="347190" y="1320325"/>
                  <a:pt x="369097" y="1269843"/>
                </a:cubicBezTo>
                <a:cubicBezTo>
                  <a:pt x="412912" y="1166020"/>
                  <a:pt x="530070" y="1046958"/>
                  <a:pt x="722475" y="909798"/>
                </a:cubicBezTo>
                <a:cubicBezTo>
                  <a:pt x="794865" y="858363"/>
                  <a:pt x="877732" y="786925"/>
                  <a:pt x="906307" y="751683"/>
                </a:cubicBezTo>
                <a:cubicBezTo>
                  <a:pt x="967267" y="676435"/>
                  <a:pt x="1188247" y="525940"/>
                  <a:pt x="1328265" y="464028"/>
                </a:cubicBezTo>
                <a:cubicBezTo>
                  <a:pt x="1382557" y="440215"/>
                  <a:pt x="1541625" y="373540"/>
                  <a:pt x="1680690" y="316390"/>
                </a:cubicBezTo>
                <a:cubicBezTo>
                  <a:pt x="1819755" y="259240"/>
                  <a:pt x="1982632" y="181135"/>
                  <a:pt x="2042640" y="143035"/>
                </a:cubicBezTo>
                <a:cubicBezTo>
                  <a:pt x="2102648" y="104935"/>
                  <a:pt x="2172180" y="73503"/>
                  <a:pt x="2196945" y="72550"/>
                </a:cubicBezTo>
                <a:cubicBezTo>
                  <a:pt x="2221710" y="71598"/>
                  <a:pt x="2261715" y="57310"/>
                  <a:pt x="2284575" y="39213"/>
                </a:cubicBezTo>
                <a:cubicBezTo>
                  <a:pt x="2336010" y="160"/>
                  <a:pt x="2577945" y="-4602"/>
                  <a:pt x="2658907" y="32545"/>
                </a:cubicBezTo>
                <a:cubicBezTo>
                  <a:pt x="2689388" y="46833"/>
                  <a:pt x="2719867" y="74455"/>
                  <a:pt x="2726535" y="95410"/>
                </a:cubicBezTo>
                <a:cubicBezTo>
                  <a:pt x="2736060" y="124938"/>
                  <a:pt x="2776065" y="136368"/>
                  <a:pt x="2908463" y="148750"/>
                </a:cubicBezTo>
                <a:cubicBezTo>
                  <a:pt x="3001807" y="157323"/>
                  <a:pt x="3138015" y="163038"/>
                  <a:pt x="3210405" y="162085"/>
                </a:cubicBezTo>
                <a:cubicBezTo>
                  <a:pt x="3291367" y="160180"/>
                  <a:pt x="3391380" y="176373"/>
                  <a:pt x="3469485" y="203995"/>
                </a:cubicBezTo>
                <a:cubicBezTo>
                  <a:pt x="3564735" y="236380"/>
                  <a:pt x="3611407" y="243048"/>
                  <a:pt x="3652365" y="226855"/>
                </a:cubicBezTo>
                <a:cubicBezTo>
                  <a:pt x="3768570" y="183040"/>
                  <a:pt x="3851438" y="201138"/>
                  <a:pt x="3959070" y="294483"/>
                </a:cubicBezTo>
                <a:cubicBezTo>
                  <a:pt x="4085753" y="404020"/>
                  <a:pt x="4211483" y="469743"/>
                  <a:pt x="4295303" y="469743"/>
                </a:cubicBezTo>
                <a:cubicBezTo>
                  <a:pt x="4385790" y="469743"/>
                  <a:pt x="4504853" y="556420"/>
                  <a:pt x="4529618" y="641193"/>
                </a:cubicBezTo>
                <a:cubicBezTo>
                  <a:pt x="4541048" y="680245"/>
                  <a:pt x="4559145" y="712630"/>
                  <a:pt x="4570575" y="712630"/>
                </a:cubicBezTo>
                <a:cubicBezTo>
                  <a:pt x="4636298" y="712630"/>
                  <a:pt x="4752503" y="798355"/>
                  <a:pt x="4807748" y="887890"/>
                </a:cubicBezTo>
                <a:cubicBezTo>
                  <a:pt x="4842038" y="944088"/>
                  <a:pt x="4910618" y="1022193"/>
                  <a:pt x="4959195" y="1061245"/>
                </a:cubicBezTo>
                <a:cubicBezTo>
                  <a:pt x="5046825" y="1131730"/>
                  <a:pt x="5135408" y="1271748"/>
                  <a:pt x="5135408" y="1338423"/>
                </a:cubicBezTo>
                <a:cubicBezTo>
                  <a:pt x="5135408" y="1357473"/>
                  <a:pt x="5149695" y="1372713"/>
                  <a:pt x="5166840" y="1372713"/>
                </a:cubicBezTo>
                <a:cubicBezTo>
                  <a:pt x="5236373" y="1372713"/>
                  <a:pt x="5315430" y="1484155"/>
                  <a:pt x="5433540" y="1747045"/>
                </a:cubicBezTo>
                <a:cubicBezTo>
                  <a:pt x="5533553" y="1969930"/>
                  <a:pt x="5555460" y="2037558"/>
                  <a:pt x="5545935" y="2105185"/>
                </a:cubicBezTo>
                <a:cubicBezTo>
                  <a:pt x="5540220" y="2150905"/>
                  <a:pt x="5544983" y="2220438"/>
                  <a:pt x="5557365" y="2261396"/>
                </a:cubicBezTo>
                <a:cubicBezTo>
                  <a:pt x="5586893" y="2357598"/>
                  <a:pt x="5504978" y="2735740"/>
                  <a:pt x="5429730" y="2852898"/>
                </a:cubicBezTo>
                <a:cubicBezTo>
                  <a:pt x="5362103" y="2957673"/>
                  <a:pt x="5266853" y="3008155"/>
                  <a:pt x="5169698" y="2990058"/>
                </a:cubicBezTo>
                <a:cubicBezTo>
                  <a:pt x="5153505" y="2987200"/>
                  <a:pt x="5022060" y="2942433"/>
                  <a:pt x="4775363" y="3005298"/>
                </a:cubicBezTo>
                <a:cubicBezTo>
                  <a:pt x="4528665" y="3068163"/>
                  <a:pt x="4479135" y="3036730"/>
                  <a:pt x="4267680" y="2998630"/>
                </a:cubicBezTo>
                <a:cubicBezTo>
                  <a:pt x="3940973" y="2938623"/>
                  <a:pt x="3955260" y="3037683"/>
                  <a:pt x="3700942" y="3133886"/>
                </a:cubicBezTo>
                <a:cubicBezTo>
                  <a:pt x="3642840" y="3155793"/>
                  <a:pt x="3530445" y="3203418"/>
                  <a:pt x="3403763" y="3223421"/>
                </a:cubicBezTo>
                <a:cubicBezTo>
                  <a:pt x="3256125" y="3246280"/>
                  <a:pt x="3199928" y="3171033"/>
                  <a:pt x="3073245" y="3231993"/>
                </a:cubicBezTo>
                <a:cubicBezTo>
                  <a:pt x="2946563" y="3292953"/>
                  <a:pt x="2936085" y="3312955"/>
                  <a:pt x="2824642" y="3411063"/>
                </a:cubicBezTo>
                <a:cubicBezTo>
                  <a:pt x="2752253" y="3473928"/>
                  <a:pt x="2572230" y="3667286"/>
                  <a:pt x="2572230" y="3667286"/>
                </a:cubicBezTo>
                <a:lnTo>
                  <a:pt x="2572230" y="3667286"/>
                </a:lnTo>
                <a:close/>
                <a:moveTo>
                  <a:pt x="2189325" y="3836830"/>
                </a:moveTo>
                <a:cubicBezTo>
                  <a:pt x="2234093" y="3824448"/>
                  <a:pt x="2293148" y="3794921"/>
                  <a:pt x="2321723" y="3772061"/>
                </a:cubicBezTo>
                <a:lnTo>
                  <a:pt x="2373157" y="3729198"/>
                </a:lnTo>
                <a:lnTo>
                  <a:pt x="2281718" y="3728246"/>
                </a:lnTo>
                <a:cubicBezTo>
                  <a:pt x="2215995" y="3727293"/>
                  <a:pt x="2160750" y="3707290"/>
                  <a:pt x="2082645" y="3654903"/>
                </a:cubicBezTo>
                <a:lnTo>
                  <a:pt x="1975013" y="3582513"/>
                </a:lnTo>
                <a:lnTo>
                  <a:pt x="1935960" y="3634900"/>
                </a:lnTo>
                <a:cubicBezTo>
                  <a:pt x="1914052" y="3663475"/>
                  <a:pt x="1872143" y="3696813"/>
                  <a:pt x="1841663" y="3708243"/>
                </a:cubicBezTo>
                <a:cubicBezTo>
                  <a:pt x="1793085" y="3726340"/>
                  <a:pt x="1790227" y="3733961"/>
                  <a:pt x="1815945" y="3765393"/>
                </a:cubicBezTo>
                <a:cubicBezTo>
                  <a:pt x="1885477" y="3849213"/>
                  <a:pt x="2037877" y="3878740"/>
                  <a:pt x="2189325" y="3836830"/>
                </a:cubicBezTo>
                <a:lnTo>
                  <a:pt x="2189325" y="3836830"/>
                </a:lnTo>
                <a:close/>
                <a:moveTo>
                  <a:pt x="1831185" y="3680621"/>
                </a:moveTo>
                <a:cubicBezTo>
                  <a:pt x="1916910" y="3651093"/>
                  <a:pt x="1943580" y="3604421"/>
                  <a:pt x="1946438" y="3480596"/>
                </a:cubicBezTo>
                <a:cubicBezTo>
                  <a:pt x="1948343" y="3386298"/>
                  <a:pt x="1948343" y="3386298"/>
                  <a:pt x="1965488" y="3458688"/>
                </a:cubicBezTo>
                <a:cubicBezTo>
                  <a:pt x="1999777" y="3603468"/>
                  <a:pt x="2150273" y="3704433"/>
                  <a:pt x="2333153" y="3704433"/>
                </a:cubicBezTo>
                <a:cubicBezTo>
                  <a:pt x="2471265" y="3704433"/>
                  <a:pt x="2570325" y="3640615"/>
                  <a:pt x="2745585" y="3438686"/>
                </a:cubicBezTo>
                <a:cubicBezTo>
                  <a:pt x="2817023" y="3355818"/>
                  <a:pt x="2917988" y="3266283"/>
                  <a:pt x="2969423" y="3238661"/>
                </a:cubicBezTo>
                <a:lnTo>
                  <a:pt x="3062767" y="3189130"/>
                </a:lnTo>
                <a:lnTo>
                  <a:pt x="2976090" y="3125313"/>
                </a:lnTo>
                <a:lnTo>
                  <a:pt x="2889413" y="3061496"/>
                </a:lnTo>
                <a:lnTo>
                  <a:pt x="2719867" y="3171986"/>
                </a:lnTo>
                <a:cubicBezTo>
                  <a:pt x="2626523" y="3232946"/>
                  <a:pt x="2502698" y="3305336"/>
                  <a:pt x="2445548" y="3332958"/>
                </a:cubicBezTo>
                <a:cubicBezTo>
                  <a:pt x="2330295" y="3388203"/>
                  <a:pt x="2312198" y="3432018"/>
                  <a:pt x="2396018" y="3452973"/>
                </a:cubicBezTo>
                <a:cubicBezTo>
                  <a:pt x="2426498" y="3460593"/>
                  <a:pt x="2451263" y="3475833"/>
                  <a:pt x="2451263" y="3486311"/>
                </a:cubicBezTo>
                <a:cubicBezTo>
                  <a:pt x="2451263" y="3511075"/>
                  <a:pt x="2336010" y="3467261"/>
                  <a:pt x="2315055" y="3433923"/>
                </a:cubicBezTo>
                <a:cubicBezTo>
                  <a:pt x="2292195" y="3396775"/>
                  <a:pt x="2334105" y="3355818"/>
                  <a:pt x="2458882" y="3292953"/>
                </a:cubicBezTo>
                <a:cubicBezTo>
                  <a:pt x="2634142" y="3204371"/>
                  <a:pt x="2869410" y="3039588"/>
                  <a:pt x="2855123" y="3016728"/>
                </a:cubicBezTo>
                <a:cubicBezTo>
                  <a:pt x="2826548" y="2970055"/>
                  <a:pt x="2631285" y="2903380"/>
                  <a:pt x="2484600" y="2889093"/>
                </a:cubicBezTo>
                <a:lnTo>
                  <a:pt x="2330295" y="2874805"/>
                </a:lnTo>
                <a:lnTo>
                  <a:pt x="2467455" y="2871948"/>
                </a:lnTo>
                <a:cubicBezTo>
                  <a:pt x="2556038" y="2870043"/>
                  <a:pt x="2643667" y="2883378"/>
                  <a:pt x="2715105" y="2911000"/>
                </a:cubicBezTo>
                <a:cubicBezTo>
                  <a:pt x="2800830" y="2943386"/>
                  <a:pt x="2825595" y="2946243"/>
                  <a:pt x="2825595" y="2923383"/>
                </a:cubicBezTo>
                <a:cubicBezTo>
                  <a:pt x="2825595" y="2842421"/>
                  <a:pt x="3083723" y="2750028"/>
                  <a:pt x="3169448" y="2799558"/>
                </a:cubicBezTo>
                <a:cubicBezTo>
                  <a:pt x="3202785" y="2818608"/>
                  <a:pt x="3186592" y="2823371"/>
                  <a:pt x="3089438" y="2824323"/>
                </a:cubicBezTo>
                <a:cubicBezTo>
                  <a:pt x="2996092" y="2825275"/>
                  <a:pt x="2953230" y="2836705"/>
                  <a:pt x="2902748" y="2877663"/>
                </a:cubicBezTo>
                <a:cubicBezTo>
                  <a:pt x="2842740" y="2925288"/>
                  <a:pt x="2839882" y="2934813"/>
                  <a:pt x="2865600" y="2982438"/>
                </a:cubicBezTo>
                <a:cubicBezTo>
                  <a:pt x="2880840" y="3011013"/>
                  <a:pt x="2943705" y="3069115"/>
                  <a:pt x="3003713" y="3110073"/>
                </a:cubicBezTo>
                <a:cubicBezTo>
                  <a:pt x="3107535" y="3180558"/>
                  <a:pt x="3124680" y="3185321"/>
                  <a:pt x="3305655" y="3186273"/>
                </a:cubicBezTo>
                <a:cubicBezTo>
                  <a:pt x="3492345" y="3187225"/>
                  <a:pt x="3503775" y="3184368"/>
                  <a:pt x="3748567" y="3070068"/>
                </a:cubicBezTo>
                <a:cubicBezTo>
                  <a:pt x="4046700" y="2930050"/>
                  <a:pt x="4189575" y="2906238"/>
                  <a:pt x="4362930" y="2969103"/>
                </a:cubicBezTo>
                <a:cubicBezTo>
                  <a:pt x="4462943" y="3005298"/>
                  <a:pt x="4490565" y="3006250"/>
                  <a:pt x="4659158" y="2979580"/>
                </a:cubicBezTo>
                <a:cubicBezTo>
                  <a:pt x="4768695" y="2962436"/>
                  <a:pt x="4932525" y="2954815"/>
                  <a:pt x="5056350" y="2961483"/>
                </a:cubicBezTo>
                <a:cubicBezTo>
                  <a:pt x="5374485" y="2977675"/>
                  <a:pt x="5421158" y="2935765"/>
                  <a:pt x="5510693" y="2549050"/>
                </a:cubicBezTo>
                <a:cubicBezTo>
                  <a:pt x="5562128" y="2329023"/>
                  <a:pt x="5556412" y="2271873"/>
                  <a:pt x="5464973" y="2109948"/>
                </a:cubicBezTo>
                <a:cubicBezTo>
                  <a:pt x="5430683" y="2048988"/>
                  <a:pt x="5396393" y="1962310"/>
                  <a:pt x="5387820" y="1916590"/>
                </a:cubicBezTo>
                <a:cubicBezTo>
                  <a:pt x="5379248" y="1870870"/>
                  <a:pt x="5353530" y="1811815"/>
                  <a:pt x="5330670" y="1784193"/>
                </a:cubicBezTo>
                <a:cubicBezTo>
                  <a:pt x="5288760" y="1735615"/>
                  <a:pt x="5288760" y="1735615"/>
                  <a:pt x="5299237" y="1867060"/>
                </a:cubicBezTo>
                <a:cubicBezTo>
                  <a:pt x="5309715" y="1989933"/>
                  <a:pt x="5308762" y="1992790"/>
                  <a:pt x="5287808" y="1910875"/>
                </a:cubicBezTo>
                <a:cubicBezTo>
                  <a:pt x="5275425" y="1862298"/>
                  <a:pt x="5260185" y="1799433"/>
                  <a:pt x="5254470" y="1771810"/>
                </a:cubicBezTo>
                <a:cubicBezTo>
                  <a:pt x="5229705" y="1653700"/>
                  <a:pt x="5047778" y="1554640"/>
                  <a:pt x="5047778" y="1659415"/>
                </a:cubicBezTo>
                <a:cubicBezTo>
                  <a:pt x="5047778" y="1685133"/>
                  <a:pt x="4983008" y="1773715"/>
                  <a:pt x="4899187" y="1863250"/>
                </a:cubicBezTo>
                <a:cubicBezTo>
                  <a:pt x="4817273" y="1949928"/>
                  <a:pt x="4734405" y="2046130"/>
                  <a:pt x="4714403" y="2076610"/>
                </a:cubicBezTo>
                <a:cubicBezTo>
                  <a:pt x="4694400" y="2107090"/>
                  <a:pt x="4672493" y="2126140"/>
                  <a:pt x="4664873" y="2119473"/>
                </a:cubicBezTo>
                <a:cubicBezTo>
                  <a:pt x="4657253" y="2112805"/>
                  <a:pt x="4731548" y="2018508"/>
                  <a:pt x="4828703" y="1910875"/>
                </a:cubicBezTo>
                <a:cubicBezTo>
                  <a:pt x="4925858" y="1803243"/>
                  <a:pt x="5011583" y="1691800"/>
                  <a:pt x="5018250" y="1664178"/>
                </a:cubicBezTo>
                <a:cubicBezTo>
                  <a:pt x="5044920" y="1558450"/>
                  <a:pt x="4978245" y="1458438"/>
                  <a:pt x="4794413" y="1325088"/>
                </a:cubicBezTo>
                <a:cubicBezTo>
                  <a:pt x="4604865" y="1188880"/>
                  <a:pt x="4572480" y="1176498"/>
                  <a:pt x="4557240" y="1235553"/>
                </a:cubicBezTo>
                <a:cubicBezTo>
                  <a:pt x="4550573" y="1259365"/>
                  <a:pt x="4545810" y="1250793"/>
                  <a:pt x="4544858" y="1213645"/>
                </a:cubicBezTo>
                <a:cubicBezTo>
                  <a:pt x="4542953" y="1166973"/>
                  <a:pt x="4522950" y="1144113"/>
                  <a:pt x="4455323" y="1108870"/>
                </a:cubicBezTo>
                <a:cubicBezTo>
                  <a:pt x="4407698" y="1084105"/>
                  <a:pt x="4348643" y="1064103"/>
                  <a:pt x="4323878" y="1064103"/>
                </a:cubicBezTo>
                <a:cubicBezTo>
                  <a:pt x="4285778" y="1064103"/>
                  <a:pt x="4281968" y="1071723"/>
                  <a:pt x="4300065" y="1119348"/>
                </a:cubicBezTo>
                <a:cubicBezTo>
                  <a:pt x="4311495" y="1149828"/>
                  <a:pt x="4313400" y="1174593"/>
                  <a:pt x="4303875" y="1174593"/>
                </a:cubicBezTo>
                <a:cubicBezTo>
                  <a:pt x="4294350" y="1174593"/>
                  <a:pt x="4274348" y="1140303"/>
                  <a:pt x="4259108" y="1097440"/>
                </a:cubicBezTo>
                <a:cubicBezTo>
                  <a:pt x="4202910" y="942183"/>
                  <a:pt x="4043842" y="872650"/>
                  <a:pt x="3713325" y="861220"/>
                </a:cubicBezTo>
                <a:cubicBezTo>
                  <a:pt x="3550448" y="855505"/>
                  <a:pt x="3536160" y="858363"/>
                  <a:pt x="3553305" y="891700"/>
                </a:cubicBezTo>
                <a:cubicBezTo>
                  <a:pt x="3563782" y="911703"/>
                  <a:pt x="3572355" y="942183"/>
                  <a:pt x="3572355" y="957423"/>
                </a:cubicBezTo>
                <a:cubicBezTo>
                  <a:pt x="3572355" y="972663"/>
                  <a:pt x="3556163" y="951708"/>
                  <a:pt x="3539017" y="909798"/>
                </a:cubicBezTo>
                <a:cubicBezTo>
                  <a:pt x="3497107" y="809785"/>
                  <a:pt x="3350423" y="705963"/>
                  <a:pt x="3248505" y="703105"/>
                </a:cubicBezTo>
                <a:cubicBezTo>
                  <a:pt x="3180878" y="701200"/>
                  <a:pt x="3160875" y="713583"/>
                  <a:pt x="3102773" y="791688"/>
                </a:cubicBezTo>
                <a:cubicBezTo>
                  <a:pt x="3065625" y="841218"/>
                  <a:pt x="3008475" y="930753"/>
                  <a:pt x="2975138" y="989808"/>
                </a:cubicBezTo>
                <a:cubicBezTo>
                  <a:pt x="2941800" y="1048863"/>
                  <a:pt x="2877982" y="1154590"/>
                  <a:pt x="2833215" y="1225075"/>
                </a:cubicBezTo>
                <a:cubicBezTo>
                  <a:pt x="2756063" y="1346043"/>
                  <a:pt x="2753205" y="1357473"/>
                  <a:pt x="2780828" y="1423195"/>
                </a:cubicBezTo>
                <a:cubicBezTo>
                  <a:pt x="2797020" y="1461295"/>
                  <a:pt x="2813213" y="1532733"/>
                  <a:pt x="2817023" y="1581310"/>
                </a:cubicBezTo>
                <a:lnTo>
                  <a:pt x="2823690" y="1668940"/>
                </a:lnTo>
                <a:lnTo>
                  <a:pt x="2807498" y="1580358"/>
                </a:lnTo>
                <a:cubicBezTo>
                  <a:pt x="2798925" y="1531780"/>
                  <a:pt x="2775113" y="1467963"/>
                  <a:pt x="2755110" y="1439388"/>
                </a:cubicBezTo>
                <a:cubicBezTo>
                  <a:pt x="2722725" y="1392715"/>
                  <a:pt x="2721773" y="1378428"/>
                  <a:pt x="2749395" y="1311753"/>
                </a:cubicBezTo>
                <a:cubicBezTo>
                  <a:pt x="2766540" y="1270795"/>
                  <a:pt x="2801782" y="1206978"/>
                  <a:pt x="2828453" y="1170783"/>
                </a:cubicBezTo>
                <a:cubicBezTo>
                  <a:pt x="2864648" y="1120300"/>
                  <a:pt x="2869410" y="1098393"/>
                  <a:pt x="2850360" y="1078390"/>
                </a:cubicBezTo>
                <a:cubicBezTo>
                  <a:pt x="2831310" y="1058388"/>
                  <a:pt x="2819880" y="1060293"/>
                  <a:pt x="2803688" y="1086010"/>
                </a:cubicBezTo>
                <a:cubicBezTo>
                  <a:pt x="2785590" y="1114585"/>
                  <a:pt x="2782732" y="1113633"/>
                  <a:pt x="2782732" y="1083153"/>
                </a:cubicBezTo>
                <a:cubicBezTo>
                  <a:pt x="2782732" y="1041243"/>
                  <a:pt x="2840835" y="1011715"/>
                  <a:pt x="2859885" y="1043148"/>
                </a:cubicBezTo>
                <a:cubicBezTo>
                  <a:pt x="2885603" y="1085058"/>
                  <a:pt x="2914178" y="1062198"/>
                  <a:pt x="2966565" y="959328"/>
                </a:cubicBezTo>
                <a:cubicBezTo>
                  <a:pt x="3026573" y="841218"/>
                  <a:pt x="3016095" y="805975"/>
                  <a:pt x="2900842" y="745968"/>
                </a:cubicBezTo>
                <a:cubicBezTo>
                  <a:pt x="2861790" y="725013"/>
                  <a:pt x="2851313" y="712630"/>
                  <a:pt x="2874173" y="712630"/>
                </a:cubicBezTo>
                <a:cubicBezTo>
                  <a:pt x="2894175" y="712630"/>
                  <a:pt x="2939895" y="736443"/>
                  <a:pt x="2975138" y="766923"/>
                </a:cubicBezTo>
                <a:lnTo>
                  <a:pt x="3038955" y="821215"/>
                </a:lnTo>
                <a:lnTo>
                  <a:pt x="3084675" y="759303"/>
                </a:lnTo>
                <a:cubicBezTo>
                  <a:pt x="3109440" y="725013"/>
                  <a:pt x="3168495" y="680245"/>
                  <a:pt x="3214215" y="658338"/>
                </a:cubicBezTo>
                <a:cubicBezTo>
                  <a:pt x="3290415" y="623095"/>
                  <a:pt x="3374235" y="546895"/>
                  <a:pt x="3375188" y="511653"/>
                </a:cubicBezTo>
                <a:cubicBezTo>
                  <a:pt x="3375188" y="504033"/>
                  <a:pt x="3352328" y="503080"/>
                  <a:pt x="3322800" y="507843"/>
                </a:cubicBezTo>
                <a:cubicBezTo>
                  <a:pt x="3293273" y="512605"/>
                  <a:pt x="3242790" y="504033"/>
                  <a:pt x="3210405" y="485935"/>
                </a:cubicBezTo>
                <a:cubicBezTo>
                  <a:pt x="3152303" y="455455"/>
                  <a:pt x="3154207" y="454503"/>
                  <a:pt x="3268507" y="463075"/>
                </a:cubicBezTo>
                <a:cubicBezTo>
                  <a:pt x="3333278" y="467838"/>
                  <a:pt x="3397095" y="464028"/>
                  <a:pt x="3408525" y="454503"/>
                </a:cubicBezTo>
                <a:cubicBezTo>
                  <a:pt x="3442815" y="427833"/>
                  <a:pt x="3557115" y="269718"/>
                  <a:pt x="3548542" y="262098"/>
                </a:cubicBezTo>
                <a:cubicBezTo>
                  <a:pt x="3528540" y="243048"/>
                  <a:pt x="3294225" y="183993"/>
                  <a:pt x="3238028" y="183993"/>
                </a:cubicBezTo>
                <a:cubicBezTo>
                  <a:pt x="3148492" y="183993"/>
                  <a:pt x="3171353" y="233523"/>
                  <a:pt x="3273270" y="259240"/>
                </a:cubicBezTo>
                <a:cubicBezTo>
                  <a:pt x="3318038" y="270670"/>
                  <a:pt x="3354232" y="287815"/>
                  <a:pt x="3354232" y="297340"/>
                </a:cubicBezTo>
                <a:cubicBezTo>
                  <a:pt x="3354232" y="324963"/>
                  <a:pt x="3340898" y="321153"/>
                  <a:pt x="3170400" y="244953"/>
                </a:cubicBezTo>
                <a:cubicBezTo>
                  <a:pt x="3068482" y="200185"/>
                  <a:pt x="2965613" y="171610"/>
                  <a:pt x="2880840" y="165895"/>
                </a:cubicBezTo>
                <a:lnTo>
                  <a:pt x="2748442" y="157323"/>
                </a:lnTo>
                <a:lnTo>
                  <a:pt x="2712248" y="252573"/>
                </a:lnTo>
                <a:cubicBezTo>
                  <a:pt x="2692245" y="304960"/>
                  <a:pt x="2637953" y="437358"/>
                  <a:pt x="2592232" y="545943"/>
                </a:cubicBezTo>
                <a:cubicBezTo>
                  <a:pt x="2514128" y="731680"/>
                  <a:pt x="2508413" y="759303"/>
                  <a:pt x="2502698" y="1001238"/>
                </a:cubicBezTo>
                <a:cubicBezTo>
                  <a:pt x="2497935" y="1226028"/>
                  <a:pt x="2486505" y="1288893"/>
                  <a:pt x="2418878" y="1498443"/>
                </a:cubicBezTo>
                <a:cubicBezTo>
                  <a:pt x="2376015" y="1630840"/>
                  <a:pt x="2341725" y="1780383"/>
                  <a:pt x="2341725" y="1831818"/>
                </a:cubicBezTo>
                <a:lnTo>
                  <a:pt x="2341725" y="1925163"/>
                </a:lnTo>
                <a:lnTo>
                  <a:pt x="2407448" y="1869918"/>
                </a:lnTo>
                <a:cubicBezTo>
                  <a:pt x="2445548" y="1838485"/>
                  <a:pt x="2527463" y="1803243"/>
                  <a:pt x="2599853" y="1788003"/>
                </a:cubicBezTo>
                <a:cubicBezTo>
                  <a:pt x="2669385" y="1773715"/>
                  <a:pt x="2786542" y="1747045"/>
                  <a:pt x="2858932" y="1729900"/>
                </a:cubicBezTo>
                <a:cubicBezTo>
                  <a:pt x="2931323" y="1712755"/>
                  <a:pt x="3055148" y="1688943"/>
                  <a:pt x="3133253" y="1678465"/>
                </a:cubicBezTo>
                <a:cubicBezTo>
                  <a:pt x="3327563" y="1652748"/>
                  <a:pt x="3360900" y="1601313"/>
                  <a:pt x="3284700" y="1445103"/>
                </a:cubicBezTo>
                <a:cubicBezTo>
                  <a:pt x="3272317" y="1419385"/>
                  <a:pt x="3225645" y="1377475"/>
                  <a:pt x="3181830" y="1351758"/>
                </a:cubicBezTo>
                <a:cubicBezTo>
                  <a:pt x="3138015" y="1326040"/>
                  <a:pt x="3112298" y="1305085"/>
                  <a:pt x="3125632" y="1304133"/>
                </a:cubicBezTo>
                <a:cubicBezTo>
                  <a:pt x="3138967" y="1303180"/>
                  <a:pt x="3186592" y="1327945"/>
                  <a:pt x="3231360" y="1358425"/>
                </a:cubicBezTo>
                <a:cubicBezTo>
                  <a:pt x="3298035" y="1403193"/>
                  <a:pt x="3314228" y="1407955"/>
                  <a:pt x="3324705" y="1380333"/>
                </a:cubicBezTo>
                <a:cubicBezTo>
                  <a:pt x="3338992" y="1342233"/>
                  <a:pt x="3325657" y="1178403"/>
                  <a:pt x="3301845" y="1116490"/>
                </a:cubicBezTo>
                <a:cubicBezTo>
                  <a:pt x="3285653" y="1072675"/>
                  <a:pt x="3285653" y="1072675"/>
                  <a:pt x="3320895" y="1116490"/>
                </a:cubicBezTo>
                <a:cubicBezTo>
                  <a:pt x="3350423" y="1152685"/>
                  <a:pt x="3355185" y="1204120"/>
                  <a:pt x="3348517" y="1407955"/>
                </a:cubicBezTo>
                <a:cubicBezTo>
                  <a:pt x="3340898" y="1643223"/>
                  <a:pt x="3342803" y="1655605"/>
                  <a:pt x="3384713" y="1655605"/>
                </a:cubicBezTo>
                <a:cubicBezTo>
                  <a:pt x="3408525" y="1655605"/>
                  <a:pt x="3445673" y="1670845"/>
                  <a:pt x="3465675" y="1688943"/>
                </a:cubicBezTo>
                <a:cubicBezTo>
                  <a:pt x="3495203" y="1715613"/>
                  <a:pt x="3516157" y="1717518"/>
                  <a:pt x="3563782" y="1699420"/>
                </a:cubicBezTo>
                <a:cubicBezTo>
                  <a:pt x="3597120" y="1687038"/>
                  <a:pt x="3629505" y="1681323"/>
                  <a:pt x="3636173" y="1687038"/>
                </a:cubicBezTo>
                <a:cubicBezTo>
                  <a:pt x="3642840" y="1692753"/>
                  <a:pt x="3619028" y="1708945"/>
                  <a:pt x="3583785" y="1722280"/>
                </a:cubicBezTo>
                <a:cubicBezTo>
                  <a:pt x="3548542" y="1735615"/>
                  <a:pt x="3488535" y="1770858"/>
                  <a:pt x="3448530" y="1801338"/>
                </a:cubicBezTo>
                <a:cubicBezTo>
                  <a:pt x="3387570" y="1848010"/>
                  <a:pt x="3377092" y="1869918"/>
                  <a:pt x="3377092" y="1948023"/>
                </a:cubicBezTo>
                <a:cubicBezTo>
                  <a:pt x="3377092" y="1999458"/>
                  <a:pt x="3395190" y="2070895"/>
                  <a:pt x="3419003" y="2108043"/>
                </a:cubicBezTo>
                <a:cubicBezTo>
                  <a:pt x="3457103" y="2169955"/>
                  <a:pt x="3467580" y="2174718"/>
                  <a:pt x="3545685" y="2163288"/>
                </a:cubicBezTo>
                <a:cubicBezTo>
                  <a:pt x="3592357" y="2155668"/>
                  <a:pt x="3671415" y="2128998"/>
                  <a:pt x="3719992" y="2102328"/>
                </a:cubicBezTo>
                <a:cubicBezTo>
                  <a:pt x="3873345" y="2020413"/>
                  <a:pt x="4080990" y="1756570"/>
                  <a:pt x="4127663" y="1583215"/>
                </a:cubicBezTo>
                <a:cubicBezTo>
                  <a:pt x="4155285" y="1481298"/>
                  <a:pt x="4219103" y="1412718"/>
                  <a:pt x="4285778" y="1414623"/>
                </a:cubicBezTo>
                <a:cubicBezTo>
                  <a:pt x="4328640" y="1415575"/>
                  <a:pt x="4325783" y="1419385"/>
                  <a:pt x="4267680" y="1445103"/>
                </a:cubicBezTo>
                <a:cubicBezTo>
                  <a:pt x="4214340" y="1467963"/>
                  <a:pt x="4190528" y="1502253"/>
                  <a:pt x="4152428" y="1606075"/>
                </a:cubicBezTo>
                <a:cubicBezTo>
                  <a:pt x="4088610" y="1780383"/>
                  <a:pt x="3906682" y="2018508"/>
                  <a:pt x="3771428" y="2102328"/>
                </a:cubicBezTo>
                <a:cubicBezTo>
                  <a:pt x="3699038" y="2147096"/>
                  <a:pt x="3663795" y="2184243"/>
                  <a:pt x="3663795" y="2215675"/>
                </a:cubicBezTo>
                <a:cubicBezTo>
                  <a:pt x="3662842" y="2257585"/>
                  <a:pt x="3660938" y="2258538"/>
                  <a:pt x="3640935" y="2223296"/>
                </a:cubicBezTo>
                <a:cubicBezTo>
                  <a:pt x="3605692" y="2163288"/>
                  <a:pt x="3550448" y="2176623"/>
                  <a:pt x="3389475" y="2284255"/>
                </a:cubicBezTo>
                <a:cubicBezTo>
                  <a:pt x="3307560" y="2339500"/>
                  <a:pt x="3197070" y="2395698"/>
                  <a:pt x="3144682" y="2409985"/>
                </a:cubicBezTo>
                <a:cubicBezTo>
                  <a:pt x="3042765" y="2437608"/>
                  <a:pt x="3035145" y="2448086"/>
                  <a:pt x="3072292" y="2517618"/>
                </a:cubicBezTo>
                <a:cubicBezTo>
                  <a:pt x="3096105" y="2562386"/>
                  <a:pt x="3351375" y="2696688"/>
                  <a:pt x="3378998" y="2679543"/>
                </a:cubicBezTo>
                <a:cubicBezTo>
                  <a:pt x="3387570" y="2673828"/>
                  <a:pt x="3406620" y="2609058"/>
                  <a:pt x="3420907" y="2535715"/>
                </a:cubicBezTo>
                <a:cubicBezTo>
                  <a:pt x="3435195" y="2462373"/>
                  <a:pt x="3452340" y="2406175"/>
                  <a:pt x="3458055" y="2411890"/>
                </a:cubicBezTo>
                <a:cubicBezTo>
                  <a:pt x="3463770" y="2417605"/>
                  <a:pt x="3457103" y="2484280"/>
                  <a:pt x="3441863" y="2558575"/>
                </a:cubicBezTo>
                <a:lnTo>
                  <a:pt x="3415192" y="2694783"/>
                </a:lnTo>
                <a:lnTo>
                  <a:pt x="3484725" y="2764315"/>
                </a:lnTo>
                <a:cubicBezTo>
                  <a:pt x="3550448" y="2830038"/>
                  <a:pt x="3563782" y="2833848"/>
                  <a:pt x="3713325" y="2833848"/>
                </a:cubicBezTo>
                <a:cubicBezTo>
                  <a:pt x="3891442" y="2833848"/>
                  <a:pt x="4032413" y="2778603"/>
                  <a:pt x="4070513" y="2694783"/>
                </a:cubicBezTo>
                <a:cubicBezTo>
                  <a:pt x="4082895" y="2668113"/>
                  <a:pt x="4100040" y="2647158"/>
                  <a:pt x="4109565" y="2647158"/>
                </a:cubicBezTo>
                <a:cubicBezTo>
                  <a:pt x="4119090" y="2647158"/>
                  <a:pt x="4112423" y="2675733"/>
                  <a:pt x="4094325" y="2710023"/>
                </a:cubicBezTo>
                <a:cubicBezTo>
                  <a:pt x="4038128" y="2818608"/>
                  <a:pt x="3739995" y="2917668"/>
                  <a:pt x="3615217" y="2870043"/>
                </a:cubicBezTo>
                <a:cubicBezTo>
                  <a:pt x="3577117" y="2854803"/>
                  <a:pt x="3550448" y="2854803"/>
                  <a:pt x="3541875" y="2868138"/>
                </a:cubicBezTo>
                <a:cubicBezTo>
                  <a:pt x="3508538" y="2922430"/>
                  <a:pt x="3353280" y="2976723"/>
                  <a:pt x="3240885" y="2973865"/>
                </a:cubicBezTo>
                <a:lnTo>
                  <a:pt x="3124680" y="2971008"/>
                </a:lnTo>
                <a:lnTo>
                  <a:pt x="3257078" y="2955768"/>
                </a:lnTo>
                <a:cubicBezTo>
                  <a:pt x="3329467" y="2947196"/>
                  <a:pt x="3408525" y="2929098"/>
                  <a:pt x="3433290" y="2915763"/>
                </a:cubicBezTo>
                <a:cubicBezTo>
                  <a:pt x="3541875" y="2853850"/>
                  <a:pt x="3541875" y="2852898"/>
                  <a:pt x="3463770" y="2782413"/>
                </a:cubicBezTo>
                <a:cubicBezTo>
                  <a:pt x="3422813" y="2745265"/>
                  <a:pt x="3378998" y="2713833"/>
                  <a:pt x="3367567" y="2713833"/>
                </a:cubicBezTo>
                <a:cubicBezTo>
                  <a:pt x="3322800" y="2711928"/>
                  <a:pt x="3117060" y="2605248"/>
                  <a:pt x="3072292" y="2561433"/>
                </a:cubicBezTo>
                <a:cubicBezTo>
                  <a:pt x="3046575" y="2535715"/>
                  <a:pt x="3026573" y="2490948"/>
                  <a:pt x="3026573" y="2460468"/>
                </a:cubicBezTo>
                <a:cubicBezTo>
                  <a:pt x="3026573" y="2383315"/>
                  <a:pt x="2989425" y="2391888"/>
                  <a:pt x="2971328" y="2471898"/>
                </a:cubicBezTo>
                <a:cubicBezTo>
                  <a:pt x="2949420" y="2570005"/>
                  <a:pt x="2750348" y="2819561"/>
                  <a:pt x="2691292" y="2822418"/>
                </a:cubicBezTo>
                <a:cubicBezTo>
                  <a:pt x="2682720" y="2822418"/>
                  <a:pt x="2717963" y="2780508"/>
                  <a:pt x="2769398" y="2729073"/>
                </a:cubicBezTo>
                <a:cubicBezTo>
                  <a:pt x="2870363" y="2628108"/>
                  <a:pt x="2959898" y="2466183"/>
                  <a:pt x="2959898" y="2386173"/>
                </a:cubicBezTo>
                <a:cubicBezTo>
                  <a:pt x="2959898" y="2318546"/>
                  <a:pt x="2900842" y="2184243"/>
                  <a:pt x="2844645" y="2124235"/>
                </a:cubicBezTo>
                <a:cubicBezTo>
                  <a:pt x="2818928" y="2096613"/>
                  <a:pt x="2807498" y="2074705"/>
                  <a:pt x="2819880" y="2074705"/>
                </a:cubicBezTo>
                <a:cubicBezTo>
                  <a:pt x="2858932" y="2074705"/>
                  <a:pt x="2916082" y="2153763"/>
                  <a:pt x="2957992" y="2265205"/>
                </a:cubicBezTo>
                <a:cubicBezTo>
                  <a:pt x="2995140" y="2363313"/>
                  <a:pt x="3004665" y="2372838"/>
                  <a:pt x="3078007" y="2378553"/>
                </a:cubicBezTo>
                <a:cubicBezTo>
                  <a:pt x="3134205" y="2383315"/>
                  <a:pt x="3196117" y="2365218"/>
                  <a:pt x="3291367" y="2313783"/>
                </a:cubicBezTo>
                <a:cubicBezTo>
                  <a:pt x="3365663" y="2274730"/>
                  <a:pt x="3430432" y="2229963"/>
                  <a:pt x="3436148" y="2214723"/>
                </a:cubicBezTo>
                <a:cubicBezTo>
                  <a:pt x="3441863" y="2199483"/>
                  <a:pt x="3426623" y="2159478"/>
                  <a:pt x="3401857" y="2125188"/>
                </a:cubicBezTo>
                <a:cubicBezTo>
                  <a:pt x="3377092" y="2090898"/>
                  <a:pt x="3350423" y="2027080"/>
                  <a:pt x="3342803" y="1983265"/>
                </a:cubicBezTo>
                <a:cubicBezTo>
                  <a:pt x="3330420" y="1912780"/>
                  <a:pt x="3338040" y="1892778"/>
                  <a:pt x="3407573" y="1815625"/>
                </a:cubicBezTo>
                <a:cubicBezTo>
                  <a:pt x="3468532" y="1747998"/>
                  <a:pt x="3479963" y="1723233"/>
                  <a:pt x="3459007" y="1705135"/>
                </a:cubicBezTo>
                <a:cubicBezTo>
                  <a:pt x="3389475" y="1647985"/>
                  <a:pt x="2592232" y="1783240"/>
                  <a:pt x="2437928" y="1878490"/>
                </a:cubicBezTo>
                <a:cubicBezTo>
                  <a:pt x="2370300" y="1920400"/>
                  <a:pt x="2297910" y="2036605"/>
                  <a:pt x="2297910" y="2104233"/>
                </a:cubicBezTo>
                <a:cubicBezTo>
                  <a:pt x="2297910" y="2237583"/>
                  <a:pt x="2463645" y="2382363"/>
                  <a:pt x="2614140" y="2382363"/>
                </a:cubicBezTo>
                <a:cubicBezTo>
                  <a:pt x="2658907" y="2382363"/>
                  <a:pt x="2694150" y="2393793"/>
                  <a:pt x="2694150" y="2407128"/>
                </a:cubicBezTo>
                <a:cubicBezTo>
                  <a:pt x="2694150" y="2424273"/>
                  <a:pt x="2664623" y="2427130"/>
                  <a:pt x="2600805" y="2415700"/>
                </a:cubicBezTo>
                <a:cubicBezTo>
                  <a:pt x="2549370" y="2407128"/>
                  <a:pt x="2477932" y="2398555"/>
                  <a:pt x="2441738" y="2396650"/>
                </a:cubicBezTo>
                <a:cubicBezTo>
                  <a:pt x="2380778" y="2393793"/>
                  <a:pt x="2376015" y="2399508"/>
                  <a:pt x="2376015" y="2466183"/>
                </a:cubicBezTo>
                <a:cubicBezTo>
                  <a:pt x="2376015" y="2557623"/>
                  <a:pt x="2325532" y="2596675"/>
                  <a:pt x="2184563" y="2615725"/>
                </a:cubicBezTo>
                <a:cubicBezTo>
                  <a:pt x="2103600" y="2626203"/>
                  <a:pt x="2064547" y="2645253"/>
                  <a:pt x="2023590" y="2694783"/>
                </a:cubicBezTo>
                <a:cubicBezTo>
                  <a:pt x="1962630" y="2767173"/>
                  <a:pt x="1955963" y="2800511"/>
                  <a:pt x="1996920" y="2840515"/>
                </a:cubicBezTo>
                <a:cubicBezTo>
                  <a:pt x="2012160" y="2855755"/>
                  <a:pt x="2049307" y="2919573"/>
                  <a:pt x="2079788" y="2982438"/>
                </a:cubicBezTo>
                <a:cubicBezTo>
                  <a:pt x="2127413" y="3081498"/>
                  <a:pt x="2145510" y="3098643"/>
                  <a:pt x="2212185" y="3111025"/>
                </a:cubicBezTo>
                <a:cubicBezTo>
                  <a:pt x="2278860" y="3122455"/>
                  <a:pt x="2281718" y="3125313"/>
                  <a:pt x="2228378" y="3127218"/>
                </a:cubicBezTo>
                <a:cubicBezTo>
                  <a:pt x="2186468" y="3129123"/>
                  <a:pt x="2167418" y="3142458"/>
                  <a:pt x="2167418" y="3168175"/>
                </a:cubicBezTo>
                <a:cubicBezTo>
                  <a:pt x="2167418" y="3189130"/>
                  <a:pt x="2156940" y="3221515"/>
                  <a:pt x="2143605" y="3239613"/>
                </a:cubicBezTo>
                <a:cubicBezTo>
                  <a:pt x="2126460" y="3264378"/>
                  <a:pt x="2123603" y="3254853"/>
                  <a:pt x="2134080" y="3203418"/>
                </a:cubicBezTo>
                <a:cubicBezTo>
                  <a:pt x="2142653" y="3161508"/>
                  <a:pt x="2137890" y="3128171"/>
                  <a:pt x="2123603" y="3118646"/>
                </a:cubicBezTo>
                <a:cubicBezTo>
                  <a:pt x="2110268" y="3110073"/>
                  <a:pt x="2074072" y="3048161"/>
                  <a:pt x="2044545" y="2979580"/>
                </a:cubicBezTo>
                <a:cubicBezTo>
                  <a:pt x="1962630" y="2793843"/>
                  <a:pt x="1914052" y="2779555"/>
                  <a:pt x="1760700" y="2892903"/>
                </a:cubicBezTo>
                <a:cubicBezTo>
                  <a:pt x="1617825" y="2998630"/>
                  <a:pt x="1582582" y="3082450"/>
                  <a:pt x="1597822" y="3274855"/>
                </a:cubicBezTo>
                <a:cubicBezTo>
                  <a:pt x="1604490" y="3367248"/>
                  <a:pt x="1602585" y="3412968"/>
                  <a:pt x="1591155" y="3386298"/>
                </a:cubicBezTo>
                <a:cubicBezTo>
                  <a:pt x="1560675" y="3313908"/>
                  <a:pt x="1567343" y="3091975"/>
                  <a:pt x="1601632" y="3026253"/>
                </a:cubicBezTo>
                <a:cubicBezTo>
                  <a:pt x="1642590" y="2947196"/>
                  <a:pt x="1817850" y="2803368"/>
                  <a:pt x="1874047" y="2803368"/>
                </a:cubicBezTo>
                <a:cubicBezTo>
                  <a:pt x="1913100" y="2803368"/>
                  <a:pt x="2024543" y="2663350"/>
                  <a:pt x="2015018" y="2625250"/>
                </a:cubicBezTo>
                <a:cubicBezTo>
                  <a:pt x="2013113" y="2617630"/>
                  <a:pt x="2072168" y="2605248"/>
                  <a:pt x="2146463" y="2597628"/>
                </a:cubicBezTo>
                <a:cubicBezTo>
                  <a:pt x="2305530" y="2581436"/>
                  <a:pt x="2339820" y="2557623"/>
                  <a:pt x="2340773" y="2465230"/>
                </a:cubicBezTo>
                <a:cubicBezTo>
                  <a:pt x="2340773" y="2427130"/>
                  <a:pt x="2349345" y="2382363"/>
                  <a:pt x="2359823" y="2366171"/>
                </a:cubicBezTo>
                <a:cubicBezTo>
                  <a:pt x="2372205" y="2346168"/>
                  <a:pt x="2360775" y="2309973"/>
                  <a:pt x="2326485" y="2258538"/>
                </a:cubicBezTo>
                <a:cubicBezTo>
                  <a:pt x="2297910" y="2215675"/>
                  <a:pt x="2274098" y="2152810"/>
                  <a:pt x="2274098" y="2118521"/>
                </a:cubicBezTo>
                <a:cubicBezTo>
                  <a:pt x="2274098" y="2009935"/>
                  <a:pt x="2188373" y="2034700"/>
                  <a:pt x="2060738" y="2182338"/>
                </a:cubicBezTo>
                <a:cubicBezTo>
                  <a:pt x="1935960" y="2326165"/>
                  <a:pt x="1899765" y="2386173"/>
                  <a:pt x="1899765" y="2449038"/>
                </a:cubicBezTo>
                <a:cubicBezTo>
                  <a:pt x="1899765" y="2473803"/>
                  <a:pt x="1888335" y="2500473"/>
                  <a:pt x="1875000" y="2509046"/>
                </a:cubicBezTo>
                <a:cubicBezTo>
                  <a:pt x="1850235" y="2524286"/>
                  <a:pt x="1857855" y="2465230"/>
                  <a:pt x="1892145" y="2374743"/>
                </a:cubicBezTo>
                <a:cubicBezTo>
                  <a:pt x="1906432" y="2338548"/>
                  <a:pt x="1508288" y="2647158"/>
                  <a:pt x="1433040" y="2730025"/>
                </a:cubicBezTo>
                <a:cubicBezTo>
                  <a:pt x="1393988" y="2773840"/>
                  <a:pt x="1335885" y="2899571"/>
                  <a:pt x="1303500" y="3009108"/>
                </a:cubicBezTo>
                <a:cubicBezTo>
                  <a:pt x="1288260" y="3060543"/>
                  <a:pt x="1294927" y="3081498"/>
                  <a:pt x="1340647" y="3127218"/>
                </a:cubicBezTo>
                <a:cubicBezTo>
                  <a:pt x="1371127" y="3157698"/>
                  <a:pt x="1392082" y="3186273"/>
                  <a:pt x="1387320" y="3191036"/>
                </a:cubicBezTo>
                <a:cubicBezTo>
                  <a:pt x="1382557" y="3195798"/>
                  <a:pt x="1360650" y="3179605"/>
                  <a:pt x="1338743" y="3155793"/>
                </a:cubicBezTo>
                <a:cubicBezTo>
                  <a:pt x="1316835" y="3131980"/>
                  <a:pt x="1290165" y="3111978"/>
                  <a:pt x="1280640" y="3111978"/>
                </a:cubicBezTo>
                <a:cubicBezTo>
                  <a:pt x="1254922" y="3111978"/>
                  <a:pt x="1257780" y="3281523"/>
                  <a:pt x="1284450" y="3380583"/>
                </a:cubicBezTo>
                <a:cubicBezTo>
                  <a:pt x="1312072" y="3479643"/>
                  <a:pt x="1468282" y="3624423"/>
                  <a:pt x="1598775" y="3670143"/>
                </a:cubicBezTo>
                <a:cubicBezTo>
                  <a:pt x="1713075" y="3710148"/>
                  <a:pt x="1743555" y="3711100"/>
                  <a:pt x="1831185" y="3680621"/>
                </a:cubicBezTo>
                <a:lnTo>
                  <a:pt x="1831185" y="3680621"/>
                </a:lnTo>
                <a:close/>
                <a:moveTo>
                  <a:pt x="2141700" y="3481548"/>
                </a:moveTo>
                <a:cubicBezTo>
                  <a:pt x="2099790" y="3444400"/>
                  <a:pt x="2016922" y="3384393"/>
                  <a:pt x="1959772" y="3348198"/>
                </a:cubicBezTo>
                <a:cubicBezTo>
                  <a:pt x="1861665" y="3286286"/>
                  <a:pt x="1790227" y="3193893"/>
                  <a:pt x="1790227" y="3128171"/>
                </a:cubicBezTo>
                <a:cubicBezTo>
                  <a:pt x="1790227" y="3111978"/>
                  <a:pt x="1807372" y="3133886"/>
                  <a:pt x="1828327" y="3176748"/>
                </a:cubicBezTo>
                <a:cubicBezTo>
                  <a:pt x="1851188" y="3221515"/>
                  <a:pt x="1916910" y="3287238"/>
                  <a:pt x="1987395" y="3333911"/>
                </a:cubicBezTo>
                <a:cubicBezTo>
                  <a:pt x="2090265" y="3402490"/>
                  <a:pt x="2257905" y="3552986"/>
                  <a:pt x="2228378" y="3550128"/>
                </a:cubicBezTo>
                <a:cubicBezTo>
                  <a:pt x="2222663" y="3550128"/>
                  <a:pt x="2183610" y="3518696"/>
                  <a:pt x="2141700" y="3481548"/>
                </a:cubicBezTo>
                <a:lnTo>
                  <a:pt x="2141700" y="3481548"/>
                </a:lnTo>
                <a:close/>
                <a:moveTo>
                  <a:pt x="5105880" y="2824323"/>
                </a:moveTo>
                <a:cubicBezTo>
                  <a:pt x="5178270" y="2795748"/>
                  <a:pt x="5226848" y="2708118"/>
                  <a:pt x="5212560" y="2633823"/>
                </a:cubicBezTo>
                <a:cubicBezTo>
                  <a:pt x="5201130" y="2574768"/>
                  <a:pt x="5201130" y="2573815"/>
                  <a:pt x="5225895" y="2620488"/>
                </a:cubicBezTo>
                <a:cubicBezTo>
                  <a:pt x="5258280" y="2682400"/>
                  <a:pt x="5309715" y="2683353"/>
                  <a:pt x="5372580" y="2625250"/>
                </a:cubicBezTo>
                <a:cubicBezTo>
                  <a:pt x="5414490" y="2586198"/>
                  <a:pt x="5421158" y="2556671"/>
                  <a:pt x="5421158" y="2405223"/>
                </a:cubicBezTo>
                <a:cubicBezTo>
                  <a:pt x="5421158" y="2256633"/>
                  <a:pt x="5414490" y="2223296"/>
                  <a:pt x="5375437" y="2184243"/>
                </a:cubicBezTo>
                <a:cubicBezTo>
                  <a:pt x="5330670" y="2139475"/>
                  <a:pt x="5294475" y="2137571"/>
                  <a:pt x="5190653" y="2174718"/>
                </a:cubicBezTo>
                <a:cubicBezTo>
                  <a:pt x="5146837" y="2189958"/>
                  <a:pt x="5146837" y="2189958"/>
                  <a:pt x="5189700" y="2155668"/>
                </a:cubicBezTo>
                <a:cubicBezTo>
                  <a:pt x="5248755" y="2108043"/>
                  <a:pt x="5346862" y="2111853"/>
                  <a:pt x="5400203" y="2165193"/>
                </a:cubicBezTo>
                <a:cubicBezTo>
                  <a:pt x="5437350" y="2202340"/>
                  <a:pt x="5444018" y="2238535"/>
                  <a:pt x="5444018" y="2387125"/>
                </a:cubicBezTo>
                <a:cubicBezTo>
                  <a:pt x="5444018" y="2590008"/>
                  <a:pt x="5426873" y="2634775"/>
                  <a:pt x="5327812" y="2686211"/>
                </a:cubicBezTo>
                <a:cubicBezTo>
                  <a:pt x="5288760" y="2706213"/>
                  <a:pt x="5230658" y="2750980"/>
                  <a:pt x="5198273" y="2785271"/>
                </a:cubicBezTo>
                <a:cubicBezTo>
                  <a:pt x="5165887" y="2819561"/>
                  <a:pt x="5121120" y="2847183"/>
                  <a:pt x="5099212" y="2846230"/>
                </a:cubicBezTo>
                <a:cubicBezTo>
                  <a:pt x="5063970" y="2844325"/>
                  <a:pt x="5064923" y="2841468"/>
                  <a:pt x="5105880" y="2824323"/>
                </a:cubicBezTo>
                <a:lnTo>
                  <a:pt x="5105880" y="2824323"/>
                </a:lnTo>
                <a:close/>
                <a:moveTo>
                  <a:pt x="4762028" y="2717643"/>
                </a:moveTo>
                <a:cubicBezTo>
                  <a:pt x="4747740" y="2683353"/>
                  <a:pt x="4710593" y="2643348"/>
                  <a:pt x="4679160" y="2629061"/>
                </a:cubicBezTo>
                <a:cubicBezTo>
                  <a:pt x="4647728" y="2614773"/>
                  <a:pt x="4628678" y="2597628"/>
                  <a:pt x="4636298" y="2590008"/>
                </a:cubicBezTo>
                <a:cubicBezTo>
                  <a:pt x="4643918" y="2582388"/>
                  <a:pt x="4673445" y="2591913"/>
                  <a:pt x="4702020" y="2610963"/>
                </a:cubicBezTo>
                <a:cubicBezTo>
                  <a:pt x="4749645" y="2642396"/>
                  <a:pt x="4759170" y="2642396"/>
                  <a:pt x="4811558" y="2608105"/>
                </a:cubicBezTo>
                <a:cubicBezTo>
                  <a:pt x="4871565" y="2569053"/>
                  <a:pt x="4944908" y="2483328"/>
                  <a:pt x="4965862" y="2429035"/>
                </a:cubicBezTo>
                <a:cubicBezTo>
                  <a:pt x="4974435" y="2406175"/>
                  <a:pt x="4979198" y="2409985"/>
                  <a:pt x="4980150" y="2442371"/>
                </a:cubicBezTo>
                <a:cubicBezTo>
                  <a:pt x="4981103" y="2470946"/>
                  <a:pt x="4943003" y="2524286"/>
                  <a:pt x="4882995" y="2580483"/>
                </a:cubicBezTo>
                <a:cubicBezTo>
                  <a:pt x="4801080" y="2655730"/>
                  <a:pt x="4785840" y="2681448"/>
                  <a:pt x="4797270" y="2726215"/>
                </a:cubicBezTo>
                <a:cubicBezTo>
                  <a:pt x="4814415" y="2800511"/>
                  <a:pt x="4794413" y="2794796"/>
                  <a:pt x="4762028" y="2717643"/>
                </a:cubicBezTo>
                <a:lnTo>
                  <a:pt x="4762028" y="2717643"/>
                </a:lnTo>
                <a:close/>
                <a:moveTo>
                  <a:pt x="3641888" y="2663350"/>
                </a:moveTo>
                <a:cubicBezTo>
                  <a:pt x="3639030" y="2595723"/>
                  <a:pt x="3647603" y="2576673"/>
                  <a:pt x="3682845" y="2567148"/>
                </a:cubicBezTo>
                <a:cubicBezTo>
                  <a:pt x="3717135" y="2558575"/>
                  <a:pt x="3723803" y="2542383"/>
                  <a:pt x="3715230" y="2497615"/>
                </a:cubicBezTo>
                <a:cubicBezTo>
                  <a:pt x="3704753" y="2441418"/>
                  <a:pt x="3704753" y="2440465"/>
                  <a:pt x="3729517" y="2489043"/>
                </a:cubicBezTo>
                <a:cubicBezTo>
                  <a:pt x="3752378" y="2532858"/>
                  <a:pt x="3771428" y="2538573"/>
                  <a:pt x="3900967" y="2537621"/>
                </a:cubicBezTo>
                <a:cubicBezTo>
                  <a:pt x="3980978" y="2536668"/>
                  <a:pt x="4085753" y="2522380"/>
                  <a:pt x="4133378" y="2505236"/>
                </a:cubicBezTo>
                <a:cubicBezTo>
                  <a:pt x="4231485" y="2469993"/>
                  <a:pt x="4262918" y="2476661"/>
                  <a:pt x="4188623" y="2516665"/>
                </a:cubicBezTo>
                <a:cubicBezTo>
                  <a:pt x="4161953" y="2530953"/>
                  <a:pt x="4040032" y="2550955"/>
                  <a:pt x="3919065" y="2561433"/>
                </a:cubicBezTo>
                <a:cubicBezTo>
                  <a:pt x="3798098" y="2571911"/>
                  <a:pt x="3690465" y="2588103"/>
                  <a:pt x="3680940" y="2597628"/>
                </a:cubicBezTo>
                <a:cubicBezTo>
                  <a:pt x="3671415" y="2607153"/>
                  <a:pt x="3659985" y="2644300"/>
                  <a:pt x="3655223" y="2680496"/>
                </a:cubicBezTo>
                <a:cubicBezTo>
                  <a:pt x="3645698" y="2739550"/>
                  <a:pt x="3644745" y="2737646"/>
                  <a:pt x="3641888" y="2663350"/>
                </a:cubicBezTo>
                <a:lnTo>
                  <a:pt x="3641888" y="2663350"/>
                </a:lnTo>
                <a:close/>
                <a:moveTo>
                  <a:pt x="4447703" y="2430940"/>
                </a:moveTo>
                <a:cubicBezTo>
                  <a:pt x="4454370" y="2360455"/>
                  <a:pt x="4448655" y="2318546"/>
                  <a:pt x="4430558" y="2308068"/>
                </a:cubicBezTo>
                <a:cubicBezTo>
                  <a:pt x="4415318" y="2298543"/>
                  <a:pt x="4301018" y="2289971"/>
                  <a:pt x="4177192" y="2289018"/>
                </a:cubicBezTo>
                <a:cubicBezTo>
                  <a:pt x="3968595" y="2286160"/>
                  <a:pt x="3898110" y="2272825"/>
                  <a:pt x="3929542" y="2241393"/>
                </a:cubicBezTo>
                <a:cubicBezTo>
                  <a:pt x="3936210" y="2234725"/>
                  <a:pt x="3984788" y="2240440"/>
                  <a:pt x="4037175" y="2254728"/>
                </a:cubicBezTo>
                <a:cubicBezTo>
                  <a:pt x="4094325" y="2269968"/>
                  <a:pt x="4185765" y="2274730"/>
                  <a:pt x="4267680" y="2265205"/>
                </a:cubicBezTo>
                <a:lnTo>
                  <a:pt x="4403888" y="2250918"/>
                </a:lnTo>
                <a:lnTo>
                  <a:pt x="4451513" y="2044225"/>
                </a:lnTo>
                <a:cubicBezTo>
                  <a:pt x="4491518" y="1868965"/>
                  <a:pt x="4515330" y="1815625"/>
                  <a:pt x="4607723" y="1690848"/>
                </a:cubicBezTo>
                <a:cubicBezTo>
                  <a:pt x="4667730" y="1609885"/>
                  <a:pt x="4716308" y="1552735"/>
                  <a:pt x="4715355" y="1563213"/>
                </a:cubicBezTo>
                <a:cubicBezTo>
                  <a:pt x="4714403" y="1573690"/>
                  <a:pt x="4700115" y="1602265"/>
                  <a:pt x="4682018" y="1625125"/>
                </a:cubicBezTo>
                <a:cubicBezTo>
                  <a:pt x="4663920" y="1647985"/>
                  <a:pt x="4648680" y="1698468"/>
                  <a:pt x="4646775" y="1735615"/>
                </a:cubicBezTo>
                <a:cubicBezTo>
                  <a:pt x="4644870" y="1772763"/>
                  <a:pt x="4640108" y="1785145"/>
                  <a:pt x="4634393" y="1764190"/>
                </a:cubicBezTo>
                <a:cubicBezTo>
                  <a:pt x="4606770" y="1658463"/>
                  <a:pt x="4532475" y="1792765"/>
                  <a:pt x="4473420" y="2055655"/>
                </a:cubicBezTo>
                <a:cubicBezTo>
                  <a:pt x="4448655" y="2168050"/>
                  <a:pt x="4433415" y="2265205"/>
                  <a:pt x="4439130" y="2271873"/>
                </a:cubicBezTo>
                <a:cubicBezTo>
                  <a:pt x="4444845" y="2278540"/>
                  <a:pt x="4450560" y="2271873"/>
                  <a:pt x="4450560" y="2256633"/>
                </a:cubicBezTo>
                <a:cubicBezTo>
                  <a:pt x="4450560" y="2236630"/>
                  <a:pt x="4510568" y="2230915"/>
                  <a:pt x="4681065" y="2235678"/>
                </a:cubicBezTo>
                <a:cubicBezTo>
                  <a:pt x="4885853" y="2241393"/>
                  <a:pt x="4918237" y="2236630"/>
                  <a:pt x="4972530" y="2196625"/>
                </a:cubicBezTo>
                <a:cubicBezTo>
                  <a:pt x="5016345" y="2164240"/>
                  <a:pt x="5037300" y="2125188"/>
                  <a:pt x="5045873" y="2059465"/>
                </a:cubicBezTo>
                <a:cubicBezTo>
                  <a:pt x="5052540" y="2008983"/>
                  <a:pt x="5076353" y="1950880"/>
                  <a:pt x="5098260" y="1929925"/>
                </a:cubicBezTo>
                <a:cubicBezTo>
                  <a:pt x="5136360" y="1893730"/>
                  <a:pt x="5136360" y="1894683"/>
                  <a:pt x="5108737" y="1947070"/>
                </a:cubicBezTo>
                <a:cubicBezTo>
                  <a:pt x="5092545" y="1977550"/>
                  <a:pt x="5074448" y="2040415"/>
                  <a:pt x="5067780" y="2088040"/>
                </a:cubicBezTo>
                <a:cubicBezTo>
                  <a:pt x="5059208" y="2148048"/>
                  <a:pt x="5036348" y="2188053"/>
                  <a:pt x="4993485" y="2220438"/>
                </a:cubicBezTo>
                <a:cubicBezTo>
                  <a:pt x="4938240" y="2261396"/>
                  <a:pt x="4906808" y="2266158"/>
                  <a:pt x="4702020" y="2260443"/>
                </a:cubicBezTo>
                <a:cubicBezTo>
                  <a:pt x="4524855" y="2255680"/>
                  <a:pt x="4472468" y="2260443"/>
                  <a:pt x="4470563" y="2282350"/>
                </a:cubicBezTo>
                <a:cubicBezTo>
                  <a:pt x="4469610" y="2298543"/>
                  <a:pt x="4470563" y="2357598"/>
                  <a:pt x="4472468" y="2413796"/>
                </a:cubicBezTo>
                <a:cubicBezTo>
                  <a:pt x="4474373" y="2469993"/>
                  <a:pt x="4466753" y="2521428"/>
                  <a:pt x="4455323" y="2529048"/>
                </a:cubicBezTo>
                <a:cubicBezTo>
                  <a:pt x="4445798" y="2531905"/>
                  <a:pt x="4441988" y="2492853"/>
                  <a:pt x="4447703" y="2430940"/>
                </a:cubicBezTo>
                <a:lnTo>
                  <a:pt x="4447703" y="2430940"/>
                </a:lnTo>
                <a:close/>
                <a:moveTo>
                  <a:pt x="5297333" y="2400460"/>
                </a:moveTo>
                <a:cubicBezTo>
                  <a:pt x="5301143" y="2329975"/>
                  <a:pt x="5316383" y="2261396"/>
                  <a:pt x="5332575" y="2246155"/>
                </a:cubicBezTo>
                <a:cubicBezTo>
                  <a:pt x="5356387" y="2224248"/>
                  <a:pt x="5358293" y="2228058"/>
                  <a:pt x="5344958" y="2263300"/>
                </a:cubicBezTo>
                <a:cubicBezTo>
                  <a:pt x="5335433" y="2287113"/>
                  <a:pt x="5320193" y="2356646"/>
                  <a:pt x="5309715" y="2417605"/>
                </a:cubicBezTo>
                <a:lnTo>
                  <a:pt x="5291618" y="2528096"/>
                </a:lnTo>
                <a:lnTo>
                  <a:pt x="5297333" y="2400460"/>
                </a:lnTo>
                <a:lnTo>
                  <a:pt x="5297333" y="2400460"/>
                </a:lnTo>
                <a:close/>
                <a:moveTo>
                  <a:pt x="3783810" y="1514635"/>
                </a:moveTo>
                <a:cubicBezTo>
                  <a:pt x="3829530" y="1444150"/>
                  <a:pt x="3814290" y="1281273"/>
                  <a:pt x="3749520" y="1154590"/>
                </a:cubicBezTo>
                <a:cubicBezTo>
                  <a:pt x="3696180" y="1049815"/>
                  <a:pt x="3692370" y="991713"/>
                  <a:pt x="3737138" y="954565"/>
                </a:cubicBezTo>
                <a:cubicBezTo>
                  <a:pt x="3774285" y="923133"/>
                  <a:pt x="3780000" y="939325"/>
                  <a:pt x="3750473" y="994570"/>
                </a:cubicBezTo>
                <a:cubicBezTo>
                  <a:pt x="3736185" y="1020288"/>
                  <a:pt x="3746663" y="1068865"/>
                  <a:pt x="3782857" y="1152685"/>
                </a:cubicBezTo>
                <a:cubicBezTo>
                  <a:pt x="3811432" y="1219360"/>
                  <a:pt x="3835245" y="1315563"/>
                  <a:pt x="3836198" y="1366045"/>
                </a:cubicBezTo>
                <a:cubicBezTo>
                  <a:pt x="3837150" y="1461295"/>
                  <a:pt x="3800003" y="1570833"/>
                  <a:pt x="3766665" y="1570833"/>
                </a:cubicBezTo>
                <a:cubicBezTo>
                  <a:pt x="3756188" y="1569880"/>
                  <a:pt x="3763807" y="1545115"/>
                  <a:pt x="3783810" y="1514635"/>
                </a:cubicBezTo>
                <a:lnTo>
                  <a:pt x="3783810" y="1514635"/>
                </a:lnTo>
                <a:close/>
                <a:moveTo>
                  <a:pt x="4717260" y="1482250"/>
                </a:moveTo>
                <a:cubicBezTo>
                  <a:pt x="4717260" y="1458438"/>
                  <a:pt x="4725833" y="1438435"/>
                  <a:pt x="4737263" y="1438435"/>
                </a:cubicBezTo>
                <a:cubicBezTo>
                  <a:pt x="4748693" y="1438435"/>
                  <a:pt x="4752503" y="1458438"/>
                  <a:pt x="4745835" y="1482250"/>
                </a:cubicBezTo>
                <a:cubicBezTo>
                  <a:pt x="4739168" y="1506063"/>
                  <a:pt x="4730595" y="1526065"/>
                  <a:pt x="4725833" y="1526065"/>
                </a:cubicBezTo>
                <a:cubicBezTo>
                  <a:pt x="4721070" y="1526065"/>
                  <a:pt x="4717260" y="1506063"/>
                  <a:pt x="4717260" y="1482250"/>
                </a:cubicBezTo>
                <a:close/>
                <a:moveTo>
                  <a:pt x="4894425" y="2983390"/>
                </a:moveTo>
                <a:cubicBezTo>
                  <a:pt x="4882995" y="2979580"/>
                  <a:pt x="4805843" y="3001488"/>
                  <a:pt x="4758218" y="3001488"/>
                </a:cubicBezTo>
                <a:cubicBezTo>
                  <a:pt x="4743930" y="3000536"/>
                  <a:pt x="4905855" y="2987200"/>
                  <a:pt x="4894425" y="2983390"/>
                </a:cubicBezTo>
                <a:close/>
                <a:moveTo>
                  <a:pt x="1091093" y="3230088"/>
                </a:moveTo>
                <a:cubicBezTo>
                  <a:pt x="1194915" y="3219611"/>
                  <a:pt x="1239682" y="3206275"/>
                  <a:pt x="1239682" y="3185321"/>
                </a:cubicBezTo>
                <a:cubicBezTo>
                  <a:pt x="1239682" y="3166271"/>
                  <a:pt x="1213965" y="3155793"/>
                  <a:pt x="1167293" y="3155793"/>
                </a:cubicBezTo>
                <a:cubicBezTo>
                  <a:pt x="1127287" y="3155793"/>
                  <a:pt x="1023465" y="3135790"/>
                  <a:pt x="936787" y="3111978"/>
                </a:cubicBezTo>
                <a:cubicBezTo>
                  <a:pt x="796770" y="3072925"/>
                  <a:pt x="758670" y="3071021"/>
                  <a:pt x="611985" y="3092928"/>
                </a:cubicBezTo>
                <a:cubicBezTo>
                  <a:pt x="447202" y="3117693"/>
                  <a:pt x="446250" y="3118646"/>
                  <a:pt x="485302" y="3161508"/>
                </a:cubicBezTo>
                <a:cubicBezTo>
                  <a:pt x="578647" y="3267236"/>
                  <a:pt x="641512" y="3273903"/>
                  <a:pt x="1091093" y="3230088"/>
                </a:cubicBezTo>
                <a:lnTo>
                  <a:pt x="1091093" y="3230088"/>
                </a:lnTo>
                <a:close/>
                <a:moveTo>
                  <a:pt x="1234920" y="3106263"/>
                </a:moveTo>
                <a:cubicBezTo>
                  <a:pt x="1274925" y="3066258"/>
                  <a:pt x="1266352" y="3022443"/>
                  <a:pt x="1218727" y="3022443"/>
                </a:cubicBezTo>
                <a:cubicBezTo>
                  <a:pt x="1100618" y="3022443"/>
                  <a:pt x="940597" y="2969103"/>
                  <a:pt x="881542" y="2910048"/>
                </a:cubicBezTo>
                <a:cubicBezTo>
                  <a:pt x="831060" y="2859565"/>
                  <a:pt x="798675" y="2847183"/>
                  <a:pt x="720570" y="2847183"/>
                </a:cubicBezTo>
                <a:cubicBezTo>
                  <a:pt x="616747" y="2847183"/>
                  <a:pt x="609127" y="2857661"/>
                  <a:pt x="648180" y="2944338"/>
                </a:cubicBezTo>
                <a:cubicBezTo>
                  <a:pt x="676755" y="3008155"/>
                  <a:pt x="685327" y="3011965"/>
                  <a:pt x="920595" y="3078640"/>
                </a:cubicBezTo>
                <a:cubicBezTo>
                  <a:pt x="1126335" y="3135790"/>
                  <a:pt x="1198725" y="3142458"/>
                  <a:pt x="1234920" y="3106263"/>
                </a:cubicBezTo>
                <a:lnTo>
                  <a:pt x="1234920" y="3106263"/>
                </a:lnTo>
                <a:close/>
                <a:moveTo>
                  <a:pt x="612937" y="2929098"/>
                </a:moveTo>
                <a:cubicBezTo>
                  <a:pt x="584362" y="2861471"/>
                  <a:pt x="574837" y="2856708"/>
                  <a:pt x="425295" y="2835753"/>
                </a:cubicBezTo>
                <a:cubicBezTo>
                  <a:pt x="262417" y="2812893"/>
                  <a:pt x="205267" y="2774793"/>
                  <a:pt x="205267" y="2689068"/>
                </a:cubicBezTo>
                <a:cubicBezTo>
                  <a:pt x="205267" y="2667161"/>
                  <a:pt x="175740" y="2603343"/>
                  <a:pt x="139545" y="2546193"/>
                </a:cubicBezTo>
                <a:cubicBezTo>
                  <a:pt x="103350" y="2489043"/>
                  <a:pt x="72870" y="2421415"/>
                  <a:pt x="73822" y="2396650"/>
                </a:cubicBezTo>
                <a:cubicBezTo>
                  <a:pt x="74775" y="2368075"/>
                  <a:pt x="86205" y="2382363"/>
                  <a:pt x="104302" y="2433798"/>
                </a:cubicBezTo>
                <a:cubicBezTo>
                  <a:pt x="120495" y="2479518"/>
                  <a:pt x="147165" y="2533811"/>
                  <a:pt x="163357" y="2554765"/>
                </a:cubicBezTo>
                <a:cubicBezTo>
                  <a:pt x="179550" y="2575721"/>
                  <a:pt x="193837" y="2595723"/>
                  <a:pt x="195742" y="2599533"/>
                </a:cubicBezTo>
                <a:cubicBezTo>
                  <a:pt x="197647" y="2603343"/>
                  <a:pt x="229080" y="2589055"/>
                  <a:pt x="265275" y="2568100"/>
                </a:cubicBezTo>
                <a:cubicBezTo>
                  <a:pt x="325282" y="2533811"/>
                  <a:pt x="332902" y="2516665"/>
                  <a:pt x="344332" y="2388078"/>
                </a:cubicBezTo>
                <a:cubicBezTo>
                  <a:pt x="351952" y="2309973"/>
                  <a:pt x="351952" y="2237583"/>
                  <a:pt x="346237" y="2227105"/>
                </a:cubicBezTo>
                <a:cubicBezTo>
                  <a:pt x="330045" y="2200435"/>
                  <a:pt x="227175" y="2203293"/>
                  <a:pt x="227175" y="2229963"/>
                </a:cubicBezTo>
                <a:cubicBezTo>
                  <a:pt x="227175" y="2242346"/>
                  <a:pt x="215745" y="2251871"/>
                  <a:pt x="202410" y="2251871"/>
                </a:cubicBezTo>
                <a:cubicBezTo>
                  <a:pt x="185265" y="2251871"/>
                  <a:pt x="186217" y="2241393"/>
                  <a:pt x="205267" y="2218533"/>
                </a:cubicBezTo>
                <a:cubicBezTo>
                  <a:pt x="220507" y="2200435"/>
                  <a:pt x="255750" y="2185196"/>
                  <a:pt x="283372" y="2185196"/>
                </a:cubicBezTo>
                <a:cubicBezTo>
                  <a:pt x="325282" y="2185196"/>
                  <a:pt x="335760" y="2169955"/>
                  <a:pt x="348142" y="2091850"/>
                </a:cubicBezTo>
                <a:cubicBezTo>
                  <a:pt x="382432" y="1877538"/>
                  <a:pt x="475777" y="1767048"/>
                  <a:pt x="624367" y="1767048"/>
                </a:cubicBezTo>
                <a:cubicBezTo>
                  <a:pt x="681517" y="1767048"/>
                  <a:pt x="689137" y="1759428"/>
                  <a:pt x="689137" y="1703230"/>
                </a:cubicBezTo>
                <a:cubicBezTo>
                  <a:pt x="689137" y="1625125"/>
                  <a:pt x="709140" y="1568928"/>
                  <a:pt x="735810" y="1568928"/>
                </a:cubicBezTo>
                <a:cubicBezTo>
                  <a:pt x="747240" y="1568928"/>
                  <a:pt x="746287" y="1587025"/>
                  <a:pt x="733905" y="1611790"/>
                </a:cubicBezTo>
                <a:cubicBezTo>
                  <a:pt x="686280" y="1700373"/>
                  <a:pt x="708187" y="1833723"/>
                  <a:pt x="801532" y="2025175"/>
                </a:cubicBezTo>
                <a:cubicBezTo>
                  <a:pt x="851062" y="2127093"/>
                  <a:pt x="887257" y="2214723"/>
                  <a:pt x="882495" y="2219485"/>
                </a:cubicBezTo>
                <a:cubicBezTo>
                  <a:pt x="869160" y="2232821"/>
                  <a:pt x="689137" y="1868013"/>
                  <a:pt x="689137" y="1826103"/>
                </a:cubicBezTo>
                <a:cubicBezTo>
                  <a:pt x="689137" y="1779430"/>
                  <a:pt x="600555" y="1776573"/>
                  <a:pt x="514830" y="1821340"/>
                </a:cubicBezTo>
                <a:cubicBezTo>
                  <a:pt x="398625" y="1881348"/>
                  <a:pt x="336712" y="2182338"/>
                  <a:pt x="413865" y="2317593"/>
                </a:cubicBezTo>
                <a:cubicBezTo>
                  <a:pt x="454822" y="2389030"/>
                  <a:pt x="454822" y="2429035"/>
                  <a:pt x="413865" y="2374743"/>
                </a:cubicBezTo>
                <a:cubicBezTo>
                  <a:pt x="384337" y="2336643"/>
                  <a:pt x="380527" y="2335690"/>
                  <a:pt x="368145" y="2369980"/>
                </a:cubicBezTo>
                <a:cubicBezTo>
                  <a:pt x="340522" y="2441418"/>
                  <a:pt x="375765" y="2586198"/>
                  <a:pt x="435772" y="2645253"/>
                </a:cubicBezTo>
                <a:lnTo>
                  <a:pt x="492922" y="2702403"/>
                </a:lnTo>
                <a:lnTo>
                  <a:pt x="971077" y="2696688"/>
                </a:lnTo>
                <a:lnTo>
                  <a:pt x="1449232" y="2690973"/>
                </a:lnTo>
                <a:lnTo>
                  <a:pt x="1534005" y="2606200"/>
                </a:lnTo>
                <a:cubicBezTo>
                  <a:pt x="1618777" y="2521428"/>
                  <a:pt x="1618777" y="2521428"/>
                  <a:pt x="1583535" y="2452848"/>
                </a:cubicBezTo>
                <a:cubicBezTo>
                  <a:pt x="1532100" y="2352835"/>
                  <a:pt x="1433040" y="2309021"/>
                  <a:pt x="1256827" y="2309021"/>
                </a:cubicBezTo>
                <a:cubicBezTo>
                  <a:pt x="1154910" y="2309021"/>
                  <a:pt x="1119668" y="2302353"/>
                  <a:pt x="1144432" y="2288065"/>
                </a:cubicBezTo>
                <a:cubicBezTo>
                  <a:pt x="1197772" y="2258538"/>
                  <a:pt x="1431135" y="2285208"/>
                  <a:pt x="1496857" y="2329023"/>
                </a:cubicBezTo>
                <a:cubicBezTo>
                  <a:pt x="1551150" y="2364265"/>
                  <a:pt x="1555913" y="2364265"/>
                  <a:pt x="1594013" y="2325213"/>
                </a:cubicBezTo>
                <a:cubicBezTo>
                  <a:pt x="1631160" y="2287113"/>
                  <a:pt x="1632113" y="2274730"/>
                  <a:pt x="1602585" y="2134713"/>
                </a:cubicBezTo>
                <a:cubicBezTo>
                  <a:pt x="1585440" y="2052798"/>
                  <a:pt x="1567343" y="1943260"/>
                  <a:pt x="1562580" y="1892778"/>
                </a:cubicBezTo>
                <a:cubicBezTo>
                  <a:pt x="1557818" y="1842295"/>
                  <a:pt x="1546388" y="1780383"/>
                  <a:pt x="1536863" y="1756570"/>
                </a:cubicBezTo>
                <a:cubicBezTo>
                  <a:pt x="1527338" y="1732758"/>
                  <a:pt x="1528290" y="1719423"/>
                  <a:pt x="1537815" y="1728948"/>
                </a:cubicBezTo>
                <a:cubicBezTo>
                  <a:pt x="1547340" y="1738473"/>
                  <a:pt x="1568295" y="1734663"/>
                  <a:pt x="1583535" y="1722280"/>
                </a:cubicBezTo>
                <a:cubicBezTo>
                  <a:pt x="1606395" y="1703230"/>
                  <a:pt x="1609252" y="1722280"/>
                  <a:pt x="1599727" y="1816578"/>
                </a:cubicBezTo>
                <a:cubicBezTo>
                  <a:pt x="1588297" y="1931830"/>
                  <a:pt x="1640685" y="2264253"/>
                  <a:pt x="1683547" y="2346168"/>
                </a:cubicBezTo>
                <a:cubicBezTo>
                  <a:pt x="1694977" y="2368075"/>
                  <a:pt x="1729268" y="2384268"/>
                  <a:pt x="1763557" y="2385221"/>
                </a:cubicBezTo>
                <a:cubicBezTo>
                  <a:pt x="1809277" y="2385221"/>
                  <a:pt x="1862618" y="2344263"/>
                  <a:pt x="1994063" y="2207103"/>
                </a:cubicBezTo>
                <a:cubicBezTo>
                  <a:pt x="2188373" y="2004220"/>
                  <a:pt x="2197898" y="1969930"/>
                  <a:pt x="2111220" y="1789908"/>
                </a:cubicBezTo>
                <a:cubicBezTo>
                  <a:pt x="2068357" y="1701325"/>
                  <a:pt x="2061690" y="1665130"/>
                  <a:pt x="2077882" y="1610838"/>
                </a:cubicBezTo>
                <a:cubicBezTo>
                  <a:pt x="2101695" y="1527018"/>
                  <a:pt x="2159798" y="1460343"/>
                  <a:pt x="2206470" y="1462248"/>
                </a:cubicBezTo>
                <a:cubicBezTo>
                  <a:pt x="2231235" y="1463200"/>
                  <a:pt x="2227425" y="1470820"/>
                  <a:pt x="2194088" y="1487013"/>
                </a:cubicBezTo>
                <a:cubicBezTo>
                  <a:pt x="2110268" y="1527018"/>
                  <a:pt x="2087407" y="1620363"/>
                  <a:pt x="2131223" y="1741330"/>
                </a:cubicBezTo>
                <a:cubicBezTo>
                  <a:pt x="2152178" y="1798480"/>
                  <a:pt x="2174085" y="1882300"/>
                  <a:pt x="2179800" y="1926115"/>
                </a:cubicBezTo>
                <a:cubicBezTo>
                  <a:pt x="2187420" y="1984218"/>
                  <a:pt x="2203613" y="2009935"/>
                  <a:pt x="2236950" y="2018508"/>
                </a:cubicBezTo>
                <a:cubicBezTo>
                  <a:pt x="2299815" y="2034700"/>
                  <a:pt x="2316007" y="2001363"/>
                  <a:pt x="2315055" y="1853725"/>
                </a:cubicBezTo>
                <a:cubicBezTo>
                  <a:pt x="2315055" y="1768953"/>
                  <a:pt x="2339820" y="1649890"/>
                  <a:pt x="2393160" y="1485108"/>
                </a:cubicBezTo>
                <a:cubicBezTo>
                  <a:pt x="2461740" y="1272700"/>
                  <a:pt x="2472217" y="1213645"/>
                  <a:pt x="2472217" y="1023145"/>
                </a:cubicBezTo>
                <a:cubicBezTo>
                  <a:pt x="2472217" y="783115"/>
                  <a:pt x="2499840" y="673578"/>
                  <a:pt x="2635095" y="371635"/>
                </a:cubicBezTo>
                <a:cubicBezTo>
                  <a:pt x="2678910" y="274480"/>
                  <a:pt x="2714153" y="173515"/>
                  <a:pt x="2714153" y="146845"/>
                </a:cubicBezTo>
                <a:cubicBezTo>
                  <a:pt x="2714153" y="70645"/>
                  <a:pt x="2634142" y="29688"/>
                  <a:pt x="2483648" y="30640"/>
                </a:cubicBezTo>
                <a:cubicBezTo>
                  <a:pt x="2298863" y="30640"/>
                  <a:pt x="2273145" y="51595"/>
                  <a:pt x="2347440" y="140178"/>
                </a:cubicBezTo>
                <a:cubicBezTo>
                  <a:pt x="2379825" y="178278"/>
                  <a:pt x="2406495" y="216378"/>
                  <a:pt x="2406495" y="224950"/>
                </a:cubicBezTo>
                <a:cubicBezTo>
                  <a:pt x="2406495" y="248763"/>
                  <a:pt x="2316960" y="408783"/>
                  <a:pt x="2286480" y="439263"/>
                </a:cubicBezTo>
                <a:cubicBezTo>
                  <a:pt x="2271240" y="454503"/>
                  <a:pt x="2253143" y="543085"/>
                  <a:pt x="2245523" y="637383"/>
                </a:cubicBezTo>
                <a:cubicBezTo>
                  <a:pt x="2228378" y="865983"/>
                  <a:pt x="2148368" y="1021240"/>
                  <a:pt x="1915957" y="1276510"/>
                </a:cubicBezTo>
                <a:cubicBezTo>
                  <a:pt x="1640685" y="1579405"/>
                  <a:pt x="1653068" y="1561308"/>
                  <a:pt x="1701645" y="1605123"/>
                </a:cubicBezTo>
                <a:cubicBezTo>
                  <a:pt x="1724505" y="1626078"/>
                  <a:pt x="1754985" y="1678465"/>
                  <a:pt x="1768320" y="1722280"/>
                </a:cubicBezTo>
                <a:cubicBezTo>
                  <a:pt x="1781655" y="1766095"/>
                  <a:pt x="1813088" y="1836580"/>
                  <a:pt x="1836900" y="1879443"/>
                </a:cubicBezTo>
                <a:lnTo>
                  <a:pt x="1879763" y="1956595"/>
                </a:lnTo>
                <a:lnTo>
                  <a:pt x="1831185" y="1897540"/>
                </a:lnTo>
                <a:cubicBezTo>
                  <a:pt x="1804515" y="1865155"/>
                  <a:pt x="1761652" y="1786098"/>
                  <a:pt x="1735935" y="1721328"/>
                </a:cubicBezTo>
                <a:cubicBezTo>
                  <a:pt x="1694977" y="1617505"/>
                  <a:pt x="1678785" y="1600360"/>
                  <a:pt x="1594965" y="1571785"/>
                </a:cubicBezTo>
                <a:cubicBezTo>
                  <a:pt x="1464472" y="1527018"/>
                  <a:pt x="1433040" y="1552735"/>
                  <a:pt x="1400655" y="1729900"/>
                </a:cubicBezTo>
                <a:cubicBezTo>
                  <a:pt x="1356840" y="1967073"/>
                  <a:pt x="1303500" y="2041368"/>
                  <a:pt x="1122525" y="2118521"/>
                </a:cubicBezTo>
                <a:cubicBezTo>
                  <a:pt x="972030" y="2183290"/>
                  <a:pt x="885352" y="2347121"/>
                  <a:pt x="949170" y="2447133"/>
                </a:cubicBezTo>
                <a:cubicBezTo>
                  <a:pt x="959647" y="2464278"/>
                  <a:pt x="1036800" y="2484280"/>
                  <a:pt x="1130145" y="2495711"/>
                </a:cubicBezTo>
                <a:lnTo>
                  <a:pt x="1293022" y="2514761"/>
                </a:lnTo>
                <a:lnTo>
                  <a:pt x="1128240" y="2508093"/>
                </a:lnTo>
                <a:cubicBezTo>
                  <a:pt x="932977" y="2500473"/>
                  <a:pt x="728190" y="2432846"/>
                  <a:pt x="640560" y="2349025"/>
                </a:cubicBezTo>
                <a:cubicBezTo>
                  <a:pt x="606270" y="2316640"/>
                  <a:pt x="583410" y="2285208"/>
                  <a:pt x="590077" y="2278540"/>
                </a:cubicBezTo>
                <a:cubicBezTo>
                  <a:pt x="596745" y="2271873"/>
                  <a:pt x="628177" y="2293780"/>
                  <a:pt x="661515" y="2325213"/>
                </a:cubicBezTo>
                <a:cubicBezTo>
                  <a:pt x="694852" y="2356646"/>
                  <a:pt x="764385" y="2398555"/>
                  <a:pt x="815820" y="2415700"/>
                </a:cubicBezTo>
                <a:lnTo>
                  <a:pt x="909165" y="2449038"/>
                </a:lnTo>
                <a:lnTo>
                  <a:pt x="909165" y="2367123"/>
                </a:lnTo>
                <a:cubicBezTo>
                  <a:pt x="909165" y="2258538"/>
                  <a:pt x="980602" y="2147096"/>
                  <a:pt x="1075852" y="2107090"/>
                </a:cubicBezTo>
                <a:lnTo>
                  <a:pt x="1153957" y="2074705"/>
                </a:lnTo>
                <a:lnTo>
                  <a:pt x="1054897" y="1965168"/>
                </a:lnTo>
                <a:cubicBezTo>
                  <a:pt x="961552" y="1861345"/>
                  <a:pt x="889162" y="1714660"/>
                  <a:pt x="917737" y="1687038"/>
                </a:cubicBezTo>
                <a:cubicBezTo>
                  <a:pt x="924405" y="1680370"/>
                  <a:pt x="936787" y="1692753"/>
                  <a:pt x="943455" y="1715613"/>
                </a:cubicBezTo>
                <a:cubicBezTo>
                  <a:pt x="977745" y="1821340"/>
                  <a:pt x="998700" y="1856583"/>
                  <a:pt x="1030132" y="1856583"/>
                </a:cubicBezTo>
                <a:cubicBezTo>
                  <a:pt x="1089187" y="1856583"/>
                  <a:pt x="1169197" y="1790860"/>
                  <a:pt x="1224443" y="1694658"/>
                </a:cubicBezTo>
                <a:cubicBezTo>
                  <a:pt x="1253970" y="1644175"/>
                  <a:pt x="1306357" y="1578453"/>
                  <a:pt x="1339695" y="1547973"/>
                </a:cubicBezTo>
                <a:lnTo>
                  <a:pt x="1400655" y="1492728"/>
                </a:lnTo>
                <a:lnTo>
                  <a:pt x="1333980" y="1580358"/>
                </a:lnTo>
                <a:cubicBezTo>
                  <a:pt x="1297785" y="1628935"/>
                  <a:pt x="1245397" y="1705135"/>
                  <a:pt x="1218727" y="1749903"/>
                </a:cubicBezTo>
                <a:cubicBezTo>
                  <a:pt x="1192057" y="1794670"/>
                  <a:pt x="1140622" y="1844200"/>
                  <a:pt x="1104427" y="1859440"/>
                </a:cubicBezTo>
                <a:cubicBezTo>
                  <a:pt x="1068232" y="1874680"/>
                  <a:pt x="1039657" y="1895635"/>
                  <a:pt x="1039657" y="1904208"/>
                </a:cubicBezTo>
                <a:cubicBezTo>
                  <a:pt x="1039657" y="1912780"/>
                  <a:pt x="1069185" y="1952785"/>
                  <a:pt x="1104427" y="1992790"/>
                </a:cubicBezTo>
                <a:cubicBezTo>
                  <a:pt x="1157768" y="2051845"/>
                  <a:pt x="1175865" y="2060418"/>
                  <a:pt x="1209202" y="2040415"/>
                </a:cubicBezTo>
                <a:cubicBezTo>
                  <a:pt x="1272068" y="2002315"/>
                  <a:pt x="1345410" y="1880395"/>
                  <a:pt x="1358745" y="1792765"/>
                </a:cubicBezTo>
                <a:cubicBezTo>
                  <a:pt x="1365413" y="1748950"/>
                  <a:pt x="1382557" y="1672750"/>
                  <a:pt x="1397797" y="1625125"/>
                </a:cubicBezTo>
                <a:cubicBezTo>
                  <a:pt x="1419705" y="1552735"/>
                  <a:pt x="1435897" y="1535590"/>
                  <a:pt x="1488285" y="1529875"/>
                </a:cubicBezTo>
                <a:lnTo>
                  <a:pt x="1551150" y="1522255"/>
                </a:lnTo>
                <a:lnTo>
                  <a:pt x="1537815" y="1375570"/>
                </a:lnTo>
                <a:cubicBezTo>
                  <a:pt x="1498763" y="940278"/>
                  <a:pt x="1497810" y="831693"/>
                  <a:pt x="1530195" y="740253"/>
                </a:cubicBezTo>
                <a:cubicBezTo>
                  <a:pt x="1553055" y="674530"/>
                  <a:pt x="1555913" y="645003"/>
                  <a:pt x="1537815" y="638335"/>
                </a:cubicBezTo>
                <a:cubicBezTo>
                  <a:pt x="1524480" y="633573"/>
                  <a:pt x="1520670" y="621190"/>
                  <a:pt x="1530195" y="611665"/>
                </a:cubicBezTo>
                <a:cubicBezTo>
                  <a:pt x="1539720" y="602140"/>
                  <a:pt x="1557818" y="604045"/>
                  <a:pt x="1570200" y="617380"/>
                </a:cubicBezTo>
                <a:cubicBezTo>
                  <a:pt x="1586393" y="633573"/>
                  <a:pt x="1583535" y="670720"/>
                  <a:pt x="1558770" y="743110"/>
                </a:cubicBezTo>
                <a:cubicBezTo>
                  <a:pt x="1514955" y="873603"/>
                  <a:pt x="1514955" y="947898"/>
                  <a:pt x="1560675" y="1278415"/>
                </a:cubicBezTo>
                <a:cubicBezTo>
                  <a:pt x="1599727" y="1563213"/>
                  <a:pt x="1617825" y="1592740"/>
                  <a:pt x="1693072" y="1495585"/>
                </a:cubicBezTo>
                <a:cubicBezTo>
                  <a:pt x="1714980" y="1467010"/>
                  <a:pt x="1810230" y="1356520"/>
                  <a:pt x="1903575" y="1250793"/>
                </a:cubicBezTo>
                <a:cubicBezTo>
                  <a:pt x="2121698" y="1005048"/>
                  <a:pt x="2198850" y="846933"/>
                  <a:pt x="2214090" y="617380"/>
                </a:cubicBezTo>
                <a:cubicBezTo>
                  <a:pt x="2227425" y="417355"/>
                  <a:pt x="2271240" y="433548"/>
                  <a:pt x="1838805" y="477363"/>
                </a:cubicBezTo>
                <a:cubicBezTo>
                  <a:pt x="1506382" y="510700"/>
                  <a:pt x="1449232" y="536418"/>
                  <a:pt x="1350172" y="692628"/>
                </a:cubicBezTo>
                <a:cubicBezTo>
                  <a:pt x="1291118" y="785973"/>
                  <a:pt x="1207297" y="858363"/>
                  <a:pt x="778672" y="1184118"/>
                </a:cubicBezTo>
                <a:cubicBezTo>
                  <a:pt x="611985" y="1310800"/>
                  <a:pt x="545310" y="1400335"/>
                  <a:pt x="525307" y="1520350"/>
                </a:cubicBezTo>
                <a:cubicBezTo>
                  <a:pt x="509115" y="1621315"/>
                  <a:pt x="444345" y="1710850"/>
                  <a:pt x="353857" y="1757523"/>
                </a:cubicBezTo>
                <a:cubicBezTo>
                  <a:pt x="317662" y="1775620"/>
                  <a:pt x="269085" y="1823245"/>
                  <a:pt x="246225" y="1861345"/>
                </a:cubicBezTo>
                <a:cubicBezTo>
                  <a:pt x="218602" y="1906113"/>
                  <a:pt x="203362" y="1918495"/>
                  <a:pt x="203362" y="1894683"/>
                </a:cubicBezTo>
                <a:cubicBezTo>
                  <a:pt x="203362" y="1874680"/>
                  <a:pt x="233842" y="1829913"/>
                  <a:pt x="271942" y="1795623"/>
                </a:cubicBezTo>
                <a:cubicBezTo>
                  <a:pt x="471967" y="1613695"/>
                  <a:pt x="486255" y="1596550"/>
                  <a:pt x="501495" y="1511778"/>
                </a:cubicBezTo>
                <a:cubicBezTo>
                  <a:pt x="525307" y="1378428"/>
                  <a:pt x="593887" y="1291750"/>
                  <a:pt x="809152" y="1126968"/>
                </a:cubicBezTo>
                <a:cubicBezTo>
                  <a:pt x="917737" y="1043148"/>
                  <a:pt x="1056802" y="936468"/>
                  <a:pt x="1116810" y="889795"/>
                </a:cubicBezTo>
                <a:cubicBezTo>
                  <a:pt x="1176818" y="843123"/>
                  <a:pt x="1272068" y="745968"/>
                  <a:pt x="1327313" y="674530"/>
                </a:cubicBezTo>
                <a:cubicBezTo>
                  <a:pt x="1467330" y="493555"/>
                  <a:pt x="1527338" y="470695"/>
                  <a:pt x="1915957" y="443073"/>
                </a:cubicBezTo>
                <a:cubicBezTo>
                  <a:pt x="2233140" y="421165"/>
                  <a:pt x="2239807" y="419260"/>
                  <a:pt x="2299815" y="355443"/>
                </a:cubicBezTo>
                <a:cubicBezTo>
                  <a:pt x="2472217" y="170658"/>
                  <a:pt x="2250285" y="32545"/>
                  <a:pt x="2018827" y="179230"/>
                </a:cubicBezTo>
                <a:cubicBezTo>
                  <a:pt x="1963582" y="214473"/>
                  <a:pt x="1792132" y="294483"/>
                  <a:pt x="1638780" y="355443"/>
                </a:cubicBezTo>
                <a:cubicBezTo>
                  <a:pt x="1485427" y="416403"/>
                  <a:pt x="1322550" y="489745"/>
                  <a:pt x="1277782" y="516415"/>
                </a:cubicBezTo>
                <a:cubicBezTo>
                  <a:pt x="1233015" y="543085"/>
                  <a:pt x="1141575" y="597378"/>
                  <a:pt x="1074900" y="636430"/>
                </a:cubicBezTo>
                <a:cubicBezTo>
                  <a:pt x="1008225" y="675483"/>
                  <a:pt x="936787" y="738348"/>
                  <a:pt x="915832" y="769780"/>
                </a:cubicBezTo>
                <a:cubicBezTo>
                  <a:pt x="894877" y="801213"/>
                  <a:pt x="787245" y="895510"/>
                  <a:pt x="675802" y="976473"/>
                </a:cubicBezTo>
                <a:cubicBezTo>
                  <a:pt x="473872" y="1126015"/>
                  <a:pt x="397672" y="1215550"/>
                  <a:pt x="368145" y="1338423"/>
                </a:cubicBezTo>
                <a:cubicBezTo>
                  <a:pt x="359572" y="1374618"/>
                  <a:pt x="333855" y="1430815"/>
                  <a:pt x="310995" y="1463200"/>
                </a:cubicBezTo>
                <a:cubicBezTo>
                  <a:pt x="261465" y="1534638"/>
                  <a:pt x="149070" y="1779430"/>
                  <a:pt x="90015" y="1944213"/>
                </a:cubicBezTo>
                <a:cubicBezTo>
                  <a:pt x="27150" y="2121378"/>
                  <a:pt x="12862" y="2405223"/>
                  <a:pt x="58582" y="2582388"/>
                </a:cubicBezTo>
                <a:cubicBezTo>
                  <a:pt x="130020" y="2861471"/>
                  <a:pt x="286230" y="2991011"/>
                  <a:pt x="560550" y="2998630"/>
                </a:cubicBezTo>
                <a:lnTo>
                  <a:pt x="642465" y="3000536"/>
                </a:lnTo>
                <a:lnTo>
                  <a:pt x="612937" y="2929098"/>
                </a:lnTo>
                <a:lnTo>
                  <a:pt x="612937" y="2929098"/>
                </a:lnTo>
                <a:close/>
                <a:moveTo>
                  <a:pt x="1965488" y="1623220"/>
                </a:moveTo>
                <a:cubicBezTo>
                  <a:pt x="1931197" y="1604170"/>
                  <a:pt x="1923577" y="1592740"/>
                  <a:pt x="1944532" y="1592740"/>
                </a:cubicBezTo>
                <a:cubicBezTo>
                  <a:pt x="1963582" y="1592740"/>
                  <a:pt x="1997872" y="1607028"/>
                  <a:pt x="2021685" y="1625125"/>
                </a:cubicBezTo>
                <a:cubicBezTo>
                  <a:pt x="2075025" y="1665130"/>
                  <a:pt x="2038830" y="1664178"/>
                  <a:pt x="1965488" y="1623220"/>
                </a:cubicBezTo>
                <a:lnTo>
                  <a:pt x="1965488" y="1623220"/>
                </a:lnTo>
                <a:close/>
                <a:moveTo>
                  <a:pt x="1075852" y="1331755"/>
                </a:moveTo>
                <a:cubicBezTo>
                  <a:pt x="1056802" y="1294608"/>
                  <a:pt x="1042515" y="1237458"/>
                  <a:pt x="1043467" y="1203168"/>
                </a:cubicBezTo>
                <a:lnTo>
                  <a:pt x="1045372" y="1141255"/>
                </a:lnTo>
                <a:lnTo>
                  <a:pt x="1061565" y="1206978"/>
                </a:lnTo>
                <a:cubicBezTo>
                  <a:pt x="1070137" y="1243173"/>
                  <a:pt x="1090140" y="1296513"/>
                  <a:pt x="1105380" y="1324135"/>
                </a:cubicBezTo>
                <a:cubicBezTo>
                  <a:pt x="1120620" y="1351758"/>
                  <a:pt x="1128240" y="1380333"/>
                  <a:pt x="1121572" y="1387000"/>
                </a:cubicBezTo>
                <a:cubicBezTo>
                  <a:pt x="1114905" y="1393668"/>
                  <a:pt x="1094902" y="1367950"/>
                  <a:pt x="1075852" y="1331755"/>
                </a:cubicBezTo>
                <a:lnTo>
                  <a:pt x="1075852" y="1331755"/>
                </a:lnTo>
                <a:close/>
                <a:moveTo>
                  <a:pt x="1825470" y="1160305"/>
                </a:moveTo>
                <a:cubicBezTo>
                  <a:pt x="1802610" y="1038385"/>
                  <a:pt x="1839757" y="904083"/>
                  <a:pt x="1936913" y="761208"/>
                </a:cubicBezTo>
                <a:cubicBezTo>
                  <a:pt x="1979775" y="697390"/>
                  <a:pt x="2019780" y="649765"/>
                  <a:pt x="2025495" y="655480"/>
                </a:cubicBezTo>
                <a:cubicBezTo>
                  <a:pt x="2031210" y="661195"/>
                  <a:pt x="2011207" y="698343"/>
                  <a:pt x="1980727" y="738348"/>
                </a:cubicBezTo>
                <a:cubicBezTo>
                  <a:pt x="1887382" y="863125"/>
                  <a:pt x="1868332" y="916465"/>
                  <a:pt x="1854997" y="1086010"/>
                </a:cubicBezTo>
                <a:cubicBezTo>
                  <a:pt x="1843568" y="1243173"/>
                  <a:pt x="1842615" y="1246983"/>
                  <a:pt x="1825470" y="1160305"/>
                </a:cubicBezTo>
                <a:lnTo>
                  <a:pt x="1825470" y="1160305"/>
                </a:lnTo>
                <a:close/>
                <a:moveTo>
                  <a:pt x="1293022" y="2937671"/>
                </a:moveTo>
                <a:cubicBezTo>
                  <a:pt x="1311120" y="2902428"/>
                  <a:pt x="1319693" y="2868138"/>
                  <a:pt x="1312072" y="2860518"/>
                </a:cubicBezTo>
                <a:cubicBezTo>
                  <a:pt x="1304452" y="2852898"/>
                  <a:pt x="1199677" y="2847183"/>
                  <a:pt x="1078710" y="2847183"/>
                </a:cubicBezTo>
                <a:cubicBezTo>
                  <a:pt x="883447" y="2847183"/>
                  <a:pt x="862492" y="2850993"/>
                  <a:pt x="888210" y="2881473"/>
                </a:cubicBezTo>
                <a:cubicBezTo>
                  <a:pt x="930120" y="2931955"/>
                  <a:pt x="996795" y="2964340"/>
                  <a:pt x="1095855" y="2980533"/>
                </a:cubicBezTo>
                <a:cubicBezTo>
                  <a:pt x="1246350" y="3006250"/>
                  <a:pt x="1258732" y="3003393"/>
                  <a:pt x="1293022" y="2937671"/>
                </a:cubicBezTo>
                <a:lnTo>
                  <a:pt x="1293022" y="2937671"/>
                </a:lnTo>
                <a:close/>
                <a:moveTo>
                  <a:pt x="1374938" y="2774793"/>
                </a:moveTo>
                <a:cubicBezTo>
                  <a:pt x="1406370" y="2716690"/>
                  <a:pt x="1352077" y="2706213"/>
                  <a:pt x="1133955" y="2728121"/>
                </a:cubicBezTo>
                <a:cubicBezTo>
                  <a:pt x="1029180" y="2738598"/>
                  <a:pt x="852015" y="2745265"/>
                  <a:pt x="740572" y="2743361"/>
                </a:cubicBezTo>
                <a:cubicBezTo>
                  <a:pt x="516735" y="2738598"/>
                  <a:pt x="417675" y="2703355"/>
                  <a:pt x="376717" y="2614773"/>
                </a:cubicBezTo>
                <a:cubicBezTo>
                  <a:pt x="347190" y="2549050"/>
                  <a:pt x="328140" y="2547146"/>
                  <a:pt x="270037" y="2606200"/>
                </a:cubicBezTo>
                <a:cubicBezTo>
                  <a:pt x="238605" y="2637633"/>
                  <a:pt x="229080" y="2666208"/>
                  <a:pt x="239557" y="2699546"/>
                </a:cubicBezTo>
                <a:cubicBezTo>
                  <a:pt x="274800" y="2814798"/>
                  <a:pt x="295755" y="2818608"/>
                  <a:pt x="938692" y="2815750"/>
                </a:cubicBezTo>
                <a:cubicBezTo>
                  <a:pt x="1312072" y="2813846"/>
                  <a:pt x="1355888" y="2810036"/>
                  <a:pt x="1374938" y="2774793"/>
                </a:cubicBezTo>
                <a:lnTo>
                  <a:pt x="1374938" y="2774793"/>
                </a:lnTo>
                <a:close/>
                <a:moveTo>
                  <a:pt x="1743555" y="2410938"/>
                </a:moveTo>
                <a:cubicBezTo>
                  <a:pt x="1726410" y="2405223"/>
                  <a:pt x="1694977" y="2386173"/>
                  <a:pt x="1674022" y="2368075"/>
                </a:cubicBezTo>
                <a:cubicBezTo>
                  <a:pt x="1644495" y="2342358"/>
                  <a:pt x="1629255" y="2340453"/>
                  <a:pt x="1604490" y="2361408"/>
                </a:cubicBezTo>
                <a:cubicBezTo>
                  <a:pt x="1576868" y="2384268"/>
                  <a:pt x="1577820" y="2395698"/>
                  <a:pt x="1609252" y="2450943"/>
                </a:cubicBezTo>
                <a:lnTo>
                  <a:pt x="1645447" y="2513808"/>
                </a:lnTo>
                <a:lnTo>
                  <a:pt x="1710218" y="2467136"/>
                </a:lnTo>
                <a:cubicBezTo>
                  <a:pt x="1755938" y="2433798"/>
                  <a:pt x="1765463" y="2417605"/>
                  <a:pt x="1743555" y="2410938"/>
                </a:cubicBezTo>
                <a:lnTo>
                  <a:pt x="1743555" y="2410938"/>
                </a:lnTo>
                <a:close/>
                <a:moveTo>
                  <a:pt x="5521170" y="2042320"/>
                </a:moveTo>
                <a:cubicBezTo>
                  <a:pt x="5509740" y="1980408"/>
                  <a:pt x="5449733" y="1838485"/>
                  <a:pt x="5296380" y="1512730"/>
                </a:cubicBezTo>
                <a:cubicBezTo>
                  <a:pt x="5278283" y="1474630"/>
                  <a:pt x="5239230" y="1432720"/>
                  <a:pt x="5208750" y="1419385"/>
                </a:cubicBezTo>
                <a:cubicBezTo>
                  <a:pt x="5157315" y="1395573"/>
                  <a:pt x="5154458" y="1397478"/>
                  <a:pt x="5167793" y="1441293"/>
                </a:cubicBezTo>
                <a:cubicBezTo>
                  <a:pt x="5177318" y="1469868"/>
                  <a:pt x="5174460" y="1483203"/>
                  <a:pt x="5161125" y="1474630"/>
                </a:cubicBezTo>
                <a:cubicBezTo>
                  <a:pt x="5148743" y="1467010"/>
                  <a:pt x="5127787" y="1413670"/>
                  <a:pt x="5113500" y="1356520"/>
                </a:cubicBezTo>
                <a:cubicBezTo>
                  <a:pt x="5060160" y="1144113"/>
                  <a:pt x="4926810" y="1020288"/>
                  <a:pt x="4716308" y="986950"/>
                </a:cubicBezTo>
                <a:cubicBezTo>
                  <a:pt x="4662015" y="978378"/>
                  <a:pt x="4602008" y="962185"/>
                  <a:pt x="4583910" y="950755"/>
                </a:cubicBezTo>
                <a:cubicBezTo>
                  <a:pt x="4551525" y="930753"/>
                  <a:pt x="4590578" y="934563"/>
                  <a:pt x="4762028" y="966948"/>
                </a:cubicBezTo>
                <a:lnTo>
                  <a:pt x="4829655" y="980283"/>
                </a:lnTo>
                <a:lnTo>
                  <a:pt x="4795365" y="913608"/>
                </a:lnTo>
                <a:cubicBezTo>
                  <a:pt x="4737263" y="800260"/>
                  <a:pt x="4637250" y="746920"/>
                  <a:pt x="4469610" y="737395"/>
                </a:cubicBezTo>
                <a:cubicBezTo>
                  <a:pt x="4303875" y="727870"/>
                  <a:pt x="4263870" y="689770"/>
                  <a:pt x="4419128" y="689770"/>
                </a:cubicBezTo>
                <a:cubicBezTo>
                  <a:pt x="4473420" y="689770"/>
                  <a:pt x="4518188" y="680245"/>
                  <a:pt x="4518188" y="669768"/>
                </a:cubicBezTo>
                <a:cubicBezTo>
                  <a:pt x="4518188" y="616428"/>
                  <a:pt x="4400078" y="514510"/>
                  <a:pt x="4323878" y="502128"/>
                </a:cubicBezTo>
                <a:cubicBezTo>
                  <a:pt x="4166715" y="475458"/>
                  <a:pt x="4102898" y="444978"/>
                  <a:pt x="3980025" y="337345"/>
                </a:cubicBezTo>
                <a:cubicBezTo>
                  <a:pt x="3890490" y="259240"/>
                  <a:pt x="3837150" y="227808"/>
                  <a:pt x="3789525" y="227808"/>
                </a:cubicBezTo>
                <a:cubicBezTo>
                  <a:pt x="3693323" y="227808"/>
                  <a:pt x="3586642" y="279243"/>
                  <a:pt x="3531398" y="351633"/>
                </a:cubicBezTo>
                <a:cubicBezTo>
                  <a:pt x="3504728" y="386875"/>
                  <a:pt x="3439005" y="470695"/>
                  <a:pt x="3385665" y="539275"/>
                </a:cubicBezTo>
                <a:lnTo>
                  <a:pt x="3288510" y="664053"/>
                </a:lnTo>
                <a:lnTo>
                  <a:pt x="3424717" y="747873"/>
                </a:lnTo>
                <a:cubicBezTo>
                  <a:pt x="3554257" y="827883"/>
                  <a:pt x="3572355" y="832645"/>
                  <a:pt x="3791430" y="845028"/>
                </a:cubicBezTo>
                <a:cubicBezTo>
                  <a:pt x="4038128" y="858363"/>
                  <a:pt x="4156238" y="897415"/>
                  <a:pt x="4226723" y="986950"/>
                </a:cubicBezTo>
                <a:cubicBezTo>
                  <a:pt x="4248630" y="1015525"/>
                  <a:pt x="4301018" y="1041243"/>
                  <a:pt x="4350548" y="1049815"/>
                </a:cubicBezTo>
                <a:cubicBezTo>
                  <a:pt x="4529618" y="1078390"/>
                  <a:pt x="5006820" y="1421290"/>
                  <a:pt x="5037300" y="1543210"/>
                </a:cubicBezTo>
                <a:cubicBezTo>
                  <a:pt x="5045873" y="1577500"/>
                  <a:pt x="5065875" y="1593693"/>
                  <a:pt x="5099212" y="1593693"/>
                </a:cubicBezTo>
                <a:cubicBezTo>
                  <a:pt x="5179223" y="1593693"/>
                  <a:pt x="5371628" y="1782288"/>
                  <a:pt x="5400203" y="1888015"/>
                </a:cubicBezTo>
                <a:cubicBezTo>
                  <a:pt x="5439255" y="2033748"/>
                  <a:pt x="5490690" y="2143285"/>
                  <a:pt x="5512598" y="2129950"/>
                </a:cubicBezTo>
                <a:cubicBezTo>
                  <a:pt x="5525933" y="2121378"/>
                  <a:pt x="5528790" y="2082325"/>
                  <a:pt x="5521170" y="2042320"/>
                </a:cubicBezTo>
                <a:lnTo>
                  <a:pt x="5521170" y="2042320"/>
                </a:lnTo>
                <a:close/>
                <a:moveTo>
                  <a:pt x="3828578" y="512605"/>
                </a:moveTo>
                <a:cubicBezTo>
                  <a:pt x="3721898" y="503080"/>
                  <a:pt x="3627600" y="488793"/>
                  <a:pt x="3619028" y="480220"/>
                </a:cubicBezTo>
                <a:cubicBezTo>
                  <a:pt x="3593310" y="452598"/>
                  <a:pt x="4010505" y="482125"/>
                  <a:pt x="4038128" y="509748"/>
                </a:cubicBezTo>
                <a:cubicBezTo>
                  <a:pt x="4052415" y="524035"/>
                  <a:pt x="4055273" y="534513"/>
                  <a:pt x="4043842" y="532608"/>
                </a:cubicBezTo>
                <a:cubicBezTo>
                  <a:pt x="4032413" y="530703"/>
                  <a:pt x="3936210" y="522130"/>
                  <a:pt x="3828578" y="512605"/>
                </a:cubicBezTo>
                <a:lnTo>
                  <a:pt x="3828578" y="512605"/>
                </a:lnTo>
                <a:close/>
              </a:path>
            </a:pathLst>
          </a:custGeom>
          <a:solidFill>
            <a:srgbClr val="004149"/>
          </a:solidFill>
          <a:ln w="9525" cap="flat">
            <a:solidFill>
              <a:schemeClr val="tx1"/>
            </a:solidFill>
            <a:prstDash val="solid"/>
            <a:miter/>
          </a:ln>
        </p:spPr>
        <p:txBody>
          <a:bodyPr rtlCol="0" anchor="ctr"/>
          <a:lstStyle/>
          <a:p>
            <a:endParaRPr lang="en-US"/>
          </a:p>
        </p:txBody>
      </p:sp>
      <p:sp>
        <p:nvSpPr>
          <p:cNvPr id="21" name="Freeform 16">
            <a:extLst>
              <a:ext uri="{FF2B5EF4-FFF2-40B4-BE49-F238E27FC236}">
                <a16:creationId xmlns:a16="http://schemas.microsoft.com/office/drawing/2014/main" id="{9ACB2E37-D82F-EE47-AEDD-5C810DCEFE77}"/>
              </a:ext>
            </a:extLst>
          </p:cNvPr>
          <p:cNvSpPr/>
          <p:nvPr/>
        </p:nvSpPr>
        <p:spPr>
          <a:xfrm>
            <a:off x="8803226" y="5042645"/>
            <a:ext cx="3004112" cy="870793"/>
          </a:xfrm>
          <a:custGeom>
            <a:avLst/>
            <a:gdLst>
              <a:gd name="connsiteX0" fmla="*/ 2035402 w 5468347"/>
              <a:gd name="connsiteY0" fmla="*/ 849 h 1582918"/>
              <a:gd name="connsiteX1" fmla="*/ 2596704 w 5468347"/>
              <a:gd name="connsiteY1" fmla="*/ 141538 h 1582918"/>
              <a:gd name="connsiteX2" fmla="*/ 3488648 w 5468347"/>
              <a:gd name="connsiteY2" fmla="*/ 570305 h 1582918"/>
              <a:gd name="connsiteX3" fmla="*/ 5468347 w 5468347"/>
              <a:gd name="connsiteY3" fmla="*/ 1582918 h 1582918"/>
              <a:gd name="connsiteX4" fmla="*/ 3631596 w 5468347"/>
              <a:gd name="connsiteY4" fmla="*/ 1574966 h 1582918"/>
              <a:gd name="connsiteX5" fmla="*/ 3269121 w 5468347"/>
              <a:gd name="connsiteY5" fmla="*/ 1173092 h 1582918"/>
              <a:gd name="connsiteX6" fmla="*/ 3214235 w 5468347"/>
              <a:gd name="connsiteY6" fmla="*/ 1161143 h 1582918"/>
              <a:gd name="connsiteX7" fmla="*/ 2448153 w 5468347"/>
              <a:gd name="connsiteY7" fmla="*/ 854408 h 1582918"/>
              <a:gd name="connsiteX8" fmla="*/ 1572398 w 5468347"/>
              <a:gd name="connsiteY8" fmla="*/ 937852 h 1582918"/>
              <a:gd name="connsiteX9" fmla="*/ 1281447 w 5468347"/>
              <a:gd name="connsiteY9" fmla="*/ 827716 h 1582918"/>
              <a:gd name="connsiteX10" fmla="*/ 158263 w 5468347"/>
              <a:gd name="connsiteY10" fmla="*/ 615914 h 1582918"/>
              <a:gd name="connsiteX11" fmla="*/ 231087 w 5468347"/>
              <a:gd name="connsiteY11" fmla="*/ 457382 h 1582918"/>
              <a:gd name="connsiteX12" fmla="*/ 1414 w 5468347"/>
              <a:gd name="connsiteY12" fmla="*/ 410090 h 1582918"/>
              <a:gd name="connsiteX13" fmla="*/ 417937 w 5468347"/>
              <a:gd name="connsiteY13" fmla="*/ 270533 h 1582918"/>
              <a:gd name="connsiteX14" fmla="*/ 1051890 w 5468347"/>
              <a:gd name="connsiteY14" fmla="*/ 437363 h 1582918"/>
              <a:gd name="connsiteX15" fmla="*/ 1549535 w 5468347"/>
              <a:gd name="connsiteY15" fmla="*/ 367846 h 1582918"/>
              <a:gd name="connsiteX16" fmla="*/ 1138815 w 5468347"/>
              <a:gd name="connsiteY16" fmla="*/ 345621 h 1582918"/>
              <a:gd name="connsiteX17" fmla="*/ 991889 w 5468347"/>
              <a:gd name="connsiteY17" fmla="*/ 115890 h 1582918"/>
              <a:gd name="connsiteX18" fmla="*/ 1647486 w 5468347"/>
              <a:gd name="connsiteY18" fmla="*/ 92040 h 1582918"/>
              <a:gd name="connsiteX19" fmla="*/ 2035402 w 5468347"/>
              <a:gd name="connsiteY19" fmla="*/ 849 h 1582918"/>
              <a:gd name="connsiteX0" fmla="*/ 2035402 w 5468347"/>
              <a:gd name="connsiteY0" fmla="*/ 849 h 1582918"/>
              <a:gd name="connsiteX1" fmla="*/ 2596704 w 5468347"/>
              <a:gd name="connsiteY1" fmla="*/ 141538 h 1582918"/>
              <a:gd name="connsiteX2" fmla="*/ 3488648 w 5468347"/>
              <a:gd name="connsiteY2" fmla="*/ 570305 h 1582918"/>
              <a:gd name="connsiteX3" fmla="*/ 5468347 w 5468347"/>
              <a:gd name="connsiteY3" fmla="*/ 1582918 h 1582918"/>
              <a:gd name="connsiteX4" fmla="*/ 3631596 w 5468347"/>
              <a:gd name="connsiteY4" fmla="*/ 1574966 h 1582918"/>
              <a:gd name="connsiteX5" fmla="*/ 3214235 w 5468347"/>
              <a:gd name="connsiteY5" fmla="*/ 1161143 h 1582918"/>
              <a:gd name="connsiteX6" fmla="*/ 2448153 w 5468347"/>
              <a:gd name="connsiteY6" fmla="*/ 854408 h 1582918"/>
              <a:gd name="connsiteX7" fmla="*/ 1572398 w 5468347"/>
              <a:gd name="connsiteY7" fmla="*/ 937852 h 1582918"/>
              <a:gd name="connsiteX8" fmla="*/ 1281447 w 5468347"/>
              <a:gd name="connsiteY8" fmla="*/ 827716 h 1582918"/>
              <a:gd name="connsiteX9" fmla="*/ 158263 w 5468347"/>
              <a:gd name="connsiteY9" fmla="*/ 615914 h 1582918"/>
              <a:gd name="connsiteX10" fmla="*/ 231087 w 5468347"/>
              <a:gd name="connsiteY10" fmla="*/ 457382 h 1582918"/>
              <a:gd name="connsiteX11" fmla="*/ 1414 w 5468347"/>
              <a:gd name="connsiteY11" fmla="*/ 410090 h 1582918"/>
              <a:gd name="connsiteX12" fmla="*/ 417937 w 5468347"/>
              <a:gd name="connsiteY12" fmla="*/ 270533 h 1582918"/>
              <a:gd name="connsiteX13" fmla="*/ 1051890 w 5468347"/>
              <a:gd name="connsiteY13" fmla="*/ 437363 h 1582918"/>
              <a:gd name="connsiteX14" fmla="*/ 1549535 w 5468347"/>
              <a:gd name="connsiteY14" fmla="*/ 367846 h 1582918"/>
              <a:gd name="connsiteX15" fmla="*/ 1138815 w 5468347"/>
              <a:gd name="connsiteY15" fmla="*/ 345621 h 1582918"/>
              <a:gd name="connsiteX16" fmla="*/ 991889 w 5468347"/>
              <a:gd name="connsiteY16" fmla="*/ 115890 h 1582918"/>
              <a:gd name="connsiteX17" fmla="*/ 1647486 w 5468347"/>
              <a:gd name="connsiteY17" fmla="*/ 92040 h 1582918"/>
              <a:gd name="connsiteX18" fmla="*/ 2035402 w 5468347"/>
              <a:gd name="connsiteY18" fmla="*/ 849 h 1582918"/>
              <a:gd name="connsiteX0" fmla="*/ 2035402 w 5468347"/>
              <a:gd name="connsiteY0" fmla="*/ 849 h 1582918"/>
              <a:gd name="connsiteX1" fmla="*/ 2596704 w 5468347"/>
              <a:gd name="connsiteY1" fmla="*/ 141538 h 1582918"/>
              <a:gd name="connsiteX2" fmla="*/ 3488648 w 5468347"/>
              <a:gd name="connsiteY2" fmla="*/ 570305 h 1582918"/>
              <a:gd name="connsiteX3" fmla="*/ 5468347 w 5468347"/>
              <a:gd name="connsiteY3" fmla="*/ 1582918 h 1582918"/>
              <a:gd name="connsiteX4" fmla="*/ 4021210 w 5468347"/>
              <a:gd name="connsiteY4" fmla="*/ 1574966 h 1582918"/>
              <a:gd name="connsiteX5" fmla="*/ 3214235 w 5468347"/>
              <a:gd name="connsiteY5" fmla="*/ 1161143 h 1582918"/>
              <a:gd name="connsiteX6" fmla="*/ 2448153 w 5468347"/>
              <a:gd name="connsiteY6" fmla="*/ 854408 h 1582918"/>
              <a:gd name="connsiteX7" fmla="*/ 1572398 w 5468347"/>
              <a:gd name="connsiteY7" fmla="*/ 937852 h 1582918"/>
              <a:gd name="connsiteX8" fmla="*/ 1281447 w 5468347"/>
              <a:gd name="connsiteY8" fmla="*/ 827716 h 1582918"/>
              <a:gd name="connsiteX9" fmla="*/ 158263 w 5468347"/>
              <a:gd name="connsiteY9" fmla="*/ 615914 h 1582918"/>
              <a:gd name="connsiteX10" fmla="*/ 231087 w 5468347"/>
              <a:gd name="connsiteY10" fmla="*/ 457382 h 1582918"/>
              <a:gd name="connsiteX11" fmla="*/ 1414 w 5468347"/>
              <a:gd name="connsiteY11" fmla="*/ 410090 h 1582918"/>
              <a:gd name="connsiteX12" fmla="*/ 417937 w 5468347"/>
              <a:gd name="connsiteY12" fmla="*/ 270533 h 1582918"/>
              <a:gd name="connsiteX13" fmla="*/ 1051890 w 5468347"/>
              <a:gd name="connsiteY13" fmla="*/ 437363 h 1582918"/>
              <a:gd name="connsiteX14" fmla="*/ 1549535 w 5468347"/>
              <a:gd name="connsiteY14" fmla="*/ 367846 h 1582918"/>
              <a:gd name="connsiteX15" fmla="*/ 1138815 w 5468347"/>
              <a:gd name="connsiteY15" fmla="*/ 345621 h 1582918"/>
              <a:gd name="connsiteX16" fmla="*/ 991889 w 5468347"/>
              <a:gd name="connsiteY16" fmla="*/ 115890 h 1582918"/>
              <a:gd name="connsiteX17" fmla="*/ 1647486 w 5468347"/>
              <a:gd name="connsiteY17" fmla="*/ 92040 h 1582918"/>
              <a:gd name="connsiteX18" fmla="*/ 2035402 w 5468347"/>
              <a:gd name="connsiteY18" fmla="*/ 849 h 1582918"/>
              <a:gd name="connsiteX0" fmla="*/ 2035402 w 5468347"/>
              <a:gd name="connsiteY0" fmla="*/ 849 h 1590869"/>
              <a:gd name="connsiteX1" fmla="*/ 2596704 w 5468347"/>
              <a:gd name="connsiteY1" fmla="*/ 141538 h 1590869"/>
              <a:gd name="connsiteX2" fmla="*/ 3488648 w 5468347"/>
              <a:gd name="connsiteY2" fmla="*/ 570305 h 1590869"/>
              <a:gd name="connsiteX3" fmla="*/ 5468347 w 5468347"/>
              <a:gd name="connsiteY3" fmla="*/ 1582918 h 1590869"/>
              <a:gd name="connsiteX4" fmla="*/ 3862184 w 5468347"/>
              <a:gd name="connsiteY4" fmla="*/ 1590869 h 1590869"/>
              <a:gd name="connsiteX5" fmla="*/ 3214235 w 5468347"/>
              <a:gd name="connsiteY5" fmla="*/ 1161143 h 1590869"/>
              <a:gd name="connsiteX6" fmla="*/ 2448153 w 5468347"/>
              <a:gd name="connsiteY6" fmla="*/ 854408 h 1590869"/>
              <a:gd name="connsiteX7" fmla="*/ 1572398 w 5468347"/>
              <a:gd name="connsiteY7" fmla="*/ 937852 h 1590869"/>
              <a:gd name="connsiteX8" fmla="*/ 1281447 w 5468347"/>
              <a:gd name="connsiteY8" fmla="*/ 827716 h 1590869"/>
              <a:gd name="connsiteX9" fmla="*/ 158263 w 5468347"/>
              <a:gd name="connsiteY9" fmla="*/ 615914 h 1590869"/>
              <a:gd name="connsiteX10" fmla="*/ 231087 w 5468347"/>
              <a:gd name="connsiteY10" fmla="*/ 457382 h 1590869"/>
              <a:gd name="connsiteX11" fmla="*/ 1414 w 5468347"/>
              <a:gd name="connsiteY11" fmla="*/ 410090 h 1590869"/>
              <a:gd name="connsiteX12" fmla="*/ 417937 w 5468347"/>
              <a:gd name="connsiteY12" fmla="*/ 270533 h 1590869"/>
              <a:gd name="connsiteX13" fmla="*/ 1051890 w 5468347"/>
              <a:gd name="connsiteY13" fmla="*/ 437363 h 1590869"/>
              <a:gd name="connsiteX14" fmla="*/ 1549535 w 5468347"/>
              <a:gd name="connsiteY14" fmla="*/ 367846 h 1590869"/>
              <a:gd name="connsiteX15" fmla="*/ 1138815 w 5468347"/>
              <a:gd name="connsiteY15" fmla="*/ 345621 h 1590869"/>
              <a:gd name="connsiteX16" fmla="*/ 991889 w 5468347"/>
              <a:gd name="connsiteY16" fmla="*/ 115890 h 1590869"/>
              <a:gd name="connsiteX17" fmla="*/ 1647486 w 5468347"/>
              <a:gd name="connsiteY17" fmla="*/ 92040 h 1590869"/>
              <a:gd name="connsiteX18" fmla="*/ 2035402 w 5468347"/>
              <a:gd name="connsiteY18" fmla="*/ 849 h 1590869"/>
              <a:gd name="connsiteX0" fmla="*/ 2035402 w 5468347"/>
              <a:gd name="connsiteY0" fmla="*/ 849 h 1590869"/>
              <a:gd name="connsiteX1" fmla="*/ 2596704 w 5468347"/>
              <a:gd name="connsiteY1" fmla="*/ 141538 h 1590869"/>
              <a:gd name="connsiteX2" fmla="*/ 3488648 w 5468347"/>
              <a:gd name="connsiteY2" fmla="*/ 570305 h 1590869"/>
              <a:gd name="connsiteX3" fmla="*/ 5468347 w 5468347"/>
              <a:gd name="connsiteY3" fmla="*/ 1582918 h 1590869"/>
              <a:gd name="connsiteX4" fmla="*/ 3862184 w 5468347"/>
              <a:gd name="connsiteY4" fmla="*/ 1590869 h 1590869"/>
              <a:gd name="connsiteX5" fmla="*/ 3214235 w 5468347"/>
              <a:gd name="connsiteY5" fmla="*/ 1161143 h 1590869"/>
              <a:gd name="connsiteX6" fmla="*/ 2448153 w 5468347"/>
              <a:gd name="connsiteY6" fmla="*/ 854408 h 1590869"/>
              <a:gd name="connsiteX7" fmla="*/ 1572398 w 5468347"/>
              <a:gd name="connsiteY7" fmla="*/ 937852 h 1590869"/>
              <a:gd name="connsiteX8" fmla="*/ 1281447 w 5468347"/>
              <a:gd name="connsiteY8" fmla="*/ 827716 h 1590869"/>
              <a:gd name="connsiteX9" fmla="*/ 158263 w 5468347"/>
              <a:gd name="connsiteY9" fmla="*/ 615914 h 1590869"/>
              <a:gd name="connsiteX10" fmla="*/ 231087 w 5468347"/>
              <a:gd name="connsiteY10" fmla="*/ 457382 h 1590869"/>
              <a:gd name="connsiteX11" fmla="*/ 1414 w 5468347"/>
              <a:gd name="connsiteY11" fmla="*/ 410090 h 1590869"/>
              <a:gd name="connsiteX12" fmla="*/ 417937 w 5468347"/>
              <a:gd name="connsiteY12" fmla="*/ 270533 h 1590869"/>
              <a:gd name="connsiteX13" fmla="*/ 1051890 w 5468347"/>
              <a:gd name="connsiteY13" fmla="*/ 437363 h 1590869"/>
              <a:gd name="connsiteX14" fmla="*/ 1549535 w 5468347"/>
              <a:gd name="connsiteY14" fmla="*/ 367846 h 1590869"/>
              <a:gd name="connsiteX15" fmla="*/ 1138815 w 5468347"/>
              <a:gd name="connsiteY15" fmla="*/ 345621 h 1590869"/>
              <a:gd name="connsiteX16" fmla="*/ 991889 w 5468347"/>
              <a:gd name="connsiteY16" fmla="*/ 115890 h 1590869"/>
              <a:gd name="connsiteX17" fmla="*/ 1647486 w 5468347"/>
              <a:gd name="connsiteY17" fmla="*/ 92040 h 1590869"/>
              <a:gd name="connsiteX18" fmla="*/ 2035402 w 5468347"/>
              <a:gd name="connsiteY18" fmla="*/ 849 h 1590869"/>
              <a:gd name="connsiteX0" fmla="*/ 2035402 w 5493347"/>
              <a:gd name="connsiteY0" fmla="*/ 849 h 1590869"/>
              <a:gd name="connsiteX1" fmla="*/ 2596704 w 5493347"/>
              <a:gd name="connsiteY1" fmla="*/ 141538 h 1590869"/>
              <a:gd name="connsiteX2" fmla="*/ 3488648 w 5493347"/>
              <a:gd name="connsiteY2" fmla="*/ 570305 h 1590869"/>
              <a:gd name="connsiteX3" fmla="*/ 5493347 w 5493347"/>
              <a:gd name="connsiteY3" fmla="*/ 1582918 h 1590869"/>
              <a:gd name="connsiteX4" fmla="*/ 3862184 w 5493347"/>
              <a:gd name="connsiteY4" fmla="*/ 1590869 h 1590869"/>
              <a:gd name="connsiteX5" fmla="*/ 3214235 w 5493347"/>
              <a:gd name="connsiteY5" fmla="*/ 1161143 h 1590869"/>
              <a:gd name="connsiteX6" fmla="*/ 2448153 w 5493347"/>
              <a:gd name="connsiteY6" fmla="*/ 854408 h 1590869"/>
              <a:gd name="connsiteX7" fmla="*/ 1572398 w 5493347"/>
              <a:gd name="connsiteY7" fmla="*/ 937852 h 1590869"/>
              <a:gd name="connsiteX8" fmla="*/ 1281447 w 5493347"/>
              <a:gd name="connsiteY8" fmla="*/ 827716 h 1590869"/>
              <a:gd name="connsiteX9" fmla="*/ 158263 w 5493347"/>
              <a:gd name="connsiteY9" fmla="*/ 615914 h 1590869"/>
              <a:gd name="connsiteX10" fmla="*/ 231087 w 5493347"/>
              <a:gd name="connsiteY10" fmla="*/ 457382 h 1590869"/>
              <a:gd name="connsiteX11" fmla="*/ 1414 w 5493347"/>
              <a:gd name="connsiteY11" fmla="*/ 410090 h 1590869"/>
              <a:gd name="connsiteX12" fmla="*/ 417937 w 5493347"/>
              <a:gd name="connsiteY12" fmla="*/ 270533 h 1590869"/>
              <a:gd name="connsiteX13" fmla="*/ 1051890 w 5493347"/>
              <a:gd name="connsiteY13" fmla="*/ 437363 h 1590869"/>
              <a:gd name="connsiteX14" fmla="*/ 1549535 w 5493347"/>
              <a:gd name="connsiteY14" fmla="*/ 367846 h 1590869"/>
              <a:gd name="connsiteX15" fmla="*/ 1138815 w 5493347"/>
              <a:gd name="connsiteY15" fmla="*/ 345621 h 1590869"/>
              <a:gd name="connsiteX16" fmla="*/ 991889 w 5493347"/>
              <a:gd name="connsiteY16" fmla="*/ 115890 h 1590869"/>
              <a:gd name="connsiteX17" fmla="*/ 1647486 w 5493347"/>
              <a:gd name="connsiteY17" fmla="*/ 92040 h 1590869"/>
              <a:gd name="connsiteX18" fmla="*/ 2035402 w 5493347"/>
              <a:gd name="connsiteY18" fmla="*/ 849 h 1590869"/>
              <a:gd name="connsiteX0" fmla="*/ 2035402 w 5518348"/>
              <a:gd name="connsiteY0" fmla="*/ 849 h 1599585"/>
              <a:gd name="connsiteX1" fmla="*/ 2596704 w 5518348"/>
              <a:gd name="connsiteY1" fmla="*/ 141538 h 1599585"/>
              <a:gd name="connsiteX2" fmla="*/ 3488648 w 5518348"/>
              <a:gd name="connsiteY2" fmla="*/ 570305 h 1599585"/>
              <a:gd name="connsiteX3" fmla="*/ 5518348 w 5518348"/>
              <a:gd name="connsiteY3" fmla="*/ 1599585 h 1599585"/>
              <a:gd name="connsiteX4" fmla="*/ 3862184 w 5518348"/>
              <a:gd name="connsiteY4" fmla="*/ 1590869 h 1599585"/>
              <a:gd name="connsiteX5" fmla="*/ 3214235 w 5518348"/>
              <a:gd name="connsiteY5" fmla="*/ 1161143 h 1599585"/>
              <a:gd name="connsiteX6" fmla="*/ 2448153 w 5518348"/>
              <a:gd name="connsiteY6" fmla="*/ 854408 h 1599585"/>
              <a:gd name="connsiteX7" fmla="*/ 1572398 w 5518348"/>
              <a:gd name="connsiteY7" fmla="*/ 937852 h 1599585"/>
              <a:gd name="connsiteX8" fmla="*/ 1281447 w 5518348"/>
              <a:gd name="connsiteY8" fmla="*/ 827716 h 1599585"/>
              <a:gd name="connsiteX9" fmla="*/ 158263 w 5518348"/>
              <a:gd name="connsiteY9" fmla="*/ 615914 h 1599585"/>
              <a:gd name="connsiteX10" fmla="*/ 231087 w 5518348"/>
              <a:gd name="connsiteY10" fmla="*/ 457382 h 1599585"/>
              <a:gd name="connsiteX11" fmla="*/ 1414 w 5518348"/>
              <a:gd name="connsiteY11" fmla="*/ 410090 h 1599585"/>
              <a:gd name="connsiteX12" fmla="*/ 417937 w 5518348"/>
              <a:gd name="connsiteY12" fmla="*/ 270533 h 1599585"/>
              <a:gd name="connsiteX13" fmla="*/ 1051890 w 5518348"/>
              <a:gd name="connsiteY13" fmla="*/ 437363 h 1599585"/>
              <a:gd name="connsiteX14" fmla="*/ 1549535 w 5518348"/>
              <a:gd name="connsiteY14" fmla="*/ 367846 h 1599585"/>
              <a:gd name="connsiteX15" fmla="*/ 1138815 w 5518348"/>
              <a:gd name="connsiteY15" fmla="*/ 345621 h 1599585"/>
              <a:gd name="connsiteX16" fmla="*/ 991889 w 5518348"/>
              <a:gd name="connsiteY16" fmla="*/ 115890 h 1599585"/>
              <a:gd name="connsiteX17" fmla="*/ 1647486 w 5518348"/>
              <a:gd name="connsiteY17" fmla="*/ 92040 h 1599585"/>
              <a:gd name="connsiteX18" fmla="*/ 2035402 w 5518348"/>
              <a:gd name="connsiteY18" fmla="*/ 849 h 159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18348" h="1599585">
                <a:moveTo>
                  <a:pt x="2035402" y="849"/>
                </a:moveTo>
                <a:cubicBezTo>
                  <a:pt x="2197434" y="-5873"/>
                  <a:pt x="2388365" y="26053"/>
                  <a:pt x="2596704" y="141538"/>
                </a:cubicBezTo>
                <a:cubicBezTo>
                  <a:pt x="2882877" y="296530"/>
                  <a:pt x="3113344" y="409742"/>
                  <a:pt x="3488648" y="570305"/>
                </a:cubicBezTo>
                <a:lnTo>
                  <a:pt x="5518348" y="1599585"/>
                </a:lnTo>
                <a:lnTo>
                  <a:pt x="3862184" y="1590869"/>
                </a:lnTo>
                <a:cubicBezTo>
                  <a:pt x="3609095" y="1421123"/>
                  <a:pt x="3449907" y="1283886"/>
                  <a:pt x="3214235" y="1161143"/>
                </a:cubicBezTo>
                <a:cubicBezTo>
                  <a:pt x="2978563" y="1038400"/>
                  <a:pt x="2766821" y="883267"/>
                  <a:pt x="2448153" y="854408"/>
                </a:cubicBezTo>
                <a:cubicBezTo>
                  <a:pt x="2143410" y="808837"/>
                  <a:pt x="1776133" y="951121"/>
                  <a:pt x="1572398" y="937852"/>
                </a:cubicBezTo>
                <a:cubicBezTo>
                  <a:pt x="1505125" y="926208"/>
                  <a:pt x="1357077" y="858858"/>
                  <a:pt x="1281447" y="827716"/>
                </a:cubicBezTo>
                <a:cubicBezTo>
                  <a:pt x="885698" y="751545"/>
                  <a:pt x="570724" y="664232"/>
                  <a:pt x="158263" y="615914"/>
                </a:cubicBezTo>
                <a:cubicBezTo>
                  <a:pt x="86907" y="604850"/>
                  <a:pt x="149248" y="490730"/>
                  <a:pt x="231087" y="457382"/>
                </a:cubicBezTo>
                <a:lnTo>
                  <a:pt x="1414" y="410090"/>
                </a:lnTo>
                <a:cubicBezTo>
                  <a:pt x="-19437" y="255872"/>
                  <a:pt x="193679" y="238135"/>
                  <a:pt x="417937" y="270533"/>
                </a:cubicBezTo>
                <a:cubicBezTo>
                  <a:pt x="654322" y="317787"/>
                  <a:pt x="815504" y="362256"/>
                  <a:pt x="1051890" y="437363"/>
                </a:cubicBezTo>
                <a:cubicBezTo>
                  <a:pt x="1217771" y="414191"/>
                  <a:pt x="1436574" y="452295"/>
                  <a:pt x="1549535" y="367846"/>
                </a:cubicBezTo>
                <a:cubicBezTo>
                  <a:pt x="1412629" y="360438"/>
                  <a:pt x="1256225" y="378097"/>
                  <a:pt x="1138815" y="345621"/>
                </a:cubicBezTo>
                <a:cubicBezTo>
                  <a:pt x="1000710" y="335892"/>
                  <a:pt x="896026" y="181325"/>
                  <a:pt x="991889" y="115890"/>
                </a:cubicBezTo>
                <a:cubicBezTo>
                  <a:pt x="1199280" y="54090"/>
                  <a:pt x="1518085" y="131556"/>
                  <a:pt x="1647486" y="92040"/>
                </a:cubicBezTo>
                <a:cubicBezTo>
                  <a:pt x="1740234" y="52939"/>
                  <a:pt x="1873369" y="7571"/>
                  <a:pt x="2035402" y="849"/>
                </a:cubicBez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 name="Freeform 21">
            <a:extLst>
              <a:ext uri="{FF2B5EF4-FFF2-40B4-BE49-F238E27FC236}">
                <a16:creationId xmlns:a16="http://schemas.microsoft.com/office/drawing/2014/main" id="{0CA4D5E6-1EFB-4648-BCAE-1B3E4F92B9B0}"/>
              </a:ext>
            </a:extLst>
          </p:cNvPr>
          <p:cNvSpPr>
            <a:spLocks noChangeAspect="1"/>
          </p:cNvSpPr>
          <p:nvPr/>
        </p:nvSpPr>
        <p:spPr bwMode="auto">
          <a:xfrm>
            <a:off x="3125904" y="4386434"/>
            <a:ext cx="1922910" cy="1429054"/>
          </a:xfrm>
          <a:custGeom>
            <a:avLst/>
            <a:gdLst/>
            <a:ahLst/>
            <a:cxnLst/>
            <a:rect l="l" t="t" r="r" b="b"/>
            <a:pathLst>
              <a:path w="2429161" h="1805286">
                <a:moveTo>
                  <a:pt x="284649" y="0"/>
                </a:moveTo>
                <a:lnTo>
                  <a:pt x="2426059" y="0"/>
                </a:lnTo>
                <a:lnTo>
                  <a:pt x="2427509" y="20116"/>
                </a:lnTo>
                <a:lnTo>
                  <a:pt x="2429161" y="101997"/>
                </a:lnTo>
                <a:lnTo>
                  <a:pt x="2424207" y="183024"/>
                </a:lnTo>
                <a:lnTo>
                  <a:pt x="2414298" y="262347"/>
                </a:lnTo>
                <a:lnTo>
                  <a:pt x="2396133" y="339963"/>
                </a:lnTo>
                <a:lnTo>
                  <a:pt x="2372189" y="406490"/>
                </a:lnTo>
                <a:lnTo>
                  <a:pt x="2343290" y="468754"/>
                </a:lnTo>
                <a:lnTo>
                  <a:pt x="2308612" y="525900"/>
                </a:lnTo>
                <a:lnTo>
                  <a:pt x="2273107" y="581340"/>
                </a:lnTo>
                <a:lnTo>
                  <a:pt x="2233474" y="635927"/>
                </a:lnTo>
                <a:lnTo>
                  <a:pt x="2194667" y="687103"/>
                </a:lnTo>
                <a:lnTo>
                  <a:pt x="2155860" y="739984"/>
                </a:lnTo>
                <a:lnTo>
                  <a:pt x="2117878" y="792865"/>
                </a:lnTo>
                <a:lnTo>
                  <a:pt x="2092282" y="835511"/>
                </a:lnTo>
                <a:lnTo>
                  <a:pt x="2071640" y="884128"/>
                </a:lnTo>
                <a:lnTo>
                  <a:pt x="2055126" y="935304"/>
                </a:lnTo>
                <a:lnTo>
                  <a:pt x="2041916" y="990743"/>
                </a:lnTo>
                <a:lnTo>
                  <a:pt x="2040264" y="1017184"/>
                </a:lnTo>
                <a:lnTo>
                  <a:pt x="2041916" y="1048742"/>
                </a:lnTo>
                <a:lnTo>
                  <a:pt x="2046044" y="1087124"/>
                </a:lnTo>
                <a:lnTo>
                  <a:pt x="2051824" y="1127211"/>
                </a:lnTo>
                <a:lnTo>
                  <a:pt x="2060906" y="1170710"/>
                </a:lnTo>
                <a:lnTo>
                  <a:pt x="2071640" y="1214210"/>
                </a:lnTo>
                <a:lnTo>
                  <a:pt x="2082374" y="1256003"/>
                </a:lnTo>
                <a:lnTo>
                  <a:pt x="2093934" y="1296090"/>
                </a:lnTo>
                <a:lnTo>
                  <a:pt x="2104667" y="1331913"/>
                </a:lnTo>
                <a:lnTo>
                  <a:pt x="2115401" y="1363471"/>
                </a:lnTo>
                <a:lnTo>
                  <a:pt x="2124484" y="1386500"/>
                </a:lnTo>
                <a:lnTo>
                  <a:pt x="2137695" y="1420618"/>
                </a:lnTo>
                <a:lnTo>
                  <a:pt x="2150080" y="1462410"/>
                </a:lnTo>
                <a:lnTo>
                  <a:pt x="2163291" y="1509322"/>
                </a:lnTo>
                <a:lnTo>
                  <a:pt x="2176502" y="1557085"/>
                </a:lnTo>
                <a:lnTo>
                  <a:pt x="2191364" y="1600584"/>
                </a:lnTo>
                <a:lnTo>
                  <a:pt x="2207052" y="1638966"/>
                </a:lnTo>
                <a:lnTo>
                  <a:pt x="2065860" y="1685877"/>
                </a:lnTo>
                <a:lnTo>
                  <a:pt x="1928797" y="1725964"/>
                </a:lnTo>
                <a:lnTo>
                  <a:pt x="1798339" y="1758376"/>
                </a:lnTo>
                <a:lnTo>
                  <a:pt x="1671183" y="1782257"/>
                </a:lnTo>
                <a:lnTo>
                  <a:pt x="1547331" y="1799316"/>
                </a:lnTo>
                <a:lnTo>
                  <a:pt x="1427607" y="1805286"/>
                </a:lnTo>
                <a:lnTo>
                  <a:pt x="1310360" y="1803580"/>
                </a:lnTo>
                <a:lnTo>
                  <a:pt x="1196416" y="1792492"/>
                </a:lnTo>
                <a:lnTo>
                  <a:pt x="1084123" y="1772875"/>
                </a:lnTo>
                <a:lnTo>
                  <a:pt x="1079169" y="1744728"/>
                </a:lnTo>
                <a:lnTo>
                  <a:pt x="1073389" y="1712317"/>
                </a:lnTo>
                <a:lnTo>
                  <a:pt x="1065957" y="1673083"/>
                </a:lnTo>
                <a:lnTo>
                  <a:pt x="1060178" y="1631289"/>
                </a:lnTo>
                <a:lnTo>
                  <a:pt x="1051921" y="1586084"/>
                </a:lnTo>
                <a:lnTo>
                  <a:pt x="1043664" y="1540027"/>
                </a:lnTo>
                <a:lnTo>
                  <a:pt x="1034581" y="1494821"/>
                </a:lnTo>
                <a:lnTo>
                  <a:pt x="1023848" y="1451323"/>
                </a:lnTo>
                <a:lnTo>
                  <a:pt x="1013114" y="1409529"/>
                </a:lnTo>
                <a:lnTo>
                  <a:pt x="999903" y="1372854"/>
                </a:lnTo>
                <a:lnTo>
                  <a:pt x="985867" y="1341295"/>
                </a:lnTo>
                <a:lnTo>
                  <a:pt x="971004" y="1316561"/>
                </a:lnTo>
                <a:lnTo>
                  <a:pt x="954491" y="1301208"/>
                </a:lnTo>
                <a:lnTo>
                  <a:pt x="936326" y="1293531"/>
                </a:lnTo>
                <a:lnTo>
                  <a:pt x="915684" y="1290120"/>
                </a:lnTo>
                <a:lnTo>
                  <a:pt x="891738" y="1291826"/>
                </a:lnTo>
                <a:lnTo>
                  <a:pt x="867794" y="1295238"/>
                </a:lnTo>
                <a:lnTo>
                  <a:pt x="845500" y="1301208"/>
                </a:lnTo>
                <a:lnTo>
                  <a:pt x="824032" y="1307178"/>
                </a:lnTo>
                <a:lnTo>
                  <a:pt x="804216" y="1313148"/>
                </a:lnTo>
                <a:lnTo>
                  <a:pt x="789354" y="1318266"/>
                </a:lnTo>
                <a:lnTo>
                  <a:pt x="753849" y="1330207"/>
                </a:lnTo>
                <a:lnTo>
                  <a:pt x="713391" y="1341295"/>
                </a:lnTo>
                <a:lnTo>
                  <a:pt x="667978" y="1350677"/>
                </a:lnTo>
                <a:lnTo>
                  <a:pt x="620089" y="1356648"/>
                </a:lnTo>
                <a:lnTo>
                  <a:pt x="572199" y="1361766"/>
                </a:lnTo>
                <a:lnTo>
                  <a:pt x="523484" y="1363471"/>
                </a:lnTo>
                <a:lnTo>
                  <a:pt x="477246" y="1360060"/>
                </a:lnTo>
                <a:lnTo>
                  <a:pt x="433484" y="1352383"/>
                </a:lnTo>
                <a:lnTo>
                  <a:pt x="409540" y="1346413"/>
                </a:lnTo>
                <a:lnTo>
                  <a:pt x="385595" y="1335325"/>
                </a:lnTo>
                <a:lnTo>
                  <a:pt x="361649" y="1322531"/>
                </a:lnTo>
                <a:lnTo>
                  <a:pt x="341007" y="1307178"/>
                </a:lnTo>
                <a:lnTo>
                  <a:pt x="319540" y="1288414"/>
                </a:lnTo>
                <a:lnTo>
                  <a:pt x="303026" y="1268797"/>
                </a:lnTo>
                <a:lnTo>
                  <a:pt x="291466" y="1244062"/>
                </a:lnTo>
                <a:lnTo>
                  <a:pt x="282384" y="1215915"/>
                </a:lnTo>
                <a:lnTo>
                  <a:pt x="279082" y="1185210"/>
                </a:lnTo>
                <a:lnTo>
                  <a:pt x="282384" y="1151093"/>
                </a:lnTo>
                <a:lnTo>
                  <a:pt x="286512" y="1127211"/>
                </a:lnTo>
                <a:lnTo>
                  <a:pt x="292293" y="1100771"/>
                </a:lnTo>
                <a:lnTo>
                  <a:pt x="298898" y="1073477"/>
                </a:lnTo>
                <a:lnTo>
                  <a:pt x="301375" y="1047036"/>
                </a:lnTo>
                <a:lnTo>
                  <a:pt x="301375" y="1018890"/>
                </a:lnTo>
                <a:lnTo>
                  <a:pt x="293943" y="994156"/>
                </a:lnTo>
                <a:lnTo>
                  <a:pt x="286512" y="980508"/>
                </a:lnTo>
                <a:lnTo>
                  <a:pt x="273301" y="967715"/>
                </a:lnTo>
                <a:lnTo>
                  <a:pt x="259265" y="958332"/>
                </a:lnTo>
                <a:lnTo>
                  <a:pt x="244402" y="950656"/>
                </a:lnTo>
                <a:lnTo>
                  <a:pt x="229540" y="939568"/>
                </a:lnTo>
                <a:lnTo>
                  <a:pt x="217981" y="927627"/>
                </a:lnTo>
                <a:lnTo>
                  <a:pt x="208899" y="912275"/>
                </a:lnTo>
                <a:lnTo>
                  <a:pt x="205595" y="895216"/>
                </a:lnTo>
                <a:lnTo>
                  <a:pt x="207247" y="878157"/>
                </a:lnTo>
                <a:lnTo>
                  <a:pt x="213026" y="861952"/>
                </a:lnTo>
                <a:lnTo>
                  <a:pt x="220458" y="848305"/>
                </a:lnTo>
                <a:lnTo>
                  <a:pt x="225412" y="834658"/>
                </a:lnTo>
                <a:lnTo>
                  <a:pt x="201467" y="817600"/>
                </a:lnTo>
                <a:lnTo>
                  <a:pt x="184953" y="800541"/>
                </a:lnTo>
                <a:lnTo>
                  <a:pt x="175871" y="783483"/>
                </a:lnTo>
                <a:lnTo>
                  <a:pt x="174219" y="764719"/>
                </a:lnTo>
                <a:lnTo>
                  <a:pt x="176696" y="747660"/>
                </a:lnTo>
                <a:lnTo>
                  <a:pt x="183302" y="728896"/>
                </a:lnTo>
                <a:lnTo>
                  <a:pt x="192384" y="710132"/>
                </a:lnTo>
                <a:lnTo>
                  <a:pt x="202293" y="691367"/>
                </a:lnTo>
                <a:lnTo>
                  <a:pt x="211375" y="671750"/>
                </a:lnTo>
                <a:lnTo>
                  <a:pt x="220458" y="652985"/>
                </a:lnTo>
                <a:lnTo>
                  <a:pt x="225412" y="632516"/>
                </a:lnTo>
                <a:lnTo>
                  <a:pt x="208899" y="617163"/>
                </a:lnTo>
                <a:lnTo>
                  <a:pt x="185779" y="605221"/>
                </a:lnTo>
                <a:lnTo>
                  <a:pt x="160183" y="594134"/>
                </a:lnTo>
                <a:lnTo>
                  <a:pt x="133761" y="584752"/>
                </a:lnTo>
                <a:lnTo>
                  <a:pt x="106513" y="575369"/>
                </a:lnTo>
                <a:lnTo>
                  <a:pt x="79266" y="565987"/>
                </a:lnTo>
                <a:lnTo>
                  <a:pt x="53670" y="554899"/>
                </a:lnTo>
                <a:lnTo>
                  <a:pt x="33028" y="542958"/>
                </a:lnTo>
                <a:lnTo>
                  <a:pt x="14863" y="525900"/>
                </a:lnTo>
                <a:lnTo>
                  <a:pt x="4129" y="505429"/>
                </a:lnTo>
                <a:lnTo>
                  <a:pt x="0" y="484106"/>
                </a:lnTo>
                <a:lnTo>
                  <a:pt x="3303" y="463637"/>
                </a:lnTo>
                <a:lnTo>
                  <a:pt x="10734" y="444872"/>
                </a:lnTo>
                <a:lnTo>
                  <a:pt x="22294" y="429519"/>
                </a:lnTo>
                <a:lnTo>
                  <a:pt x="36330" y="414167"/>
                </a:lnTo>
                <a:lnTo>
                  <a:pt x="49541" y="401373"/>
                </a:lnTo>
                <a:lnTo>
                  <a:pt x="60275" y="391138"/>
                </a:lnTo>
                <a:lnTo>
                  <a:pt x="91651" y="353609"/>
                </a:lnTo>
                <a:lnTo>
                  <a:pt x="124678" y="319492"/>
                </a:lnTo>
                <a:lnTo>
                  <a:pt x="157706" y="285375"/>
                </a:lnTo>
                <a:lnTo>
                  <a:pt x="189082" y="247846"/>
                </a:lnTo>
                <a:lnTo>
                  <a:pt x="218806" y="211171"/>
                </a:lnTo>
                <a:lnTo>
                  <a:pt x="246054" y="169378"/>
                </a:lnTo>
                <a:lnTo>
                  <a:pt x="268347" y="124173"/>
                </a:lnTo>
                <a:lnTo>
                  <a:pt x="280732" y="86644"/>
                </a:lnTo>
                <a:lnTo>
                  <a:pt x="284861" y="49968"/>
                </a:lnTo>
                <a:lnTo>
                  <a:pt x="284861" y="1073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nvGrpSpPr>
          <p:cNvPr id="5" name="Group 4">
            <a:extLst>
              <a:ext uri="{FF2B5EF4-FFF2-40B4-BE49-F238E27FC236}">
                <a16:creationId xmlns:a16="http://schemas.microsoft.com/office/drawing/2014/main" id="{0451DE30-DB9D-5944-982E-ECFD1B2A52B7}"/>
              </a:ext>
            </a:extLst>
          </p:cNvPr>
          <p:cNvGrpSpPr>
            <a:grpSpLocks noChangeAspect="1"/>
          </p:cNvGrpSpPr>
          <p:nvPr/>
        </p:nvGrpSpPr>
        <p:grpSpPr>
          <a:xfrm>
            <a:off x="1580186" y="4050865"/>
            <a:ext cx="1489991" cy="1790474"/>
            <a:chOff x="507979" y="520166"/>
            <a:chExt cx="4912251" cy="5902895"/>
          </a:xfrm>
        </p:grpSpPr>
        <p:sp>
          <p:nvSpPr>
            <p:cNvPr id="25" name="Freeform: Shape 12">
              <a:extLst>
                <a:ext uri="{FF2B5EF4-FFF2-40B4-BE49-F238E27FC236}">
                  <a16:creationId xmlns:a16="http://schemas.microsoft.com/office/drawing/2014/main" id="{67F3B3C8-6639-BC43-B9D4-8808774C6F5E}"/>
                </a:ext>
              </a:extLst>
            </p:cNvPr>
            <p:cNvSpPr/>
            <p:nvPr/>
          </p:nvSpPr>
          <p:spPr>
            <a:xfrm>
              <a:off x="691699" y="605393"/>
              <a:ext cx="4728531" cy="5817668"/>
            </a:xfrm>
            <a:custGeom>
              <a:avLst/>
              <a:gdLst>
                <a:gd name="connsiteX0" fmla="*/ 548548 w 4728531"/>
                <a:gd name="connsiteY0" fmla="*/ 4778763 h 5817668"/>
                <a:gd name="connsiteX1" fmla="*/ 1038907 w 4728531"/>
                <a:gd name="connsiteY1" fmla="*/ 5326503 h 5817668"/>
                <a:gd name="connsiteX2" fmla="*/ 491166 w 4728531"/>
                <a:gd name="connsiteY2" fmla="*/ 5816862 h 5817668"/>
                <a:gd name="connsiteX3" fmla="*/ 807 w 4728531"/>
                <a:gd name="connsiteY3" fmla="*/ 5269121 h 5817668"/>
                <a:gd name="connsiteX4" fmla="*/ 548548 w 4728531"/>
                <a:gd name="connsiteY4" fmla="*/ 4778763 h 5817668"/>
                <a:gd name="connsiteX5" fmla="*/ 2582068 w 4728531"/>
                <a:gd name="connsiteY5" fmla="*/ 2704 h 5817668"/>
                <a:gd name="connsiteX6" fmla="*/ 2756083 w 4728531"/>
                <a:gd name="connsiteY6" fmla="*/ 3767 h 5817668"/>
                <a:gd name="connsiteX7" fmla="*/ 3929376 w 4728531"/>
                <a:gd name="connsiteY7" fmla="*/ 449548 h 5817668"/>
                <a:gd name="connsiteX8" fmla="*/ 4286615 w 4728531"/>
                <a:gd name="connsiteY8" fmla="*/ 3129325 h 5817668"/>
                <a:gd name="connsiteX9" fmla="*/ 4355478 w 4728531"/>
                <a:gd name="connsiteY9" fmla="*/ 4036880 h 5817668"/>
                <a:gd name="connsiteX10" fmla="*/ 3844862 w 4728531"/>
                <a:gd name="connsiteY10" fmla="*/ 4021634 h 5817668"/>
                <a:gd name="connsiteX11" fmla="*/ 3795512 w 4728531"/>
                <a:gd name="connsiteY11" fmla="*/ 4317879 h 5817668"/>
                <a:gd name="connsiteX12" fmla="*/ 3646861 w 4728531"/>
                <a:gd name="connsiteY12" fmla="*/ 4323548 h 5817668"/>
                <a:gd name="connsiteX13" fmla="*/ 3606580 w 4728531"/>
                <a:gd name="connsiteY13" fmla="*/ 4469298 h 5817668"/>
                <a:gd name="connsiteX14" fmla="*/ 3369990 w 4728531"/>
                <a:gd name="connsiteY14" fmla="*/ 4521018 h 5817668"/>
                <a:gd name="connsiteX15" fmla="*/ 2899355 w 4728531"/>
                <a:gd name="connsiteY15" fmla="*/ 4971677 h 5817668"/>
                <a:gd name="connsiteX16" fmla="*/ 2141841 w 4728531"/>
                <a:gd name="connsiteY16" fmla="*/ 4344012 h 5817668"/>
                <a:gd name="connsiteX17" fmla="*/ 1400078 w 4728531"/>
                <a:gd name="connsiteY17" fmla="*/ 4911033 h 5817668"/>
                <a:gd name="connsiteX18" fmla="*/ 589931 w 4728531"/>
                <a:gd name="connsiteY18" fmla="*/ 4419825 h 5817668"/>
                <a:gd name="connsiteX19" fmla="*/ 1652307 w 4728531"/>
                <a:gd name="connsiteY19" fmla="*/ 2931722 h 5817668"/>
                <a:gd name="connsiteX20" fmla="*/ 3043158 w 4728531"/>
                <a:gd name="connsiteY20" fmla="*/ 2561200 h 5817668"/>
                <a:gd name="connsiteX21" fmla="*/ 3036113 w 4728531"/>
                <a:gd name="connsiteY21" fmla="*/ 2555987 h 5817668"/>
                <a:gd name="connsiteX22" fmla="*/ 3772668 w 4728531"/>
                <a:gd name="connsiteY22" fmla="*/ 1716322 h 5817668"/>
                <a:gd name="connsiteX23" fmla="*/ 2840209 w 4728531"/>
                <a:gd name="connsiteY23" fmla="*/ 737058 h 5817668"/>
                <a:gd name="connsiteX24" fmla="*/ 2096020 w 4728531"/>
                <a:gd name="connsiteY24" fmla="*/ 1003904 h 5817668"/>
                <a:gd name="connsiteX25" fmla="*/ 1445846 w 4728531"/>
                <a:gd name="connsiteY25" fmla="*/ 541122 h 5817668"/>
                <a:gd name="connsiteX26" fmla="*/ 2582068 w 4728531"/>
                <a:gd name="connsiteY26" fmla="*/ 2704 h 581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28531" h="5817668">
                  <a:moveTo>
                    <a:pt x="548548" y="4778763"/>
                  </a:moveTo>
                  <a:cubicBezTo>
                    <a:pt x="835211" y="4794608"/>
                    <a:pt x="1054752" y="5039839"/>
                    <a:pt x="1038907" y="5326503"/>
                  </a:cubicBezTo>
                  <a:cubicBezTo>
                    <a:pt x="1023061" y="5613167"/>
                    <a:pt x="777829" y="5832707"/>
                    <a:pt x="491166" y="5816862"/>
                  </a:cubicBezTo>
                  <a:cubicBezTo>
                    <a:pt x="204503" y="5801016"/>
                    <a:pt x="-15038" y="5555785"/>
                    <a:pt x="807" y="5269121"/>
                  </a:cubicBezTo>
                  <a:cubicBezTo>
                    <a:pt x="16653" y="4982458"/>
                    <a:pt x="261885" y="4762917"/>
                    <a:pt x="548548" y="4778763"/>
                  </a:cubicBezTo>
                  <a:close/>
                  <a:moveTo>
                    <a:pt x="2582068" y="2704"/>
                  </a:moveTo>
                  <a:cubicBezTo>
                    <a:pt x="2640139" y="-1161"/>
                    <a:pt x="2698224" y="-946"/>
                    <a:pt x="2756083" y="3767"/>
                  </a:cubicBezTo>
                  <a:cubicBezTo>
                    <a:pt x="3132633" y="34436"/>
                    <a:pt x="3493967" y="91474"/>
                    <a:pt x="3929376" y="449548"/>
                  </a:cubicBezTo>
                  <a:cubicBezTo>
                    <a:pt x="4919800" y="1129412"/>
                    <a:pt x="4930126" y="2421201"/>
                    <a:pt x="4286615" y="3129325"/>
                  </a:cubicBezTo>
                  <a:cubicBezTo>
                    <a:pt x="4309568" y="3431842"/>
                    <a:pt x="4389355" y="4005541"/>
                    <a:pt x="4355478" y="4036880"/>
                  </a:cubicBezTo>
                  <a:cubicBezTo>
                    <a:pt x="4255653" y="4142484"/>
                    <a:pt x="4016098" y="4042610"/>
                    <a:pt x="3844862" y="4021634"/>
                  </a:cubicBezTo>
                  <a:cubicBezTo>
                    <a:pt x="3836003" y="4129147"/>
                    <a:pt x="3822393" y="4296348"/>
                    <a:pt x="3795512" y="4317879"/>
                  </a:cubicBezTo>
                  <a:cubicBezTo>
                    <a:pt x="3758886" y="4332019"/>
                    <a:pt x="3700874" y="4326476"/>
                    <a:pt x="3646861" y="4323548"/>
                  </a:cubicBezTo>
                  <a:cubicBezTo>
                    <a:pt x="3633433" y="4372131"/>
                    <a:pt x="3646781" y="4449628"/>
                    <a:pt x="3606580" y="4469298"/>
                  </a:cubicBezTo>
                  <a:cubicBezTo>
                    <a:pt x="3537513" y="4494843"/>
                    <a:pt x="3434899" y="4475631"/>
                    <a:pt x="3369990" y="4521018"/>
                  </a:cubicBezTo>
                  <a:cubicBezTo>
                    <a:pt x="3252468" y="4578984"/>
                    <a:pt x="3247184" y="5024253"/>
                    <a:pt x="2899355" y="4971677"/>
                  </a:cubicBezTo>
                  <a:cubicBezTo>
                    <a:pt x="2598277" y="4909574"/>
                    <a:pt x="2355586" y="4565959"/>
                    <a:pt x="2141841" y="4344012"/>
                  </a:cubicBezTo>
                  <a:cubicBezTo>
                    <a:pt x="1981764" y="4163762"/>
                    <a:pt x="1622817" y="4698394"/>
                    <a:pt x="1400078" y="4911033"/>
                  </a:cubicBezTo>
                  <a:cubicBezTo>
                    <a:pt x="1075556" y="4771974"/>
                    <a:pt x="813353" y="4605488"/>
                    <a:pt x="589931" y="4419825"/>
                  </a:cubicBezTo>
                  <a:cubicBezTo>
                    <a:pt x="979653" y="3891924"/>
                    <a:pt x="1424727" y="3149577"/>
                    <a:pt x="1652307" y="2931722"/>
                  </a:cubicBezTo>
                  <a:cubicBezTo>
                    <a:pt x="1885400" y="2693969"/>
                    <a:pt x="2613272" y="2686571"/>
                    <a:pt x="3043158" y="2561200"/>
                  </a:cubicBezTo>
                  <a:lnTo>
                    <a:pt x="3036113" y="2555987"/>
                  </a:lnTo>
                  <a:cubicBezTo>
                    <a:pt x="3441848" y="2464034"/>
                    <a:pt x="3749810" y="2129847"/>
                    <a:pt x="3772668" y="1716322"/>
                  </a:cubicBezTo>
                  <a:cubicBezTo>
                    <a:pt x="3800903" y="1205517"/>
                    <a:pt x="3383428" y="767085"/>
                    <a:pt x="2840209" y="737058"/>
                  </a:cubicBezTo>
                  <a:cubicBezTo>
                    <a:pt x="2550766" y="721060"/>
                    <a:pt x="2284022" y="824238"/>
                    <a:pt x="2096020" y="1003904"/>
                  </a:cubicBezTo>
                  <a:lnTo>
                    <a:pt x="1445846" y="541122"/>
                  </a:lnTo>
                  <a:cubicBezTo>
                    <a:pt x="1769624" y="256775"/>
                    <a:pt x="2175558" y="29760"/>
                    <a:pt x="2582068" y="2704"/>
                  </a:cubicBezTo>
                  <a:close/>
                </a:path>
              </a:pathLst>
            </a:custGeom>
            <a:solidFill>
              <a:srgbClr val="004149"/>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sp>
          <p:nvSpPr>
            <p:cNvPr id="26" name="Freeform: Shape 12">
              <a:extLst>
                <a:ext uri="{FF2B5EF4-FFF2-40B4-BE49-F238E27FC236}">
                  <a16:creationId xmlns:a16="http://schemas.microsoft.com/office/drawing/2014/main" id="{67076099-B42F-1740-99BE-40CF272DCFFD}"/>
                </a:ext>
              </a:extLst>
            </p:cNvPr>
            <p:cNvSpPr/>
            <p:nvPr/>
          </p:nvSpPr>
          <p:spPr>
            <a:xfrm>
              <a:off x="507979" y="520166"/>
              <a:ext cx="4728531" cy="5817668"/>
            </a:xfrm>
            <a:custGeom>
              <a:avLst/>
              <a:gdLst>
                <a:gd name="connsiteX0" fmla="*/ 548548 w 4728531"/>
                <a:gd name="connsiteY0" fmla="*/ 4778763 h 5817668"/>
                <a:gd name="connsiteX1" fmla="*/ 1038907 w 4728531"/>
                <a:gd name="connsiteY1" fmla="*/ 5326503 h 5817668"/>
                <a:gd name="connsiteX2" fmla="*/ 491166 w 4728531"/>
                <a:gd name="connsiteY2" fmla="*/ 5816862 h 5817668"/>
                <a:gd name="connsiteX3" fmla="*/ 807 w 4728531"/>
                <a:gd name="connsiteY3" fmla="*/ 5269121 h 5817668"/>
                <a:gd name="connsiteX4" fmla="*/ 548548 w 4728531"/>
                <a:gd name="connsiteY4" fmla="*/ 4778763 h 5817668"/>
                <a:gd name="connsiteX5" fmla="*/ 2582068 w 4728531"/>
                <a:gd name="connsiteY5" fmla="*/ 2704 h 5817668"/>
                <a:gd name="connsiteX6" fmla="*/ 2756083 w 4728531"/>
                <a:gd name="connsiteY6" fmla="*/ 3767 h 5817668"/>
                <a:gd name="connsiteX7" fmla="*/ 3929376 w 4728531"/>
                <a:gd name="connsiteY7" fmla="*/ 449548 h 5817668"/>
                <a:gd name="connsiteX8" fmla="*/ 4286615 w 4728531"/>
                <a:gd name="connsiteY8" fmla="*/ 3129325 h 5817668"/>
                <a:gd name="connsiteX9" fmla="*/ 4355478 w 4728531"/>
                <a:gd name="connsiteY9" fmla="*/ 4036880 h 5817668"/>
                <a:gd name="connsiteX10" fmla="*/ 3844862 w 4728531"/>
                <a:gd name="connsiteY10" fmla="*/ 4021634 h 5817668"/>
                <a:gd name="connsiteX11" fmla="*/ 3795512 w 4728531"/>
                <a:gd name="connsiteY11" fmla="*/ 4317879 h 5817668"/>
                <a:gd name="connsiteX12" fmla="*/ 3646861 w 4728531"/>
                <a:gd name="connsiteY12" fmla="*/ 4323548 h 5817668"/>
                <a:gd name="connsiteX13" fmla="*/ 3606580 w 4728531"/>
                <a:gd name="connsiteY13" fmla="*/ 4469298 h 5817668"/>
                <a:gd name="connsiteX14" fmla="*/ 3369990 w 4728531"/>
                <a:gd name="connsiteY14" fmla="*/ 4521018 h 5817668"/>
                <a:gd name="connsiteX15" fmla="*/ 2899355 w 4728531"/>
                <a:gd name="connsiteY15" fmla="*/ 4971677 h 5817668"/>
                <a:gd name="connsiteX16" fmla="*/ 2141841 w 4728531"/>
                <a:gd name="connsiteY16" fmla="*/ 4344012 h 5817668"/>
                <a:gd name="connsiteX17" fmla="*/ 1400078 w 4728531"/>
                <a:gd name="connsiteY17" fmla="*/ 4911033 h 5817668"/>
                <a:gd name="connsiteX18" fmla="*/ 589931 w 4728531"/>
                <a:gd name="connsiteY18" fmla="*/ 4419825 h 5817668"/>
                <a:gd name="connsiteX19" fmla="*/ 1652307 w 4728531"/>
                <a:gd name="connsiteY19" fmla="*/ 2931722 h 5817668"/>
                <a:gd name="connsiteX20" fmla="*/ 3043158 w 4728531"/>
                <a:gd name="connsiteY20" fmla="*/ 2561200 h 5817668"/>
                <a:gd name="connsiteX21" fmla="*/ 3036113 w 4728531"/>
                <a:gd name="connsiteY21" fmla="*/ 2555987 h 5817668"/>
                <a:gd name="connsiteX22" fmla="*/ 3772668 w 4728531"/>
                <a:gd name="connsiteY22" fmla="*/ 1716322 h 5817668"/>
                <a:gd name="connsiteX23" fmla="*/ 2840209 w 4728531"/>
                <a:gd name="connsiteY23" fmla="*/ 737058 h 5817668"/>
                <a:gd name="connsiteX24" fmla="*/ 2096020 w 4728531"/>
                <a:gd name="connsiteY24" fmla="*/ 1003904 h 5817668"/>
                <a:gd name="connsiteX25" fmla="*/ 1445846 w 4728531"/>
                <a:gd name="connsiteY25" fmla="*/ 541122 h 5817668"/>
                <a:gd name="connsiteX26" fmla="*/ 2582068 w 4728531"/>
                <a:gd name="connsiteY26" fmla="*/ 2704 h 581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28531" h="5817668">
                  <a:moveTo>
                    <a:pt x="548548" y="4778763"/>
                  </a:moveTo>
                  <a:cubicBezTo>
                    <a:pt x="835211" y="4794608"/>
                    <a:pt x="1054752" y="5039839"/>
                    <a:pt x="1038907" y="5326503"/>
                  </a:cubicBezTo>
                  <a:cubicBezTo>
                    <a:pt x="1023061" y="5613167"/>
                    <a:pt x="777829" y="5832707"/>
                    <a:pt x="491166" y="5816862"/>
                  </a:cubicBezTo>
                  <a:cubicBezTo>
                    <a:pt x="204503" y="5801016"/>
                    <a:pt x="-15038" y="5555785"/>
                    <a:pt x="807" y="5269121"/>
                  </a:cubicBezTo>
                  <a:cubicBezTo>
                    <a:pt x="16653" y="4982458"/>
                    <a:pt x="261885" y="4762917"/>
                    <a:pt x="548548" y="4778763"/>
                  </a:cubicBezTo>
                  <a:close/>
                  <a:moveTo>
                    <a:pt x="2582068" y="2704"/>
                  </a:moveTo>
                  <a:cubicBezTo>
                    <a:pt x="2640139" y="-1161"/>
                    <a:pt x="2698224" y="-946"/>
                    <a:pt x="2756083" y="3767"/>
                  </a:cubicBezTo>
                  <a:cubicBezTo>
                    <a:pt x="3132633" y="34436"/>
                    <a:pt x="3493967" y="91474"/>
                    <a:pt x="3929376" y="449548"/>
                  </a:cubicBezTo>
                  <a:cubicBezTo>
                    <a:pt x="4919800" y="1129412"/>
                    <a:pt x="4930126" y="2421201"/>
                    <a:pt x="4286615" y="3129325"/>
                  </a:cubicBezTo>
                  <a:cubicBezTo>
                    <a:pt x="4309568" y="3431842"/>
                    <a:pt x="4389355" y="4005541"/>
                    <a:pt x="4355478" y="4036880"/>
                  </a:cubicBezTo>
                  <a:cubicBezTo>
                    <a:pt x="4255653" y="4142484"/>
                    <a:pt x="4016098" y="4042610"/>
                    <a:pt x="3844862" y="4021634"/>
                  </a:cubicBezTo>
                  <a:cubicBezTo>
                    <a:pt x="3836003" y="4129147"/>
                    <a:pt x="3822393" y="4296348"/>
                    <a:pt x="3795512" y="4317879"/>
                  </a:cubicBezTo>
                  <a:cubicBezTo>
                    <a:pt x="3758886" y="4332019"/>
                    <a:pt x="3700874" y="4326476"/>
                    <a:pt x="3646861" y="4323548"/>
                  </a:cubicBezTo>
                  <a:cubicBezTo>
                    <a:pt x="3633433" y="4372131"/>
                    <a:pt x="3646781" y="4449628"/>
                    <a:pt x="3606580" y="4469298"/>
                  </a:cubicBezTo>
                  <a:cubicBezTo>
                    <a:pt x="3537513" y="4494843"/>
                    <a:pt x="3434899" y="4475631"/>
                    <a:pt x="3369990" y="4521018"/>
                  </a:cubicBezTo>
                  <a:cubicBezTo>
                    <a:pt x="3252468" y="4578984"/>
                    <a:pt x="3247184" y="5024253"/>
                    <a:pt x="2899355" y="4971677"/>
                  </a:cubicBezTo>
                  <a:cubicBezTo>
                    <a:pt x="2598277" y="4909574"/>
                    <a:pt x="2355586" y="4565959"/>
                    <a:pt x="2141841" y="4344012"/>
                  </a:cubicBezTo>
                  <a:cubicBezTo>
                    <a:pt x="1981764" y="4163762"/>
                    <a:pt x="1622817" y="4698394"/>
                    <a:pt x="1400078" y="4911033"/>
                  </a:cubicBezTo>
                  <a:cubicBezTo>
                    <a:pt x="1075556" y="4771974"/>
                    <a:pt x="813353" y="4605488"/>
                    <a:pt x="589931" y="4419825"/>
                  </a:cubicBezTo>
                  <a:cubicBezTo>
                    <a:pt x="979653" y="3891924"/>
                    <a:pt x="1424727" y="3149577"/>
                    <a:pt x="1652307" y="2931722"/>
                  </a:cubicBezTo>
                  <a:cubicBezTo>
                    <a:pt x="1885400" y="2693969"/>
                    <a:pt x="2613272" y="2686571"/>
                    <a:pt x="3043158" y="2561200"/>
                  </a:cubicBezTo>
                  <a:lnTo>
                    <a:pt x="3036113" y="2555987"/>
                  </a:lnTo>
                  <a:cubicBezTo>
                    <a:pt x="3441848" y="2464034"/>
                    <a:pt x="3749810" y="2129847"/>
                    <a:pt x="3772668" y="1716322"/>
                  </a:cubicBezTo>
                  <a:cubicBezTo>
                    <a:pt x="3800903" y="1205517"/>
                    <a:pt x="3383428" y="767085"/>
                    <a:pt x="2840209" y="737058"/>
                  </a:cubicBezTo>
                  <a:cubicBezTo>
                    <a:pt x="2550766" y="721060"/>
                    <a:pt x="2284022" y="824238"/>
                    <a:pt x="2096020" y="1003904"/>
                  </a:cubicBezTo>
                  <a:lnTo>
                    <a:pt x="1445846" y="541122"/>
                  </a:lnTo>
                  <a:cubicBezTo>
                    <a:pt x="1769624" y="256775"/>
                    <a:pt x="2175558" y="29760"/>
                    <a:pt x="2582068" y="2704"/>
                  </a:cubicBezTo>
                  <a:close/>
                </a:path>
              </a:pathLst>
            </a:custGeom>
            <a:solidFill>
              <a:srgbClr val="8D8EA7"/>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grpSp>
      <p:grpSp>
        <p:nvGrpSpPr>
          <p:cNvPr id="27" name="Group 26">
            <a:extLst>
              <a:ext uri="{FF2B5EF4-FFF2-40B4-BE49-F238E27FC236}">
                <a16:creationId xmlns:a16="http://schemas.microsoft.com/office/drawing/2014/main" id="{D9E4109C-F8ED-B84B-A401-8AFFE005B1E7}"/>
              </a:ext>
            </a:extLst>
          </p:cNvPr>
          <p:cNvGrpSpPr>
            <a:grpSpLocks noChangeAspect="1"/>
          </p:cNvGrpSpPr>
          <p:nvPr/>
        </p:nvGrpSpPr>
        <p:grpSpPr>
          <a:xfrm>
            <a:off x="357768" y="1701553"/>
            <a:ext cx="2490473" cy="1784547"/>
            <a:chOff x="2491486" y="2166705"/>
            <a:chExt cx="4786450" cy="3429727"/>
          </a:xfrm>
          <a:solidFill>
            <a:srgbClr val="004149"/>
          </a:solidFill>
        </p:grpSpPr>
        <p:grpSp>
          <p:nvGrpSpPr>
            <p:cNvPr id="28" name="Graphic 166">
              <a:extLst>
                <a:ext uri="{FF2B5EF4-FFF2-40B4-BE49-F238E27FC236}">
                  <a16:creationId xmlns:a16="http://schemas.microsoft.com/office/drawing/2014/main" id="{2464B685-1CB0-8042-A55B-6D842A254B62}"/>
                </a:ext>
              </a:extLst>
            </p:cNvPr>
            <p:cNvGrpSpPr/>
            <p:nvPr/>
          </p:nvGrpSpPr>
          <p:grpSpPr>
            <a:xfrm rot="10800000">
              <a:off x="2739541" y="2574234"/>
              <a:ext cx="3581400" cy="752475"/>
              <a:chOff x="4305300" y="3052762"/>
              <a:chExt cx="3581400" cy="752475"/>
            </a:xfrm>
            <a:grpFill/>
          </p:grpSpPr>
          <p:sp>
            <p:nvSpPr>
              <p:cNvPr id="230" name="Freeform: Shape 217">
                <a:extLst>
                  <a:ext uri="{FF2B5EF4-FFF2-40B4-BE49-F238E27FC236}">
                    <a16:creationId xmlns:a16="http://schemas.microsoft.com/office/drawing/2014/main" id="{57F98B2B-F319-454C-AF8C-C6DCD83F8A9B}"/>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231" name="Freeform: Shape 218">
                <a:extLst>
                  <a:ext uri="{FF2B5EF4-FFF2-40B4-BE49-F238E27FC236}">
                    <a16:creationId xmlns:a16="http://schemas.microsoft.com/office/drawing/2014/main" id="{CA36525E-FD32-DF4D-854E-E88BAE6E78D3}"/>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232" name="Freeform: Shape 219">
                <a:extLst>
                  <a:ext uri="{FF2B5EF4-FFF2-40B4-BE49-F238E27FC236}">
                    <a16:creationId xmlns:a16="http://schemas.microsoft.com/office/drawing/2014/main" id="{9626F357-763C-C342-99DF-0FA4F804B9D8}"/>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33" name="Freeform: Shape 220">
                <a:extLst>
                  <a:ext uri="{FF2B5EF4-FFF2-40B4-BE49-F238E27FC236}">
                    <a16:creationId xmlns:a16="http://schemas.microsoft.com/office/drawing/2014/main" id="{61E51EC1-DE3D-3A4E-B5DD-66790F7419C7}"/>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234" name="Freeform: Shape 221">
                <a:extLst>
                  <a:ext uri="{FF2B5EF4-FFF2-40B4-BE49-F238E27FC236}">
                    <a16:creationId xmlns:a16="http://schemas.microsoft.com/office/drawing/2014/main" id="{4E790BC6-5DC9-9E45-B171-A29660121A1D}"/>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235" name="Freeform: Shape 222">
                <a:extLst>
                  <a:ext uri="{FF2B5EF4-FFF2-40B4-BE49-F238E27FC236}">
                    <a16:creationId xmlns:a16="http://schemas.microsoft.com/office/drawing/2014/main" id="{0E768C86-7080-1247-9F56-4DB9D54774F6}"/>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36" name="Freeform: Shape 223">
                <a:extLst>
                  <a:ext uri="{FF2B5EF4-FFF2-40B4-BE49-F238E27FC236}">
                    <a16:creationId xmlns:a16="http://schemas.microsoft.com/office/drawing/2014/main" id="{D5D33CF0-7AE0-274E-8ECD-18062AC38268}"/>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237" name="Freeform: Shape 224">
                <a:extLst>
                  <a:ext uri="{FF2B5EF4-FFF2-40B4-BE49-F238E27FC236}">
                    <a16:creationId xmlns:a16="http://schemas.microsoft.com/office/drawing/2014/main" id="{397FB665-A067-8F4C-8267-E3A325873759}"/>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238" name="Freeform: Shape 225">
                <a:extLst>
                  <a:ext uri="{FF2B5EF4-FFF2-40B4-BE49-F238E27FC236}">
                    <a16:creationId xmlns:a16="http://schemas.microsoft.com/office/drawing/2014/main" id="{066341EE-5DAF-684C-8903-EBC6C82DB144}"/>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239" name="Freeform: Shape 226">
                <a:extLst>
                  <a:ext uri="{FF2B5EF4-FFF2-40B4-BE49-F238E27FC236}">
                    <a16:creationId xmlns:a16="http://schemas.microsoft.com/office/drawing/2014/main" id="{C99F74C5-D080-F349-88F7-0D59D6A8F591}"/>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240" name="Freeform: Shape 227">
                <a:extLst>
                  <a:ext uri="{FF2B5EF4-FFF2-40B4-BE49-F238E27FC236}">
                    <a16:creationId xmlns:a16="http://schemas.microsoft.com/office/drawing/2014/main" id="{9AAAE625-D31E-5D4B-B814-F698CE09FE8A}"/>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241" name="Freeform: Shape 228">
                <a:extLst>
                  <a:ext uri="{FF2B5EF4-FFF2-40B4-BE49-F238E27FC236}">
                    <a16:creationId xmlns:a16="http://schemas.microsoft.com/office/drawing/2014/main" id="{DBC3CE7F-028A-DC42-837F-3ADCA43A37D0}"/>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42" name="Freeform: Shape 229">
                <a:extLst>
                  <a:ext uri="{FF2B5EF4-FFF2-40B4-BE49-F238E27FC236}">
                    <a16:creationId xmlns:a16="http://schemas.microsoft.com/office/drawing/2014/main" id="{A6FD422B-799E-D549-9079-4C1703A64B00}"/>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243" name="Freeform: Shape 230">
                <a:extLst>
                  <a:ext uri="{FF2B5EF4-FFF2-40B4-BE49-F238E27FC236}">
                    <a16:creationId xmlns:a16="http://schemas.microsoft.com/office/drawing/2014/main" id="{7094484E-0438-CC45-B35F-D6BA743D991F}"/>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244" name="Freeform: Shape 231">
                <a:extLst>
                  <a:ext uri="{FF2B5EF4-FFF2-40B4-BE49-F238E27FC236}">
                    <a16:creationId xmlns:a16="http://schemas.microsoft.com/office/drawing/2014/main" id="{C0F78521-0C64-6842-84C6-3256A4307479}"/>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245" name="Freeform: Shape 232">
                <a:extLst>
                  <a:ext uri="{FF2B5EF4-FFF2-40B4-BE49-F238E27FC236}">
                    <a16:creationId xmlns:a16="http://schemas.microsoft.com/office/drawing/2014/main" id="{388AEFA4-424A-B54B-8F1A-5DB4B07F0C58}"/>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46" name="Freeform: Shape 233">
                <a:extLst>
                  <a:ext uri="{FF2B5EF4-FFF2-40B4-BE49-F238E27FC236}">
                    <a16:creationId xmlns:a16="http://schemas.microsoft.com/office/drawing/2014/main" id="{CF854911-2AA4-924C-B9CC-758BEBA66ED0}"/>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247" name="Freeform: Shape 234">
                <a:extLst>
                  <a:ext uri="{FF2B5EF4-FFF2-40B4-BE49-F238E27FC236}">
                    <a16:creationId xmlns:a16="http://schemas.microsoft.com/office/drawing/2014/main" id="{33EF817B-01F3-1D4D-8259-D061244C38DB}"/>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248" name="Freeform: Shape 235">
                <a:extLst>
                  <a:ext uri="{FF2B5EF4-FFF2-40B4-BE49-F238E27FC236}">
                    <a16:creationId xmlns:a16="http://schemas.microsoft.com/office/drawing/2014/main" id="{44E6ADB7-766C-A244-B162-B417D64F5489}"/>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249" name="Freeform: Shape 236">
                <a:extLst>
                  <a:ext uri="{FF2B5EF4-FFF2-40B4-BE49-F238E27FC236}">
                    <a16:creationId xmlns:a16="http://schemas.microsoft.com/office/drawing/2014/main" id="{6BEE3467-F265-A445-869E-D87126D61CE3}"/>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pic>
          <p:nvPicPr>
            <p:cNvPr id="29" name="Graphic 28">
              <a:extLst>
                <a:ext uri="{FF2B5EF4-FFF2-40B4-BE49-F238E27FC236}">
                  <a16:creationId xmlns:a16="http://schemas.microsoft.com/office/drawing/2014/main" id="{72EA7C08-24C1-6149-949C-CCA07D0CFA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1486" y="3466203"/>
              <a:ext cx="3600450" cy="771525"/>
            </a:xfrm>
            <a:prstGeom prst="rect">
              <a:avLst/>
            </a:prstGeom>
          </p:spPr>
        </p:pic>
        <p:pic>
          <p:nvPicPr>
            <p:cNvPr id="30" name="Graphic 29">
              <a:extLst>
                <a:ext uri="{FF2B5EF4-FFF2-40B4-BE49-F238E27FC236}">
                  <a16:creationId xmlns:a16="http://schemas.microsoft.com/office/drawing/2014/main" id="{DBC72DC7-2EA0-3C46-8A8B-A081AD748C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3436" y="3868249"/>
              <a:ext cx="3600450" cy="771525"/>
            </a:xfrm>
            <a:prstGeom prst="rect">
              <a:avLst/>
            </a:prstGeom>
          </p:spPr>
        </p:pic>
        <p:pic>
          <p:nvPicPr>
            <p:cNvPr id="31" name="Graphic 30">
              <a:extLst>
                <a:ext uri="{FF2B5EF4-FFF2-40B4-BE49-F238E27FC236}">
                  <a16:creationId xmlns:a16="http://schemas.microsoft.com/office/drawing/2014/main" id="{4BB9AA88-AD86-D24B-8BFE-756882FED3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6578" y="4508639"/>
              <a:ext cx="3600450" cy="771525"/>
            </a:xfrm>
            <a:prstGeom prst="rect">
              <a:avLst/>
            </a:prstGeom>
          </p:spPr>
        </p:pic>
        <p:grpSp>
          <p:nvGrpSpPr>
            <p:cNvPr id="32" name="Graphic 166">
              <a:extLst>
                <a:ext uri="{FF2B5EF4-FFF2-40B4-BE49-F238E27FC236}">
                  <a16:creationId xmlns:a16="http://schemas.microsoft.com/office/drawing/2014/main" id="{1C3374C8-204F-A94F-98E0-9CACF07C5267}"/>
                </a:ext>
              </a:extLst>
            </p:cNvPr>
            <p:cNvGrpSpPr/>
            <p:nvPr/>
          </p:nvGrpSpPr>
          <p:grpSpPr>
            <a:xfrm rot="10800000">
              <a:off x="2854450" y="3801472"/>
              <a:ext cx="3581400" cy="752475"/>
              <a:chOff x="4305300" y="3052762"/>
              <a:chExt cx="3581400" cy="752475"/>
            </a:xfrm>
            <a:grpFill/>
          </p:grpSpPr>
          <p:sp>
            <p:nvSpPr>
              <p:cNvPr id="210" name="Freeform: Shape 197">
                <a:extLst>
                  <a:ext uri="{FF2B5EF4-FFF2-40B4-BE49-F238E27FC236}">
                    <a16:creationId xmlns:a16="http://schemas.microsoft.com/office/drawing/2014/main" id="{7C715E1D-BA14-9C4C-98D0-B7EAF8166F8F}"/>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211" name="Freeform: Shape 198">
                <a:extLst>
                  <a:ext uri="{FF2B5EF4-FFF2-40B4-BE49-F238E27FC236}">
                    <a16:creationId xmlns:a16="http://schemas.microsoft.com/office/drawing/2014/main" id="{BAFCEB2C-A113-2945-9A97-E6586FA2B36D}"/>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212" name="Freeform: Shape 199">
                <a:extLst>
                  <a:ext uri="{FF2B5EF4-FFF2-40B4-BE49-F238E27FC236}">
                    <a16:creationId xmlns:a16="http://schemas.microsoft.com/office/drawing/2014/main" id="{2BE46DE5-5A0A-C446-BDD2-7B01E3041E19}"/>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13" name="Freeform: Shape 200">
                <a:extLst>
                  <a:ext uri="{FF2B5EF4-FFF2-40B4-BE49-F238E27FC236}">
                    <a16:creationId xmlns:a16="http://schemas.microsoft.com/office/drawing/2014/main" id="{371F29E5-8103-7F44-BF0E-174D6515678B}"/>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214" name="Freeform: Shape 201">
                <a:extLst>
                  <a:ext uri="{FF2B5EF4-FFF2-40B4-BE49-F238E27FC236}">
                    <a16:creationId xmlns:a16="http://schemas.microsoft.com/office/drawing/2014/main" id="{50421FAA-A198-CF4D-9086-788FBFED73AE}"/>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215" name="Freeform: Shape 202">
                <a:extLst>
                  <a:ext uri="{FF2B5EF4-FFF2-40B4-BE49-F238E27FC236}">
                    <a16:creationId xmlns:a16="http://schemas.microsoft.com/office/drawing/2014/main" id="{FF90B56C-6055-7A4A-BBE4-C2FA01FFCB53}"/>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16" name="Freeform: Shape 203">
                <a:extLst>
                  <a:ext uri="{FF2B5EF4-FFF2-40B4-BE49-F238E27FC236}">
                    <a16:creationId xmlns:a16="http://schemas.microsoft.com/office/drawing/2014/main" id="{BB6CFF67-5F9B-FC45-8FE4-310BB0922A7A}"/>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217" name="Freeform: Shape 204">
                <a:extLst>
                  <a:ext uri="{FF2B5EF4-FFF2-40B4-BE49-F238E27FC236}">
                    <a16:creationId xmlns:a16="http://schemas.microsoft.com/office/drawing/2014/main" id="{B41C4B3A-1C05-484F-8E9F-67FF25D062B4}"/>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218" name="Freeform: Shape 205">
                <a:extLst>
                  <a:ext uri="{FF2B5EF4-FFF2-40B4-BE49-F238E27FC236}">
                    <a16:creationId xmlns:a16="http://schemas.microsoft.com/office/drawing/2014/main" id="{082D2F7A-7BFE-5449-BBF6-26DD0DE5873C}"/>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219" name="Freeform: Shape 206">
                <a:extLst>
                  <a:ext uri="{FF2B5EF4-FFF2-40B4-BE49-F238E27FC236}">
                    <a16:creationId xmlns:a16="http://schemas.microsoft.com/office/drawing/2014/main" id="{B9D3E3AE-CEA7-394D-893B-4EAEEF54CE4F}"/>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220" name="Freeform: Shape 207">
                <a:extLst>
                  <a:ext uri="{FF2B5EF4-FFF2-40B4-BE49-F238E27FC236}">
                    <a16:creationId xmlns:a16="http://schemas.microsoft.com/office/drawing/2014/main" id="{86566C02-0B34-C543-8B92-2B7AEFE5C2F0}"/>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221" name="Freeform: Shape 208">
                <a:extLst>
                  <a:ext uri="{FF2B5EF4-FFF2-40B4-BE49-F238E27FC236}">
                    <a16:creationId xmlns:a16="http://schemas.microsoft.com/office/drawing/2014/main" id="{401945ED-4D6C-6846-BDE1-CC6884579818}"/>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22" name="Freeform: Shape 209">
                <a:extLst>
                  <a:ext uri="{FF2B5EF4-FFF2-40B4-BE49-F238E27FC236}">
                    <a16:creationId xmlns:a16="http://schemas.microsoft.com/office/drawing/2014/main" id="{C2E33DB8-8559-DF4F-A01B-9FEF3132DFEB}"/>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223" name="Freeform: Shape 210">
                <a:extLst>
                  <a:ext uri="{FF2B5EF4-FFF2-40B4-BE49-F238E27FC236}">
                    <a16:creationId xmlns:a16="http://schemas.microsoft.com/office/drawing/2014/main" id="{A44031B1-BD52-DB45-AB26-DE8A4053A6FE}"/>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224" name="Freeform: Shape 211">
                <a:extLst>
                  <a:ext uri="{FF2B5EF4-FFF2-40B4-BE49-F238E27FC236}">
                    <a16:creationId xmlns:a16="http://schemas.microsoft.com/office/drawing/2014/main" id="{357B9DF7-57A3-FA4E-A96D-51A7A1998FE7}"/>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225" name="Freeform: Shape 212">
                <a:extLst>
                  <a:ext uri="{FF2B5EF4-FFF2-40B4-BE49-F238E27FC236}">
                    <a16:creationId xmlns:a16="http://schemas.microsoft.com/office/drawing/2014/main" id="{A7B9CDED-042F-1F46-8287-6178407AF617}"/>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26" name="Freeform: Shape 213">
                <a:extLst>
                  <a:ext uri="{FF2B5EF4-FFF2-40B4-BE49-F238E27FC236}">
                    <a16:creationId xmlns:a16="http://schemas.microsoft.com/office/drawing/2014/main" id="{4DEE3FD7-485B-1D4B-B1BF-FA5D161A3CF7}"/>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227" name="Freeform: Shape 214">
                <a:extLst>
                  <a:ext uri="{FF2B5EF4-FFF2-40B4-BE49-F238E27FC236}">
                    <a16:creationId xmlns:a16="http://schemas.microsoft.com/office/drawing/2014/main" id="{2CDD992E-A951-0B43-BFBB-B19EC28DF633}"/>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228" name="Freeform: Shape 215">
                <a:extLst>
                  <a:ext uri="{FF2B5EF4-FFF2-40B4-BE49-F238E27FC236}">
                    <a16:creationId xmlns:a16="http://schemas.microsoft.com/office/drawing/2014/main" id="{374D4272-E866-6C48-B5F2-6C38C8852236}"/>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229" name="Freeform: Shape 216">
                <a:extLst>
                  <a:ext uri="{FF2B5EF4-FFF2-40B4-BE49-F238E27FC236}">
                    <a16:creationId xmlns:a16="http://schemas.microsoft.com/office/drawing/2014/main" id="{6550526E-09B0-CE4B-83CD-8B1235EDDA3E}"/>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33" name="Graphic 166">
              <a:extLst>
                <a:ext uri="{FF2B5EF4-FFF2-40B4-BE49-F238E27FC236}">
                  <a16:creationId xmlns:a16="http://schemas.microsoft.com/office/drawing/2014/main" id="{B7C2AB63-61D3-7141-9773-FFF880F60160}"/>
                </a:ext>
              </a:extLst>
            </p:cNvPr>
            <p:cNvGrpSpPr/>
            <p:nvPr/>
          </p:nvGrpSpPr>
          <p:grpSpPr>
            <a:xfrm>
              <a:off x="3823543" y="2188695"/>
              <a:ext cx="2667773" cy="560516"/>
              <a:chOff x="4305300" y="3052762"/>
              <a:chExt cx="3581400" cy="752475"/>
            </a:xfrm>
            <a:grpFill/>
          </p:grpSpPr>
          <p:sp>
            <p:nvSpPr>
              <p:cNvPr id="190" name="Freeform: Shape 177">
                <a:extLst>
                  <a:ext uri="{FF2B5EF4-FFF2-40B4-BE49-F238E27FC236}">
                    <a16:creationId xmlns:a16="http://schemas.microsoft.com/office/drawing/2014/main" id="{2C57C79C-A00C-8242-A789-67D6F37056B4}"/>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191" name="Freeform: Shape 178">
                <a:extLst>
                  <a:ext uri="{FF2B5EF4-FFF2-40B4-BE49-F238E27FC236}">
                    <a16:creationId xmlns:a16="http://schemas.microsoft.com/office/drawing/2014/main" id="{4C688E11-77D4-6949-B5F1-5E66E7A35637}"/>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192" name="Freeform: Shape 179">
                <a:extLst>
                  <a:ext uri="{FF2B5EF4-FFF2-40B4-BE49-F238E27FC236}">
                    <a16:creationId xmlns:a16="http://schemas.microsoft.com/office/drawing/2014/main" id="{1F05DC66-6138-7840-96BE-82B0E21E4CAF}"/>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93" name="Freeform: Shape 180">
                <a:extLst>
                  <a:ext uri="{FF2B5EF4-FFF2-40B4-BE49-F238E27FC236}">
                    <a16:creationId xmlns:a16="http://schemas.microsoft.com/office/drawing/2014/main" id="{6463483D-99FB-8042-938C-4E398423C212}"/>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194" name="Freeform: Shape 181">
                <a:extLst>
                  <a:ext uri="{FF2B5EF4-FFF2-40B4-BE49-F238E27FC236}">
                    <a16:creationId xmlns:a16="http://schemas.microsoft.com/office/drawing/2014/main" id="{62CF4175-A070-9444-8C39-680BF0B867F9}"/>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195" name="Freeform: Shape 182">
                <a:extLst>
                  <a:ext uri="{FF2B5EF4-FFF2-40B4-BE49-F238E27FC236}">
                    <a16:creationId xmlns:a16="http://schemas.microsoft.com/office/drawing/2014/main" id="{82F56DA0-02A8-CB43-AC94-0611EB6EB8E2}"/>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96" name="Freeform: Shape 183">
                <a:extLst>
                  <a:ext uri="{FF2B5EF4-FFF2-40B4-BE49-F238E27FC236}">
                    <a16:creationId xmlns:a16="http://schemas.microsoft.com/office/drawing/2014/main" id="{F3B3D3FF-AB42-844D-9307-7F2AEB85A5D9}"/>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197" name="Freeform: Shape 184">
                <a:extLst>
                  <a:ext uri="{FF2B5EF4-FFF2-40B4-BE49-F238E27FC236}">
                    <a16:creationId xmlns:a16="http://schemas.microsoft.com/office/drawing/2014/main" id="{0E225D83-5A44-E043-90FA-0C193520D603}"/>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198" name="Freeform: Shape 185">
                <a:extLst>
                  <a:ext uri="{FF2B5EF4-FFF2-40B4-BE49-F238E27FC236}">
                    <a16:creationId xmlns:a16="http://schemas.microsoft.com/office/drawing/2014/main" id="{D86039BB-3AED-CF4A-8975-1A737B79C2E5}"/>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199" name="Freeform: Shape 186">
                <a:extLst>
                  <a:ext uri="{FF2B5EF4-FFF2-40B4-BE49-F238E27FC236}">
                    <a16:creationId xmlns:a16="http://schemas.microsoft.com/office/drawing/2014/main" id="{D656893A-FD63-1341-A81F-BCC2157BDB9F}"/>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200" name="Freeform: Shape 187">
                <a:extLst>
                  <a:ext uri="{FF2B5EF4-FFF2-40B4-BE49-F238E27FC236}">
                    <a16:creationId xmlns:a16="http://schemas.microsoft.com/office/drawing/2014/main" id="{1761823F-2DC0-E94C-9D10-E7470FCAE2EC}"/>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201" name="Freeform: Shape 188">
                <a:extLst>
                  <a:ext uri="{FF2B5EF4-FFF2-40B4-BE49-F238E27FC236}">
                    <a16:creationId xmlns:a16="http://schemas.microsoft.com/office/drawing/2014/main" id="{071D4EF3-DDF0-CD4F-BC30-B26CA8429B1B}"/>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202" name="Freeform: Shape 189">
                <a:extLst>
                  <a:ext uri="{FF2B5EF4-FFF2-40B4-BE49-F238E27FC236}">
                    <a16:creationId xmlns:a16="http://schemas.microsoft.com/office/drawing/2014/main" id="{25233CA9-EA56-EB4D-A6E0-6CBB21656BB2}"/>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203" name="Freeform: Shape 190">
                <a:extLst>
                  <a:ext uri="{FF2B5EF4-FFF2-40B4-BE49-F238E27FC236}">
                    <a16:creationId xmlns:a16="http://schemas.microsoft.com/office/drawing/2014/main" id="{EB559530-027B-6948-A4CE-BCBD21843D16}"/>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204" name="Freeform: Shape 191">
                <a:extLst>
                  <a:ext uri="{FF2B5EF4-FFF2-40B4-BE49-F238E27FC236}">
                    <a16:creationId xmlns:a16="http://schemas.microsoft.com/office/drawing/2014/main" id="{6A993837-1606-9147-AF56-72E87CF097B7}"/>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205" name="Freeform: Shape 192">
                <a:extLst>
                  <a:ext uri="{FF2B5EF4-FFF2-40B4-BE49-F238E27FC236}">
                    <a16:creationId xmlns:a16="http://schemas.microsoft.com/office/drawing/2014/main" id="{3BF46BC6-786D-FB44-B356-C815AAAF6CB6}"/>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206" name="Freeform: Shape 193">
                <a:extLst>
                  <a:ext uri="{FF2B5EF4-FFF2-40B4-BE49-F238E27FC236}">
                    <a16:creationId xmlns:a16="http://schemas.microsoft.com/office/drawing/2014/main" id="{83F234FA-2B09-FA42-BB14-C9541208414D}"/>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207" name="Freeform: Shape 194">
                <a:extLst>
                  <a:ext uri="{FF2B5EF4-FFF2-40B4-BE49-F238E27FC236}">
                    <a16:creationId xmlns:a16="http://schemas.microsoft.com/office/drawing/2014/main" id="{E8A0C76D-EF6F-AB44-916E-34D89A65A3C4}"/>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208" name="Freeform: Shape 195">
                <a:extLst>
                  <a:ext uri="{FF2B5EF4-FFF2-40B4-BE49-F238E27FC236}">
                    <a16:creationId xmlns:a16="http://schemas.microsoft.com/office/drawing/2014/main" id="{ACF06BA9-4948-0449-A71B-C149997368FC}"/>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209" name="Freeform: Shape 196">
                <a:extLst>
                  <a:ext uri="{FF2B5EF4-FFF2-40B4-BE49-F238E27FC236}">
                    <a16:creationId xmlns:a16="http://schemas.microsoft.com/office/drawing/2014/main" id="{22117D70-48CD-044F-ADB1-E09E0CFE1604}"/>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34" name="Graphic 234">
              <a:extLst>
                <a:ext uri="{FF2B5EF4-FFF2-40B4-BE49-F238E27FC236}">
                  <a16:creationId xmlns:a16="http://schemas.microsoft.com/office/drawing/2014/main" id="{E1B68F2B-ECA4-8D4B-B7BD-5B6F71F9A343}"/>
                </a:ext>
              </a:extLst>
            </p:cNvPr>
            <p:cNvGrpSpPr/>
            <p:nvPr/>
          </p:nvGrpSpPr>
          <p:grpSpPr>
            <a:xfrm>
              <a:off x="3273841" y="2338140"/>
              <a:ext cx="3495664" cy="1188682"/>
              <a:chOff x="7540326" y="1358451"/>
              <a:chExt cx="4257675" cy="1447800"/>
            </a:xfrm>
            <a:grpFill/>
          </p:grpSpPr>
          <p:sp>
            <p:nvSpPr>
              <p:cNvPr id="184" name="Freeform: Shape 171">
                <a:extLst>
                  <a:ext uri="{FF2B5EF4-FFF2-40B4-BE49-F238E27FC236}">
                    <a16:creationId xmlns:a16="http://schemas.microsoft.com/office/drawing/2014/main" id="{676B336E-D834-734F-8B5D-96EF1587D2C4}"/>
                  </a:ext>
                </a:extLst>
              </p:cNvPr>
              <p:cNvSpPr/>
              <p:nvPr/>
            </p:nvSpPr>
            <p:spPr>
              <a:xfrm>
                <a:off x="8179930" y="1579907"/>
                <a:ext cx="3581400" cy="762000"/>
              </a:xfrm>
              <a:custGeom>
                <a:avLst/>
                <a:gdLst>
                  <a:gd name="connsiteX0" fmla="*/ 37624 w 3581400"/>
                  <a:gd name="connsiteY0" fmla="*/ 761524 h 762000"/>
                  <a:gd name="connsiteX1" fmla="*/ 7144 w 3581400"/>
                  <a:gd name="connsiteY1" fmla="*/ 731044 h 762000"/>
                  <a:gd name="connsiteX2" fmla="*/ 37624 w 3581400"/>
                  <a:gd name="connsiteY2" fmla="*/ 700564 h 762000"/>
                  <a:gd name="connsiteX3" fmla="*/ 64294 w 3581400"/>
                  <a:gd name="connsiteY3" fmla="*/ 715804 h 762000"/>
                  <a:gd name="connsiteX4" fmla="*/ 1177766 w 3581400"/>
                  <a:gd name="connsiteY4" fmla="*/ 715804 h 762000"/>
                  <a:gd name="connsiteX5" fmla="*/ 1060609 w 3581400"/>
                  <a:gd name="connsiteY5" fmla="*/ 597694 h 762000"/>
                  <a:gd name="connsiteX6" fmla="*/ 376714 w 3581400"/>
                  <a:gd name="connsiteY6" fmla="*/ 597694 h 762000"/>
                  <a:gd name="connsiteX7" fmla="*/ 350044 w 3581400"/>
                  <a:gd name="connsiteY7" fmla="*/ 612934 h 762000"/>
                  <a:gd name="connsiteX8" fmla="*/ 319564 w 3581400"/>
                  <a:gd name="connsiteY8" fmla="*/ 582454 h 762000"/>
                  <a:gd name="connsiteX9" fmla="*/ 350044 w 3581400"/>
                  <a:gd name="connsiteY9" fmla="*/ 551974 h 762000"/>
                  <a:gd name="connsiteX10" fmla="*/ 376714 w 3581400"/>
                  <a:gd name="connsiteY10" fmla="*/ 567214 h 762000"/>
                  <a:gd name="connsiteX11" fmla="*/ 804386 w 3581400"/>
                  <a:gd name="connsiteY11" fmla="*/ 567214 h 762000"/>
                  <a:gd name="connsiteX12" fmla="*/ 755809 w 3581400"/>
                  <a:gd name="connsiteY12" fmla="*/ 518636 h 762000"/>
                  <a:gd name="connsiteX13" fmla="*/ 469106 w 3581400"/>
                  <a:gd name="connsiteY13" fmla="*/ 518636 h 762000"/>
                  <a:gd name="connsiteX14" fmla="*/ 442436 w 3581400"/>
                  <a:gd name="connsiteY14" fmla="*/ 533876 h 762000"/>
                  <a:gd name="connsiteX15" fmla="*/ 411956 w 3581400"/>
                  <a:gd name="connsiteY15" fmla="*/ 503396 h 762000"/>
                  <a:gd name="connsiteX16" fmla="*/ 442436 w 3581400"/>
                  <a:gd name="connsiteY16" fmla="*/ 472916 h 762000"/>
                  <a:gd name="connsiteX17" fmla="*/ 469106 w 3581400"/>
                  <a:gd name="connsiteY17" fmla="*/ 488156 h 762000"/>
                  <a:gd name="connsiteX18" fmla="*/ 768191 w 3581400"/>
                  <a:gd name="connsiteY18" fmla="*/ 488156 h 762000"/>
                  <a:gd name="connsiteX19" fmla="*/ 846296 w 3581400"/>
                  <a:gd name="connsiteY19" fmla="*/ 566261 h 762000"/>
                  <a:gd name="connsiteX20" fmla="*/ 1072039 w 3581400"/>
                  <a:gd name="connsiteY20" fmla="*/ 566261 h 762000"/>
                  <a:gd name="connsiteX21" fmla="*/ 1219676 w 3581400"/>
                  <a:gd name="connsiteY21" fmla="*/ 713899 h 762000"/>
                  <a:gd name="connsiteX22" fmla="*/ 1376839 w 3581400"/>
                  <a:gd name="connsiteY22" fmla="*/ 713899 h 762000"/>
                  <a:gd name="connsiteX23" fmla="*/ 1540669 w 3581400"/>
                  <a:gd name="connsiteY23" fmla="*/ 550069 h 762000"/>
                  <a:gd name="connsiteX24" fmla="*/ 2015014 w 3581400"/>
                  <a:gd name="connsiteY24" fmla="*/ 550069 h 762000"/>
                  <a:gd name="connsiteX25" fmla="*/ 2253139 w 3581400"/>
                  <a:gd name="connsiteY25" fmla="*/ 311944 h 762000"/>
                  <a:gd name="connsiteX26" fmla="*/ 2012156 w 3581400"/>
                  <a:gd name="connsiteY26" fmla="*/ 311944 h 762000"/>
                  <a:gd name="connsiteX27" fmla="*/ 1900714 w 3581400"/>
                  <a:gd name="connsiteY27" fmla="*/ 426244 h 762000"/>
                  <a:gd name="connsiteX28" fmla="*/ 1742599 w 3581400"/>
                  <a:gd name="connsiteY28" fmla="*/ 426244 h 762000"/>
                  <a:gd name="connsiteX29" fmla="*/ 1715929 w 3581400"/>
                  <a:gd name="connsiteY29" fmla="*/ 441484 h 762000"/>
                  <a:gd name="connsiteX30" fmla="*/ 1685449 w 3581400"/>
                  <a:gd name="connsiteY30" fmla="*/ 411004 h 762000"/>
                  <a:gd name="connsiteX31" fmla="*/ 1715929 w 3581400"/>
                  <a:gd name="connsiteY31" fmla="*/ 380524 h 762000"/>
                  <a:gd name="connsiteX32" fmla="*/ 1742599 w 3581400"/>
                  <a:gd name="connsiteY32" fmla="*/ 395764 h 762000"/>
                  <a:gd name="connsiteX33" fmla="*/ 1888331 w 3581400"/>
                  <a:gd name="connsiteY33" fmla="*/ 395764 h 762000"/>
                  <a:gd name="connsiteX34" fmla="*/ 1970246 w 3581400"/>
                  <a:gd name="connsiteY34" fmla="*/ 313849 h 762000"/>
                  <a:gd name="connsiteX35" fmla="*/ 1623536 w 3581400"/>
                  <a:gd name="connsiteY35" fmla="*/ 313849 h 762000"/>
                  <a:gd name="connsiteX36" fmla="*/ 1400651 w 3581400"/>
                  <a:gd name="connsiteY36" fmla="*/ 536734 h 762000"/>
                  <a:gd name="connsiteX37" fmla="*/ 1393031 w 3581400"/>
                  <a:gd name="connsiteY37" fmla="*/ 566261 h 762000"/>
                  <a:gd name="connsiteX38" fmla="*/ 1371124 w 3581400"/>
                  <a:gd name="connsiteY38" fmla="*/ 574834 h 762000"/>
                  <a:gd name="connsiteX39" fmla="*/ 1349216 w 3581400"/>
                  <a:gd name="connsiteY39" fmla="*/ 566261 h 762000"/>
                  <a:gd name="connsiteX40" fmla="*/ 1340644 w 3581400"/>
                  <a:gd name="connsiteY40" fmla="*/ 544354 h 762000"/>
                  <a:gd name="connsiteX41" fmla="*/ 1349216 w 3581400"/>
                  <a:gd name="connsiteY41" fmla="*/ 522446 h 762000"/>
                  <a:gd name="connsiteX42" fmla="*/ 1371124 w 3581400"/>
                  <a:gd name="connsiteY42" fmla="*/ 513874 h 762000"/>
                  <a:gd name="connsiteX43" fmla="*/ 1379696 w 3581400"/>
                  <a:gd name="connsiteY43" fmla="*/ 514826 h 762000"/>
                  <a:gd name="connsiteX44" fmla="*/ 1439704 w 3581400"/>
                  <a:gd name="connsiteY44" fmla="*/ 454819 h 762000"/>
                  <a:gd name="connsiteX45" fmla="*/ 1025366 w 3581400"/>
                  <a:gd name="connsiteY45" fmla="*/ 454819 h 762000"/>
                  <a:gd name="connsiteX46" fmla="*/ 988219 w 3581400"/>
                  <a:gd name="connsiteY46" fmla="*/ 417671 h 762000"/>
                  <a:gd name="connsiteX47" fmla="*/ 979646 w 3581400"/>
                  <a:gd name="connsiteY47" fmla="*/ 418624 h 762000"/>
                  <a:gd name="connsiteX48" fmla="*/ 957739 w 3581400"/>
                  <a:gd name="connsiteY48" fmla="*/ 410051 h 762000"/>
                  <a:gd name="connsiteX49" fmla="*/ 949166 w 3581400"/>
                  <a:gd name="connsiteY49" fmla="*/ 388144 h 762000"/>
                  <a:gd name="connsiteX50" fmla="*/ 957739 w 3581400"/>
                  <a:gd name="connsiteY50" fmla="*/ 366236 h 762000"/>
                  <a:gd name="connsiteX51" fmla="*/ 979646 w 3581400"/>
                  <a:gd name="connsiteY51" fmla="*/ 357664 h 762000"/>
                  <a:gd name="connsiteX52" fmla="*/ 1001554 w 3581400"/>
                  <a:gd name="connsiteY52" fmla="*/ 366236 h 762000"/>
                  <a:gd name="connsiteX53" fmla="*/ 1009174 w 3581400"/>
                  <a:gd name="connsiteY53" fmla="*/ 395764 h 762000"/>
                  <a:gd name="connsiteX54" fmla="*/ 1037749 w 3581400"/>
                  <a:gd name="connsiteY54" fmla="*/ 424339 h 762000"/>
                  <a:gd name="connsiteX55" fmla="*/ 1470184 w 3581400"/>
                  <a:gd name="connsiteY55" fmla="*/ 424339 h 762000"/>
                  <a:gd name="connsiteX56" fmla="*/ 1611154 w 3581400"/>
                  <a:gd name="connsiteY56" fmla="*/ 283369 h 762000"/>
                  <a:gd name="connsiteX57" fmla="*/ 2285524 w 3581400"/>
                  <a:gd name="connsiteY57" fmla="*/ 283369 h 762000"/>
                  <a:gd name="connsiteX58" fmla="*/ 2289334 w 3581400"/>
                  <a:gd name="connsiteY58" fmla="*/ 279559 h 762000"/>
                  <a:gd name="connsiteX59" fmla="*/ 2294096 w 3581400"/>
                  <a:gd name="connsiteY59" fmla="*/ 283369 h 762000"/>
                  <a:gd name="connsiteX60" fmla="*/ 2574131 w 3581400"/>
                  <a:gd name="connsiteY60" fmla="*/ 283369 h 762000"/>
                  <a:gd name="connsiteX61" fmla="*/ 2774156 w 3581400"/>
                  <a:gd name="connsiteY61" fmla="*/ 83344 h 762000"/>
                  <a:gd name="connsiteX62" fmla="*/ 2961799 w 3581400"/>
                  <a:gd name="connsiteY62" fmla="*/ 83344 h 762000"/>
                  <a:gd name="connsiteX63" fmla="*/ 3022759 w 3581400"/>
                  <a:gd name="connsiteY63" fmla="*/ 22384 h 762000"/>
                  <a:gd name="connsiteX64" fmla="*/ 3525679 w 3581400"/>
                  <a:gd name="connsiteY64" fmla="*/ 22384 h 762000"/>
                  <a:gd name="connsiteX65" fmla="*/ 3552349 w 3581400"/>
                  <a:gd name="connsiteY65" fmla="*/ 7144 h 762000"/>
                  <a:gd name="connsiteX66" fmla="*/ 3582829 w 3581400"/>
                  <a:gd name="connsiteY66" fmla="*/ 37624 h 762000"/>
                  <a:gd name="connsiteX67" fmla="*/ 3552349 w 3581400"/>
                  <a:gd name="connsiteY67" fmla="*/ 68104 h 762000"/>
                  <a:gd name="connsiteX68" fmla="*/ 3525679 w 3581400"/>
                  <a:gd name="connsiteY68" fmla="*/ 52864 h 762000"/>
                  <a:gd name="connsiteX69" fmla="*/ 3036094 w 3581400"/>
                  <a:gd name="connsiteY69" fmla="*/ 52864 h 762000"/>
                  <a:gd name="connsiteX70" fmla="*/ 2975134 w 3581400"/>
                  <a:gd name="connsiteY70" fmla="*/ 113824 h 762000"/>
                  <a:gd name="connsiteX71" fmla="*/ 2787491 w 3581400"/>
                  <a:gd name="connsiteY71" fmla="*/ 113824 h 762000"/>
                  <a:gd name="connsiteX72" fmla="*/ 2588419 w 3581400"/>
                  <a:gd name="connsiteY72" fmla="*/ 312896 h 762000"/>
                  <a:gd name="connsiteX73" fmla="*/ 2299811 w 3581400"/>
                  <a:gd name="connsiteY73" fmla="*/ 312896 h 762000"/>
                  <a:gd name="connsiteX74" fmla="*/ 2206466 w 3581400"/>
                  <a:gd name="connsiteY74" fmla="*/ 406241 h 762000"/>
                  <a:gd name="connsiteX75" fmla="*/ 2329339 w 3581400"/>
                  <a:gd name="connsiteY75" fmla="*/ 406241 h 762000"/>
                  <a:gd name="connsiteX76" fmla="*/ 2387441 w 3581400"/>
                  <a:gd name="connsiteY76" fmla="*/ 464344 h 762000"/>
                  <a:gd name="connsiteX77" fmla="*/ 2396014 w 3581400"/>
                  <a:gd name="connsiteY77" fmla="*/ 463391 h 762000"/>
                  <a:gd name="connsiteX78" fmla="*/ 2417921 w 3581400"/>
                  <a:gd name="connsiteY78" fmla="*/ 471964 h 762000"/>
                  <a:gd name="connsiteX79" fmla="*/ 2426494 w 3581400"/>
                  <a:gd name="connsiteY79" fmla="*/ 493871 h 762000"/>
                  <a:gd name="connsiteX80" fmla="*/ 2417921 w 3581400"/>
                  <a:gd name="connsiteY80" fmla="*/ 515779 h 762000"/>
                  <a:gd name="connsiteX81" fmla="*/ 2396014 w 3581400"/>
                  <a:gd name="connsiteY81" fmla="*/ 524351 h 762000"/>
                  <a:gd name="connsiteX82" fmla="*/ 2374106 w 3581400"/>
                  <a:gd name="connsiteY82" fmla="*/ 515779 h 762000"/>
                  <a:gd name="connsiteX83" fmla="*/ 2366486 w 3581400"/>
                  <a:gd name="connsiteY83" fmla="*/ 486251 h 762000"/>
                  <a:gd name="connsiteX84" fmla="*/ 2317909 w 3581400"/>
                  <a:gd name="connsiteY84" fmla="*/ 437674 h 762000"/>
                  <a:gd name="connsiteX85" fmla="*/ 2176939 w 3581400"/>
                  <a:gd name="connsiteY85" fmla="*/ 437674 h 762000"/>
                  <a:gd name="connsiteX86" fmla="*/ 2032159 w 3581400"/>
                  <a:gd name="connsiteY86" fmla="*/ 582454 h 762000"/>
                  <a:gd name="connsiteX87" fmla="*/ 1557814 w 3581400"/>
                  <a:gd name="connsiteY87" fmla="*/ 582454 h 762000"/>
                  <a:gd name="connsiteX88" fmla="*/ 1393984 w 3581400"/>
                  <a:gd name="connsiteY88" fmla="*/ 746284 h 762000"/>
                  <a:gd name="connsiteX89" fmla="*/ 64294 w 3581400"/>
                  <a:gd name="connsiteY89" fmla="*/ 746284 h 762000"/>
                  <a:gd name="connsiteX90" fmla="*/ 37624 w 3581400"/>
                  <a:gd name="connsiteY90" fmla="*/ 761524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81400" h="762000">
                    <a:moveTo>
                      <a:pt x="37624" y="761524"/>
                    </a:moveTo>
                    <a:cubicBezTo>
                      <a:pt x="20479" y="761524"/>
                      <a:pt x="7144" y="748189"/>
                      <a:pt x="7144" y="731044"/>
                    </a:cubicBezTo>
                    <a:cubicBezTo>
                      <a:pt x="7144" y="713899"/>
                      <a:pt x="20479" y="700564"/>
                      <a:pt x="37624" y="700564"/>
                    </a:cubicBezTo>
                    <a:cubicBezTo>
                      <a:pt x="49054" y="700564"/>
                      <a:pt x="58579" y="706279"/>
                      <a:pt x="64294" y="715804"/>
                    </a:cubicBezTo>
                    <a:lnTo>
                      <a:pt x="1177766" y="715804"/>
                    </a:lnTo>
                    <a:lnTo>
                      <a:pt x="1060609" y="597694"/>
                    </a:lnTo>
                    <a:lnTo>
                      <a:pt x="376714" y="597694"/>
                    </a:lnTo>
                    <a:cubicBezTo>
                      <a:pt x="370999" y="607219"/>
                      <a:pt x="361474" y="612934"/>
                      <a:pt x="350044" y="612934"/>
                    </a:cubicBezTo>
                    <a:cubicBezTo>
                      <a:pt x="332899" y="612934"/>
                      <a:pt x="319564" y="599599"/>
                      <a:pt x="319564" y="582454"/>
                    </a:cubicBezTo>
                    <a:cubicBezTo>
                      <a:pt x="319564" y="565309"/>
                      <a:pt x="332899" y="551974"/>
                      <a:pt x="350044" y="551974"/>
                    </a:cubicBezTo>
                    <a:cubicBezTo>
                      <a:pt x="361474" y="551974"/>
                      <a:pt x="370999" y="557689"/>
                      <a:pt x="376714" y="567214"/>
                    </a:cubicBezTo>
                    <a:lnTo>
                      <a:pt x="804386" y="567214"/>
                    </a:lnTo>
                    <a:lnTo>
                      <a:pt x="755809" y="518636"/>
                    </a:lnTo>
                    <a:lnTo>
                      <a:pt x="469106" y="518636"/>
                    </a:lnTo>
                    <a:cubicBezTo>
                      <a:pt x="463391" y="528161"/>
                      <a:pt x="453866" y="533876"/>
                      <a:pt x="442436" y="533876"/>
                    </a:cubicBezTo>
                    <a:cubicBezTo>
                      <a:pt x="425291" y="533876"/>
                      <a:pt x="411956" y="520541"/>
                      <a:pt x="411956" y="503396"/>
                    </a:cubicBezTo>
                    <a:cubicBezTo>
                      <a:pt x="411956" y="486251"/>
                      <a:pt x="425291" y="472916"/>
                      <a:pt x="442436" y="472916"/>
                    </a:cubicBezTo>
                    <a:cubicBezTo>
                      <a:pt x="453866" y="472916"/>
                      <a:pt x="463391" y="478631"/>
                      <a:pt x="469106" y="488156"/>
                    </a:cubicBezTo>
                    <a:lnTo>
                      <a:pt x="768191" y="488156"/>
                    </a:lnTo>
                    <a:lnTo>
                      <a:pt x="846296" y="566261"/>
                    </a:lnTo>
                    <a:lnTo>
                      <a:pt x="1072039" y="566261"/>
                    </a:lnTo>
                    <a:lnTo>
                      <a:pt x="1219676" y="713899"/>
                    </a:lnTo>
                    <a:lnTo>
                      <a:pt x="1376839" y="713899"/>
                    </a:lnTo>
                    <a:lnTo>
                      <a:pt x="1540669" y="550069"/>
                    </a:lnTo>
                    <a:lnTo>
                      <a:pt x="2015014" y="550069"/>
                    </a:lnTo>
                    <a:lnTo>
                      <a:pt x="2253139" y="311944"/>
                    </a:lnTo>
                    <a:lnTo>
                      <a:pt x="2012156" y="311944"/>
                    </a:lnTo>
                    <a:lnTo>
                      <a:pt x="1900714" y="426244"/>
                    </a:lnTo>
                    <a:lnTo>
                      <a:pt x="1742599" y="426244"/>
                    </a:lnTo>
                    <a:cubicBezTo>
                      <a:pt x="1736884" y="435769"/>
                      <a:pt x="1727359" y="441484"/>
                      <a:pt x="1715929" y="441484"/>
                    </a:cubicBezTo>
                    <a:cubicBezTo>
                      <a:pt x="1698784" y="441484"/>
                      <a:pt x="1685449" y="428149"/>
                      <a:pt x="1685449" y="411004"/>
                    </a:cubicBezTo>
                    <a:cubicBezTo>
                      <a:pt x="1685449" y="393859"/>
                      <a:pt x="1698784" y="380524"/>
                      <a:pt x="1715929" y="380524"/>
                    </a:cubicBezTo>
                    <a:cubicBezTo>
                      <a:pt x="1727359" y="380524"/>
                      <a:pt x="1736884" y="386239"/>
                      <a:pt x="1742599" y="395764"/>
                    </a:cubicBezTo>
                    <a:lnTo>
                      <a:pt x="1888331" y="395764"/>
                    </a:lnTo>
                    <a:lnTo>
                      <a:pt x="1970246" y="313849"/>
                    </a:lnTo>
                    <a:lnTo>
                      <a:pt x="1623536" y="313849"/>
                    </a:lnTo>
                    <a:lnTo>
                      <a:pt x="1400651" y="536734"/>
                    </a:lnTo>
                    <a:cubicBezTo>
                      <a:pt x="1403509" y="547211"/>
                      <a:pt x="1400651" y="558641"/>
                      <a:pt x="1393031" y="566261"/>
                    </a:cubicBezTo>
                    <a:cubicBezTo>
                      <a:pt x="1387316" y="571976"/>
                      <a:pt x="1379696" y="574834"/>
                      <a:pt x="1371124" y="574834"/>
                    </a:cubicBezTo>
                    <a:cubicBezTo>
                      <a:pt x="1362551" y="574834"/>
                      <a:pt x="1354931" y="571976"/>
                      <a:pt x="1349216" y="566261"/>
                    </a:cubicBezTo>
                    <a:cubicBezTo>
                      <a:pt x="1343501" y="560546"/>
                      <a:pt x="1340644" y="552926"/>
                      <a:pt x="1340644" y="544354"/>
                    </a:cubicBezTo>
                    <a:cubicBezTo>
                      <a:pt x="1340644" y="535781"/>
                      <a:pt x="1343501" y="528161"/>
                      <a:pt x="1349216" y="522446"/>
                    </a:cubicBezTo>
                    <a:cubicBezTo>
                      <a:pt x="1354931" y="516731"/>
                      <a:pt x="1362551" y="513874"/>
                      <a:pt x="1371124" y="513874"/>
                    </a:cubicBezTo>
                    <a:cubicBezTo>
                      <a:pt x="1373981" y="513874"/>
                      <a:pt x="1376839" y="513874"/>
                      <a:pt x="1379696" y="514826"/>
                    </a:cubicBezTo>
                    <a:lnTo>
                      <a:pt x="1439704" y="454819"/>
                    </a:lnTo>
                    <a:lnTo>
                      <a:pt x="1025366" y="454819"/>
                    </a:lnTo>
                    <a:lnTo>
                      <a:pt x="988219" y="417671"/>
                    </a:lnTo>
                    <a:cubicBezTo>
                      <a:pt x="985361" y="418624"/>
                      <a:pt x="982504" y="418624"/>
                      <a:pt x="979646" y="418624"/>
                    </a:cubicBezTo>
                    <a:cubicBezTo>
                      <a:pt x="971074" y="418624"/>
                      <a:pt x="963454" y="415766"/>
                      <a:pt x="957739" y="410051"/>
                    </a:cubicBezTo>
                    <a:cubicBezTo>
                      <a:pt x="952024" y="404336"/>
                      <a:pt x="949166" y="396716"/>
                      <a:pt x="949166" y="388144"/>
                    </a:cubicBezTo>
                    <a:cubicBezTo>
                      <a:pt x="949166" y="379571"/>
                      <a:pt x="952024" y="371951"/>
                      <a:pt x="957739" y="366236"/>
                    </a:cubicBezTo>
                    <a:cubicBezTo>
                      <a:pt x="963454" y="360521"/>
                      <a:pt x="971074" y="357664"/>
                      <a:pt x="979646" y="357664"/>
                    </a:cubicBezTo>
                    <a:cubicBezTo>
                      <a:pt x="988219" y="357664"/>
                      <a:pt x="995839" y="360521"/>
                      <a:pt x="1001554" y="366236"/>
                    </a:cubicBezTo>
                    <a:cubicBezTo>
                      <a:pt x="1009174" y="373856"/>
                      <a:pt x="1012031" y="385286"/>
                      <a:pt x="1009174" y="395764"/>
                    </a:cubicBezTo>
                    <a:lnTo>
                      <a:pt x="1037749" y="424339"/>
                    </a:lnTo>
                    <a:lnTo>
                      <a:pt x="1470184" y="424339"/>
                    </a:lnTo>
                    <a:lnTo>
                      <a:pt x="1611154" y="283369"/>
                    </a:lnTo>
                    <a:lnTo>
                      <a:pt x="2285524" y="283369"/>
                    </a:lnTo>
                    <a:lnTo>
                      <a:pt x="2289334" y="279559"/>
                    </a:lnTo>
                    <a:lnTo>
                      <a:pt x="2294096" y="283369"/>
                    </a:lnTo>
                    <a:lnTo>
                      <a:pt x="2574131" y="283369"/>
                    </a:lnTo>
                    <a:lnTo>
                      <a:pt x="2774156" y="83344"/>
                    </a:lnTo>
                    <a:lnTo>
                      <a:pt x="2961799" y="83344"/>
                    </a:lnTo>
                    <a:lnTo>
                      <a:pt x="3022759" y="22384"/>
                    </a:lnTo>
                    <a:lnTo>
                      <a:pt x="3525679" y="22384"/>
                    </a:lnTo>
                    <a:cubicBezTo>
                      <a:pt x="3531394" y="12859"/>
                      <a:pt x="3540919" y="7144"/>
                      <a:pt x="3552349" y="7144"/>
                    </a:cubicBezTo>
                    <a:cubicBezTo>
                      <a:pt x="3569494" y="7144"/>
                      <a:pt x="3582829" y="20479"/>
                      <a:pt x="3582829" y="37624"/>
                    </a:cubicBezTo>
                    <a:cubicBezTo>
                      <a:pt x="3582829" y="54769"/>
                      <a:pt x="3569494" y="68104"/>
                      <a:pt x="3552349" y="68104"/>
                    </a:cubicBezTo>
                    <a:cubicBezTo>
                      <a:pt x="3540919" y="68104"/>
                      <a:pt x="3531394" y="62389"/>
                      <a:pt x="3525679" y="52864"/>
                    </a:cubicBezTo>
                    <a:lnTo>
                      <a:pt x="3036094" y="52864"/>
                    </a:lnTo>
                    <a:lnTo>
                      <a:pt x="2975134" y="113824"/>
                    </a:lnTo>
                    <a:lnTo>
                      <a:pt x="2787491" y="113824"/>
                    </a:lnTo>
                    <a:lnTo>
                      <a:pt x="2588419" y="312896"/>
                    </a:lnTo>
                    <a:lnTo>
                      <a:pt x="2299811" y="312896"/>
                    </a:lnTo>
                    <a:lnTo>
                      <a:pt x="2206466" y="406241"/>
                    </a:lnTo>
                    <a:lnTo>
                      <a:pt x="2329339" y="406241"/>
                    </a:lnTo>
                    <a:lnTo>
                      <a:pt x="2387441" y="464344"/>
                    </a:lnTo>
                    <a:cubicBezTo>
                      <a:pt x="2390299" y="463391"/>
                      <a:pt x="2393156" y="463391"/>
                      <a:pt x="2396014" y="463391"/>
                    </a:cubicBezTo>
                    <a:cubicBezTo>
                      <a:pt x="2404586" y="463391"/>
                      <a:pt x="2412206" y="466249"/>
                      <a:pt x="2417921" y="471964"/>
                    </a:cubicBezTo>
                    <a:cubicBezTo>
                      <a:pt x="2423636" y="477679"/>
                      <a:pt x="2426494" y="485299"/>
                      <a:pt x="2426494" y="493871"/>
                    </a:cubicBezTo>
                    <a:cubicBezTo>
                      <a:pt x="2426494" y="502444"/>
                      <a:pt x="2423636" y="510064"/>
                      <a:pt x="2417921" y="515779"/>
                    </a:cubicBezTo>
                    <a:cubicBezTo>
                      <a:pt x="2412206" y="521494"/>
                      <a:pt x="2404586" y="524351"/>
                      <a:pt x="2396014" y="524351"/>
                    </a:cubicBezTo>
                    <a:cubicBezTo>
                      <a:pt x="2387441" y="524351"/>
                      <a:pt x="2379821" y="521494"/>
                      <a:pt x="2374106" y="515779"/>
                    </a:cubicBezTo>
                    <a:cubicBezTo>
                      <a:pt x="2366486" y="508159"/>
                      <a:pt x="2363629" y="496729"/>
                      <a:pt x="2366486" y="486251"/>
                    </a:cubicBezTo>
                    <a:lnTo>
                      <a:pt x="2317909" y="437674"/>
                    </a:lnTo>
                    <a:lnTo>
                      <a:pt x="2176939" y="437674"/>
                    </a:lnTo>
                    <a:lnTo>
                      <a:pt x="2032159" y="582454"/>
                    </a:lnTo>
                    <a:lnTo>
                      <a:pt x="1557814" y="582454"/>
                    </a:lnTo>
                    <a:lnTo>
                      <a:pt x="1393984" y="746284"/>
                    </a:lnTo>
                    <a:lnTo>
                      <a:pt x="64294" y="746284"/>
                    </a:lnTo>
                    <a:cubicBezTo>
                      <a:pt x="59531" y="754856"/>
                      <a:pt x="49054" y="761524"/>
                      <a:pt x="37624" y="761524"/>
                    </a:cubicBezTo>
                    <a:close/>
                  </a:path>
                </a:pathLst>
              </a:custGeom>
              <a:grpFill/>
              <a:ln w="9525" cap="flat">
                <a:noFill/>
                <a:prstDash val="solid"/>
                <a:miter/>
              </a:ln>
            </p:spPr>
            <p:txBody>
              <a:bodyPr rtlCol="0" anchor="ctr"/>
              <a:lstStyle/>
              <a:p>
                <a:endParaRPr lang="en-US"/>
              </a:p>
            </p:txBody>
          </p:sp>
          <p:sp>
            <p:nvSpPr>
              <p:cNvPr id="185" name="Freeform: Shape 172">
                <a:extLst>
                  <a:ext uri="{FF2B5EF4-FFF2-40B4-BE49-F238E27FC236}">
                    <a16:creationId xmlns:a16="http://schemas.microsoft.com/office/drawing/2014/main" id="{EC24D612-5F82-B14D-AAA5-A5419617802D}"/>
                  </a:ext>
                </a:extLst>
              </p:cNvPr>
              <p:cNvSpPr/>
              <p:nvPr/>
            </p:nvSpPr>
            <p:spPr>
              <a:xfrm>
                <a:off x="8190407" y="1590385"/>
                <a:ext cx="3562350" cy="742950"/>
              </a:xfrm>
              <a:custGeom>
                <a:avLst/>
                <a:gdLst>
                  <a:gd name="connsiteX0" fmla="*/ 2567464 w 3562350"/>
                  <a:gd name="connsiteY0" fmla="*/ 282416 h 742950"/>
                  <a:gd name="connsiteX1" fmla="*/ 2279809 w 3562350"/>
                  <a:gd name="connsiteY1" fmla="*/ 282416 h 742950"/>
                  <a:gd name="connsiteX2" fmla="*/ 2278856 w 3562350"/>
                  <a:gd name="connsiteY2" fmla="*/ 281464 h 742950"/>
                  <a:gd name="connsiteX3" fmla="*/ 2277904 w 3562350"/>
                  <a:gd name="connsiteY3" fmla="*/ 282416 h 742950"/>
                  <a:gd name="connsiteX4" fmla="*/ 1603534 w 3562350"/>
                  <a:gd name="connsiteY4" fmla="*/ 282416 h 742950"/>
                  <a:gd name="connsiteX5" fmla="*/ 1461611 w 3562350"/>
                  <a:gd name="connsiteY5" fmla="*/ 424339 h 742950"/>
                  <a:gd name="connsiteX6" fmla="*/ 1021556 w 3562350"/>
                  <a:gd name="connsiteY6" fmla="*/ 424339 h 742950"/>
                  <a:gd name="connsiteX7" fmla="*/ 986314 w 3562350"/>
                  <a:gd name="connsiteY7" fmla="*/ 389096 h 742950"/>
                  <a:gd name="connsiteX8" fmla="*/ 982504 w 3562350"/>
                  <a:gd name="connsiteY8" fmla="*/ 363379 h 742950"/>
                  <a:gd name="connsiteX9" fmla="*/ 952024 w 3562350"/>
                  <a:gd name="connsiteY9" fmla="*/ 363379 h 742950"/>
                  <a:gd name="connsiteX10" fmla="*/ 952024 w 3562350"/>
                  <a:gd name="connsiteY10" fmla="*/ 392906 h 742950"/>
                  <a:gd name="connsiteX11" fmla="*/ 977741 w 3562350"/>
                  <a:gd name="connsiteY11" fmla="*/ 396716 h 742950"/>
                  <a:gd name="connsiteX12" fmla="*/ 1016794 w 3562350"/>
                  <a:gd name="connsiteY12" fmla="*/ 435769 h 742950"/>
                  <a:gd name="connsiteX13" fmla="*/ 1450181 w 3562350"/>
                  <a:gd name="connsiteY13" fmla="*/ 435769 h 742950"/>
                  <a:gd name="connsiteX14" fmla="*/ 1370171 w 3562350"/>
                  <a:gd name="connsiteY14" fmla="*/ 515779 h 742950"/>
                  <a:gd name="connsiteX15" fmla="*/ 1344454 w 3562350"/>
                  <a:gd name="connsiteY15" fmla="*/ 519589 h 742950"/>
                  <a:gd name="connsiteX16" fmla="*/ 1344454 w 3562350"/>
                  <a:gd name="connsiteY16" fmla="*/ 549116 h 742950"/>
                  <a:gd name="connsiteX17" fmla="*/ 1373981 w 3562350"/>
                  <a:gd name="connsiteY17" fmla="*/ 549116 h 742950"/>
                  <a:gd name="connsiteX18" fmla="*/ 1377791 w 3562350"/>
                  <a:gd name="connsiteY18" fmla="*/ 523399 h 742950"/>
                  <a:gd name="connsiteX19" fmla="*/ 1608296 w 3562350"/>
                  <a:gd name="connsiteY19" fmla="*/ 292894 h 742950"/>
                  <a:gd name="connsiteX20" fmla="*/ 1982629 w 3562350"/>
                  <a:gd name="connsiteY20" fmla="*/ 292894 h 742950"/>
                  <a:gd name="connsiteX21" fmla="*/ 1881664 w 3562350"/>
                  <a:gd name="connsiteY21" fmla="*/ 393859 h 742950"/>
                  <a:gd name="connsiteX22" fmla="*/ 1726406 w 3562350"/>
                  <a:gd name="connsiteY22" fmla="*/ 393859 h 742950"/>
                  <a:gd name="connsiteX23" fmla="*/ 1706404 w 3562350"/>
                  <a:gd name="connsiteY23" fmla="*/ 378619 h 742950"/>
                  <a:gd name="connsiteX24" fmla="*/ 1685449 w 3562350"/>
                  <a:gd name="connsiteY24" fmla="*/ 399574 h 742950"/>
                  <a:gd name="connsiteX25" fmla="*/ 1706404 w 3562350"/>
                  <a:gd name="connsiteY25" fmla="*/ 420529 h 742950"/>
                  <a:gd name="connsiteX26" fmla="*/ 1726406 w 3562350"/>
                  <a:gd name="connsiteY26" fmla="*/ 405289 h 742950"/>
                  <a:gd name="connsiteX27" fmla="*/ 1886426 w 3562350"/>
                  <a:gd name="connsiteY27" fmla="*/ 405289 h 742950"/>
                  <a:gd name="connsiteX28" fmla="*/ 1998821 w 3562350"/>
                  <a:gd name="connsiteY28" fmla="*/ 292894 h 742950"/>
                  <a:gd name="connsiteX29" fmla="*/ 2267426 w 3562350"/>
                  <a:gd name="connsiteY29" fmla="*/ 292894 h 742950"/>
                  <a:gd name="connsiteX30" fmla="*/ 2010251 w 3562350"/>
                  <a:gd name="connsiteY30" fmla="*/ 550069 h 742950"/>
                  <a:gd name="connsiteX31" fmla="*/ 1535906 w 3562350"/>
                  <a:gd name="connsiteY31" fmla="*/ 550069 h 742950"/>
                  <a:gd name="connsiteX32" fmla="*/ 1372076 w 3562350"/>
                  <a:gd name="connsiteY32" fmla="*/ 713899 h 742950"/>
                  <a:gd name="connsiteX33" fmla="*/ 1207294 w 3562350"/>
                  <a:gd name="connsiteY33" fmla="*/ 713899 h 742950"/>
                  <a:gd name="connsiteX34" fmla="*/ 1059656 w 3562350"/>
                  <a:gd name="connsiteY34" fmla="*/ 566261 h 742950"/>
                  <a:gd name="connsiteX35" fmla="*/ 833914 w 3562350"/>
                  <a:gd name="connsiteY35" fmla="*/ 566261 h 742950"/>
                  <a:gd name="connsiteX36" fmla="*/ 833914 w 3562350"/>
                  <a:gd name="connsiteY36" fmla="*/ 566261 h 742950"/>
                  <a:gd name="connsiteX37" fmla="*/ 755809 w 3562350"/>
                  <a:gd name="connsiteY37" fmla="*/ 488156 h 742950"/>
                  <a:gd name="connsiteX38" fmla="*/ 453866 w 3562350"/>
                  <a:gd name="connsiteY38" fmla="*/ 488156 h 742950"/>
                  <a:gd name="connsiteX39" fmla="*/ 433864 w 3562350"/>
                  <a:gd name="connsiteY39" fmla="*/ 472916 h 742950"/>
                  <a:gd name="connsiteX40" fmla="*/ 412909 w 3562350"/>
                  <a:gd name="connsiteY40" fmla="*/ 493871 h 742950"/>
                  <a:gd name="connsiteX41" fmla="*/ 433864 w 3562350"/>
                  <a:gd name="connsiteY41" fmla="*/ 514826 h 742950"/>
                  <a:gd name="connsiteX42" fmla="*/ 453866 w 3562350"/>
                  <a:gd name="connsiteY42" fmla="*/ 499586 h 742950"/>
                  <a:gd name="connsiteX43" fmla="*/ 750094 w 3562350"/>
                  <a:gd name="connsiteY43" fmla="*/ 499586 h 742950"/>
                  <a:gd name="connsiteX44" fmla="*/ 817721 w 3562350"/>
                  <a:gd name="connsiteY44" fmla="*/ 567214 h 742950"/>
                  <a:gd name="connsiteX45" fmla="*/ 360521 w 3562350"/>
                  <a:gd name="connsiteY45" fmla="*/ 567214 h 742950"/>
                  <a:gd name="connsiteX46" fmla="*/ 340519 w 3562350"/>
                  <a:gd name="connsiteY46" fmla="*/ 551974 h 742950"/>
                  <a:gd name="connsiteX47" fmla="*/ 319564 w 3562350"/>
                  <a:gd name="connsiteY47" fmla="*/ 572929 h 742950"/>
                  <a:gd name="connsiteX48" fmla="*/ 340519 w 3562350"/>
                  <a:gd name="connsiteY48" fmla="*/ 593884 h 742950"/>
                  <a:gd name="connsiteX49" fmla="*/ 360521 w 3562350"/>
                  <a:gd name="connsiteY49" fmla="*/ 578644 h 742950"/>
                  <a:gd name="connsiteX50" fmla="*/ 1054894 w 3562350"/>
                  <a:gd name="connsiteY50" fmla="*/ 578644 h 742950"/>
                  <a:gd name="connsiteX51" fmla="*/ 1191101 w 3562350"/>
                  <a:gd name="connsiteY51" fmla="*/ 714851 h 742950"/>
                  <a:gd name="connsiteX52" fmla="*/ 48101 w 3562350"/>
                  <a:gd name="connsiteY52" fmla="*/ 714851 h 742950"/>
                  <a:gd name="connsiteX53" fmla="*/ 28099 w 3562350"/>
                  <a:gd name="connsiteY53" fmla="*/ 699611 h 742950"/>
                  <a:gd name="connsiteX54" fmla="*/ 7144 w 3562350"/>
                  <a:gd name="connsiteY54" fmla="*/ 720566 h 742950"/>
                  <a:gd name="connsiteX55" fmla="*/ 28099 w 3562350"/>
                  <a:gd name="connsiteY55" fmla="*/ 741521 h 742950"/>
                  <a:gd name="connsiteX56" fmla="*/ 48101 w 3562350"/>
                  <a:gd name="connsiteY56" fmla="*/ 726281 h 742950"/>
                  <a:gd name="connsiteX57" fmla="*/ 1376839 w 3562350"/>
                  <a:gd name="connsiteY57" fmla="*/ 726281 h 742950"/>
                  <a:gd name="connsiteX58" fmla="*/ 1540669 w 3562350"/>
                  <a:gd name="connsiteY58" fmla="*/ 561499 h 742950"/>
                  <a:gd name="connsiteX59" fmla="*/ 2015014 w 3562350"/>
                  <a:gd name="connsiteY59" fmla="*/ 561499 h 742950"/>
                  <a:gd name="connsiteX60" fmla="*/ 2159794 w 3562350"/>
                  <a:gd name="connsiteY60" fmla="*/ 417671 h 742950"/>
                  <a:gd name="connsiteX61" fmla="*/ 2308384 w 3562350"/>
                  <a:gd name="connsiteY61" fmla="*/ 417671 h 742950"/>
                  <a:gd name="connsiteX62" fmla="*/ 2364581 w 3562350"/>
                  <a:gd name="connsiteY62" fmla="*/ 473869 h 742950"/>
                  <a:gd name="connsiteX63" fmla="*/ 2368391 w 3562350"/>
                  <a:gd name="connsiteY63" fmla="*/ 499586 h 742950"/>
                  <a:gd name="connsiteX64" fmla="*/ 2397919 w 3562350"/>
                  <a:gd name="connsiteY64" fmla="*/ 499586 h 742950"/>
                  <a:gd name="connsiteX65" fmla="*/ 2397919 w 3562350"/>
                  <a:gd name="connsiteY65" fmla="*/ 470059 h 742950"/>
                  <a:gd name="connsiteX66" fmla="*/ 2372201 w 3562350"/>
                  <a:gd name="connsiteY66" fmla="*/ 466249 h 742950"/>
                  <a:gd name="connsiteX67" fmla="*/ 2313146 w 3562350"/>
                  <a:gd name="connsiteY67" fmla="*/ 407194 h 742950"/>
                  <a:gd name="connsiteX68" fmla="*/ 2170271 w 3562350"/>
                  <a:gd name="connsiteY68" fmla="*/ 407194 h 742950"/>
                  <a:gd name="connsiteX69" fmla="*/ 2283619 w 3562350"/>
                  <a:gd name="connsiteY69" fmla="*/ 293846 h 742950"/>
                  <a:gd name="connsiteX70" fmla="*/ 2572226 w 3562350"/>
                  <a:gd name="connsiteY70" fmla="*/ 293846 h 742950"/>
                  <a:gd name="connsiteX71" fmla="*/ 2771299 w 3562350"/>
                  <a:gd name="connsiteY71" fmla="*/ 94774 h 742950"/>
                  <a:gd name="connsiteX72" fmla="*/ 2959894 w 3562350"/>
                  <a:gd name="connsiteY72" fmla="*/ 94774 h 742950"/>
                  <a:gd name="connsiteX73" fmla="*/ 3020854 w 3562350"/>
                  <a:gd name="connsiteY73" fmla="*/ 33814 h 742950"/>
                  <a:gd name="connsiteX74" fmla="*/ 3520916 w 3562350"/>
                  <a:gd name="connsiteY74" fmla="*/ 33814 h 742950"/>
                  <a:gd name="connsiteX75" fmla="*/ 3540919 w 3562350"/>
                  <a:gd name="connsiteY75" fmla="*/ 49054 h 742950"/>
                  <a:gd name="connsiteX76" fmla="*/ 3561874 w 3562350"/>
                  <a:gd name="connsiteY76" fmla="*/ 28099 h 742950"/>
                  <a:gd name="connsiteX77" fmla="*/ 3540919 w 3562350"/>
                  <a:gd name="connsiteY77" fmla="*/ 7144 h 742950"/>
                  <a:gd name="connsiteX78" fmla="*/ 3520916 w 3562350"/>
                  <a:gd name="connsiteY78" fmla="*/ 22384 h 742950"/>
                  <a:gd name="connsiteX79" fmla="*/ 3016091 w 3562350"/>
                  <a:gd name="connsiteY79" fmla="*/ 22384 h 742950"/>
                  <a:gd name="connsiteX80" fmla="*/ 2955131 w 3562350"/>
                  <a:gd name="connsiteY80" fmla="*/ 83344 h 742950"/>
                  <a:gd name="connsiteX81" fmla="*/ 2767489 w 3562350"/>
                  <a:gd name="connsiteY81" fmla="*/ 83344 h 742950"/>
                  <a:gd name="connsiteX82" fmla="*/ 2567464 w 3562350"/>
                  <a:gd name="connsiteY82" fmla="*/ 282416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562350" h="742950">
                    <a:moveTo>
                      <a:pt x="2567464" y="282416"/>
                    </a:moveTo>
                    <a:lnTo>
                      <a:pt x="2279809" y="282416"/>
                    </a:lnTo>
                    <a:lnTo>
                      <a:pt x="2278856" y="281464"/>
                    </a:lnTo>
                    <a:lnTo>
                      <a:pt x="2277904" y="282416"/>
                    </a:lnTo>
                    <a:lnTo>
                      <a:pt x="1603534" y="282416"/>
                    </a:lnTo>
                    <a:lnTo>
                      <a:pt x="1461611" y="424339"/>
                    </a:lnTo>
                    <a:lnTo>
                      <a:pt x="1021556" y="424339"/>
                    </a:lnTo>
                    <a:lnTo>
                      <a:pt x="986314" y="389096"/>
                    </a:lnTo>
                    <a:cubicBezTo>
                      <a:pt x="991076" y="381476"/>
                      <a:pt x="990124" y="370999"/>
                      <a:pt x="982504" y="363379"/>
                    </a:cubicBezTo>
                    <a:cubicBezTo>
                      <a:pt x="973931" y="354806"/>
                      <a:pt x="960596" y="354806"/>
                      <a:pt x="952024" y="363379"/>
                    </a:cubicBezTo>
                    <a:cubicBezTo>
                      <a:pt x="943451" y="371951"/>
                      <a:pt x="943451" y="385286"/>
                      <a:pt x="952024" y="392906"/>
                    </a:cubicBezTo>
                    <a:cubicBezTo>
                      <a:pt x="958691" y="399574"/>
                      <a:pt x="969169" y="400526"/>
                      <a:pt x="977741" y="396716"/>
                    </a:cubicBezTo>
                    <a:lnTo>
                      <a:pt x="1016794" y="435769"/>
                    </a:lnTo>
                    <a:lnTo>
                      <a:pt x="1450181" y="435769"/>
                    </a:lnTo>
                    <a:lnTo>
                      <a:pt x="1370171" y="515779"/>
                    </a:lnTo>
                    <a:cubicBezTo>
                      <a:pt x="1362551" y="511016"/>
                      <a:pt x="1352074" y="511969"/>
                      <a:pt x="1344454" y="519589"/>
                    </a:cubicBezTo>
                    <a:cubicBezTo>
                      <a:pt x="1335881" y="528161"/>
                      <a:pt x="1335881" y="541496"/>
                      <a:pt x="1344454" y="549116"/>
                    </a:cubicBezTo>
                    <a:cubicBezTo>
                      <a:pt x="1353026" y="557689"/>
                      <a:pt x="1366361" y="557689"/>
                      <a:pt x="1373981" y="549116"/>
                    </a:cubicBezTo>
                    <a:cubicBezTo>
                      <a:pt x="1380649" y="542449"/>
                      <a:pt x="1381601" y="531971"/>
                      <a:pt x="1377791" y="523399"/>
                    </a:cubicBezTo>
                    <a:lnTo>
                      <a:pt x="1608296" y="292894"/>
                    </a:lnTo>
                    <a:lnTo>
                      <a:pt x="1982629" y="292894"/>
                    </a:lnTo>
                    <a:lnTo>
                      <a:pt x="1881664" y="393859"/>
                    </a:lnTo>
                    <a:lnTo>
                      <a:pt x="1726406" y="393859"/>
                    </a:lnTo>
                    <a:cubicBezTo>
                      <a:pt x="1723549" y="385286"/>
                      <a:pt x="1715929" y="378619"/>
                      <a:pt x="1706404" y="378619"/>
                    </a:cubicBezTo>
                    <a:cubicBezTo>
                      <a:pt x="1694974" y="378619"/>
                      <a:pt x="1685449" y="388144"/>
                      <a:pt x="1685449" y="399574"/>
                    </a:cubicBezTo>
                    <a:cubicBezTo>
                      <a:pt x="1685449" y="411004"/>
                      <a:pt x="1694974" y="420529"/>
                      <a:pt x="1706404" y="420529"/>
                    </a:cubicBezTo>
                    <a:cubicBezTo>
                      <a:pt x="1715929" y="420529"/>
                      <a:pt x="1724501" y="413861"/>
                      <a:pt x="1726406" y="405289"/>
                    </a:cubicBezTo>
                    <a:lnTo>
                      <a:pt x="1886426" y="405289"/>
                    </a:lnTo>
                    <a:lnTo>
                      <a:pt x="1998821" y="292894"/>
                    </a:lnTo>
                    <a:lnTo>
                      <a:pt x="2267426" y="292894"/>
                    </a:lnTo>
                    <a:lnTo>
                      <a:pt x="2010251" y="550069"/>
                    </a:lnTo>
                    <a:lnTo>
                      <a:pt x="1535906" y="550069"/>
                    </a:lnTo>
                    <a:lnTo>
                      <a:pt x="1372076" y="713899"/>
                    </a:lnTo>
                    <a:lnTo>
                      <a:pt x="1207294" y="713899"/>
                    </a:lnTo>
                    <a:lnTo>
                      <a:pt x="1059656" y="566261"/>
                    </a:lnTo>
                    <a:lnTo>
                      <a:pt x="833914" y="566261"/>
                    </a:lnTo>
                    <a:lnTo>
                      <a:pt x="833914" y="566261"/>
                    </a:lnTo>
                    <a:lnTo>
                      <a:pt x="755809" y="488156"/>
                    </a:lnTo>
                    <a:lnTo>
                      <a:pt x="453866" y="488156"/>
                    </a:lnTo>
                    <a:cubicBezTo>
                      <a:pt x="451009" y="479584"/>
                      <a:pt x="443389" y="472916"/>
                      <a:pt x="433864" y="472916"/>
                    </a:cubicBezTo>
                    <a:cubicBezTo>
                      <a:pt x="422434" y="472916"/>
                      <a:pt x="412909" y="482441"/>
                      <a:pt x="412909" y="493871"/>
                    </a:cubicBezTo>
                    <a:cubicBezTo>
                      <a:pt x="412909" y="505301"/>
                      <a:pt x="422434" y="514826"/>
                      <a:pt x="433864" y="514826"/>
                    </a:cubicBezTo>
                    <a:cubicBezTo>
                      <a:pt x="443389" y="514826"/>
                      <a:pt x="451961" y="508159"/>
                      <a:pt x="453866" y="499586"/>
                    </a:cubicBezTo>
                    <a:lnTo>
                      <a:pt x="750094" y="499586"/>
                    </a:lnTo>
                    <a:lnTo>
                      <a:pt x="817721" y="567214"/>
                    </a:lnTo>
                    <a:lnTo>
                      <a:pt x="360521" y="567214"/>
                    </a:lnTo>
                    <a:cubicBezTo>
                      <a:pt x="357664" y="558641"/>
                      <a:pt x="350044" y="551974"/>
                      <a:pt x="340519" y="551974"/>
                    </a:cubicBezTo>
                    <a:cubicBezTo>
                      <a:pt x="329089" y="551974"/>
                      <a:pt x="319564" y="561499"/>
                      <a:pt x="319564" y="572929"/>
                    </a:cubicBezTo>
                    <a:cubicBezTo>
                      <a:pt x="319564" y="584359"/>
                      <a:pt x="329089" y="593884"/>
                      <a:pt x="340519" y="593884"/>
                    </a:cubicBezTo>
                    <a:cubicBezTo>
                      <a:pt x="350044" y="593884"/>
                      <a:pt x="358616" y="587216"/>
                      <a:pt x="360521" y="578644"/>
                    </a:cubicBezTo>
                    <a:lnTo>
                      <a:pt x="1054894" y="578644"/>
                    </a:lnTo>
                    <a:lnTo>
                      <a:pt x="1191101" y="714851"/>
                    </a:lnTo>
                    <a:lnTo>
                      <a:pt x="48101" y="714851"/>
                    </a:lnTo>
                    <a:cubicBezTo>
                      <a:pt x="45244" y="706279"/>
                      <a:pt x="37624" y="699611"/>
                      <a:pt x="28099" y="699611"/>
                    </a:cubicBezTo>
                    <a:cubicBezTo>
                      <a:pt x="16669" y="699611"/>
                      <a:pt x="7144" y="709136"/>
                      <a:pt x="7144" y="720566"/>
                    </a:cubicBezTo>
                    <a:cubicBezTo>
                      <a:pt x="7144" y="731996"/>
                      <a:pt x="16669" y="741521"/>
                      <a:pt x="28099" y="741521"/>
                    </a:cubicBezTo>
                    <a:cubicBezTo>
                      <a:pt x="37624" y="741521"/>
                      <a:pt x="46196" y="734854"/>
                      <a:pt x="48101" y="726281"/>
                    </a:cubicBezTo>
                    <a:lnTo>
                      <a:pt x="1376839" y="726281"/>
                    </a:lnTo>
                    <a:lnTo>
                      <a:pt x="1540669" y="561499"/>
                    </a:lnTo>
                    <a:lnTo>
                      <a:pt x="2015014" y="561499"/>
                    </a:lnTo>
                    <a:lnTo>
                      <a:pt x="2159794" y="417671"/>
                    </a:lnTo>
                    <a:lnTo>
                      <a:pt x="2308384" y="417671"/>
                    </a:lnTo>
                    <a:lnTo>
                      <a:pt x="2364581" y="473869"/>
                    </a:lnTo>
                    <a:cubicBezTo>
                      <a:pt x="2359819" y="481489"/>
                      <a:pt x="2360771" y="491966"/>
                      <a:pt x="2368391" y="499586"/>
                    </a:cubicBezTo>
                    <a:cubicBezTo>
                      <a:pt x="2376964" y="508159"/>
                      <a:pt x="2390299" y="508159"/>
                      <a:pt x="2397919" y="499586"/>
                    </a:cubicBezTo>
                    <a:cubicBezTo>
                      <a:pt x="2406491" y="491014"/>
                      <a:pt x="2406491" y="477679"/>
                      <a:pt x="2397919" y="470059"/>
                    </a:cubicBezTo>
                    <a:cubicBezTo>
                      <a:pt x="2391251" y="463391"/>
                      <a:pt x="2380774" y="462439"/>
                      <a:pt x="2372201" y="466249"/>
                    </a:cubicBezTo>
                    <a:lnTo>
                      <a:pt x="2313146" y="407194"/>
                    </a:lnTo>
                    <a:lnTo>
                      <a:pt x="2170271" y="407194"/>
                    </a:lnTo>
                    <a:lnTo>
                      <a:pt x="2283619" y="293846"/>
                    </a:lnTo>
                    <a:lnTo>
                      <a:pt x="2572226" y="293846"/>
                    </a:lnTo>
                    <a:lnTo>
                      <a:pt x="2771299" y="94774"/>
                    </a:lnTo>
                    <a:lnTo>
                      <a:pt x="2959894" y="94774"/>
                    </a:lnTo>
                    <a:lnTo>
                      <a:pt x="3020854" y="33814"/>
                    </a:lnTo>
                    <a:lnTo>
                      <a:pt x="3520916" y="33814"/>
                    </a:lnTo>
                    <a:cubicBezTo>
                      <a:pt x="3523774" y="42386"/>
                      <a:pt x="3531394" y="49054"/>
                      <a:pt x="3540919" y="49054"/>
                    </a:cubicBezTo>
                    <a:cubicBezTo>
                      <a:pt x="3552349" y="49054"/>
                      <a:pt x="3561874" y="39529"/>
                      <a:pt x="3561874" y="28099"/>
                    </a:cubicBezTo>
                    <a:cubicBezTo>
                      <a:pt x="3561874" y="16669"/>
                      <a:pt x="3552349" y="7144"/>
                      <a:pt x="3540919" y="7144"/>
                    </a:cubicBezTo>
                    <a:cubicBezTo>
                      <a:pt x="3531394" y="7144"/>
                      <a:pt x="3522821" y="13811"/>
                      <a:pt x="3520916" y="22384"/>
                    </a:cubicBezTo>
                    <a:lnTo>
                      <a:pt x="3016091" y="22384"/>
                    </a:lnTo>
                    <a:lnTo>
                      <a:pt x="2955131" y="83344"/>
                    </a:lnTo>
                    <a:lnTo>
                      <a:pt x="2767489" y="83344"/>
                    </a:lnTo>
                    <a:lnTo>
                      <a:pt x="2567464" y="282416"/>
                    </a:lnTo>
                    <a:close/>
                  </a:path>
                </a:pathLst>
              </a:custGeom>
              <a:grpFill/>
              <a:ln w="9525" cap="flat">
                <a:noFill/>
                <a:prstDash val="solid"/>
                <a:miter/>
              </a:ln>
            </p:spPr>
            <p:txBody>
              <a:bodyPr rtlCol="0" anchor="ctr"/>
              <a:lstStyle/>
              <a:p>
                <a:endParaRPr lang="en-US"/>
              </a:p>
            </p:txBody>
          </p:sp>
          <p:sp>
            <p:nvSpPr>
              <p:cNvPr id="186" name="Freeform: Shape 173">
                <a:extLst>
                  <a:ext uri="{FF2B5EF4-FFF2-40B4-BE49-F238E27FC236}">
                    <a16:creationId xmlns:a16="http://schemas.microsoft.com/office/drawing/2014/main" id="{1D30D1DC-3ADC-5E40-A1A6-DE095E76BA30}"/>
                  </a:ext>
                </a:extLst>
              </p:cNvPr>
              <p:cNvSpPr/>
              <p:nvPr/>
            </p:nvSpPr>
            <p:spPr>
              <a:xfrm>
                <a:off x="7533182" y="1351307"/>
                <a:ext cx="3552825" cy="771525"/>
              </a:xfrm>
              <a:custGeom>
                <a:avLst/>
                <a:gdLst>
                  <a:gd name="connsiteX0" fmla="*/ 271939 w 3552825"/>
                  <a:gd name="connsiteY0" fmla="*/ 772954 h 771525"/>
                  <a:gd name="connsiteX1" fmla="*/ 241459 w 3552825"/>
                  <a:gd name="connsiteY1" fmla="*/ 742474 h 771525"/>
                  <a:gd name="connsiteX2" fmla="*/ 271939 w 3552825"/>
                  <a:gd name="connsiteY2" fmla="*/ 711994 h 771525"/>
                  <a:gd name="connsiteX3" fmla="*/ 298609 w 3552825"/>
                  <a:gd name="connsiteY3" fmla="*/ 727234 h 771525"/>
                  <a:gd name="connsiteX4" fmla="*/ 817721 w 3552825"/>
                  <a:gd name="connsiteY4" fmla="*/ 727234 h 771525"/>
                  <a:gd name="connsiteX5" fmla="*/ 890111 w 3552825"/>
                  <a:gd name="connsiteY5" fmla="*/ 653891 h 771525"/>
                  <a:gd name="connsiteX6" fmla="*/ 64294 w 3552825"/>
                  <a:gd name="connsiteY6" fmla="*/ 653891 h 771525"/>
                  <a:gd name="connsiteX7" fmla="*/ 37624 w 3552825"/>
                  <a:gd name="connsiteY7" fmla="*/ 669131 h 771525"/>
                  <a:gd name="connsiteX8" fmla="*/ 7144 w 3552825"/>
                  <a:gd name="connsiteY8" fmla="*/ 638651 h 771525"/>
                  <a:gd name="connsiteX9" fmla="*/ 37624 w 3552825"/>
                  <a:gd name="connsiteY9" fmla="*/ 608171 h 771525"/>
                  <a:gd name="connsiteX10" fmla="*/ 64294 w 3552825"/>
                  <a:gd name="connsiteY10" fmla="*/ 623411 h 771525"/>
                  <a:gd name="connsiteX11" fmla="*/ 1397794 w 3552825"/>
                  <a:gd name="connsiteY11" fmla="*/ 623411 h 771525"/>
                  <a:gd name="connsiteX12" fmla="*/ 1762601 w 3552825"/>
                  <a:gd name="connsiteY12" fmla="*/ 258604 h 771525"/>
                  <a:gd name="connsiteX13" fmla="*/ 2255044 w 3552825"/>
                  <a:gd name="connsiteY13" fmla="*/ 258604 h 771525"/>
                  <a:gd name="connsiteX14" fmla="*/ 2179796 w 3552825"/>
                  <a:gd name="connsiteY14" fmla="*/ 183356 h 771525"/>
                  <a:gd name="connsiteX15" fmla="*/ 1637824 w 3552825"/>
                  <a:gd name="connsiteY15" fmla="*/ 183356 h 771525"/>
                  <a:gd name="connsiteX16" fmla="*/ 1289209 w 3552825"/>
                  <a:gd name="connsiteY16" fmla="*/ 531971 h 771525"/>
                  <a:gd name="connsiteX17" fmla="*/ 803434 w 3552825"/>
                  <a:gd name="connsiteY17" fmla="*/ 531971 h 771525"/>
                  <a:gd name="connsiteX18" fmla="*/ 776764 w 3552825"/>
                  <a:gd name="connsiteY18" fmla="*/ 547211 h 771525"/>
                  <a:gd name="connsiteX19" fmla="*/ 746284 w 3552825"/>
                  <a:gd name="connsiteY19" fmla="*/ 516731 h 771525"/>
                  <a:gd name="connsiteX20" fmla="*/ 776764 w 3552825"/>
                  <a:gd name="connsiteY20" fmla="*/ 486251 h 771525"/>
                  <a:gd name="connsiteX21" fmla="*/ 803434 w 3552825"/>
                  <a:gd name="connsiteY21" fmla="*/ 501491 h 771525"/>
                  <a:gd name="connsiteX22" fmla="*/ 1117759 w 3552825"/>
                  <a:gd name="connsiteY22" fmla="*/ 501491 h 771525"/>
                  <a:gd name="connsiteX23" fmla="*/ 1021556 w 3552825"/>
                  <a:gd name="connsiteY23" fmla="*/ 405289 h 771525"/>
                  <a:gd name="connsiteX24" fmla="*/ 211931 w 3552825"/>
                  <a:gd name="connsiteY24" fmla="*/ 405289 h 771525"/>
                  <a:gd name="connsiteX25" fmla="*/ 100489 w 3552825"/>
                  <a:gd name="connsiteY25" fmla="*/ 294799 h 771525"/>
                  <a:gd name="connsiteX26" fmla="*/ 91916 w 3552825"/>
                  <a:gd name="connsiteY26" fmla="*/ 295751 h 771525"/>
                  <a:gd name="connsiteX27" fmla="*/ 70009 w 3552825"/>
                  <a:gd name="connsiteY27" fmla="*/ 287179 h 771525"/>
                  <a:gd name="connsiteX28" fmla="*/ 70009 w 3552825"/>
                  <a:gd name="connsiteY28" fmla="*/ 243364 h 771525"/>
                  <a:gd name="connsiteX29" fmla="*/ 91916 w 3552825"/>
                  <a:gd name="connsiteY29" fmla="*/ 234791 h 771525"/>
                  <a:gd name="connsiteX30" fmla="*/ 113824 w 3552825"/>
                  <a:gd name="connsiteY30" fmla="*/ 243364 h 771525"/>
                  <a:gd name="connsiteX31" fmla="*/ 121444 w 3552825"/>
                  <a:gd name="connsiteY31" fmla="*/ 272891 h 771525"/>
                  <a:gd name="connsiteX32" fmla="*/ 224314 w 3552825"/>
                  <a:gd name="connsiteY32" fmla="*/ 375761 h 771525"/>
                  <a:gd name="connsiteX33" fmla="*/ 1033939 w 3552825"/>
                  <a:gd name="connsiteY33" fmla="*/ 375761 h 771525"/>
                  <a:gd name="connsiteX34" fmla="*/ 1160621 w 3552825"/>
                  <a:gd name="connsiteY34" fmla="*/ 502444 h 771525"/>
                  <a:gd name="connsiteX35" fmla="*/ 1276826 w 3552825"/>
                  <a:gd name="connsiteY35" fmla="*/ 502444 h 771525"/>
                  <a:gd name="connsiteX36" fmla="*/ 1625441 w 3552825"/>
                  <a:gd name="connsiteY36" fmla="*/ 153829 h 771525"/>
                  <a:gd name="connsiteX37" fmla="*/ 2193131 w 3552825"/>
                  <a:gd name="connsiteY37" fmla="*/ 153829 h 771525"/>
                  <a:gd name="connsiteX38" fmla="*/ 2298859 w 3552825"/>
                  <a:gd name="connsiteY38" fmla="*/ 259556 h 771525"/>
                  <a:gd name="connsiteX39" fmla="*/ 2721769 w 3552825"/>
                  <a:gd name="connsiteY39" fmla="*/ 259556 h 771525"/>
                  <a:gd name="connsiteX40" fmla="*/ 2973229 w 3552825"/>
                  <a:gd name="connsiteY40" fmla="*/ 7144 h 771525"/>
                  <a:gd name="connsiteX41" fmla="*/ 3548539 w 3552825"/>
                  <a:gd name="connsiteY41" fmla="*/ 7144 h 771525"/>
                  <a:gd name="connsiteX42" fmla="*/ 3548539 w 3552825"/>
                  <a:gd name="connsiteY42" fmla="*/ 37624 h 771525"/>
                  <a:gd name="connsiteX43" fmla="*/ 2985611 w 3552825"/>
                  <a:gd name="connsiteY43" fmla="*/ 37624 h 771525"/>
                  <a:gd name="connsiteX44" fmla="*/ 2733199 w 3552825"/>
                  <a:gd name="connsiteY44" fmla="*/ 290036 h 771525"/>
                  <a:gd name="connsiteX45" fmla="*/ 1774984 w 3552825"/>
                  <a:gd name="connsiteY45" fmla="*/ 290036 h 771525"/>
                  <a:gd name="connsiteX46" fmla="*/ 1635919 w 3552825"/>
                  <a:gd name="connsiteY46" fmla="*/ 429101 h 771525"/>
                  <a:gd name="connsiteX47" fmla="*/ 1871186 w 3552825"/>
                  <a:gd name="connsiteY47" fmla="*/ 429101 h 771525"/>
                  <a:gd name="connsiteX48" fmla="*/ 1968341 w 3552825"/>
                  <a:gd name="connsiteY48" fmla="*/ 526256 h 771525"/>
                  <a:gd name="connsiteX49" fmla="*/ 1976914 w 3552825"/>
                  <a:gd name="connsiteY49" fmla="*/ 525304 h 771525"/>
                  <a:gd name="connsiteX50" fmla="*/ 1998821 w 3552825"/>
                  <a:gd name="connsiteY50" fmla="*/ 533876 h 771525"/>
                  <a:gd name="connsiteX51" fmla="*/ 2007394 w 3552825"/>
                  <a:gd name="connsiteY51" fmla="*/ 555784 h 771525"/>
                  <a:gd name="connsiteX52" fmla="*/ 1998821 w 3552825"/>
                  <a:gd name="connsiteY52" fmla="*/ 577691 h 771525"/>
                  <a:gd name="connsiteX53" fmla="*/ 1976914 w 3552825"/>
                  <a:gd name="connsiteY53" fmla="*/ 586264 h 771525"/>
                  <a:gd name="connsiteX54" fmla="*/ 1955006 w 3552825"/>
                  <a:gd name="connsiteY54" fmla="*/ 577691 h 771525"/>
                  <a:gd name="connsiteX55" fmla="*/ 1947386 w 3552825"/>
                  <a:gd name="connsiteY55" fmla="*/ 548164 h 771525"/>
                  <a:gd name="connsiteX56" fmla="*/ 1859756 w 3552825"/>
                  <a:gd name="connsiteY56" fmla="*/ 460534 h 771525"/>
                  <a:gd name="connsiteX57" fmla="*/ 1606391 w 3552825"/>
                  <a:gd name="connsiteY57" fmla="*/ 460534 h 771525"/>
                  <a:gd name="connsiteX58" fmla="*/ 1410176 w 3552825"/>
                  <a:gd name="connsiteY58" fmla="*/ 654844 h 771525"/>
                  <a:gd name="connsiteX59" fmla="*/ 932974 w 3552825"/>
                  <a:gd name="connsiteY59" fmla="*/ 654844 h 771525"/>
                  <a:gd name="connsiteX60" fmla="*/ 830104 w 3552825"/>
                  <a:gd name="connsiteY60" fmla="*/ 757714 h 771525"/>
                  <a:gd name="connsiteX61" fmla="*/ 298609 w 3552825"/>
                  <a:gd name="connsiteY61" fmla="*/ 757714 h 771525"/>
                  <a:gd name="connsiteX62" fmla="*/ 271939 w 3552825"/>
                  <a:gd name="connsiteY62" fmla="*/ 772954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52825" h="771525">
                    <a:moveTo>
                      <a:pt x="271939" y="772954"/>
                    </a:moveTo>
                    <a:cubicBezTo>
                      <a:pt x="254794" y="772954"/>
                      <a:pt x="241459" y="759619"/>
                      <a:pt x="241459" y="742474"/>
                    </a:cubicBezTo>
                    <a:cubicBezTo>
                      <a:pt x="241459" y="725329"/>
                      <a:pt x="254794" y="711994"/>
                      <a:pt x="271939" y="711994"/>
                    </a:cubicBezTo>
                    <a:cubicBezTo>
                      <a:pt x="283369" y="711994"/>
                      <a:pt x="292894" y="717709"/>
                      <a:pt x="298609" y="727234"/>
                    </a:cubicBezTo>
                    <a:lnTo>
                      <a:pt x="817721" y="727234"/>
                    </a:lnTo>
                    <a:lnTo>
                      <a:pt x="890111" y="653891"/>
                    </a:lnTo>
                    <a:lnTo>
                      <a:pt x="64294" y="653891"/>
                    </a:lnTo>
                    <a:cubicBezTo>
                      <a:pt x="58579" y="663416"/>
                      <a:pt x="49054" y="669131"/>
                      <a:pt x="37624" y="669131"/>
                    </a:cubicBezTo>
                    <a:cubicBezTo>
                      <a:pt x="20479" y="669131"/>
                      <a:pt x="7144" y="655796"/>
                      <a:pt x="7144" y="638651"/>
                    </a:cubicBezTo>
                    <a:cubicBezTo>
                      <a:pt x="7144" y="621506"/>
                      <a:pt x="20479" y="608171"/>
                      <a:pt x="37624" y="608171"/>
                    </a:cubicBezTo>
                    <a:cubicBezTo>
                      <a:pt x="49054" y="608171"/>
                      <a:pt x="58579" y="613886"/>
                      <a:pt x="64294" y="623411"/>
                    </a:cubicBezTo>
                    <a:lnTo>
                      <a:pt x="1397794" y="623411"/>
                    </a:lnTo>
                    <a:lnTo>
                      <a:pt x="1762601" y="258604"/>
                    </a:lnTo>
                    <a:lnTo>
                      <a:pt x="2255044" y="258604"/>
                    </a:lnTo>
                    <a:lnTo>
                      <a:pt x="2179796" y="183356"/>
                    </a:lnTo>
                    <a:lnTo>
                      <a:pt x="1637824" y="183356"/>
                    </a:lnTo>
                    <a:lnTo>
                      <a:pt x="1289209" y="531971"/>
                    </a:lnTo>
                    <a:lnTo>
                      <a:pt x="803434" y="531971"/>
                    </a:lnTo>
                    <a:cubicBezTo>
                      <a:pt x="797719" y="541496"/>
                      <a:pt x="788194" y="547211"/>
                      <a:pt x="776764" y="547211"/>
                    </a:cubicBezTo>
                    <a:cubicBezTo>
                      <a:pt x="759619" y="547211"/>
                      <a:pt x="746284" y="533876"/>
                      <a:pt x="746284" y="516731"/>
                    </a:cubicBezTo>
                    <a:cubicBezTo>
                      <a:pt x="746284" y="499586"/>
                      <a:pt x="759619" y="486251"/>
                      <a:pt x="776764" y="486251"/>
                    </a:cubicBezTo>
                    <a:cubicBezTo>
                      <a:pt x="788194" y="486251"/>
                      <a:pt x="797719" y="491966"/>
                      <a:pt x="803434" y="501491"/>
                    </a:cubicBezTo>
                    <a:lnTo>
                      <a:pt x="1117759" y="501491"/>
                    </a:lnTo>
                    <a:lnTo>
                      <a:pt x="1021556" y="405289"/>
                    </a:lnTo>
                    <a:lnTo>
                      <a:pt x="211931" y="405289"/>
                    </a:lnTo>
                    <a:lnTo>
                      <a:pt x="100489" y="294799"/>
                    </a:lnTo>
                    <a:cubicBezTo>
                      <a:pt x="97631" y="295751"/>
                      <a:pt x="94774" y="295751"/>
                      <a:pt x="91916" y="295751"/>
                    </a:cubicBezTo>
                    <a:cubicBezTo>
                      <a:pt x="83344" y="295751"/>
                      <a:pt x="75724" y="292894"/>
                      <a:pt x="70009" y="287179"/>
                    </a:cubicBezTo>
                    <a:cubicBezTo>
                      <a:pt x="57626" y="274796"/>
                      <a:pt x="57626" y="255746"/>
                      <a:pt x="70009" y="243364"/>
                    </a:cubicBezTo>
                    <a:cubicBezTo>
                      <a:pt x="75724" y="237649"/>
                      <a:pt x="83344" y="234791"/>
                      <a:pt x="91916" y="234791"/>
                    </a:cubicBezTo>
                    <a:cubicBezTo>
                      <a:pt x="100489" y="234791"/>
                      <a:pt x="108109" y="237649"/>
                      <a:pt x="113824" y="243364"/>
                    </a:cubicBezTo>
                    <a:cubicBezTo>
                      <a:pt x="121444" y="250984"/>
                      <a:pt x="124301" y="262414"/>
                      <a:pt x="121444" y="272891"/>
                    </a:cubicBezTo>
                    <a:lnTo>
                      <a:pt x="224314" y="375761"/>
                    </a:lnTo>
                    <a:lnTo>
                      <a:pt x="1033939" y="375761"/>
                    </a:lnTo>
                    <a:lnTo>
                      <a:pt x="1160621" y="502444"/>
                    </a:lnTo>
                    <a:lnTo>
                      <a:pt x="1276826" y="502444"/>
                    </a:lnTo>
                    <a:lnTo>
                      <a:pt x="1625441" y="153829"/>
                    </a:lnTo>
                    <a:lnTo>
                      <a:pt x="2193131" y="153829"/>
                    </a:lnTo>
                    <a:lnTo>
                      <a:pt x="2298859" y="259556"/>
                    </a:lnTo>
                    <a:lnTo>
                      <a:pt x="2721769" y="259556"/>
                    </a:lnTo>
                    <a:lnTo>
                      <a:pt x="2973229" y="7144"/>
                    </a:lnTo>
                    <a:lnTo>
                      <a:pt x="3548539" y="7144"/>
                    </a:lnTo>
                    <a:lnTo>
                      <a:pt x="3548539" y="37624"/>
                    </a:lnTo>
                    <a:lnTo>
                      <a:pt x="2985611" y="37624"/>
                    </a:lnTo>
                    <a:lnTo>
                      <a:pt x="2733199" y="290036"/>
                    </a:lnTo>
                    <a:lnTo>
                      <a:pt x="1774984" y="290036"/>
                    </a:lnTo>
                    <a:lnTo>
                      <a:pt x="1635919" y="429101"/>
                    </a:lnTo>
                    <a:lnTo>
                      <a:pt x="1871186" y="429101"/>
                    </a:lnTo>
                    <a:lnTo>
                      <a:pt x="1968341" y="526256"/>
                    </a:lnTo>
                    <a:cubicBezTo>
                      <a:pt x="1971199" y="525304"/>
                      <a:pt x="1974056" y="525304"/>
                      <a:pt x="1976914" y="525304"/>
                    </a:cubicBezTo>
                    <a:cubicBezTo>
                      <a:pt x="1985486" y="525304"/>
                      <a:pt x="1993106" y="528161"/>
                      <a:pt x="1998821" y="533876"/>
                    </a:cubicBezTo>
                    <a:cubicBezTo>
                      <a:pt x="2004536" y="539591"/>
                      <a:pt x="2007394" y="547211"/>
                      <a:pt x="2007394" y="555784"/>
                    </a:cubicBezTo>
                    <a:cubicBezTo>
                      <a:pt x="2007394" y="564356"/>
                      <a:pt x="2004536" y="571976"/>
                      <a:pt x="1998821" y="577691"/>
                    </a:cubicBezTo>
                    <a:cubicBezTo>
                      <a:pt x="1993106" y="583406"/>
                      <a:pt x="1985486" y="586264"/>
                      <a:pt x="1976914" y="586264"/>
                    </a:cubicBezTo>
                    <a:cubicBezTo>
                      <a:pt x="1968341" y="586264"/>
                      <a:pt x="1960721" y="583406"/>
                      <a:pt x="1955006" y="577691"/>
                    </a:cubicBezTo>
                    <a:cubicBezTo>
                      <a:pt x="1947386" y="570071"/>
                      <a:pt x="1944529" y="558641"/>
                      <a:pt x="1947386" y="548164"/>
                    </a:cubicBezTo>
                    <a:lnTo>
                      <a:pt x="1859756" y="460534"/>
                    </a:lnTo>
                    <a:lnTo>
                      <a:pt x="1606391" y="460534"/>
                    </a:lnTo>
                    <a:lnTo>
                      <a:pt x="1410176" y="654844"/>
                    </a:lnTo>
                    <a:lnTo>
                      <a:pt x="932974" y="654844"/>
                    </a:lnTo>
                    <a:lnTo>
                      <a:pt x="830104" y="757714"/>
                    </a:lnTo>
                    <a:lnTo>
                      <a:pt x="298609" y="757714"/>
                    </a:lnTo>
                    <a:cubicBezTo>
                      <a:pt x="292894" y="767239"/>
                      <a:pt x="283369" y="772954"/>
                      <a:pt x="271939" y="772954"/>
                    </a:cubicBezTo>
                    <a:close/>
                  </a:path>
                </a:pathLst>
              </a:custGeom>
              <a:grpFill/>
              <a:ln w="9525" cap="flat">
                <a:noFill/>
                <a:prstDash val="solid"/>
                <a:miter/>
              </a:ln>
            </p:spPr>
            <p:txBody>
              <a:bodyPr rtlCol="0" anchor="ctr"/>
              <a:lstStyle/>
              <a:p>
                <a:endParaRPr lang="en-US"/>
              </a:p>
            </p:txBody>
          </p:sp>
          <p:sp>
            <p:nvSpPr>
              <p:cNvPr id="187" name="Freeform: Shape 174">
                <a:extLst>
                  <a:ext uri="{FF2B5EF4-FFF2-40B4-BE49-F238E27FC236}">
                    <a16:creationId xmlns:a16="http://schemas.microsoft.com/office/drawing/2014/main" id="{39443D64-22C4-2E4F-A6C2-CDB5896E7A30}"/>
                  </a:ext>
                </a:extLst>
              </p:cNvPr>
              <p:cNvSpPr/>
              <p:nvPr/>
            </p:nvSpPr>
            <p:spPr>
              <a:xfrm>
                <a:off x="7543660" y="1360832"/>
                <a:ext cx="3533775" cy="752475"/>
              </a:xfrm>
              <a:custGeom>
                <a:avLst/>
                <a:gdLst>
                  <a:gd name="connsiteX0" fmla="*/ 903446 w 3533775"/>
                  <a:gd name="connsiteY0" fmla="*/ 634841 h 752475"/>
                  <a:gd name="connsiteX1" fmla="*/ 812006 w 3533775"/>
                  <a:gd name="connsiteY1" fmla="*/ 727234 h 752475"/>
                  <a:gd name="connsiteX2" fmla="*/ 281464 w 3533775"/>
                  <a:gd name="connsiteY2" fmla="*/ 727234 h 752475"/>
                  <a:gd name="connsiteX3" fmla="*/ 261461 w 3533775"/>
                  <a:gd name="connsiteY3" fmla="*/ 711994 h 752475"/>
                  <a:gd name="connsiteX4" fmla="*/ 240506 w 3533775"/>
                  <a:gd name="connsiteY4" fmla="*/ 732949 h 752475"/>
                  <a:gd name="connsiteX5" fmla="*/ 261461 w 3533775"/>
                  <a:gd name="connsiteY5" fmla="*/ 753904 h 752475"/>
                  <a:gd name="connsiteX6" fmla="*/ 281464 w 3533775"/>
                  <a:gd name="connsiteY6" fmla="*/ 738664 h 752475"/>
                  <a:gd name="connsiteX7" fmla="*/ 815816 w 3533775"/>
                  <a:gd name="connsiteY7" fmla="*/ 738664 h 752475"/>
                  <a:gd name="connsiteX8" fmla="*/ 918686 w 3533775"/>
                  <a:gd name="connsiteY8" fmla="*/ 635794 h 752475"/>
                  <a:gd name="connsiteX9" fmla="*/ 917734 w 3533775"/>
                  <a:gd name="connsiteY9" fmla="*/ 634841 h 752475"/>
                  <a:gd name="connsiteX10" fmla="*/ 1395889 w 3533775"/>
                  <a:gd name="connsiteY10" fmla="*/ 634841 h 752475"/>
                  <a:gd name="connsiteX11" fmla="*/ 1591151 w 3533775"/>
                  <a:gd name="connsiteY11" fmla="*/ 439579 h 752475"/>
                  <a:gd name="connsiteX12" fmla="*/ 1852136 w 3533775"/>
                  <a:gd name="connsiteY12" fmla="*/ 439579 h 752475"/>
                  <a:gd name="connsiteX13" fmla="*/ 1947386 w 3533775"/>
                  <a:gd name="connsiteY13" fmla="*/ 534829 h 752475"/>
                  <a:gd name="connsiteX14" fmla="*/ 1951196 w 3533775"/>
                  <a:gd name="connsiteY14" fmla="*/ 560546 h 752475"/>
                  <a:gd name="connsiteX15" fmla="*/ 1980724 w 3533775"/>
                  <a:gd name="connsiteY15" fmla="*/ 560546 h 752475"/>
                  <a:gd name="connsiteX16" fmla="*/ 1980724 w 3533775"/>
                  <a:gd name="connsiteY16" fmla="*/ 531019 h 752475"/>
                  <a:gd name="connsiteX17" fmla="*/ 1955006 w 3533775"/>
                  <a:gd name="connsiteY17" fmla="*/ 527209 h 752475"/>
                  <a:gd name="connsiteX18" fmla="*/ 1856899 w 3533775"/>
                  <a:gd name="connsiteY18" fmla="*/ 429101 h 752475"/>
                  <a:gd name="connsiteX19" fmla="*/ 1602581 w 3533775"/>
                  <a:gd name="connsiteY19" fmla="*/ 429101 h 752475"/>
                  <a:gd name="connsiteX20" fmla="*/ 1760696 w 3533775"/>
                  <a:gd name="connsiteY20" fmla="*/ 270986 h 752475"/>
                  <a:gd name="connsiteX21" fmla="*/ 2718911 w 3533775"/>
                  <a:gd name="connsiteY21" fmla="*/ 270986 h 752475"/>
                  <a:gd name="connsiteX22" fmla="*/ 2971324 w 3533775"/>
                  <a:gd name="connsiteY22" fmla="*/ 18574 h 752475"/>
                  <a:gd name="connsiteX23" fmla="*/ 3528536 w 3533775"/>
                  <a:gd name="connsiteY23" fmla="*/ 18574 h 752475"/>
                  <a:gd name="connsiteX24" fmla="*/ 3528536 w 3533775"/>
                  <a:gd name="connsiteY24" fmla="*/ 7144 h 752475"/>
                  <a:gd name="connsiteX25" fmla="*/ 2966561 w 3533775"/>
                  <a:gd name="connsiteY25" fmla="*/ 7144 h 752475"/>
                  <a:gd name="connsiteX26" fmla="*/ 2714149 w 3533775"/>
                  <a:gd name="connsiteY26" fmla="*/ 259556 h 752475"/>
                  <a:gd name="connsiteX27" fmla="*/ 2282666 w 3533775"/>
                  <a:gd name="connsiteY27" fmla="*/ 259556 h 752475"/>
                  <a:gd name="connsiteX28" fmla="*/ 2282666 w 3533775"/>
                  <a:gd name="connsiteY28" fmla="*/ 259556 h 752475"/>
                  <a:gd name="connsiteX29" fmla="*/ 2177891 w 3533775"/>
                  <a:gd name="connsiteY29" fmla="*/ 153829 h 752475"/>
                  <a:gd name="connsiteX30" fmla="*/ 1617821 w 3533775"/>
                  <a:gd name="connsiteY30" fmla="*/ 153829 h 752475"/>
                  <a:gd name="connsiteX31" fmla="*/ 1270159 w 3533775"/>
                  <a:gd name="connsiteY31" fmla="*/ 502444 h 752475"/>
                  <a:gd name="connsiteX32" fmla="*/ 1146334 w 3533775"/>
                  <a:gd name="connsiteY32" fmla="*/ 502444 h 752475"/>
                  <a:gd name="connsiteX33" fmla="*/ 1020604 w 3533775"/>
                  <a:gd name="connsiteY33" fmla="*/ 376714 h 752475"/>
                  <a:gd name="connsiteX34" fmla="*/ 210979 w 3533775"/>
                  <a:gd name="connsiteY34" fmla="*/ 376714 h 752475"/>
                  <a:gd name="connsiteX35" fmla="*/ 100489 w 3533775"/>
                  <a:gd name="connsiteY35" fmla="*/ 266224 h 752475"/>
                  <a:gd name="connsiteX36" fmla="*/ 96679 w 3533775"/>
                  <a:gd name="connsiteY36" fmla="*/ 240506 h 752475"/>
                  <a:gd name="connsiteX37" fmla="*/ 67151 w 3533775"/>
                  <a:gd name="connsiteY37" fmla="*/ 240506 h 752475"/>
                  <a:gd name="connsiteX38" fmla="*/ 67151 w 3533775"/>
                  <a:gd name="connsiteY38" fmla="*/ 270034 h 752475"/>
                  <a:gd name="connsiteX39" fmla="*/ 92869 w 3533775"/>
                  <a:gd name="connsiteY39" fmla="*/ 273844 h 752475"/>
                  <a:gd name="connsiteX40" fmla="*/ 206216 w 3533775"/>
                  <a:gd name="connsiteY40" fmla="*/ 387191 h 752475"/>
                  <a:gd name="connsiteX41" fmla="*/ 1015841 w 3533775"/>
                  <a:gd name="connsiteY41" fmla="*/ 387191 h 752475"/>
                  <a:gd name="connsiteX42" fmla="*/ 1130141 w 3533775"/>
                  <a:gd name="connsiteY42" fmla="*/ 502444 h 752475"/>
                  <a:gd name="connsiteX43" fmla="*/ 786289 w 3533775"/>
                  <a:gd name="connsiteY43" fmla="*/ 502444 h 752475"/>
                  <a:gd name="connsiteX44" fmla="*/ 766286 w 3533775"/>
                  <a:gd name="connsiteY44" fmla="*/ 487204 h 752475"/>
                  <a:gd name="connsiteX45" fmla="*/ 745331 w 3533775"/>
                  <a:gd name="connsiteY45" fmla="*/ 508159 h 752475"/>
                  <a:gd name="connsiteX46" fmla="*/ 766286 w 3533775"/>
                  <a:gd name="connsiteY46" fmla="*/ 529114 h 752475"/>
                  <a:gd name="connsiteX47" fmla="*/ 786289 w 3533775"/>
                  <a:gd name="connsiteY47" fmla="*/ 513874 h 752475"/>
                  <a:gd name="connsiteX48" fmla="*/ 1274921 w 3533775"/>
                  <a:gd name="connsiteY48" fmla="*/ 513874 h 752475"/>
                  <a:gd name="connsiteX49" fmla="*/ 1623536 w 3533775"/>
                  <a:gd name="connsiteY49" fmla="*/ 165259 h 752475"/>
                  <a:gd name="connsiteX50" fmla="*/ 2174081 w 3533775"/>
                  <a:gd name="connsiteY50" fmla="*/ 165259 h 752475"/>
                  <a:gd name="connsiteX51" fmla="*/ 2268379 w 3533775"/>
                  <a:gd name="connsiteY51" fmla="*/ 259556 h 752475"/>
                  <a:gd name="connsiteX52" fmla="*/ 1756886 w 3533775"/>
                  <a:gd name="connsiteY52" fmla="*/ 259556 h 752475"/>
                  <a:gd name="connsiteX53" fmla="*/ 1392079 w 3533775"/>
                  <a:gd name="connsiteY53" fmla="*/ 624364 h 752475"/>
                  <a:gd name="connsiteX54" fmla="*/ 48101 w 3533775"/>
                  <a:gd name="connsiteY54" fmla="*/ 624364 h 752475"/>
                  <a:gd name="connsiteX55" fmla="*/ 28099 w 3533775"/>
                  <a:gd name="connsiteY55" fmla="*/ 609124 h 752475"/>
                  <a:gd name="connsiteX56" fmla="*/ 7144 w 3533775"/>
                  <a:gd name="connsiteY56" fmla="*/ 630079 h 752475"/>
                  <a:gd name="connsiteX57" fmla="*/ 28099 w 3533775"/>
                  <a:gd name="connsiteY57" fmla="*/ 651034 h 752475"/>
                  <a:gd name="connsiteX58" fmla="*/ 48101 w 3533775"/>
                  <a:gd name="connsiteY58" fmla="*/ 635794 h 752475"/>
                  <a:gd name="connsiteX59" fmla="*/ 903446 w 3533775"/>
                  <a:gd name="connsiteY59" fmla="*/ 63579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33775" h="752475">
                    <a:moveTo>
                      <a:pt x="903446" y="634841"/>
                    </a:moveTo>
                    <a:lnTo>
                      <a:pt x="812006" y="727234"/>
                    </a:lnTo>
                    <a:lnTo>
                      <a:pt x="281464" y="727234"/>
                    </a:lnTo>
                    <a:cubicBezTo>
                      <a:pt x="278606" y="718661"/>
                      <a:pt x="270986" y="711994"/>
                      <a:pt x="261461" y="711994"/>
                    </a:cubicBezTo>
                    <a:cubicBezTo>
                      <a:pt x="250031" y="711994"/>
                      <a:pt x="240506" y="721519"/>
                      <a:pt x="240506" y="732949"/>
                    </a:cubicBezTo>
                    <a:cubicBezTo>
                      <a:pt x="240506" y="744379"/>
                      <a:pt x="250031" y="753904"/>
                      <a:pt x="261461" y="753904"/>
                    </a:cubicBezTo>
                    <a:cubicBezTo>
                      <a:pt x="270986" y="753904"/>
                      <a:pt x="279559" y="747236"/>
                      <a:pt x="281464" y="738664"/>
                    </a:cubicBezTo>
                    <a:lnTo>
                      <a:pt x="815816" y="738664"/>
                    </a:lnTo>
                    <a:lnTo>
                      <a:pt x="918686" y="635794"/>
                    </a:lnTo>
                    <a:lnTo>
                      <a:pt x="917734" y="634841"/>
                    </a:lnTo>
                    <a:lnTo>
                      <a:pt x="1395889" y="634841"/>
                    </a:lnTo>
                    <a:lnTo>
                      <a:pt x="1591151" y="439579"/>
                    </a:lnTo>
                    <a:lnTo>
                      <a:pt x="1852136" y="439579"/>
                    </a:lnTo>
                    <a:lnTo>
                      <a:pt x="1947386" y="534829"/>
                    </a:lnTo>
                    <a:cubicBezTo>
                      <a:pt x="1942624" y="542449"/>
                      <a:pt x="1943576" y="552926"/>
                      <a:pt x="1951196" y="560546"/>
                    </a:cubicBezTo>
                    <a:cubicBezTo>
                      <a:pt x="1959769" y="569119"/>
                      <a:pt x="1973104" y="569119"/>
                      <a:pt x="1980724" y="560546"/>
                    </a:cubicBezTo>
                    <a:cubicBezTo>
                      <a:pt x="1989296" y="551974"/>
                      <a:pt x="1989296" y="538639"/>
                      <a:pt x="1980724" y="531019"/>
                    </a:cubicBezTo>
                    <a:cubicBezTo>
                      <a:pt x="1974056" y="524351"/>
                      <a:pt x="1963579" y="523399"/>
                      <a:pt x="1955006" y="527209"/>
                    </a:cubicBezTo>
                    <a:lnTo>
                      <a:pt x="1856899" y="429101"/>
                    </a:lnTo>
                    <a:lnTo>
                      <a:pt x="1602581" y="429101"/>
                    </a:lnTo>
                    <a:lnTo>
                      <a:pt x="1760696" y="270986"/>
                    </a:lnTo>
                    <a:lnTo>
                      <a:pt x="2718911" y="270986"/>
                    </a:lnTo>
                    <a:lnTo>
                      <a:pt x="2971324" y="18574"/>
                    </a:lnTo>
                    <a:lnTo>
                      <a:pt x="3528536" y="18574"/>
                    </a:lnTo>
                    <a:lnTo>
                      <a:pt x="3528536" y="7144"/>
                    </a:lnTo>
                    <a:lnTo>
                      <a:pt x="2966561" y="7144"/>
                    </a:lnTo>
                    <a:lnTo>
                      <a:pt x="2714149" y="259556"/>
                    </a:lnTo>
                    <a:lnTo>
                      <a:pt x="2282666" y="259556"/>
                    </a:lnTo>
                    <a:lnTo>
                      <a:pt x="2282666" y="259556"/>
                    </a:lnTo>
                    <a:lnTo>
                      <a:pt x="2177891" y="153829"/>
                    </a:lnTo>
                    <a:lnTo>
                      <a:pt x="1617821" y="153829"/>
                    </a:lnTo>
                    <a:lnTo>
                      <a:pt x="1270159" y="502444"/>
                    </a:lnTo>
                    <a:lnTo>
                      <a:pt x="1146334" y="502444"/>
                    </a:lnTo>
                    <a:lnTo>
                      <a:pt x="1020604" y="376714"/>
                    </a:lnTo>
                    <a:lnTo>
                      <a:pt x="210979" y="376714"/>
                    </a:lnTo>
                    <a:lnTo>
                      <a:pt x="100489" y="266224"/>
                    </a:lnTo>
                    <a:cubicBezTo>
                      <a:pt x="105251" y="258604"/>
                      <a:pt x="104299" y="248126"/>
                      <a:pt x="96679" y="240506"/>
                    </a:cubicBezTo>
                    <a:cubicBezTo>
                      <a:pt x="88106" y="231934"/>
                      <a:pt x="74771" y="231934"/>
                      <a:pt x="67151" y="240506"/>
                    </a:cubicBezTo>
                    <a:cubicBezTo>
                      <a:pt x="58579" y="249079"/>
                      <a:pt x="58579" y="262414"/>
                      <a:pt x="67151" y="270034"/>
                    </a:cubicBezTo>
                    <a:cubicBezTo>
                      <a:pt x="73819" y="276701"/>
                      <a:pt x="84296" y="277654"/>
                      <a:pt x="92869" y="273844"/>
                    </a:cubicBezTo>
                    <a:lnTo>
                      <a:pt x="206216" y="387191"/>
                    </a:lnTo>
                    <a:lnTo>
                      <a:pt x="1015841" y="387191"/>
                    </a:lnTo>
                    <a:lnTo>
                      <a:pt x="1130141" y="502444"/>
                    </a:lnTo>
                    <a:lnTo>
                      <a:pt x="786289" y="502444"/>
                    </a:lnTo>
                    <a:cubicBezTo>
                      <a:pt x="783431" y="493871"/>
                      <a:pt x="775811" y="487204"/>
                      <a:pt x="766286" y="487204"/>
                    </a:cubicBezTo>
                    <a:cubicBezTo>
                      <a:pt x="754856" y="487204"/>
                      <a:pt x="745331" y="496729"/>
                      <a:pt x="745331" y="508159"/>
                    </a:cubicBezTo>
                    <a:cubicBezTo>
                      <a:pt x="745331" y="519589"/>
                      <a:pt x="754856" y="529114"/>
                      <a:pt x="766286" y="529114"/>
                    </a:cubicBezTo>
                    <a:cubicBezTo>
                      <a:pt x="775811" y="529114"/>
                      <a:pt x="784384" y="522446"/>
                      <a:pt x="786289" y="513874"/>
                    </a:cubicBezTo>
                    <a:lnTo>
                      <a:pt x="1274921" y="513874"/>
                    </a:lnTo>
                    <a:lnTo>
                      <a:pt x="1623536" y="165259"/>
                    </a:lnTo>
                    <a:lnTo>
                      <a:pt x="2174081" y="165259"/>
                    </a:lnTo>
                    <a:lnTo>
                      <a:pt x="2268379" y="259556"/>
                    </a:lnTo>
                    <a:lnTo>
                      <a:pt x="1756886" y="259556"/>
                    </a:lnTo>
                    <a:lnTo>
                      <a:pt x="1392079" y="624364"/>
                    </a:lnTo>
                    <a:lnTo>
                      <a:pt x="48101" y="624364"/>
                    </a:lnTo>
                    <a:cubicBezTo>
                      <a:pt x="45244" y="615791"/>
                      <a:pt x="37624" y="609124"/>
                      <a:pt x="28099" y="609124"/>
                    </a:cubicBezTo>
                    <a:cubicBezTo>
                      <a:pt x="16669" y="609124"/>
                      <a:pt x="7144" y="618649"/>
                      <a:pt x="7144" y="630079"/>
                    </a:cubicBezTo>
                    <a:cubicBezTo>
                      <a:pt x="7144" y="641509"/>
                      <a:pt x="16669" y="651034"/>
                      <a:pt x="28099" y="651034"/>
                    </a:cubicBezTo>
                    <a:cubicBezTo>
                      <a:pt x="37624" y="651034"/>
                      <a:pt x="46196" y="644366"/>
                      <a:pt x="48101" y="635794"/>
                    </a:cubicBezTo>
                    <a:lnTo>
                      <a:pt x="903446" y="635794"/>
                    </a:lnTo>
                    <a:close/>
                  </a:path>
                </a:pathLst>
              </a:custGeom>
              <a:grpFill/>
              <a:ln w="9525" cap="flat">
                <a:noFill/>
                <a:prstDash val="solid"/>
                <a:miter/>
              </a:ln>
            </p:spPr>
            <p:txBody>
              <a:bodyPr rtlCol="0" anchor="ctr"/>
              <a:lstStyle/>
              <a:p>
                <a:endParaRPr lang="en-US"/>
              </a:p>
            </p:txBody>
          </p:sp>
          <p:sp>
            <p:nvSpPr>
              <p:cNvPr id="188" name="Freeform: Shape 175">
                <a:extLst>
                  <a:ext uri="{FF2B5EF4-FFF2-40B4-BE49-F238E27FC236}">
                    <a16:creationId xmlns:a16="http://schemas.microsoft.com/office/drawing/2014/main" id="{7CA1F221-1564-D542-86A8-35A1D9BCE1B3}"/>
                  </a:ext>
                </a:extLst>
              </p:cNvPr>
              <p:cNvSpPr/>
              <p:nvPr/>
            </p:nvSpPr>
            <p:spPr>
              <a:xfrm>
                <a:off x="7588427" y="1653250"/>
                <a:ext cx="4210050" cy="1152525"/>
              </a:xfrm>
              <a:custGeom>
                <a:avLst/>
                <a:gdLst>
                  <a:gd name="connsiteX0" fmla="*/ 37624 w 4210050"/>
                  <a:gd name="connsiteY0" fmla="*/ 1153954 h 1152525"/>
                  <a:gd name="connsiteX1" fmla="*/ 15716 w 4210050"/>
                  <a:gd name="connsiteY1" fmla="*/ 1145381 h 1152525"/>
                  <a:gd name="connsiteX2" fmla="*/ 7144 w 4210050"/>
                  <a:gd name="connsiteY2" fmla="*/ 1123474 h 1152525"/>
                  <a:gd name="connsiteX3" fmla="*/ 16669 w 4210050"/>
                  <a:gd name="connsiteY3" fmla="*/ 1101566 h 1152525"/>
                  <a:gd name="connsiteX4" fmla="*/ 38576 w 4210050"/>
                  <a:gd name="connsiteY4" fmla="*/ 1092994 h 1152525"/>
                  <a:gd name="connsiteX5" fmla="*/ 47149 w 4210050"/>
                  <a:gd name="connsiteY5" fmla="*/ 1093946 h 1152525"/>
                  <a:gd name="connsiteX6" fmla="*/ 185261 w 4210050"/>
                  <a:gd name="connsiteY6" fmla="*/ 955834 h 1152525"/>
                  <a:gd name="connsiteX7" fmla="*/ 1015841 w 4210050"/>
                  <a:gd name="connsiteY7" fmla="*/ 955834 h 1152525"/>
                  <a:gd name="connsiteX8" fmla="*/ 1182529 w 4210050"/>
                  <a:gd name="connsiteY8" fmla="*/ 789146 h 1152525"/>
                  <a:gd name="connsiteX9" fmla="*/ 524351 w 4210050"/>
                  <a:gd name="connsiteY9" fmla="*/ 789146 h 1152525"/>
                  <a:gd name="connsiteX10" fmla="*/ 455771 w 4210050"/>
                  <a:gd name="connsiteY10" fmla="*/ 720566 h 1152525"/>
                  <a:gd name="connsiteX11" fmla="*/ 447199 w 4210050"/>
                  <a:gd name="connsiteY11" fmla="*/ 721519 h 1152525"/>
                  <a:gd name="connsiteX12" fmla="*/ 425291 w 4210050"/>
                  <a:gd name="connsiteY12" fmla="*/ 712946 h 1152525"/>
                  <a:gd name="connsiteX13" fmla="*/ 416719 w 4210050"/>
                  <a:gd name="connsiteY13" fmla="*/ 691039 h 1152525"/>
                  <a:gd name="connsiteX14" fmla="*/ 425291 w 4210050"/>
                  <a:gd name="connsiteY14" fmla="*/ 669131 h 1152525"/>
                  <a:gd name="connsiteX15" fmla="*/ 447199 w 4210050"/>
                  <a:gd name="connsiteY15" fmla="*/ 660559 h 1152525"/>
                  <a:gd name="connsiteX16" fmla="*/ 469106 w 4210050"/>
                  <a:gd name="connsiteY16" fmla="*/ 669131 h 1152525"/>
                  <a:gd name="connsiteX17" fmla="*/ 476726 w 4210050"/>
                  <a:gd name="connsiteY17" fmla="*/ 698659 h 1152525"/>
                  <a:gd name="connsiteX18" fmla="*/ 536734 w 4210050"/>
                  <a:gd name="connsiteY18" fmla="*/ 758666 h 1152525"/>
                  <a:gd name="connsiteX19" fmla="*/ 1423511 w 4210050"/>
                  <a:gd name="connsiteY19" fmla="*/ 758666 h 1152525"/>
                  <a:gd name="connsiteX20" fmla="*/ 1546384 w 4210050"/>
                  <a:gd name="connsiteY20" fmla="*/ 881539 h 1152525"/>
                  <a:gd name="connsiteX21" fmla="*/ 1890236 w 4210050"/>
                  <a:gd name="connsiteY21" fmla="*/ 881539 h 1152525"/>
                  <a:gd name="connsiteX22" fmla="*/ 1800701 w 4210050"/>
                  <a:gd name="connsiteY22" fmla="*/ 792004 h 1152525"/>
                  <a:gd name="connsiteX23" fmla="*/ 1578769 w 4210050"/>
                  <a:gd name="connsiteY23" fmla="*/ 792004 h 1152525"/>
                  <a:gd name="connsiteX24" fmla="*/ 1552099 w 4210050"/>
                  <a:gd name="connsiteY24" fmla="*/ 807244 h 1152525"/>
                  <a:gd name="connsiteX25" fmla="*/ 1521619 w 4210050"/>
                  <a:gd name="connsiteY25" fmla="*/ 776764 h 1152525"/>
                  <a:gd name="connsiteX26" fmla="*/ 1552099 w 4210050"/>
                  <a:gd name="connsiteY26" fmla="*/ 746284 h 1152525"/>
                  <a:gd name="connsiteX27" fmla="*/ 1578769 w 4210050"/>
                  <a:gd name="connsiteY27" fmla="*/ 761524 h 1152525"/>
                  <a:gd name="connsiteX28" fmla="*/ 1813084 w 4210050"/>
                  <a:gd name="connsiteY28" fmla="*/ 761524 h 1152525"/>
                  <a:gd name="connsiteX29" fmla="*/ 1932146 w 4210050"/>
                  <a:gd name="connsiteY29" fmla="*/ 880586 h 1152525"/>
                  <a:gd name="connsiteX30" fmla="*/ 2062639 w 4210050"/>
                  <a:gd name="connsiteY30" fmla="*/ 880586 h 1152525"/>
                  <a:gd name="connsiteX31" fmla="*/ 2237899 w 4210050"/>
                  <a:gd name="connsiteY31" fmla="*/ 705326 h 1152525"/>
                  <a:gd name="connsiteX32" fmla="*/ 2118836 w 4210050"/>
                  <a:gd name="connsiteY32" fmla="*/ 705326 h 1152525"/>
                  <a:gd name="connsiteX33" fmla="*/ 2095024 w 4210050"/>
                  <a:gd name="connsiteY33" fmla="*/ 729139 h 1152525"/>
                  <a:gd name="connsiteX34" fmla="*/ 2087404 w 4210050"/>
                  <a:gd name="connsiteY34" fmla="*/ 758666 h 1152525"/>
                  <a:gd name="connsiteX35" fmla="*/ 2065496 w 4210050"/>
                  <a:gd name="connsiteY35" fmla="*/ 767239 h 1152525"/>
                  <a:gd name="connsiteX36" fmla="*/ 2043589 w 4210050"/>
                  <a:gd name="connsiteY36" fmla="*/ 758666 h 1152525"/>
                  <a:gd name="connsiteX37" fmla="*/ 2035016 w 4210050"/>
                  <a:gd name="connsiteY37" fmla="*/ 736759 h 1152525"/>
                  <a:gd name="connsiteX38" fmla="*/ 2043589 w 4210050"/>
                  <a:gd name="connsiteY38" fmla="*/ 714851 h 1152525"/>
                  <a:gd name="connsiteX39" fmla="*/ 2065496 w 4210050"/>
                  <a:gd name="connsiteY39" fmla="*/ 706279 h 1152525"/>
                  <a:gd name="connsiteX40" fmla="*/ 2074069 w 4210050"/>
                  <a:gd name="connsiteY40" fmla="*/ 707231 h 1152525"/>
                  <a:gd name="connsiteX41" fmla="*/ 2107406 w 4210050"/>
                  <a:gd name="connsiteY41" fmla="*/ 673894 h 1152525"/>
                  <a:gd name="connsiteX42" fmla="*/ 2380774 w 4210050"/>
                  <a:gd name="connsiteY42" fmla="*/ 673894 h 1152525"/>
                  <a:gd name="connsiteX43" fmla="*/ 2480786 w 4210050"/>
                  <a:gd name="connsiteY43" fmla="*/ 573881 h 1152525"/>
                  <a:gd name="connsiteX44" fmla="*/ 2959894 w 4210050"/>
                  <a:gd name="connsiteY44" fmla="*/ 573881 h 1152525"/>
                  <a:gd name="connsiteX45" fmla="*/ 3093244 w 4210050"/>
                  <a:gd name="connsiteY45" fmla="*/ 440531 h 1152525"/>
                  <a:gd name="connsiteX46" fmla="*/ 3409474 w 4210050"/>
                  <a:gd name="connsiteY46" fmla="*/ 440531 h 1152525"/>
                  <a:gd name="connsiteX47" fmla="*/ 3698081 w 4210050"/>
                  <a:gd name="connsiteY47" fmla="*/ 151924 h 1152525"/>
                  <a:gd name="connsiteX48" fmla="*/ 3527584 w 4210050"/>
                  <a:gd name="connsiteY48" fmla="*/ 151924 h 1152525"/>
                  <a:gd name="connsiteX49" fmla="*/ 3337084 w 4210050"/>
                  <a:gd name="connsiteY49" fmla="*/ 342424 h 1152525"/>
                  <a:gd name="connsiteX50" fmla="*/ 3170396 w 4210050"/>
                  <a:gd name="connsiteY50" fmla="*/ 342424 h 1152525"/>
                  <a:gd name="connsiteX51" fmla="*/ 3143726 w 4210050"/>
                  <a:gd name="connsiteY51" fmla="*/ 357664 h 1152525"/>
                  <a:gd name="connsiteX52" fmla="*/ 3113246 w 4210050"/>
                  <a:gd name="connsiteY52" fmla="*/ 327184 h 1152525"/>
                  <a:gd name="connsiteX53" fmla="*/ 3143726 w 4210050"/>
                  <a:gd name="connsiteY53" fmla="*/ 296704 h 1152525"/>
                  <a:gd name="connsiteX54" fmla="*/ 3170396 w 4210050"/>
                  <a:gd name="connsiteY54" fmla="*/ 311944 h 1152525"/>
                  <a:gd name="connsiteX55" fmla="*/ 3323749 w 4210050"/>
                  <a:gd name="connsiteY55" fmla="*/ 311944 h 1152525"/>
                  <a:gd name="connsiteX56" fmla="*/ 3514249 w 4210050"/>
                  <a:gd name="connsiteY56" fmla="*/ 121444 h 1152525"/>
                  <a:gd name="connsiteX57" fmla="*/ 3727609 w 4210050"/>
                  <a:gd name="connsiteY57" fmla="*/ 121444 h 1152525"/>
                  <a:gd name="connsiteX58" fmla="*/ 3841909 w 4210050"/>
                  <a:gd name="connsiteY58" fmla="*/ 7144 h 1152525"/>
                  <a:gd name="connsiteX59" fmla="*/ 4072414 w 4210050"/>
                  <a:gd name="connsiteY59" fmla="*/ 7144 h 1152525"/>
                  <a:gd name="connsiteX60" fmla="*/ 4172426 w 4210050"/>
                  <a:gd name="connsiteY60" fmla="*/ 107156 h 1152525"/>
                  <a:gd name="connsiteX61" fmla="*/ 4180999 w 4210050"/>
                  <a:gd name="connsiteY61" fmla="*/ 106204 h 1152525"/>
                  <a:gd name="connsiteX62" fmla="*/ 4202906 w 4210050"/>
                  <a:gd name="connsiteY62" fmla="*/ 114776 h 1152525"/>
                  <a:gd name="connsiteX63" fmla="*/ 4211479 w 4210050"/>
                  <a:gd name="connsiteY63" fmla="*/ 136684 h 1152525"/>
                  <a:gd name="connsiteX64" fmla="*/ 4202906 w 4210050"/>
                  <a:gd name="connsiteY64" fmla="*/ 158591 h 1152525"/>
                  <a:gd name="connsiteX65" fmla="*/ 4180999 w 4210050"/>
                  <a:gd name="connsiteY65" fmla="*/ 167164 h 1152525"/>
                  <a:gd name="connsiteX66" fmla="*/ 4159091 w 4210050"/>
                  <a:gd name="connsiteY66" fmla="*/ 158591 h 1152525"/>
                  <a:gd name="connsiteX67" fmla="*/ 4151471 w 4210050"/>
                  <a:gd name="connsiteY67" fmla="*/ 129064 h 1152525"/>
                  <a:gd name="connsiteX68" fmla="*/ 4060984 w 4210050"/>
                  <a:gd name="connsiteY68" fmla="*/ 38576 h 1152525"/>
                  <a:gd name="connsiteX69" fmla="*/ 3856196 w 4210050"/>
                  <a:gd name="connsiteY69" fmla="*/ 38576 h 1152525"/>
                  <a:gd name="connsiteX70" fmla="*/ 3422809 w 4210050"/>
                  <a:gd name="connsiteY70" fmla="*/ 471964 h 1152525"/>
                  <a:gd name="connsiteX71" fmla="*/ 3104674 w 4210050"/>
                  <a:gd name="connsiteY71" fmla="*/ 471964 h 1152525"/>
                  <a:gd name="connsiteX72" fmla="*/ 2767489 w 4210050"/>
                  <a:gd name="connsiteY72" fmla="*/ 809149 h 1152525"/>
                  <a:gd name="connsiteX73" fmla="*/ 2343626 w 4210050"/>
                  <a:gd name="connsiteY73" fmla="*/ 809149 h 1152525"/>
                  <a:gd name="connsiteX74" fmla="*/ 2316956 w 4210050"/>
                  <a:gd name="connsiteY74" fmla="*/ 824389 h 1152525"/>
                  <a:gd name="connsiteX75" fmla="*/ 2286476 w 4210050"/>
                  <a:gd name="connsiteY75" fmla="*/ 793909 h 1152525"/>
                  <a:gd name="connsiteX76" fmla="*/ 2316956 w 4210050"/>
                  <a:gd name="connsiteY76" fmla="*/ 763429 h 1152525"/>
                  <a:gd name="connsiteX77" fmla="*/ 2343626 w 4210050"/>
                  <a:gd name="connsiteY77" fmla="*/ 778669 h 1152525"/>
                  <a:gd name="connsiteX78" fmla="*/ 2755106 w 4210050"/>
                  <a:gd name="connsiteY78" fmla="*/ 778669 h 1152525"/>
                  <a:gd name="connsiteX79" fmla="*/ 2928461 w 4210050"/>
                  <a:gd name="connsiteY79" fmla="*/ 605314 h 1152525"/>
                  <a:gd name="connsiteX80" fmla="*/ 2492216 w 4210050"/>
                  <a:gd name="connsiteY80" fmla="*/ 605314 h 1152525"/>
                  <a:gd name="connsiteX81" fmla="*/ 2392204 w 4210050"/>
                  <a:gd name="connsiteY81" fmla="*/ 705326 h 1152525"/>
                  <a:gd name="connsiteX82" fmla="*/ 2279809 w 4210050"/>
                  <a:gd name="connsiteY82" fmla="*/ 705326 h 1152525"/>
                  <a:gd name="connsiteX83" fmla="*/ 2075021 w 4210050"/>
                  <a:gd name="connsiteY83" fmla="*/ 910114 h 1152525"/>
                  <a:gd name="connsiteX84" fmla="*/ 1533049 w 4210050"/>
                  <a:gd name="connsiteY84" fmla="*/ 910114 h 1152525"/>
                  <a:gd name="connsiteX85" fmla="*/ 1410176 w 4210050"/>
                  <a:gd name="connsiteY85" fmla="*/ 787241 h 1152525"/>
                  <a:gd name="connsiteX86" fmla="*/ 1222534 w 4210050"/>
                  <a:gd name="connsiteY86" fmla="*/ 787241 h 1152525"/>
                  <a:gd name="connsiteX87" fmla="*/ 1026319 w 4210050"/>
                  <a:gd name="connsiteY87" fmla="*/ 983456 h 1152525"/>
                  <a:gd name="connsiteX88" fmla="*/ 195739 w 4210050"/>
                  <a:gd name="connsiteY88" fmla="*/ 983456 h 1152525"/>
                  <a:gd name="connsiteX89" fmla="*/ 67151 w 4210050"/>
                  <a:gd name="connsiteY89" fmla="*/ 1114901 h 1152525"/>
                  <a:gd name="connsiteX90" fmla="*/ 59531 w 4210050"/>
                  <a:gd name="connsiteY90" fmla="*/ 1144429 h 1152525"/>
                  <a:gd name="connsiteX91" fmla="*/ 37624 w 4210050"/>
                  <a:gd name="connsiteY91" fmla="*/ 1153954 h 11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210050" h="1152525">
                    <a:moveTo>
                      <a:pt x="37624" y="1153954"/>
                    </a:moveTo>
                    <a:cubicBezTo>
                      <a:pt x="29051" y="1153954"/>
                      <a:pt x="21431" y="1151096"/>
                      <a:pt x="15716" y="1145381"/>
                    </a:cubicBezTo>
                    <a:cubicBezTo>
                      <a:pt x="10001" y="1139666"/>
                      <a:pt x="7144" y="1132046"/>
                      <a:pt x="7144" y="1123474"/>
                    </a:cubicBezTo>
                    <a:cubicBezTo>
                      <a:pt x="7144" y="1114901"/>
                      <a:pt x="10001" y="1107281"/>
                      <a:pt x="16669" y="1101566"/>
                    </a:cubicBezTo>
                    <a:cubicBezTo>
                      <a:pt x="22384" y="1095851"/>
                      <a:pt x="30004" y="1092994"/>
                      <a:pt x="38576" y="1092994"/>
                    </a:cubicBezTo>
                    <a:cubicBezTo>
                      <a:pt x="41434" y="1092994"/>
                      <a:pt x="44291" y="1092994"/>
                      <a:pt x="47149" y="1093946"/>
                    </a:cubicBezTo>
                    <a:lnTo>
                      <a:pt x="185261" y="955834"/>
                    </a:lnTo>
                    <a:lnTo>
                      <a:pt x="1015841" y="955834"/>
                    </a:lnTo>
                    <a:lnTo>
                      <a:pt x="1182529" y="789146"/>
                    </a:lnTo>
                    <a:lnTo>
                      <a:pt x="524351" y="789146"/>
                    </a:lnTo>
                    <a:lnTo>
                      <a:pt x="455771" y="720566"/>
                    </a:lnTo>
                    <a:cubicBezTo>
                      <a:pt x="452914" y="721519"/>
                      <a:pt x="450056" y="721519"/>
                      <a:pt x="447199" y="721519"/>
                    </a:cubicBezTo>
                    <a:cubicBezTo>
                      <a:pt x="438626" y="721519"/>
                      <a:pt x="431006" y="718661"/>
                      <a:pt x="425291" y="712946"/>
                    </a:cubicBezTo>
                    <a:cubicBezTo>
                      <a:pt x="419576" y="707231"/>
                      <a:pt x="416719" y="699611"/>
                      <a:pt x="416719" y="691039"/>
                    </a:cubicBezTo>
                    <a:cubicBezTo>
                      <a:pt x="416719" y="682466"/>
                      <a:pt x="419576" y="674846"/>
                      <a:pt x="425291" y="669131"/>
                    </a:cubicBezTo>
                    <a:cubicBezTo>
                      <a:pt x="431006" y="663416"/>
                      <a:pt x="438626" y="660559"/>
                      <a:pt x="447199" y="660559"/>
                    </a:cubicBezTo>
                    <a:cubicBezTo>
                      <a:pt x="455771" y="660559"/>
                      <a:pt x="463391" y="663416"/>
                      <a:pt x="469106" y="669131"/>
                    </a:cubicBezTo>
                    <a:cubicBezTo>
                      <a:pt x="476726" y="676751"/>
                      <a:pt x="479584" y="688181"/>
                      <a:pt x="476726" y="698659"/>
                    </a:cubicBezTo>
                    <a:lnTo>
                      <a:pt x="536734" y="758666"/>
                    </a:lnTo>
                    <a:lnTo>
                      <a:pt x="1423511" y="758666"/>
                    </a:lnTo>
                    <a:lnTo>
                      <a:pt x="1546384" y="881539"/>
                    </a:lnTo>
                    <a:lnTo>
                      <a:pt x="1890236" y="881539"/>
                    </a:lnTo>
                    <a:lnTo>
                      <a:pt x="1800701" y="792004"/>
                    </a:lnTo>
                    <a:lnTo>
                      <a:pt x="1578769" y="792004"/>
                    </a:lnTo>
                    <a:cubicBezTo>
                      <a:pt x="1573054" y="801529"/>
                      <a:pt x="1563529" y="807244"/>
                      <a:pt x="1552099" y="807244"/>
                    </a:cubicBezTo>
                    <a:cubicBezTo>
                      <a:pt x="1534954" y="807244"/>
                      <a:pt x="1521619" y="793909"/>
                      <a:pt x="1521619" y="776764"/>
                    </a:cubicBezTo>
                    <a:cubicBezTo>
                      <a:pt x="1521619" y="759619"/>
                      <a:pt x="1534954" y="746284"/>
                      <a:pt x="1552099" y="746284"/>
                    </a:cubicBezTo>
                    <a:cubicBezTo>
                      <a:pt x="1563529" y="746284"/>
                      <a:pt x="1573054" y="751999"/>
                      <a:pt x="1578769" y="761524"/>
                    </a:cubicBezTo>
                    <a:lnTo>
                      <a:pt x="1813084" y="761524"/>
                    </a:lnTo>
                    <a:lnTo>
                      <a:pt x="1932146" y="880586"/>
                    </a:lnTo>
                    <a:lnTo>
                      <a:pt x="2062639" y="880586"/>
                    </a:lnTo>
                    <a:lnTo>
                      <a:pt x="2237899" y="705326"/>
                    </a:lnTo>
                    <a:lnTo>
                      <a:pt x="2118836" y="705326"/>
                    </a:lnTo>
                    <a:lnTo>
                      <a:pt x="2095024" y="729139"/>
                    </a:lnTo>
                    <a:cubicBezTo>
                      <a:pt x="2097881" y="739616"/>
                      <a:pt x="2095024" y="751046"/>
                      <a:pt x="2087404" y="758666"/>
                    </a:cubicBezTo>
                    <a:cubicBezTo>
                      <a:pt x="2081689" y="764381"/>
                      <a:pt x="2074069" y="767239"/>
                      <a:pt x="2065496" y="767239"/>
                    </a:cubicBezTo>
                    <a:cubicBezTo>
                      <a:pt x="2056924" y="767239"/>
                      <a:pt x="2049304" y="764381"/>
                      <a:pt x="2043589" y="758666"/>
                    </a:cubicBezTo>
                    <a:cubicBezTo>
                      <a:pt x="2037874" y="752951"/>
                      <a:pt x="2035016" y="745331"/>
                      <a:pt x="2035016" y="736759"/>
                    </a:cubicBezTo>
                    <a:cubicBezTo>
                      <a:pt x="2035016" y="728186"/>
                      <a:pt x="2037874" y="720566"/>
                      <a:pt x="2043589" y="714851"/>
                    </a:cubicBezTo>
                    <a:cubicBezTo>
                      <a:pt x="2049304" y="709136"/>
                      <a:pt x="2056924" y="706279"/>
                      <a:pt x="2065496" y="706279"/>
                    </a:cubicBezTo>
                    <a:cubicBezTo>
                      <a:pt x="2068354" y="706279"/>
                      <a:pt x="2071211" y="706279"/>
                      <a:pt x="2074069" y="707231"/>
                    </a:cubicBezTo>
                    <a:lnTo>
                      <a:pt x="2107406" y="673894"/>
                    </a:lnTo>
                    <a:lnTo>
                      <a:pt x="2380774" y="673894"/>
                    </a:lnTo>
                    <a:lnTo>
                      <a:pt x="2480786" y="573881"/>
                    </a:lnTo>
                    <a:lnTo>
                      <a:pt x="2959894" y="573881"/>
                    </a:lnTo>
                    <a:lnTo>
                      <a:pt x="3093244" y="440531"/>
                    </a:lnTo>
                    <a:lnTo>
                      <a:pt x="3409474" y="440531"/>
                    </a:lnTo>
                    <a:lnTo>
                      <a:pt x="3698081" y="151924"/>
                    </a:lnTo>
                    <a:lnTo>
                      <a:pt x="3527584" y="151924"/>
                    </a:lnTo>
                    <a:lnTo>
                      <a:pt x="3337084" y="342424"/>
                    </a:lnTo>
                    <a:lnTo>
                      <a:pt x="3170396" y="342424"/>
                    </a:lnTo>
                    <a:cubicBezTo>
                      <a:pt x="3164681" y="351949"/>
                      <a:pt x="3155156" y="357664"/>
                      <a:pt x="3143726" y="357664"/>
                    </a:cubicBezTo>
                    <a:cubicBezTo>
                      <a:pt x="3126581" y="357664"/>
                      <a:pt x="3113246" y="344329"/>
                      <a:pt x="3113246" y="327184"/>
                    </a:cubicBezTo>
                    <a:cubicBezTo>
                      <a:pt x="3113246" y="310039"/>
                      <a:pt x="3126581" y="296704"/>
                      <a:pt x="3143726" y="296704"/>
                    </a:cubicBezTo>
                    <a:cubicBezTo>
                      <a:pt x="3155156" y="296704"/>
                      <a:pt x="3164681" y="302419"/>
                      <a:pt x="3170396" y="311944"/>
                    </a:cubicBezTo>
                    <a:lnTo>
                      <a:pt x="3323749" y="311944"/>
                    </a:lnTo>
                    <a:lnTo>
                      <a:pt x="3514249" y="121444"/>
                    </a:lnTo>
                    <a:lnTo>
                      <a:pt x="3727609" y="121444"/>
                    </a:lnTo>
                    <a:lnTo>
                      <a:pt x="3841909" y="7144"/>
                    </a:lnTo>
                    <a:lnTo>
                      <a:pt x="4072414" y="7144"/>
                    </a:lnTo>
                    <a:lnTo>
                      <a:pt x="4172426" y="107156"/>
                    </a:lnTo>
                    <a:cubicBezTo>
                      <a:pt x="4175284" y="106204"/>
                      <a:pt x="4178141" y="106204"/>
                      <a:pt x="4180999" y="106204"/>
                    </a:cubicBezTo>
                    <a:cubicBezTo>
                      <a:pt x="4189571" y="106204"/>
                      <a:pt x="4197192" y="109061"/>
                      <a:pt x="4202906" y="114776"/>
                    </a:cubicBezTo>
                    <a:cubicBezTo>
                      <a:pt x="4208621" y="120491"/>
                      <a:pt x="4211479" y="128111"/>
                      <a:pt x="4211479" y="136684"/>
                    </a:cubicBezTo>
                    <a:cubicBezTo>
                      <a:pt x="4211479" y="145256"/>
                      <a:pt x="4208621" y="152876"/>
                      <a:pt x="4202906" y="158591"/>
                    </a:cubicBezTo>
                    <a:cubicBezTo>
                      <a:pt x="4197192" y="164306"/>
                      <a:pt x="4189571" y="167164"/>
                      <a:pt x="4180999" y="167164"/>
                    </a:cubicBezTo>
                    <a:cubicBezTo>
                      <a:pt x="4172426" y="167164"/>
                      <a:pt x="4164806" y="164306"/>
                      <a:pt x="4159091" y="158591"/>
                    </a:cubicBezTo>
                    <a:cubicBezTo>
                      <a:pt x="4151471" y="150971"/>
                      <a:pt x="4148614" y="139541"/>
                      <a:pt x="4151471" y="129064"/>
                    </a:cubicBezTo>
                    <a:lnTo>
                      <a:pt x="4060984" y="38576"/>
                    </a:lnTo>
                    <a:lnTo>
                      <a:pt x="3856196" y="38576"/>
                    </a:lnTo>
                    <a:lnTo>
                      <a:pt x="3422809" y="471964"/>
                    </a:lnTo>
                    <a:lnTo>
                      <a:pt x="3104674" y="471964"/>
                    </a:lnTo>
                    <a:lnTo>
                      <a:pt x="2767489" y="809149"/>
                    </a:lnTo>
                    <a:lnTo>
                      <a:pt x="2343626" y="809149"/>
                    </a:lnTo>
                    <a:cubicBezTo>
                      <a:pt x="2337911" y="818674"/>
                      <a:pt x="2328386" y="824389"/>
                      <a:pt x="2316956" y="824389"/>
                    </a:cubicBezTo>
                    <a:cubicBezTo>
                      <a:pt x="2299811" y="824389"/>
                      <a:pt x="2286476" y="811054"/>
                      <a:pt x="2286476" y="793909"/>
                    </a:cubicBezTo>
                    <a:cubicBezTo>
                      <a:pt x="2286476" y="776764"/>
                      <a:pt x="2299811" y="763429"/>
                      <a:pt x="2316956" y="763429"/>
                    </a:cubicBezTo>
                    <a:cubicBezTo>
                      <a:pt x="2328386" y="763429"/>
                      <a:pt x="2337911" y="769144"/>
                      <a:pt x="2343626" y="778669"/>
                    </a:cubicBezTo>
                    <a:lnTo>
                      <a:pt x="2755106" y="778669"/>
                    </a:lnTo>
                    <a:lnTo>
                      <a:pt x="2928461" y="605314"/>
                    </a:lnTo>
                    <a:lnTo>
                      <a:pt x="2492216" y="605314"/>
                    </a:lnTo>
                    <a:lnTo>
                      <a:pt x="2392204" y="705326"/>
                    </a:lnTo>
                    <a:lnTo>
                      <a:pt x="2279809" y="705326"/>
                    </a:lnTo>
                    <a:lnTo>
                      <a:pt x="2075021" y="910114"/>
                    </a:lnTo>
                    <a:lnTo>
                      <a:pt x="1533049" y="910114"/>
                    </a:lnTo>
                    <a:lnTo>
                      <a:pt x="1410176" y="787241"/>
                    </a:lnTo>
                    <a:lnTo>
                      <a:pt x="1222534" y="787241"/>
                    </a:lnTo>
                    <a:lnTo>
                      <a:pt x="1026319" y="983456"/>
                    </a:lnTo>
                    <a:lnTo>
                      <a:pt x="195739" y="983456"/>
                    </a:lnTo>
                    <a:lnTo>
                      <a:pt x="67151" y="1114901"/>
                    </a:lnTo>
                    <a:cubicBezTo>
                      <a:pt x="70009" y="1125379"/>
                      <a:pt x="67151" y="1136809"/>
                      <a:pt x="59531" y="1144429"/>
                    </a:cubicBezTo>
                    <a:cubicBezTo>
                      <a:pt x="52864" y="1150144"/>
                      <a:pt x="45244" y="1153954"/>
                      <a:pt x="37624" y="1153954"/>
                    </a:cubicBezTo>
                    <a:close/>
                  </a:path>
                </a:pathLst>
              </a:custGeom>
              <a:grpFill/>
              <a:ln w="9525" cap="flat">
                <a:noFill/>
                <a:prstDash val="solid"/>
                <a:miter/>
              </a:ln>
            </p:spPr>
            <p:txBody>
              <a:bodyPr rtlCol="0" anchor="ctr"/>
              <a:lstStyle/>
              <a:p>
                <a:endParaRPr lang="en-US"/>
              </a:p>
            </p:txBody>
          </p:sp>
          <p:sp>
            <p:nvSpPr>
              <p:cNvPr id="189" name="Freeform: Shape 176">
                <a:extLst>
                  <a:ext uri="{FF2B5EF4-FFF2-40B4-BE49-F238E27FC236}">
                    <a16:creationId xmlns:a16="http://schemas.microsoft.com/office/drawing/2014/main" id="{18B9B049-4316-954B-BCBC-60AAF6D55546}"/>
                  </a:ext>
                </a:extLst>
              </p:cNvPr>
              <p:cNvSpPr/>
              <p:nvPr/>
            </p:nvSpPr>
            <p:spPr>
              <a:xfrm>
                <a:off x="7596285" y="1665632"/>
                <a:ext cx="4200525" cy="1133475"/>
              </a:xfrm>
              <a:custGeom>
                <a:avLst/>
                <a:gdLst>
                  <a:gd name="connsiteX0" fmla="*/ 4187428 w 4200525"/>
                  <a:gd name="connsiteY0" fmla="*/ 111919 h 1133475"/>
                  <a:gd name="connsiteX1" fmla="*/ 4161711 w 4200525"/>
                  <a:gd name="connsiteY1" fmla="*/ 108109 h 1133475"/>
                  <a:gd name="connsiteX2" fmla="*/ 4060746 w 4200525"/>
                  <a:gd name="connsiteY2" fmla="*/ 7144 h 1133475"/>
                  <a:gd name="connsiteX3" fmla="*/ 3838813 w 4200525"/>
                  <a:gd name="connsiteY3" fmla="*/ 7144 h 1133475"/>
                  <a:gd name="connsiteX4" fmla="*/ 3724513 w 4200525"/>
                  <a:gd name="connsiteY4" fmla="*/ 121444 h 1133475"/>
                  <a:gd name="connsiteX5" fmla="*/ 3511153 w 4200525"/>
                  <a:gd name="connsiteY5" fmla="*/ 121444 h 1133475"/>
                  <a:gd name="connsiteX6" fmla="*/ 3320653 w 4200525"/>
                  <a:gd name="connsiteY6" fmla="*/ 311944 h 1133475"/>
                  <a:gd name="connsiteX7" fmla="*/ 3155871 w 4200525"/>
                  <a:gd name="connsiteY7" fmla="*/ 311944 h 1133475"/>
                  <a:gd name="connsiteX8" fmla="*/ 3135868 w 4200525"/>
                  <a:gd name="connsiteY8" fmla="*/ 296704 h 1133475"/>
                  <a:gd name="connsiteX9" fmla="*/ 3114913 w 4200525"/>
                  <a:gd name="connsiteY9" fmla="*/ 317659 h 1133475"/>
                  <a:gd name="connsiteX10" fmla="*/ 3135868 w 4200525"/>
                  <a:gd name="connsiteY10" fmla="*/ 338614 h 1133475"/>
                  <a:gd name="connsiteX11" fmla="*/ 3155871 w 4200525"/>
                  <a:gd name="connsiteY11" fmla="*/ 323374 h 1133475"/>
                  <a:gd name="connsiteX12" fmla="*/ 3325416 w 4200525"/>
                  <a:gd name="connsiteY12" fmla="*/ 323374 h 1133475"/>
                  <a:gd name="connsiteX13" fmla="*/ 3515916 w 4200525"/>
                  <a:gd name="connsiteY13" fmla="*/ 132874 h 1133475"/>
                  <a:gd name="connsiteX14" fmla="*/ 3713083 w 4200525"/>
                  <a:gd name="connsiteY14" fmla="*/ 132874 h 1133475"/>
                  <a:gd name="connsiteX15" fmla="*/ 3405426 w 4200525"/>
                  <a:gd name="connsiteY15" fmla="*/ 440531 h 1133475"/>
                  <a:gd name="connsiteX16" fmla="*/ 3089196 w 4200525"/>
                  <a:gd name="connsiteY16" fmla="*/ 440531 h 1133475"/>
                  <a:gd name="connsiteX17" fmla="*/ 2955846 w 4200525"/>
                  <a:gd name="connsiteY17" fmla="*/ 573881 h 1133475"/>
                  <a:gd name="connsiteX18" fmla="*/ 2476738 w 4200525"/>
                  <a:gd name="connsiteY18" fmla="*/ 573881 h 1133475"/>
                  <a:gd name="connsiteX19" fmla="*/ 2376726 w 4200525"/>
                  <a:gd name="connsiteY19" fmla="*/ 673894 h 1133475"/>
                  <a:gd name="connsiteX20" fmla="*/ 2102406 w 4200525"/>
                  <a:gd name="connsiteY20" fmla="*/ 673894 h 1133475"/>
                  <a:gd name="connsiteX21" fmla="*/ 2067163 w 4200525"/>
                  <a:gd name="connsiteY21" fmla="*/ 709136 h 1133475"/>
                  <a:gd name="connsiteX22" fmla="*/ 2041446 w 4200525"/>
                  <a:gd name="connsiteY22" fmla="*/ 712946 h 1133475"/>
                  <a:gd name="connsiteX23" fmla="*/ 2041446 w 4200525"/>
                  <a:gd name="connsiteY23" fmla="*/ 742474 h 1133475"/>
                  <a:gd name="connsiteX24" fmla="*/ 2070973 w 4200525"/>
                  <a:gd name="connsiteY24" fmla="*/ 742474 h 1133475"/>
                  <a:gd name="connsiteX25" fmla="*/ 2074783 w 4200525"/>
                  <a:gd name="connsiteY25" fmla="*/ 716756 h 1133475"/>
                  <a:gd name="connsiteX26" fmla="*/ 2106216 w 4200525"/>
                  <a:gd name="connsiteY26" fmla="*/ 685324 h 1133475"/>
                  <a:gd name="connsiteX27" fmla="*/ 2251948 w 4200525"/>
                  <a:gd name="connsiteY27" fmla="*/ 685324 h 1133475"/>
                  <a:gd name="connsiteX28" fmla="*/ 2058591 w 4200525"/>
                  <a:gd name="connsiteY28" fmla="*/ 878681 h 1133475"/>
                  <a:gd name="connsiteX29" fmla="*/ 1920478 w 4200525"/>
                  <a:gd name="connsiteY29" fmla="*/ 878681 h 1133475"/>
                  <a:gd name="connsiteX30" fmla="*/ 1801416 w 4200525"/>
                  <a:gd name="connsiteY30" fmla="*/ 759619 h 1133475"/>
                  <a:gd name="connsiteX31" fmla="*/ 1564243 w 4200525"/>
                  <a:gd name="connsiteY31" fmla="*/ 759619 h 1133475"/>
                  <a:gd name="connsiteX32" fmla="*/ 1544241 w 4200525"/>
                  <a:gd name="connsiteY32" fmla="*/ 744379 h 1133475"/>
                  <a:gd name="connsiteX33" fmla="*/ 1523286 w 4200525"/>
                  <a:gd name="connsiteY33" fmla="*/ 765334 h 1133475"/>
                  <a:gd name="connsiteX34" fmla="*/ 1544241 w 4200525"/>
                  <a:gd name="connsiteY34" fmla="*/ 786289 h 1133475"/>
                  <a:gd name="connsiteX35" fmla="*/ 1564243 w 4200525"/>
                  <a:gd name="connsiteY35" fmla="*/ 771049 h 1133475"/>
                  <a:gd name="connsiteX36" fmla="*/ 1796653 w 4200525"/>
                  <a:gd name="connsiteY36" fmla="*/ 771049 h 1133475"/>
                  <a:gd name="connsiteX37" fmla="*/ 1905238 w 4200525"/>
                  <a:gd name="connsiteY37" fmla="*/ 879634 h 1133475"/>
                  <a:gd name="connsiteX38" fmla="*/ 1533763 w 4200525"/>
                  <a:gd name="connsiteY38" fmla="*/ 879634 h 1133475"/>
                  <a:gd name="connsiteX39" fmla="*/ 1410891 w 4200525"/>
                  <a:gd name="connsiteY39" fmla="*/ 755809 h 1133475"/>
                  <a:gd name="connsiteX40" fmla="*/ 525066 w 4200525"/>
                  <a:gd name="connsiteY40" fmla="*/ 755809 h 1133475"/>
                  <a:gd name="connsiteX41" fmla="*/ 458391 w 4200525"/>
                  <a:gd name="connsiteY41" fmla="*/ 689134 h 1133475"/>
                  <a:gd name="connsiteX42" fmla="*/ 454581 w 4200525"/>
                  <a:gd name="connsiteY42" fmla="*/ 663416 h 1133475"/>
                  <a:gd name="connsiteX43" fmla="*/ 425053 w 4200525"/>
                  <a:gd name="connsiteY43" fmla="*/ 663416 h 1133475"/>
                  <a:gd name="connsiteX44" fmla="*/ 425053 w 4200525"/>
                  <a:gd name="connsiteY44" fmla="*/ 692944 h 1133475"/>
                  <a:gd name="connsiteX45" fmla="*/ 450771 w 4200525"/>
                  <a:gd name="connsiteY45" fmla="*/ 696754 h 1133475"/>
                  <a:gd name="connsiteX46" fmla="*/ 521256 w 4200525"/>
                  <a:gd name="connsiteY46" fmla="*/ 767239 h 1133475"/>
                  <a:gd name="connsiteX47" fmla="*/ 1195626 w 4200525"/>
                  <a:gd name="connsiteY47" fmla="*/ 767239 h 1133475"/>
                  <a:gd name="connsiteX48" fmla="*/ 1009888 w 4200525"/>
                  <a:gd name="connsiteY48" fmla="*/ 952976 h 1133475"/>
                  <a:gd name="connsiteX49" fmla="*/ 179308 w 4200525"/>
                  <a:gd name="connsiteY49" fmla="*/ 952976 h 1133475"/>
                  <a:gd name="connsiteX50" fmla="*/ 39291 w 4200525"/>
                  <a:gd name="connsiteY50" fmla="*/ 1092041 h 1133475"/>
                  <a:gd name="connsiteX51" fmla="*/ 13573 w 4200525"/>
                  <a:gd name="connsiteY51" fmla="*/ 1095851 h 1133475"/>
                  <a:gd name="connsiteX52" fmla="*/ 13573 w 4200525"/>
                  <a:gd name="connsiteY52" fmla="*/ 1125379 h 1133475"/>
                  <a:gd name="connsiteX53" fmla="*/ 43101 w 4200525"/>
                  <a:gd name="connsiteY53" fmla="*/ 1125379 h 1133475"/>
                  <a:gd name="connsiteX54" fmla="*/ 46911 w 4200525"/>
                  <a:gd name="connsiteY54" fmla="*/ 1099661 h 1133475"/>
                  <a:gd name="connsiteX55" fmla="*/ 183118 w 4200525"/>
                  <a:gd name="connsiteY55" fmla="*/ 963454 h 1133475"/>
                  <a:gd name="connsiteX56" fmla="*/ 1013698 w 4200525"/>
                  <a:gd name="connsiteY56" fmla="*/ 963454 h 1133475"/>
                  <a:gd name="connsiteX57" fmla="*/ 1209913 w 4200525"/>
                  <a:gd name="connsiteY57" fmla="*/ 767239 h 1133475"/>
                  <a:gd name="connsiteX58" fmla="*/ 1405176 w 4200525"/>
                  <a:gd name="connsiteY58" fmla="*/ 767239 h 1133475"/>
                  <a:gd name="connsiteX59" fmla="*/ 1528048 w 4200525"/>
                  <a:gd name="connsiteY59" fmla="*/ 890111 h 1133475"/>
                  <a:gd name="connsiteX60" fmla="*/ 2062401 w 4200525"/>
                  <a:gd name="connsiteY60" fmla="*/ 890111 h 1133475"/>
                  <a:gd name="connsiteX61" fmla="*/ 2267188 w 4200525"/>
                  <a:gd name="connsiteY61" fmla="*/ 685324 h 1133475"/>
                  <a:gd name="connsiteX62" fmla="*/ 2379583 w 4200525"/>
                  <a:gd name="connsiteY62" fmla="*/ 685324 h 1133475"/>
                  <a:gd name="connsiteX63" fmla="*/ 2479596 w 4200525"/>
                  <a:gd name="connsiteY63" fmla="*/ 585311 h 1133475"/>
                  <a:gd name="connsiteX64" fmla="*/ 2944416 w 4200525"/>
                  <a:gd name="connsiteY64" fmla="*/ 585311 h 1133475"/>
                  <a:gd name="connsiteX65" fmla="*/ 2752011 w 4200525"/>
                  <a:gd name="connsiteY65" fmla="*/ 777716 h 1133475"/>
                  <a:gd name="connsiteX66" fmla="*/ 2330053 w 4200525"/>
                  <a:gd name="connsiteY66" fmla="*/ 777716 h 1133475"/>
                  <a:gd name="connsiteX67" fmla="*/ 2310051 w 4200525"/>
                  <a:gd name="connsiteY67" fmla="*/ 762476 h 1133475"/>
                  <a:gd name="connsiteX68" fmla="*/ 2289096 w 4200525"/>
                  <a:gd name="connsiteY68" fmla="*/ 783431 h 1133475"/>
                  <a:gd name="connsiteX69" fmla="*/ 2310051 w 4200525"/>
                  <a:gd name="connsiteY69" fmla="*/ 804386 h 1133475"/>
                  <a:gd name="connsiteX70" fmla="*/ 2330053 w 4200525"/>
                  <a:gd name="connsiteY70" fmla="*/ 789146 h 1133475"/>
                  <a:gd name="connsiteX71" fmla="*/ 2756773 w 4200525"/>
                  <a:gd name="connsiteY71" fmla="*/ 789146 h 1133475"/>
                  <a:gd name="connsiteX72" fmla="*/ 3093958 w 4200525"/>
                  <a:gd name="connsiteY72" fmla="*/ 451961 h 1133475"/>
                  <a:gd name="connsiteX73" fmla="*/ 3410188 w 4200525"/>
                  <a:gd name="connsiteY73" fmla="*/ 451961 h 1133475"/>
                  <a:gd name="connsiteX74" fmla="*/ 3843576 w 4200525"/>
                  <a:gd name="connsiteY74" fmla="*/ 18574 h 1133475"/>
                  <a:gd name="connsiteX75" fmla="*/ 4056936 w 4200525"/>
                  <a:gd name="connsiteY75" fmla="*/ 18574 h 1133475"/>
                  <a:gd name="connsiteX76" fmla="*/ 4154091 w 4200525"/>
                  <a:gd name="connsiteY76" fmla="*/ 116681 h 1133475"/>
                  <a:gd name="connsiteX77" fmla="*/ 4157901 w 4200525"/>
                  <a:gd name="connsiteY77" fmla="*/ 142399 h 1133475"/>
                  <a:gd name="connsiteX78" fmla="*/ 4187428 w 4200525"/>
                  <a:gd name="connsiteY78" fmla="*/ 142399 h 1133475"/>
                  <a:gd name="connsiteX79" fmla="*/ 4187428 w 4200525"/>
                  <a:gd name="connsiteY79" fmla="*/ 111919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00525" h="1133475">
                    <a:moveTo>
                      <a:pt x="4187428" y="111919"/>
                    </a:moveTo>
                    <a:cubicBezTo>
                      <a:pt x="4180761" y="105251"/>
                      <a:pt x="4170283" y="104299"/>
                      <a:pt x="4161711" y="108109"/>
                    </a:cubicBezTo>
                    <a:lnTo>
                      <a:pt x="4060746" y="7144"/>
                    </a:lnTo>
                    <a:lnTo>
                      <a:pt x="3838813" y="7144"/>
                    </a:lnTo>
                    <a:lnTo>
                      <a:pt x="3724513" y="121444"/>
                    </a:lnTo>
                    <a:lnTo>
                      <a:pt x="3511153" y="121444"/>
                    </a:lnTo>
                    <a:lnTo>
                      <a:pt x="3320653" y="311944"/>
                    </a:lnTo>
                    <a:lnTo>
                      <a:pt x="3155871" y="311944"/>
                    </a:lnTo>
                    <a:cubicBezTo>
                      <a:pt x="3153013" y="303371"/>
                      <a:pt x="3145393" y="296704"/>
                      <a:pt x="3135868" y="296704"/>
                    </a:cubicBezTo>
                    <a:cubicBezTo>
                      <a:pt x="3124438" y="296704"/>
                      <a:pt x="3114913" y="306229"/>
                      <a:pt x="3114913" y="317659"/>
                    </a:cubicBezTo>
                    <a:cubicBezTo>
                      <a:pt x="3114913" y="329089"/>
                      <a:pt x="3124438" y="338614"/>
                      <a:pt x="3135868" y="338614"/>
                    </a:cubicBezTo>
                    <a:cubicBezTo>
                      <a:pt x="3145393" y="338614"/>
                      <a:pt x="3153966" y="331946"/>
                      <a:pt x="3155871" y="323374"/>
                    </a:cubicBezTo>
                    <a:lnTo>
                      <a:pt x="3325416" y="323374"/>
                    </a:lnTo>
                    <a:lnTo>
                      <a:pt x="3515916" y="132874"/>
                    </a:lnTo>
                    <a:lnTo>
                      <a:pt x="3713083" y="132874"/>
                    </a:lnTo>
                    <a:lnTo>
                      <a:pt x="3405426" y="440531"/>
                    </a:lnTo>
                    <a:lnTo>
                      <a:pt x="3089196" y="440531"/>
                    </a:lnTo>
                    <a:lnTo>
                      <a:pt x="2955846" y="573881"/>
                    </a:lnTo>
                    <a:lnTo>
                      <a:pt x="2476738" y="573881"/>
                    </a:lnTo>
                    <a:lnTo>
                      <a:pt x="2376726" y="673894"/>
                    </a:lnTo>
                    <a:lnTo>
                      <a:pt x="2102406" y="673894"/>
                    </a:lnTo>
                    <a:lnTo>
                      <a:pt x="2067163" y="709136"/>
                    </a:lnTo>
                    <a:cubicBezTo>
                      <a:pt x="2059543" y="704374"/>
                      <a:pt x="2049066" y="705326"/>
                      <a:pt x="2041446" y="712946"/>
                    </a:cubicBezTo>
                    <a:cubicBezTo>
                      <a:pt x="2032873" y="721519"/>
                      <a:pt x="2032873" y="734854"/>
                      <a:pt x="2041446" y="742474"/>
                    </a:cubicBezTo>
                    <a:cubicBezTo>
                      <a:pt x="2050018" y="751046"/>
                      <a:pt x="2063353" y="751046"/>
                      <a:pt x="2070973" y="742474"/>
                    </a:cubicBezTo>
                    <a:cubicBezTo>
                      <a:pt x="2077641" y="735806"/>
                      <a:pt x="2078593" y="725329"/>
                      <a:pt x="2074783" y="716756"/>
                    </a:cubicBezTo>
                    <a:lnTo>
                      <a:pt x="2106216" y="685324"/>
                    </a:lnTo>
                    <a:lnTo>
                      <a:pt x="2251948" y="685324"/>
                    </a:lnTo>
                    <a:lnTo>
                      <a:pt x="2058591" y="878681"/>
                    </a:lnTo>
                    <a:lnTo>
                      <a:pt x="1920478" y="878681"/>
                    </a:lnTo>
                    <a:lnTo>
                      <a:pt x="1801416" y="759619"/>
                    </a:lnTo>
                    <a:lnTo>
                      <a:pt x="1564243" y="759619"/>
                    </a:lnTo>
                    <a:cubicBezTo>
                      <a:pt x="1561386" y="751046"/>
                      <a:pt x="1553766" y="744379"/>
                      <a:pt x="1544241" y="744379"/>
                    </a:cubicBezTo>
                    <a:cubicBezTo>
                      <a:pt x="1532811" y="744379"/>
                      <a:pt x="1523286" y="753904"/>
                      <a:pt x="1523286" y="765334"/>
                    </a:cubicBezTo>
                    <a:cubicBezTo>
                      <a:pt x="1523286" y="776764"/>
                      <a:pt x="1532811" y="786289"/>
                      <a:pt x="1544241" y="786289"/>
                    </a:cubicBezTo>
                    <a:cubicBezTo>
                      <a:pt x="1553766" y="786289"/>
                      <a:pt x="1562338" y="779621"/>
                      <a:pt x="1564243" y="771049"/>
                    </a:cubicBezTo>
                    <a:lnTo>
                      <a:pt x="1796653" y="771049"/>
                    </a:lnTo>
                    <a:lnTo>
                      <a:pt x="1905238" y="879634"/>
                    </a:lnTo>
                    <a:lnTo>
                      <a:pt x="1533763" y="879634"/>
                    </a:lnTo>
                    <a:lnTo>
                      <a:pt x="1410891" y="755809"/>
                    </a:lnTo>
                    <a:lnTo>
                      <a:pt x="525066" y="755809"/>
                    </a:lnTo>
                    <a:lnTo>
                      <a:pt x="458391" y="689134"/>
                    </a:lnTo>
                    <a:cubicBezTo>
                      <a:pt x="463153" y="681514"/>
                      <a:pt x="462201" y="671036"/>
                      <a:pt x="454581" y="663416"/>
                    </a:cubicBezTo>
                    <a:cubicBezTo>
                      <a:pt x="446008" y="654844"/>
                      <a:pt x="432673" y="654844"/>
                      <a:pt x="425053" y="663416"/>
                    </a:cubicBezTo>
                    <a:cubicBezTo>
                      <a:pt x="416481" y="671989"/>
                      <a:pt x="416481" y="685324"/>
                      <a:pt x="425053" y="692944"/>
                    </a:cubicBezTo>
                    <a:cubicBezTo>
                      <a:pt x="431721" y="699611"/>
                      <a:pt x="442198" y="700564"/>
                      <a:pt x="450771" y="696754"/>
                    </a:cubicBezTo>
                    <a:lnTo>
                      <a:pt x="521256" y="767239"/>
                    </a:lnTo>
                    <a:lnTo>
                      <a:pt x="1195626" y="767239"/>
                    </a:lnTo>
                    <a:lnTo>
                      <a:pt x="1009888" y="952976"/>
                    </a:lnTo>
                    <a:lnTo>
                      <a:pt x="179308" y="952976"/>
                    </a:lnTo>
                    <a:lnTo>
                      <a:pt x="39291" y="1092041"/>
                    </a:lnTo>
                    <a:cubicBezTo>
                      <a:pt x="31671" y="1087279"/>
                      <a:pt x="21193" y="1088231"/>
                      <a:pt x="13573" y="1095851"/>
                    </a:cubicBezTo>
                    <a:cubicBezTo>
                      <a:pt x="5001" y="1104424"/>
                      <a:pt x="5001" y="1117759"/>
                      <a:pt x="13573" y="1125379"/>
                    </a:cubicBezTo>
                    <a:cubicBezTo>
                      <a:pt x="22146" y="1133951"/>
                      <a:pt x="35481" y="1133951"/>
                      <a:pt x="43101" y="1125379"/>
                    </a:cubicBezTo>
                    <a:cubicBezTo>
                      <a:pt x="49768" y="1118711"/>
                      <a:pt x="50721" y="1108234"/>
                      <a:pt x="46911" y="1099661"/>
                    </a:cubicBezTo>
                    <a:lnTo>
                      <a:pt x="183118" y="963454"/>
                    </a:lnTo>
                    <a:lnTo>
                      <a:pt x="1013698" y="963454"/>
                    </a:lnTo>
                    <a:lnTo>
                      <a:pt x="1209913" y="767239"/>
                    </a:lnTo>
                    <a:lnTo>
                      <a:pt x="1405176" y="767239"/>
                    </a:lnTo>
                    <a:lnTo>
                      <a:pt x="1528048" y="890111"/>
                    </a:lnTo>
                    <a:lnTo>
                      <a:pt x="2062401" y="890111"/>
                    </a:lnTo>
                    <a:lnTo>
                      <a:pt x="2267188" y="685324"/>
                    </a:lnTo>
                    <a:lnTo>
                      <a:pt x="2379583" y="685324"/>
                    </a:lnTo>
                    <a:lnTo>
                      <a:pt x="2479596" y="585311"/>
                    </a:lnTo>
                    <a:lnTo>
                      <a:pt x="2944416" y="585311"/>
                    </a:lnTo>
                    <a:lnTo>
                      <a:pt x="2752011" y="777716"/>
                    </a:lnTo>
                    <a:lnTo>
                      <a:pt x="2330053" y="777716"/>
                    </a:lnTo>
                    <a:cubicBezTo>
                      <a:pt x="2327196" y="769144"/>
                      <a:pt x="2319576" y="762476"/>
                      <a:pt x="2310051" y="762476"/>
                    </a:cubicBezTo>
                    <a:cubicBezTo>
                      <a:pt x="2298621" y="762476"/>
                      <a:pt x="2289096" y="772001"/>
                      <a:pt x="2289096" y="783431"/>
                    </a:cubicBezTo>
                    <a:cubicBezTo>
                      <a:pt x="2289096" y="794861"/>
                      <a:pt x="2298621" y="804386"/>
                      <a:pt x="2310051" y="804386"/>
                    </a:cubicBezTo>
                    <a:cubicBezTo>
                      <a:pt x="2319576" y="804386"/>
                      <a:pt x="2328148" y="797719"/>
                      <a:pt x="2330053" y="789146"/>
                    </a:cubicBezTo>
                    <a:lnTo>
                      <a:pt x="2756773" y="789146"/>
                    </a:lnTo>
                    <a:lnTo>
                      <a:pt x="3093958" y="451961"/>
                    </a:lnTo>
                    <a:lnTo>
                      <a:pt x="3410188" y="451961"/>
                    </a:lnTo>
                    <a:lnTo>
                      <a:pt x="3843576" y="18574"/>
                    </a:lnTo>
                    <a:lnTo>
                      <a:pt x="4056936" y="18574"/>
                    </a:lnTo>
                    <a:lnTo>
                      <a:pt x="4154091" y="116681"/>
                    </a:lnTo>
                    <a:cubicBezTo>
                      <a:pt x="4149328" y="124301"/>
                      <a:pt x="4150281" y="134779"/>
                      <a:pt x="4157901" y="142399"/>
                    </a:cubicBezTo>
                    <a:cubicBezTo>
                      <a:pt x="4166473" y="150971"/>
                      <a:pt x="4179808" y="150971"/>
                      <a:pt x="4187428" y="142399"/>
                    </a:cubicBezTo>
                    <a:cubicBezTo>
                      <a:pt x="4196001" y="133826"/>
                      <a:pt x="4196001" y="120491"/>
                      <a:pt x="4187428" y="111919"/>
                    </a:cubicBezTo>
                    <a:close/>
                  </a:path>
                </a:pathLst>
              </a:custGeom>
              <a:grpFill/>
              <a:ln w="9525" cap="flat">
                <a:noFill/>
                <a:prstDash val="solid"/>
                <a:miter/>
              </a:ln>
            </p:spPr>
            <p:txBody>
              <a:bodyPr rtlCol="0" anchor="ctr"/>
              <a:lstStyle/>
              <a:p>
                <a:endParaRPr lang="en-US"/>
              </a:p>
            </p:txBody>
          </p:sp>
        </p:grpSp>
        <p:grpSp>
          <p:nvGrpSpPr>
            <p:cNvPr id="35" name="Graphic 166">
              <a:extLst>
                <a:ext uri="{FF2B5EF4-FFF2-40B4-BE49-F238E27FC236}">
                  <a16:creationId xmlns:a16="http://schemas.microsoft.com/office/drawing/2014/main" id="{13451F32-29B2-AF4E-86DF-80B923E10F98}"/>
                </a:ext>
              </a:extLst>
            </p:cNvPr>
            <p:cNvGrpSpPr/>
            <p:nvPr/>
          </p:nvGrpSpPr>
          <p:grpSpPr>
            <a:xfrm>
              <a:off x="4054049" y="5011904"/>
              <a:ext cx="2667773" cy="560516"/>
              <a:chOff x="4305300" y="3052762"/>
              <a:chExt cx="3581400" cy="752475"/>
            </a:xfrm>
            <a:grpFill/>
          </p:grpSpPr>
          <p:sp>
            <p:nvSpPr>
              <p:cNvPr id="164" name="Freeform: Shape 151">
                <a:extLst>
                  <a:ext uri="{FF2B5EF4-FFF2-40B4-BE49-F238E27FC236}">
                    <a16:creationId xmlns:a16="http://schemas.microsoft.com/office/drawing/2014/main" id="{2ACDB5A9-5DDE-7E47-9F07-74419B8ACC33}"/>
                  </a:ext>
                </a:extLst>
              </p:cNvPr>
              <p:cNvSpPr/>
              <p:nvPr/>
            </p:nvSpPr>
            <p:spPr>
              <a:xfrm>
                <a:off x="4401979" y="3311366"/>
                <a:ext cx="3476625" cy="200025"/>
              </a:xfrm>
              <a:custGeom>
                <a:avLst/>
                <a:gdLst>
                  <a:gd name="connsiteX0" fmla="*/ 1497806 w 3476625"/>
                  <a:gd name="connsiteY0" fmla="*/ 7144 h 200025"/>
                  <a:gd name="connsiteX1" fmla="*/ 1822609 w 3476625"/>
                  <a:gd name="connsiteY1" fmla="*/ 7144 h 200025"/>
                  <a:gd name="connsiteX2" fmla="*/ 1899761 w 3476625"/>
                  <a:gd name="connsiteY2" fmla="*/ 84296 h 200025"/>
                  <a:gd name="connsiteX3" fmla="*/ 2174081 w 3476625"/>
                  <a:gd name="connsiteY3" fmla="*/ 84296 h 200025"/>
                  <a:gd name="connsiteX4" fmla="*/ 2240756 w 3476625"/>
                  <a:gd name="connsiteY4" fmla="*/ 17621 h 200025"/>
                  <a:gd name="connsiteX5" fmla="*/ 3470434 w 3476625"/>
                  <a:gd name="connsiteY5" fmla="*/ 17621 h 200025"/>
                  <a:gd name="connsiteX6" fmla="*/ 3470434 w 3476625"/>
                  <a:gd name="connsiteY6" fmla="*/ 24289 h 200025"/>
                  <a:gd name="connsiteX7" fmla="*/ 2243614 w 3476625"/>
                  <a:gd name="connsiteY7" fmla="*/ 24289 h 200025"/>
                  <a:gd name="connsiteX8" fmla="*/ 2176939 w 3476625"/>
                  <a:gd name="connsiteY8" fmla="*/ 90964 h 200025"/>
                  <a:gd name="connsiteX9" fmla="*/ 1896904 w 3476625"/>
                  <a:gd name="connsiteY9" fmla="*/ 90964 h 200025"/>
                  <a:gd name="connsiteX10" fmla="*/ 1819751 w 3476625"/>
                  <a:gd name="connsiteY10" fmla="*/ 13811 h 200025"/>
                  <a:gd name="connsiteX11" fmla="*/ 1500664 w 3476625"/>
                  <a:gd name="connsiteY11" fmla="*/ 13811 h 200025"/>
                  <a:gd name="connsiteX12" fmla="*/ 1432084 w 3476625"/>
                  <a:gd name="connsiteY12" fmla="*/ 120491 h 200025"/>
                  <a:gd name="connsiteX13" fmla="*/ 1057751 w 3476625"/>
                  <a:gd name="connsiteY13" fmla="*/ 120491 h 200025"/>
                  <a:gd name="connsiteX14" fmla="*/ 971074 w 3476625"/>
                  <a:gd name="connsiteY14" fmla="*/ 14764 h 200025"/>
                  <a:gd name="connsiteX15" fmla="*/ 379571 w 3476625"/>
                  <a:gd name="connsiteY15" fmla="*/ 14764 h 200025"/>
                  <a:gd name="connsiteX16" fmla="*/ 11906 w 3476625"/>
                  <a:gd name="connsiteY16" fmla="*/ 201454 h 200025"/>
                  <a:gd name="connsiteX17" fmla="*/ 7144 w 3476625"/>
                  <a:gd name="connsiteY17" fmla="*/ 196691 h 200025"/>
                  <a:gd name="connsiteX18" fmla="*/ 376714 w 3476625"/>
                  <a:gd name="connsiteY18" fmla="*/ 8096 h 200025"/>
                  <a:gd name="connsiteX19" fmla="*/ 973931 w 3476625"/>
                  <a:gd name="connsiteY19" fmla="*/ 8096 h 200025"/>
                  <a:gd name="connsiteX20" fmla="*/ 1061561 w 3476625"/>
                  <a:gd name="connsiteY20" fmla="*/ 113824 h 200025"/>
                  <a:gd name="connsiteX21" fmla="*/ 1429226 w 3476625"/>
                  <a:gd name="connsiteY21" fmla="*/ 11382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76625" h="200025">
                    <a:moveTo>
                      <a:pt x="1497806" y="7144"/>
                    </a:moveTo>
                    <a:lnTo>
                      <a:pt x="1822609" y="7144"/>
                    </a:lnTo>
                    <a:lnTo>
                      <a:pt x="1899761" y="84296"/>
                    </a:lnTo>
                    <a:lnTo>
                      <a:pt x="2174081" y="84296"/>
                    </a:lnTo>
                    <a:lnTo>
                      <a:pt x="2240756" y="17621"/>
                    </a:lnTo>
                    <a:lnTo>
                      <a:pt x="3470434" y="17621"/>
                    </a:lnTo>
                    <a:lnTo>
                      <a:pt x="3470434" y="24289"/>
                    </a:lnTo>
                    <a:lnTo>
                      <a:pt x="2243614" y="24289"/>
                    </a:lnTo>
                    <a:lnTo>
                      <a:pt x="2176939" y="90964"/>
                    </a:lnTo>
                    <a:lnTo>
                      <a:pt x="1896904" y="90964"/>
                    </a:lnTo>
                    <a:lnTo>
                      <a:pt x="1819751" y="13811"/>
                    </a:lnTo>
                    <a:lnTo>
                      <a:pt x="1500664" y="13811"/>
                    </a:lnTo>
                    <a:lnTo>
                      <a:pt x="1432084" y="120491"/>
                    </a:lnTo>
                    <a:lnTo>
                      <a:pt x="1057751" y="120491"/>
                    </a:lnTo>
                    <a:lnTo>
                      <a:pt x="971074" y="14764"/>
                    </a:lnTo>
                    <a:lnTo>
                      <a:pt x="379571" y="14764"/>
                    </a:lnTo>
                    <a:lnTo>
                      <a:pt x="11906" y="201454"/>
                    </a:lnTo>
                    <a:lnTo>
                      <a:pt x="7144" y="196691"/>
                    </a:lnTo>
                    <a:lnTo>
                      <a:pt x="376714" y="8096"/>
                    </a:lnTo>
                    <a:lnTo>
                      <a:pt x="973931" y="8096"/>
                    </a:lnTo>
                    <a:lnTo>
                      <a:pt x="1061561" y="113824"/>
                    </a:lnTo>
                    <a:lnTo>
                      <a:pt x="1429226" y="113824"/>
                    </a:lnTo>
                    <a:close/>
                  </a:path>
                </a:pathLst>
              </a:custGeom>
              <a:grpFill/>
              <a:ln w="9525" cap="flat">
                <a:noFill/>
                <a:prstDash val="solid"/>
                <a:miter/>
              </a:ln>
            </p:spPr>
            <p:txBody>
              <a:bodyPr rtlCol="0" anchor="ctr"/>
              <a:lstStyle/>
              <a:p>
                <a:endParaRPr lang="en-US"/>
              </a:p>
            </p:txBody>
          </p:sp>
          <p:sp>
            <p:nvSpPr>
              <p:cNvPr id="165" name="Freeform: Shape 152">
                <a:extLst>
                  <a:ext uri="{FF2B5EF4-FFF2-40B4-BE49-F238E27FC236}">
                    <a16:creationId xmlns:a16="http://schemas.microsoft.com/office/drawing/2014/main" id="{716B95A4-8835-D74E-BF3E-C7CE8E2F0ACA}"/>
                  </a:ext>
                </a:extLst>
              </p:cNvPr>
              <p:cNvSpPr/>
              <p:nvPr/>
            </p:nvSpPr>
            <p:spPr>
              <a:xfrm>
                <a:off x="7851934" y="331231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2859"/>
                      <a:pt x="12859" y="7144"/>
                      <a:pt x="20479" y="7144"/>
                    </a:cubicBezTo>
                    <a:close/>
                  </a:path>
                </a:pathLst>
              </a:custGeom>
              <a:grpFill/>
              <a:ln w="9525" cap="flat">
                <a:noFill/>
                <a:prstDash val="solid"/>
                <a:miter/>
              </a:ln>
            </p:spPr>
            <p:txBody>
              <a:bodyPr rtlCol="0" anchor="ctr"/>
              <a:lstStyle/>
              <a:p>
                <a:endParaRPr lang="en-US"/>
              </a:p>
            </p:txBody>
          </p:sp>
          <p:sp>
            <p:nvSpPr>
              <p:cNvPr id="166" name="Freeform: Shape 153">
                <a:extLst>
                  <a:ext uri="{FF2B5EF4-FFF2-40B4-BE49-F238E27FC236}">
                    <a16:creationId xmlns:a16="http://schemas.microsoft.com/office/drawing/2014/main" id="{E12617E0-4894-994E-95C9-528CD485B231}"/>
                  </a:ext>
                </a:extLst>
              </p:cNvPr>
              <p:cNvSpPr/>
              <p:nvPr/>
            </p:nvSpPr>
            <p:spPr>
              <a:xfrm>
                <a:off x="4391739" y="348972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67" name="Freeform: Shape 154">
                <a:extLst>
                  <a:ext uri="{FF2B5EF4-FFF2-40B4-BE49-F238E27FC236}">
                    <a16:creationId xmlns:a16="http://schemas.microsoft.com/office/drawing/2014/main" id="{B383322C-912F-EF46-AF7E-456E4C56D71C}"/>
                  </a:ext>
                </a:extLst>
              </p:cNvPr>
              <p:cNvSpPr/>
              <p:nvPr/>
            </p:nvSpPr>
            <p:spPr>
              <a:xfrm>
                <a:off x="4559141" y="3055143"/>
                <a:ext cx="2552700" cy="142875"/>
              </a:xfrm>
              <a:custGeom>
                <a:avLst/>
                <a:gdLst>
                  <a:gd name="connsiteX0" fmla="*/ 7144 w 2552700"/>
                  <a:gd name="connsiteY0" fmla="*/ 7144 h 142875"/>
                  <a:gd name="connsiteX1" fmla="*/ 101441 w 2552700"/>
                  <a:gd name="connsiteY1" fmla="*/ 7144 h 142875"/>
                  <a:gd name="connsiteX2" fmla="*/ 222409 w 2552700"/>
                  <a:gd name="connsiteY2" fmla="*/ 128111 h 142875"/>
                  <a:gd name="connsiteX3" fmla="*/ 813911 w 2552700"/>
                  <a:gd name="connsiteY3" fmla="*/ 128111 h 142875"/>
                  <a:gd name="connsiteX4" fmla="*/ 881539 w 2552700"/>
                  <a:gd name="connsiteY4" fmla="*/ 21431 h 142875"/>
                  <a:gd name="connsiteX5" fmla="*/ 1284446 w 2552700"/>
                  <a:gd name="connsiteY5" fmla="*/ 21431 h 142875"/>
                  <a:gd name="connsiteX6" fmla="*/ 1343501 w 2552700"/>
                  <a:gd name="connsiteY6" fmla="*/ 129064 h 142875"/>
                  <a:gd name="connsiteX7" fmla="*/ 1662589 w 2552700"/>
                  <a:gd name="connsiteY7" fmla="*/ 129064 h 142875"/>
                  <a:gd name="connsiteX8" fmla="*/ 1739741 w 2552700"/>
                  <a:gd name="connsiteY8" fmla="*/ 51911 h 142875"/>
                  <a:gd name="connsiteX9" fmla="*/ 2019776 w 2552700"/>
                  <a:gd name="connsiteY9" fmla="*/ 51911 h 142875"/>
                  <a:gd name="connsiteX10" fmla="*/ 2086451 w 2552700"/>
                  <a:gd name="connsiteY10" fmla="*/ 117634 h 142875"/>
                  <a:gd name="connsiteX11" fmla="*/ 2551271 w 2552700"/>
                  <a:gd name="connsiteY11" fmla="*/ 117634 h 142875"/>
                  <a:gd name="connsiteX12" fmla="*/ 2551271 w 2552700"/>
                  <a:gd name="connsiteY12" fmla="*/ 125254 h 142875"/>
                  <a:gd name="connsiteX13" fmla="*/ 2083594 w 2552700"/>
                  <a:gd name="connsiteY13" fmla="*/ 125254 h 142875"/>
                  <a:gd name="connsiteX14" fmla="*/ 2016919 w 2552700"/>
                  <a:gd name="connsiteY14" fmla="*/ 58579 h 142875"/>
                  <a:gd name="connsiteX15" fmla="*/ 1742599 w 2552700"/>
                  <a:gd name="connsiteY15" fmla="*/ 58579 h 142875"/>
                  <a:gd name="connsiteX16" fmla="*/ 1665446 w 2552700"/>
                  <a:gd name="connsiteY16" fmla="*/ 135731 h 142875"/>
                  <a:gd name="connsiteX17" fmla="*/ 1340644 w 2552700"/>
                  <a:gd name="connsiteY17" fmla="*/ 135731 h 142875"/>
                  <a:gd name="connsiteX18" fmla="*/ 1281589 w 2552700"/>
                  <a:gd name="connsiteY18" fmla="*/ 29051 h 142875"/>
                  <a:gd name="connsiteX19" fmla="*/ 885349 w 2552700"/>
                  <a:gd name="connsiteY19" fmla="*/ 29051 h 142875"/>
                  <a:gd name="connsiteX20" fmla="*/ 816769 w 2552700"/>
                  <a:gd name="connsiteY20" fmla="*/ 134779 h 142875"/>
                  <a:gd name="connsiteX21" fmla="*/ 219551 w 2552700"/>
                  <a:gd name="connsiteY21" fmla="*/ 134779 h 142875"/>
                  <a:gd name="connsiteX22" fmla="*/ 98584 w 2552700"/>
                  <a:gd name="connsiteY22" fmla="*/ 14764 h 142875"/>
                  <a:gd name="connsiteX23" fmla="*/ 7144 w 2552700"/>
                  <a:gd name="connsiteY23" fmla="*/ 1476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52700" h="142875">
                    <a:moveTo>
                      <a:pt x="7144" y="7144"/>
                    </a:moveTo>
                    <a:lnTo>
                      <a:pt x="101441" y="7144"/>
                    </a:lnTo>
                    <a:lnTo>
                      <a:pt x="222409" y="128111"/>
                    </a:lnTo>
                    <a:lnTo>
                      <a:pt x="813911" y="128111"/>
                    </a:lnTo>
                    <a:lnTo>
                      <a:pt x="881539" y="21431"/>
                    </a:lnTo>
                    <a:lnTo>
                      <a:pt x="1284446" y="21431"/>
                    </a:lnTo>
                    <a:lnTo>
                      <a:pt x="1343501" y="129064"/>
                    </a:lnTo>
                    <a:lnTo>
                      <a:pt x="1662589" y="129064"/>
                    </a:lnTo>
                    <a:lnTo>
                      <a:pt x="1739741" y="51911"/>
                    </a:lnTo>
                    <a:lnTo>
                      <a:pt x="2019776" y="51911"/>
                    </a:lnTo>
                    <a:lnTo>
                      <a:pt x="2086451" y="117634"/>
                    </a:lnTo>
                    <a:lnTo>
                      <a:pt x="2551271" y="117634"/>
                    </a:lnTo>
                    <a:lnTo>
                      <a:pt x="2551271" y="125254"/>
                    </a:lnTo>
                    <a:lnTo>
                      <a:pt x="2083594" y="125254"/>
                    </a:lnTo>
                    <a:lnTo>
                      <a:pt x="2016919" y="58579"/>
                    </a:lnTo>
                    <a:lnTo>
                      <a:pt x="1742599" y="58579"/>
                    </a:lnTo>
                    <a:lnTo>
                      <a:pt x="1665446" y="135731"/>
                    </a:lnTo>
                    <a:lnTo>
                      <a:pt x="1340644" y="135731"/>
                    </a:lnTo>
                    <a:lnTo>
                      <a:pt x="1281589" y="29051"/>
                    </a:lnTo>
                    <a:lnTo>
                      <a:pt x="885349" y="29051"/>
                    </a:lnTo>
                    <a:lnTo>
                      <a:pt x="816769" y="134779"/>
                    </a:lnTo>
                    <a:lnTo>
                      <a:pt x="219551" y="134779"/>
                    </a:lnTo>
                    <a:lnTo>
                      <a:pt x="98584" y="14764"/>
                    </a:lnTo>
                    <a:lnTo>
                      <a:pt x="7144" y="14764"/>
                    </a:lnTo>
                    <a:close/>
                  </a:path>
                </a:pathLst>
              </a:custGeom>
              <a:grpFill/>
              <a:ln w="9525" cap="flat">
                <a:noFill/>
                <a:prstDash val="solid"/>
                <a:miter/>
              </a:ln>
            </p:spPr>
            <p:txBody>
              <a:bodyPr rtlCol="0" anchor="ctr"/>
              <a:lstStyle/>
              <a:p>
                <a:endParaRPr lang="en-US"/>
              </a:p>
            </p:txBody>
          </p:sp>
          <p:sp>
            <p:nvSpPr>
              <p:cNvPr id="168" name="Freeform: Shape 155">
                <a:extLst>
                  <a:ext uri="{FF2B5EF4-FFF2-40B4-BE49-F238E27FC236}">
                    <a16:creationId xmlns:a16="http://schemas.microsoft.com/office/drawing/2014/main" id="{A1E70910-5EFB-064C-9EA2-5F3C4F340C1A}"/>
                  </a:ext>
                </a:extLst>
              </p:cNvPr>
              <p:cNvSpPr/>
              <p:nvPr/>
            </p:nvSpPr>
            <p:spPr>
              <a:xfrm>
                <a:off x="7089934" y="3156108"/>
                <a:ext cx="38100" cy="38100"/>
              </a:xfrm>
              <a:custGeom>
                <a:avLst/>
                <a:gdLst>
                  <a:gd name="connsiteX0" fmla="*/ 20479 w 38100"/>
                  <a:gd name="connsiteY0" fmla="*/ 7144 h 38100"/>
                  <a:gd name="connsiteX1" fmla="*/ 33814 w 38100"/>
                  <a:gd name="connsiteY1" fmla="*/ 20479 h 38100"/>
                  <a:gd name="connsiteX2" fmla="*/ 20479 w 38100"/>
                  <a:gd name="connsiteY2" fmla="*/ 33814 h 38100"/>
                  <a:gd name="connsiteX3" fmla="*/ 714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28099" y="7144"/>
                      <a:pt x="33814" y="12859"/>
                      <a:pt x="33814" y="20479"/>
                    </a:cubicBezTo>
                    <a:cubicBezTo>
                      <a:pt x="33814" y="28099"/>
                      <a:pt x="28099" y="33814"/>
                      <a:pt x="20479" y="33814"/>
                    </a:cubicBezTo>
                    <a:cubicBezTo>
                      <a:pt x="12859" y="33814"/>
                      <a:pt x="7144" y="28099"/>
                      <a:pt x="7144" y="20479"/>
                    </a:cubicBezTo>
                    <a:cubicBezTo>
                      <a:pt x="7144" y="13811"/>
                      <a:pt x="12859" y="7144"/>
                      <a:pt x="20479" y="7144"/>
                    </a:cubicBezTo>
                    <a:close/>
                  </a:path>
                </a:pathLst>
              </a:custGeom>
              <a:grpFill/>
              <a:ln w="9525" cap="flat">
                <a:noFill/>
                <a:prstDash val="solid"/>
                <a:miter/>
              </a:ln>
            </p:spPr>
            <p:txBody>
              <a:bodyPr rtlCol="0" anchor="ctr"/>
              <a:lstStyle/>
              <a:p>
                <a:endParaRPr lang="en-US"/>
              </a:p>
            </p:txBody>
          </p:sp>
          <p:sp>
            <p:nvSpPr>
              <p:cNvPr id="169" name="Freeform: Shape 156">
                <a:extLst>
                  <a:ext uri="{FF2B5EF4-FFF2-40B4-BE49-F238E27FC236}">
                    <a16:creationId xmlns:a16="http://schemas.microsoft.com/office/drawing/2014/main" id="{73ED4F73-C89C-8E40-9509-5A49176317FC}"/>
                  </a:ext>
                </a:extLst>
              </p:cNvPr>
              <p:cNvSpPr/>
              <p:nvPr/>
            </p:nvSpPr>
            <p:spPr>
              <a:xfrm>
                <a:off x="4546759" y="3045618"/>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70" name="Freeform: Shape 157">
                <a:extLst>
                  <a:ext uri="{FF2B5EF4-FFF2-40B4-BE49-F238E27FC236}">
                    <a16:creationId xmlns:a16="http://schemas.microsoft.com/office/drawing/2014/main" id="{6956E88A-59B1-2741-807C-D8662B0ECE51}"/>
                  </a:ext>
                </a:extLst>
              </p:cNvPr>
              <p:cNvSpPr/>
              <p:nvPr/>
            </p:nvSpPr>
            <p:spPr>
              <a:xfrm>
                <a:off x="6717506" y="3322796"/>
                <a:ext cx="676275" cy="104775"/>
              </a:xfrm>
              <a:custGeom>
                <a:avLst/>
                <a:gdLst>
                  <a:gd name="connsiteX0" fmla="*/ 668179 w 676275"/>
                  <a:gd name="connsiteY0" fmla="*/ 7144 h 104775"/>
                  <a:gd name="connsiteX1" fmla="*/ 672941 w 676275"/>
                  <a:gd name="connsiteY1" fmla="*/ 11906 h 104775"/>
                  <a:gd name="connsiteX2" fmla="*/ 471964 w 676275"/>
                  <a:gd name="connsiteY2" fmla="*/ 98584 h 104775"/>
                  <a:gd name="connsiteX3" fmla="*/ 7144 w 676275"/>
                  <a:gd name="connsiteY3" fmla="*/ 98584 h 104775"/>
                  <a:gd name="connsiteX4" fmla="*/ 7144 w 676275"/>
                  <a:gd name="connsiteY4" fmla="*/ 91916 h 104775"/>
                  <a:gd name="connsiteX5" fmla="*/ 469106 w 676275"/>
                  <a:gd name="connsiteY5" fmla="*/ 919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104775">
                    <a:moveTo>
                      <a:pt x="668179" y="7144"/>
                    </a:moveTo>
                    <a:lnTo>
                      <a:pt x="672941" y="11906"/>
                    </a:lnTo>
                    <a:lnTo>
                      <a:pt x="471964" y="98584"/>
                    </a:lnTo>
                    <a:lnTo>
                      <a:pt x="7144" y="98584"/>
                    </a:lnTo>
                    <a:lnTo>
                      <a:pt x="7144" y="91916"/>
                    </a:lnTo>
                    <a:lnTo>
                      <a:pt x="469106" y="91916"/>
                    </a:lnTo>
                    <a:close/>
                  </a:path>
                </a:pathLst>
              </a:custGeom>
              <a:grpFill/>
              <a:ln w="9525" cap="flat">
                <a:noFill/>
                <a:prstDash val="solid"/>
                <a:miter/>
              </a:ln>
            </p:spPr>
            <p:txBody>
              <a:bodyPr rtlCol="0" anchor="ctr"/>
              <a:lstStyle/>
              <a:p>
                <a:endParaRPr lang="en-US"/>
              </a:p>
            </p:txBody>
          </p:sp>
          <p:sp>
            <p:nvSpPr>
              <p:cNvPr id="171" name="Freeform: Shape 158">
                <a:extLst>
                  <a:ext uri="{FF2B5EF4-FFF2-40B4-BE49-F238E27FC236}">
                    <a16:creationId xmlns:a16="http://schemas.microsoft.com/office/drawing/2014/main" id="{25D9BF02-EB1E-EF41-B8D9-92BEAB6AD29A}"/>
                  </a:ext>
                </a:extLst>
              </p:cNvPr>
              <p:cNvSpPr/>
              <p:nvPr/>
            </p:nvSpPr>
            <p:spPr>
              <a:xfrm>
                <a:off x="6705124" y="3398043"/>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7146" y="7144"/>
                      <a:pt x="20479" y="7144"/>
                    </a:cubicBezTo>
                    <a:close/>
                  </a:path>
                </a:pathLst>
              </a:custGeom>
              <a:grpFill/>
              <a:ln w="9525" cap="flat">
                <a:noFill/>
                <a:prstDash val="solid"/>
                <a:miter/>
              </a:ln>
            </p:spPr>
            <p:txBody>
              <a:bodyPr rtlCol="0" anchor="ctr"/>
              <a:lstStyle/>
              <a:p>
                <a:endParaRPr lang="en-US"/>
              </a:p>
            </p:txBody>
          </p:sp>
          <p:sp>
            <p:nvSpPr>
              <p:cNvPr id="172" name="Freeform: Shape 159">
                <a:extLst>
                  <a:ext uri="{FF2B5EF4-FFF2-40B4-BE49-F238E27FC236}">
                    <a16:creationId xmlns:a16="http://schemas.microsoft.com/office/drawing/2014/main" id="{CA290A50-6CEB-F846-9251-CC368B211F86}"/>
                  </a:ext>
                </a:extLst>
              </p:cNvPr>
              <p:cNvSpPr/>
              <p:nvPr/>
            </p:nvSpPr>
            <p:spPr>
              <a:xfrm>
                <a:off x="5352574" y="3312318"/>
                <a:ext cx="742950" cy="485775"/>
              </a:xfrm>
              <a:custGeom>
                <a:avLst/>
                <a:gdLst>
                  <a:gd name="connsiteX0" fmla="*/ 736759 w 742950"/>
                  <a:gd name="connsiteY0" fmla="*/ 7144 h 485775"/>
                  <a:gd name="connsiteX1" fmla="*/ 741521 w 742950"/>
                  <a:gd name="connsiteY1" fmla="*/ 11906 h 485775"/>
                  <a:gd name="connsiteX2" fmla="*/ 552926 w 742950"/>
                  <a:gd name="connsiteY2" fmla="*/ 200501 h 485775"/>
                  <a:gd name="connsiteX3" fmla="*/ 260509 w 742950"/>
                  <a:gd name="connsiteY3" fmla="*/ 200501 h 485775"/>
                  <a:gd name="connsiteX4" fmla="*/ 12859 w 742950"/>
                  <a:gd name="connsiteY4" fmla="*/ 486251 h 485775"/>
                  <a:gd name="connsiteX5" fmla="*/ 7144 w 742950"/>
                  <a:gd name="connsiteY5" fmla="*/ 481489 h 485775"/>
                  <a:gd name="connsiteX6" fmla="*/ 257651 w 742950"/>
                  <a:gd name="connsiteY6" fmla="*/ 192881 h 485775"/>
                  <a:gd name="connsiteX7" fmla="*/ 550069 w 742950"/>
                  <a:gd name="connsiteY7" fmla="*/ 19288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2950" h="485775">
                    <a:moveTo>
                      <a:pt x="736759" y="7144"/>
                    </a:moveTo>
                    <a:lnTo>
                      <a:pt x="741521" y="11906"/>
                    </a:lnTo>
                    <a:lnTo>
                      <a:pt x="552926" y="200501"/>
                    </a:lnTo>
                    <a:lnTo>
                      <a:pt x="260509" y="200501"/>
                    </a:lnTo>
                    <a:lnTo>
                      <a:pt x="12859" y="486251"/>
                    </a:lnTo>
                    <a:lnTo>
                      <a:pt x="7144" y="481489"/>
                    </a:lnTo>
                    <a:lnTo>
                      <a:pt x="257651" y="192881"/>
                    </a:lnTo>
                    <a:lnTo>
                      <a:pt x="550069" y="192881"/>
                    </a:lnTo>
                    <a:close/>
                  </a:path>
                </a:pathLst>
              </a:custGeom>
              <a:grpFill/>
              <a:ln w="9525" cap="flat">
                <a:noFill/>
                <a:prstDash val="solid"/>
                <a:miter/>
              </a:ln>
            </p:spPr>
            <p:txBody>
              <a:bodyPr rtlCol="0" anchor="ctr"/>
              <a:lstStyle/>
              <a:p>
                <a:endParaRPr lang="en-US"/>
              </a:p>
            </p:txBody>
          </p:sp>
          <p:sp>
            <p:nvSpPr>
              <p:cNvPr id="173" name="Freeform: Shape 160">
                <a:extLst>
                  <a:ext uri="{FF2B5EF4-FFF2-40B4-BE49-F238E27FC236}">
                    <a16:creationId xmlns:a16="http://schemas.microsoft.com/office/drawing/2014/main" id="{3B1D840E-3B3E-0A43-ACA7-ADDEA95D45CE}"/>
                  </a:ext>
                </a:extLst>
              </p:cNvPr>
              <p:cNvSpPr/>
              <p:nvPr/>
            </p:nvSpPr>
            <p:spPr>
              <a:xfrm>
                <a:off x="5343287" y="3775709"/>
                <a:ext cx="38100" cy="38100"/>
              </a:xfrm>
              <a:custGeom>
                <a:avLst/>
                <a:gdLst>
                  <a:gd name="connsiteX0" fmla="*/ 10716 w 38100"/>
                  <a:gd name="connsiteY0" fmla="*/ 11430 h 38100"/>
                  <a:gd name="connsiteX1" fmla="*/ 10716 w 38100"/>
                  <a:gd name="connsiteY1" fmla="*/ 30480 h 38100"/>
                  <a:gd name="connsiteX2" fmla="*/ 29766 w 38100"/>
                  <a:gd name="connsiteY2" fmla="*/ 30480 h 38100"/>
                  <a:gd name="connsiteX3" fmla="*/ 29766 w 38100"/>
                  <a:gd name="connsiteY3" fmla="*/ 11430 h 38100"/>
                  <a:gd name="connsiteX4" fmla="*/ 10716 w 38100"/>
                  <a:gd name="connsiteY4" fmla="*/ 1143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1430"/>
                    </a:moveTo>
                    <a:cubicBezTo>
                      <a:pt x="5953" y="16192"/>
                      <a:pt x="5953" y="24765"/>
                      <a:pt x="10716" y="30480"/>
                    </a:cubicBezTo>
                    <a:cubicBezTo>
                      <a:pt x="15478" y="35242"/>
                      <a:pt x="24051" y="35242"/>
                      <a:pt x="29766" y="30480"/>
                    </a:cubicBezTo>
                    <a:cubicBezTo>
                      <a:pt x="34528" y="25717"/>
                      <a:pt x="34528" y="17145"/>
                      <a:pt x="29766" y="11430"/>
                    </a:cubicBezTo>
                    <a:cubicBezTo>
                      <a:pt x="24051" y="5715"/>
                      <a:pt x="15478" y="5715"/>
                      <a:pt x="10716" y="11430"/>
                    </a:cubicBezTo>
                    <a:close/>
                  </a:path>
                </a:pathLst>
              </a:custGeom>
              <a:grpFill/>
              <a:ln w="9525" cap="flat">
                <a:noFill/>
                <a:prstDash val="solid"/>
                <a:miter/>
              </a:ln>
            </p:spPr>
            <p:txBody>
              <a:bodyPr rtlCol="0" anchor="ctr"/>
              <a:lstStyle/>
              <a:p>
                <a:endParaRPr lang="en-US"/>
              </a:p>
            </p:txBody>
          </p:sp>
          <p:sp>
            <p:nvSpPr>
              <p:cNvPr id="174" name="Freeform: Shape 161">
                <a:extLst>
                  <a:ext uri="{FF2B5EF4-FFF2-40B4-BE49-F238E27FC236}">
                    <a16:creationId xmlns:a16="http://schemas.microsoft.com/office/drawing/2014/main" id="{51F695EE-5B37-7346-8C06-AD0EC21F8C3F}"/>
                  </a:ext>
                </a:extLst>
              </p:cNvPr>
              <p:cNvSpPr/>
              <p:nvPr/>
            </p:nvSpPr>
            <p:spPr>
              <a:xfrm>
                <a:off x="4308634" y="3313271"/>
                <a:ext cx="1009650" cy="428625"/>
              </a:xfrm>
              <a:custGeom>
                <a:avLst/>
                <a:gdLst>
                  <a:gd name="connsiteX0" fmla="*/ 998696 w 1009650"/>
                  <a:gd name="connsiteY0" fmla="*/ 7144 h 428625"/>
                  <a:gd name="connsiteX1" fmla="*/ 1003459 w 1009650"/>
                  <a:gd name="connsiteY1" fmla="*/ 11906 h 428625"/>
                  <a:gd name="connsiteX2" fmla="*/ 912019 w 1009650"/>
                  <a:gd name="connsiteY2" fmla="*/ 103346 h 428625"/>
                  <a:gd name="connsiteX3" fmla="*/ 646271 w 1009650"/>
                  <a:gd name="connsiteY3" fmla="*/ 103346 h 428625"/>
                  <a:gd name="connsiteX4" fmla="*/ 476726 w 1009650"/>
                  <a:gd name="connsiteY4" fmla="*/ 272891 h 428625"/>
                  <a:gd name="connsiteX5" fmla="*/ 306229 w 1009650"/>
                  <a:gd name="connsiteY5" fmla="*/ 272891 h 428625"/>
                  <a:gd name="connsiteX6" fmla="*/ 11906 w 1009650"/>
                  <a:gd name="connsiteY6" fmla="*/ 424339 h 428625"/>
                  <a:gd name="connsiteX7" fmla="*/ 7144 w 1009650"/>
                  <a:gd name="connsiteY7" fmla="*/ 419576 h 428625"/>
                  <a:gd name="connsiteX8" fmla="*/ 303371 w 1009650"/>
                  <a:gd name="connsiteY8" fmla="*/ 266224 h 428625"/>
                  <a:gd name="connsiteX9" fmla="*/ 472916 w 1009650"/>
                  <a:gd name="connsiteY9" fmla="*/ 266224 h 428625"/>
                  <a:gd name="connsiteX10" fmla="*/ 643414 w 1009650"/>
                  <a:gd name="connsiteY10" fmla="*/ 95726 h 428625"/>
                  <a:gd name="connsiteX11" fmla="*/ 909161 w 1009650"/>
                  <a:gd name="connsiteY11" fmla="*/ 95726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650" h="428625">
                    <a:moveTo>
                      <a:pt x="998696" y="7144"/>
                    </a:moveTo>
                    <a:lnTo>
                      <a:pt x="1003459" y="11906"/>
                    </a:lnTo>
                    <a:lnTo>
                      <a:pt x="912019" y="103346"/>
                    </a:lnTo>
                    <a:lnTo>
                      <a:pt x="646271" y="103346"/>
                    </a:lnTo>
                    <a:lnTo>
                      <a:pt x="476726" y="272891"/>
                    </a:lnTo>
                    <a:lnTo>
                      <a:pt x="306229" y="272891"/>
                    </a:lnTo>
                    <a:lnTo>
                      <a:pt x="11906" y="424339"/>
                    </a:lnTo>
                    <a:lnTo>
                      <a:pt x="7144" y="419576"/>
                    </a:lnTo>
                    <a:lnTo>
                      <a:pt x="303371" y="266224"/>
                    </a:lnTo>
                    <a:lnTo>
                      <a:pt x="472916" y="266224"/>
                    </a:lnTo>
                    <a:lnTo>
                      <a:pt x="643414" y="95726"/>
                    </a:lnTo>
                    <a:lnTo>
                      <a:pt x="909161" y="95726"/>
                    </a:lnTo>
                    <a:close/>
                  </a:path>
                </a:pathLst>
              </a:custGeom>
              <a:grpFill/>
              <a:ln w="9525" cap="flat">
                <a:noFill/>
                <a:prstDash val="solid"/>
                <a:miter/>
              </a:ln>
            </p:spPr>
            <p:txBody>
              <a:bodyPr rtlCol="0" anchor="ctr"/>
              <a:lstStyle/>
              <a:p>
                <a:endParaRPr lang="en-US"/>
              </a:p>
            </p:txBody>
          </p:sp>
          <p:sp>
            <p:nvSpPr>
              <p:cNvPr id="175" name="Freeform: Shape 162">
                <a:extLst>
                  <a:ext uri="{FF2B5EF4-FFF2-40B4-BE49-F238E27FC236}">
                    <a16:creationId xmlns:a16="http://schemas.microsoft.com/office/drawing/2014/main" id="{5B5B3D53-6F6A-1A4A-8058-AE83C937017C}"/>
                  </a:ext>
                </a:extLst>
              </p:cNvPr>
              <p:cNvSpPr/>
              <p:nvPr/>
            </p:nvSpPr>
            <p:spPr>
              <a:xfrm>
                <a:off x="4298394" y="3714511"/>
                <a:ext cx="38100" cy="38100"/>
              </a:xfrm>
              <a:custGeom>
                <a:avLst/>
                <a:gdLst>
                  <a:gd name="connsiteX0" fmla="*/ 10716 w 38100"/>
                  <a:gd name="connsiteY0" fmla="*/ 10716 h 38100"/>
                  <a:gd name="connsiteX1" fmla="*/ 10716 w 38100"/>
                  <a:gd name="connsiteY1" fmla="*/ 29766 h 38100"/>
                  <a:gd name="connsiteX2" fmla="*/ 29766 w 38100"/>
                  <a:gd name="connsiteY2" fmla="*/ 29766 h 38100"/>
                  <a:gd name="connsiteX3" fmla="*/ 29766 w 38100"/>
                  <a:gd name="connsiteY3" fmla="*/ 10716 h 38100"/>
                  <a:gd name="connsiteX4" fmla="*/ 1071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0716" y="10716"/>
                    </a:moveTo>
                    <a:cubicBezTo>
                      <a:pt x="5953" y="15478"/>
                      <a:pt x="5953" y="24051"/>
                      <a:pt x="10716" y="29766"/>
                    </a:cubicBezTo>
                    <a:cubicBezTo>
                      <a:pt x="15478" y="34528"/>
                      <a:pt x="24051" y="34528"/>
                      <a:pt x="29766" y="29766"/>
                    </a:cubicBezTo>
                    <a:cubicBezTo>
                      <a:pt x="34528" y="25003"/>
                      <a:pt x="34528" y="16431"/>
                      <a:pt x="29766" y="10716"/>
                    </a:cubicBezTo>
                    <a:cubicBezTo>
                      <a:pt x="24051" y="5953"/>
                      <a:pt x="15478" y="5953"/>
                      <a:pt x="10716" y="10716"/>
                    </a:cubicBezTo>
                    <a:close/>
                  </a:path>
                </a:pathLst>
              </a:custGeom>
              <a:grpFill/>
              <a:ln w="9525" cap="flat">
                <a:noFill/>
                <a:prstDash val="solid"/>
                <a:miter/>
              </a:ln>
            </p:spPr>
            <p:txBody>
              <a:bodyPr rtlCol="0" anchor="ctr"/>
              <a:lstStyle/>
              <a:p>
                <a:endParaRPr lang="en-US"/>
              </a:p>
            </p:txBody>
          </p:sp>
          <p:sp>
            <p:nvSpPr>
              <p:cNvPr id="176" name="Freeform: Shape 163">
                <a:extLst>
                  <a:ext uri="{FF2B5EF4-FFF2-40B4-BE49-F238E27FC236}">
                    <a16:creationId xmlns:a16="http://schemas.microsoft.com/office/drawing/2014/main" id="{F1DC8826-96E5-5645-B26D-1492561C70BA}"/>
                  </a:ext>
                </a:extLst>
              </p:cNvPr>
              <p:cNvSpPr/>
              <p:nvPr/>
            </p:nvSpPr>
            <p:spPr>
              <a:xfrm>
                <a:off x="6470809" y="3194208"/>
                <a:ext cx="1076325" cy="142875"/>
              </a:xfrm>
              <a:custGeom>
                <a:avLst/>
                <a:gdLst>
                  <a:gd name="connsiteX0" fmla="*/ 11906 w 1076325"/>
                  <a:gd name="connsiteY0" fmla="*/ 7144 h 142875"/>
                  <a:gd name="connsiteX1" fmla="*/ 50006 w 1076325"/>
                  <a:gd name="connsiteY1" fmla="*/ 45244 h 142875"/>
                  <a:gd name="connsiteX2" fmla="*/ 869156 w 1076325"/>
                  <a:gd name="connsiteY2" fmla="*/ 45244 h 142875"/>
                  <a:gd name="connsiteX3" fmla="*/ 1072991 w 1076325"/>
                  <a:gd name="connsiteY3" fmla="*/ 134779 h 142875"/>
                  <a:gd name="connsiteX4" fmla="*/ 1068229 w 1076325"/>
                  <a:gd name="connsiteY4" fmla="*/ 139541 h 142875"/>
                  <a:gd name="connsiteX5" fmla="*/ 866299 w 1076325"/>
                  <a:gd name="connsiteY5" fmla="*/ 51911 h 142875"/>
                  <a:gd name="connsiteX6" fmla="*/ 47149 w 1076325"/>
                  <a:gd name="connsiteY6" fmla="*/ 51911 h 142875"/>
                  <a:gd name="connsiteX7" fmla="*/ 7144 w 1076325"/>
                  <a:gd name="connsiteY7" fmla="*/ 12859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5" h="142875">
                    <a:moveTo>
                      <a:pt x="11906" y="7144"/>
                    </a:moveTo>
                    <a:lnTo>
                      <a:pt x="50006" y="45244"/>
                    </a:lnTo>
                    <a:lnTo>
                      <a:pt x="869156" y="45244"/>
                    </a:lnTo>
                    <a:lnTo>
                      <a:pt x="1072991" y="134779"/>
                    </a:lnTo>
                    <a:lnTo>
                      <a:pt x="1068229" y="139541"/>
                    </a:lnTo>
                    <a:lnTo>
                      <a:pt x="866299" y="51911"/>
                    </a:lnTo>
                    <a:lnTo>
                      <a:pt x="47149" y="51911"/>
                    </a:lnTo>
                    <a:lnTo>
                      <a:pt x="7144" y="12859"/>
                    </a:lnTo>
                    <a:close/>
                  </a:path>
                </a:pathLst>
              </a:custGeom>
              <a:grpFill/>
              <a:ln w="9525" cap="flat">
                <a:noFill/>
                <a:prstDash val="solid"/>
                <a:miter/>
              </a:ln>
            </p:spPr>
            <p:txBody>
              <a:bodyPr rtlCol="0" anchor="ctr"/>
              <a:lstStyle/>
              <a:p>
                <a:endParaRPr lang="en-US"/>
              </a:p>
            </p:txBody>
          </p:sp>
          <p:sp>
            <p:nvSpPr>
              <p:cNvPr id="177" name="Freeform: Shape 164">
                <a:extLst>
                  <a:ext uri="{FF2B5EF4-FFF2-40B4-BE49-F238E27FC236}">
                    <a16:creationId xmlns:a16="http://schemas.microsoft.com/office/drawing/2014/main" id="{2C26C2B6-B947-1442-86CB-77D46CCB2457}"/>
                  </a:ext>
                </a:extLst>
              </p:cNvPr>
              <p:cNvSpPr/>
              <p:nvPr/>
            </p:nvSpPr>
            <p:spPr>
              <a:xfrm>
                <a:off x="6460569" y="3184921"/>
                <a:ext cx="38100" cy="38100"/>
              </a:xfrm>
              <a:custGeom>
                <a:avLst/>
                <a:gdLst>
                  <a:gd name="connsiteX0" fmla="*/ 29766 w 38100"/>
                  <a:gd name="connsiteY0" fmla="*/ 10716 h 38100"/>
                  <a:gd name="connsiteX1" fmla="*/ 10716 w 38100"/>
                  <a:gd name="connsiteY1" fmla="*/ 10716 h 38100"/>
                  <a:gd name="connsiteX2" fmla="*/ 10716 w 38100"/>
                  <a:gd name="connsiteY2" fmla="*/ 29766 h 38100"/>
                  <a:gd name="connsiteX3" fmla="*/ 29766 w 38100"/>
                  <a:gd name="connsiteY3" fmla="*/ 29766 h 38100"/>
                  <a:gd name="connsiteX4" fmla="*/ 29766 w 38100"/>
                  <a:gd name="connsiteY4" fmla="*/ 1071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9766" y="10716"/>
                    </a:moveTo>
                    <a:cubicBezTo>
                      <a:pt x="25003" y="5953"/>
                      <a:pt x="16431" y="5953"/>
                      <a:pt x="10716" y="10716"/>
                    </a:cubicBezTo>
                    <a:cubicBezTo>
                      <a:pt x="5953" y="15478"/>
                      <a:pt x="5953" y="24051"/>
                      <a:pt x="10716" y="29766"/>
                    </a:cubicBezTo>
                    <a:cubicBezTo>
                      <a:pt x="15478" y="34528"/>
                      <a:pt x="24051" y="34528"/>
                      <a:pt x="29766" y="29766"/>
                    </a:cubicBezTo>
                    <a:cubicBezTo>
                      <a:pt x="34528" y="24051"/>
                      <a:pt x="34528" y="15478"/>
                      <a:pt x="29766" y="10716"/>
                    </a:cubicBezTo>
                    <a:close/>
                  </a:path>
                </a:pathLst>
              </a:custGeom>
              <a:grpFill/>
              <a:ln w="9525" cap="flat">
                <a:noFill/>
                <a:prstDash val="solid"/>
                <a:miter/>
              </a:ln>
            </p:spPr>
            <p:txBody>
              <a:bodyPr rtlCol="0" anchor="ctr"/>
              <a:lstStyle/>
              <a:p>
                <a:endParaRPr lang="en-US"/>
              </a:p>
            </p:txBody>
          </p:sp>
          <p:sp>
            <p:nvSpPr>
              <p:cNvPr id="178" name="Freeform: Shape 165">
                <a:extLst>
                  <a:ext uri="{FF2B5EF4-FFF2-40B4-BE49-F238E27FC236}">
                    <a16:creationId xmlns:a16="http://schemas.microsoft.com/office/drawing/2014/main" id="{67A21678-DA6E-C64A-964E-E3CF928D8BC1}"/>
                  </a:ext>
                </a:extLst>
              </p:cNvPr>
              <p:cNvSpPr/>
              <p:nvPr/>
            </p:nvSpPr>
            <p:spPr>
              <a:xfrm>
                <a:off x="5156359" y="3240881"/>
                <a:ext cx="590550" cy="190500"/>
              </a:xfrm>
              <a:custGeom>
                <a:avLst/>
                <a:gdLst>
                  <a:gd name="connsiteX0" fmla="*/ 7144 w 590550"/>
                  <a:gd name="connsiteY0" fmla="*/ 7144 h 190500"/>
                  <a:gd name="connsiteX1" fmla="*/ 408146 w 590550"/>
                  <a:gd name="connsiteY1" fmla="*/ 7144 h 190500"/>
                  <a:gd name="connsiteX2" fmla="*/ 585311 w 590550"/>
                  <a:gd name="connsiteY2" fmla="*/ 184309 h 190500"/>
                  <a:gd name="connsiteX3" fmla="*/ 580549 w 590550"/>
                  <a:gd name="connsiteY3" fmla="*/ 189071 h 190500"/>
                  <a:gd name="connsiteX4" fmla="*/ 405289 w 590550"/>
                  <a:gd name="connsiteY4" fmla="*/ 13811 h 190500"/>
                  <a:gd name="connsiteX5" fmla="*/ 7144 w 590550"/>
                  <a:gd name="connsiteY5" fmla="*/ 1381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550" h="190500">
                    <a:moveTo>
                      <a:pt x="7144" y="7144"/>
                    </a:moveTo>
                    <a:lnTo>
                      <a:pt x="408146" y="7144"/>
                    </a:lnTo>
                    <a:lnTo>
                      <a:pt x="585311" y="184309"/>
                    </a:lnTo>
                    <a:lnTo>
                      <a:pt x="580549" y="189071"/>
                    </a:lnTo>
                    <a:lnTo>
                      <a:pt x="405289" y="13811"/>
                    </a:lnTo>
                    <a:lnTo>
                      <a:pt x="7144" y="13811"/>
                    </a:lnTo>
                    <a:close/>
                  </a:path>
                </a:pathLst>
              </a:custGeom>
              <a:grpFill/>
              <a:ln w="9525" cap="flat">
                <a:noFill/>
                <a:prstDash val="solid"/>
                <a:miter/>
              </a:ln>
            </p:spPr>
            <p:txBody>
              <a:bodyPr rtlCol="0" anchor="ctr"/>
              <a:lstStyle/>
              <a:p>
                <a:endParaRPr lang="en-US"/>
              </a:p>
            </p:txBody>
          </p:sp>
          <p:sp>
            <p:nvSpPr>
              <p:cNvPr id="179" name="Freeform: Shape 166">
                <a:extLst>
                  <a:ext uri="{FF2B5EF4-FFF2-40B4-BE49-F238E27FC236}">
                    <a16:creationId xmlns:a16="http://schemas.microsoft.com/office/drawing/2014/main" id="{CF9CBBAF-B7F7-854D-BC49-1E9F2C6D8CC4}"/>
                  </a:ext>
                </a:extLst>
              </p:cNvPr>
              <p:cNvSpPr/>
              <p:nvPr/>
            </p:nvSpPr>
            <p:spPr>
              <a:xfrm>
                <a:off x="5134451" y="323135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3814" y="12859"/>
                      <a:pt x="28099" y="7144"/>
                      <a:pt x="20479" y="7144"/>
                    </a:cubicBezTo>
                    <a:close/>
                  </a:path>
                </a:pathLst>
              </a:custGeom>
              <a:grpFill/>
              <a:ln w="9525" cap="flat">
                <a:noFill/>
                <a:prstDash val="solid"/>
                <a:miter/>
              </a:ln>
            </p:spPr>
            <p:txBody>
              <a:bodyPr rtlCol="0" anchor="ctr"/>
              <a:lstStyle/>
              <a:p>
                <a:endParaRPr lang="en-US"/>
              </a:p>
            </p:txBody>
          </p:sp>
          <p:sp>
            <p:nvSpPr>
              <p:cNvPr id="180" name="Freeform: Shape 167">
                <a:extLst>
                  <a:ext uri="{FF2B5EF4-FFF2-40B4-BE49-F238E27FC236}">
                    <a16:creationId xmlns:a16="http://schemas.microsoft.com/office/drawing/2014/main" id="{475D2AAE-CB1B-234B-ACA8-CCFB828A4516}"/>
                  </a:ext>
                </a:extLst>
              </p:cNvPr>
              <p:cNvSpPr/>
              <p:nvPr/>
            </p:nvSpPr>
            <p:spPr>
              <a:xfrm>
                <a:off x="5084921" y="3377088"/>
                <a:ext cx="361950" cy="95250"/>
              </a:xfrm>
              <a:custGeom>
                <a:avLst/>
                <a:gdLst>
                  <a:gd name="connsiteX0" fmla="*/ 349091 w 361950"/>
                  <a:gd name="connsiteY0" fmla="*/ 7144 h 95250"/>
                  <a:gd name="connsiteX1" fmla="*/ 354806 w 361950"/>
                  <a:gd name="connsiteY1" fmla="*/ 12859 h 95250"/>
                  <a:gd name="connsiteX2" fmla="*/ 271939 w 361950"/>
                  <a:gd name="connsiteY2" fmla="*/ 94774 h 95250"/>
                  <a:gd name="connsiteX3" fmla="*/ 7144 w 361950"/>
                  <a:gd name="connsiteY3" fmla="*/ 94774 h 95250"/>
                  <a:gd name="connsiteX4" fmla="*/ 7144 w 361950"/>
                  <a:gd name="connsiteY4" fmla="*/ 88106 h 95250"/>
                  <a:gd name="connsiteX5" fmla="*/ 269081 w 361950"/>
                  <a:gd name="connsiteY5" fmla="*/ 8810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1950" h="95250">
                    <a:moveTo>
                      <a:pt x="349091" y="7144"/>
                    </a:moveTo>
                    <a:lnTo>
                      <a:pt x="354806" y="12859"/>
                    </a:lnTo>
                    <a:lnTo>
                      <a:pt x="271939" y="94774"/>
                    </a:lnTo>
                    <a:lnTo>
                      <a:pt x="7144" y="94774"/>
                    </a:lnTo>
                    <a:lnTo>
                      <a:pt x="7144" y="88106"/>
                    </a:lnTo>
                    <a:lnTo>
                      <a:pt x="269081" y="88106"/>
                    </a:lnTo>
                    <a:close/>
                  </a:path>
                </a:pathLst>
              </a:custGeom>
              <a:grpFill/>
              <a:ln w="9525" cap="flat">
                <a:noFill/>
                <a:prstDash val="solid"/>
                <a:miter/>
              </a:ln>
            </p:spPr>
            <p:txBody>
              <a:bodyPr rtlCol="0" anchor="ctr"/>
              <a:lstStyle/>
              <a:p>
                <a:endParaRPr lang="en-US"/>
              </a:p>
            </p:txBody>
          </p:sp>
          <p:sp>
            <p:nvSpPr>
              <p:cNvPr id="181" name="Freeform: Shape 168">
                <a:extLst>
                  <a:ext uri="{FF2B5EF4-FFF2-40B4-BE49-F238E27FC236}">
                    <a16:creationId xmlns:a16="http://schemas.microsoft.com/office/drawing/2014/main" id="{7E6903A6-CC3A-CB46-BFE5-3991DEAF40D4}"/>
                  </a:ext>
                </a:extLst>
              </p:cNvPr>
              <p:cNvSpPr/>
              <p:nvPr/>
            </p:nvSpPr>
            <p:spPr>
              <a:xfrm>
                <a:off x="5072539" y="3448526"/>
                <a:ext cx="38100" cy="38100"/>
              </a:xfrm>
              <a:custGeom>
                <a:avLst/>
                <a:gdLst>
                  <a:gd name="connsiteX0" fmla="*/ 20479 w 38100"/>
                  <a:gd name="connsiteY0" fmla="*/ 7144 h 38100"/>
                  <a:gd name="connsiteX1" fmla="*/ 7144 w 38100"/>
                  <a:gd name="connsiteY1" fmla="*/ 20479 h 38100"/>
                  <a:gd name="connsiteX2" fmla="*/ 20479 w 38100"/>
                  <a:gd name="connsiteY2" fmla="*/ 33814 h 38100"/>
                  <a:gd name="connsiteX3" fmla="*/ 33814 w 38100"/>
                  <a:gd name="connsiteY3" fmla="*/ 20479 h 38100"/>
                  <a:gd name="connsiteX4" fmla="*/ 20479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7144"/>
                    </a:moveTo>
                    <a:cubicBezTo>
                      <a:pt x="12859" y="7144"/>
                      <a:pt x="7144" y="12859"/>
                      <a:pt x="7144" y="20479"/>
                    </a:cubicBezTo>
                    <a:cubicBezTo>
                      <a:pt x="7144" y="28099"/>
                      <a:pt x="12859" y="33814"/>
                      <a:pt x="20479" y="33814"/>
                    </a:cubicBezTo>
                    <a:cubicBezTo>
                      <a:pt x="28099" y="33814"/>
                      <a:pt x="33814" y="28099"/>
                      <a:pt x="33814" y="20479"/>
                    </a:cubicBezTo>
                    <a:cubicBezTo>
                      <a:pt x="32861" y="12859"/>
                      <a:pt x="27146" y="7144"/>
                      <a:pt x="20479" y="7144"/>
                    </a:cubicBezTo>
                    <a:close/>
                  </a:path>
                </a:pathLst>
              </a:custGeom>
              <a:grpFill/>
              <a:ln w="9525" cap="flat">
                <a:noFill/>
                <a:prstDash val="solid"/>
                <a:miter/>
              </a:ln>
            </p:spPr>
            <p:txBody>
              <a:bodyPr rtlCol="0" anchor="ctr"/>
              <a:lstStyle/>
              <a:p>
                <a:endParaRPr lang="en-US"/>
              </a:p>
            </p:txBody>
          </p:sp>
          <p:sp>
            <p:nvSpPr>
              <p:cNvPr id="182" name="Freeform: Shape 169">
                <a:extLst>
                  <a:ext uri="{FF2B5EF4-FFF2-40B4-BE49-F238E27FC236}">
                    <a16:creationId xmlns:a16="http://schemas.microsoft.com/office/drawing/2014/main" id="{A09E4F30-A729-6942-8AFD-E6A178552248}"/>
                  </a:ext>
                </a:extLst>
              </p:cNvPr>
              <p:cNvSpPr/>
              <p:nvPr/>
            </p:nvSpPr>
            <p:spPr>
              <a:xfrm>
                <a:off x="5571649" y="3071336"/>
                <a:ext cx="809625" cy="200025"/>
              </a:xfrm>
              <a:custGeom>
                <a:avLst/>
                <a:gdLst>
                  <a:gd name="connsiteX0" fmla="*/ 11906 w 809625"/>
                  <a:gd name="connsiteY0" fmla="*/ 7144 h 200025"/>
                  <a:gd name="connsiteX1" fmla="*/ 192881 w 809625"/>
                  <a:gd name="connsiteY1" fmla="*/ 188119 h 200025"/>
                  <a:gd name="connsiteX2" fmla="*/ 808196 w 809625"/>
                  <a:gd name="connsiteY2" fmla="*/ 188119 h 200025"/>
                  <a:gd name="connsiteX3" fmla="*/ 808196 w 809625"/>
                  <a:gd name="connsiteY3" fmla="*/ 195739 h 200025"/>
                  <a:gd name="connsiteX4" fmla="*/ 190024 w 809625"/>
                  <a:gd name="connsiteY4" fmla="*/ 194786 h 200025"/>
                  <a:gd name="connsiteX5" fmla="*/ 7144 w 809625"/>
                  <a:gd name="connsiteY5" fmla="*/ 1190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5" h="200025">
                    <a:moveTo>
                      <a:pt x="11906" y="7144"/>
                    </a:moveTo>
                    <a:lnTo>
                      <a:pt x="192881" y="188119"/>
                    </a:lnTo>
                    <a:lnTo>
                      <a:pt x="808196" y="188119"/>
                    </a:lnTo>
                    <a:lnTo>
                      <a:pt x="808196" y="195739"/>
                    </a:lnTo>
                    <a:lnTo>
                      <a:pt x="190024" y="194786"/>
                    </a:lnTo>
                    <a:lnTo>
                      <a:pt x="7144" y="11906"/>
                    </a:lnTo>
                    <a:close/>
                  </a:path>
                </a:pathLst>
              </a:custGeom>
              <a:grpFill/>
              <a:ln w="9525" cap="flat">
                <a:noFill/>
                <a:prstDash val="solid"/>
                <a:miter/>
              </a:ln>
            </p:spPr>
            <p:txBody>
              <a:bodyPr rtlCol="0" anchor="ctr"/>
              <a:lstStyle/>
              <a:p>
                <a:endParaRPr lang="en-US"/>
              </a:p>
            </p:txBody>
          </p:sp>
          <p:sp>
            <p:nvSpPr>
              <p:cNvPr id="183" name="Freeform: Shape 170">
                <a:extLst>
                  <a:ext uri="{FF2B5EF4-FFF2-40B4-BE49-F238E27FC236}">
                    <a16:creationId xmlns:a16="http://schemas.microsoft.com/office/drawing/2014/main" id="{73F476E8-DE6D-5C47-80F6-9105D83C999B}"/>
                  </a:ext>
                </a:extLst>
              </p:cNvPr>
              <p:cNvSpPr/>
              <p:nvPr/>
            </p:nvSpPr>
            <p:spPr>
              <a:xfrm>
                <a:off x="6358414" y="3242786"/>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8099" y="33814"/>
                      <a:pt x="33814" y="28099"/>
                      <a:pt x="33814" y="20479"/>
                    </a:cubicBezTo>
                    <a:cubicBezTo>
                      <a:pt x="33814" y="12859"/>
                      <a:pt x="28099" y="7144"/>
                      <a:pt x="20479" y="7144"/>
                    </a:cubicBezTo>
                    <a:cubicBezTo>
                      <a:pt x="12859" y="7144"/>
                      <a:pt x="7144" y="12859"/>
                      <a:pt x="7144" y="20479"/>
                    </a:cubicBezTo>
                    <a:cubicBezTo>
                      <a:pt x="7144" y="28099"/>
                      <a:pt x="13811" y="33814"/>
                      <a:pt x="20479" y="33814"/>
                    </a:cubicBezTo>
                    <a:close/>
                  </a:path>
                </a:pathLst>
              </a:custGeom>
              <a:grpFill/>
              <a:ln w="9525" cap="flat">
                <a:noFill/>
                <a:prstDash val="solid"/>
                <a:miter/>
              </a:ln>
            </p:spPr>
            <p:txBody>
              <a:bodyPr rtlCol="0" anchor="ctr"/>
              <a:lstStyle/>
              <a:p>
                <a:endParaRPr lang="en-US"/>
              </a:p>
            </p:txBody>
          </p:sp>
        </p:grpSp>
        <p:grpSp>
          <p:nvGrpSpPr>
            <p:cNvPr id="36" name="Graphic 3">
              <a:extLst>
                <a:ext uri="{FF2B5EF4-FFF2-40B4-BE49-F238E27FC236}">
                  <a16:creationId xmlns:a16="http://schemas.microsoft.com/office/drawing/2014/main" id="{03D91299-18C6-7D45-9A9A-E3FF3E7DE7AA}"/>
                </a:ext>
              </a:extLst>
            </p:cNvPr>
            <p:cNvGrpSpPr/>
            <p:nvPr/>
          </p:nvGrpSpPr>
          <p:grpSpPr>
            <a:xfrm>
              <a:off x="4386205" y="2166705"/>
              <a:ext cx="2891731" cy="3429727"/>
              <a:chOff x="5276850" y="2457450"/>
              <a:chExt cx="1638300" cy="1943100"/>
            </a:xfrm>
            <a:grpFill/>
          </p:grpSpPr>
          <p:sp>
            <p:nvSpPr>
              <p:cNvPr id="37" name="Freeform: Shape 24">
                <a:extLst>
                  <a:ext uri="{FF2B5EF4-FFF2-40B4-BE49-F238E27FC236}">
                    <a16:creationId xmlns:a16="http://schemas.microsoft.com/office/drawing/2014/main" id="{54D302A6-6FC6-024E-8231-B977BE3D686D}"/>
                  </a:ext>
                </a:extLst>
              </p:cNvPr>
              <p:cNvSpPr/>
              <p:nvPr/>
            </p:nvSpPr>
            <p:spPr>
              <a:xfrm>
                <a:off x="6101239" y="2703671"/>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8574" y="22384"/>
                      <a:pt x="22384" y="18574"/>
                      <a:pt x="22384" y="14764"/>
                    </a:cubicBezTo>
                    <a:cubicBezTo>
                      <a:pt x="22384" y="10954"/>
                      <a:pt x="18574" y="7144"/>
                      <a:pt x="14764" y="7144"/>
                    </a:cubicBezTo>
                    <a:cubicBezTo>
                      <a:pt x="10954" y="7144"/>
                      <a:pt x="7144" y="10954"/>
                      <a:pt x="7144" y="14764"/>
                    </a:cubicBezTo>
                    <a:cubicBezTo>
                      <a:pt x="7144" y="19526"/>
                      <a:pt x="10954" y="22384"/>
                      <a:pt x="14764" y="22384"/>
                    </a:cubicBezTo>
                    <a:close/>
                  </a:path>
                </a:pathLst>
              </a:custGeom>
              <a:grpFill/>
              <a:ln w="9525" cap="flat">
                <a:noFill/>
                <a:prstDash val="solid"/>
                <a:miter/>
              </a:ln>
            </p:spPr>
            <p:txBody>
              <a:bodyPr rtlCol="0" anchor="ctr"/>
              <a:lstStyle/>
              <a:p>
                <a:endParaRPr lang="en-US"/>
              </a:p>
            </p:txBody>
          </p:sp>
          <p:sp>
            <p:nvSpPr>
              <p:cNvPr id="38" name="Freeform: Shape 25">
                <a:extLst>
                  <a:ext uri="{FF2B5EF4-FFF2-40B4-BE49-F238E27FC236}">
                    <a16:creationId xmlns:a16="http://schemas.microsoft.com/office/drawing/2014/main" id="{4CD7A4C8-A7F1-9641-903E-06499567205D}"/>
                  </a:ext>
                </a:extLst>
              </p:cNvPr>
              <p:cNvSpPr/>
              <p:nvPr/>
            </p:nvSpPr>
            <p:spPr>
              <a:xfrm>
                <a:off x="5951696" y="2877026"/>
                <a:ext cx="38100" cy="38100"/>
              </a:xfrm>
              <a:custGeom>
                <a:avLst/>
                <a:gdLst>
                  <a:gd name="connsiteX0" fmla="*/ 19526 w 38100"/>
                  <a:gd name="connsiteY0" fmla="*/ 31909 h 38100"/>
                  <a:gd name="connsiteX1" fmla="*/ 31909 w 38100"/>
                  <a:gd name="connsiteY1" fmla="*/ 19526 h 38100"/>
                  <a:gd name="connsiteX2" fmla="*/ 19526 w 38100"/>
                  <a:gd name="connsiteY2" fmla="*/ 7144 h 38100"/>
                  <a:gd name="connsiteX3" fmla="*/ 7144 w 38100"/>
                  <a:gd name="connsiteY3" fmla="*/ 19526 h 38100"/>
                  <a:gd name="connsiteX4" fmla="*/ 19526 w 38100"/>
                  <a:gd name="connsiteY4" fmla="*/ 3190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526" y="31909"/>
                    </a:moveTo>
                    <a:cubicBezTo>
                      <a:pt x="26194" y="31909"/>
                      <a:pt x="31909" y="26194"/>
                      <a:pt x="31909" y="19526"/>
                    </a:cubicBezTo>
                    <a:cubicBezTo>
                      <a:pt x="31909" y="12859"/>
                      <a:pt x="26194" y="7144"/>
                      <a:pt x="19526" y="7144"/>
                    </a:cubicBezTo>
                    <a:cubicBezTo>
                      <a:pt x="12859" y="7144"/>
                      <a:pt x="7144" y="12859"/>
                      <a:pt x="7144" y="19526"/>
                    </a:cubicBezTo>
                    <a:cubicBezTo>
                      <a:pt x="7144" y="26194"/>
                      <a:pt x="11906" y="31909"/>
                      <a:pt x="19526" y="31909"/>
                    </a:cubicBezTo>
                    <a:close/>
                  </a:path>
                </a:pathLst>
              </a:custGeom>
              <a:grpFill/>
              <a:ln w="9525" cap="flat">
                <a:noFill/>
                <a:prstDash val="solid"/>
                <a:miter/>
              </a:ln>
            </p:spPr>
            <p:txBody>
              <a:bodyPr rtlCol="0" anchor="ctr"/>
              <a:lstStyle/>
              <a:p>
                <a:endParaRPr lang="en-US"/>
              </a:p>
            </p:txBody>
          </p:sp>
          <p:sp>
            <p:nvSpPr>
              <p:cNvPr id="39" name="Freeform: Shape 26">
                <a:extLst>
                  <a:ext uri="{FF2B5EF4-FFF2-40B4-BE49-F238E27FC236}">
                    <a16:creationId xmlns:a16="http://schemas.microsoft.com/office/drawing/2014/main" id="{A57E5D30-686D-E340-B747-B7EADD095735}"/>
                  </a:ext>
                </a:extLst>
              </p:cNvPr>
              <p:cNvSpPr/>
              <p:nvPr/>
            </p:nvSpPr>
            <p:spPr>
              <a:xfrm>
                <a:off x="5698331" y="3973354"/>
                <a:ext cx="19050" cy="19050"/>
              </a:xfrm>
              <a:custGeom>
                <a:avLst/>
                <a:gdLst>
                  <a:gd name="connsiteX0" fmla="*/ 18574 w 19050"/>
                  <a:gd name="connsiteY0" fmla="*/ 12859 h 19050"/>
                  <a:gd name="connsiteX1" fmla="*/ 12859 w 19050"/>
                  <a:gd name="connsiteY1" fmla="*/ 18574 h 19050"/>
                  <a:gd name="connsiteX2" fmla="*/ 7144 w 19050"/>
                  <a:gd name="connsiteY2" fmla="*/ 12859 h 19050"/>
                  <a:gd name="connsiteX3" fmla="*/ 12859 w 19050"/>
                  <a:gd name="connsiteY3" fmla="*/ 714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6015"/>
                      <a:pt x="16015" y="18574"/>
                      <a:pt x="12859" y="18574"/>
                    </a:cubicBezTo>
                    <a:cubicBezTo>
                      <a:pt x="9702" y="18574"/>
                      <a:pt x="7144" y="16015"/>
                      <a:pt x="7144" y="12859"/>
                    </a:cubicBezTo>
                    <a:cubicBezTo>
                      <a:pt x="7144" y="9702"/>
                      <a:pt x="9702" y="7144"/>
                      <a:pt x="12859" y="7144"/>
                    </a:cubicBezTo>
                    <a:cubicBezTo>
                      <a:pt x="16015" y="7144"/>
                      <a:pt x="18574" y="9702"/>
                      <a:pt x="18574" y="12859"/>
                    </a:cubicBezTo>
                    <a:close/>
                  </a:path>
                </a:pathLst>
              </a:custGeom>
              <a:grpFill/>
              <a:ln w="9525" cap="flat">
                <a:noFill/>
                <a:prstDash val="solid"/>
                <a:miter/>
              </a:ln>
            </p:spPr>
            <p:txBody>
              <a:bodyPr rtlCol="0" anchor="ctr"/>
              <a:lstStyle/>
              <a:p>
                <a:endParaRPr lang="en-US"/>
              </a:p>
            </p:txBody>
          </p:sp>
          <p:sp>
            <p:nvSpPr>
              <p:cNvPr id="40" name="Freeform: Shape 27">
                <a:extLst>
                  <a:ext uri="{FF2B5EF4-FFF2-40B4-BE49-F238E27FC236}">
                    <a16:creationId xmlns:a16="http://schemas.microsoft.com/office/drawing/2014/main" id="{331AA567-9C5F-4E4F-BCFF-7F7EEB31027C}"/>
                  </a:ext>
                </a:extLst>
              </p:cNvPr>
              <p:cNvSpPr/>
              <p:nvPr/>
            </p:nvSpPr>
            <p:spPr>
              <a:xfrm>
                <a:off x="5746909" y="4064794"/>
                <a:ext cx="123825" cy="114300"/>
              </a:xfrm>
              <a:custGeom>
                <a:avLst/>
                <a:gdLst>
                  <a:gd name="connsiteX0" fmla="*/ 21431 w 123825"/>
                  <a:gd name="connsiteY0" fmla="*/ 61436 h 114300"/>
                  <a:gd name="connsiteX1" fmla="*/ 20479 w 123825"/>
                  <a:gd name="connsiteY1" fmla="*/ 68104 h 114300"/>
                  <a:gd name="connsiteX2" fmla="*/ 59531 w 123825"/>
                  <a:gd name="connsiteY2" fmla="*/ 107156 h 114300"/>
                  <a:gd name="connsiteX3" fmla="*/ 98584 w 123825"/>
                  <a:gd name="connsiteY3" fmla="*/ 68104 h 114300"/>
                  <a:gd name="connsiteX4" fmla="*/ 91916 w 123825"/>
                  <a:gd name="connsiteY4" fmla="*/ 46196 h 114300"/>
                  <a:gd name="connsiteX5" fmla="*/ 92869 w 123825"/>
                  <a:gd name="connsiteY5" fmla="*/ 46196 h 114300"/>
                  <a:gd name="connsiteX6" fmla="*/ 109061 w 123825"/>
                  <a:gd name="connsiteY6" fmla="*/ 30004 h 114300"/>
                  <a:gd name="connsiteX7" fmla="*/ 109061 w 123825"/>
                  <a:gd name="connsiteY7" fmla="*/ 27146 h 114300"/>
                  <a:gd name="connsiteX8" fmla="*/ 116681 w 123825"/>
                  <a:gd name="connsiteY8" fmla="*/ 17621 h 114300"/>
                  <a:gd name="connsiteX9" fmla="*/ 106204 w 123825"/>
                  <a:gd name="connsiteY9" fmla="*/ 7144 h 114300"/>
                  <a:gd name="connsiteX10" fmla="*/ 96679 w 123825"/>
                  <a:gd name="connsiteY10" fmla="*/ 13811 h 114300"/>
                  <a:gd name="connsiteX11" fmla="*/ 92869 w 123825"/>
                  <a:gd name="connsiteY11" fmla="*/ 12859 h 114300"/>
                  <a:gd name="connsiteX12" fmla="*/ 76676 w 123825"/>
                  <a:gd name="connsiteY12" fmla="*/ 29051 h 114300"/>
                  <a:gd name="connsiteX13" fmla="*/ 76676 w 123825"/>
                  <a:gd name="connsiteY13" fmla="*/ 31909 h 114300"/>
                  <a:gd name="connsiteX14" fmla="*/ 59531 w 123825"/>
                  <a:gd name="connsiteY14" fmla="*/ 28099 h 114300"/>
                  <a:gd name="connsiteX15" fmla="*/ 31909 w 123825"/>
                  <a:gd name="connsiteY15" fmla="*/ 39529 h 114300"/>
                  <a:gd name="connsiteX16" fmla="*/ 20479 w 123825"/>
                  <a:gd name="connsiteY16" fmla="*/ 33814 h 114300"/>
                  <a:gd name="connsiteX17" fmla="*/ 7144 w 123825"/>
                  <a:gd name="connsiteY17" fmla="*/ 47149 h 114300"/>
                  <a:gd name="connsiteX18" fmla="*/ 21431 w 123825"/>
                  <a:gd name="connsiteY18" fmla="*/ 61436 h 114300"/>
                  <a:gd name="connsiteX19" fmla="*/ 21431 w 123825"/>
                  <a:gd name="connsiteY19" fmla="*/ 6143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825" h="114300">
                    <a:moveTo>
                      <a:pt x="21431" y="61436"/>
                    </a:moveTo>
                    <a:cubicBezTo>
                      <a:pt x="21431" y="63341"/>
                      <a:pt x="20479" y="66199"/>
                      <a:pt x="20479" y="68104"/>
                    </a:cubicBezTo>
                    <a:cubicBezTo>
                      <a:pt x="20479" y="90011"/>
                      <a:pt x="37624" y="107156"/>
                      <a:pt x="59531" y="107156"/>
                    </a:cubicBezTo>
                    <a:cubicBezTo>
                      <a:pt x="81439" y="107156"/>
                      <a:pt x="98584" y="90011"/>
                      <a:pt x="98584" y="68104"/>
                    </a:cubicBezTo>
                    <a:cubicBezTo>
                      <a:pt x="98584" y="60484"/>
                      <a:pt x="95726" y="52864"/>
                      <a:pt x="91916" y="46196"/>
                    </a:cubicBezTo>
                    <a:cubicBezTo>
                      <a:pt x="91916" y="46196"/>
                      <a:pt x="91916" y="46196"/>
                      <a:pt x="92869" y="46196"/>
                    </a:cubicBezTo>
                    <a:cubicBezTo>
                      <a:pt x="101441" y="46196"/>
                      <a:pt x="109061" y="38576"/>
                      <a:pt x="109061" y="30004"/>
                    </a:cubicBezTo>
                    <a:cubicBezTo>
                      <a:pt x="109061" y="29051"/>
                      <a:pt x="109061" y="28099"/>
                      <a:pt x="109061" y="27146"/>
                    </a:cubicBezTo>
                    <a:cubicBezTo>
                      <a:pt x="112871" y="26194"/>
                      <a:pt x="116681" y="22384"/>
                      <a:pt x="116681" y="17621"/>
                    </a:cubicBezTo>
                    <a:cubicBezTo>
                      <a:pt x="116681" y="11906"/>
                      <a:pt x="111919" y="7144"/>
                      <a:pt x="106204" y="7144"/>
                    </a:cubicBezTo>
                    <a:cubicBezTo>
                      <a:pt x="102394" y="7144"/>
                      <a:pt x="98584" y="10001"/>
                      <a:pt x="96679" y="13811"/>
                    </a:cubicBezTo>
                    <a:cubicBezTo>
                      <a:pt x="95726" y="13811"/>
                      <a:pt x="93821" y="12859"/>
                      <a:pt x="92869" y="12859"/>
                    </a:cubicBezTo>
                    <a:cubicBezTo>
                      <a:pt x="84296" y="12859"/>
                      <a:pt x="76676" y="20479"/>
                      <a:pt x="76676" y="29051"/>
                    </a:cubicBezTo>
                    <a:cubicBezTo>
                      <a:pt x="76676" y="30004"/>
                      <a:pt x="76676" y="30956"/>
                      <a:pt x="76676" y="31909"/>
                    </a:cubicBezTo>
                    <a:cubicBezTo>
                      <a:pt x="71914" y="29051"/>
                      <a:pt x="66199" y="28099"/>
                      <a:pt x="59531" y="28099"/>
                    </a:cubicBezTo>
                    <a:cubicBezTo>
                      <a:pt x="49054" y="28099"/>
                      <a:pt x="39529" y="32861"/>
                      <a:pt x="31909" y="39529"/>
                    </a:cubicBezTo>
                    <a:cubicBezTo>
                      <a:pt x="29051" y="35719"/>
                      <a:pt x="25241" y="33814"/>
                      <a:pt x="20479" y="33814"/>
                    </a:cubicBezTo>
                    <a:cubicBezTo>
                      <a:pt x="12859" y="33814"/>
                      <a:pt x="7144" y="39529"/>
                      <a:pt x="7144" y="47149"/>
                    </a:cubicBezTo>
                    <a:cubicBezTo>
                      <a:pt x="7144" y="54769"/>
                      <a:pt x="14764" y="61436"/>
                      <a:pt x="21431" y="61436"/>
                    </a:cubicBezTo>
                    <a:cubicBezTo>
                      <a:pt x="21431" y="61436"/>
                      <a:pt x="21431" y="61436"/>
                      <a:pt x="21431" y="61436"/>
                    </a:cubicBezTo>
                    <a:close/>
                  </a:path>
                </a:pathLst>
              </a:custGeom>
              <a:grpFill/>
              <a:ln w="9525" cap="flat">
                <a:noFill/>
                <a:prstDash val="solid"/>
                <a:miter/>
              </a:ln>
            </p:spPr>
            <p:txBody>
              <a:bodyPr rtlCol="0" anchor="ctr"/>
              <a:lstStyle/>
              <a:p>
                <a:endParaRPr lang="en-US"/>
              </a:p>
            </p:txBody>
          </p:sp>
          <p:sp>
            <p:nvSpPr>
              <p:cNvPr id="41" name="Freeform: Shape 28">
                <a:extLst>
                  <a:ext uri="{FF2B5EF4-FFF2-40B4-BE49-F238E27FC236}">
                    <a16:creationId xmlns:a16="http://schemas.microsoft.com/office/drawing/2014/main" id="{F4AE7B1B-0261-8244-A1C1-C0484BE6CB31}"/>
                  </a:ext>
                </a:extLst>
              </p:cNvPr>
              <p:cNvSpPr/>
              <p:nvPr/>
            </p:nvSpPr>
            <p:spPr>
              <a:xfrm>
                <a:off x="5687854" y="3799046"/>
                <a:ext cx="28575" cy="28575"/>
              </a:xfrm>
              <a:custGeom>
                <a:avLst/>
                <a:gdLst>
                  <a:gd name="connsiteX0" fmla="*/ 24289 w 28575"/>
                  <a:gd name="connsiteY0" fmla="*/ 15716 h 28575"/>
                  <a:gd name="connsiteX1" fmla="*/ 15716 w 28575"/>
                  <a:gd name="connsiteY1" fmla="*/ 24289 h 28575"/>
                  <a:gd name="connsiteX2" fmla="*/ 7144 w 28575"/>
                  <a:gd name="connsiteY2" fmla="*/ 15716 h 28575"/>
                  <a:gd name="connsiteX3" fmla="*/ 15716 w 28575"/>
                  <a:gd name="connsiteY3" fmla="*/ 7144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20451"/>
                      <a:pt x="20451" y="24289"/>
                      <a:pt x="15716" y="24289"/>
                    </a:cubicBezTo>
                    <a:cubicBezTo>
                      <a:pt x="10982" y="24289"/>
                      <a:pt x="7144" y="20451"/>
                      <a:pt x="7144" y="15716"/>
                    </a:cubicBezTo>
                    <a:cubicBezTo>
                      <a:pt x="7144" y="10982"/>
                      <a:pt x="10982" y="7144"/>
                      <a:pt x="15716" y="7144"/>
                    </a:cubicBezTo>
                    <a:cubicBezTo>
                      <a:pt x="20451" y="7144"/>
                      <a:pt x="24289" y="10982"/>
                      <a:pt x="24289" y="15716"/>
                    </a:cubicBezTo>
                    <a:close/>
                  </a:path>
                </a:pathLst>
              </a:custGeom>
              <a:grpFill/>
              <a:ln w="9525" cap="flat">
                <a:noFill/>
                <a:prstDash val="solid"/>
                <a:miter/>
              </a:ln>
            </p:spPr>
            <p:txBody>
              <a:bodyPr rtlCol="0" anchor="ctr"/>
              <a:lstStyle/>
              <a:p>
                <a:endParaRPr lang="en-US"/>
              </a:p>
            </p:txBody>
          </p:sp>
          <p:sp>
            <p:nvSpPr>
              <p:cNvPr id="42" name="Freeform: Shape 29">
                <a:extLst>
                  <a:ext uri="{FF2B5EF4-FFF2-40B4-BE49-F238E27FC236}">
                    <a16:creationId xmlns:a16="http://schemas.microsoft.com/office/drawing/2014/main" id="{B5B713AE-8785-1A4D-8E8D-67D79BAAE8F7}"/>
                  </a:ext>
                </a:extLst>
              </p:cNvPr>
              <p:cNvSpPr/>
              <p:nvPr/>
            </p:nvSpPr>
            <p:spPr>
              <a:xfrm>
                <a:off x="5623084" y="3319939"/>
                <a:ext cx="38100" cy="38100"/>
              </a:xfrm>
              <a:custGeom>
                <a:avLst/>
                <a:gdLst>
                  <a:gd name="connsiteX0" fmla="*/ 23336 w 38100"/>
                  <a:gd name="connsiteY0" fmla="*/ 39529 h 38100"/>
                  <a:gd name="connsiteX1" fmla="*/ 39529 w 38100"/>
                  <a:gd name="connsiteY1" fmla="*/ 23336 h 38100"/>
                  <a:gd name="connsiteX2" fmla="*/ 23336 w 38100"/>
                  <a:gd name="connsiteY2" fmla="*/ 7144 h 38100"/>
                  <a:gd name="connsiteX3" fmla="*/ 7144 w 38100"/>
                  <a:gd name="connsiteY3" fmla="*/ 23336 h 38100"/>
                  <a:gd name="connsiteX4" fmla="*/ 23336 w 38100"/>
                  <a:gd name="connsiteY4" fmla="*/ 39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39529"/>
                    </a:moveTo>
                    <a:cubicBezTo>
                      <a:pt x="31909" y="39529"/>
                      <a:pt x="39529" y="31909"/>
                      <a:pt x="39529" y="23336"/>
                    </a:cubicBezTo>
                    <a:cubicBezTo>
                      <a:pt x="39529" y="14764"/>
                      <a:pt x="31909" y="7144"/>
                      <a:pt x="23336" y="7144"/>
                    </a:cubicBezTo>
                    <a:cubicBezTo>
                      <a:pt x="14764" y="7144"/>
                      <a:pt x="7144" y="14764"/>
                      <a:pt x="7144" y="23336"/>
                    </a:cubicBezTo>
                    <a:cubicBezTo>
                      <a:pt x="8096" y="31909"/>
                      <a:pt x="14764" y="39529"/>
                      <a:pt x="23336" y="39529"/>
                    </a:cubicBezTo>
                    <a:close/>
                  </a:path>
                </a:pathLst>
              </a:custGeom>
              <a:grpFill/>
              <a:ln w="9525" cap="flat">
                <a:noFill/>
                <a:prstDash val="solid"/>
                <a:miter/>
              </a:ln>
            </p:spPr>
            <p:txBody>
              <a:bodyPr rtlCol="0" anchor="ctr"/>
              <a:lstStyle/>
              <a:p>
                <a:endParaRPr lang="en-US"/>
              </a:p>
            </p:txBody>
          </p:sp>
          <p:sp>
            <p:nvSpPr>
              <p:cNvPr id="43" name="Freeform: Shape 30">
                <a:extLst>
                  <a:ext uri="{FF2B5EF4-FFF2-40B4-BE49-F238E27FC236}">
                    <a16:creationId xmlns:a16="http://schemas.microsoft.com/office/drawing/2014/main" id="{B94B7388-9040-D349-B592-931960155245}"/>
                  </a:ext>
                </a:extLst>
              </p:cNvPr>
              <p:cNvSpPr/>
              <p:nvPr/>
            </p:nvSpPr>
            <p:spPr>
              <a:xfrm>
                <a:off x="5570696" y="3153251"/>
                <a:ext cx="38100" cy="38100"/>
              </a:xfrm>
              <a:custGeom>
                <a:avLst/>
                <a:gdLst>
                  <a:gd name="connsiteX0" fmla="*/ 22384 w 38100"/>
                  <a:gd name="connsiteY0" fmla="*/ 37624 h 38100"/>
                  <a:gd name="connsiteX1" fmla="*/ 37624 w 38100"/>
                  <a:gd name="connsiteY1" fmla="*/ 22384 h 38100"/>
                  <a:gd name="connsiteX2" fmla="*/ 22384 w 38100"/>
                  <a:gd name="connsiteY2" fmla="*/ 7144 h 38100"/>
                  <a:gd name="connsiteX3" fmla="*/ 7144 w 38100"/>
                  <a:gd name="connsiteY3" fmla="*/ 22384 h 38100"/>
                  <a:gd name="connsiteX4" fmla="*/ 22384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2384" y="37624"/>
                    </a:moveTo>
                    <a:cubicBezTo>
                      <a:pt x="30956" y="37624"/>
                      <a:pt x="37624" y="30956"/>
                      <a:pt x="37624" y="22384"/>
                    </a:cubicBezTo>
                    <a:cubicBezTo>
                      <a:pt x="37624" y="13811"/>
                      <a:pt x="30956" y="7144"/>
                      <a:pt x="22384" y="7144"/>
                    </a:cubicBezTo>
                    <a:cubicBezTo>
                      <a:pt x="13811" y="7144"/>
                      <a:pt x="7144" y="13811"/>
                      <a:pt x="7144" y="22384"/>
                    </a:cubicBezTo>
                    <a:cubicBezTo>
                      <a:pt x="7144" y="30956"/>
                      <a:pt x="13811" y="37624"/>
                      <a:pt x="22384" y="37624"/>
                    </a:cubicBezTo>
                    <a:close/>
                  </a:path>
                </a:pathLst>
              </a:custGeom>
              <a:grpFill/>
              <a:ln w="9525" cap="flat">
                <a:noFill/>
                <a:prstDash val="solid"/>
                <a:miter/>
              </a:ln>
            </p:spPr>
            <p:txBody>
              <a:bodyPr rtlCol="0" anchor="ctr"/>
              <a:lstStyle/>
              <a:p>
                <a:endParaRPr lang="en-US"/>
              </a:p>
            </p:txBody>
          </p:sp>
          <p:sp>
            <p:nvSpPr>
              <p:cNvPr id="44" name="Freeform: Shape 31">
                <a:extLst>
                  <a:ext uri="{FF2B5EF4-FFF2-40B4-BE49-F238E27FC236}">
                    <a16:creationId xmlns:a16="http://schemas.microsoft.com/office/drawing/2014/main" id="{69C686D1-31DE-BA48-A8D4-806B3286540C}"/>
                  </a:ext>
                </a:extLst>
              </p:cNvPr>
              <p:cNvSpPr/>
              <p:nvPr/>
            </p:nvSpPr>
            <p:spPr>
              <a:xfrm>
                <a:off x="5729764" y="3684746"/>
                <a:ext cx="28575" cy="28575"/>
              </a:xfrm>
              <a:custGeom>
                <a:avLst/>
                <a:gdLst>
                  <a:gd name="connsiteX0" fmla="*/ 22384 w 28575"/>
                  <a:gd name="connsiteY0" fmla="*/ 14764 h 28575"/>
                  <a:gd name="connsiteX1" fmla="*/ 14764 w 28575"/>
                  <a:gd name="connsiteY1" fmla="*/ 22384 h 28575"/>
                  <a:gd name="connsiteX2" fmla="*/ 7144 w 28575"/>
                  <a:gd name="connsiteY2" fmla="*/ 14764 h 28575"/>
                  <a:gd name="connsiteX3" fmla="*/ 14764 w 28575"/>
                  <a:gd name="connsiteY3" fmla="*/ 714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8972"/>
                      <a:pt x="18972" y="22384"/>
                      <a:pt x="14764" y="22384"/>
                    </a:cubicBezTo>
                    <a:cubicBezTo>
                      <a:pt x="10555" y="22384"/>
                      <a:pt x="7144" y="18972"/>
                      <a:pt x="7144" y="14764"/>
                    </a:cubicBezTo>
                    <a:cubicBezTo>
                      <a:pt x="7144" y="10555"/>
                      <a:pt x="10555" y="7144"/>
                      <a:pt x="14764" y="7144"/>
                    </a:cubicBezTo>
                    <a:cubicBezTo>
                      <a:pt x="18972" y="7144"/>
                      <a:pt x="22384" y="10555"/>
                      <a:pt x="22384" y="14764"/>
                    </a:cubicBezTo>
                    <a:close/>
                  </a:path>
                </a:pathLst>
              </a:custGeom>
              <a:grpFill/>
              <a:ln w="9525" cap="flat">
                <a:noFill/>
                <a:prstDash val="solid"/>
                <a:miter/>
              </a:ln>
            </p:spPr>
            <p:txBody>
              <a:bodyPr rtlCol="0" anchor="ctr"/>
              <a:lstStyle/>
              <a:p>
                <a:endParaRPr lang="en-US"/>
              </a:p>
            </p:txBody>
          </p:sp>
          <p:sp>
            <p:nvSpPr>
              <p:cNvPr id="45" name="Freeform: Shape 32">
                <a:extLst>
                  <a:ext uri="{FF2B5EF4-FFF2-40B4-BE49-F238E27FC236}">
                    <a16:creationId xmlns:a16="http://schemas.microsoft.com/office/drawing/2014/main" id="{8654C416-1F30-A948-8CB4-1491BE5B01B6}"/>
                  </a:ext>
                </a:extLst>
              </p:cNvPr>
              <p:cNvSpPr/>
              <p:nvPr/>
            </p:nvSpPr>
            <p:spPr>
              <a:xfrm>
                <a:off x="6108859" y="3107531"/>
                <a:ext cx="19050" cy="19050"/>
              </a:xfrm>
              <a:custGeom>
                <a:avLst/>
                <a:gdLst>
                  <a:gd name="connsiteX0" fmla="*/ 7144 w 19050"/>
                  <a:gd name="connsiteY0" fmla="*/ 11906 h 19050"/>
                  <a:gd name="connsiteX1" fmla="*/ 11906 w 19050"/>
                  <a:gd name="connsiteY1" fmla="*/ 16669 h 19050"/>
                  <a:gd name="connsiteX2" fmla="*/ 16669 w 19050"/>
                  <a:gd name="connsiteY2" fmla="*/ 11906 h 19050"/>
                  <a:gd name="connsiteX3" fmla="*/ 10954 w 19050"/>
                  <a:gd name="connsiteY3" fmla="*/ 7144 h 19050"/>
                  <a:gd name="connsiteX4" fmla="*/ 7144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1906"/>
                    </a:moveTo>
                    <a:cubicBezTo>
                      <a:pt x="7144" y="14764"/>
                      <a:pt x="9049" y="16669"/>
                      <a:pt x="11906" y="16669"/>
                    </a:cubicBezTo>
                    <a:cubicBezTo>
                      <a:pt x="14764" y="16669"/>
                      <a:pt x="16669" y="14764"/>
                      <a:pt x="16669" y="11906"/>
                    </a:cubicBezTo>
                    <a:cubicBezTo>
                      <a:pt x="16669" y="9049"/>
                      <a:pt x="13811" y="7144"/>
                      <a:pt x="10954" y="7144"/>
                    </a:cubicBezTo>
                    <a:cubicBezTo>
                      <a:pt x="9049" y="7144"/>
                      <a:pt x="7144" y="9049"/>
                      <a:pt x="7144" y="11906"/>
                    </a:cubicBezTo>
                    <a:close/>
                  </a:path>
                </a:pathLst>
              </a:custGeom>
              <a:grpFill/>
              <a:ln w="9525" cap="flat">
                <a:noFill/>
                <a:prstDash val="solid"/>
                <a:miter/>
              </a:ln>
            </p:spPr>
            <p:txBody>
              <a:bodyPr rtlCol="0" anchor="ctr"/>
              <a:lstStyle/>
              <a:p>
                <a:endParaRPr lang="en-US"/>
              </a:p>
            </p:txBody>
          </p:sp>
          <p:sp>
            <p:nvSpPr>
              <p:cNvPr id="46" name="Freeform: Shape 33">
                <a:extLst>
                  <a:ext uri="{FF2B5EF4-FFF2-40B4-BE49-F238E27FC236}">
                    <a16:creationId xmlns:a16="http://schemas.microsoft.com/office/drawing/2014/main" id="{633B35FF-2F6A-324A-B9F8-596A3293E282}"/>
                  </a:ext>
                </a:extLst>
              </p:cNvPr>
              <p:cNvSpPr/>
              <p:nvPr/>
            </p:nvSpPr>
            <p:spPr>
              <a:xfrm>
                <a:off x="5836444" y="4114324"/>
                <a:ext cx="57150" cy="47625"/>
              </a:xfrm>
              <a:custGeom>
                <a:avLst/>
                <a:gdLst>
                  <a:gd name="connsiteX0" fmla="*/ 47149 w 57150"/>
                  <a:gd name="connsiteY0" fmla="*/ 43339 h 47625"/>
                  <a:gd name="connsiteX1" fmla="*/ 57626 w 57150"/>
                  <a:gd name="connsiteY1" fmla="*/ 32861 h 47625"/>
                  <a:gd name="connsiteX2" fmla="*/ 48101 w 57150"/>
                  <a:gd name="connsiteY2" fmla="*/ 22384 h 47625"/>
                  <a:gd name="connsiteX3" fmla="*/ 30004 w 57150"/>
                  <a:gd name="connsiteY3" fmla="*/ 7144 h 47625"/>
                  <a:gd name="connsiteX4" fmla="*/ 11906 w 57150"/>
                  <a:gd name="connsiteY4" fmla="*/ 25241 h 47625"/>
                  <a:gd name="connsiteX5" fmla="*/ 11906 w 57150"/>
                  <a:gd name="connsiteY5" fmla="*/ 28099 h 47625"/>
                  <a:gd name="connsiteX6" fmla="*/ 7144 w 57150"/>
                  <a:gd name="connsiteY6" fmla="*/ 33814 h 47625"/>
                  <a:gd name="connsiteX7" fmla="*/ 12859 w 57150"/>
                  <a:gd name="connsiteY7" fmla="*/ 39529 h 47625"/>
                  <a:gd name="connsiteX8" fmla="*/ 16669 w 57150"/>
                  <a:gd name="connsiteY8" fmla="*/ 37624 h 47625"/>
                  <a:gd name="connsiteX9" fmla="*/ 29051 w 57150"/>
                  <a:gd name="connsiteY9" fmla="*/ 42386 h 47625"/>
                  <a:gd name="connsiteX10" fmla="*/ 39529 w 57150"/>
                  <a:gd name="connsiteY10" fmla="*/ 38576 h 47625"/>
                  <a:gd name="connsiteX11" fmla="*/ 47149 w 57150"/>
                  <a:gd name="connsiteY11" fmla="*/ 4333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0" h="47625">
                    <a:moveTo>
                      <a:pt x="47149" y="43339"/>
                    </a:moveTo>
                    <a:cubicBezTo>
                      <a:pt x="52864" y="43339"/>
                      <a:pt x="57626" y="38576"/>
                      <a:pt x="57626" y="32861"/>
                    </a:cubicBezTo>
                    <a:cubicBezTo>
                      <a:pt x="57626" y="27146"/>
                      <a:pt x="52864" y="22384"/>
                      <a:pt x="48101" y="22384"/>
                    </a:cubicBezTo>
                    <a:cubicBezTo>
                      <a:pt x="46196" y="13811"/>
                      <a:pt x="39529" y="7144"/>
                      <a:pt x="30004" y="7144"/>
                    </a:cubicBezTo>
                    <a:cubicBezTo>
                      <a:pt x="19526" y="7144"/>
                      <a:pt x="11906" y="15716"/>
                      <a:pt x="11906" y="25241"/>
                    </a:cubicBezTo>
                    <a:cubicBezTo>
                      <a:pt x="11906" y="26194"/>
                      <a:pt x="11906" y="27146"/>
                      <a:pt x="11906" y="28099"/>
                    </a:cubicBezTo>
                    <a:cubicBezTo>
                      <a:pt x="9049" y="29051"/>
                      <a:pt x="7144" y="30956"/>
                      <a:pt x="7144" y="33814"/>
                    </a:cubicBezTo>
                    <a:cubicBezTo>
                      <a:pt x="7144" y="37624"/>
                      <a:pt x="10001" y="39529"/>
                      <a:pt x="12859" y="39529"/>
                    </a:cubicBezTo>
                    <a:cubicBezTo>
                      <a:pt x="14764" y="39529"/>
                      <a:pt x="15716" y="38576"/>
                      <a:pt x="16669" y="37624"/>
                    </a:cubicBezTo>
                    <a:cubicBezTo>
                      <a:pt x="19526" y="40481"/>
                      <a:pt x="24289" y="42386"/>
                      <a:pt x="29051" y="42386"/>
                    </a:cubicBezTo>
                    <a:cubicBezTo>
                      <a:pt x="32861" y="42386"/>
                      <a:pt x="36671" y="41434"/>
                      <a:pt x="39529" y="38576"/>
                    </a:cubicBezTo>
                    <a:cubicBezTo>
                      <a:pt x="42386" y="42386"/>
                      <a:pt x="44291" y="43339"/>
                      <a:pt x="47149" y="43339"/>
                    </a:cubicBezTo>
                    <a:close/>
                  </a:path>
                </a:pathLst>
              </a:custGeom>
              <a:grpFill/>
              <a:ln w="9525" cap="flat">
                <a:noFill/>
                <a:prstDash val="solid"/>
                <a:miter/>
              </a:ln>
            </p:spPr>
            <p:txBody>
              <a:bodyPr rtlCol="0" anchor="ctr"/>
              <a:lstStyle/>
              <a:p>
                <a:endParaRPr lang="en-US"/>
              </a:p>
            </p:txBody>
          </p:sp>
          <p:sp>
            <p:nvSpPr>
              <p:cNvPr id="47" name="Freeform: Shape 34">
                <a:extLst>
                  <a:ext uri="{FF2B5EF4-FFF2-40B4-BE49-F238E27FC236}">
                    <a16:creationId xmlns:a16="http://schemas.microsoft.com/office/drawing/2014/main" id="{E65BBCC4-6039-4044-8B9D-2E22EA3D6AEB}"/>
                  </a:ext>
                </a:extLst>
              </p:cNvPr>
              <p:cNvSpPr/>
              <p:nvPr/>
            </p:nvSpPr>
            <p:spPr>
              <a:xfrm>
                <a:off x="5983129" y="4121944"/>
                <a:ext cx="28575" cy="28575"/>
              </a:xfrm>
              <a:custGeom>
                <a:avLst/>
                <a:gdLst>
                  <a:gd name="connsiteX0" fmla="*/ 17621 w 28575"/>
                  <a:gd name="connsiteY0" fmla="*/ 7144 h 28575"/>
                  <a:gd name="connsiteX1" fmla="*/ 7144 w 28575"/>
                  <a:gd name="connsiteY1" fmla="*/ 17621 h 28575"/>
                  <a:gd name="connsiteX2" fmla="*/ 17621 w 28575"/>
                  <a:gd name="connsiteY2" fmla="*/ 28099 h 28575"/>
                  <a:gd name="connsiteX3" fmla="*/ 28099 w 28575"/>
                  <a:gd name="connsiteY3" fmla="*/ 17621 h 28575"/>
                  <a:gd name="connsiteX4" fmla="*/ 17621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7144"/>
                    </a:moveTo>
                    <a:cubicBezTo>
                      <a:pt x="11906" y="7144"/>
                      <a:pt x="7144" y="11906"/>
                      <a:pt x="7144" y="17621"/>
                    </a:cubicBezTo>
                    <a:cubicBezTo>
                      <a:pt x="7144" y="23336"/>
                      <a:pt x="11906" y="28099"/>
                      <a:pt x="17621" y="28099"/>
                    </a:cubicBezTo>
                    <a:cubicBezTo>
                      <a:pt x="23336" y="28099"/>
                      <a:pt x="28099" y="23336"/>
                      <a:pt x="28099" y="17621"/>
                    </a:cubicBezTo>
                    <a:cubicBezTo>
                      <a:pt x="28099" y="11906"/>
                      <a:pt x="23336" y="7144"/>
                      <a:pt x="17621" y="7144"/>
                    </a:cubicBezTo>
                    <a:close/>
                  </a:path>
                </a:pathLst>
              </a:custGeom>
              <a:grpFill/>
              <a:ln w="9525" cap="flat">
                <a:noFill/>
                <a:prstDash val="solid"/>
                <a:miter/>
              </a:ln>
            </p:spPr>
            <p:txBody>
              <a:bodyPr rtlCol="0" anchor="ctr"/>
              <a:lstStyle/>
              <a:p>
                <a:endParaRPr lang="en-US"/>
              </a:p>
            </p:txBody>
          </p:sp>
          <p:sp>
            <p:nvSpPr>
              <p:cNvPr id="48" name="Freeform: Shape 35">
                <a:extLst>
                  <a:ext uri="{FF2B5EF4-FFF2-40B4-BE49-F238E27FC236}">
                    <a16:creationId xmlns:a16="http://schemas.microsoft.com/office/drawing/2014/main" id="{CB7777B0-2989-8947-B037-D1563CF4E199}"/>
                  </a:ext>
                </a:extLst>
              </p:cNvPr>
              <p:cNvSpPr/>
              <p:nvPr/>
            </p:nvSpPr>
            <p:spPr>
              <a:xfrm>
                <a:off x="5954554" y="4154329"/>
                <a:ext cx="47625" cy="38100"/>
              </a:xfrm>
              <a:custGeom>
                <a:avLst/>
                <a:gdLst>
                  <a:gd name="connsiteX0" fmla="*/ 7144 w 47625"/>
                  <a:gd name="connsiteY0" fmla="*/ 22384 h 38100"/>
                  <a:gd name="connsiteX1" fmla="*/ 13811 w 47625"/>
                  <a:gd name="connsiteY1" fmla="*/ 29051 h 38100"/>
                  <a:gd name="connsiteX2" fmla="*/ 20479 w 47625"/>
                  <a:gd name="connsiteY2" fmla="*/ 24289 h 38100"/>
                  <a:gd name="connsiteX3" fmla="*/ 31909 w 47625"/>
                  <a:gd name="connsiteY3" fmla="*/ 31909 h 38100"/>
                  <a:gd name="connsiteX4" fmla="*/ 44291 w 47625"/>
                  <a:gd name="connsiteY4" fmla="*/ 19526 h 38100"/>
                  <a:gd name="connsiteX5" fmla="*/ 31909 w 47625"/>
                  <a:gd name="connsiteY5" fmla="*/ 7144 h 38100"/>
                  <a:gd name="connsiteX6" fmla="*/ 19526 w 47625"/>
                  <a:gd name="connsiteY6" fmla="*/ 18574 h 38100"/>
                  <a:gd name="connsiteX7" fmla="*/ 13811 w 47625"/>
                  <a:gd name="connsiteY7" fmla="*/ 15716 h 38100"/>
                  <a:gd name="connsiteX8" fmla="*/ 7144 w 47625"/>
                  <a:gd name="connsiteY8" fmla="*/ 2238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7144" y="22384"/>
                    </a:moveTo>
                    <a:cubicBezTo>
                      <a:pt x="7144" y="26194"/>
                      <a:pt x="10001" y="29051"/>
                      <a:pt x="13811" y="29051"/>
                    </a:cubicBezTo>
                    <a:cubicBezTo>
                      <a:pt x="16669" y="29051"/>
                      <a:pt x="19526" y="27146"/>
                      <a:pt x="20479" y="24289"/>
                    </a:cubicBezTo>
                    <a:cubicBezTo>
                      <a:pt x="22384" y="28099"/>
                      <a:pt x="26194" y="31909"/>
                      <a:pt x="31909" y="31909"/>
                    </a:cubicBezTo>
                    <a:cubicBezTo>
                      <a:pt x="38576" y="31909"/>
                      <a:pt x="44291" y="26194"/>
                      <a:pt x="44291" y="19526"/>
                    </a:cubicBezTo>
                    <a:cubicBezTo>
                      <a:pt x="44291" y="12859"/>
                      <a:pt x="38576" y="7144"/>
                      <a:pt x="31909" y="7144"/>
                    </a:cubicBezTo>
                    <a:cubicBezTo>
                      <a:pt x="25241" y="7144"/>
                      <a:pt x="20479" y="11906"/>
                      <a:pt x="19526" y="18574"/>
                    </a:cubicBezTo>
                    <a:cubicBezTo>
                      <a:pt x="18574" y="16669"/>
                      <a:pt x="16669" y="15716"/>
                      <a:pt x="13811" y="15716"/>
                    </a:cubicBezTo>
                    <a:cubicBezTo>
                      <a:pt x="10001" y="14764"/>
                      <a:pt x="7144" y="18574"/>
                      <a:pt x="7144" y="22384"/>
                    </a:cubicBezTo>
                    <a:close/>
                  </a:path>
                </a:pathLst>
              </a:custGeom>
              <a:grpFill/>
              <a:ln w="9525" cap="flat">
                <a:noFill/>
                <a:prstDash val="solid"/>
                <a:miter/>
              </a:ln>
            </p:spPr>
            <p:txBody>
              <a:bodyPr rtlCol="0" anchor="ctr"/>
              <a:lstStyle/>
              <a:p>
                <a:endParaRPr lang="en-US"/>
              </a:p>
            </p:txBody>
          </p:sp>
          <p:sp>
            <p:nvSpPr>
              <p:cNvPr id="49" name="Freeform: Shape 36">
                <a:extLst>
                  <a:ext uri="{FF2B5EF4-FFF2-40B4-BE49-F238E27FC236}">
                    <a16:creationId xmlns:a16="http://schemas.microsoft.com/office/drawing/2014/main" id="{1B70E416-D95C-AE4C-BE3A-1AE890728BC8}"/>
                  </a:ext>
                </a:extLst>
              </p:cNvPr>
              <p:cNvSpPr/>
              <p:nvPr/>
            </p:nvSpPr>
            <p:spPr>
              <a:xfrm>
                <a:off x="5931694" y="3744754"/>
                <a:ext cx="28575" cy="38100"/>
              </a:xfrm>
              <a:custGeom>
                <a:avLst/>
                <a:gdLst>
                  <a:gd name="connsiteX0" fmla="*/ 18574 w 28575"/>
                  <a:gd name="connsiteY0" fmla="*/ 30956 h 38100"/>
                  <a:gd name="connsiteX1" fmla="*/ 30004 w 28575"/>
                  <a:gd name="connsiteY1" fmla="*/ 18574 h 38100"/>
                  <a:gd name="connsiteX2" fmla="*/ 18574 w 28575"/>
                  <a:gd name="connsiteY2" fmla="*/ 7144 h 38100"/>
                  <a:gd name="connsiteX3" fmla="*/ 7144 w 28575"/>
                  <a:gd name="connsiteY3" fmla="*/ 18574 h 38100"/>
                  <a:gd name="connsiteX4" fmla="*/ 18574 w 28575"/>
                  <a:gd name="connsiteY4" fmla="*/ 3095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18574" y="30956"/>
                    </a:moveTo>
                    <a:cubicBezTo>
                      <a:pt x="25241" y="30956"/>
                      <a:pt x="30004" y="25241"/>
                      <a:pt x="30004" y="18574"/>
                    </a:cubicBezTo>
                    <a:cubicBezTo>
                      <a:pt x="30004" y="11906"/>
                      <a:pt x="24289" y="7144"/>
                      <a:pt x="18574" y="7144"/>
                    </a:cubicBezTo>
                    <a:cubicBezTo>
                      <a:pt x="11906" y="7144"/>
                      <a:pt x="7144" y="12859"/>
                      <a:pt x="7144" y="18574"/>
                    </a:cubicBezTo>
                    <a:cubicBezTo>
                      <a:pt x="7144" y="24289"/>
                      <a:pt x="11906" y="30956"/>
                      <a:pt x="18574" y="30956"/>
                    </a:cubicBezTo>
                    <a:close/>
                  </a:path>
                </a:pathLst>
              </a:custGeom>
              <a:grpFill/>
              <a:ln w="9525" cap="flat">
                <a:noFill/>
                <a:prstDash val="solid"/>
                <a:miter/>
              </a:ln>
            </p:spPr>
            <p:txBody>
              <a:bodyPr rtlCol="0" anchor="ctr"/>
              <a:lstStyle/>
              <a:p>
                <a:endParaRPr lang="en-US"/>
              </a:p>
            </p:txBody>
          </p:sp>
          <p:sp>
            <p:nvSpPr>
              <p:cNvPr id="50" name="Freeform: Shape 37">
                <a:extLst>
                  <a:ext uri="{FF2B5EF4-FFF2-40B4-BE49-F238E27FC236}">
                    <a16:creationId xmlns:a16="http://schemas.microsoft.com/office/drawing/2014/main" id="{03919B47-9889-AF41-A755-3DF6F77D9CAE}"/>
                  </a:ext>
                </a:extLst>
              </p:cNvPr>
              <p:cNvSpPr/>
              <p:nvPr/>
            </p:nvSpPr>
            <p:spPr>
              <a:xfrm>
                <a:off x="5695474" y="3153251"/>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0954"/>
                      <a:pt x="21431" y="7144"/>
                      <a:pt x="16669" y="7144"/>
                    </a:cubicBezTo>
                    <a:cubicBezTo>
                      <a:pt x="10954" y="7144"/>
                      <a:pt x="7144" y="11906"/>
                      <a:pt x="7144" y="16669"/>
                    </a:cubicBezTo>
                    <a:cubicBezTo>
                      <a:pt x="7144" y="22384"/>
                      <a:pt x="11906" y="26194"/>
                      <a:pt x="16669" y="26194"/>
                    </a:cubicBezTo>
                    <a:close/>
                  </a:path>
                </a:pathLst>
              </a:custGeom>
              <a:grpFill/>
              <a:ln w="9525" cap="flat">
                <a:noFill/>
                <a:prstDash val="solid"/>
                <a:miter/>
              </a:ln>
            </p:spPr>
            <p:txBody>
              <a:bodyPr rtlCol="0" anchor="ctr"/>
              <a:lstStyle/>
              <a:p>
                <a:endParaRPr lang="en-US"/>
              </a:p>
            </p:txBody>
          </p:sp>
          <p:sp>
            <p:nvSpPr>
              <p:cNvPr id="51" name="Freeform: Shape 38">
                <a:extLst>
                  <a:ext uri="{FF2B5EF4-FFF2-40B4-BE49-F238E27FC236}">
                    <a16:creationId xmlns:a16="http://schemas.microsoft.com/office/drawing/2014/main" id="{BACBEEAB-81E3-214B-A2E4-7648E1F5B258}"/>
                  </a:ext>
                </a:extLst>
              </p:cNvPr>
              <p:cNvSpPr/>
              <p:nvPr/>
            </p:nvSpPr>
            <p:spPr>
              <a:xfrm>
                <a:off x="5837396" y="2713196"/>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52" name="Freeform: Shape 39">
                <a:extLst>
                  <a:ext uri="{FF2B5EF4-FFF2-40B4-BE49-F238E27FC236}">
                    <a16:creationId xmlns:a16="http://schemas.microsoft.com/office/drawing/2014/main" id="{CD79FB36-F4BD-194D-9932-DD58EC8EFB2E}"/>
                  </a:ext>
                </a:extLst>
              </p:cNvPr>
              <p:cNvSpPr/>
              <p:nvPr/>
            </p:nvSpPr>
            <p:spPr>
              <a:xfrm>
                <a:off x="6235541" y="2754154"/>
                <a:ext cx="38100" cy="38100"/>
              </a:xfrm>
              <a:custGeom>
                <a:avLst/>
                <a:gdLst>
                  <a:gd name="connsiteX0" fmla="*/ 31909 w 38100"/>
                  <a:gd name="connsiteY0" fmla="*/ 19526 h 38100"/>
                  <a:gd name="connsiteX1" fmla="*/ 19526 w 38100"/>
                  <a:gd name="connsiteY1" fmla="*/ 7144 h 38100"/>
                  <a:gd name="connsiteX2" fmla="*/ 7144 w 38100"/>
                  <a:gd name="connsiteY2" fmla="*/ 19526 h 38100"/>
                  <a:gd name="connsiteX3" fmla="*/ 19526 w 38100"/>
                  <a:gd name="connsiteY3" fmla="*/ 31909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12859"/>
                      <a:pt x="26194" y="7144"/>
                      <a:pt x="19526" y="7144"/>
                    </a:cubicBezTo>
                    <a:cubicBezTo>
                      <a:pt x="12859" y="7144"/>
                      <a:pt x="7144" y="12859"/>
                      <a:pt x="7144" y="19526"/>
                    </a:cubicBezTo>
                    <a:cubicBezTo>
                      <a:pt x="7144" y="26194"/>
                      <a:pt x="12859" y="31909"/>
                      <a:pt x="19526" y="31909"/>
                    </a:cubicBezTo>
                    <a:cubicBezTo>
                      <a:pt x="26194" y="31909"/>
                      <a:pt x="31909" y="26194"/>
                      <a:pt x="31909" y="19526"/>
                    </a:cubicBezTo>
                    <a:close/>
                  </a:path>
                </a:pathLst>
              </a:custGeom>
              <a:grpFill/>
              <a:ln w="9525" cap="flat">
                <a:noFill/>
                <a:prstDash val="solid"/>
                <a:miter/>
              </a:ln>
            </p:spPr>
            <p:txBody>
              <a:bodyPr rtlCol="0" anchor="ctr"/>
              <a:lstStyle/>
              <a:p>
                <a:endParaRPr lang="en-US"/>
              </a:p>
            </p:txBody>
          </p:sp>
          <p:sp>
            <p:nvSpPr>
              <p:cNvPr id="53" name="Freeform: Shape 40">
                <a:extLst>
                  <a:ext uri="{FF2B5EF4-FFF2-40B4-BE49-F238E27FC236}">
                    <a16:creationId xmlns:a16="http://schemas.microsoft.com/office/drawing/2014/main" id="{89F7B9BF-0020-8E41-920C-076B141FF831}"/>
                  </a:ext>
                </a:extLst>
              </p:cNvPr>
              <p:cNvSpPr/>
              <p:nvPr/>
            </p:nvSpPr>
            <p:spPr>
              <a:xfrm>
                <a:off x="5832634" y="2902744"/>
                <a:ext cx="19050" cy="19050"/>
              </a:xfrm>
              <a:custGeom>
                <a:avLst/>
                <a:gdLst>
                  <a:gd name="connsiteX0" fmla="*/ 12859 w 19050"/>
                  <a:gd name="connsiteY0" fmla="*/ 18574 h 19050"/>
                  <a:gd name="connsiteX1" fmla="*/ 18574 w 19050"/>
                  <a:gd name="connsiteY1" fmla="*/ 12859 h 19050"/>
                  <a:gd name="connsiteX2" fmla="*/ 12859 w 19050"/>
                  <a:gd name="connsiteY2" fmla="*/ 7144 h 19050"/>
                  <a:gd name="connsiteX3" fmla="*/ 7144 w 19050"/>
                  <a:gd name="connsiteY3" fmla="*/ 12859 h 19050"/>
                  <a:gd name="connsiteX4" fmla="*/ 12859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8574"/>
                    </a:moveTo>
                    <a:cubicBezTo>
                      <a:pt x="15716" y="18574"/>
                      <a:pt x="18574" y="15716"/>
                      <a:pt x="18574" y="12859"/>
                    </a:cubicBezTo>
                    <a:cubicBezTo>
                      <a:pt x="18574" y="10001"/>
                      <a:pt x="15716" y="7144"/>
                      <a:pt x="12859" y="7144"/>
                    </a:cubicBezTo>
                    <a:cubicBezTo>
                      <a:pt x="10001" y="7144"/>
                      <a:pt x="7144" y="10001"/>
                      <a:pt x="7144" y="12859"/>
                    </a:cubicBezTo>
                    <a:cubicBezTo>
                      <a:pt x="7144" y="16669"/>
                      <a:pt x="9049" y="18574"/>
                      <a:pt x="12859" y="18574"/>
                    </a:cubicBezTo>
                    <a:close/>
                  </a:path>
                </a:pathLst>
              </a:custGeom>
              <a:grpFill/>
              <a:ln w="9525" cap="flat">
                <a:noFill/>
                <a:prstDash val="solid"/>
                <a:miter/>
              </a:ln>
            </p:spPr>
            <p:txBody>
              <a:bodyPr rtlCol="0" anchor="ctr"/>
              <a:lstStyle/>
              <a:p>
                <a:endParaRPr lang="en-US"/>
              </a:p>
            </p:txBody>
          </p:sp>
          <p:sp>
            <p:nvSpPr>
              <p:cNvPr id="54" name="Freeform: Shape 41">
                <a:extLst>
                  <a:ext uri="{FF2B5EF4-FFF2-40B4-BE49-F238E27FC236}">
                    <a16:creationId xmlns:a16="http://schemas.microsoft.com/office/drawing/2014/main" id="{F2387BBE-0E9B-0D47-95BB-5525109A6AC1}"/>
                  </a:ext>
                </a:extLst>
              </p:cNvPr>
              <p:cNvSpPr/>
              <p:nvPr/>
            </p:nvSpPr>
            <p:spPr>
              <a:xfrm>
                <a:off x="5535454" y="3318034"/>
                <a:ext cx="66675" cy="66675"/>
              </a:xfrm>
              <a:custGeom>
                <a:avLst/>
                <a:gdLst>
                  <a:gd name="connsiteX0" fmla="*/ 62389 w 66675"/>
                  <a:gd name="connsiteY0" fmla="*/ 34766 h 66675"/>
                  <a:gd name="connsiteX1" fmla="*/ 34766 w 66675"/>
                  <a:gd name="connsiteY1" fmla="*/ 62389 h 66675"/>
                  <a:gd name="connsiteX2" fmla="*/ 7144 w 66675"/>
                  <a:gd name="connsiteY2" fmla="*/ 34766 h 66675"/>
                  <a:gd name="connsiteX3" fmla="*/ 34766 w 66675"/>
                  <a:gd name="connsiteY3" fmla="*/ 7144 h 66675"/>
                  <a:gd name="connsiteX4" fmla="*/ 62389 w 66675"/>
                  <a:gd name="connsiteY4" fmla="*/ 34766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2389" y="34766"/>
                    </a:moveTo>
                    <a:cubicBezTo>
                      <a:pt x="62389" y="50022"/>
                      <a:pt x="50022" y="62389"/>
                      <a:pt x="34766" y="62389"/>
                    </a:cubicBezTo>
                    <a:cubicBezTo>
                      <a:pt x="19511" y="62389"/>
                      <a:pt x="7144" y="50022"/>
                      <a:pt x="7144" y="34766"/>
                    </a:cubicBezTo>
                    <a:cubicBezTo>
                      <a:pt x="7144" y="19511"/>
                      <a:pt x="19511" y="7144"/>
                      <a:pt x="34766" y="7144"/>
                    </a:cubicBezTo>
                    <a:cubicBezTo>
                      <a:pt x="50022" y="7144"/>
                      <a:pt x="62389" y="19511"/>
                      <a:pt x="62389" y="34766"/>
                    </a:cubicBezTo>
                    <a:close/>
                  </a:path>
                </a:pathLst>
              </a:custGeom>
              <a:grpFill/>
              <a:ln w="9525" cap="flat">
                <a:noFill/>
                <a:prstDash val="solid"/>
                <a:miter/>
              </a:ln>
            </p:spPr>
            <p:txBody>
              <a:bodyPr rtlCol="0" anchor="ctr"/>
              <a:lstStyle/>
              <a:p>
                <a:endParaRPr lang="en-US"/>
              </a:p>
            </p:txBody>
          </p:sp>
          <p:sp>
            <p:nvSpPr>
              <p:cNvPr id="55" name="Freeform: Shape 42">
                <a:extLst>
                  <a:ext uri="{FF2B5EF4-FFF2-40B4-BE49-F238E27FC236}">
                    <a16:creationId xmlns:a16="http://schemas.microsoft.com/office/drawing/2014/main" id="{33F8E0A0-B135-2B47-B0CB-636D2C79D488}"/>
                  </a:ext>
                </a:extLst>
              </p:cNvPr>
              <p:cNvSpPr/>
              <p:nvPr/>
            </p:nvSpPr>
            <p:spPr>
              <a:xfrm>
                <a:off x="5367814" y="3373279"/>
                <a:ext cx="19050" cy="19050"/>
              </a:xfrm>
              <a:custGeom>
                <a:avLst/>
                <a:gdLst>
                  <a:gd name="connsiteX0" fmla="*/ 11906 w 19050"/>
                  <a:gd name="connsiteY0" fmla="*/ 16669 h 19050"/>
                  <a:gd name="connsiteX1" fmla="*/ 16669 w 19050"/>
                  <a:gd name="connsiteY1" fmla="*/ 11906 h 19050"/>
                  <a:gd name="connsiteX2" fmla="*/ 11906 w 19050"/>
                  <a:gd name="connsiteY2" fmla="*/ 7144 h 19050"/>
                  <a:gd name="connsiteX3" fmla="*/ 7144 w 19050"/>
                  <a:gd name="connsiteY3" fmla="*/ 11906 h 19050"/>
                  <a:gd name="connsiteX4" fmla="*/ 11906 w 19050"/>
                  <a:gd name="connsiteY4" fmla="*/ 1666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1906" y="16669"/>
                    </a:moveTo>
                    <a:cubicBezTo>
                      <a:pt x="14764" y="16669"/>
                      <a:pt x="16669" y="14764"/>
                      <a:pt x="16669" y="11906"/>
                    </a:cubicBezTo>
                    <a:cubicBezTo>
                      <a:pt x="16669" y="9049"/>
                      <a:pt x="14764" y="7144"/>
                      <a:pt x="11906" y="7144"/>
                    </a:cubicBezTo>
                    <a:cubicBezTo>
                      <a:pt x="9049" y="7144"/>
                      <a:pt x="7144" y="9049"/>
                      <a:pt x="7144" y="11906"/>
                    </a:cubicBezTo>
                    <a:cubicBezTo>
                      <a:pt x="7144" y="14764"/>
                      <a:pt x="10001" y="16669"/>
                      <a:pt x="11906" y="16669"/>
                    </a:cubicBezTo>
                    <a:close/>
                  </a:path>
                </a:pathLst>
              </a:custGeom>
              <a:grpFill/>
              <a:ln w="9525" cap="flat">
                <a:noFill/>
                <a:prstDash val="solid"/>
                <a:miter/>
              </a:ln>
            </p:spPr>
            <p:txBody>
              <a:bodyPr rtlCol="0" anchor="ctr"/>
              <a:lstStyle/>
              <a:p>
                <a:endParaRPr lang="en-US"/>
              </a:p>
            </p:txBody>
          </p:sp>
          <p:sp>
            <p:nvSpPr>
              <p:cNvPr id="56" name="Freeform: Shape 43">
                <a:extLst>
                  <a:ext uri="{FF2B5EF4-FFF2-40B4-BE49-F238E27FC236}">
                    <a16:creationId xmlns:a16="http://schemas.microsoft.com/office/drawing/2014/main" id="{B420B9B1-C01E-E448-8B8D-1FF2C9583FAB}"/>
                  </a:ext>
                </a:extLst>
              </p:cNvPr>
              <p:cNvSpPr/>
              <p:nvPr/>
            </p:nvSpPr>
            <p:spPr>
              <a:xfrm>
                <a:off x="5561171" y="3803809"/>
                <a:ext cx="76200" cy="85725"/>
              </a:xfrm>
              <a:custGeom>
                <a:avLst/>
                <a:gdLst>
                  <a:gd name="connsiteX0" fmla="*/ 62389 w 76200"/>
                  <a:gd name="connsiteY0" fmla="*/ 18574 h 85725"/>
                  <a:gd name="connsiteX1" fmla="*/ 50959 w 76200"/>
                  <a:gd name="connsiteY1" fmla="*/ 7144 h 85725"/>
                  <a:gd name="connsiteX2" fmla="*/ 39529 w 76200"/>
                  <a:gd name="connsiteY2" fmla="*/ 18574 h 85725"/>
                  <a:gd name="connsiteX3" fmla="*/ 39529 w 76200"/>
                  <a:gd name="connsiteY3" fmla="*/ 19526 h 85725"/>
                  <a:gd name="connsiteX4" fmla="*/ 38576 w 76200"/>
                  <a:gd name="connsiteY4" fmla="*/ 19526 h 85725"/>
                  <a:gd name="connsiteX5" fmla="*/ 7144 w 76200"/>
                  <a:gd name="connsiteY5" fmla="*/ 50959 h 85725"/>
                  <a:gd name="connsiteX6" fmla="*/ 38576 w 76200"/>
                  <a:gd name="connsiteY6" fmla="*/ 82391 h 85725"/>
                  <a:gd name="connsiteX7" fmla="*/ 70009 w 76200"/>
                  <a:gd name="connsiteY7" fmla="*/ 50959 h 85725"/>
                  <a:gd name="connsiteX8" fmla="*/ 58579 w 76200"/>
                  <a:gd name="connsiteY8" fmla="*/ 27146 h 85725"/>
                  <a:gd name="connsiteX9" fmla="*/ 62389 w 76200"/>
                  <a:gd name="connsiteY9" fmla="*/ 1857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85725">
                    <a:moveTo>
                      <a:pt x="62389" y="18574"/>
                    </a:moveTo>
                    <a:cubicBezTo>
                      <a:pt x="62389" y="11906"/>
                      <a:pt x="57626" y="7144"/>
                      <a:pt x="50959" y="7144"/>
                    </a:cubicBezTo>
                    <a:cubicBezTo>
                      <a:pt x="44291" y="7144"/>
                      <a:pt x="39529" y="11906"/>
                      <a:pt x="39529" y="18574"/>
                    </a:cubicBezTo>
                    <a:cubicBezTo>
                      <a:pt x="39529" y="18574"/>
                      <a:pt x="39529" y="18574"/>
                      <a:pt x="39529" y="19526"/>
                    </a:cubicBezTo>
                    <a:cubicBezTo>
                      <a:pt x="39529" y="19526"/>
                      <a:pt x="38576" y="19526"/>
                      <a:pt x="38576" y="19526"/>
                    </a:cubicBezTo>
                    <a:cubicBezTo>
                      <a:pt x="21431" y="19526"/>
                      <a:pt x="7144" y="33814"/>
                      <a:pt x="7144" y="50959"/>
                    </a:cubicBezTo>
                    <a:cubicBezTo>
                      <a:pt x="7144" y="68104"/>
                      <a:pt x="21431" y="82391"/>
                      <a:pt x="38576" y="82391"/>
                    </a:cubicBezTo>
                    <a:cubicBezTo>
                      <a:pt x="55721" y="82391"/>
                      <a:pt x="70009" y="68104"/>
                      <a:pt x="70009" y="50959"/>
                    </a:cubicBezTo>
                    <a:cubicBezTo>
                      <a:pt x="70009" y="41434"/>
                      <a:pt x="65246" y="32861"/>
                      <a:pt x="58579" y="27146"/>
                    </a:cubicBezTo>
                    <a:cubicBezTo>
                      <a:pt x="60484" y="24289"/>
                      <a:pt x="62389" y="21431"/>
                      <a:pt x="62389" y="18574"/>
                    </a:cubicBezTo>
                    <a:close/>
                  </a:path>
                </a:pathLst>
              </a:custGeom>
              <a:grpFill/>
              <a:ln w="9525" cap="flat">
                <a:noFill/>
                <a:prstDash val="solid"/>
                <a:miter/>
              </a:ln>
            </p:spPr>
            <p:txBody>
              <a:bodyPr rtlCol="0" anchor="ctr"/>
              <a:lstStyle/>
              <a:p>
                <a:endParaRPr lang="en-US"/>
              </a:p>
            </p:txBody>
          </p:sp>
          <p:sp>
            <p:nvSpPr>
              <p:cNvPr id="57" name="Freeform: Shape 44">
                <a:extLst>
                  <a:ext uri="{FF2B5EF4-FFF2-40B4-BE49-F238E27FC236}">
                    <a16:creationId xmlns:a16="http://schemas.microsoft.com/office/drawing/2014/main" id="{442D86F8-8A8D-9244-8A5A-465B08420542}"/>
                  </a:ext>
                </a:extLst>
              </p:cNvPr>
              <p:cNvSpPr/>
              <p:nvPr/>
            </p:nvSpPr>
            <p:spPr>
              <a:xfrm>
                <a:off x="5891689" y="3838099"/>
                <a:ext cx="66675" cy="57150"/>
              </a:xfrm>
              <a:custGeom>
                <a:avLst/>
                <a:gdLst>
                  <a:gd name="connsiteX0" fmla="*/ 23336 w 66675"/>
                  <a:gd name="connsiteY0" fmla="*/ 17621 h 57150"/>
                  <a:gd name="connsiteX1" fmla="*/ 7144 w 66675"/>
                  <a:gd name="connsiteY1" fmla="*/ 33814 h 57150"/>
                  <a:gd name="connsiteX2" fmla="*/ 23336 w 66675"/>
                  <a:gd name="connsiteY2" fmla="*/ 50006 h 57150"/>
                  <a:gd name="connsiteX3" fmla="*/ 38576 w 66675"/>
                  <a:gd name="connsiteY3" fmla="*/ 38576 h 57150"/>
                  <a:gd name="connsiteX4" fmla="*/ 45244 w 66675"/>
                  <a:gd name="connsiteY4" fmla="*/ 39529 h 57150"/>
                  <a:gd name="connsiteX5" fmla="*/ 61436 w 66675"/>
                  <a:gd name="connsiteY5" fmla="*/ 23336 h 57150"/>
                  <a:gd name="connsiteX6" fmla="*/ 45244 w 66675"/>
                  <a:gd name="connsiteY6" fmla="*/ 7144 h 57150"/>
                  <a:gd name="connsiteX7" fmla="*/ 30004 w 66675"/>
                  <a:gd name="connsiteY7" fmla="*/ 19526 h 57150"/>
                  <a:gd name="connsiteX8" fmla="*/ 23336 w 66675"/>
                  <a:gd name="connsiteY8" fmla="*/ 17621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57150">
                    <a:moveTo>
                      <a:pt x="23336" y="17621"/>
                    </a:moveTo>
                    <a:cubicBezTo>
                      <a:pt x="14764" y="17621"/>
                      <a:pt x="7144" y="25241"/>
                      <a:pt x="7144" y="33814"/>
                    </a:cubicBezTo>
                    <a:cubicBezTo>
                      <a:pt x="7144" y="42386"/>
                      <a:pt x="14764" y="50006"/>
                      <a:pt x="23336" y="50006"/>
                    </a:cubicBezTo>
                    <a:cubicBezTo>
                      <a:pt x="30956" y="50006"/>
                      <a:pt x="36671" y="45244"/>
                      <a:pt x="38576" y="38576"/>
                    </a:cubicBezTo>
                    <a:cubicBezTo>
                      <a:pt x="40481" y="39529"/>
                      <a:pt x="42386" y="39529"/>
                      <a:pt x="45244" y="39529"/>
                    </a:cubicBezTo>
                    <a:cubicBezTo>
                      <a:pt x="53816" y="39529"/>
                      <a:pt x="61436" y="31909"/>
                      <a:pt x="61436" y="23336"/>
                    </a:cubicBezTo>
                    <a:cubicBezTo>
                      <a:pt x="61436" y="14764"/>
                      <a:pt x="53816" y="7144"/>
                      <a:pt x="45244" y="7144"/>
                    </a:cubicBezTo>
                    <a:cubicBezTo>
                      <a:pt x="37624" y="7144"/>
                      <a:pt x="31909" y="11906"/>
                      <a:pt x="30004" y="19526"/>
                    </a:cubicBezTo>
                    <a:cubicBezTo>
                      <a:pt x="28099" y="17621"/>
                      <a:pt x="26194" y="17621"/>
                      <a:pt x="23336" y="17621"/>
                    </a:cubicBezTo>
                    <a:close/>
                  </a:path>
                </a:pathLst>
              </a:custGeom>
              <a:grpFill/>
              <a:ln w="9525" cap="flat">
                <a:noFill/>
                <a:prstDash val="solid"/>
                <a:miter/>
              </a:ln>
            </p:spPr>
            <p:txBody>
              <a:bodyPr rtlCol="0" anchor="ctr"/>
              <a:lstStyle/>
              <a:p>
                <a:endParaRPr lang="en-US"/>
              </a:p>
            </p:txBody>
          </p:sp>
          <p:sp>
            <p:nvSpPr>
              <p:cNvPr id="58" name="Freeform: Shape 45">
                <a:extLst>
                  <a:ext uri="{FF2B5EF4-FFF2-40B4-BE49-F238E27FC236}">
                    <a16:creationId xmlns:a16="http://schemas.microsoft.com/office/drawing/2014/main" id="{1F0041D1-4D0C-6F45-9B3A-595FDA2BA4BB}"/>
                  </a:ext>
                </a:extLst>
              </p:cNvPr>
              <p:cNvSpPr/>
              <p:nvPr/>
            </p:nvSpPr>
            <p:spPr>
              <a:xfrm>
                <a:off x="5664994" y="3268504"/>
                <a:ext cx="114300" cy="114300"/>
              </a:xfrm>
              <a:custGeom>
                <a:avLst/>
                <a:gdLst>
                  <a:gd name="connsiteX0" fmla="*/ 98584 w 114300"/>
                  <a:gd name="connsiteY0" fmla="*/ 43339 h 114300"/>
                  <a:gd name="connsiteX1" fmla="*/ 108109 w 114300"/>
                  <a:gd name="connsiteY1" fmla="*/ 33814 h 114300"/>
                  <a:gd name="connsiteX2" fmla="*/ 98584 w 114300"/>
                  <a:gd name="connsiteY2" fmla="*/ 24289 h 114300"/>
                  <a:gd name="connsiteX3" fmla="*/ 94774 w 114300"/>
                  <a:gd name="connsiteY3" fmla="*/ 25241 h 114300"/>
                  <a:gd name="connsiteX4" fmla="*/ 75724 w 114300"/>
                  <a:gd name="connsiteY4" fmla="*/ 7144 h 114300"/>
                  <a:gd name="connsiteX5" fmla="*/ 56674 w 114300"/>
                  <a:gd name="connsiteY5" fmla="*/ 26194 h 114300"/>
                  <a:gd name="connsiteX6" fmla="*/ 57626 w 114300"/>
                  <a:gd name="connsiteY6" fmla="*/ 30956 h 114300"/>
                  <a:gd name="connsiteX7" fmla="*/ 46196 w 114300"/>
                  <a:gd name="connsiteY7" fmla="*/ 46196 h 114300"/>
                  <a:gd name="connsiteX8" fmla="*/ 27146 w 114300"/>
                  <a:gd name="connsiteY8" fmla="*/ 30956 h 114300"/>
                  <a:gd name="connsiteX9" fmla="*/ 7144 w 114300"/>
                  <a:gd name="connsiteY9" fmla="*/ 50959 h 114300"/>
                  <a:gd name="connsiteX10" fmla="*/ 27146 w 114300"/>
                  <a:gd name="connsiteY10" fmla="*/ 70961 h 114300"/>
                  <a:gd name="connsiteX11" fmla="*/ 46196 w 114300"/>
                  <a:gd name="connsiteY11" fmla="*/ 56674 h 114300"/>
                  <a:gd name="connsiteX12" fmla="*/ 69056 w 114300"/>
                  <a:gd name="connsiteY12" fmla="*/ 75724 h 114300"/>
                  <a:gd name="connsiteX13" fmla="*/ 73819 w 114300"/>
                  <a:gd name="connsiteY13" fmla="*/ 74771 h 114300"/>
                  <a:gd name="connsiteX14" fmla="*/ 72866 w 114300"/>
                  <a:gd name="connsiteY14" fmla="*/ 77629 h 114300"/>
                  <a:gd name="connsiteX15" fmla="*/ 85249 w 114300"/>
                  <a:gd name="connsiteY15" fmla="*/ 90011 h 114300"/>
                  <a:gd name="connsiteX16" fmla="*/ 88106 w 114300"/>
                  <a:gd name="connsiteY16" fmla="*/ 89059 h 114300"/>
                  <a:gd name="connsiteX17" fmla="*/ 88106 w 114300"/>
                  <a:gd name="connsiteY17" fmla="*/ 90964 h 114300"/>
                  <a:gd name="connsiteX18" fmla="*/ 90964 w 114300"/>
                  <a:gd name="connsiteY18" fmla="*/ 99536 h 114300"/>
                  <a:gd name="connsiteX19" fmla="*/ 86201 w 114300"/>
                  <a:gd name="connsiteY19" fmla="*/ 106204 h 114300"/>
                  <a:gd name="connsiteX20" fmla="*/ 93821 w 114300"/>
                  <a:gd name="connsiteY20" fmla="*/ 113824 h 114300"/>
                  <a:gd name="connsiteX21" fmla="*/ 101441 w 114300"/>
                  <a:gd name="connsiteY21" fmla="*/ 106204 h 114300"/>
                  <a:gd name="connsiteX22" fmla="*/ 100489 w 114300"/>
                  <a:gd name="connsiteY22" fmla="*/ 103346 h 114300"/>
                  <a:gd name="connsiteX23" fmla="*/ 111919 w 114300"/>
                  <a:gd name="connsiteY23" fmla="*/ 91916 h 114300"/>
                  <a:gd name="connsiteX24" fmla="*/ 99536 w 114300"/>
                  <a:gd name="connsiteY24" fmla="*/ 79534 h 114300"/>
                  <a:gd name="connsiteX25" fmla="*/ 96679 w 114300"/>
                  <a:gd name="connsiteY25" fmla="*/ 80486 h 114300"/>
                  <a:gd name="connsiteX26" fmla="*/ 96679 w 114300"/>
                  <a:gd name="connsiteY26" fmla="*/ 78581 h 114300"/>
                  <a:gd name="connsiteX27" fmla="*/ 86201 w 114300"/>
                  <a:gd name="connsiteY27" fmla="*/ 67151 h 114300"/>
                  <a:gd name="connsiteX28" fmla="*/ 90964 w 114300"/>
                  <a:gd name="connsiteY28" fmla="*/ 53816 h 114300"/>
                  <a:gd name="connsiteX29" fmla="*/ 88106 w 114300"/>
                  <a:gd name="connsiteY29" fmla="*/ 43339 h 114300"/>
                  <a:gd name="connsiteX30" fmla="*/ 89059 w 114300"/>
                  <a:gd name="connsiteY30" fmla="*/ 42386 h 114300"/>
                  <a:gd name="connsiteX31" fmla="*/ 98584 w 114300"/>
                  <a:gd name="connsiteY31" fmla="*/ 4333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300" h="114300">
                    <a:moveTo>
                      <a:pt x="98584" y="43339"/>
                    </a:moveTo>
                    <a:cubicBezTo>
                      <a:pt x="104299" y="43339"/>
                      <a:pt x="108109" y="38576"/>
                      <a:pt x="108109" y="33814"/>
                    </a:cubicBezTo>
                    <a:cubicBezTo>
                      <a:pt x="108109" y="29051"/>
                      <a:pt x="103346" y="24289"/>
                      <a:pt x="98584" y="24289"/>
                    </a:cubicBezTo>
                    <a:cubicBezTo>
                      <a:pt x="97631" y="24289"/>
                      <a:pt x="96679" y="24289"/>
                      <a:pt x="94774" y="25241"/>
                    </a:cubicBezTo>
                    <a:cubicBezTo>
                      <a:pt x="93821" y="15716"/>
                      <a:pt x="86201" y="7144"/>
                      <a:pt x="75724" y="7144"/>
                    </a:cubicBezTo>
                    <a:cubicBezTo>
                      <a:pt x="65246" y="7144"/>
                      <a:pt x="56674" y="15716"/>
                      <a:pt x="56674" y="26194"/>
                    </a:cubicBezTo>
                    <a:cubicBezTo>
                      <a:pt x="56674" y="28099"/>
                      <a:pt x="56674" y="29051"/>
                      <a:pt x="57626" y="30956"/>
                    </a:cubicBezTo>
                    <a:cubicBezTo>
                      <a:pt x="51911" y="33814"/>
                      <a:pt x="48101" y="39529"/>
                      <a:pt x="46196" y="46196"/>
                    </a:cubicBezTo>
                    <a:cubicBezTo>
                      <a:pt x="44291" y="37624"/>
                      <a:pt x="36671" y="30956"/>
                      <a:pt x="27146" y="30956"/>
                    </a:cubicBezTo>
                    <a:cubicBezTo>
                      <a:pt x="16669" y="30956"/>
                      <a:pt x="7144" y="39529"/>
                      <a:pt x="7144" y="50959"/>
                    </a:cubicBezTo>
                    <a:cubicBezTo>
                      <a:pt x="7144" y="62389"/>
                      <a:pt x="15716" y="70961"/>
                      <a:pt x="27146" y="70961"/>
                    </a:cubicBezTo>
                    <a:cubicBezTo>
                      <a:pt x="36671" y="70961"/>
                      <a:pt x="43339" y="64294"/>
                      <a:pt x="46196" y="56674"/>
                    </a:cubicBezTo>
                    <a:cubicBezTo>
                      <a:pt x="48101" y="68104"/>
                      <a:pt x="57626" y="75724"/>
                      <a:pt x="69056" y="75724"/>
                    </a:cubicBezTo>
                    <a:cubicBezTo>
                      <a:pt x="70961" y="75724"/>
                      <a:pt x="72866" y="75724"/>
                      <a:pt x="73819" y="74771"/>
                    </a:cubicBezTo>
                    <a:cubicBezTo>
                      <a:pt x="73819" y="75724"/>
                      <a:pt x="72866" y="76676"/>
                      <a:pt x="72866" y="77629"/>
                    </a:cubicBezTo>
                    <a:cubicBezTo>
                      <a:pt x="72866" y="84296"/>
                      <a:pt x="78581" y="90011"/>
                      <a:pt x="85249" y="90011"/>
                    </a:cubicBezTo>
                    <a:cubicBezTo>
                      <a:pt x="86201" y="90011"/>
                      <a:pt x="87154" y="90011"/>
                      <a:pt x="88106" y="89059"/>
                    </a:cubicBezTo>
                    <a:cubicBezTo>
                      <a:pt x="88106" y="90011"/>
                      <a:pt x="88106" y="90011"/>
                      <a:pt x="88106" y="90964"/>
                    </a:cubicBezTo>
                    <a:cubicBezTo>
                      <a:pt x="88106" y="93821"/>
                      <a:pt x="89059" y="96679"/>
                      <a:pt x="90964" y="99536"/>
                    </a:cubicBezTo>
                    <a:cubicBezTo>
                      <a:pt x="88106" y="100489"/>
                      <a:pt x="86201" y="103346"/>
                      <a:pt x="86201" y="106204"/>
                    </a:cubicBezTo>
                    <a:cubicBezTo>
                      <a:pt x="86201" y="110014"/>
                      <a:pt x="90011" y="113824"/>
                      <a:pt x="93821" y="113824"/>
                    </a:cubicBezTo>
                    <a:cubicBezTo>
                      <a:pt x="97631" y="113824"/>
                      <a:pt x="101441" y="110014"/>
                      <a:pt x="101441" y="106204"/>
                    </a:cubicBezTo>
                    <a:cubicBezTo>
                      <a:pt x="101441" y="105251"/>
                      <a:pt x="101441" y="104299"/>
                      <a:pt x="100489" y="103346"/>
                    </a:cubicBezTo>
                    <a:cubicBezTo>
                      <a:pt x="107156" y="103346"/>
                      <a:pt x="111919" y="97631"/>
                      <a:pt x="111919" y="91916"/>
                    </a:cubicBezTo>
                    <a:cubicBezTo>
                      <a:pt x="111919" y="85249"/>
                      <a:pt x="106204" y="79534"/>
                      <a:pt x="99536" y="79534"/>
                    </a:cubicBezTo>
                    <a:cubicBezTo>
                      <a:pt x="98584" y="79534"/>
                      <a:pt x="97631" y="79534"/>
                      <a:pt x="96679" y="80486"/>
                    </a:cubicBezTo>
                    <a:cubicBezTo>
                      <a:pt x="96679" y="79534"/>
                      <a:pt x="96679" y="79534"/>
                      <a:pt x="96679" y="78581"/>
                    </a:cubicBezTo>
                    <a:cubicBezTo>
                      <a:pt x="96679" y="72866"/>
                      <a:pt x="91916" y="68104"/>
                      <a:pt x="86201" y="67151"/>
                    </a:cubicBezTo>
                    <a:cubicBezTo>
                      <a:pt x="89059" y="63341"/>
                      <a:pt x="90964" y="58579"/>
                      <a:pt x="90964" y="53816"/>
                    </a:cubicBezTo>
                    <a:cubicBezTo>
                      <a:pt x="90964" y="50006"/>
                      <a:pt x="90011" y="46196"/>
                      <a:pt x="88106" y="43339"/>
                    </a:cubicBezTo>
                    <a:cubicBezTo>
                      <a:pt x="88106" y="43339"/>
                      <a:pt x="89059" y="42386"/>
                      <a:pt x="89059" y="42386"/>
                    </a:cubicBezTo>
                    <a:cubicBezTo>
                      <a:pt x="91916" y="41434"/>
                      <a:pt x="94774" y="43339"/>
                      <a:pt x="98584" y="43339"/>
                    </a:cubicBezTo>
                    <a:close/>
                  </a:path>
                </a:pathLst>
              </a:custGeom>
              <a:grpFill/>
              <a:ln w="9525" cap="flat">
                <a:noFill/>
                <a:prstDash val="solid"/>
                <a:miter/>
              </a:ln>
            </p:spPr>
            <p:txBody>
              <a:bodyPr rtlCol="0" anchor="ctr"/>
              <a:lstStyle/>
              <a:p>
                <a:endParaRPr lang="en-US"/>
              </a:p>
            </p:txBody>
          </p:sp>
          <p:sp>
            <p:nvSpPr>
              <p:cNvPr id="59" name="Freeform: Shape 46">
                <a:extLst>
                  <a:ext uri="{FF2B5EF4-FFF2-40B4-BE49-F238E27FC236}">
                    <a16:creationId xmlns:a16="http://schemas.microsoft.com/office/drawing/2014/main" id="{70712B4E-9583-8440-8892-08F9F0A36AD1}"/>
                  </a:ext>
                </a:extLst>
              </p:cNvPr>
              <p:cNvSpPr/>
              <p:nvPr/>
            </p:nvSpPr>
            <p:spPr>
              <a:xfrm>
                <a:off x="5531644" y="2882741"/>
                <a:ext cx="28575" cy="28575"/>
              </a:xfrm>
              <a:custGeom>
                <a:avLst/>
                <a:gdLst>
                  <a:gd name="connsiteX0" fmla="*/ 17621 w 28575"/>
                  <a:gd name="connsiteY0" fmla="*/ 28099 h 28575"/>
                  <a:gd name="connsiteX1" fmla="*/ 28099 w 28575"/>
                  <a:gd name="connsiteY1" fmla="*/ 17621 h 28575"/>
                  <a:gd name="connsiteX2" fmla="*/ 17621 w 28575"/>
                  <a:gd name="connsiteY2" fmla="*/ 7144 h 28575"/>
                  <a:gd name="connsiteX3" fmla="*/ 7144 w 28575"/>
                  <a:gd name="connsiteY3" fmla="*/ 17621 h 28575"/>
                  <a:gd name="connsiteX4" fmla="*/ 17621 w 28575"/>
                  <a:gd name="connsiteY4" fmla="*/ 2809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28099"/>
                    </a:moveTo>
                    <a:cubicBezTo>
                      <a:pt x="23336" y="28099"/>
                      <a:pt x="28099" y="23336"/>
                      <a:pt x="28099" y="17621"/>
                    </a:cubicBezTo>
                    <a:cubicBezTo>
                      <a:pt x="28099" y="11906"/>
                      <a:pt x="23336" y="7144"/>
                      <a:pt x="17621" y="7144"/>
                    </a:cubicBezTo>
                    <a:cubicBezTo>
                      <a:pt x="11906" y="7144"/>
                      <a:pt x="7144" y="11906"/>
                      <a:pt x="7144" y="17621"/>
                    </a:cubicBezTo>
                    <a:cubicBezTo>
                      <a:pt x="7144" y="23336"/>
                      <a:pt x="11906" y="28099"/>
                      <a:pt x="17621" y="28099"/>
                    </a:cubicBezTo>
                    <a:close/>
                  </a:path>
                </a:pathLst>
              </a:custGeom>
              <a:grpFill/>
              <a:ln w="9525" cap="flat">
                <a:noFill/>
                <a:prstDash val="solid"/>
                <a:miter/>
              </a:ln>
            </p:spPr>
            <p:txBody>
              <a:bodyPr rtlCol="0" anchor="ctr"/>
              <a:lstStyle/>
              <a:p>
                <a:endParaRPr lang="en-US"/>
              </a:p>
            </p:txBody>
          </p:sp>
          <p:sp>
            <p:nvSpPr>
              <p:cNvPr id="60" name="Freeform: Shape 47">
                <a:extLst>
                  <a:ext uri="{FF2B5EF4-FFF2-40B4-BE49-F238E27FC236}">
                    <a16:creationId xmlns:a16="http://schemas.microsoft.com/office/drawing/2014/main" id="{DAE028C5-BE57-8244-A49D-76AFF0EB3642}"/>
                  </a:ext>
                </a:extLst>
              </p:cNvPr>
              <p:cNvSpPr/>
              <p:nvPr/>
            </p:nvSpPr>
            <p:spPr>
              <a:xfrm>
                <a:off x="5657374" y="3650456"/>
                <a:ext cx="57150" cy="85725"/>
              </a:xfrm>
              <a:custGeom>
                <a:avLst/>
                <a:gdLst>
                  <a:gd name="connsiteX0" fmla="*/ 53816 w 57150"/>
                  <a:gd name="connsiteY0" fmla="*/ 61436 h 85725"/>
                  <a:gd name="connsiteX1" fmla="*/ 46196 w 57150"/>
                  <a:gd name="connsiteY1" fmla="*/ 44291 h 85725"/>
                  <a:gd name="connsiteX2" fmla="*/ 58579 w 57150"/>
                  <a:gd name="connsiteY2" fmla="*/ 28099 h 85725"/>
                  <a:gd name="connsiteX3" fmla="*/ 41434 w 57150"/>
                  <a:gd name="connsiteY3" fmla="*/ 10954 h 85725"/>
                  <a:gd name="connsiteX4" fmla="*/ 27146 w 57150"/>
                  <a:gd name="connsiteY4" fmla="*/ 18574 h 85725"/>
                  <a:gd name="connsiteX5" fmla="*/ 28099 w 57150"/>
                  <a:gd name="connsiteY5" fmla="*/ 15716 h 85725"/>
                  <a:gd name="connsiteX6" fmla="*/ 19526 w 57150"/>
                  <a:gd name="connsiteY6" fmla="*/ 7144 h 85725"/>
                  <a:gd name="connsiteX7" fmla="*/ 10001 w 57150"/>
                  <a:gd name="connsiteY7" fmla="*/ 16669 h 85725"/>
                  <a:gd name="connsiteX8" fmla="*/ 18574 w 57150"/>
                  <a:gd name="connsiteY8" fmla="*/ 25241 h 85725"/>
                  <a:gd name="connsiteX9" fmla="*/ 25241 w 57150"/>
                  <a:gd name="connsiteY9" fmla="*/ 21431 h 85725"/>
                  <a:gd name="connsiteX10" fmla="*/ 24289 w 57150"/>
                  <a:gd name="connsiteY10" fmla="*/ 28099 h 85725"/>
                  <a:gd name="connsiteX11" fmla="*/ 28099 w 57150"/>
                  <a:gd name="connsiteY11" fmla="*/ 38576 h 85725"/>
                  <a:gd name="connsiteX12" fmla="*/ 7144 w 57150"/>
                  <a:gd name="connsiteY12" fmla="*/ 61436 h 85725"/>
                  <a:gd name="connsiteX13" fmla="*/ 30004 w 57150"/>
                  <a:gd name="connsiteY13" fmla="*/ 84296 h 85725"/>
                  <a:gd name="connsiteX14" fmla="*/ 53816 w 57150"/>
                  <a:gd name="connsiteY14" fmla="*/ 6143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150" h="85725">
                    <a:moveTo>
                      <a:pt x="53816" y="61436"/>
                    </a:moveTo>
                    <a:cubicBezTo>
                      <a:pt x="53816" y="54769"/>
                      <a:pt x="50959" y="49054"/>
                      <a:pt x="46196" y="44291"/>
                    </a:cubicBezTo>
                    <a:cubicBezTo>
                      <a:pt x="52864" y="42386"/>
                      <a:pt x="58579" y="35719"/>
                      <a:pt x="58579" y="28099"/>
                    </a:cubicBezTo>
                    <a:cubicBezTo>
                      <a:pt x="58579" y="18574"/>
                      <a:pt x="50959" y="10954"/>
                      <a:pt x="41434" y="10954"/>
                    </a:cubicBezTo>
                    <a:cubicBezTo>
                      <a:pt x="35719" y="10954"/>
                      <a:pt x="30004" y="13811"/>
                      <a:pt x="27146" y="18574"/>
                    </a:cubicBezTo>
                    <a:cubicBezTo>
                      <a:pt x="27146" y="17621"/>
                      <a:pt x="28099" y="16669"/>
                      <a:pt x="28099" y="15716"/>
                    </a:cubicBezTo>
                    <a:cubicBezTo>
                      <a:pt x="28099" y="10954"/>
                      <a:pt x="24289" y="7144"/>
                      <a:pt x="19526" y="7144"/>
                    </a:cubicBezTo>
                    <a:cubicBezTo>
                      <a:pt x="14764" y="7144"/>
                      <a:pt x="10001" y="10954"/>
                      <a:pt x="10001" y="16669"/>
                    </a:cubicBezTo>
                    <a:cubicBezTo>
                      <a:pt x="10001" y="21431"/>
                      <a:pt x="13811" y="25241"/>
                      <a:pt x="18574" y="25241"/>
                    </a:cubicBezTo>
                    <a:cubicBezTo>
                      <a:pt x="21431" y="25241"/>
                      <a:pt x="24289" y="23336"/>
                      <a:pt x="25241" y="21431"/>
                    </a:cubicBezTo>
                    <a:cubicBezTo>
                      <a:pt x="24289" y="23336"/>
                      <a:pt x="24289" y="26194"/>
                      <a:pt x="24289" y="28099"/>
                    </a:cubicBezTo>
                    <a:cubicBezTo>
                      <a:pt x="24289" y="31909"/>
                      <a:pt x="25241" y="35719"/>
                      <a:pt x="28099" y="38576"/>
                    </a:cubicBezTo>
                    <a:cubicBezTo>
                      <a:pt x="16669" y="39529"/>
                      <a:pt x="7144" y="49054"/>
                      <a:pt x="7144" y="61436"/>
                    </a:cubicBezTo>
                    <a:cubicBezTo>
                      <a:pt x="7144" y="73819"/>
                      <a:pt x="17621" y="84296"/>
                      <a:pt x="30004" y="84296"/>
                    </a:cubicBezTo>
                    <a:cubicBezTo>
                      <a:pt x="43339" y="84296"/>
                      <a:pt x="53816" y="73819"/>
                      <a:pt x="53816" y="61436"/>
                    </a:cubicBezTo>
                    <a:close/>
                  </a:path>
                </a:pathLst>
              </a:custGeom>
              <a:grpFill/>
              <a:ln w="9525" cap="flat">
                <a:noFill/>
                <a:prstDash val="solid"/>
                <a:miter/>
              </a:ln>
            </p:spPr>
            <p:txBody>
              <a:bodyPr rtlCol="0" anchor="ctr"/>
              <a:lstStyle/>
              <a:p>
                <a:endParaRPr lang="en-US"/>
              </a:p>
            </p:txBody>
          </p:sp>
          <p:sp>
            <p:nvSpPr>
              <p:cNvPr id="61" name="Freeform: Shape 48">
                <a:extLst>
                  <a:ext uri="{FF2B5EF4-FFF2-40B4-BE49-F238E27FC236}">
                    <a16:creationId xmlns:a16="http://schemas.microsoft.com/office/drawing/2014/main" id="{6576A545-3FF6-5845-9B24-46F16C1A09C7}"/>
                  </a:ext>
                </a:extLst>
              </p:cNvPr>
              <p:cNvSpPr/>
              <p:nvPr/>
            </p:nvSpPr>
            <p:spPr>
              <a:xfrm>
                <a:off x="5672614" y="3374231"/>
                <a:ext cx="47625" cy="47625"/>
              </a:xfrm>
              <a:custGeom>
                <a:avLst/>
                <a:gdLst>
                  <a:gd name="connsiteX0" fmla="*/ 7144 w 47625"/>
                  <a:gd name="connsiteY0" fmla="*/ 25241 h 47625"/>
                  <a:gd name="connsiteX1" fmla="*/ 25241 w 47625"/>
                  <a:gd name="connsiteY1" fmla="*/ 43339 h 47625"/>
                  <a:gd name="connsiteX2" fmla="*/ 43339 w 47625"/>
                  <a:gd name="connsiteY2" fmla="*/ 25241 h 47625"/>
                  <a:gd name="connsiteX3" fmla="*/ 25241 w 47625"/>
                  <a:gd name="connsiteY3" fmla="*/ 7144 h 47625"/>
                  <a:gd name="connsiteX4" fmla="*/ 7144 w 47625"/>
                  <a:gd name="connsiteY4" fmla="*/ 2524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7144" y="25241"/>
                    </a:moveTo>
                    <a:cubicBezTo>
                      <a:pt x="7144" y="35719"/>
                      <a:pt x="15716" y="43339"/>
                      <a:pt x="25241" y="43339"/>
                    </a:cubicBezTo>
                    <a:cubicBezTo>
                      <a:pt x="34766" y="43339"/>
                      <a:pt x="43339" y="34766"/>
                      <a:pt x="43339" y="25241"/>
                    </a:cubicBezTo>
                    <a:cubicBezTo>
                      <a:pt x="43339" y="14764"/>
                      <a:pt x="34766" y="7144"/>
                      <a:pt x="25241" y="7144"/>
                    </a:cubicBezTo>
                    <a:cubicBezTo>
                      <a:pt x="15716" y="7144"/>
                      <a:pt x="7144" y="14764"/>
                      <a:pt x="7144" y="25241"/>
                    </a:cubicBezTo>
                    <a:close/>
                  </a:path>
                </a:pathLst>
              </a:custGeom>
              <a:grpFill/>
              <a:ln w="9525" cap="flat">
                <a:noFill/>
                <a:prstDash val="solid"/>
                <a:miter/>
              </a:ln>
            </p:spPr>
            <p:txBody>
              <a:bodyPr rtlCol="0" anchor="ctr"/>
              <a:lstStyle/>
              <a:p>
                <a:endParaRPr lang="en-US"/>
              </a:p>
            </p:txBody>
          </p:sp>
          <p:sp>
            <p:nvSpPr>
              <p:cNvPr id="62" name="Freeform: Shape 49">
                <a:extLst>
                  <a:ext uri="{FF2B5EF4-FFF2-40B4-BE49-F238E27FC236}">
                    <a16:creationId xmlns:a16="http://schemas.microsoft.com/office/drawing/2014/main" id="{CFC86C80-1358-174B-938F-02E5EFAD3369}"/>
                  </a:ext>
                </a:extLst>
              </p:cNvPr>
              <p:cNvSpPr/>
              <p:nvPr/>
            </p:nvSpPr>
            <p:spPr>
              <a:xfrm>
                <a:off x="5797391" y="4164806"/>
                <a:ext cx="28575" cy="28575"/>
              </a:xfrm>
              <a:custGeom>
                <a:avLst/>
                <a:gdLst>
                  <a:gd name="connsiteX0" fmla="*/ 24289 w 28575"/>
                  <a:gd name="connsiteY0" fmla="*/ 15716 h 28575"/>
                  <a:gd name="connsiteX1" fmla="*/ 15716 w 28575"/>
                  <a:gd name="connsiteY1" fmla="*/ 7144 h 28575"/>
                  <a:gd name="connsiteX2" fmla="*/ 7144 w 28575"/>
                  <a:gd name="connsiteY2" fmla="*/ 15716 h 28575"/>
                  <a:gd name="connsiteX3" fmla="*/ 15716 w 28575"/>
                  <a:gd name="connsiteY3" fmla="*/ 24289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10954"/>
                      <a:pt x="20479" y="7144"/>
                      <a:pt x="15716" y="7144"/>
                    </a:cubicBezTo>
                    <a:cubicBezTo>
                      <a:pt x="10954" y="7144"/>
                      <a:pt x="7144" y="10954"/>
                      <a:pt x="7144" y="15716"/>
                    </a:cubicBezTo>
                    <a:cubicBezTo>
                      <a:pt x="7144" y="20479"/>
                      <a:pt x="10954" y="24289"/>
                      <a:pt x="15716" y="24289"/>
                    </a:cubicBezTo>
                    <a:cubicBezTo>
                      <a:pt x="20479" y="23336"/>
                      <a:pt x="24289" y="19526"/>
                      <a:pt x="24289" y="15716"/>
                    </a:cubicBezTo>
                    <a:close/>
                  </a:path>
                </a:pathLst>
              </a:custGeom>
              <a:grpFill/>
              <a:ln w="9525" cap="flat">
                <a:noFill/>
                <a:prstDash val="solid"/>
                <a:miter/>
              </a:ln>
            </p:spPr>
            <p:txBody>
              <a:bodyPr rtlCol="0" anchor="ctr"/>
              <a:lstStyle/>
              <a:p>
                <a:endParaRPr lang="en-US"/>
              </a:p>
            </p:txBody>
          </p:sp>
          <p:sp>
            <p:nvSpPr>
              <p:cNvPr id="63" name="Freeform: Shape 50">
                <a:extLst>
                  <a:ext uri="{FF2B5EF4-FFF2-40B4-BE49-F238E27FC236}">
                    <a16:creationId xmlns:a16="http://schemas.microsoft.com/office/drawing/2014/main" id="{555C0EAB-9AEA-C645-B557-9F1A2464D8A6}"/>
                  </a:ext>
                </a:extLst>
              </p:cNvPr>
              <p:cNvSpPr/>
              <p:nvPr/>
            </p:nvSpPr>
            <p:spPr>
              <a:xfrm>
                <a:off x="6067717" y="3886676"/>
                <a:ext cx="19050" cy="19050"/>
              </a:xfrm>
              <a:custGeom>
                <a:avLst/>
                <a:gdLst>
                  <a:gd name="connsiteX0" fmla="*/ 13043 w 19050"/>
                  <a:gd name="connsiteY0" fmla="*/ 18574 h 19050"/>
                  <a:gd name="connsiteX1" fmla="*/ 18758 w 19050"/>
                  <a:gd name="connsiteY1" fmla="*/ 12859 h 19050"/>
                  <a:gd name="connsiteX2" fmla="*/ 13043 w 19050"/>
                  <a:gd name="connsiteY2" fmla="*/ 7144 h 19050"/>
                  <a:gd name="connsiteX3" fmla="*/ 7328 w 19050"/>
                  <a:gd name="connsiteY3" fmla="*/ 12859 h 19050"/>
                  <a:gd name="connsiteX4" fmla="*/ 13043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043" y="18574"/>
                    </a:moveTo>
                    <a:cubicBezTo>
                      <a:pt x="15901" y="18574"/>
                      <a:pt x="18758" y="15716"/>
                      <a:pt x="18758" y="12859"/>
                    </a:cubicBezTo>
                    <a:cubicBezTo>
                      <a:pt x="18758" y="10001"/>
                      <a:pt x="15901" y="7144"/>
                      <a:pt x="13043" y="7144"/>
                    </a:cubicBezTo>
                    <a:cubicBezTo>
                      <a:pt x="10186" y="7144"/>
                      <a:pt x="7328" y="10001"/>
                      <a:pt x="7328" y="12859"/>
                    </a:cubicBezTo>
                    <a:cubicBezTo>
                      <a:pt x="6376" y="15716"/>
                      <a:pt x="9233" y="18574"/>
                      <a:pt x="13043" y="18574"/>
                    </a:cubicBezTo>
                    <a:close/>
                  </a:path>
                </a:pathLst>
              </a:custGeom>
              <a:grpFill/>
              <a:ln w="9525" cap="flat">
                <a:noFill/>
                <a:prstDash val="solid"/>
                <a:miter/>
              </a:ln>
            </p:spPr>
            <p:txBody>
              <a:bodyPr rtlCol="0" anchor="ctr"/>
              <a:lstStyle/>
              <a:p>
                <a:endParaRPr lang="en-US"/>
              </a:p>
            </p:txBody>
          </p:sp>
          <p:sp>
            <p:nvSpPr>
              <p:cNvPr id="64" name="Freeform: Shape 51">
                <a:extLst>
                  <a:ext uri="{FF2B5EF4-FFF2-40B4-BE49-F238E27FC236}">
                    <a16:creationId xmlns:a16="http://schemas.microsoft.com/office/drawing/2014/main" id="{E3539DB2-243A-6340-81AE-EC72D80FE35C}"/>
                  </a:ext>
                </a:extLst>
              </p:cNvPr>
              <p:cNvSpPr/>
              <p:nvPr/>
            </p:nvSpPr>
            <p:spPr>
              <a:xfrm>
                <a:off x="5555456" y="3539014"/>
                <a:ext cx="57150" cy="57150"/>
              </a:xfrm>
              <a:custGeom>
                <a:avLst/>
                <a:gdLst>
                  <a:gd name="connsiteX0" fmla="*/ 31909 w 57150"/>
                  <a:gd name="connsiteY0" fmla="*/ 56674 h 57150"/>
                  <a:gd name="connsiteX1" fmla="*/ 56674 w 57150"/>
                  <a:gd name="connsiteY1" fmla="*/ 31909 h 57150"/>
                  <a:gd name="connsiteX2" fmla="*/ 31909 w 57150"/>
                  <a:gd name="connsiteY2" fmla="*/ 7144 h 57150"/>
                  <a:gd name="connsiteX3" fmla="*/ 7144 w 57150"/>
                  <a:gd name="connsiteY3" fmla="*/ 31909 h 57150"/>
                  <a:gd name="connsiteX4" fmla="*/ 31909 w 57150"/>
                  <a:gd name="connsiteY4" fmla="*/ 5667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1909" y="56674"/>
                    </a:moveTo>
                    <a:cubicBezTo>
                      <a:pt x="45244" y="56674"/>
                      <a:pt x="56674" y="46196"/>
                      <a:pt x="56674" y="31909"/>
                    </a:cubicBezTo>
                    <a:cubicBezTo>
                      <a:pt x="56674" y="18574"/>
                      <a:pt x="46196" y="7144"/>
                      <a:pt x="31909" y="7144"/>
                    </a:cubicBezTo>
                    <a:cubicBezTo>
                      <a:pt x="18574" y="7144"/>
                      <a:pt x="7144" y="17621"/>
                      <a:pt x="7144" y="31909"/>
                    </a:cubicBezTo>
                    <a:cubicBezTo>
                      <a:pt x="7144" y="46196"/>
                      <a:pt x="18574" y="56674"/>
                      <a:pt x="31909" y="56674"/>
                    </a:cubicBezTo>
                    <a:close/>
                  </a:path>
                </a:pathLst>
              </a:custGeom>
              <a:grpFill/>
              <a:ln w="9525" cap="flat">
                <a:noFill/>
                <a:prstDash val="solid"/>
                <a:miter/>
              </a:ln>
            </p:spPr>
            <p:txBody>
              <a:bodyPr rtlCol="0" anchor="ctr"/>
              <a:lstStyle/>
              <a:p>
                <a:endParaRPr lang="en-US"/>
              </a:p>
            </p:txBody>
          </p:sp>
          <p:sp>
            <p:nvSpPr>
              <p:cNvPr id="65" name="Freeform: Shape 52">
                <a:extLst>
                  <a:ext uri="{FF2B5EF4-FFF2-40B4-BE49-F238E27FC236}">
                    <a16:creationId xmlns:a16="http://schemas.microsoft.com/office/drawing/2014/main" id="{7AA8173B-C112-1442-A788-8B35C63238BA}"/>
                  </a:ext>
                </a:extLst>
              </p:cNvPr>
              <p:cNvSpPr/>
              <p:nvPr/>
            </p:nvSpPr>
            <p:spPr>
              <a:xfrm>
                <a:off x="6038374" y="4180046"/>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10001" y="18574"/>
                      <a:pt x="12859" y="18574"/>
                    </a:cubicBezTo>
                    <a:cubicBezTo>
                      <a:pt x="15716" y="18574"/>
                      <a:pt x="18574" y="15716"/>
                      <a:pt x="18574" y="12859"/>
                    </a:cubicBezTo>
                    <a:cubicBezTo>
                      <a:pt x="18574" y="10001"/>
                      <a:pt x="15716" y="7144"/>
                      <a:pt x="12859" y="7144"/>
                    </a:cubicBezTo>
                    <a:cubicBezTo>
                      <a:pt x="10001" y="8096"/>
                      <a:pt x="7144" y="10001"/>
                      <a:pt x="7144" y="12859"/>
                    </a:cubicBezTo>
                    <a:close/>
                  </a:path>
                </a:pathLst>
              </a:custGeom>
              <a:grpFill/>
              <a:ln w="9525" cap="flat">
                <a:noFill/>
                <a:prstDash val="solid"/>
                <a:miter/>
              </a:ln>
            </p:spPr>
            <p:txBody>
              <a:bodyPr rtlCol="0" anchor="ctr"/>
              <a:lstStyle/>
              <a:p>
                <a:endParaRPr lang="en-US"/>
              </a:p>
            </p:txBody>
          </p:sp>
          <p:sp>
            <p:nvSpPr>
              <p:cNvPr id="66" name="Freeform: Shape 53">
                <a:extLst>
                  <a:ext uri="{FF2B5EF4-FFF2-40B4-BE49-F238E27FC236}">
                    <a16:creationId xmlns:a16="http://schemas.microsoft.com/office/drawing/2014/main" id="{42BF2999-3735-E648-B6F6-FB6FAF460267}"/>
                  </a:ext>
                </a:extLst>
              </p:cNvPr>
              <p:cNvSpPr/>
              <p:nvPr/>
            </p:nvSpPr>
            <p:spPr>
              <a:xfrm>
                <a:off x="5919311" y="3565684"/>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10001" y="18574"/>
                      <a:pt x="12859" y="18574"/>
                    </a:cubicBezTo>
                    <a:cubicBezTo>
                      <a:pt x="15716" y="18574"/>
                      <a:pt x="18574" y="15716"/>
                      <a:pt x="18574" y="12859"/>
                    </a:cubicBezTo>
                    <a:cubicBezTo>
                      <a:pt x="18574" y="10001"/>
                      <a:pt x="15716" y="7144"/>
                      <a:pt x="12859" y="7144"/>
                    </a:cubicBezTo>
                    <a:cubicBezTo>
                      <a:pt x="10001" y="7144"/>
                      <a:pt x="7144" y="10001"/>
                      <a:pt x="7144" y="12859"/>
                    </a:cubicBezTo>
                    <a:close/>
                  </a:path>
                </a:pathLst>
              </a:custGeom>
              <a:grpFill/>
              <a:ln w="9525" cap="flat">
                <a:noFill/>
                <a:prstDash val="solid"/>
                <a:miter/>
              </a:ln>
            </p:spPr>
            <p:txBody>
              <a:bodyPr rtlCol="0" anchor="ctr"/>
              <a:lstStyle/>
              <a:p>
                <a:endParaRPr lang="en-US"/>
              </a:p>
            </p:txBody>
          </p:sp>
          <p:sp>
            <p:nvSpPr>
              <p:cNvPr id="67" name="Freeform: Shape 54">
                <a:extLst>
                  <a:ext uri="{FF2B5EF4-FFF2-40B4-BE49-F238E27FC236}">
                    <a16:creationId xmlns:a16="http://schemas.microsoft.com/office/drawing/2014/main" id="{50396562-729D-CD4E-9C8A-BD5A0DBCC481}"/>
                  </a:ext>
                </a:extLst>
              </p:cNvPr>
              <p:cNvSpPr/>
              <p:nvPr/>
            </p:nvSpPr>
            <p:spPr>
              <a:xfrm>
                <a:off x="5928836" y="4101941"/>
                <a:ext cx="19050" cy="19050"/>
              </a:xfrm>
              <a:custGeom>
                <a:avLst/>
                <a:gdLst>
                  <a:gd name="connsiteX0" fmla="*/ 12859 w 19050"/>
                  <a:gd name="connsiteY0" fmla="*/ 18574 h 19050"/>
                  <a:gd name="connsiteX1" fmla="*/ 18574 w 19050"/>
                  <a:gd name="connsiteY1" fmla="*/ 12859 h 19050"/>
                  <a:gd name="connsiteX2" fmla="*/ 12859 w 19050"/>
                  <a:gd name="connsiteY2" fmla="*/ 7144 h 19050"/>
                  <a:gd name="connsiteX3" fmla="*/ 7144 w 19050"/>
                  <a:gd name="connsiteY3" fmla="*/ 12859 h 19050"/>
                  <a:gd name="connsiteX4" fmla="*/ 12859 w 19050"/>
                  <a:gd name="connsiteY4" fmla="*/ 1857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18574"/>
                    </a:moveTo>
                    <a:cubicBezTo>
                      <a:pt x="15716" y="18574"/>
                      <a:pt x="18574" y="15716"/>
                      <a:pt x="18574" y="12859"/>
                    </a:cubicBezTo>
                    <a:cubicBezTo>
                      <a:pt x="18574" y="10001"/>
                      <a:pt x="15716" y="7144"/>
                      <a:pt x="12859" y="7144"/>
                    </a:cubicBezTo>
                    <a:cubicBezTo>
                      <a:pt x="10001" y="7144"/>
                      <a:pt x="7144" y="10001"/>
                      <a:pt x="7144" y="12859"/>
                    </a:cubicBezTo>
                    <a:cubicBezTo>
                      <a:pt x="7144" y="15716"/>
                      <a:pt x="10001" y="18574"/>
                      <a:pt x="12859" y="18574"/>
                    </a:cubicBezTo>
                    <a:close/>
                  </a:path>
                </a:pathLst>
              </a:custGeom>
              <a:grpFill/>
              <a:ln w="9525" cap="flat">
                <a:noFill/>
                <a:prstDash val="solid"/>
                <a:miter/>
              </a:ln>
            </p:spPr>
            <p:txBody>
              <a:bodyPr rtlCol="0" anchor="ctr"/>
              <a:lstStyle/>
              <a:p>
                <a:endParaRPr lang="en-US"/>
              </a:p>
            </p:txBody>
          </p:sp>
          <p:sp>
            <p:nvSpPr>
              <p:cNvPr id="68" name="Freeform: Shape 55">
                <a:extLst>
                  <a:ext uri="{FF2B5EF4-FFF2-40B4-BE49-F238E27FC236}">
                    <a16:creationId xmlns:a16="http://schemas.microsoft.com/office/drawing/2014/main" id="{7C63F44F-F5B2-3D43-99DD-E657C58E31C8}"/>
                  </a:ext>
                </a:extLst>
              </p:cNvPr>
              <p:cNvSpPr/>
              <p:nvPr/>
            </p:nvSpPr>
            <p:spPr>
              <a:xfrm>
                <a:off x="5470684" y="3559016"/>
                <a:ext cx="66675" cy="66675"/>
              </a:xfrm>
              <a:custGeom>
                <a:avLst/>
                <a:gdLst>
                  <a:gd name="connsiteX0" fmla="*/ 33814 w 66675"/>
                  <a:gd name="connsiteY0" fmla="*/ 7144 h 66675"/>
                  <a:gd name="connsiteX1" fmla="*/ 7144 w 66675"/>
                  <a:gd name="connsiteY1" fmla="*/ 33814 h 66675"/>
                  <a:gd name="connsiteX2" fmla="*/ 33814 w 66675"/>
                  <a:gd name="connsiteY2" fmla="*/ 60484 h 66675"/>
                  <a:gd name="connsiteX3" fmla="*/ 60484 w 66675"/>
                  <a:gd name="connsiteY3" fmla="*/ 33814 h 66675"/>
                  <a:gd name="connsiteX4" fmla="*/ 33814 w 66675"/>
                  <a:gd name="connsiteY4" fmla="*/ 714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3814" y="7144"/>
                    </a:moveTo>
                    <a:cubicBezTo>
                      <a:pt x="19526" y="7144"/>
                      <a:pt x="7144" y="18574"/>
                      <a:pt x="7144" y="33814"/>
                    </a:cubicBezTo>
                    <a:cubicBezTo>
                      <a:pt x="7144" y="48101"/>
                      <a:pt x="18574" y="60484"/>
                      <a:pt x="33814" y="60484"/>
                    </a:cubicBezTo>
                    <a:cubicBezTo>
                      <a:pt x="48101" y="60484"/>
                      <a:pt x="60484" y="49054"/>
                      <a:pt x="60484" y="33814"/>
                    </a:cubicBezTo>
                    <a:cubicBezTo>
                      <a:pt x="59531" y="18574"/>
                      <a:pt x="48101" y="7144"/>
                      <a:pt x="33814" y="7144"/>
                    </a:cubicBezTo>
                    <a:close/>
                  </a:path>
                </a:pathLst>
              </a:custGeom>
              <a:grpFill/>
              <a:ln w="9525" cap="flat">
                <a:noFill/>
                <a:prstDash val="solid"/>
                <a:miter/>
              </a:ln>
            </p:spPr>
            <p:txBody>
              <a:bodyPr rtlCol="0" anchor="ctr"/>
              <a:lstStyle/>
              <a:p>
                <a:endParaRPr lang="en-US"/>
              </a:p>
            </p:txBody>
          </p:sp>
          <p:sp>
            <p:nvSpPr>
              <p:cNvPr id="69" name="Freeform: Shape 56">
                <a:extLst>
                  <a:ext uri="{FF2B5EF4-FFF2-40B4-BE49-F238E27FC236}">
                    <a16:creationId xmlns:a16="http://schemas.microsoft.com/office/drawing/2014/main" id="{A9B04A93-12B4-7C46-A811-38CAED89B9DB}"/>
                  </a:ext>
                </a:extLst>
              </p:cNvPr>
              <p:cNvSpPr/>
              <p:nvPr/>
            </p:nvSpPr>
            <p:spPr>
              <a:xfrm>
                <a:off x="5958364" y="3854291"/>
                <a:ext cx="38100" cy="38100"/>
              </a:xfrm>
              <a:custGeom>
                <a:avLst/>
                <a:gdLst>
                  <a:gd name="connsiteX0" fmla="*/ 20479 w 38100"/>
                  <a:gd name="connsiteY0" fmla="*/ 33814 h 38100"/>
                  <a:gd name="connsiteX1" fmla="*/ 33814 w 38100"/>
                  <a:gd name="connsiteY1" fmla="*/ 20479 h 38100"/>
                  <a:gd name="connsiteX2" fmla="*/ 20479 w 38100"/>
                  <a:gd name="connsiteY2" fmla="*/ 7144 h 38100"/>
                  <a:gd name="connsiteX3" fmla="*/ 7144 w 38100"/>
                  <a:gd name="connsiteY3" fmla="*/ 20479 h 38100"/>
                  <a:gd name="connsiteX4" fmla="*/ 20479 w 38100"/>
                  <a:gd name="connsiteY4" fmla="*/ 3381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0479" y="33814"/>
                    </a:moveTo>
                    <a:cubicBezTo>
                      <a:pt x="27146" y="33814"/>
                      <a:pt x="33814" y="28099"/>
                      <a:pt x="33814" y="20479"/>
                    </a:cubicBezTo>
                    <a:cubicBezTo>
                      <a:pt x="33814" y="12859"/>
                      <a:pt x="28099" y="7144"/>
                      <a:pt x="20479" y="7144"/>
                    </a:cubicBezTo>
                    <a:cubicBezTo>
                      <a:pt x="13811" y="7144"/>
                      <a:pt x="7144" y="12859"/>
                      <a:pt x="7144" y="20479"/>
                    </a:cubicBezTo>
                    <a:cubicBezTo>
                      <a:pt x="7144" y="28099"/>
                      <a:pt x="12859" y="33814"/>
                      <a:pt x="20479" y="33814"/>
                    </a:cubicBezTo>
                    <a:close/>
                  </a:path>
                </a:pathLst>
              </a:custGeom>
              <a:grpFill/>
              <a:ln w="9525" cap="flat">
                <a:noFill/>
                <a:prstDash val="solid"/>
                <a:miter/>
              </a:ln>
            </p:spPr>
            <p:txBody>
              <a:bodyPr rtlCol="0" anchor="ctr"/>
              <a:lstStyle/>
              <a:p>
                <a:endParaRPr lang="en-US"/>
              </a:p>
            </p:txBody>
          </p:sp>
          <p:sp>
            <p:nvSpPr>
              <p:cNvPr id="70" name="Freeform: Shape 57">
                <a:extLst>
                  <a:ext uri="{FF2B5EF4-FFF2-40B4-BE49-F238E27FC236}">
                    <a16:creationId xmlns:a16="http://schemas.microsoft.com/office/drawing/2014/main" id="{C5F09167-7F12-A046-B8DB-D7F1D0636D2A}"/>
                  </a:ext>
                </a:extLst>
              </p:cNvPr>
              <p:cNvSpPr/>
              <p:nvPr/>
            </p:nvSpPr>
            <p:spPr>
              <a:xfrm>
                <a:off x="6216491" y="2458879"/>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71" name="Freeform: Shape 58">
                <a:extLst>
                  <a:ext uri="{FF2B5EF4-FFF2-40B4-BE49-F238E27FC236}">
                    <a16:creationId xmlns:a16="http://schemas.microsoft.com/office/drawing/2014/main" id="{1FD5E88F-1EEA-5248-B7D6-EB132C8ADF58}"/>
                  </a:ext>
                </a:extLst>
              </p:cNvPr>
              <p:cNvSpPr/>
              <p:nvPr/>
            </p:nvSpPr>
            <p:spPr>
              <a:xfrm>
                <a:off x="5384006" y="3668554"/>
                <a:ext cx="66675" cy="66675"/>
              </a:xfrm>
              <a:custGeom>
                <a:avLst/>
                <a:gdLst>
                  <a:gd name="connsiteX0" fmla="*/ 34766 w 66675"/>
                  <a:gd name="connsiteY0" fmla="*/ 7144 h 66675"/>
                  <a:gd name="connsiteX1" fmla="*/ 7144 w 66675"/>
                  <a:gd name="connsiteY1" fmla="*/ 34766 h 66675"/>
                  <a:gd name="connsiteX2" fmla="*/ 34766 w 66675"/>
                  <a:gd name="connsiteY2" fmla="*/ 62389 h 66675"/>
                  <a:gd name="connsiteX3" fmla="*/ 62389 w 66675"/>
                  <a:gd name="connsiteY3" fmla="*/ 34766 h 66675"/>
                  <a:gd name="connsiteX4" fmla="*/ 34766 w 66675"/>
                  <a:gd name="connsiteY4" fmla="*/ 714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4766" y="7144"/>
                    </a:moveTo>
                    <a:cubicBezTo>
                      <a:pt x="19526" y="7144"/>
                      <a:pt x="7144" y="19526"/>
                      <a:pt x="7144" y="34766"/>
                    </a:cubicBezTo>
                    <a:cubicBezTo>
                      <a:pt x="7144" y="50006"/>
                      <a:pt x="19526" y="62389"/>
                      <a:pt x="34766" y="62389"/>
                    </a:cubicBezTo>
                    <a:cubicBezTo>
                      <a:pt x="50006" y="62389"/>
                      <a:pt x="62389" y="50006"/>
                      <a:pt x="62389" y="34766"/>
                    </a:cubicBezTo>
                    <a:cubicBezTo>
                      <a:pt x="62389" y="18574"/>
                      <a:pt x="50006" y="7144"/>
                      <a:pt x="34766" y="7144"/>
                    </a:cubicBezTo>
                    <a:close/>
                  </a:path>
                </a:pathLst>
              </a:custGeom>
              <a:grpFill/>
              <a:ln w="9525" cap="flat">
                <a:noFill/>
                <a:prstDash val="solid"/>
                <a:miter/>
              </a:ln>
            </p:spPr>
            <p:txBody>
              <a:bodyPr rtlCol="0" anchor="ctr"/>
              <a:lstStyle/>
              <a:p>
                <a:endParaRPr lang="en-US"/>
              </a:p>
            </p:txBody>
          </p:sp>
          <p:sp>
            <p:nvSpPr>
              <p:cNvPr id="72" name="Freeform: Shape 59">
                <a:extLst>
                  <a:ext uri="{FF2B5EF4-FFF2-40B4-BE49-F238E27FC236}">
                    <a16:creationId xmlns:a16="http://schemas.microsoft.com/office/drawing/2014/main" id="{716AF07D-3671-9344-88D7-BECFF0035B3E}"/>
                  </a:ext>
                </a:extLst>
              </p:cNvPr>
              <p:cNvSpPr/>
              <p:nvPr/>
            </p:nvSpPr>
            <p:spPr>
              <a:xfrm>
                <a:off x="5896451" y="3007519"/>
                <a:ext cx="57150" cy="57150"/>
              </a:xfrm>
              <a:custGeom>
                <a:avLst/>
                <a:gdLst>
                  <a:gd name="connsiteX0" fmla="*/ 7144 w 57150"/>
                  <a:gd name="connsiteY0" fmla="*/ 30004 h 57150"/>
                  <a:gd name="connsiteX1" fmla="*/ 30004 w 57150"/>
                  <a:gd name="connsiteY1" fmla="*/ 52864 h 57150"/>
                  <a:gd name="connsiteX2" fmla="*/ 52864 w 57150"/>
                  <a:gd name="connsiteY2" fmla="*/ 30004 h 57150"/>
                  <a:gd name="connsiteX3" fmla="*/ 30004 w 57150"/>
                  <a:gd name="connsiteY3" fmla="*/ 7144 h 57150"/>
                  <a:gd name="connsiteX4" fmla="*/ 7144 w 57150"/>
                  <a:gd name="connsiteY4" fmla="*/ 3000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0004"/>
                    </a:moveTo>
                    <a:cubicBezTo>
                      <a:pt x="7144" y="43339"/>
                      <a:pt x="17621" y="52864"/>
                      <a:pt x="30004" y="52864"/>
                    </a:cubicBezTo>
                    <a:cubicBezTo>
                      <a:pt x="43339" y="52864"/>
                      <a:pt x="52864" y="42386"/>
                      <a:pt x="52864" y="30004"/>
                    </a:cubicBezTo>
                    <a:cubicBezTo>
                      <a:pt x="52864" y="16669"/>
                      <a:pt x="42386" y="7144"/>
                      <a:pt x="30004" y="7144"/>
                    </a:cubicBezTo>
                    <a:cubicBezTo>
                      <a:pt x="17621" y="7144"/>
                      <a:pt x="7144" y="17621"/>
                      <a:pt x="7144" y="30004"/>
                    </a:cubicBezTo>
                    <a:close/>
                  </a:path>
                </a:pathLst>
              </a:custGeom>
              <a:grpFill/>
              <a:ln w="9525" cap="flat">
                <a:noFill/>
                <a:prstDash val="solid"/>
                <a:miter/>
              </a:ln>
            </p:spPr>
            <p:txBody>
              <a:bodyPr rtlCol="0" anchor="ctr"/>
              <a:lstStyle/>
              <a:p>
                <a:endParaRPr lang="en-US"/>
              </a:p>
            </p:txBody>
          </p:sp>
          <p:sp>
            <p:nvSpPr>
              <p:cNvPr id="73" name="Freeform: Shape 60">
                <a:extLst>
                  <a:ext uri="{FF2B5EF4-FFF2-40B4-BE49-F238E27FC236}">
                    <a16:creationId xmlns:a16="http://schemas.microsoft.com/office/drawing/2014/main" id="{A022C436-129D-084C-9E17-A5848DF1D3C2}"/>
                  </a:ext>
                </a:extLst>
              </p:cNvPr>
              <p:cNvSpPr/>
              <p:nvPr/>
            </p:nvSpPr>
            <p:spPr>
              <a:xfrm>
                <a:off x="6256496" y="2455069"/>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9526" y="22384"/>
                      <a:pt x="22384" y="18574"/>
                      <a:pt x="22384" y="14764"/>
                    </a:cubicBezTo>
                    <a:cubicBezTo>
                      <a:pt x="22384" y="10001"/>
                      <a:pt x="18574" y="7144"/>
                      <a:pt x="14764" y="7144"/>
                    </a:cubicBezTo>
                    <a:cubicBezTo>
                      <a:pt x="10954" y="7144"/>
                      <a:pt x="7144" y="10954"/>
                      <a:pt x="7144" y="14764"/>
                    </a:cubicBezTo>
                    <a:cubicBezTo>
                      <a:pt x="7144" y="18574"/>
                      <a:pt x="10001" y="22384"/>
                      <a:pt x="14764" y="22384"/>
                    </a:cubicBezTo>
                    <a:close/>
                  </a:path>
                </a:pathLst>
              </a:custGeom>
              <a:grpFill/>
              <a:ln w="9525" cap="flat">
                <a:noFill/>
                <a:prstDash val="solid"/>
                <a:miter/>
              </a:ln>
            </p:spPr>
            <p:txBody>
              <a:bodyPr rtlCol="0" anchor="ctr"/>
              <a:lstStyle/>
              <a:p>
                <a:endParaRPr lang="en-US"/>
              </a:p>
            </p:txBody>
          </p:sp>
          <p:sp>
            <p:nvSpPr>
              <p:cNvPr id="74" name="Freeform: Shape 61">
                <a:extLst>
                  <a:ext uri="{FF2B5EF4-FFF2-40B4-BE49-F238E27FC236}">
                    <a16:creationId xmlns:a16="http://schemas.microsoft.com/office/drawing/2014/main" id="{D93421CA-9E02-244D-8161-1A96F6B45ECB}"/>
                  </a:ext>
                </a:extLst>
              </p:cNvPr>
              <p:cNvSpPr/>
              <p:nvPr/>
            </p:nvSpPr>
            <p:spPr>
              <a:xfrm>
                <a:off x="5407819" y="3471386"/>
                <a:ext cx="38100" cy="38100"/>
              </a:xfrm>
              <a:custGeom>
                <a:avLst/>
                <a:gdLst>
                  <a:gd name="connsiteX0" fmla="*/ 39529 w 38100"/>
                  <a:gd name="connsiteY0" fmla="*/ 23336 h 38100"/>
                  <a:gd name="connsiteX1" fmla="*/ 23336 w 38100"/>
                  <a:gd name="connsiteY1" fmla="*/ 39529 h 38100"/>
                  <a:gd name="connsiteX2" fmla="*/ 7144 w 38100"/>
                  <a:gd name="connsiteY2" fmla="*/ 23336 h 38100"/>
                  <a:gd name="connsiteX3" fmla="*/ 23336 w 38100"/>
                  <a:gd name="connsiteY3" fmla="*/ 7144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32279"/>
                      <a:pt x="32279" y="39529"/>
                      <a:pt x="23336" y="39529"/>
                    </a:cubicBezTo>
                    <a:cubicBezTo>
                      <a:pt x="14393" y="39529"/>
                      <a:pt x="7144" y="32279"/>
                      <a:pt x="7144" y="23336"/>
                    </a:cubicBezTo>
                    <a:cubicBezTo>
                      <a:pt x="7144" y="14393"/>
                      <a:pt x="14393" y="7144"/>
                      <a:pt x="23336" y="7144"/>
                    </a:cubicBezTo>
                    <a:cubicBezTo>
                      <a:pt x="32279" y="7144"/>
                      <a:pt x="39529" y="14393"/>
                      <a:pt x="39529" y="23336"/>
                    </a:cubicBezTo>
                    <a:close/>
                  </a:path>
                </a:pathLst>
              </a:custGeom>
              <a:grpFill/>
              <a:ln w="9525" cap="flat">
                <a:noFill/>
                <a:prstDash val="solid"/>
                <a:miter/>
              </a:ln>
            </p:spPr>
            <p:txBody>
              <a:bodyPr rtlCol="0" anchor="ctr"/>
              <a:lstStyle/>
              <a:p>
                <a:endParaRPr lang="en-US"/>
              </a:p>
            </p:txBody>
          </p:sp>
          <p:sp>
            <p:nvSpPr>
              <p:cNvPr id="75" name="Freeform: Shape 62">
                <a:extLst>
                  <a:ext uri="{FF2B5EF4-FFF2-40B4-BE49-F238E27FC236}">
                    <a16:creationId xmlns:a16="http://schemas.microsoft.com/office/drawing/2014/main" id="{6DE0D80E-4D22-004F-87E2-B19867A307E1}"/>
                  </a:ext>
                </a:extLst>
              </p:cNvPr>
              <p:cNvSpPr/>
              <p:nvPr/>
            </p:nvSpPr>
            <p:spPr>
              <a:xfrm>
                <a:off x="6014561" y="2881789"/>
                <a:ext cx="19050" cy="19050"/>
              </a:xfrm>
              <a:custGeom>
                <a:avLst/>
                <a:gdLst>
                  <a:gd name="connsiteX0" fmla="*/ 7144 w 19050"/>
                  <a:gd name="connsiteY0" fmla="*/ 12859 h 19050"/>
                  <a:gd name="connsiteX1" fmla="*/ 12859 w 19050"/>
                  <a:gd name="connsiteY1" fmla="*/ 18574 h 19050"/>
                  <a:gd name="connsiteX2" fmla="*/ 18574 w 19050"/>
                  <a:gd name="connsiteY2" fmla="*/ 12859 h 19050"/>
                  <a:gd name="connsiteX3" fmla="*/ 12859 w 19050"/>
                  <a:gd name="connsiteY3" fmla="*/ 7144 h 19050"/>
                  <a:gd name="connsiteX4" fmla="*/ 714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2859"/>
                    </a:moveTo>
                    <a:cubicBezTo>
                      <a:pt x="7144" y="15716"/>
                      <a:pt x="9049" y="18574"/>
                      <a:pt x="12859" y="18574"/>
                    </a:cubicBezTo>
                    <a:cubicBezTo>
                      <a:pt x="15716" y="18574"/>
                      <a:pt x="18574" y="16669"/>
                      <a:pt x="18574" y="12859"/>
                    </a:cubicBezTo>
                    <a:cubicBezTo>
                      <a:pt x="18574" y="10001"/>
                      <a:pt x="16669" y="7144"/>
                      <a:pt x="12859" y="7144"/>
                    </a:cubicBezTo>
                    <a:cubicBezTo>
                      <a:pt x="9049" y="8096"/>
                      <a:pt x="7144" y="10001"/>
                      <a:pt x="7144" y="12859"/>
                    </a:cubicBezTo>
                    <a:close/>
                  </a:path>
                </a:pathLst>
              </a:custGeom>
              <a:grpFill/>
              <a:ln w="9525" cap="flat">
                <a:noFill/>
                <a:prstDash val="solid"/>
                <a:miter/>
              </a:ln>
            </p:spPr>
            <p:txBody>
              <a:bodyPr rtlCol="0" anchor="ctr"/>
              <a:lstStyle/>
              <a:p>
                <a:endParaRPr lang="en-US"/>
              </a:p>
            </p:txBody>
          </p:sp>
          <p:sp>
            <p:nvSpPr>
              <p:cNvPr id="76" name="Freeform: Shape 63">
                <a:extLst>
                  <a:ext uri="{FF2B5EF4-FFF2-40B4-BE49-F238E27FC236}">
                    <a16:creationId xmlns:a16="http://schemas.microsoft.com/office/drawing/2014/main" id="{3E41CBA6-0FE2-1541-859D-064D436C098A}"/>
                  </a:ext>
                </a:extLst>
              </p:cNvPr>
              <p:cNvSpPr/>
              <p:nvPr/>
            </p:nvSpPr>
            <p:spPr>
              <a:xfrm>
                <a:off x="5963126" y="2893219"/>
                <a:ext cx="76200" cy="85725"/>
              </a:xfrm>
              <a:custGeom>
                <a:avLst/>
                <a:gdLst>
                  <a:gd name="connsiteX0" fmla="*/ 13811 w 76200"/>
                  <a:gd name="connsiteY0" fmla="*/ 37624 h 85725"/>
                  <a:gd name="connsiteX1" fmla="*/ 13811 w 76200"/>
                  <a:gd name="connsiteY1" fmla="*/ 40481 h 85725"/>
                  <a:gd name="connsiteX2" fmla="*/ 7144 w 76200"/>
                  <a:gd name="connsiteY2" fmla="*/ 57626 h 85725"/>
                  <a:gd name="connsiteX3" fmla="*/ 15716 w 76200"/>
                  <a:gd name="connsiteY3" fmla="*/ 77629 h 85725"/>
                  <a:gd name="connsiteX4" fmla="*/ 28099 w 76200"/>
                  <a:gd name="connsiteY4" fmla="*/ 86201 h 85725"/>
                  <a:gd name="connsiteX5" fmla="*/ 33814 w 76200"/>
                  <a:gd name="connsiteY5" fmla="*/ 84296 h 85725"/>
                  <a:gd name="connsiteX6" fmla="*/ 58579 w 76200"/>
                  <a:gd name="connsiteY6" fmla="*/ 64294 h 85725"/>
                  <a:gd name="connsiteX7" fmla="*/ 74771 w 76200"/>
                  <a:gd name="connsiteY7" fmla="*/ 37624 h 85725"/>
                  <a:gd name="connsiteX8" fmla="*/ 44291 w 76200"/>
                  <a:gd name="connsiteY8" fmla="*/ 7144 h 85725"/>
                  <a:gd name="connsiteX9" fmla="*/ 13811 w 76200"/>
                  <a:gd name="connsiteY9" fmla="*/ 3762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85725">
                    <a:moveTo>
                      <a:pt x="13811" y="37624"/>
                    </a:moveTo>
                    <a:cubicBezTo>
                      <a:pt x="13811" y="38576"/>
                      <a:pt x="13811" y="39529"/>
                      <a:pt x="13811" y="40481"/>
                    </a:cubicBezTo>
                    <a:cubicBezTo>
                      <a:pt x="10001" y="45244"/>
                      <a:pt x="7144" y="50959"/>
                      <a:pt x="7144" y="57626"/>
                    </a:cubicBezTo>
                    <a:cubicBezTo>
                      <a:pt x="7144" y="65246"/>
                      <a:pt x="10954" y="71914"/>
                      <a:pt x="15716" y="77629"/>
                    </a:cubicBezTo>
                    <a:cubicBezTo>
                      <a:pt x="17621" y="82391"/>
                      <a:pt x="22384" y="86201"/>
                      <a:pt x="28099" y="86201"/>
                    </a:cubicBezTo>
                    <a:cubicBezTo>
                      <a:pt x="30004" y="86201"/>
                      <a:pt x="31909" y="85249"/>
                      <a:pt x="33814" y="84296"/>
                    </a:cubicBezTo>
                    <a:cubicBezTo>
                      <a:pt x="46196" y="84296"/>
                      <a:pt x="55721" y="75724"/>
                      <a:pt x="58579" y="64294"/>
                    </a:cubicBezTo>
                    <a:cubicBezTo>
                      <a:pt x="68104" y="58579"/>
                      <a:pt x="74771" y="49054"/>
                      <a:pt x="74771" y="37624"/>
                    </a:cubicBezTo>
                    <a:cubicBezTo>
                      <a:pt x="74771" y="20479"/>
                      <a:pt x="60484" y="7144"/>
                      <a:pt x="44291" y="7144"/>
                    </a:cubicBezTo>
                    <a:cubicBezTo>
                      <a:pt x="28099" y="7144"/>
                      <a:pt x="13811" y="20479"/>
                      <a:pt x="13811" y="37624"/>
                    </a:cubicBezTo>
                    <a:close/>
                  </a:path>
                </a:pathLst>
              </a:custGeom>
              <a:grpFill/>
              <a:ln w="9525" cap="flat">
                <a:noFill/>
                <a:prstDash val="solid"/>
                <a:miter/>
              </a:ln>
            </p:spPr>
            <p:txBody>
              <a:bodyPr rtlCol="0" anchor="ctr"/>
              <a:lstStyle/>
              <a:p>
                <a:endParaRPr lang="en-US"/>
              </a:p>
            </p:txBody>
          </p:sp>
          <p:sp>
            <p:nvSpPr>
              <p:cNvPr id="77" name="Freeform: Shape 64">
                <a:extLst>
                  <a:ext uri="{FF2B5EF4-FFF2-40B4-BE49-F238E27FC236}">
                    <a16:creationId xmlns:a16="http://schemas.microsoft.com/office/drawing/2014/main" id="{E445BA3B-D077-9244-B548-1CAE22D2D2D8}"/>
                  </a:ext>
                </a:extLst>
              </p:cNvPr>
              <p:cNvSpPr/>
              <p:nvPr/>
            </p:nvSpPr>
            <p:spPr>
              <a:xfrm>
                <a:off x="5599271" y="3773329"/>
                <a:ext cx="28575" cy="28575"/>
              </a:xfrm>
              <a:custGeom>
                <a:avLst/>
                <a:gdLst>
                  <a:gd name="connsiteX0" fmla="*/ 14764 w 28575"/>
                  <a:gd name="connsiteY0" fmla="*/ 22384 h 28575"/>
                  <a:gd name="connsiteX1" fmla="*/ 22384 w 28575"/>
                  <a:gd name="connsiteY1" fmla="*/ 14764 h 28575"/>
                  <a:gd name="connsiteX2" fmla="*/ 14764 w 28575"/>
                  <a:gd name="connsiteY2" fmla="*/ 7144 h 28575"/>
                  <a:gd name="connsiteX3" fmla="*/ 7144 w 28575"/>
                  <a:gd name="connsiteY3" fmla="*/ 14764 h 28575"/>
                  <a:gd name="connsiteX4" fmla="*/ 14764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764" y="22384"/>
                    </a:moveTo>
                    <a:cubicBezTo>
                      <a:pt x="18574" y="22384"/>
                      <a:pt x="22384" y="19526"/>
                      <a:pt x="22384" y="14764"/>
                    </a:cubicBezTo>
                    <a:cubicBezTo>
                      <a:pt x="22384" y="10954"/>
                      <a:pt x="18574" y="7144"/>
                      <a:pt x="14764" y="7144"/>
                    </a:cubicBezTo>
                    <a:cubicBezTo>
                      <a:pt x="10954" y="7144"/>
                      <a:pt x="7144" y="10001"/>
                      <a:pt x="7144" y="14764"/>
                    </a:cubicBezTo>
                    <a:cubicBezTo>
                      <a:pt x="7144" y="18574"/>
                      <a:pt x="10954" y="22384"/>
                      <a:pt x="14764" y="22384"/>
                    </a:cubicBezTo>
                    <a:close/>
                  </a:path>
                </a:pathLst>
              </a:custGeom>
              <a:grpFill/>
              <a:ln w="9525" cap="flat">
                <a:noFill/>
                <a:prstDash val="solid"/>
                <a:miter/>
              </a:ln>
            </p:spPr>
            <p:txBody>
              <a:bodyPr rtlCol="0" anchor="ctr"/>
              <a:lstStyle/>
              <a:p>
                <a:endParaRPr lang="en-US"/>
              </a:p>
            </p:txBody>
          </p:sp>
          <p:sp>
            <p:nvSpPr>
              <p:cNvPr id="78" name="Freeform: Shape 65">
                <a:extLst>
                  <a:ext uri="{FF2B5EF4-FFF2-40B4-BE49-F238E27FC236}">
                    <a16:creationId xmlns:a16="http://schemas.microsoft.com/office/drawing/2014/main" id="{1E9F4C5A-8084-A248-8CB7-2AB8ECE9FB8C}"/>
                  </a:ext>
                </a:extLst>
              </p:cNvPr>
              <p:cNvSpPr/>
              <p:nvPr/>
            </p:nvSpPr>
            <p:spPr>
              <a:xfrm>
                <a:off x="5607844" y="3741896"/>
                <a:ext cx="38100" cy="38100"/>
              </a:xfrm>
              <a:custGeom>
                <a:avLst/>
                <a:gdLst>
                  <a:gd name="connsiteX0" fmla="*/ 23336 w 38100"/>
                  <a:gd name="connsiteY0" fmla="*/ 7144 h 38100"/>
                  <a:gd name="connsiteX1" fmla="*/ 7144 w 38100"/>
                  <a:gd name="connsiteY1" fmla="*/ 23336 h 38100"/>
                  <a:gd name="connsiteX2" fmla="*/ 23336 w 38100"/>
                  <a:gd name="connsiteY2" fmla="*/ 39529 h 38100"/>
                  <a:gd name="connsiteX3" fmla="*/ 39529 w 38100"/>
                  <a:gd name="connsiteY3" fmla="*/ 23336 h 38100"/>
                  <a:gd name="connsiteX4" fmla="*/ 23336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7144"/>
                    </a:moveTo>
                    <a:cubicBezTo>
                      <a:pt x="13811" y="7144"/>
                      <a:pt x="7144" y="14764"/>
                      <a:pt x="7144" y="23336"/>
                    </a:cubicBezTo>
                    <a:cubicBezTo>
                      <a:pt x="7144" y="31909"/>
                      <a:pt x="14764" y="39529"/>
                      <a:pt x="23336" y="39529"/>
                    </a:cubicBezTo>
                    <a:cubicBezTo>
                      <a:pt x="32861" y="39529"/>
                      <a:pt x="39529" y="31909"/>
                      <a:pt x="39529" y="23336"/>
                    </a:cubicBezTo>
                    <a:cubicBezTo>
                      <a:pt x="39529" y="14764"/>
                      <a:pt x="31909" y="7144"/>
                      <a:pt x="23336" y="7144"/>
                    </a:cubicBezTo>
                    <a:close/>
                  </a:path>
                </a:pathLst>
              </a:custGeom>
              <a:grpFill/>
              <a:ln w="9525" cap="flat">
                <a:noFill/>
                <a:prstDash val="solid"/>
                <a:miter/>
              </a:ln>
            </p:spPr>
            <p:txBody>
              <a:bodyPr rtlCol="0" anchor="ctr"/>
              <a:lstStyle/>
              <a:p>
                <a:endParaRPr lang="en-US"/>
              </a:p>
            </p:txBody>
          </p:sp>
          <p:sp>
            <p:nvSpPr>
              <p:cNvPr id="79" name="Freeform: Shape 66">
                <a:extLst>
                  <a:ext uri="{FF2B5EF4-FFF2-40B4-BE49-F238E27FC236}">
                    <a16:creationId xmlns:a16="http://schemas.microsoft.com/office/drawing/2014/main" id="{2EA25071-F65E-F144-86E4-208619E8974A}"/>
                  </a:ext>
                </a:extLst>
              </p:cNvPr>
              <p:cNvSpPr/>
              <p:nvPr/>
            </p:nvSpPr>
            <p:spPr>
              <a:xfrm>
                <a:off x="6123146" y="2626519"/>
                <a:ext cx="47625" cy="47625"/>
              </a:xfrm>
              <a:custGeom>
                <a:avLst/>
                <a:gdLst>
                  <a:gd name="connsiteX0" fmla="*/ 28099 w 47625"/>
                  <a:gd name="connsiteY0" fmla="*/ 49054 h 47625"/>
                  <a:gd name="connsiteX1" fmla="*/ 49054 w 47625"/>
                  <a:gd name="connsiteY1" fmla="*/ 28099 h 47625"/>
                  <a:gd name="connsiteX2" fmla="*/ 28099 w 47625"/>
                  <a:gd name="connsiteY2" fmla="*/ 7144 h 47625"/>
                  <a:gd name="connsiteX3" fmla="*/ 7144 w 47625"/>
                  <a:gd name="connsiteY3" fmla="*/ 28099 h 47625"/>
                  <a:gd name="connsiteX4" fmla="*/ 28099 w 47625"/>
                  <a:gd name="connsiteY4" fmla="*/ 4905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8099" y="49054"/>
                    </a:moveTo>
                    <a:cubicBezTo>
                      <a:pt x="39529" y="49054"/>
                      <a:pt x="49054" y="39529"/>
                      <a:pt x="49054" y="28099"/>
                    </a:cubicBezTo>
                    <a:cubicBezTo>
                      <a:pt x="49054" y="16669"/>
                      <a:pt x="39529" y="7144"/>
                      <a:pt x="28099" y="7144"/>
                    </a:cubicBezTo>
                    <a:cubicBezTo>
                      <a:pt x="16669" y="7144"/>
                      <a:pt x="7144" y="16669"/>
                      <a:pt x="7144" y="28099"/>
                    </a:cubicBezTo>
                    <a:cubicBezTo>
                      <a:pt x="7144" y="39529"/>
                      <a:pt x="16669" y="49054"/>
                      <a:pt x="28099" y="49054"/>
                    </a:cubicBezTo>
                    <a:close/>
                  </a:path>
                </a:pathLst>
              </a:custGeom>
              <a:grpFill/>
              <a:ln w="9525" cap="flat">
                <a:noFill/>
                <a:prstDash val="solid"/>
                <a:miter/>
              </a:ln>
            </p:spPr>
            <p:txBody>
              <a:bodyPr rtlCol="0" anchor="ctr"/>
              <a:lstStyle/>
              <a:p>
                <a:endParaRPr lang="en-US"/>
              </a:p>
            </p:txBody>
          </p:sp>
          <p:sp>
            <p:nvSpPr>
              <p:cNvPr id="80" name="Freeform: Shape 67">
                <a:extLst>
                  <a:ext uri="{FF2B5EF4-FFF2-40B4-BE49-F238E27FC236}">
                    <a16:creationId xmlns:a16="http://schemas.microsoft.com/office/drawing/2014/main" id="{4EFF54B2-24E9-104E-A39A-AA0DCBDC5111}"/>
                  </a:ext>
                </a:extLst>
              </p:cNvPr>
              <p:cNvSpPr/>
              <p:nvPr/>
            </p:nvSpPr>
            <p:spPr>
              <a:xfrm>
                <a:off x="6023134" y="2957989"/>
                <a:ext cx="28575" cy="28575"/>
              </a:xfrm>
              <a:custGeom>
                <a:avLst/>
                <a:gdLst>
                  <a:gd name="connsiteX0" fmla="*/ 7144 w 28575"/>
                  <a:gd name="connsiteY0" fmla="*/ 15716 h 28575"/>
                  <a:gd name="connsiteX1" fmla="*/ 15716 w 28575"/>
                  <a:gd name="connsiteY1" fmla="*/ 24289 h 28575"/>
                  <a:gd name="connsiteX2" fmla="*/ 24289 w 28575"/>
                  <a:gd name="connsiteY2" fmla="*/ 15716 h 28575"/>
                  <a:gd name="connsiteX3" fmla="*/ 15716 w 28575"/>
                  <a:gd name="connsiteY3" fmla="*/ 7144 h 28575"/>
                  <a:gd name="connsiteX4" fmla="*/ 7144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5716"/>
                    </a:moveTo>
                    <a:cubicBezTo>
                      <a:pt x="7144" y="20479"/>
                      <a:pt x="10954" y="24289"/>
                      <a:pt x="15716" y="24289"/>
                    </a:cubicBezTo>
                    <a:cubicBezTo>
                      <a:pt x="20479" y="24289"/>
                      <a:pt x="24289" y="20479"/>
                      <a:pt x="24289" y="15716"/>
                    </a:cubicBezTo>
                    <a:cubicBezTo>
                      <a:pt x="24289" y="10954"/>
                      <a:pt x="20479" y="7144"/>
                      <a:pt x="15716" y="7144"/>
                    </a:cubicBezTo>
                    <a:cubicBezTo>
                      <a:pt x="10001" y="8096"/>
                      <a:pt x="7144" y="11906"/>
                      <a:pt x="7144" y="15716"/>
                    </a:cubicBezTo>
                    <a:close/>
                  </a:path>
                </a:pathLst>
              </a:custGeom>
              <a:grpFill/>
              <a:ln w="9525" cap="flat">
                <a:noFill/>
                <a:prstDash val="solid"/>
                <a:miter/>
              </a:ln>
            </p:spPr>
            <p:txBody>
              <a:bodyPr rtlCol="0" anchor="ctr"/>
              <a:lstStyle/>
              <a:p>
                <a:endParaRPr lang="en-US"/>
              </a:p>
            </p:txBody>
          </p:sp>
          <p:sp>
            <p:nvSpPr>
              <p:cNvPr id="81" name="Freeform: Shape 68">
                <a:extLst>
                  <a:ext uri="{FF2B5EF4-FFF2-40B4-BE49-F238E27FC236}">
                    <a16:creationId xmlns:a16="http://schemas.microsoft.com/office/drawing/2014/main" id="{CE478C1C-3EE2-0B4A-90B5-9C08650F453B}"/>
                  </a:ext>
                </a:extLst>
              </p:cNvPr>
              <p:cNvSpPr/>
              <p:nvPr/>
            </p:nvSpPr>
            <p:spPr>
              <a:xfrm>
                <a:off x="5868829" y="2835116"/>
                <a:ext cx="57150" cy="57150"/>
              </a:xfrm>
              <a:custGeom>
                <a:avLst/>
                <a:gdLst>
                  <a:gd name="connsiteX0" fmla="*/ 29051 w 57150"/>
                  <a:gd name="connsiteY0" fmla="*/ 50959 h 57150"/>
                  <a:gd name="connsiteX1" fmla="*/ 50959 w 57150"/>
                  <a:gd name="connsiteY1" fmla="*/ 29051 h 57150"/>
                  <a:gd name="connsiteX2" fmla="*/ 29051 w 57150"/>
                  <a:gd name="connsiteY2" fmla="*/ 7144 h 57150"/>
                  <a:gd name="connsiteX3" fmla="*/ 7144 w 57150"/>
                  <a:gd name="connsiteY3" fmla="*/ 29051 h 57150"/>
                  <a:gd name="connsiteX4" fmla="*/ 29051 w 57150"/>
                  <a:gd name="connsiteY4" fmla="*/ 5095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9051" y="50959"/>
                    </a:moveTo>
                    <a:cubicBezTo>
                      <a:pt x="41434" y="50959"/>
                      <a:pt x="50959" y="41434"/>
                      <a:pt x="50959" y="29051"/>
                    </a:cubicBezTo>
                    <a:cubicBezTo>
                      <a:pt x="50959" y="16669"/>
                      <a:pt x="41434" y="7144"/>
                      <a:pt x="29051" y="7144"/>
                    </a:cubicBezTo>
                    <a:cubicBezTo>
                      <a:pt x="16669" y="7144"/>
                      <a:pt x="7144" y="16669"/>
                      <a:pt x="7144" y="29051"/>
                    </a:cubicBezTo>
                    <a:cubicBezTo>
                      <a:pt x="7144" y="41434"/>
                      <a:pt x="16669" y="50959"/>
                      <a:pt x="29051" y="50959"/>
                    </a:cubicBezTo>
                    <a:close/>
                  </a:path>
                </a:pathLst>
              </a:custGeom>
              <a:grpFill/>
              <a:ln w="9525" cap="flat">
                <a:noFill/>
                <a:prstDash val="solid"/>
                <a:miter/>
              </a:ln>
            </p:spPr>
            <p:txBody>
              <a:bodyPr rtlCol="0" anchor="ctr"/>
              <a:lstStyle/>
              <a:p>
                <a:endParaRPr lang="en-US"/>
              </a:p>
            </p:txBody>
          </p:sp>
          <p:sp>
            <p:nvSpPr>
              <p:cNvPr id="82" name="Freeform: Shape 69">
                <a:extLst>
                  <a:ext uri="{FF2B5EF4-FFF2-40B4-BE49-F238E27FC236}">
                    <a16:creationId xmlns:a16="http://schemas.microsoft.com/office/drawing/2014/main" id="{01CDE3F0-7D1E-6E44-BD00-47D769A28CF8}"/>
                  </a:ext>
                </a:extLst>
              </p:cNvPr>
              <p:cNvSpPr/>
              <p:nvPr/>
            </p:nvSpPr>
            <p:spPr>
              <a:xfrm>
                <a:off x="5718334" y="3236119"/>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0954"/>
                      <a:pt x="21431" y="7144"/>
                      <a:pt x="16669" y="7144"/>
                    </a:cubicBezTo>
                    <a:cubicBezTo>
                      <a:pt x="10954" y="7144"/>
                      <a:pt x="7144" y="11906"/>
                      <a:pt x="7144" y="16669"/>
                    </a:cubicBezTo>
                    <a:cubicBezTo>
                      <a:pt x="7144" y="21431"/>
                      <a:pt x="11906" y="26194"/>
                      <a:pt x="16669" y="26194"/>
                    </a:cubicBezTo>
                    <a:close/>
                  </a:path>
                </a:pathLst>
              </a:custGeom>
              <a:grpFill/>
              <a:ln w="9525" cap="flat">
                <a:noFill/>
                <a:prstDash val="solid"/>
                <a:miter/>
              </a:ln>
            </p:spPr>
            <p:txBody>
              <a:bodyPr rtlCol="0" anchor="ctr"/>
              <a:lstStyle/>
              <a:p>
                <a:endParaRPr lang="en-US"/>
              </a:p>
            </p:txBody>
          </p:sp>
          <p:sp>
            <p:nvSpPr>
              <p:cNvPr id="83" name="Freeform: Shape 70">
                <a:extLst>
                  <a:ext uri="{FF2B5EF4-FFF2-40B4-BE49-F238E27FC236}">
                    <a16:creationId xmlns:a16="http://schemas.microsoft.com/office/drawing/2014/main" id="{0E346F13-F486-D843-B1DD-25E06F20B169}"/>
                  </a:ext>
                </a:extLst>
              </p:cNvPr>
              <p:cNvSpPr/>
              <p:nvPr/>
            </p:nvSpPr>
            <p:spPr>
              <a:xfrm>
                <a:off x="6134576" y="2823686"/>
                <a:ext cx="28575" cy="28575"/>
              </a:xfrm>
              <a:custGeom>
                <a:avLst/>
                <a:gdLst>
                  <a:gd name="connsiteX0" fmla="*/ 18574 w 28575"/>
                  <a:gd name="connsiteY0" fmla="*/ 30004 h 28575"/>
                  <a:gd name="connsiteX1" fmla="*/ 30004 w 28575"/>
                  <a:gd name="connsiteY1" fmla="*/ 18574 h 28575"/>
                  <a:gd name="connsiteX2" fmla="*/ 18574 w 28575"/>
                  <a:gd name="connsiteY2" fmla="*/ 7144 h 28575"/>
                  <a:gd name="connsiteX3" fmla="*/ 7144 w 28575"/>
                  <a:gd name="connsiteY3" fmla="*/ 18574 h 28575"/>
                  <a:gd name="connsiteX4" fmla="*/ 18574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30004"/>
                    </a:moveTo>
                    <a:cubicBezTo>
                      <a:pt x="25241" y="30004"/>
                      <a:pt x="30004" y="25241"/>
                      <a:pt x="30004" y="18574"/>
                    </a:cubicBezTo>
                    <a:cubicBezTo>
                      <a:pt x="30004" y="12859"/>
                      <a:pt x="25241" y="7144"/>
                      <a:pt x="18574" y="7144"/>
                    </a:cubicBezTo>
                    <a:cubicBezTo>
                      <a:pt x="11906" y="7144"/>
                      <a:pt x="7144" y="11906"/>
                      <a:pt x="7144" y="18574"/>
                    </a:cubicBezTo>
                    <a:cubicBezTo>
                      <a:pt x="7144" y="25241"/>
                      <a:pt x="11906" y="30004"/>
                      <a:pt x="18574" y="30004"/>
                    </a:cubicBezTo>
                    <a:close/>
                  </a:path>
                </a:pathLst>
              </a:custGeom>
              <a:grpFill/>
              <a:ln w="9525" cap="flat">
                <a:noFill/>
                <a:prstDash val="solid"/>
                <a:miter/>
              </a:ln>
            </p:spPr>
            <p:txBody>
              <a:bodyPr rtlCol="0" anchor="ctr"/>
              <a:lstStyle/>
              <a:p>
                <a:endParaRPr lang="en-US"/>
              </a:p>
            </p:txBody>
          </p:sp>
          <p:sp>
            <p:nvSpPr>
              <p:cNvPr id="84" name="Freeform: Shape 71">
                <a:extLst>
                  <a:ext uri="{FF2B5EF4-FFF2-40B4-BE49-F238E27FC236}">
                    <a16:creationId xmlns:a16="http://schemas.microsoft.com/office/drawing/2014/main" id="{A90CC35F-903F-C946-B3C0-777F7DEA64D9}"/>
                  </a:ext>
                </a:extLst>
              </p:cNvPr>
              <p:cNvSpPr/>
              <p:nvPr/>
            </p:nvSpPr>
            <p:spPr>
              <a:xfrm>
                <a:off x="6121241" y="2847499"/>
                <a:ext cx="38100" cy="38100"/>
              </a:xfrm>
              <a:custGeom>
                <a:avLst/>
                <a:gdLst>
                  <a:gd name="connsiteX0" fmla="*/ 23336 w 38100"/>
                  <a:gd name="connsiteY0" fmla="*/ 39529 h 38100"/>
                  <a:gd name="connsiteX1" fmla="*/ 39529 w 38100"/>
                  <a:gd name="connsiteY1" fmla="*/ 23336 h 38100"/>
                  <a:gd name="connsiteX2" fmla="*/ 23336 w 38100"/>
                  <a:gd name="connsiteY2" fmla="*/ 7144 h 38100"/>
                  <a:gd name="connsiteX3" fmla="*/ 7144 w 38100"/>
                  <a:gd name="connsiteY3" fmla="*/ 23336 h 38100"/>
                  <a:gd name="connsiteX4" fmla="*/ 23336 w 38100"/>
                  <a:gd name="connsiteY4" fmla="*/ 39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3336" y="39529"/>
                    </a:moveTo>
                    <a:cubicBezTo>
                      <a:pt x="31909" y="39529"/>
                      <a:pt x="39529" y="31909"/>
                      <a:pt x="39529" y="23336"/>
                    </a:cubicBezTo>
                    <a:cubicBezTo>
                      <a:pt x="39529" y="14764"/>
                      <a:pt x="32861" y="7144"/>
                      <a:pt x="23336" y="7144"/>
                    </a:cubicBezTo>
                    <a:cubicBezTo>
                      <a:pt x="14764" y="7144"/>
                      <a:pt x="7144" y="13811"/>
                      <a:pt x="7144" y="23336"/>
                    </a:cubicBezTo>
                    <a:cubicBezTo>
                      <a:pt x="8096" y="31909"/>
                      <a:pt x="14764" y="39529"/>
                      <a:pt x="23336" y="39529"/>
                    </a:cubicBezTo>
                    <a:close/>
                  </a:path>
                </a:pathLst>
              </a:custGeom>
              <a:grpFill/>
              <a:ln w="9525" cap="flat">
                <a:noFill/>
                <a:prstDash val="solid"/>
                <a:miter/>
              </a:ln>
            </p:spPr>
            <p:txBody>
              <a:bodyPr rtlCol="0" anchor="ctr"/>
              <a:lstStyle/>
              <a:p>
                <a:endParaRPr lang="en-US"/>
              </a:p>
            </p:txBody>
          </p:sp>
          <p:sp>
            <p:nvSpPr>
              <p:cNvPr id="85" name="Freeform: Shape 72">
                <a:extLst>
                  <a:ext uri="{FF2B5EF4-FFF2-40B4-BE49-F238E27FC236}">
                    <a16:creationId xmlns:a16="http://schemas.microsoft.com/office/drawing/2014/main" id="{7015D484-3DCD-134D-8244-01AD6D2F2157}"/>
                  </a:ext>
                </a:extLst>
              </p:cNvPr>
              <p:cNvSpPr/>
              <p:nvPr/>
            </p:nvSpPr>
            <p:spPr>
              <a:xfrm>
                <a:off x="5774531" y="3376136"/>
                <a:ext cx="76200" cy="95250"/>
              </a:xfrm>
              <a:custGeom>
                <a:avLst/>
                <a:gdLst>
                  <a:gd name="connsiteX0" fmla="*/ 25241 w 76200"/>
                  <a:gd name="connsiteY0" fmla="*/ 7144 h 95250"/>
                  <a:gd name="connsiteX1" fmla="*/ 7144 w 76200"/>
                  <a:gd name="connsiteY1" fmla="*/ 25241 h 95250"/>
                  <a:gd name="connsiteX2" fmla="*/ 18574 w 76200"/>
                  <a:gd name="connsiteY2" fmla="*/ 42386 h 95250"/>
                  <a:gd name="connsiteX3" fmla="*/ 14764 w 76200"/>
                  <a:gd name="connsiteY3" fmla="*/ 54769 h 95250"/>
                  <a:gd name="connsiteX4" fmla="*/ 14764 w 76200"/>
                  <a:gd name="connsiteY4" fmla="*/ 55721 h 95250"/>
                  <a:gd name="connsiteX5" fmla="*/ 7144 w 76200"/>
                  <a:gd name="connsiteY5" fmla="*/ 71914 h 95250"/>
                  <a:gd name="connsiteX6" fmla="*/ 29051 w 76200"/>
                  <a:gd name="connsiteY6" fmla="*/ 93821 h 95250"/>
                  <a:gd name="connsiteX7" fmla="*/ 50959 w 76200"/>
                  <a:gd name="connsiteY7" fmla="*/ 71914 h 95250"/>
                  <a:gd name="connsiteX8" fmla="*/ 50959 w 76200"/>
                  <a:gd name="connsiteY8" fmla="*/ 68104 h 95250"/>
                  <a:gd name="connsiteX9" fmla="*/ 54769 w 76200"/>
                  <a:gd name="connsiteY9" fmla="*/ 61436 h 95250"/>
                  <a:gd name="connsiteX10" fmla="*/ 61436 w 76200"/>
                  <a:gd name="connsiteY10" fmla="*/ 64294 h 95250"/>
                  <a:gd name="connsiteX11" fmla="*/ 71914 w 76200"/>
                  <a:gd name="connsiteY11" fmla="*/ 53816 h 95250"/>
                  <a:gd name="connsiteX12" fmla="*/ 61436 w 76200"/>
                  <a:gd name="connsiteY12" fmla="*/ 43339 h 95250"/>
                  <a:gd name="connsiteX13" fmla="*/ 54769 w 76200"/>
                  <a:gd name="connsiteY13" fmla="*/ 46196 h 95250"/>
                  <a:gd name="connsiteX14" fmla="*/ 40481 w 76200"/>
                  <a:gd name="connsiteY14" fmla="*/ 33814 h 95250"/>
                  <a:gd name="connsiteX15" fmla="*/ 42386 w 76200"/>
                  <a:gd name="connsiteY15" fmla="*/ 25241 h 95250"/>
                  <a:gd name="connsiteX16" fmla="*/ 25241 w 76200"/>
                  <a:gd name="connsiteY16"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00" h="95250">
                    <a:moveTo>
                      <a:pt x="25241" y="7144"/>
                    </a:moveTo>
                    <a:cubicBezTo>
                      <a:pt x="14764" y="7144"/>
                      <a:pt x="7144" y="15716"/>
                      <a:pt x="7144" y="25241"/>
                    </a:cubicBezTo>
                    <a:cubicBezTo>
                      <a:pt x="7144" y="32861"/>
                      <a:pt x="11906" y="39529"/>
                      <a:pt x="18574" y="42386"/>
                    </a:cubicBezTo>
                    <a:cubicBezTo>
                      <a:pt x="15716" y="46196"/>
                      <a:pt x="14764" y="50006"/>
                      <a:pt x="14764" y="54769"/>
                    </a:cubicBezTo>
                    <a:cubicBezTo>
                      <a:pt x="14764" y="55721"/>
                      <a:pt x="14764" y="55721"/>
                      <a:pt x="14764" y="55721"/>
                    </a:cubicBezTo>
                    <a:cubicBezTo>
                      <a:pt x="10001" y="59531"/>
                      <a:pt x="7144" y="65246"/>
                      <a:pt x="7144" y="71914"/>
                    </a:cubicBezTo>
                    <a:cubicBezTo>
                      <a:pt x="7144" y="84296"/>
                      <a:pt x="16669" y="93821"/>
                      <a:pt x="29051" y="93821"/>
                    </a:cubicBezTo>
                    <a:cubicBezTo>
                      <a:pt x="41434" y="93821"/>
                      <a:pt x="50959" y="84296"/>
                      <a:pt x="50959" y="71914"/>
                    </a:cubicBezTo>
                    <a:cubicBezTo>
                      <a:pt x="50959" y="70961"/>
                      <a:pt x="50959" y="70009"/>
                      <a:pt x="50959" y="68104"/>
                    </a:cubicBezTo>
                    <a:cubicBezTo>
                      <a:pt x="52864" y="66199"/>
                      <a:pt x="53816" y="64294"/>
                      <a:pt x="54769" y="61436"/>
                    </a:cubicBezTo>
                    <a:cubicBezTo>
                      <a:pt x="56674" y="63341"/>
                      <a:pt x="59531" y="64294"/>
                      <a:pt x="61436" y="64294"/>
                    </a:cubicBezTo>
                    <a:cubicBezTo>
                      <a:pt x="67151" y="64294"/>
                      <a:pt x="71914" y="59531"/>
                      <a:pt x="71914" y="53816"/>
                    </a:cubicBezTo>
                    <a:cubicBezTo>
                      <a:pt x="71914" y="48101"/>
                      <a:pt x="67151" y="43339"/>
                      <a:pt x="61436" y="43339"/>
                    </a:cubicBezTo>
                    <a:cubicBezTo>
                      <a:pt x="58579" y="43339"/>
                      <a:pt x="56674" y="44291"/>
                      <a:pt x="54769" y="46196"/>
                    </a:cubicBezTo>
                    <a:cubicBezTo>
                      <a:pt x="51911" y="39529"/>
                      <a:pt x="47149" y="34766"/>
                      <a:pt x="40481" y="33814"/>
                    </a:cubicBezTo>
                    <a:cubicBezTo>
                      <a:pt x="41434" y="30956"/>
                      <a:pt x="42386" y="28099"/>
                      <a:pt x="42386" y="25241"/>
                    </a:cubicBezTo>
                    <a:cubicBezTo>
                      <a:pt x="43339" y="15716"/>
                      <a:pt x="34766" y="7144"/>
                      <a:pt x="25241" y="7144"/>
                    </a:cubicBezTo>
                    <a:close/>
                  </a:path>
                </a:pathLst>
              </a:custGeom>
              <a:grpFill/>
              <a:ln w="9525" cap="flat">
                <a:noFill/>
                <a:prstDash val="solid"/>
                <a:miter/>
              </a:ln>
            </p:spPr>
            <p:txBody>
              <a:bodyPr rtlCol="0" anchor="ctr"/>
              <a:lstStyle/>
              <a:p>
                <a:endParaRPr lang="en-US"/>
              </a:p>
            </p:txBody>
          </p:sp>
          <p:sp>
            <p:nvSpPr>
              <p:cNvPr id="86" name="Freeform: Shape 73">
                <a:extLst>
                  <a:ext uri="{FF2B5EF4-FFF2-40B4-BE49-F238E27FC236}">
                    <a16:creationId xmlns:a16="http://schemas.microsoft.com/office/drawing/2014/main" id="{02FE6718-B5DE-FE49-AE2D-67603BF96A0E}"/>
                  </a:ext>
                </a:extLst>
              </p:cNvPr>
              <p:cNvSpPr/>
              <p:nvPr/>
            </p:nvSpPr>
            <p:spPr>
              <a:xfrm>
                <a:off x="5570696" y="3223736"/>
                <a:ext cx="28575" cy="28575"/>
              </a:xfrm>
              <a:custGeom>
                <a:avLst/>
                <a:gdLst>
                  <a:gd name="connsiteX0" fmla="*/ 28099 w 28575"/>
                  <a:gd name="connsiteY0" fmla="*/ 17621 h 28575"/>
                  <a:gd name="connsiteX1" fmla="*/ 17621 w 28575"/>
                  <a:gd name="connsiteY1" fmla="*/ 7144 h 28575"/>
                  <a:gd name="connsiteX2" fmla="*/ 7144 w 28575"/>
                  <a:gd name="connsiteY2" fmla="*/ 17621 h 28575"/>
                  <a:gd name="connsiteX3" fmla="*/ 17621 w 28575"/>
                  <a:gd name="connsiteY3" fmla="*/ 28099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11906"/>
                      <a:pt x="23336" y="7144"/>
                      <a:pt x="17621" y="7144"/>
                    </a:cubicBezTo>
                    <a:cubicBezTo>
                      <a:pt x="11906" y="7144"/>
                      <a:pt x="7144" y="11906"/>
                      <a:pt x="7144" y="17621"/>
                    </a:cubicBezTo>
                    <a:cubicBezTo>
                      <a:pt x="7144" y="23336"/>
                      <a:pt x="11906" y="28099"/>
                      <a:pt x="17621" y="28099"/>
                    </a:cubicBezTo>
                    <a:cubicBezTo>
                      <a:pt x="23336" y="28099"/>
                      <a:pt x="28099" y="23336"/>
                      <a:pt x="28099" y="17621"/>
                    </a:cubicBezTo>
                    <a:close/>
                  </a:path>
                </a:pathLst>
              </a:custGeom>
              <a:grpFill/>
              <a:ln w="9525" cap="flat">
                <a:noFill/>
                <a:prstDash val="solid"/>
                <a:miter/>
              </a:ln>
            </p:spPr>
            <p:txBody>
              <a:bodyPr rtlCol="0" anchor="ctr"/>
              <a:lstStyle/>
              <a:p>
                <a:endParaRPr lang="en-US"/>
              </a:p>
            </p:txBody>
          </p:sp>
          <p:sp>
            <p:nvSpPr>
              <p:cNvPr id="87" name="Freeform: Shape 74">
                <a:extLst>
                  <a:ext uri="{FF2B5EF4-FFF2-40B4-BE49-F238E27FC236}">
                    <a16:creationId xmlns:a16="http://schemas.microsoft.com/office/drawing/2014/main" id="{9CD6EB57-13D4-404D-8584-DF15263F733B}"/>
                  </a:ext>
                </a:extLst>
              </p:cNvPr>
              <p:cNvSpPr/>
              <p:nvPr/>
            </p:nvSpPr>
            <p:spPr>
              <a:xfrm>
                <a:off x="5915501" y="4155281"/>
                <a:ext cx="38100" cy="28575"/>
              </a:xfrm>
              <a:custGeom>
                <a:avLst/>
                <a:gdLst>
                  <a:gd name="connsiteX0" fmla="*/ 7144 w 38100"/>
                  <a:gd name="connsiteY0" fmla="*/ 20479 h 28575"/>
                  <a:gd name="connsiteX1" fmla="*/ 14764 w 38100"/>
                  <a:gd name="connsiteY1" fmla="*/ 28099 h 28575"/>
                  <a:gd name="connsiteX2" fmla="*/ 22384 w 38100"/>
                  <a:gd name="connsiteY2" fmla="*/ 20479 h 28575"/>
                  <a:gd name="connsiteX3" fmla="*/ 28099 w 38100"/>
                  <a:gd name="connsiteY3" fmla="*/ 23336 h 28575"/>
                  <a:gd name="connsiteX4" fmla="*/ 35719 w 38100"/>
                  <a:gd name="connsiteY4" fmla="*/ 15716 h 28575"/>
                  <a:gd name="connsiteX5" fmla="*/ 28099 w 38100"/>
                  <a:gd name="connsiteY5" fmla="*/ 7144 h 28575"/>
                  <a:gd name="connsiteX6" fmla="*/ 20479 w 38100"/>
                  <a:gd name="connsiteY6" fmla="*/ 14764 h 28575"/>
                  <a:gd name="connsiteX7" fmla="*/ 14764 w 38100"/>
                  <a:gd name="connsiteY7" fmla="*/ 11906 h 28575"/>
                  <a:gd name="connsiteX8" fmla="*/ 7144 w 38100"/>
                  <a:gd name="connsiteY8" fmla="*/ 20479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 h="28575">
                    <a:moveTo>
                      <a:pt x="7144" y="20479"/>
                    </a:moveTo>
                    <a:cubicBezTo>
                      <a:pt x="7144" y="25241"/>
                      <a:pt x="10954" y="28099"/>
                      <a:pt x="14764" y="28099"/>
                    </a:cubicBezTo>
                    <a:cubicBezTo>
                      <a:pt x="19526" y="28099"/>
                      <a:pt x="22384" y="24289"/>
                      <a:pt x="22384" y="20479"/>
                    </a:cubicBezTo>
                    <a:cubicBezTo>
                      <a:pt x="23336" y="22384"/>
                      <a:pt x="26194" y="23336"/>
                      <a:pt x="28099" y="23336"/>
                    </a:cubicBezTo>
                    <a:cubicBezTo>
                      <a:pt x="31909" y="23336"/>
                      <a:pt x="35719" y="19526"/>
                      <a:pt x="35719" y="15716"/>
                    </a:cubicBezTo>
                    <a:cubicBezTo>
                      <a:pt x="35719" y="11906"/>
                      <a:pt x="32861" y="7144"/>
                      <a:pt x="28099" y="7144"/>
                    </a:cubicBezTo>
                    <a:cubicBezTo>
                      <a:pt x="24289" y="7144"/>
                      <a:pt x="20479" y="10954"/>
                      <a:pt x="20479" y="14764"/>
                    </a:cubicBezTo>
                    <a:cubicBezTo>
                      <a:pt x="18574" y="12859"/>
                      <a:pt x="16669" y="11906"/>
                      <a:pt x="14764" y="11906"/>
                    </a:cubicBezTo>
                    <a:cubicBezTo>
                      <a:pt x="10001" y="11906"/>
                      <a:pt x="7144" y="15716"/>
                      <a:pt x="7144" y="20479"/>
                    </a:cubicBezTo>
                    <a:close/>
                  </a:path>
                </a:pathLst>
              </a:custGeom>
              <a:grpFill/>
              <a:ln w="9525" cap="flat">
                <a:noFill/>
                <a:prstDash val="solid"/>
                <a:miter/>
              </a:ln>
            </p:spPr>
            <p:txBody>
              <a:bodyPr rtlCol="0" anchor="ctr"/>
              <a:lstStyle/>
              <a:p>
                <a:endParaRPr lang="en-US"/>
              </a:p>
            </p:txBody>
          </p:sp>
          <p:sp>
            <p:nvSpPr>
              <p:cNvPr id="88" name="Freeform: Shape 75">
                <a:extLst>
                  <a:ext uri="{FF2B5EF4-FFF2-40B4-BE49-F238E27FC236}">
                    <a16:creationId xmlns:a16="http://schemas.microsoft.com/office/drawing/2014/main" id="{E5E0FA01-25DA-CD4E-A34C-8495FC2BB4E0}"/>
                  </a:ext>
                </a:extLst>
              </p:cNvPr>
              <p:cNvSpPr/>
              <p:nvPr/>
            </p:nvSpPr>
            <p:spPr>
              <a:xfrm>
                <a:off x="5491639" y="3211354"/>
                <a:ext cx="66675" cy="66675"/>
              </a:xfrm>
              <a:custGeom>
                <a:avLst/>
                <a:gdLst>
                  <a:gd name="connsiteX0" fmla="*/ 37624 w 66675"/>
                  <a:gd name="connsiteY0" fmla="*/ 68104 h 66675"/>
                  <a:gd name="connsiteX1" fmla="*/ 68104 w 66675"/>
                  <a:gd name="connsiteY1" fmla="*/ 37624 h 66675"/>
                  <a:gd name="connsiteX2" fmla="*/ 37624 w 66675"/>
                  <a:gd name="connsiteY2" fmla="*/ 7144 h 66675"/>
                  <a:gd name="connsiteX3" fmla="*/ 7144 w 66675"/>
                  <a:gd name="connsiteY3" fmla="*/ 37624 h 66675"/>
                  <a:gd name="connsiteX4" fmla="*/ 37624 w 66675"/>
                  <a:gd name="connsiteY4" fmla="*/ 6810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7624" y="68104"/>
                    </a:moveTo>
                    <a:cubicBezTo>
                      <a:pt x="54769" y="68104"/>
                      <a:pt x="68104" y="54769"/>
                      <a:pt x="68104" y="37624"/>
                    </a:cubicBezTo>
                    <a:cubicBezTo>
                      <a:pt x="68104" y="20479"/>
                      <a:pt x="54769" y="7144"/>
                      <a:pt x="37624" y="7144"/>
                    </a:cubicBezTo>
                    <a:cubicBezTo>
                      <a:pt x="20479" y="7144"/>
                      <a:pt x="7144" y="20479"/>
                      <a:pt x="7144" y="37624"/>
                    </a:cubicBezTo>
                    <a:cubicBezTo>
                      <a:pt x="7144" y="54769"/>
                      <a:pt x="20479" y="68104"/>
                      <a:pt x="37624" y="68104"/>
                    </a:cubicBezTo>
                    <a:close/>
                  </a:path>
                </a:pathLst>
              </a:custGeom>
              <a:grpFill/>
              <a:ln w="9525" cap="flat">
                <a:noFill/>
                <a:prstDash val="solid"/>
                <a:miter/>
              </a:ln>
            </p:spPr>
            <p:txBody>
              <a:bodyPr rtlCol="0" anchor="ctr"/>
              <a:lstStyle/>
              <a:p>
                <a:endParaRPr lang="en-US"/>
              </a:p>
            </p:txBody>
          </p:sp>
          <p:sp>
            <p:nvSpPr>
              <p:cNvPr id="89" name="Freeform: Shape 76">
                <a:extLst>
                  <a:ext uri="{FF2B5EF4-FFF2-40B4-BE49-F238E27FC236}">
                    <a16:creationId xmlns:a16="http://schemas.microsoft.com/office/drawing/2014/main" id="{3EA7B7AA-E30A-5643-99D9-926A1E26E7B5}"/>
                  </a:ext>
                </a:extLst>
              </p:cNvPr>
              <p:cNvSpPr/>
              <p:nvPr/>
            </p:nvSpPr>
            <p:spPr>
              <a:xfrm>
                <a:off x="5838349" y="3117056"/>
                <a:ext cx="76200" cy="85725"/>
              </a:xfrm>
              <a:custGeom>
                <a:avLst/>
                <a:gdLst>
                  <a:gd name="connsiteX0" fmla="*/ 49054 w 76200"/>
                  <a:gd name="connsiteY0" fmla="*/ 64294 h 85725"/>
                  <a:gd name="connsiteX1" fmla="*/ 73819 w 76200"/>
                  <a:gd name="connsiteY1" fmla="*/ 39529 h 85725"/>
                  <a:gd name="connsiteX2" fmla="*/ 55721 w 76200"/>
                  <a:gd name="connsiteY2" fmla="*/ 15716 h 85725"/>
                  <a:gd name="connsiteX3" fmla="*/ 35719 w 76200"/>
                  <a:gd name="connsiteY3" fmla="*/ 7144 h 85725"/>
                  <a:gd name="connsiteX4" fmla="*/ 8096 w 76200"/>
                  <a:gd name="connsiteY4" fmla="*/ 34766 h 85725"/>
                  <a:gd name="connsiteX5" fmla="*/ 15716 w 76200"/>
                  <a:gd name="connsiteY5" fmla="*/ 53816 h 85725"/>
                  <a:gd name="connsiteX6" fmla="*/ 7144 w 76200"/>
                  <a:gd name="connsiteY6" fmla="*/ 67151 h 85725"/>
                  <a:gd name="connsiteX7" fmla="*/ 22384 w 76200"/>
                  <a:gd name="connsiteY7" fmla="*/ 82391 h 85725"/>
                  <a:gd name="connsiteX8" fmla="*/ 37624 w 76200"/>
                  <a:gd name="connsiteY8" fmla="*/ 67151 h 85725"/>
                  <a:gd name="connsiteX9" fmla="*/ 36671 w 76200"/>
                  <a:gd name="connsiteY9" fmla="*/ 62389 h 85725"/>
                  <a:gd name="connsiteX10" fmla="*/ 40481 w 76200"/>
                  <a:gd name="connsiteY10" fmla="*/ 62389 h 85725"/>
                  <a:gd name="connsiteX11" fmla="*/ 49054 w 76200"/>
                  <a:gd name="connsiteY11" fmla="*/ 642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00" h="85725">
                    <a:moveTo>
                      <a:pt x="49054" y="64294"/>
                    </a:moveTo>
                    <a:cubicBezTo>
                      <a:pt x="62389" y="64294"/>
                      <a:pt x="73819" y="53816"/>
                      <a:pt x="73819" y="39529"/>
                    </a:cubicBezTo>
                    <a:cubicBezTo>
                      <a:pt x="73819" y="28099"/>
                      <a:pt x="66199" y="18574"/>
                      <a:pt x="55721" y="15716"/>
                    </a:cubicBezTo>
                    <a:cubicBezTo>
                      <a:pt x="50959" y="10001"/>
                      <a:pt x="43339" y="7144"/>
                      <a:pt x="35719" y="7144"/>
                    </a:cubicBezTo>
                    <a:cubicBezTo>
                      <a:pt x="20479" y="7144"/>
                      <a:pt x="8096" y="19526"/>
                      <a:pt x="8096" y="34766"/>
                    </a:cubicBezTo>
                    <a:cubicBezTo>
                      <a:pt x="8096" y="42386"/>
                      <a:pt x="10954" y="49054"/>
                      <a:pt x="15716" y="53816"/>
                    </a:cubicBezTo>
                    <a:cubicBezTo>
                      <a:pt x="10954" y="56674"/>
                      <a:pt x="7144" y="61436"/>
                      <a:pt x="7144" y="67151"/>
                    </a:cubicBezTo>
                    <a:cubicBezTo>
                      <a:pt x="7144" y="75724"/>
                      <a:pt x="13811" y="82391"/>
                      <a:pt x="22384" y="82391"/>
                    </a:cubicBezTo>
                    <a:cubicBezTo>
                      <a:pt x="30956" y="82391"/>
                      <a:pt x="37624" y="75724"/>
                      <a:pt x="37624" y="67151"/>
                    </a:cubicBezTo>
                    <a:cubicBezTo>
                      <a:pt x="37624" y="65246"/>
                      <a:pt x="37624" y="63341"/>
                      <a:pt x="36671" y="62389"/>
                    </a:cubicBezTo>
                    <a:cubicBezTo>
                      <a:pt x="37624" y="62389"/>
                      <a:pt x="38576" y="62389"/>
                      <a:pt x="40481" y="62389"/>
                    </a:cubicBezTo>
                    <a:cubicBezTo>
                      <a:pt x="43339" y="63341"/>
                      <a:pt x="46196" y="64294"/>
                      <a:pt x="49054" y="64294"/>
                    </a:cubicBezTo>
                    <a:close/>
                  </a:path>
                </a:pathLst>
              </a:custGeom>
              <a:grpFill/>
              <a:ln w="9525" cap="flat">
                <a:noFill/>
                <a:prstDash val="solid"/>
                <a:miter/>
              </a:ln>
            </p:spPr>
            <p:txBody>
              <a:bodyPr rtlCol="0" anchor="ctr"/>
              <a:lstStyle/>
              <a:p>
                <a:endParaRPr lang="en-US"/>
              </a:p>
            </p:txBody>
          </p:sp>
          <p:sp>
            <p:nvSpPr>
              <p:cNvPr id="90" name="Freeform: Shape 77">
                <a:extLst>
                  <a:ext uri="{FF2B5EF4-FFF2-40B4-BE49-F238E27FC236}">
                    <a16:creationId xmlns:a16="http://schemas.microsoft.com/office/drawing/2014/main" id="{5BB0B50B-1C8F-9B4B-85C3-41AAB979CF60}"/>
                  </a:ext>
                </a:extLst>
              </p:cNvPr>
              <p:cNvSpPr/>
              <p:nvPr/>
            </p:nvSpPr>
            <p:spPr>
              <a:xfrm>
                <a:off x="5675471" y="3245644"/>
                <a:ext cx="28575" cy="28575"/>
              </a:xfrm>
              <a:custGeom>
                <a:avLst/>
                <a:gdLst>
                  <a:gd name="connsiteX0" fmla="*/ 7144 w 28575"/>
                  <a:gd name="connsiteY0" fmla="*/ 18574 h 28575"/>
                  <a:gd name="connsiteX1" fmla="*/ 18574 w 28575"/>
                  <a:gd name="connsiteY1" fmla="*/ 30004 h 28575"/>
                  <a:gd name="connsiteX2" fmla="*/ 30004 w 28575"/>
                  <a:gd name="connsiteY2" fmla="*/ 18574 h 28575"/>
                  <a:gd name="connsiteX3" fmla="*/ 18574 w 28575"/>
                  <a:gd name="connsiteY3" fmla="*/ 7144 h 28575"/>
                  <a:gd name="connsiteX4" fmla="*/ 714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8574"/>
                    </a:moveTo>
                    <a:cubicBezTo>
                      <a:pt x="7144" y="25241"/>
                      <a:pt x="11906" y="30004"/>
                      <a:pt x="18574" y="30004"/>
                    </a:cubicBezTo>
                    <a:cubicBezTo>
                      <a:pt x="25241" y="30004"/>
                      <a:pt x="30004" y="25241"/>
                      <a:pt x="30004" y="18574"/>
                    </a:cubicBezTo>
                    <a:cubicBezTo>
                      <a:pt x="30004" y="11906"/>
                      <a:pt x="25241" y="7144"/>
                      <a:pt x="18574" y="7144"/>
                    </a:cubicBezTo>
                    <a:cubicBezTo>
                      <a:pt x="12859" y="7144"/>
                      <a:pt x="7144" y="12859"/>
                      <a:pt x="7144" y="18574"/>
                    </a:cubicBezTo>
                    <a:close/>
                  </a:path>
                </a:pathLst>
              </a:custGeom>
              <a:grpFill/>
              <a:ln w="9525" cap="flat">
                <a:noFill/>
                <a:prstDash val="solid"/>
                <a:miter/>
              </a:ln>
            </p:spPr>
            <p:txBody>
              <a:bodyPr rtlCol="0" anchor="ctr"/>
              <a:lstStyle/>
              <a:p>
                <a:endParaRPr lang="en-US"/>
              </a:p>
            </p:txBody>
          </p:sp>
          <p:sp>
            <p:nvSpPr>
              <p:cNvPr id="91" name="Freeform: Shape 78">
                <a:extLst>
                  <a:ext uri="{FF2B5EF4-FFF2-40B4-BE49-F238E27FC236}">
                    <a16:creationId xmlns:a16="http://schemas.microsoft.com/office/drawing/2014/main" id="{D7CE3984-BE2E-DD4D-8412-1C1475A8739A}"/>
                  </a:ext>
                </a:extLst>
              </p:cNvPr>
              <p:cNvSpPr/>
              <p:nvPr/>
            </p:nvSpPr>
            <p:spPr>
              <a:xfrm>
                <a:off x="5369719" y="3549491"/>
                <a:ext cx="38100" cy="38100"/>
              </a:xfrm>
              <a:custGeom>
                <a:avLst/>
                <a:gdLst>
                  <a:gd name="connsiteX0" fmla="*/ 39529 w 38100"/>
                  <a:gd name="connsiteY0" fmla="*/ 23336 h 38100"/>
                  <a:gd name="connsiteX1" fmla="*/ 23336 w 38100"/>
                  <a:gd name="connsiteY1" fmla="*/ 7144 h 38100"/>
                  <a:gd name="connsiteX2" fmla="*/ 7144 w 38100"/>
                  <a:gd name="connsiteY2" fmla="*/ 23336 h 38100"/>
                  <a:gd name="connsiteX3" fmla="*/ 23336 w 38100"/>
                  <a:gd name="connsiteY3" fmla="*/ 39529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13811"/>
                      <a:pt x="31909" y="7144"/>
                      <a:pt x="23336" y="7144"/>
                    </a:cubicBezTo>
                    <a:cubicBezTo>
                      <a:pt x="13811" y="7144"/>
                      <a:pt x="7144" y="14764"/>
                      <a:pt x="7144" y="23336"/>
                    </a:cubicBezTo>
                    <a:cubicBezTo>
                      <a:pt x="7144" y="32861"/>
                      <a:pt x="14764" y="39529"/>
                      <a:pt x="23336" y="39529"/>
                    </a:cubicBezTo>
                    <a:cubicBezTo>
                      <a:pt x="31909" y="40481"/>
                      <a:pt x="39529" y="32861"/>
                      <a:pt x="39529" y="23336"/>
                    </a:cubicBezTo>
                    <a:close/>
                  </a:path>
                </a:pathLst>
              </a:custGeom>
              <a:grpFill/>
              <a:ln w="9525" cap="flat">
                <a:noFill/>
                <a:prstDash val="solid"/>
                <a:miter/>
              </a:ln>
            </p:spPr>
            <p:txBody>
              <a:bodyPr rtlCol="0" anchor="ctr"/>
              <a:lstStyle/>
              <a:p>
                <a:endParaRPr lang="en-US"/>
              </a:p>
            </p:txBody>
          </p:sp>
          <p:sp>
            <p:nvSpPr>
              <p:cNvPr id="92" name="Freeform: Shape 79">
                <a:extLst>
                  <a:ext uri="{FF2B5EF4-FFF2-40B4-BE49-F238E27FC236}">
                    <a16:creationId xmlns:a16="http://schemas.microsoft.com/office/drawing/2014/main" id="{5768F659-D6BE-7D41-B23D-E0E194E34E03}"/>
                  </a:ext>
                </a:extLst>
              </p:cNvPr>
              <p:cNvSpPr/>
              <p:nvPr/>
            </p:nvSpPr>
            <p:spPr>
              <a:xfrm>
                <a:off x="5723096" y="3647599"/>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2859"/>
                      <a:pt x="29051" y="7144"/>
                      <a:pt x="21431" y="7144"/>
                    </a:cubicBezTo>
                    <a:cubicBezTo>
                      <a:pt x="13811" y="7144"/>
                      <a:pt x="7144" y="13811"/>
                      <a:pt x="7144" y="21431"/>
                    </a:cubicBezTo>
                    <a:cubicBezTo>
                      <a:pt x="7144" y="30004"/>
                      <a:pt x="13811" y="35719"/>
                      <a:pt x="21431" y="35719"/>
                    </a:cubicBezTo>
                    <a:cubicBezTo>
                      <a:pt x="29051" y="35719"/>
                      <a:pt x="35719" y="30004"/>
                      <a:pt x="35719" y="21431"/>
                    </a:cubicBezTo>
                    <a:close/>
                  </a:path>
                </a:pathLst>
              </a:custGeom>
              <a:grpFill/>
              <a:ln w="9525" cap="flat">
                <a:noFill/>
                <a:prstDash val="solid"/>
                <a:miter/>
              </a:ln>
            </p:spPr>
            <p:txBody>
              <a:bodyPr rtlCol="0" anchor="ctr"/>
              <a:lstStyle/>
              <a:p>
                <a:endParaRPr lang="en-US"/>
              </a:p>
            </p:txBody>
          </p:sp>
          <p:sp>
            <p:nvSpPr>
              <p:cNvPr id="93" name="Freeform: Shape 80">
                <a:extLst>
                  <a:ext uri="{FF2B5EF4-FFF2-40B4-BE49-F238E27FC236}">
                    <a16:creationId xmlns:a16="http://schemas.microsoft.com/office/drawing/2014/main" id="{81D14E42-7E30-5C44-B821-0B126E1A28DC}"/>
                  </a:ext>
                </a:extLst>
              </p:cNvPr>
              <p:cNvSpPr/>
              <p:nvPr/>
            </p:nvSpPr>
            <p:spPr>
              <a:xfrm>
                <a:off x="6036469" y="2917984"/>
                <a:ext cx="161925" cy="133350"/>
              </a:xfrm>
              <a:custGeom>
                <a:avLst/>
                <a:gdLst>
                  <a:gd name="connsiteX0" fmla="*/ 74771 w 161925"/>
                  <a:gd name="connsiteY0" fmla="*/ 30004 h 133350"/>
                  <a:gd name="connsiteX1" fmla="*/ 77629 w 161925"/>
                  <a:gd name="connsiteY1" fmla="*/ 21431 h 133350"/>
                  <a:gd name="connsiteX2" fmla="*/ 63341 w 161925"/>
                  <a:gd name="connsiteY2" fmla="*/ 7144 h 133350"/>
                  <a:gd name="connsiteX3" fmla="*/ 49054 w 161925"/>
                  <a:gd name="connsiteY3" fmla="*/ 21431 h 133350"/>
                  <a:gd name="connsiteX4" fmla="*/ 49054 w 161925"/>
                  <a:gd name="connsiteY4" fmla="*/ 24289 h 133350"/>
                  <a:gd name="connsiteX5" fmla="*/ 22384 w 161925"/>
                  <a:gd name="connsiteY5" fmla="*/ 56674 h 133350"/>
                  <a:gd name="connsiteX6" fmla="*/ 27146 w 161925"/>
                  <a:gd name="connsiteY6" fmla="*/ 72866 h 133350"/>
                  <a:gd name="connsiteX7" fmla="*/ 25241 w 161925"/>
                  <a:gd name="connsiteY7" fmla="*/ 72866 h 133350"/>
                  <a:gd name="connsiteX8" fmla="*/ 7144 w 161925"/>
                  <a:gd name="connsiteY8" fmla="*/ 90964 h 133350"/>
                  <a:gd name="connsiteX9" fmla="*/ 25241 w 161925"/>
                  <a:gd name="connsiteY9" fmla="*/ 109061 h 133350"/>
                  <a:gd name="connsiteX10" fmla="*/ 42386 w 161925"/>
                  <a:gd name="connsiteY10" fmla="*/ 93821 h 133350"/>
                  <a:gd name="connsiteX11" fmla="*/ 78581 w 161925"/>
                  <a:gd name="connsiteY11" fmla="*/ 130016 h 133350"/>
                  <a:gd name="connsiteX12" fmla="*/ 114776 w 161925"/>
                  <a:gd name="connsiteY12" fmla="*/ 93821 h 133350"/>
                  <a:gd name="connsiteX13" fmla="*/ 109061 w 161925"/>
                  <a:gd name="connsiteY13" fmla="*/ 73819 h 133350"/>
                  <a:gd name="connsiteX14" fmla="*/ 124301 w 161925"/>
                  <a:gd name="connsiteY14" fmla="*/ 80486 h 133350"/>
                  <a:gd name="connsiteX15" fmla="*/ 146209 w 161925"/>
                  <a:gd name="connsiteY15" fmla="*/ 61436 h 133350"/>
                  <a:gd name="connsiteX16" fmla="*/ 151924 w 161925"/>
                  <a:gd name="connsiteY16" fmla="*/ 63341 h 133350"/>
                  <a:gd name="connsiteX17" fmla="*/ 163354 w 161925"/>
                  <a:gd name="connsiteY17" fmla="*/ 51911 h 133350"/>
                  <a:gd name="connsiteX18" fmla="*/ 151924 w 161925"/>
                  <a:gd name="connsiteY18" fmla="*/ 40481 h 133350"/>
                  <a:gd name="connsiteX19" fmla="*/ 142399 w 161925"/>
                  <a:gd name="connsiteY19" fmla="*/ 46196 h 133350"/>
                  <a:gd name="connsiteX20" fmla="*/ 124301 w 161925"/>
                  <a:gd name="connsiteY20" fmla="*/ 36671 h 133350"/>
                  <a:gd name="connsiteX21" fmla="*/ 102394 w 161925"/>
                  <a:gd name="connsiteY21" fmla="*/ 58579 h 133350"/>
                  <a:gd name="connsiteX22" fmla="*/ 105251 w 161925"/>
                  <a:gd name="connsiteY22" fmla="*/ 70009 h 133350"/>
                  <a:gd name="connsiteX23" fmla="*/ 88106 w 161925"/>
                  <a:gd name="connsiteY23" fmla="*/ 59531 h 133350"/>
                  <a:gd name="connsiteX24" fmla="*/ 88106 w 161925"/>
                  <a:gd name="connsiteY24" fmla="*/ 58579 h 133350"/>
                  <a:gd name="connsiteX25" fmla="*/ 74771 w 161925"/>
                  <a:gd name="connsiteY25" fmla="*/ 30004 h 133350"/>
                  <a:gd name="connsiteX26" fmla="*/ 42386 w 161925"/>
                  <a:gd name="connsiteY26" fmla="*/ 91916 h 133350"/>
                  <a:gd name="connsiteX27" fmla="*/ 42386 w 161925"/>
                  <a:gd name="connsiteY27" fmla="*/ 89059 h 133350"/>
                  <a:gd name="connsiteX28" fmla="*/ 43339 w 161925"/>
                  <a:gd name="connsiteY28" fmla="*/ 89059 h 133350"/>
                  <a:gd name="connsiteX29" fmla="*/ 42386 w 161925"/>
                  <a:gd name="connsiteY29" fmla="*/ 919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1925" h="133350">
                    <a:moveTo>
                      <a:pt x="74771" y="30004"/>
                    </a:moveTo>
                    <a:cubicBezTo>
                      <a:pt x="76676" y="28099"/>
                      <a:pt x="77629" y="25241"/>
                      <a:pt x="77629" y="21431"/>
                    </a:cubicBezTo>
                    <a:cubicBezTo>
                      <a:pt x="77629" y="13811"/>
                      <a:pt x="70961" y="7144"/>
                      <a:pt x="63341" y="7144"/>
                    </a:cubicBezTo>
                    <a:cubicBezTo>
                      <a:pt x="55721" y="7144"/>
                      <a:pt x="49054" y="13811"/>
                      <a:pt x="49054" y="21431"/>
                    </a:cubicBezTo>
                    <a:cubicBezTo>
                      <a:pt x="49054" y="22384"/>
                      <a:pt x="49054" y="23336"/>
                      <a:pt x="49054" y="24289"/>
                    </a:cubicBezTo>
                    <a:cubicBezTo>
                      <a:pt x="33814" y="27146"/>
                      <a:pt x="22384" y="40481"/>
                      <a:pt x="22384" y="56674"/>
                    </a:cubicBezTo>
                    <a:cubicBezTo>
                      <a:pt x="22384" y="62389"/>
                      <a:pt x="24289" y="68104"/>
                      <a:pt x="27146" y="72866"/>
                    </a:cubicBezTo>
                    <a:cubicBezTo>
                      <a:pt x="26194" y="72866"/>
                      <a:pt x="26194" y="72866"/>
                      <a:pt x="25241" y="72866"/>
                    </a:cubicBezTo>
                    <a:cubicBezTo>
                      <a:pt x="15716" y="72866"/>
                      <a:pt x="7144" y="80486"/>
                      <a:pt x="7144" y="90964"/>
                    </a:cubicBezTo>
                    <a:cubicBezTo>
                      <a:pt x="7144" y="101441"/>
                      <a:pt x="14764" y="109061"/>
                      <a:pt x="25241" y="109061"/>
                    </a:cubicBezTo>
                    <a:cubicBezTo>
                      <a:pt x="33814" y="109061"/>
                      <a:pt x="41434" y="102394"/>
                      <a:pt x="42386" y="93821"/>
                    </a:cubicBezTo>
                    <a:cubicBezTo>
                      <a:pt x="42386" y="113824"/>
                      <a:pt x="58579" y="130016"/>
                      <a:pt x="78581" y="130016"/>
                    </a:cubicBezTo>
                    <a:cubicBezTo>
                      <a:pt x="98584" y="130016"/>
                      <a:pt x="114776" y="113824"/>
                      <a:pt x="114776" y="93821"/>
                    </a:cubicBezTo>
                    <a:cubicBezTo>
                      <a:pt x="114776" y="86201"/>
                      <a:pt x="112871" y="79534"/>
                      <a:pt x="109061" y="73819"/>
                    </a:cubicBezTo>
                    <a:cubicBezTo>
                      <a:pt x="112871" y="77629"/>
                      <a:pt x="118586" y="80486"/>
                      <a:pt x="124301" y="80486"/>
                    </a:cubicBezTo>
                    <a:cubicBezTo>
                      <a:pt x="135731" y="80486"/>
                      <a:pt x="144304" y="71914"/>
                      <a:pt x="146209" y="61436"/>
                    </a:cubicBezTo>
                    <a:cubicBezTo>
                      <a:pt x="148114" y="62389"/>
                      <a:pt x="150019" y="63341"/>
                      <a:pt x="151924" y="63341"/>
                    </a:cubicBezTo>
                    <a:cubicBezTo>
                      <a:pt x="158591" y="63341"/>
                      <a:pt x="163354" y="58579"/>
                      <a:pt x="163354" y="51911"/>
                    </a:cubicBezTo>
                    <a:cubicBezTo>
                      <a:pt x="163354" y="45244"/>
                      <a:pt x="158591" y="40481"/>
                      <a:pt x="151924" y="40481"/>
                    </a:cubicBezTo>
                    <a:cubicBezTo>
                      <a:pt x="148114" y="40481"/>
                      <a:pt x="144304" y="42386"/>
                      <a:pt x="142399" y="46196"/>
                    </a:cubicBezTo>
                    <a:cubicBezTo>
                      <a:pt x="138589" y="40481"/>
                      <a:pt x="131921" y="36671"/>
                      <a:pt x="124301" y="36671"/>
                    </a:cubicBezTo>
                    <a:cubicBezTo>
                      <a:pt x="111919" y="36671"/>
                      <a:pt x="102394" y="46196"/>
                      <a:pt x="102394" y="58579"/>
                    </a:cubicBezTo>
                    <a:cubicBezTo>
                      <a:pt x="102394" y="62389"/>
                      <a:pt x="103346" y="66199"/>
                      <a:pt x="105251" y="70009"/>
                    </a:cubicBezTo>
                    <a:cubicBezTo>
                      <a:pt x="100489" y="65246"/>
                      <a:pt x="94774" y="61436"/>
                      <a:pt x="88106" y="59531"/>
                    </a:cubicBezTo>
                    <a:cubicBezTo>
                      <a:pt x="88106" y="59531"/>
                      <a:pt x="88106" y="58579"/>
                      <a:pt x="88106" y="58579"/>
                    </a:cubicBezTo>
                    <a:cubicBezTo>
                      <a:pt x="89059" y="46196"/>
                      <a:pt x="83344" y="36671"/>
                      <a:pt x="74771" y="30004"/>
                    </a:cubicBezTo>
                    <a:close/>
                    <a:moveTo>
                      <a:pt x="42386" y="91916"/>
                    </a:moveTo>
                    <a:cubicBezTo>
                      <a:pt x="42386" y="90964"/>
                      <a:pt x="42386" y="90011"/>
                      <a:pt x="42386" y="89059"/>
                    </a:cubicBezTo>
                    <a:cubicBezTo>
                      <a:pt x="42386" y="89059"/>
                      <a:pt x="42386" y="89059"/>
                      <a:pt x="43339" y="89059"/>
                    </a:cubicBezTo>
                    <a:cubicBezTo>
                      <a:pt x="43339" y="89059"/>
                      <a:pt x="42386" y="90964"/>
                      <a:pt x="42386" y="91916"/>
                    </a:cubicBezTo>
                    <a:close/>
                  </a:path>
                </a:pathLst>
              </a:custGeom>
              <a:grpFill/>
              <a:ln w="9525" cap="flat">
                <a:noFill/>
                <a:prstDash val="solid"/>
                <a:miter/>
              </a:ln>
            </p:spPr>
            <p:txBody>
              <a:bodyPr rtlCol="0" anchor="ctr"/>
              <a:lstStyle/>
              <a:p>
                <a:endParaRPr lang="en-US"/>
              </a:p>
            </p:txBody>
          </p:sp>
          <p:sp>
            <p:nvSpPr>
              <p:cNvPr id="94" name="Freeform: Shape 81">
                <a:extLst>
                  <a:ext uri="{FF2B5EF4-FFF2-40B4-BE49-F238E27FC236}">
                    <a16:creationId xmlns:a16="http://schemas.microsoft.com/office/drawing/2014/main" id="{88ED7A0A-ECB5-2143-BABA-4A724B2AF932}"/>
                  </a:ext>
                </a:extLst>
              </p:cNvPr>
              <p:cNvSpPr/>
              <p:nvPr/>
            </p:nvSpPr>
            <p:spPr>
              <a:xfrm>
                <a:off x="5822156" y="3741896"/>
                <a:ext cx="28575" cy="28575"/>
              </a:xfrm>
              <a:custGeom>
                <a:avLst/>
                <a:gdLst>
                  <a:gd name="connsiteX0" fmla="*/ 22384 w 28575"/>
                  <a:gd name="connsiteY0" fmla="*/ 14764 h 28575"/>
                  <a:gd name="connsiteX1" fmla="*/ 14764 w 28575"/>
                  <a:gd name="connsiteY1" fmla="*/ 22384 h 28575"/>
                  <a:gd name="connsiteX2" fmla="*/ 7144 w 28575"/>
                  <a:gd name="connsiteY2" fmla="*/ 14764 h 28575"/>
                  <a:gd name="connsiteX3" fmla="*/ 14764 w 28575"/>
                  <a:gd name="connsiteY3" fmla="*/ 714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8972"/>
                      <a:pt x="18972" y="22384"/>
                      <a:pt x="14764" y="22384"/>
                    </a:cubicBezTo>
                    <a:cubicBezTo>
                      <a:pt x="10555" y="22384"/>
                      <a:pt x="7144" y="18972"/>
                      <a:pt x="7144" y="14764"/>
                    </a:cubicBezTo>
                    <a:cubicBezTo>
                      <a:pt x="7144" y="10555"/>
                      <a:pt x="10555" y="7144"/>
                      <a:pt x="14764" y="7144"/>
                    </a:cubicBezTo>
                    <a:cubicBezTo>
                      <a:pt x="18972" y="7144"/>
                      <a:pt x="22384" y="10555"/>
                      <a:pt x="22384" y="14764"/>
                    </a:cubicBezTo>
                    <a:close/>
                  </a:path>
                </a:pathLst>
              </a:custGeom>
              <a:grpFill/>
              <a:ln w="9525" cap="flat">
                <a:noFill/>
                <a:prstDash val="solid"/>
                <a:miter/>
              </a:ln>
            </p:spPr>
            <p:txBody>
              <a:bodyPr rtlCol="0" anchor="ctr"/>
              <a:lstStyle/>
              <a:p>
                <a:endParaRPr lang="en-US"/>
              </a:p>
            </p:txBody>
          </p:sp>
          <p:sp>
            <p:nvSpPr>
              <p:cNvPr id="95" name="Freeform: Shape 82">
                <a:extLst>
                  <a:ext uri="{FF2B5EF4-FFF2-40B4-BE49-F238E27FC236}">
                    <a16:creationId xmlns:a16="http://schemas.microsoft.com/office/drawing/2014/main" id="{C0080155-182A-BF4F-BFC7-F9B8B4AB6E1C}"/>
                  </a:ext>
                </a:extLst>
              </p:cNvPr>
              <p:cNvSpPr/>
              <p:nvPr/>
            </p:nvSpPr>
            <p:spPr>
              <a:xfrm>
                <a:off x="5948839" y="2976086"/>
                <a:ext cx="28575" cy="28575"/>
              </a:xfrm>
              <a:custGeom>
                <a:avLst/>
                <a:gdLst>
                  <a:gd name="connsiteX0" fmla="*/ 15716 w 28575"/>
                  <a:gd name="connsiteY0" fmla="*/ 24289 h 28575"/>
                  <a:gd name="connsiteX1" fmla="*/ 24289 w 28575"/>
                  <a:gd name="connsiteY1" fmla="*/ 15716 h 28575"/>
                  <a:gd name="connsiteX2" fmla="*/ 15716 w 28575"/>
                  <a:gd name="connsiteY2" fmla="*/ 7144 h 28575"/>
                  <a:gd name="connsiteX3" fmla="*/ 7144 w 28575"/>
                  <a:gd name="connsiteY3" fmla="*/ 15716 h 28575"/>
                  <a:gd name="connsiteX4" fmla="*/ 15716 w 28575"/>
                  <a:gd name="connsiteY4" fmla="*/ 2428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716" y="24289"/>
                    </a:moveTo>
                    <a:cubicBezTo>
                      <a:pt x="20479" y="24289"/>
                      <a:pt x="24289" y="20479"/>
                      <a:pt x="24289" y="15716"/>
                    </a:cubicBezTo>
                    <a:cubicBezTo>
                      <a:pt x="24289" y="10954"/>
                      <a:pt x="20479" y="7144"/>
                      <a:pt x="15716" y="7144"/>
                    </a:cubicBezTo>
                    <a:cubicBezTo>
                      <a:pt x="10954" y="7144"/>
                      <a:pt x="7144" y="10954"/>
                      <a:pt x="7144" y="15716"/>
                    </a:cubicBezTo>
                    <a:cubicBezTo>
                      <a:pt x="8096" y="20479"/>
                      <a:pt x="11906" y="24289"/>
                      <a:pt x="15716" y="24289"/>
                    </a:cubicBezTo>
                    <a:close/>
                  </a:path>
                </a:pathLst>
              </a:custGeom>
              <a:grpFill/>
              <a:ln w="9525" cap="flat">
                <a:noFill/>
                <a:prstDash val="solid"/>
                <a:miter/>
              </a:ln>
            </p:spPr>
            <p:txBody>
              <a:bodyPr rtlCol="0" anchor="ctr"/>
              <a:lstStyle/>
              <a:p>
                <a:endParaRPr lang="en-US"/>
              </a:p>
            </p:txBody>
          </p:sp>
          <p:sp>
            <p:nvSpPr>
              <p:cNvPr id="96" name="Freeform: Shape 83">
                <a:extLst>
                  <a:ext uri="{FF2B5EF4-FFF2-40B4-BE49-F238E27FC236}">
                    <a16:creationId xmlns:a16="http://schemas.microsoft.com/office/drawing/2014/main" id="{FCD57F84-74BA-984C-BA14-991207280FDF}"/>
                  </a:ext>
                </a:extLst>
              </p:cNvPr>
              <p:cNvSpPr/>
              <p:nvPr/>
            </p:nvSpPr>
            <p:spPr>
              <a:xfrm>
                <a:off x="5656094" y="3041809"/>
                <a:ext cx="95250" cy="114300"/>
              </a:xfrm>
              <a:custGeom>
                <a:avLst/>
                <a:gdLst>
                  <a:gd name="connsiteX0" fmla="*/ 20806 w 95250"/>
                  <a:gd name="connsiteY0" fmla="*/ 90964 h 114300"/>
                  <a:gd name="connsiteX1" fmla="*/ 27474 w 95250"/>
                  <a:gd name="connsiteY1" fmla="*/ 89059 h 114300"/>
                  <a:gd name="connsiteX2" fmla="*/ 57954 w 95250"/>
                  <a:gd name="connsiteY2" fmla="*/ 108109 h 114300"/>
                  <a:gd name="connsiteX3" fmla="*/ 92244 w 95250"/>
                  <a:gd name="connsiteY3" fmla="*/ 73819 h 114300"/>
                  <a:gd name="connsiteX4" fmla="*/ 63669 w 95250"/>
                  <a:gd name="connsiteY4" fmla="*/ 40481 h 114300"/>
                  <a:gd name="connsiteX5" fmla="*/ 64621 w 95250"/>
                  <a:gd name="connsiteY5" fmla="*/ 33814 h 114300"/>
                  <a:gd name="connsiteX6" fmla="*/ 37951 w 95250"/>
                  <a:gd name="connsiteY6" fmla="*/ 7144 h 114300"/>
                  <a:gd name="connsiteX7" fmla="*/ 11281 w 95250"/>
                  <a:gd name="connsiteY7" fmla="*/ 33814 h 114300"/>
                  <a:gd name="connsiteX8" fmla="*/ 28426 w 95250"/>
                  <a:gd name="connsiteY8" fmla="*/ 58579 h 114300"/>
                  <a:gd name="connsiteX9" fmla="*/ 27474 w 95250"/>
                  <a:gd name="connsiteY9" fmla="*/ 61436 h 114300"/>
                  <a:gd name="connsiteX10" fmla="*/ 22711 w 95250"/>
                  <a:gd name="connsiteY10" fmla="*/ 60484 h 114300"/>
                  <a:gd name="connsiteX11" fmla="*/ 7471 w 95250"/>
                  <a:gd name="connsiteY11" fmla="*/ 75724 h 114300"/>
                  <a:gd name="connsiteX12" fmla="*/ 20806 w 95250"/>
                  <a:gd name="connsiteY12" fmla="*/ 9096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114300">
                    <a:moveTo>
                      <a:pt x="20806" y="90964"/>
                    </a:moveTo>
                    <a:cubicBezTo>
                      <a:pt x="22711" y="90964"/>
                      <a:pt x="25569" y="90011"/>
                      <a:pt x="27474" y="89059"/>
                    </a:cubicBezTo>
                    <a:cubicBezTo>
                      <a:pt x="33189" y="100489"/>
                      <a:pt x="44619" y="108109"/>
                      <a:pt x="57954" y="108109"/>
                    </a:cubicBezTo>
                    <a:cubicBezTo>
                      <a:pt x="77004" y="108109"/>
                      <a:pt x="92244" y="92869"/>
                      <a:pt x="92244" y="73819"/>
                    </a:cubicBezTo>
                    <a:cubicBezTo>
                      <a:pt x="92244" y="56674"/>
                      <a:pt x="79861" y="43339"/>
                      <a:pt x="63669" y="40481"/>
                    </a:cubicBezTo>
                    <a:cubicBezTo>
                      <a:pt x="64621" y="38576"/>
                      <a:pt x="64621" y="36671"/>
                      <a:pt x="64621" y="33814"/>
                    </a:cubicBezTo>
                    <a:cubicBezTo>
                      <a:pt x="64621" y="18574"/>
                      <a:pt x="52239" y="7144"/>
                      <a:pt x="37951" y="7144"/>
                    </a:cubicBezTo>
                    <a:cubicBezTo>
                      <a:pt x="22711" y="7144"/>
                      <a:pt x="11281" y="19526"/>
                      <a:pt x="11281" y="33814"/>
                    </a:cubicBezTo>
                    <a:cubicBezTo>
                      <a:pt x="11281" y="45244"/>
                      <a:pt x="17949" y="54769"/>
                      <a:pt x="28426" y="58579"/>
                    </a:cubicBezTo>
                    <a:cubicBezTo>
                      <a:pt x="28426" y="59531"/>
                      <a:pt x="27474" y="60484"/>
                      <a:pt x="27474" y="61436"/>
                    </a:cubicBezTo>
                    <a:cubicBezTo>
                      <a:pt x="25569" y="60484"/>
                      <a:pt x="24616" y="60484"/>
                      <a:pt x="22711" y="60484"/>
                    </a:cubicBezTo>
                    <a:cubicBezTo>
                      <a:pt x="14139" y="60484"/>
                      <a:pt x="7471" y="67151"/>
                      <a:pt x="7471" y="75724"/>
                    </a:cubicBezTo>
                    <a:cubicBezTo>
                      <a:pt x="5566" y="84296"/>
                      <a:pt x="12234" y="90964"/>
                      <a:pt x="20806" y="90964"/>
                    </a:cubicBezTo>
                    <a:close/>
                  </a:path>
                </a:pathLst>
              </a:custGeom>
              <a:grpFill/>
              <a:ln w="9525" cap="flat">
                <a:noFill/>
                <a:prstDash val="solid"/>
                <a:miter/>
              </a:ln>
            </p:spPr>
            <p:txBody>
              <a:bodyPr rtlCol="0" anchor="ctr"/>
              <a:lstStyle/>
              <a:p>
                <a:endParaRPr lang="en-US"/>
              </a:p>
            </p:txBody>
          </p:sp>
          <p:sp>
            <p:nvSpPr>
              <p:cNvPr id="97" name="Freeform: Shape 84">
                <a:extLst>
                  <a:ext uri="{FF2B5EF4-FFF2-40B4-BE49-F238E27FC236}">
                    <a16:creationId xmlns:a16="http://schemas.microsoft.com/office/drawing/2014/main" id="{4159FD47-65F2-8148-B898-E5F26140AA94}"/>
                  </a:ext>
                </a:extLst>
              </p:cNvPr>
              <p:cNvSpPr/>
              <p:nvPr/>
            </p:nvSpPr>
            <p:spPr>
              <a:xfrm>
                <a:off x="5755481" y="4182904"/>
                <a:ext cx="57150" cy="57150"/>
              </a:xfrm>
              <a:custGeom>
                <a:avLst/>
                <a:gdLst>
                  <a:gd name="connsiteX0" fmla="*/ 31909 w 57150"/>
                  <a:gd name="connsiteY0" fmla="*/ 7144 h 57150"/>
                  <a:gd name="connsiteX1" fmla="*/ 7144 w 57150"/>
                  <a:gd name="connsiteY1" fmla="*/ 31909 h 57150"/>
                  <a:gd name="connsiteX2" fmla="*/ 31909 w 57150"/>
                  <a:gd name="connsiteY2" fmla="*/ 56674 h 57150"/>
                  <a:gd name="connsiteX3" fmla="*/ 56674 w 57150"/>
                  <a:gd name="connsiteY3" fmla="*/ 31909 h 57150"/>
                  <a:gd name="connsiteX4" fmla="*/ 31909 w 57150"/>
                  <a:gd name="connsiteY4" fmla="*/ 7144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1909" y="7144"/>
                    </a:moveTo>
                    <a:cubicBezTo>
                      <a:pt x="18574" y="7144"/>
                      <a:pt x="7144" y="18574"/>
                      <a:pt x="7144" y="31909"/>
                    </a:cubicBezTo>
                    <a:cubicBezTo>
                      <a:pt x="7144" y="45244"/>
                      <a:pt x="18574" y="56674"/>
                      <a:pt x="31909" y="56674"/>
                    </a:cubicBezTo>
                    <a:cubicBezTo>
                      <a:pt x="45244" y="56674"/>
                      <a:pt x="56674" y="45244"/>
                      <a:pt x="56674" y="31909"/>
                    </a:cubicBezTo>
                    <a:cubicBezTo>
                      <a:pt x="56674" y="17621"/>
                      <a:pt x="45244" y="7144"/>
                      <a:pt x="31909" y="7144"/>
                    </a:cubicBezTo>
                    <a:close/>
                  </a:path>
                </a:pathLst>
              </a:custGeom>
              <a:grpFill/>
              <a:ln w="9525" cap="flat">
                <a:noFill/>
                <a:prstDash val="solid"/>
                <a:miter/>
              </a:ln>
            </p:spPr>
            <p:txBody>
              <a:bodyPr rtlCol="0" anchor="ctr"/>
              <a:lstStyle/>
              <a:p>
                <a:endParaRPr lang="en-US"/>
              </a:p>
            </p:txBody>
          </p:sp>
          <p:sp>
            <p:nvSpPr>
              <p:cNvPr id="98" name="Freeform: Shape 85">
                <a:extLst>
                  <a:ext uri="{FF2B5EF4-FFF2-40B4-BE49-F238E27FC236}">
                    <a16:creationId xmlns:a16="http://schemas.microsoft.com/office/drawing/2014/main" id="{923353CF-7E2D-B243-9B7B-C2F6560BC10D}"/>
                  </a:ext>
                </a:extLst>
              </p:cNvPr>
              <p:cNvSpPr/>
              <p:nvPr/>
            </p:nvSpPr>
            <p:spPr>
              <a:xfrm>
                <a:off x="6033611" y="3938111"/>
                <a:ext cx="28575" cy="28575"/>
              </a:xfrm>
              <a:custGeom>
                <a:avLst/>
                <a:gdLst>
                  <a:gd name="connsiteX0" fmla="*/ 22384 w 28575"/>
                  <a:gd name="connsiteY0" fmla="*/ 14764 h 28575"/>
                  <a:gd name="connsiteX1" fmla="*/ 14764 w 28575"/>
                  <a:gd name="connsiteY1" fmla="*/ 7144 h 28575"/>
                  <a:gd name="connsiteX2" fmla="*/ 7144 w 28575"/>
                  <a:gd name="connsiteY2" fmla="*/ 14764 h 28575"/>
                  <a:gd name="connsiteX3" fmla="*/ 14764 w 28575"/>
                  <a:gd name="connsiteY3" fmla="*/ 2238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0001"/>
                      <a:pt x="18574" y="7144"/>
                      <a:pt x="14764" y="7144"/>
                    </a:cubicBezTo>
                    <a:cubicBezTo>
                      <a:pt x="10954" y="7144"/>
                      <a:pt x="7144" y="10954"/>
                      <a:pt x="7144" y="14764"/>
                    </a:cubicBezTo>
                    <a:cubicBezTo>
                      <a:pt x="7144" y="18574"/>
                      <a:pt x="10954" y="22384"/>
                      <a:pt x="14764" y="22384"/>
                    </a:cubicBezTo>
                    <a:cubicBezTo>
                      <a:pt x="18574" y="22384"/>
                      <a:pt x="22384" y="19526"/>
                      <a:pt x="22384" y="14764"/>
                    </a:cubicBezTo>
                    <a:close/>
                  </a:path>
                </a:pathLst>
              </a:custGeom>
              <a:grpFill/>
              <a:ln w="9525" cap="flat">
                <a:noFill/>
                <a:prstDash val="solid"/>
                <a:miter/>
              </a:ln>
            </p:spPr>
            <p:txBody>
              <a:bodyPr rtlCol="0" anchor="ctr"/>
              <a:lstStyle/>
              <a:p>
                <a:endParaRPr lang="en-US"/>
              </a:p>
            </p:txBody>
          </p:sp>
          <p:sp>
            <p:nvSpPr>
              <p:cNvPr id="99" name="Freeform: Shape 86">
                <a:extLst>
                  <a:ext uri="{FF2B5EF4-FFF2-40B4-BE49-F238E27FC236}">
                    <a16:creationId xmlns:a16="http://schemas.microsoft.com/office/drawing/2014/main" id="{E92C4A96-C680-2145-BE8E-98C4A0E0781A}"/>
                  </a:ext>
                </a:extLst>
              </p:cNvPr>
              <p:cNvSpPr/>
              <p:nvPr/>
            </p:nvSpPr>
            <p:spPr>
              <a:xfrm>
                <a:off x="5585936" y="3662839"/>
                <a:ext cx="38100" cy="38100"/>
              </a:xfrm>
              <a:custGeom>
                <a:avLst/>
                <a:gdLst>
                  <a:gd name="connsiteX0" fmla="*/ 37624 w 38100"/>
                  <a:gd name="connsiteY0" fmla="*/ 22384 h 38100"/>
                  <a:gd name="connsiteX1" fmla="*/ 22384 w 38100"/>
                  <a:gd name="connsiteY1" fmla="*/ 7144 h 38100"/>
                  <a:gd name="connsiteX2" fmla="*/ 7144 w 38100"/>
                  <a:gd name="connsiteY2" fmla="*/ 22384 h 38100"/>
                  <a:gd name="connsiteX3" fmla="*/ 22384 w 38100"/>
                  <a:gd name="connsiteY3" fmla="*/ 37624 h 38100"/>
                  <a:gd name="connsiteX4" fmla="*/ 37624 w 38100"/>
                  <a:gd name="connsiteY4" fmla="*/ 2238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7624" y="22384"/>
                    </a:moveTo>
                    <a:cubicBezTo>
                      <a:pt x="37624" y="13811"/>
                      <a:pt x="30956" y="7144"/>
                      <a:pt x="22384" y="7144"/>
                    </a:cubicBezTo>
                    <a:cubicBezTo>
                      <a:pt x="13811" y="7144"/>
                      <a:pt x="7144" y="13811"/>
                      <a:pt x="7144" y="22384"/>
                    </a:cubicBezTo>
                    <a:cubicBezTo>
                      <a:pt x="7144" y="30956"/>
                      <a:pt x="13811" y="37624"/>
                      <a:pt x="22384" y="37624"/>
                    </a:cubicBezTo>
                    <a:cubicBezTo>
                      <a:pt x="30956" y="37624"/>
                      <a:pt x="37624" y="30956"/>
                      <a:pt x="37624" y="22384"/>
                    </a:cubicBezTo>
                    <a:close/>
                  </a:path>
                </a:pathLst>
              </a:custGeom>
              <a:grpFill/>
              <a:ln w="9525" cap="flat">
                <a:noFill/>
                <a:prstDash val="solid"/>
                <a:miter/>
              </a:ln>
            </p:spPr>
            <p:txBody>
              <a:bodyPr rtlCol="0" anchor="ctr"/>
              <a:lstStyle/>
              <a:p>
                <a:endParaRPr lang="en-US"/>
              </a:p>
            </p:txBody>
          </p:sp>
          <p:sp>
            <p:nvSpPr>
              <p:cNvPr id="100" name="Freeform: Shape 87">
                <a:extLst>
                  <a:ext uri="{FF2B5EF4-FFF2-40B4-BE49-F238E27FC236}">
                    <a16:creationId xmlns:a16="http://schemas.microsoft.com/office/drawing/2014/main" id="{92B125A6-3AD3-8D45-8726-FC1A400B6A21}"/>
                  </a:ext>
                </a:extLst>
              </p:cNvPr>
              <p:cNvSpPr/>
              <p:nvPr/>
            </p:nvSpPr>
            <p:spPr>
              <a:xfrm>
                <a:off x="5774531" y="3054191"/>
                <a:ext cx="28575" cy="28575"/>
              </a:xfrm>
              <a:custGeom>
                <a:avLst/>
                <a:gdLst>
                  <a:gd name="connsiteX0" fmla="*/ 28099 w 28575"/>
                  <a:gd name="connsiteY0" fmla="*/ 17621 h 28575"/>
                  <a:gd name="connsiteX1" fmla="*/ 17621 w 28575"/>
                  <a:gd name="connsiteY1" fmla="*/ 28099 h 28575"/>
                  <a:gd name="connsiteX2" fmla="*/ 7144 w 28575"/>
                  <a:gd name="connsiteY2" fmla="*/ 17621 h 28575"/>
                  <a:gd name="connsiteX3" fmla="*/ 17621 w 28575"/>
                  <a:gd name="connsiteY3" fmla="*/ 7144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23408"/>
                      <a:pt x="23408" y="28099"/>
                      <a:pt x="17621" y="28099"/>
                    </a:cubicBezTo>
                    <a:cubicBezTo>
                      <a:pt x="11835" y="28099"/>
                      <a:pt x="7144" y="23408"/>
                      <a:pt x="7144" y="17621"/>
                    </a:cubicBezTo>
                    <a:cubicBezTo>
                      <a:pt x="7144" y="11835"/>
                      <a:pt x="11835" y="7144"/>
                      <a:pt x="17621" y="7144"/>
                    </a:cubicBezTo>
                    <a:cubicBezTo>
                      <a:pt x="23408" y="7144"/>
                      <a:pt x="28099" y="11835"/>
                      <a:pt x="28099" y="17621"/>
                    </a:cubicBezTo>
                    <a:close/>
                  </a:path>
                </a:pathLst>
              </a:custGeom>
              <a:grpFill/>
              <a:ln w="9525" cap="flat">
                <a:noFill/>
                <a:prstDash val="solid"/>
                <a:miter/>
              </a:ln>
            </p:spPr>
            <p:txBody>
              <a:bodyPr rtlCol="0" anchor="ctr"/>
              <a:lstStyle/>
              <a:p>
                <a:endParaRPr lang="en-US"/>
              </a:p>
            </p:txBody>
          </p:sp>
          <p:sp>
            <p:nvSpPr>
              <p:cNvPr id="101" name="Freeform: Shape 88">
                <a:extLst>
                  <a:ext uri="{FF2B5EF4-FFF2-40B4-BE49-F238E27FC236}">
                    <a16:creationId xmlns:a16="http://schemas.microsoft.com/office/drawing/2014/main" id="{AB07610C-464A-3B48-817F-2EC5D8B93627}"/>
                  </a:ext>
                </a:extLst>
              </p:cNvPr>
              <p:cNvSpPr/>
              <p:nvPr/>
            </p:nvSpPr>
            <p:spPr>
              <a:xfrm>
                <a:off x="5801201" y="2997041"/>
                <a:ext cx="28575" cy="28575"/>
              </a:xfrm>
              <a:custGeom>
                <a:avLst/>
                <a:gdLst>
                  <a:gd name="connsiteX0" fmla="*/ 24289 w 28575"/>
                  <a:gd name="connsiteY0" fmla="*/ 15716 h 28575"/>
                  <a:gd name="connsiteX1" fmla="*/ 15716 w 28575"/>
                  <a:gd name="connsiteY1" fmla="*/ 24289 h 28575"/>
                  <a:gd name="connsiteX2" fmla="*/ 7144 w 28575"/>
                  <a:gd name="connsiteY2" fmla="*/ 15716 h 28575"/>
                  <a:gd name="connsiteX3" fmla="*/ 15716 w 28575"/>
                  <a:gd name="connsiteY3" fmla="*/ 7144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20451"/>
                      <a:pt x="20451" y="24289"/>
                      <a:pt x="15716" y="24289"/>
                    </a:cubicBezTo>
                    <a:cubicBezTo>
                      <a:pt x="10982" y="24289"/>
                      <a:pt x="7144" y="20451"/>
                      <a:pt x="7144" y="15716"/>
                    </a:cubicBezTo>
                    <a:cubicBezTo>
                      <a:pt x="7144" y="10982"/>
                      <a:pt x="10982" y="7144"/>
                      <a:pt x="15716" y="7144"/>
                    </a:cubicBezTo>
                    <a:cubicBezTo>
                      <a:pt x="20451" y="7144"/>
                      <a:pt x="24289" y="10982"/>
                      <a:pt x="24289" y="15716"/>
                    </a:cubicBezTo>
                    <a:close/>
                  </a:path>
                </a:pathLst>
              </a:custGeom>
              <a:grpFill/>
              <a:ln w="9525" cap="flat">
                <a:noFill/>
                <a:prstDash val="solid"/>
                <a:miter/>
              </a:ln>
            </p:spPr>
            <p:txBody>
              <a:bodyPr rtlCol="0" anchor="ctr"/>
              <a:lstStyle/>
              <a:p>
                <a:endParaRPr lang="en-US"/>
              </a:p>
            </p:txBody>
          </p:sp>
          <p:sp>
            <p:nvSpPr>
              <p:cNvPr id="102" name="Freeform: Shape 89">
                <a:extLst>
                  <a:ext uri="{FF2B5EF4-FFF2-40B4-BE49-F238E27FC236}">
                    <a16:creationId xmlns:a16="http://schemas.microsoft.com/office/drawing/2014/main" id="{BDE7C07B-ECC7-B64E-9197-85D7B30AEF3C}"/>
                  </a:ext>
                </a:extLst>
              </p:cNvPr>
              <p:cNvSpPr/>
              <p:nvPr/>
            </p:nvSpPr>
            <p:spPr>
              <a:xfrm>
                <a:off x="5444966" y="3704749"/>
                <a:ext cx="85725" cy="85725"/>
              </a:xfrm>
              <a:custGeom>
                <a:avLst/>
                <a:gdLst>
                  <a:gd name="connsiteX0" fmla="*/ 81439 w 85725"/>
                  <a:gd name="connsiteY0" fmla="*/ 44291 h 85725"/>
                  <a:gd name="connsiteX1" fmla="*/ 44291 w 85725"/>
                  <a:gd name="connsiteY1" fmla="*/ 81439 h 85725"/>
                  <a:gd name="connsiteX2" fmla="*/ 7144 w 85725"/>
                  <a:gd name="connsiteY2" fmla="*/ 44291 h 85725"/>
                  <a:gd name="connsiteX3" fmla="*/ 44291 w 85725"/>
                  <a:gd name="connsiteY3" fmla="*/ 7144 h 85725"/>
                  <a:gd name="connsiteX4" fmla="*/ 81439 w 85725"/>
                  <a:gd name="connsiteY4" fmla="*/ 44291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1439" y="44291"/>
                    </a:moveTo>
                    <a:cubicBezTo>
                      <a:pt x="81439" y="64807"/>
                      <a:pt x="64807" y="81439"/>
                      <a:pt x="44291" y="81439"/>
                    </a:cubicBezTo>
                    <a:cubicBezTo>
                      <a:pt x="23775" y="81439"/>
                      <a:pt x="7144" y="64807"/>
                      <a:pt x="7144" y="44291"/>
                    </a:cubicBezTo>
                    <a:cubicBezTo>
                      <a:pt x="7144" y="23775"/>
                      <a:pt x="23775" y="7144"/>
                      <a:pt x="44291" y="7144"/>
                    </a:cubicBezTo>
                    <a:cubicBezTo>
                      <a:pt x="64807" y="7144"/>
                      <a:pt x="81439" y="23775"/>
                      <a:pt x="81439" y="44291"/>
                    </a:cubicBezTo>
                    <a:close/>
                  </a:path>
                </a:pathLst>
              </a:custGeom>
              <a:grpFill/>
              <a:ln w="9525" cap="flat">
                <a:noFill/>
                <a:prstDash val="solid"/>
                <a:miter/>
              </a:ln>
            </p:spPr>
            <p:txBody>
              <a:bodyPr rtlCol="0" anchor="ctr"/>
              <a:lstStyle/>
              <a:p>
                <a:endParaRPr lang="en-US"/>
              </a:p>
            </p:txBody>
          </p:sp>
          <p:sp>
            <p:nvSpPr>
              <p:cNvPr id="103" name="Freeform: Shape 90">
                <a:extLst>
                  <a:ext uri="{FF2B5EF4-FFF2-40B4-BE49-F238E27FC236}">
                    <a16:creationId xmlns:a16="http://schemas.microsoft.com/office/drawing/2014/main" id="{5C23A13C-4F3B-BB47-9791-E71A39D13071}"/>
                  </a:ext>
                </a:extLst>
              </p:cNvPr>
              <p:cNvSpPr/>
              <p:nvPr/>
            </p:nvSpPr>
            <p:spPr>
              <a:xfrm>
                <a:off x="5544979" y="3427571"/>
                <a:ext cx="85725" cy="95250"/>
              </a:xfrm>
              <a:custGeom>
                <a:avLst/>
                <a:gdLst>
                  <a:gd name="connsiteX0" fmla="*/ 58579 w 85725"/>
                  <a:gd name="connsiteY0" fmla="*/ 39529 h 95250"/>
                  <a:gd name="connsiteX1" fmla="*/ 59531 w 85725"/>
                  <a:gd name="connsiteY1" fmla="*/ 32861 h 95250"/>
                  <a:gd name="connsiteX2" fmla="*/ 39529 w 85725"/>
                  <a:gd name="connsiteY2" fmla="*/ 12859 h 95250"/>
                  <a:gd name="connsiteX3" fmla="*/ 38576 w 85725"/>
                  <a:gd name="connsiteY3" fmla="*/ 12859 h 95250"/>
                  <a:gd name="connsiteX4" fmla="*/ 25241 w 85725"/>
                  <a:gd name="connsiteY4" fmla="*/ 7144 h 95250"/>
                  <a:gd name="connsiteX5" fmla="*/ 7144 w 85725"/>
                  <a:gd name="connsiteY5" fmla="*/ 25241 h 95250"/>
                  <a:gd name="connsiteX6" fmla="*/ 22384 w 85725"/>
                  <a:gd name="connsiteY6" fmla="*/ 43339 h 95250"/>
                  <a:gd name="connsiteX7" fmla="*/ 34766 w 85725"/>
                  <a:gd name="connsiteY7" fmla="*/ 52864 h 95250"/>
                  <a:gd name="connsiteX8" fmla="*/ 30004 w 85725"/>
                  <a:gd name="connsiteY8" fmla="*/ 68104 h 95250"/>
                  <a:gd name="connsiteX9" fmla="*/ 58579 w 85725"/>
                  <a:gd name="connsiteY9" fmla="*/ 96679 h 95250"/>
                  <a:gd name="connsiteX10" fmla="*/ 87154 w 85725"/>
                  <a:gd name="connsiteY10" fmla="*/ 68104 h 95250"/>
                  <a:gd name="connsiteX11" fmla="*/ 58579 w 85725"/>
                  <a:gd name="connsiteY11" fmla="*/ 39529 h 95250"/>
                  <a:gd name="connsiteX12" fmla="*/ 58579 w 85725"/>
                  <a:gd name="connsiteY12" fmla="*/ 3952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95250">
                    <a:moveTo>
                      <a:pt x="58579" y="39529"/>
                    </a:moveTo>
                    <a:cubicBezTo>
                      <a:pt x="59531" y="37624"/>
                      <a:pt x="59531" y="35719"/>
                      <a:pt x="59531" y="32861"/>
                    </a:cubicBezTo>
                    <a:cubicBezTo>
                      <a:pt x="59531" y="21431"/>
                      <a:pt x="50006" y="12859"/>
                      <a:pt x="39529" y="12859"/>
                    </a:cubicBezTo>
                    <a:cubicBezTo>
                      <a:pt x="39529" y="12859"/>
                      <a:pt x="38576" y="12859"/>
                      <a:pt x="38576" y="12859"/>
                    </a:cubicBezTo>
                    <a:cubicBezTo>
                      <a:pt x="34766" y="9049"/>
                      <a:pt x="30956" y="7144"/>
                      <a:pt x="25241" y="7144"/>
                    </a:cubicBezTo>
                    <a:cubicBezTo>
                      <a:pt x="14764" y="7144"/>
                      <a:pt x="7144" y="15716"/>
                      <a:pt x="7144" y="25241"/>
                    </a:cubicBezTo>
                    <a:cubicBezTo>
                      <a:pt x="7144" y="33814"/>
                      <a:pt x="13811" y="41434"/>
                      <a:pt x="22384" y="43339"/>
                    </a:cubicBezTo>
                    <a:cubicBezTo>
                      <a:pt x="25241" y="48101"/>
                      <a:pt x="30004" y="50959"/>
                      <a:pt x="34766" y="52864"/>
                    </a:cubicBezTo>
                    <a:cubicBezTo>
                      <a:pt x="31909" y="57626"/>
                      <a:pt x="30004" y="62389"/>
                      <a:pt x="30004" y="68104"/>
                    </a:cubicBezTo>
                    <a:cubicBezTo>
                      <a:pt x="30004" y="84296"/>
                      <a:pt x="43339" y="96679"/>
                      <a:pt x="58579" y="96679"/>
                    </a:cubicBezTo>
                    <a:cubicBezTo>
                      <a:pt x="74771" y="96679"/>
                      <a:pt x="87154" y="83344"/>
                      <a:pt x="87154" y="68104"/>
                    </a:cubicBezTo>
                    <a:cubicBezTo>
                      <a:pt x="88106" y="52864"/>
                      <a:pt x="74771" y="39529"/>
                      <a:pt x="58579" y="39529"/>
                    </a:cubicBezTo>
                    <a:cubicBezTo>
                      <a:pt x="58579" y="39529"/>
                      <a:pt x="58579" y="39529"/>
                      <a:pt x="58579" y="39529"/>
                    </a:cubicBezTo>
                    <a:close/>
                  </a:path>
                </a:pathLst>
              </a:custGeom>
              <a:grpFill/>
              <a:ln w="9525" cap="flat">
                <a:noFill/>
                <a:prstDash val="solid"/>
                <a:miter/>
              </a:ln>
            </p:spPr>
            <p:txBody>
              <a:bodyPr rtlCol="0" anchor="ctr"/>
              <a:lstStyle/>
              <a:p>
                <a:endParaRPr lang="en-US"/>
              </a:p>
            </p:txBody>
          </p:sp>
          <p:sp>
            <p:nvSpPr>
              <p:cNvPr id="104" name="Freeform: Shape 91">
                <a:extLst>
                  <a:ext uri="{FF2B5EF4-FFF2-40B4-BE49-F238E27FC236}">
                    <a16:creationId xmlns:a16="http://schemas.microsoft.com/office/drawing/2014/main" id="{C027C1F6-4B61-5143-9B43-8AF52C798D50}"/>
                  </a:ext>
                </a:extLst>
              </p:cNvPr>
              <p:cNvSpPr/>
              <p:nvPr/>
            </p:nvSpPr>
            <p:spPr>
              <a:xfrm>
                <a:off x="5965031" y="4117181"/>
                <a:ext cx="19050" cy="19050"/>
              </a:xfrm>
              <a:custGeom>
                <a:avLst/>
                <a:gdLst>
                  <a:gd name="connsiteX0" fmla="*/ 16669 w 19050"/>
                  <a:gd name="connsiteY0" fmla="*/ 11906 h 19050"/>
                  <a:gd name="connsiteX1" fmla="*/ 11906 w 19050"/>
                  <a:gd name="connsiteY1" fmla="*/ 7144 h 19050"/>
                  <a:gd name="connsiteX2" fmla="*/ 7144 w 19050"/>
                  <a:gd name="connsiteY2" fmla="*/ 11906 h 19050"/>
                  <a:gd name="connsiteX3" fmla="*/ 11906 w 19050"/>
                  <a:gd name="connsiteY3" fmla="*/ 16669 h 19050"/>
                  <a:gd name="connsiteX4" fmla="*/ 16669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6669" y="11906"/>
                    </a:moveTo>
                    <a:cubicBezTo>
                      <a:pt x="16669" y="9049"/>
                      <a:pt x="14764" y="7144"/>
                      <a:pt x="11906" y="7144"/>
                    </a:cubicBezTo>
                    <a:cubicBezTo>
                      <a:pt x="9049" y="7144"/>
                      <a:pt x="7144" y="9049"/>
                      <a:pt x="7144" y="11906"/>
                    </a:cubicBezTo>
                    <a:cubicBezTo>
                      <a:pt x="7144" y="14764"/>
                      <a:pt x="9049" y="16669"/>
                      <a:pt x="11906" y="16669"/>
                    </a:cubicBezTo>
                    <a:cubicBezTo>
                      <a:pt x="14764" y="16669"/>
                      <a:pt x="16669" y="14764"/>
                      <a:pt x="16669" y="11906"/>
                    </a:cubicBezTo>
                    <a:close/>
                  </a:path>
                </a:pathLst>
              </a:custGeom>
              <a:grpFill/>
              <a:ln w="9525" cap="flat">
                <a:noFill/>
                <a:prstDash val="solid"/>
                <a:miter/>
              </a:ln>
            </p:spPr>
            <p:txBody>
              <a:bodyPr rtlCol="0" anchor="ctr"/>
              <a:lstStyle/>
              <a:p>
                <a:endParaRPr lang="en-US"/>
              </a:p>
            </p:txBody>
          </p:sp>
          <p:sp>
            <p:nvSpPr>
              <p:cNvPr id="105" name="Freeform: Shape 92">
                <a:extLst>
                  <a:ext uri="{FF2B5EF4-FFF2-40B4-BE49-F238E27FC236}">
                    <a16:creationId xmlns:a16="http://schemas.microsoft.com/office/drawing/2014/main" id="{FD487A4D-F085-9742-89F0-18888382F33E}"/>
                  </a:ext>
                </a:extLst>
              </p:cNvPr>
              <p:cNvSpPr/>
              <p:nvPr/>
            </p:nvSpPr>
            <p:spPr>
              <a:xfrm>
                <a:off x="5866924" y="3722846"/>
                <a:ext cx="76200" cy="76200"/>
              </a:xfrm>
              <a:custGeom>
                <a:avLst/>
                <a:gdLst>
                  <a:gd name="connsiteX0" fmla="*/ 65246 w 76200"/>
                  <a:gd name="connsiteY0" fmla="*/ 75724 h 76200"/>
                  <a:gd name="connsiteX1" fmla="*/ 75724 w 76200"/>
                  <a:gd name="connsiteY1" fmla="*/ 65246 h 76200"/>
                  <a:gd name="connsiteX2" fmla="*/ 65246 w 76200"/>
                  <a:gd name="connsiteY2" fmla="*/ 54769 h 76200"/>
                  <a:gd name="connsiteX3" fmla="*/ 62389 w 76200"/>
                  <a:gd name="connsiteY3" fmla="*/ 55721 h 76200"/>
                  <a:gd name="connsiteX4" fmla="*/ 68104 w 76200"/>
                  <a:gd name="connsiteY4" fmla="*/ 42386 h 76200"/>
                  <a:gd name="connsiteX5" fmla="*/ 50006 w 76200"/>
                  <a:gd name="connsiteY5" fmla="*/ 24289 h 76200"/>
                  <a:gd name="connsiteX6" fmla="*/ 42386 w 76200"/>
                  <a:gd name="connsiteY6" fmla="*/ 26194 h 76200"/>
                  <a:gd name="connsiteX7" fmla="*/ 30956 w 76200"/>
                  <a:gd name="connsiteY7" fmla="*/ 16669 h 76200"/>
                  <a:gd name="connsiteX8" fmla="*/ 31909 w 76200"/>
                  <a:gd name="connsiteY8" fmla="*/ 16669 h 76200"/>
                  <a:gd name="connsiteX9" fmla="*/ 36671 w 76200"/>
                  <a:gd name="connsiteY9" fmla="*/ 11906 h 76200"/>
                  <a:gd name="connsiteX10" fmla="*/ 31909 w 76200"/>
                  <a:gd name="connsiteY10" fmla="*/ 7144 h 76200"/>
                  <a:gd name="connsiteX11" fmla="*/ 27146 w 76200"/>
                  <a:gd name="connsiteY11" fmla="*/ 11906 h 76200"/>
                  <a:gd name="connsiteX12" fmla="*/ 30004 w 76200"/>
                  <a:gd name="connsiteY12" fmla="*/ 16669 h 76200"/>
                  <a:gd name="connsiteX13" fmla="*/ 26194 w 76200"/>
                  <a:gd name="connsiteY13" fmla="*/ 15716 h 76200"/>
                  <a:gd name="connsiteX14" fmla="*/ 7144 w 76200"/>
                  <a:gd name="connsiteY14" fmla="*/ 34766 h 76200"/>
                  <a:gd name="connsiteX15" fmla="*/ 26194 w 76200"/>
                  <a:gd name="connsiteY15" fmla="*/ 53816 h 76200"/>
                  <a:gd name="connsiteX16" fmla="*/ 35719 w 76200"/>
                  <a:gd name="connsiteY16" fmla="*/ 50959 h 76200"/>
                  <a:gd name="connsiteX17" fmla="*/ 50959 w 76200"/>
                  <a:gd name="connsiteY17" fmla="*/ 59531 h 76200"/>
                  <a:gd name="connsiteX18" fmla="*/ 57626 w 76200"/>
                  <a:gd name="connsiteY18" fmla="*/ 58579 h 76200"/>
                  <a:gd name="connsiteX19" fmla="*/ 54769 w 76200"/>
                  <a:gd name="connsiteY19" fmla="*/ 65246 h 76200"/>
                  <a:gd name="connsiteX20" fmla="*/ 65246 w 76200"/>
                  <a:gd name="connsiteY20" fmla="*/ 7572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200" h="76200">
                    <a:moveTo>
                      <a:pt x="65246" y="75724"/>
                    </a:moveTo>
                    <a:cubicBezTo>
                      <a:pt x="70961" y="75724"/>
                      <a:pt x="75724" y="70961"/>
                      <a:pt x="75724" y="65246"/>
                    </a:cubicBezTo>
                    <a:cubicBezTo>
                      <a:pt x="75724" y="59531"/>
                      <a:pt x="70961" y="54769"/>
                      <a:pt x="65246" y="54769"/>
                    </a:cubicBezTo>
                    <a:cubicBezTo>
                      <a:pt x="64294" y="54769"/>
                      <a:pt x="63341" y="54769"/>
                      <a:pt x="62389" y="55721"/>
                    </a:cubicBezTo>
                    <a:cubicBezTo>
                      <a:pt x="66199" y="52864"/>
                      <a:pt x="68104" y="48101"/>
                      <a:pt x="68104" y="42386"/>
                    </a:cubicBezTo>
                    <a:cubicBezTo>
                      <a:pt x="68104" y="32861"/>
                      <a:pt x="60484" y="24289"/>
                      <a:pt x="50006" y="24289"/>
                    </a:cubicBezTo>
                    <a:cubicBezTo>
                      <a:pt x="47149" y="24289"/>
                      <a:pt x="44291" y="25241"/>
                      <a:pt x="42386" y="26194"/>
                    </a:cubicBezTo>
                    <a:cubicBezTo>
                      <a:pt x="39529" y="21431"/>
                      <a:pt x="35719" y="18574"/>
                      <a:pt x="30956" y="16669"/>
                    </a:cubicBezTo>
                    <a:cubicBezTo>
                      <a:pt x="30956" y="16669"/>
                      <a:pt x="31909" y="16669"/>
                      <a:pt x="31909" y="16669"/>
                    </a:cubicBezTo>
                    <a:cubicBezTo>
                      <a:pt x="34766" y="16669"/>
                      <a:pt x="36671" y="14764"/>
                      <a:pt x="36671" y="11906"/>
                    </a:cubicBezTo>
                    <a:cubicBezTo>
                      <a:pt x="36671" y="9049"/>
                      <a:pt x="34766" y="7144"/>
                      <a:pt x="31909" y="7144"/>
                    </a:cubicBezTo>
                    <a:cubicBezTo>
                      <a:pt x="29051" y="7144"/>
                      <a:pt x="27146" y="9049"/>
                      <a:pt x="27146" y="11906"/>
                    </a:cubicBezTo>
                    <a:cubicBezTo>
                      <a:pt x="27146" y="13811"/>
                      <a:pt x="28099" y="15716"/>
                      <a:pt x="30004" y="16669"/>
                    </a:cubicBezTo>
                    <a:cubicBezTo>
                      <a:pt x="29051" y="16669"/>
                      <a:pt x="27146" y="15716"/>
                      <a:pt x="26194" y="15716"/>
                    </a:cubicBezTo>
                    <a:cubicBezTo>
                      <a:pt x="15716" y="15716"/>
                      <a:pt x="7144" y="24289"/>
                      <a:pt x="7144" y="34766"/>
                    </a:cubicBezTo>
                    <a:cubicBezTo>
                      <a:pt x="7144" y="45244"/>
                      <a:pt x="15716" y="53816"/>
                      <a:pt x="26194" y="53816"/>
                    </a:cubicBezTo>
                    <a:cubicBezTo>
                      <a:pt x="29051" y="53816"/>
                      <a:pt x="32861" y="52864"/>
                      <a:pt x="35719" y="50959"/>
                    </a:cubicBezTo>
                    <a:cubicBezTo>
                      <a:pt x="38576" y="55721"/>
                      <a:pt x="44291" y="59531"/>
                      <a:pt x="50959" y="59531"/>
                    </a:cubicBezTo>
                    <a:cubicBezTo>
                      <a:pt x="52864" y="59531"/>
                      <a:pt x="55721" y="58579"/>
                      <a:pt x="57626" y="58579"/>
                    </a:cubicBezTo>
                    <a:cubicBezTo>
                      <a:pt x="55721" y="60484"/>
                      <a:pt x="54769" y="62389"/>
                      <a:pt x="54769" y="65246"/>
                    </a:cubicBezTo>
                    <a:cubicBezTo>
                      <a:pt x="54769" y="70961"/>
                      <a:pt x="59531" y="75724"/>
                      <a:pt x="65246" y="75724"/>
                    </a:cubicBezTo>
                    <a:close/>
                  </a:path>
                </a:pathLst>
              </a:custGeom>
              <a:grpFill/>
              <a:ln w="9525" cap="flat">
                <a:noFill/>
                <a:prstDash val="solid"/>
                <a:miter/>
              </a:ln>
            </p:spPr>
            <p:txBody>
              <a:bodyPr rtlCol="0" anchor="ctr"/>
              <a:lstStyle/>
              <a:p>
                <a:endParaRPr lang="en-US"/>
              </a:p>
            </p:txBody>
          </p:sp>
          <p:sp>
            <p:nvSpPr>
              <p:cNvPr id="106" name="Freeform: Shape 93">
                <a:extLst>
                  <a:ext uri="{FF2B5EF4-FFF2-40B4-BE49-F238E27FC236}">
                    <a16:creationId xmlns:a16="http://schemas.microsoft.com/office/drawing/2014/main" id="{EAB9A3FC-5CA6-E441-A4A5-B01CEA06127C}"/>
                  </a:ext>
                </a:extLst>
              </p:cNvPr>
              <p:cNvSpPr/>
              <p:nvPr/>
            </p:nvSpPr>
            <p:spPr>
              <a:xfrm>
                <a:off x="6027896" y="2811304"/>
                <a:ext cx="95250" cy="85725"/>
              </a:xfrm>
              <a:custGeom>
                <a:avLst/>
                <a:gdLst>
                  <a:gd name="connsiteX0" fmla="*/ 27146 w 95250"/>
                  <a:gd name="connsiteY0" fmla="*/ 7144 h 85725"/>
                  <a:gd name="connsiteX1" fmla="*/ 7144 w 95250"/>
                  <a:gd name="connsiteY1" fmla="*/ 27146 h 85725"/>
                  <a:gd name="connsiteX2" fmla="*/ 16669 w 95250"/>
                  <a:gd name="connsiteY2" fmla="*/ 44291 h 85725"/>
                  <a:gd name="connsiteX3" fmla="*/ 15716 w 95250"/>
                  <a:gd name="connsiteY3" fmla="*/ 49054 h 85725"/>
                  <a:gd name="connsiteX4" fmla="*/ 32861 w 95250"/>
                  <a:gd name="connsiteY4" fmla="*/ 66199 h 85725"/>
                  <a:gd name="connsiteX5" fmla="*/ 42386 w 95250"/>
                  <a:gd name="connsiteY5" fmla="*/ 63341 h 85725"/>
                  <a:gd name="connsiteX6" fmla="*/ 66199 w 95250"/>
                  <a:gd name="connsiteY6" fmla="*/ 84296 h 85725"/>
                  <a:gd name="connsiteX7" fmla="*/ 90964 w 95250"/>
                  <a:gd name="connsiteY7" fmla="*/ 59531 h 85725"/>
                  <a:gd name="connsiteX8" fmla="*/ 66199 w 95250"/>
                  <a:gd name="connsiteY8" fmla="*/ 34766 h 85725"/>
                  <a:gd name="connsiteX9" fmla="*/ 49054 w 95250"/>
                  <a:gd name="connsiteY9" fmla="*/ 41434 h 85725"/>
                  <a:gd name="connsiteX10" fmla="*/ 45244 w 95250"/>
                  <a:gd name="connsiteY10" fmla="*/ 34766 h 85725"/>
                  <a:gd name="connsiteX11" fmla="*/ 47149 w 95250"/>
                  <a:gd name="connsiteY11" fmla="*/ 25241 h 85725"/>
                  <a:gd name="connsiteX12" fmla="*/ 27146 w 95250"/>
                  <a:gd name="connsiteY12"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85725">
                    <a:moveTo>
                      <a:pt x="27146" y="7144"/>
                    </a:moveTo>
                    <a:cubicBezTo>
                      <a:pt x="15716" y="7144"/>
                      <a:pt x="7144" y="15716"/>
                      <a:pt x="7144" y="27146"/>
                    </a:cubicBezTo>
                    <a:cubicBezTo>
                      <a:pt x="7144" y="33814"/>
                      <a:pt x="10954" y="40481"/>
                      <a:pt x="16669" y="44291"/>
                    </a:cubicBezTo>
                    <a:cubicBezTo>
                      <a:pt x="15716" y="46196"/>
                      <a:pt x="15716" y="47149"/>
                      <a:pt x="15716" y="49054"/>
                    </a:cubicBezTo>
                    <a:cubicBezTo>
                      <a:pt x="15716" y="58579"/>
                      <a:pt x="23336" y="66199"/>
                      <a:pt x="32861" y="66199"/>
                    </a:cubicBezTo>
                    <a:cubicBezTo>
                      <a:pt x="36671" y="66199"/>
                      <a:pt x="39529" y="65246"/>
                      <a:pt x="42386" y="63341"/>
                    </a:cubicBezTo>
                    <a:cubicBezTo>
                      <a:pt x="44291" y="74771"/>
                      <a:pt x="53816" y="84296"/>
                      <a:pt x="66199" y="84296"/>
                    </a:cubicBezTo>
                    <a:cubicBezTo>
                      <a:pt x="79534" y="84296"/>
                      <a:pt x="90964" y="72866"/>
                      <a:pt x="90964" y="59531"/>
                    </a:cubicBezTo>
                    <a:cubicBezTo>
                      <a:pt x="90964" y="46196"/>
                      <a:pt x="80486" y="34766"/>
                      <a:pt x="66199" y="34766"/>
                    </a:cubicBezTo>
                    <a:cubicBezTo>
                      <a:pt x="59531" y="34766"/>
                      <a:pt x="53816" y="37624"/>
                      <a:pt x="49054" y="41434"/>
                    </a:cubicBezTo>
                    <a:cubicBezTo>
                      <a:pt x="48101" y="38576"/>
                      <a:pt x="46196" y="36671"/>
                      <a:pt x="45244" y="34766"/>
                    </a:cubicBezTo>
                    <a:cubicBezTo>
                      <a:pt x="47149" y="31909"/>
                      <a:pt x="47149" y="29051"/>
                      <a:pt x="47149" y="25241"/>
                    </a:cubicBezTo>
                    <a:cubicBezTo>
                      <a:pt x="47149" y="16669"/>
                      <a:pt x="37624" y="7144"/>
                      <a:pt x="27146" y="7144"/>
                    </a:cubicBezTo>
                    <a:close/>
                  </a:path>
                </a:pathLst>
              </a:custGeom>
              <a:grpFill/>
              <a:ln w="9525" cap="flat">
                <a:noFill/>
                <a:prstDash val="solid"/>
                <a:miter/>
              </a:ln>
            </p:spPr>
            <p:txBody>
              <a:bodyPr rtlCol="0" anchor="ctr"/>
              <a:lstStyle/>
              <a:p>
                <a:endParaRPr lang="en-US"/>
              </a:p>
            </p:txBody>
          </p:sp>
          <p:sp>
            <p:nvSpPr>
              <p:cNvPr id="107" name="Freeform: Shape 94">
                <a:extLst>
                  <a:ext uri="{FF2B5EF4-FFF2-40B4-BE49-F238E27FC236}">
                    <a16:creationId xmlns:a16="http://schemas.microsoft.com/office/drawing/2014/main" id="{20741AF8-8D37-0642-B3CA-A5139EA163E2}"/>
                  </a:ext>
                </a:extLst>
              </p:cNvPr>
              <p:cNvSpPr/>
              <p:nvPr/>
            </p:nvSpPr>
            <p:spPr>
              <a:xfrm>
                <a:off x="6005989" y="2619851"/>
                <a:ext cx="76200" cy="76200"/>
              </a:xfrm>
              <a:custGeom>
                <a:avLst/>
                <a:gdLst>
                  <a:gd name="connsiteX0" fmla="*/ 42386 w 76200"/>
                  <a:gd name="connsiteY0" fmla="*/ 77629 h 76200"/>
                  <a:gd name="connsiteX1" fmla="*/ 77629 w 76200"/>
                  <a:gd name="connsiteY1" fmla="*/ 42386 h 76200"/>
                  <a:gd name="connsiteX2" fmla="*/ 42386 w 76200"/>
                  <a:gd name="connsiteY2" fmla="*/ 7144 h 76200"/>
                  <a:gd name="connsiteX3" fmla="*/ 7144 w 76200"/>
                  <a:gd name="connsiteY3" fmla="*/ 42386 h 76200"/>
                  <a:gd name="connsiteX4" fmla="*/ 42386 w 76200"/>
                  <a:gd name="connsiteY4" fmla="*/ 77629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42386" y="77629"/>
                    </a:moveTo>
                    <a:cubicBezTo>
                      <a:pt x="61436" y="77629"/>
                      <a:pt x="77629" y="62389"/>
                      <a:pt x="77629" y="42386"/>
                    </a:cubicBezTo>
                    <a:cubicBezTo>
                      <a:pt x="77629" y="23336"/>
                      <a:pt x="62389" y="7144"/>
                      <a:pt x="42386" y="7144"/>
                    </a:cubicBezTo>
                    <a:cubicBezTo>
                      <a:pt x="23336" y="7144"/>
                      <a:pt x="7144" y="22384"/>
                      <a:pt x="7144" y="42386"/>
                    </a:cubicBezTo>
                    <a:cubicBezTo>
                      <a:pt x="7144" y="62389"/>
                      <a:pt x="23336" y="77629"/>
                      <a:pt x="42386" y="77629"/>
                    </a:cubicBezTo>
                    <a:close/>
                  </a:path>
                </a:pathLst>
              </a:custGeom>
              <a:grpFill/>
              <a:ln w="9525" cap="flat">
                <a:noFill/>
                <a:prstDash val="solid"/>
                <a:miter/>
              </a:ln>
            </p:spPr>
            <p:txBody>
              <a:bodyPr rtlCol="0" anchor="ctr"/>
              <a:lstStyle/>
              <a:p>
                <a:endParaRPr lang="en-US"/>
              </a:p>
            </p:txBody>
          </p:sp>
          <p:sp>
            <p:nvSpPr>
              <p:cNvPr id="108" name="Freeform: Shape 95">
                <a:extLst>
                  <a:ext uri="{FF2B5EF4-FFF2-40B4-BE49-F238E27FC236}">
                    <a16:creationId xmlns:a16="http://schemas.microsoft.com/office/drawing/2014/main" id="{482D0EAB-B591-A940-A9A0-2F1F7FD51D1E}"/>
                  </a:ext>
                </a:extLst>
              </p:cNvPr>
              <p:cNvSpPr/>
              <p:nvPr/>
            </p:nvSpPr>
            <p:spPr>
              <a:xfrm>
                <a:off x="5885021" y="3175159"/>
                <a:ext cx="38100" cy="38100"/>
              </a:xfrm>
              <a:custGeom>
                <a:avLst/>
                <a:gdLst>
                  <a:gd name="connsiteX0" fmla="*/ 19526 w 38100"/>
                  <a:gd name="connsiteY0" fmla="*/ 31909 h 38100"/>
                  <a:gd name="connsiteX1" fmla="*/ 31909 w 38100"/>
                  <a:gd name="connsiteY1" fmla="*/ 19526 h 38100"/>
                  <a:gd name="connsiteX2" fmla="*/ 19526 w 38100"/>
                  <a:gd name="connsiteY2" fmla="*/ 7144 h 38100"/>
                  <a:gd name="connsiteX3" fmla="*/ 7144 w 38100"/>
                  <a:gd name="connsiteY3" fmla="*/ 19526 h 38100"/>
                  <a:gd name="connsiteX4" fmla="*/ 19526 w 38100"/>
                  <a:gd name="connsiteY4" fmla="*/ 3190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19526" y="31909"/>
                    </a:moveTo>
                    <a:cubicBezTo>
                      <a:pt x="26194" y="31909"/>
                      <a:pt x="31909" y="26194"/>
                      <a:pt x="31909" y="19526"/>
                    </a:cubicBezTo>
                    <a:cubicBezTo>
                      <a:pt x="31909" y="12859"/>
                      <a:pt x="26194" y="7144"/>
                      <a:pt x="19526" y="7144"/>
                    </a:cubicBezTo>
                    <a:cubicBezTo>
                      <a:pt x="12859" y="7144"/>
                      <a:pt x="7144" y="12859"/>
                      <a:pt x="7144" y="19526"/>
                    </a:cubicBezTo>
                    <a:cubicBezTo>
                      <a:pt x="7144" y="26194"/>
                      <a:pt x="12859" y="31909"/>
                      <a:pt x="19526" y="31909"/>
                    </a:cubicBezTo>
                    <a:close/>
                  </a:path>
                </a:pathLst>
              </a:custGeom>
              <a:grpFill/>
              <a:ln w="9525" cap="flat">
                <a:noFill/>
                <a:prstDash val="solid"/>
                <a:miter/>
              </a:ln>
            </p:spPr>
            <p:txBody>
              <a:bodyPr rtlCol="0" anchor="ctr"/>
              <a:lstStyle/>
              <a:p>
                <a:endParaRPr lang="en-US"/>
              </a:p>
            </p:txBody>
          </p:sp>
          <p:sp>
            <p:nvSpPr>
              <p:cNvPr id="109" name="Freeform: Shape 96">
                <a:extLst>
                  <a:ext uri="{FF2B5EF4-FFF2-40B4-BE49-F238E27FC236}">
                    <a16:creationId xmlns:a16="http://schemas.microsoft.com/office/drawing/2014/main" id="{5AA025F4-E07B-1841-93CE-92D2ECE2B4FD}"/>
                  </a:ext>
                </a:extLst>
              </p:cNvPr>
              <p:cNvSpPr/>
              <p:nvPr/>
            </p:nvSpPr>
            <p:spPr>
              <a:xfrm>
                <a:off x="6279356" y="3024664"/>
                <a:ext cx="38100" cy="38100"/>
              </a:xfrm>
              <a:custGeom>
                <a:avLst/>
                <a:gdLst>
                  <a:gd name="connsiteX0" fmla="*/ 21431 w 38100"/>
                  <a:gd name="connsiteY0" fmla="*/ 35719 h 38100"/>
                  <a:gd name="connsiteX1" fmla="*/ 35719 w 38100"/>
                  <a:gd name="connsiteY1" fmla="*/ 21431 h 38100"/>
                  <a:gd name="connsiteX2" fmla="*/ 21431 w 38100"/>
                  <a:gd name="connsiteY2" fmla="*/ 7144 h 38100"/>
                  <a:gd name="connsiteX3" fmla="*/ 7144 w 38100"/>
                  <a:gd name="connsiteY3" fmla="*/ 21431 h 38100"/>
                  <a:gd name="connsiteX4" fmla="*/ 21431 w 38100"/>
                  <a:gd name="connsiteY4" fmla="*/ 3571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35719"/>
                    </a:moveTo>
                    <a:cubicBezTo>
                      <a:pt x="29051" y="35719"/>
                      <a:pt x="35719" y="29051"/>
                      <a:pt x="35719" y="21431"/>
                    </a:cubicBezTo>
                    <a:cubicBezTo>
                      <a:pt x="35719" y="13811"/>
                      <a:pt x="29051" y="7144"/>
                      <a:pt x="21431" y="7144"/>
                    </a:cubicBezTo>
                    <a:cubicBezTo>
                      <a:pt x="13811" y="7144"/>
                      <a:pt x="7144" y="13811"/>
                      <a:pt x="7144" y="21431"/>
                    </a:cubicBezTo>
                    <a:cubicBezTo>
                      <a:pt x="7144" y="29051"/>
                      <a:pt x="12859" y="35719"/>
                      <a:pt x="21431" y="35719"/>
                    </a:cubicBezTo>
                    <a:close/>
                  </a:path>
                </a:pathLst>
              </a:custGeom>
              <a:grpFill/>
              <a:ln w="9525" cap="flat">
                <a:noFill/>
                <a:prstDash val="solid"/>
                <a:miter/>
              </a:ln>
            </p:spPr>
            <p:txBody>
              <a:bodyPr rtlCol="0" anchor="ctr"/>
              <a:lstStyle/>
              <a:p>
                <a:endParaRPr lang="en-US"/>
              </a:p>
            </p:txBody>
          </p:sp>
          <p:sp>
            <p:nvSpPr>
              <p:cNvPr id="110" name="Freeform: Shape 97">
                <a:extLst>
                  <a:ext uri="{FF2B5EF4-FFF2-40B4-BE49-F238E27FC236}">
                    <a16:creationId xmlns:a16="http://schemas.microsoft.com/office/drawing/2014/main" id="{A88F6BF6-ACD1-9846-ACAF-EAF5D7400368}"/>
                  </a:ext>
                </a:extLst>
              </p:cNvPr>
              <p:cNvSpPr/>
              <p:nvPr/>
            </p:nvSpPr>
            <p:spPr>
              <a:xfrm>
                <a:off x="5935504" y="2767489"/>
                <a:ext cx="57150" cy="57150"/>
              </a:xfrm>
              <a:custGeom>
                <a:avLst/>
                <a:gdLst>
                  <a:gd name="connsiteX0" fmla="*/ 29051 w 57150"/>
                  <a:gd name="connsiteY0" fmla="*/ 50959 h 57150"/>
                  <a:gd name="connsiteX1" fmla="*/ 50959 w 57150"/>
                  <a:gd name="connsiteY1" fmla="*/ 29051 h 57150"/>
                  <a:gd name="connsiteX2" fmla="*/ 29051 w 57150"/>
                  <a:gd name="connsiteY2" fmla="*/ 7144 h 57150"/>
                  <a:gd name="connsiteX3" fmla="*/ 7144 w 57150"/>
                  <a:gd name="connsiteY3" fmla="*/ 29051 h 57150"/>
                  <a:gd name="connsiteX4" fmla="*/ 29051 w 57150"/>
                  <a:gd name="connsiteY4" fmla="*/ 5095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29051" y="50959"/>
                    </a:moveTo>
                    <a:cubicBezTo>
                      <a:pt x="40481" y="50959"/>
                      <a:pt x="50959" y="41434"/>
                      <a:pt x="50959" y="29051"/>
                    </a:cubicBezTo>
                    <a:cubicBezTo>
                      <a:pt x="50959" y="16669"/>
                      <a:pt x="41434" y="7144"/>
                      <a:pt x="29051" y="7144"/>
                    </a:cubicBezTo>
                    <a:cubicBezTo>
                      <a:pt x="17621" y="7144"/>
                      <a:pt x="7144" y="16669"/>
                      <a:pt x="7144" y="29051"/>
                    </a:cubicBezTo>
                    <a:cubicBezTo>
                      <a:pt x="7144" y="41434"/>
                      <a:pt x="17621" y="50959"/>
                      <a:pt x="29051" y="50959"/>
                    </a:cubicBezTo>
                    <a:close/>
                  </a:path>
                </a:pathLst>
              </a:custGeom>
              <a:grpFill/>
              <a:ln w="9525" cap="flat">
                <a:noFill/>
                <a:prstDash val="solid"/>
                <a:miter/>
              </a:ln>
            </p:spPr>
            <p:txBody>
              <a:bodyPr rtlCol="0" anchor="ctr"/>
              <a:lstStyle/>
              <a:p>
                <a:endParaRPr lang="en-US"/>
              </a:p>
            </p:txBody>
          </p:sp>
          <p:sp>
            <p:nvSpPr>
              <p:cNvPr id="111" name="Freeform: Shape 98">
                <a:extLst>
                  <a:ext uri="{FF2B5EF4-FFF2-40B4-BE49-F238E27FC236}">
                    <a16:creationId xmlns:a16="http://schemas.microsoft.com/office/drawing/2014/main" id="{BBF0A880-2C7D-F343-9512-1C20C4DD53D0}"/>
                  </a:ext>
                </a:extLst>
              </p:cNvPr>
              <p:cNvSpPr/>
              <p:nvPr/>
            </p:nvSpPr>
            <p:spPr>
              <a:xfrm>
                <a:off x="5359241" y="3210401"/>
                <a:ext cx="95250" cy="95250"/>
              </a:xfrm>
              <a:custGeom>
                <a:avLst/>
                <a:gdLst>
                  <a:gd name="connsiteX0" fmla="*/ 49054 w 95250"/>
                  <a:gd name="connsiteY0" fmla="*/ 90964 h 95250"/>
                  <a:gd name="connsiteX1" fmla="*/ 90964 w 95250"/>
                  <a:gd name="connsiteY1" fmla="*/ 49054 h 95250"/>
                  <a:gd name="connsiteX2" fmla="*/ 49054 w 95250"/>
                  <a:gd name="connsiteY2" fmla="*/ 7144 h 95250"/>
                  <a:gd name="connsiteX3" fmla="*/ 7144 w 95250"/>
                  <a:gd name="connsiteY3" fmla="*/ 49054 h 95250"/>
                  <a:gd name="connsiteX4" fmla="*/ 49054 w 95250"/>
                  <a:gd name="connsiteY4" fmla="*/ 90964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9054" y="90964"/>
                    </a:moveTo>
                    <a:cubicBezTo>
                      <a:pt x="71914" y="90964"/>
                      <a:pt x="90964" y="71914"/>
                      <a:pt x="90964" y="49054"/>
                    </a:cubicBezTo>
                    <a:cubicBezTo>
                      <a:pt x="90964" y="26194"/>
                      <a:pt x="71914" y="7144"/>
                      <a:pt x="49054" y="7144"/>
                    </a:cubicBezTo>
                    <a:cubicBezTo>
                      <a:pt x="26194" y="7144"/>
                      <a:pt x="7144" y="26194"/>
                      <a:pt x="7144" y="49054"/>
                    </a:cubicBezTo>
                    <a:cubicBezTo>
                      <a:pt x="7144" y="72866"/>
                      <a:pt x="25241" y="90964"/>
                      <a:pt x="49054" y="90964"/>
                    </a:cubicBezTo>
                    <a:close/>
                  </a:path>
                </a:pathLst>
              </a:custGeom>
              <a:grpFill/>
              <a:ln w="9525" cap="flat">
                <a:noFill/>
                <a:prstDash val="solid"/>
                <a:miter/>
              </a:ln>
            </p:spPr>
            <p:txBody>
              <a:bodyPr rtlCol="0" anchor="ctr"/>
              <a:lstStyle/>
              <a:p>
                <a:endParaRPr lang="en-US"/>
              </a:p>
            </p:txBody>
          </p:sp>
          <p:sp>
            <p:nvSpPr>
              <p:cNvPr id="112" name="Freeform: Shape 99">
                <a:extLst>
                  <a:ext uri="{FF2B5EF4-FFF2-40B4-BE49-F238E27FC236}">
                    <a16:creationId xmlns:a16="http://schemas.microsoft.com/office/drawing/2014/main" id="{680D1A4D-F618-7D48-904F-DF2CBD4DB032}"/>
                  </a:ext>
                </a:extLst>
              </p:cNvPr>
              <p:cNvSpPr/>
              <p:nvPr/>
            </p:nvSpPr>
            <p:spPr>
              <a:xfrm>
                <a:off x="6099187" y="3747611"/>
                <a:ext cx="28575" cy="28575"/>
              </a:xfrm>
              <a:custGeom>
                <a:avLst/>
                <a:gdLst>
                  <a:gd name="connsiteX0" fmla="*/ 14911 w 28575"/>
                  <a:gd name="connsiteY0" fmla="*/ 22384 h 28575"/>
                  <a:gd name="connsiteX1" fmla="*/ 22531 w 28575"/>
                  <a:gd name="connsiteY1" fmla="*/ 14764 h 28575"/>
                  <a:gd name="connsiteX2" fmla="*/ 14911 w 28575"/>
                  <a:gd name="connsiteY2" fmla="*/ 7144 h 28575"/>
                  <a:gd name="connsiteX3" fmla="*/ 7291 w 28575"/>
                  <a:gd name="connsiteY3" fmla="*/ 14764 h 28575"/>
                  <a:gd name="connsiteX4" fmla="*/ 14911 w 28575"/>
                  <a:gd name="connsiteY4" fmla="*/ 2238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4911" y="22384"/>
                    </a:moveTo>
                    <a:cubicBezTo>
                      <a:pt x="18721" y="22384"/>
                      <a:pt x="22531" y="18574"/>
                      <a:pt x="22531" y="14764"/>
                    </a:cubicBezTo>
                    <a:cubicBezTo>
                      <a:pt x="22531" y="10954"/>
                      <a:pt x="18721" y="7144"/>
                      <a:pt x="14911" y="7144"/>
                    </a:cubicBezTo>
                    <a:cubicBezTo>
                      <a:pt x="10148" y="7144"/>
                      <a:pt x="7291" y="10954"/>
                      <a:pt x="7291" y="14764"/>
                    </a:cubicBezTo>
                    <a:cubicBezTo>
                      <a:pt x="6338" y="18574"/>
                      <a:pt x="10148" y="22384"/>
                      <a:pt x="14911" y="22384"/>
                    </a:cubicBezTo>
                    <a:close/>
                  </a:path>
                </a:pathLst>
              </a:custGeom>
              <a:grpFill/>
              <a:ln w="9525" cap="flat">
                <a:noFill/>
                <a:prstDash val="solid"/>
                <a:miter/>
              </a:ln>
            </p:spPr>
            <p:txBody>
              <a:bodyPr rtlCol="0" anchor="ctr"/>
              <a:lstStyle/>
              <a:p>
                <a:endParaRPr lang="en-US"/>
              </a:p>
            </p:txBody>
          </p:sp>
          <p:sp>
            <p:nvSpPr>
              <p:cNvPr id="113" name="Freeform: Shape 100">
                <a:extLst>
                  <a:ext uri="{FF2B5EF4-FFF2-40B4-BE49-F238E27FC236}">
                    <a16:creationId xmlns:a16="http://schemas.microsoft.com/office/drawing/2014/main" id="{F1B6B93A-ADA7-394D-AB65-EBE19707AE3D}"/>
                  </a:ext>
                </a:extLst>
              </p:cNvPr>
              <p:cNvSpPr/>
              <p:nvPr/>
            </p:nvSpPr>
            <p:spPr>
              <a:xfrm>
                <a:off x="5931694" y="3081814"/>
                <a:ext cx="19050" cy="19050"/>
              </a:xfrm>
              <a:custGeom>
                <a:avLst/>
                <a:gdLst>
                  <a:gd name="connsiteX0" fmla="*/ 13811 w 19050"/>
                  <a:gd name="connsiteY0" fmla="*/ 7144 h 19050"/>
                  <a:gd name="connsiteX1" fmla="*/ 7144 w 19050"/>
                  <a:gd name="connsiteY1" fmla="*/ 13811 h 19050"/>
                  <a:gd name="connsiteX2" fmla="*/ 13811 w 19050"/>
                  <a:gd name="connsiteY2" fmla="*/ 20479 h 19050"/>
                  <a:gd name="connsiteX3" fmla="*/ 20479 w 19050"/>
                  <a:gd name="connsiteY3" fmla="*/ 13811 h 19050"/>
                  <a:gd name="connsiteX4" fmla="*/ 13811 w 19050"/>
                  <a:gd name="connsiteY4" fmla="*/ 714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7144"/>
                    </a:moveTo>
                    <a:cubicBezTo>
                      <a:pt x="10001" y="7144"/>
                      <a:pt x="7144" y="10001"/>
                      <a:pt x="7144" y="13811"/>
                    </a:cubicBezTo>
                    <a:cubicBezTo>
                      <a:pt x="7144" y="17621"/>
                      <a:pt x="10001" y="20479"/>
                      <a:pt x="13811" y="20479"/>
                    </a:cubicBezTo>
                    <a:cubicBezTo>
                      <a:pt x="17621" y="20479"/>
                      <a:pt x="20479" y="17621"/>
                      <a:pt x="20479" y="13811"/>
                    </a:cubicBezTo>
                    <a:cubicBezTo>
                      <a:pt x="19526" y="10001"/>
                      <a:pt x="16669" y="7144"/>
                      <a:pt x="13811" y="7144"/>
                    </a:cubicBezTo>
                    <a:close/>
                  </a:path>
                </a:pathLst>
              </a:custGeom>
              <a:grpFill/>
              <a:ln w="9525" cap="flat">
                <a:noFill/>
                <a:prstDash val="solid"/>
                <a:miter/>
              </a:ln>
            </p:spPr>
            <p:txBody>
              <a:bodyPr rtlCol="0" anchor="ctr"/>
              <a:lstStyle/>
              <a:p>
                <a:endParaRPr lang="en-US"/>
              </a:p>
            </p:txBody>
          </p:sp>
          <p:sp>
            <p:nvSpPr>
              <p:cNvPr id="114" name="Freeform: Shape 101">
                <a:extLst>
                  <a:ext uri="{FF2B5EF4-FFF2-40B4-BE49-F238E27FC236}">
                    <a16:creationId xmlns:a16="http://schemas.microsoft.com/office/drawing/2014/main" id="{3B65EC74-F972-1040-ADEF-BCC45A271DC6}"/>
                  </a:ext>
                </a:extLst>
              </p:cNvPr>
              <p:cNvSpPr/>
              <p:nvPr/>
            </p:nvSpPr>
            <p:spPr>
              <a:xfrm>
                <a:off x="5689759" y="3202634"/>
                <a:ext cx="28575" cy="28575"/>
              </a:xfrm>
              <a:custGeom>
                <a:avLst/>
                <a:gdLst>
                  <a:gd name="connsiteX0" fmla="*/ 7144 w 28575"/>
                  <a:gd name="connsiteY0" fmla="*/ 14911 h 28575"/>
                  <a:gd name="connsiteX1" fmla="*/ 14764 w 28575"/>
                  <a:gd name="connsiteY1" fmla="*/ 22531 h 28575"/>
                  <a:gd name="connsiteX2" fmla="*/ 22384 w 28575"/>
                  <a:gd name="connsiteY2" fmla="*/ 14911 h 28575"/>
                  <a:gd name="connsiteX3" fmla="*/ 14764 w 28575"/>
                  <a:gd name="connsiteY3" fmla="*/ 7291 h 28575"/>
                  <a:gd name="connsiteX4" fmla="*/ 7144 w 28575"/>
                  <a:gd name="connsiteY4" fmla="*/ 1491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4911"/>
                    </a:moveTo>
                    <a:cubicBezTo>
                      <a:pt x="7144" y="19673"/>
                      <a:pt x="10954" y="22531"/>
                      <a:pt x="14764" y="22531"/>
                    </a:cubicBezTo>
                    <a:cubicBezTo>
                      <a:pt x="19526" y="22531"/>
                      <a:pt x="22384" y="18721"/>
                      <a:pt x="22384" y="14911"/>
                    </a:cubicBezTo>
                    <a:cubicBezTo>
                      <a:pt x="22384" y="11101"/>
                      <a:pt x="18574" y="7291"/>
                      <a:pt x="14764" y="7291"/>
                    </a:cubicBezTo>
                    <a:cubicBezTo>
                      <a:pt x="10954" y="6338"/>
                      <a:pt x="7144" y="10148"/>
                      <a:pt x="7144" y="14911"/>
                    </a:cubicBezTo>
                    <a:close/>
                  </a:path>
                </a:pathLst>
              </a:custGeom>
              <a:grpFill/>
              <a:ln w="9525" cap="flat">
                <a:noFill/>
                <a:prstDash val="solid"/>
                <a:miter/>
              </a:ln>
            </p:spPr>
            <p:txBody>
              <a:bodyPr rtlCol="0" anchor="ctr"/>
              <a:lstStyle/>
              <a:p>
                <a:endParaRPr lang="en-US"/>
              </a:p>
            </p:txBody>
          </p:sp>
          <p:sp>
            <p:nvSpPr>
              <p:cNvPr id="115" name="Freeform: Shape 102">
                <a:extLst>
                  <a:ext uri="{FF2B5EF4-FFF2-40B4-BE49-F238E27FC236}">
                    <a16:creationId xmlns:a16="http://schemas.microsoft.com/office/drawing/2014/main" id="{2ACD3B66-29A4-E242-9A6D-02CC6E21C6ED}"/>
                  </a:ext>
                </a:extLst>
              </p:cNvPr>
              <p:cNvSpPr/>
              <p:nvPr/>
            </p:nvSpPr>
            <p:spPr>
              <a:xfrm>
                <a:off x="5458301" y="3294221"/>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1431"/>
                      <a:pt x="26194" y="16669"/>
                    </a:cubicBezTo>
                    <a:cubicBezTo>
                      <a:pt x="26194" y="11906"/>
                      <a:pt x="21431" y="7144"/>
                      <a:pt x="16669" y="7144"/>
                    </a:cubicBezTo>
                    <a:cubicBezTo>
                      <a:pt x="11906" y="7144"/>
                      <a:pt x="7144" y="11906"/>
                      <a:pt x="7144" y="16669"/>
                    </a:cubicBezTo>
                    <a:cubicBezTo>
                      <a:pt x="7144" y="21431"/>
                      <a:pt x="10954" y="26194"/>
                      <a:pt x="16669" y="26194"/>
                    </a:cubicBezTo>
                    <a:close/>
                  </a:path>
                </a:pathLst>
              </a:custGeom>
              <a:grpFill/>
              <a:ln w="9525" cap="flat">
                <a:noFill/>
                <a:prstDash val="solid"/>
                <a:miter/>
              </a:ln>
            </p:spPr>
            <p:txBody>
              <a:bodyPr rtlCol="0" anchor="ctr"/>
              <a:lstStyle/>
              <a:p>
                <a:endParaRPr lang="en-US"/>
              </a:p>
            </p:txBody>
          </p:sp>
          <p:sp>
            <p:nvSpPr>
              <p:cNvPr id="116" name="Freeform: Shape 103">
                <a:extLst>
                  <a:ext uri="{FF2B5EF4-FFF2-40B4-BE49-F238E27FC236}">
                    <a16:creationId xmlns:a16="http://schemas.microsoft.com/office/drawing/2014/main" id="{AFD34EB2-515B-4A49-9633-A729856ACA63}"/>
                  </a:ext>
                </a:extLst>
              </p:cNvPr>
              <p:cNvSpPr/>
              <p:nvPr/>
            </p:nvSpPr>
            <p:spPr>
              <a:xfrm>
                <a:off x="5470684" y="3204686"/>
                <a:ext cx="19050" cy="19050"/>
              </a:xfrm>
              <a:custGeom>
                <a:avLst/>
                <a:gdLst>
                  <a:gd name="connsiteX0" fmla="*/ 13811 w 19050"/>
                  <a:gd name="connsiteY0" fmla="*/ 20479 h 19050"/>
                  <a:gd name="connsiteX1" fmla="*/ 20479 w 19050"/>
                  <a:gd name="connsiteY1" fmla="*/ 13811 h 19050"/>
                  <a:gd name="connsiteX2" fmla="*/ 13811 w 19050"/>
                  <a:gd name="connsiteY2" fmla="*/ 7144 h 19050"/>
                  <a:gd name="connsiteX3" fmla="*/ 7144 w 19050"/>
                  <a:gd name="connsiteY3" fmla="*/ 13811 h 19050"/>
                  <a:gd name="connsiteX4" fmla="*/ 13811 w 19050"/>
                  <a:gd name="connsiteY4" fmla="*/ 2047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3811" y="20479"/>
                    </a:moveTo>
                    <a:cubicBezTo>
                      <a:pt x="17621" y="20479"/>
                      <a:pt x="20479" y="17621"/>
                      <a:pt x="20479" y="13811"/>
                    </a:cubicBezTo>
                    <a:cubicBezTo>
                      <a:pt x="20479" y="10001"/>
                      <a:pt x="17621" y="7144"/>
                      <a:pt x="13811" y="7144"/>
                    </a:cubicBezTo>
                    <a:cubicBezTo>
                      <a:pt x="10001" y="7144"/>
                      <a:pt x="7144" y="10001"/>
                      <a:pt x="7144" y="13811"/>
                    </a:cubicBezTo>
                    <a:cubicBezTo>
                      <a:pt x="7144" y="17621"/>
                      <a:pt x="10001" y="20479"/>
                      <a:pt x="13811" y="20479"/>
                    </a:cubicBezTo>
                    <a:close/>
                  </a:path>
                </a:pathLst>
              </a:custGeom>
              <a:grpFill/>
              <a:ln w="9525" cap="flat">
                <a:noFill/>
                <a:prstDash val="solid"/>
                <a:miter/>
              </a:ln>
            </p:spPr>
            <p:txBody>
              <a:bodyPr rtlCol="0" anchor="ctr"/>
              <a:lstStyle/>
              <a:p>
                <a:endParaRPr lang="en-US"/>
              </a:p>
            </p:txBody>
          </p:sp>
          <p:sp>
            <p:nvSpPr>
              <p:cNvPr id="117" name="Freeform: Shape 104">
                <a:extLst>
                  <a:ext uri="{FF2B5EF4-FFF2-40B4-BE49-F238E27FC236}">
                    <a16:creationId xmlns:a16="http://schemas.microsoft.com/office/drawing/2014/main" id="{93FBF42C-FBBC-A04F-BA00-FFDD4282C9F8}"/>
                  </a:ext>
                </a:extLst>
              </p:cNvPr>
              <p:cNvSpPr/>
              <p:nvPr/>
            </p:nvSpPr>
            <p:spPr>
              <a:xfrm>
                <a:off x="5970746" y="3748564"/>
                <a:ext cx="57150" cy="57150"/>
              </a:xfrm>
              <a:custGeom>
                <a:avLst/>
                <a:gdLst>
                  <a:gd name="connsiteX0" fmla="*/ 29051 w 57150"/>
                  <a:gd name="connsiteY0" fmla="*/ 53816 h 57150"/>
                  <a:gd name="connsiteX1" fmla="*/ 50959 w 57150"/>
                  <a:gd name="connsiteY1" fmla="*/ 34766 h 57150"/>
                  <a:gd name="connsiteX2" fmla="*/ 55721 w 57150"/>
                  <a:gd name="connsiteY2" fmla="*/ 23336 h 57150"/>
                  <a:gd name="connsiteX3" fmla="*/ 39529 w 57150"/>
                  <a:gd name="connsiteY3" fmla="*/ 7144 h 57150"/>
                  <a:gd name="connsiteX4" fmla="*/ 30004 w 57150"/>
                  <a:gd name="connsiteY4" fmla="*/ 10001 h 57150"/>
                  <a:gd name="connsiteX5" fmla="*/ 29051 w 57150"/>
                  <a:gd name="connsiteY5" fmla="*/ 10001 h 57150"/>
                  <a:gd name="connsiteX6" fmla="*/ 7144 w 57150"/>
                  <a:gd name="connsiteY6" fmla="*/ 31909 h 57150"/>
                  <a:gd name="connsiteX7" fmla="*/ 29051 w 57150"/>
                  <a:gd name="connsiteY7" fmla="*/ 5381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9051" y="53816"/>
                    </a:moveTo>
                    <a:cubicBezTo>
                      <a:pt x="40481" y="53816"/>
                      <a:pt x="49054" y="45244"/>
                      <a:pt x="50959" y="34766"/>
                    </a:cubicBezTo>
                    <a:cubicBezTo>
                      <a:pt x="53816" y="31909"/>
                      <a:pt x="55721" y="28099"/>
                      <a:pt x="55721" y="23336"/>
                    </a:cubicBezTo>
                    <a:cubicBezTo>
                      <a:pt x="55721" y="14764"/>
                      <a:pt x="48101" y="7144"/>
                      <a:pt x="39529" y="7144"/>
                    </a:cubicBezTo>
                    <a:cubicBezTo>
                      <a:pt x="35719" y="7144"/>
                      <a:pt x="32861" y="8096"/>
                      <a:pt x="30004" y="10001"/>
                    </a:cubicBezTo>
                    <a:cubicBezTo>
                      <a:pt x="30004" y="10001"/>
                      <a:pt x="29051" y="10001"/>
                      <a:pt x="29051" y="10001"/>
                    </a:cubicBezTo>
                    <a:cubicBezTo>
                      <a:pt x="16669" y="10001"/>
                      <a:pt x="7144" y="19526"/>
                      <a:pt x="7144" y="31909"/>
                    </a:cubicBezTo>
                    <a:cubicBezTo>
                      <a:pt x="7144" y="44291"/>
                      <a:pt x="17621" y="53816"/>
                      <a:pt x="29051" y="53816"/>
                    </a:cubicBezTo>
                    <a:close/>
                  </a:path>
                </a:pathLst>
              </a:custGeom>
              <a:grpFill/>
              <a:ln w="9525" cap="flat">
                <a:noFill/>
                <a:prstDash val="solid"/>
                <a:miter/>
              </a:ln>
            </p:spPr>
            <p:txBody>
              <a:bodyPr rtlCol="0" anchor="ctr"/>
              <a:lstStyle/>
              <a:p>
                <a:endParaRPr lang="en-US"/>
              </a:p>
            </p:txBody>
          </p:sp>
          <p:sp>
            <p:nvSpPr>
              <p:cNvPr id="118" name="Freeform: Shape 105">
                <a:extLst>
                  <a:ext uri="{FF2B5EF4-FFF2-40B4-BE49-F238E27FC236}">
                    <a16:creationId xmlns:a16="http://schemas.microsoft.com/office/drawing/2014/main" id="{0B9FFD7D-81AE-0C45-A61A-1301114CA6C8}"/>
                  </a:ext>
                </a:extLst>
              </p:cNvPr>
              <p:cNvSpPr/>
              <p:nvPr/>
            </p:nvSpPr>
            <p:spPr>
              <a:xfrm>
                <a:off x="5732621" y="3876199"/>
                <a:ext cx="180975" cy="114300"/>
              </a:xfrm>
              <a:custGeom>
                <a:avLst/>
                <a:gdLst>
                  <a:gd name="connsiteX0" fmla="*/ 15716 w 180975"/>
                  <a:gd name="connsiteY0" fmla="*/ 79534 h 114300"/>
                  <a:gd name="connsiteX1" fmla="*/ 7144 w 180975"/>
                  <a:gd name="connsiteY1" fmla="*/ 93821 h 114300"/>
                  <a:gd name="connsiteX2" fmla="*/ 23336 w 180975"/>
                  <a:gd name="connsiteY2" fmla="*/ 110014 h 114300"/>
                  <a:gd name="connsiteX3" fmla="*/ 29051 w 180975"/>
                  <a:gd name="connsiteY3" fmla="*/ 109061 h 114300"/>
                  <a:gd name="connsiteX4" fmla="*/ 49054 w 180975"/>
                  <a:gd name="connsiteY4" fmla="*/ 115729 h 114300"/>
                  <a:gd name="connsiteX5" fmla="*/ 82391 w 180975"/>
                  <a:gd name="connsiteY5" fmla="*/ 82391 h 114300"/>
                  <a:gd name="connsiteX6" fmla="*/ 77629 w 180975"/>
                  <a:gd name="connsiteY6" fmla="*/ 66199 h 114300"/>
                  <a:gd name="connsiteX7" fmla="*/ 81439 w 180975"/>
                  <a:gd name="connsiteY7" fmla="*/ 65246 h 114300"/>
                  <a:gd name="connsiteX8" fmla="*/ 119539 w 180975"/>
                  <a:gd name="connsiteY8" fmla="*/ 98584 h 114300"/>
                  <a:gd name="connsiteX9" fmla="*/ 155734 w 180975"/>
                  <a:gd name="connsiteY9" fmla="*/ 73819 h 114300"/>
                  <a:gd name="connsiteX10" fmla="*/ 159544 w 180975"/>
                  <a:gd name="connsiteY10" fmla="*/ 72866 h 114300"/>
                  <a:gd name="connsiteX11" fmla="*/ 168116 w 180975"/>
                  <a:gd name="connsiteY11" fmla="*/ 77629 h 114300"/>
                  <a:gd name="connsiteX12" fmla="*/ 178594 w 180975"/>
                  <a:gd name="connsiteY12" fmla="*/ 67151 h 114300"/>
                  <a:gd name="connsiteX13" fmla="*/ 172879 w 180975"/>
                  <a:gd name="connsiteY13" fmla="*/ 58579 h 114300"/>
                  <a:gd name="connsiteX14" fmla="*/ 179546 w 180975"/>
                  <a:gd name="connsiteY14" fmla="*/ 48101 h 114300"/>
                  <a:gd name="connsiteX15" fmla="*/ 169069 w 180975"/>
                  <a:gd name="connsiteY15" fmla="*/ 36671 h 114300"/>
                  <a:gd name="connsiteX16" fmla="*/ 153829 w 180975"/>
                  <a:gd name="connsiteY16" fmla="*/ 27146 h 114300"/>
                  <a:gd name="connsiteX17" fmla="*/ 154781 w 180975"/>
                  <a:gd name="connsiteY17" fmla="*/ 24289 h 114300"/>
                  <a:gd name="connsiteX18" fmla="*/ 148114 w 180975"/>
                  <a:gd name="connsiteY18" fmla="*/ 17621 h 114300"/>
                  <a:gd name="connsiteX19" fmla="*/ 141446 w 180975"/>
                  <a:gd name="connsiteY19" fmla="*/ 24289 h 114300"/>
                  <a:gd name="connsiteX20" fmla="*/ 142399 w 180975"/>
                  <a:gd name="connsiteY20" fmla="*/ 28099 h 114300"/>
                  <a:gd name="connsiteX21" fmla="*/ 140494 w 180975"/>
                  <a:gd name="connsiteY21" fmla="*/ 29051 h 114300"/>
                  <a:gd name="connsiteX22" fmla="*/ 125254 w 180975"/>
                  <a:gd name="connsiteY22" fmla="*/ 22384 h 114300"/>
                  <a:gd name="connsiteX23" fmla="*/ 110966 w 180975"/>
                  <a:gd name="connsiteY23" fmla="*/ 14764 h 114300"/>
                  <a:gd name="connsiteX24" fmla="*/ 95726 w 180975"/>
                  <a:gd name="connsiteY24" fmla="*/ 24289 h 114300"/>
                  <a:gd name="connsiteX25" fmla="*/ 69056 w 180975"/>
                  <a:gd name="connsiteY25" fmla="*/ 7144 h 114300"/>
                  <a:gd name="connsiteX26" fmla="*/ 38576 w 180975"/>
                  <a:gd name="connsiteY26" fmla="*/ 37624 h 114300"/>
                  <a:gd name="connsiteX27" fmla="*/ 41434 w 180975"/>
                  <a:gd name="connsiteY27" fmla="*/ 50959 h 114300"/>
                  <a:gd name="connsiteX28" fmla="*/ 15716 w 180975"/>
                  <a:gd name="connsiteY28" fmla="*/ 7953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0975" h="114300">
                    <a:moveTo>
                      <a:pt x="15716" y="79534"/>
                    </a:moveTo>
                    <a:cubicBezTo>
                      <a:pt x="10954" y="82391"/>
                      <a:pt x="7144" y="88106"/>
                      <a:pt x="7144" y="93821"/>
                    </a:cubicBezTo>
                    <a:cubicBezTo>
                      <a:pt x="7144" y="103346"/>
                      <a:pt x="14764" y="110014"/>
                      <a:pt x="23336" y="110014"/>
                    </a:cubicBezTo>
                    <a:cubicBezTo>
                      <a:pt x="25241" y="110014"/>
                      <a:pt x="27146" y="110014"/>
                      <a:pt x="29051" y="109061"/>
                    </a:cubicBezTo>
                    <a:cubicBezTo>
                      <a:pt x="34766" y="112871"/>
                      <a:pt x="41434" y="115729"/>
                      <a:pt x="49054" y="115729"/>
                    </a:cubicBezTo>
                    <a:cubicBezTo>
                      <a:pt x="67151" y="115729"/>
                      <a:pt x="82391" y="100489"/>
                      <a:pt x="82391" y="82391"/>
                    </a:cubicBezTo>
                    <a:cubicBezTo>
                      <a:pt x="82391" y="76676"/>
                      <a:pt x="80486" y="70961"/>
                      <a:pt x="77629" y="66199"/>
                    </a:cubicBezTo>
                    <a:cubicBezTo>
                      <a:pt x="78581" y="66199"/>
                      <a:pt x="79534" y="65246"/>
                      <a:pt x="81439" y="65246"/>
                    </a:cubicBezTo>
                    <a:cubicBezTo>
                      <a:pt x="84296" y="84296"/>
                      <a:pt x="100489" y="98584"/>
                      <a:pt x="119539" y="98584"/>
                    </a:cubicBezTo>
                    <a:cubicBezTo>
                      <a:pt x="135731" y="98584"/>
                      <a:pt x="150019" y="88106"/>
                      <a:pt x="155734" y="73819"/>
                    </a:cubicBezTo>
                    <a:cubicBezTo>
                      <a:pt x="157639" y="73819"/>
                      <a:pt x="158591" y="72866"/>
                      <a:pt x="159544" y="72866"/>
                    </a:cubicBezTo>
                    <a:cubicBezTo>
                      <a:pt x="161449" y="75724"/>
                      <a:pt x="164306" y="77629"/>
                      <a:pt x="168116" y="77629"/>
                    </a:cubicBezTo>
                    <a:cubicBezTo>
                      <a:pt x="173831" y="77629"/>
                      <a:pt x="178594" y="72866"/>
                      <a:pt x="178594" y="67151"/>
                    </a:cubicBezTo>
                    <a:cubicBezTo>
                      <a:pt x="178594" y="63341"/>
                      <a:pt x="176689" y="59531"/>
                      <a:pt x="172879" y="58579"/>
                    </a:cubicBezTo>
                    <a:cubicBezTo>
                      <a:pt x="176689" y="56674"/>
                      <a:pt x="179546" y="52864"/>
                      <a:pt x="179546" y="48101"/>
                    </a:cubicBezTo>
                    <a:cubicBezTo>
                      <a:pt x="179546" y="42386"/>
                      <a:pt x="174784" y="37624"/>
                      <a:pt x="169069" y="36671"/>
                    </a:cubicBezTo>
                    <a:cubicBezTo>
                      <a:pt x="165259" y="31909"/>
                      <a:pt x="160496" y="28099"/>
                      <a:pt x="153829" y="27146"/>
                    </a:cubicBezTo>
                    <a:cubicBezTo>
                      <a:pt x="154781" y="26194"/>
                      <a:pt x="154781" y="25241"/>
                      <a:pt x="154781" y="24289"/>
                    </a:cubicBezTo>
                    <a:cubicBezTo>
                      <a:pt x="154781" y="20479"/>
                      <a:pt x="151924" y="17621"/>
                      <a:pt x="148114" y="17621"/>
                    </a:cubicBezTo>
                    <a:cubicBezTo>
                      <a:pt x="144304" y="17621"/>
                      <a:pt x="141446" y="20479"/>
                      <a:pt x="141446" y="24289"/>
                    </a:cubicBezTo>
                    <a:cubicBezTo>
                      <a:pt x="141446" y="26194"/>
                      <a:pt x="142399" y="27146"/>
                      <a:pt x="142399" y="28099"/>
                    </a:cubicBezTo>
                    <a:cubicBezTo>
                      <a:pt x="141446" y="28099"/>
                      <a:pt x="141446" y="28099"/>
                      <a:pt x="140494" y="29051"/>
                    </a:cubicBezTo>
                    <a:cubicBezTo>
                      <a:pt x="135731" y="26194"/>
                      <a:pt x="130969" y="23336"/>
                      <a:pt x="125254" y="22384"/>
                    </a:cubicBezTo>
                    <a:cubicBezTo>
                      <a:pt x="122396" y="17621"/>
                      <a:pt x="116681" y="14764"/>
                      <a:pt x="110966" y="14764"/>
                    </a:cubicBezTo>
                    <a:cubicBezTo>
                      <a:pt x="104299" y="14764"/>
                      <a:pt x="98584" y="18574"/>
                      <a:pt x="95726" y="24289"/>
                    </a:cubicBezTo>
                    <a:cubicBezTo>
                      <a:pt x="90964" y="14764"/>
                      <a:pt x="80486" y="7144"/>
                      <a:pt x="69056" y="7144"/>
                    </a:cubicBezTo>
                    <a:cubicBezTo>
                      <a:pt x="52864" y="7144"/>
                      <a:pt x="38576" y="20479"/>
                      <a:pt x="38576" y="37624"/>
                    </a:cubicBezTo>
                    <a:cubicBezTo>
                      <a:pt x="38576" y="42386"/>
                      <a:pt x="39529" y="46196"/>
                      <a:pt x="41434" y="50959"/>
                    </a:cubicBezTo>
                    <a:cubicBezTo>
                      <a:pt x="28099" y="52864"/>
                      <a:pt x="16669" y="64294"/>
                      <a:pt x="15716" y="79534"/>
                    </a:cubicBezTo>
                    <a:close/>
                  </a:path>
                </a:pathLst>
              </a:custGeom>
              <a:grpFill/>
              <a:ln w="9525" cap="flat">
                <a:noFill/>
                <a:prstDash val="solid"/>
                <a:miter/>
              </a:ln>
            </p:spPr>
            <p:txBody>
              <a:bodyPr rtlCol="0" anchor="ctr"/>
              <a:lstStyle/>
              <a:p>
                <a:endParaRPr lang="en-US"/>
              </a:p>
            </p:txBody>
          </p:sp>
          <p:sp>
            <p:nvSpPr>
              <p:cNvPr id="119" name="Freeform: Shape 106">
                <a:extLst>
                  <a:ext uri="{FF2B5EF4-FFF2-40B4-BE49-F238E27FC236}">
                    <a16:creationId xmlns:a16="http://schemas.microsoft.com/office/drawing/2014/main" id="{26E21771-59DE-054E-AF46-186C3E723388}"/>
                  </a:ext>
                </a:extLst>
              </p:cNvPr>
              <p:cNvSpPr/>
              <p:nvPr/>
            </p:nvSpPr>
            <p:spPr>
              <a:xfrm>
                <a:off x="5716429" y="4020026"/>
                <a:ext cx="28575" cy="28575"/>
              </a:xfrm>
              <a:custGeom>
                <a:avLst/>
                <a:gdLst>
                  <a:gd name="connsiteX0" fmla="*/ 24289 w 28575"/>
                  <a:gd name="connsiteY0" fmla="*/ 15716 h 28575"/>
                  <a:gd name="connsiteX1" fmla="*/ 15716 w 28575"/>
                  <a:gd name="connsiteY1" fmla="*/ 7144 h 28575"/>
                  <a:gd name="connsiteX2" fmla="*/ 7144 w 28575"/>
                  <a:gd name="connsiteY2" fmla="*/ 15716 h 28575"/>
                  <a:gd name="connsiteX3" fmla="*/ 15716 w 28575"/>
                  <a:gd name="connsiteY3" fmla="*/ 24289 h 28575"/>
                  <a:gd name="connsiteX4" fmla="*/ 24289 w 28575"/>
                  <a:gd name="connsiteY4" fmla="*/ 15716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4289" y="15716"/>
                    </a:moveTo>
                    <a:cubicBezTo>
                      <a:pt x="24289" y="10954"/>
                      <a:pt x="20479" y="7144"/>
                      <a:pt x="15716" y="7144"/>
                    </a:cubicBezTo>
                    <a:cubicBezTo>
                      <a:pt x="10954" y="7144"/>
                      <a:pt x="7144" y="10954"/>
                      <a:pt x="7144" y="15716"/>
                    </a:cubicBezTo>
                    <a:cubicBezTo>
                      <a:pt x="7144" y="20479"/>
                      <a:pt x="10954" y="24289"/>
                      <a:pt x="15716" y="24289"/>
                    </a:cubicBezTo>
                    <a:cubicBezTo>
                      <a:pt x="20479" y="23336"/>
                      <a:pt x="24289" y="19526"/>
                      <a:pt x="24289" y="15716"/>
                    </a:cubicBezTo>
                    <a:close/>
                  </a:path>
                </a:pathLst>
              </a:custGeom>
              <a:grpFill/>
              <a:ln w="9525" cap="flat">
                <a:noFill/>
                <a:prstDash val="solid"/>
                <a:miter/>
              </a:ln>
            </p:spPr>
            <p:txBody>
              <a:bodyPr rtlCol="0" anchor="ctr"/>
              <a:lstStyle/>
              <a:p>
                <a:endParaRPr lang="en-US"/>
              </a:p>
            </p:txBody>
          </p:sp>
          <p:sp>
            <p:nvSpPr>
              <p:cNvPr id="120" name="Freeform: Shape 107">
                <a:extLst>
                  <a:ext uri="{FF2B5EF4-FFF2-40B4-BE49-F238E27FC236}">
                    <a16:creationId xmlns:a16="http://schemas.microsoft.com/office/drawing/2014/main" id="{D6B140A6-90A3-8146-AEF5-DE59AE85E7D0}"/>
                  </a:ext>
                </a:extLst>
              </p:cNvPr>
              <p:cNvSpPr/>
              <p:nvPr/>
            </p:nvSpPr>
            <p:spPr>
              <a:xfrm>
                <a:off x="6147911" y="2889318"/>
                <a:ext cx="66675" cy="57150"/>
              </a:xfrm>
              <a:custGeom>
                <a:avLst/>
                <a:gdLst>
                  <a:gd name="connsiteX0" fmla="*/ 7144 w 66675"/>
                  <a:gd name="connsiteY0" fmla="*/ 21522 h 57150"/>
                  <a:gd name="connsiteX1" fmla="*/ 15716 w 66675"/>
                  <a:gd name="connsiteY1" fmla="*/ 35809 h 57150"/>
                  <a:gd name="connsiteX2" fmla="*/ 39529 w 66675"/>
                  <a:gd name="connsiteY2" fmla="*/ 58670 h 57150"/>
                  <a:gd name="connsiteX3" fmla="*/ 63341 w 66675"/>
                  <a:gd name="connsiteY3" fmla="*/ 34857 h 57150"/>
                  <a:gd name="connsiteX4" fmla="*/ 39529 w 66675"/>
                  <a:gd name="connsiteY4" fmla="*/ 11045 h 57150"/>
                  <a:gd name="connsiteX5" fmla="*/ 33814 w 66675"/>
                  <a:gd name="connsiteY5" fmla="*/ 11997 h 57150"/>
                  <a:gd name="connsiteX6" fmla="*/ 22384 w 66675"/>
                  <a:gd name="connsiteY6" fmla="*/ 7234 h 57150"/>
                  <a:gd name="connsiteX7" fmla="*/ 7144 w 66675"/>
                  <a:gd name="connsiteY7" fmla="*/ 2152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7144" y="21522"/>
                    </a:moveTo>
                    <a:cubicBezTo>
                      <a:pt x="7144" y="28189"/>
                      <a:pt x="10954" y="32952"/>
                      <a:pt x="15716" y="35809"/>
                    </a:cubicBezTo>
                    <a:cubicBezTo>
                      <a:pt x="16669" y="48192"/>
                      <a:pt x="27146" y="58670"/>
                      <a:pt x="39529" y="58670"/>
                    </a:cubicBezTo>
                    <a:cubicBezTo>
                      <a:pt x="52864" y="58670"/>
                      <a:pt x="63341" y="48192"/>
                      <a:pt x="63341" y="34857"/>
                    </a:cubicBezTo>
                    <a:cubicBezTo>
                      <a:pt x="63341" y="21522"/>
                      <a:pt x="52864" y="11045"/>
                      <a:pt x="39529" y="11045"/>
                    </a:cubicBezTo>
                    <a:cubicBezTo>
                      <a:pt x="37624" y="11045"/>
                      <a:pt x="35719" y="11045"/>
                      <a:pt x="33814" y="11997"/>
                    </a:cubicBezTo>
                    <a:cubicBezTo>
                      <a:pt x="30956" y="9139"/>
                      <a:pt x="27146" y="7234"/>
                      <a:pt x="22384" y="7234"/>
                    </a:cubicBezTo>
                    <a:cubicBezTo>
                      <a:pt x="14764" y="6282"/>
                      <a:pt x="7144" y="12950"/>
                      <a:pt x="7144" y="21522"/>
                    </a:cubicBezTo>
                    <a:close/>
                  </a:path>
                </a:pathLst>
              </a:custGeom>
              <a:grpFill/>
              <a:ln w="9525" cap="flat">
                <a:noFill/>
                <a:prstDash val="solid"/>
                <a:miter/>
              </a:ln>
            </p:spPr>
            <p:txBody>
              <a:bodyPr rtlCol="0" anchor="ctr"/>
              <a:lstStyle/>
              <a:p>
                <a:endParaRPr lang="en-US"/>
              </a:p>
            </p:txBody>
          </p:sp>
          <p:sp>
            <p:nvSpPr>
              <p:cNvPr id="121" name="Freeform: Shape 108">
                <a:extLst>
                  <a:ext uri="{FF2B5EF4-FFF2-40B4-BE49-F238E27FC236}">
                    <a16:creationId xmlns:a16="http://schemas.microsoft.com/office/drawing/2014/main" id="{7E5521DF-0067-5144-81D9-10B60CAB3D06}"/>
                  </a:ext>
                </a:extLst>
              </p:cNvPr>
              <p:cNvSpPr/>
              <p:nvPr/>
            </p:nvSpPr>
            <p:spPr>
              <a:xfrm>
                <a:off x="5862161" y="3860959"/>
                <a:ext cx="19050" cy="19050"/>
              </a:xfrm>
              <a:custGeom>
                <a:avLst/>
                <a:gdLst>
                  <a:gd name="connsiteX0" fmla="*/ 20479 w 19050"/>
                  <a:gd name="connsiteY0" fmla="*/ 13811 h 19050"/>
                  <a:gd name="connsiteX1" fmla="*/ 13811 w 19050"/>
                  <a:gd name="connsiteY1" fmla="*/ 7144 h 19050"/>
                  <a:gd name="connsiteX2" fmla="*/ 7144 w 19050"/>
                  <a:gd name="connsiteY2" fmla="*/ 13811 h 19050"/>
                  <a:gd name="connsiteX3" fmla="*/ 13811 w 19050"/>
                  <a:gd name="connsiteY3" fmla="*/ 20479 h 19050"/>
                  <a:gd name="connsiteX4" fmla="*/ 20479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0479" y="13811"/>
                    </a:moveTo>
                    <a:cubicBezTo>
                      <a:pt x="20479" y="10001"/>
                      <a:pt x="17621" y="7144"/>
                      <a:pt x="13811" y="7144"/>
                    </a:cubicBezTo>
                    <a:cubicBezTo>
                      <a:pt x="10001" y="7144"/>
                      <a:pt x="7144" y="10001"/>
                      <a:pt x="7144" y="13811"/>
                    </a:cubicBezTo>
                    <a:cubicBezTo>
                      <a:pt x="7144" y="17621"/>
                      <a:pt x="10001" y="20479"/>
                      <a:pt x="13811" y="20479"/>
                    </a:cubicBezTo>
                    <a:cubicBezTo>
                      <a:pt x="17621" y="20479"/>
                      <a:pt x="20479" y="17621"/>
                      <a:pt x="20479" y="13811"/>
                    </a:cubicBezTo>
                    <a:close/>
                  </a:path>
                </a:pathLst>
              </a:custGeom>
              <a:grpFill/>
              <a:ln w="9525" cap="flat">
                <a:noFill/>
                <a:prstDash val="solid"/>
                <a:miter/>
              </a:ln>
            </p:spPr>
            <p:txBody>
              <a:bodyPr rtlCol="0" anchor="ctr"/>
              <a:lstStyle/>
              <a:p>
                <a:endParaRPr lang="en-US"/>
              </a:p>
            </p:txBody>
          </p:sp>
          <p:sp>
            <p:nvSpPr>
              <p:cNvPr id="122" name="Freeform: Shape 109">
                <a:extLst>
                  <a:ext uri="{FF2B5EF4-FFF2-40B4-BE49-F238E27FC236}">
                    <a16:creationId xmlns:a16="http://schemas.microsoft.com/office/drawing/2014/main" id="{F620BEF9-6A5A-3747-890D-AEC5233ED491}"/>
                  </a:ext>
                </a:extLst>
              </p:cNvPr>
              <p:cNvSpPr/>
              <p:nvPr/>
            </p:nvSpPr>
            <p:spPr>
              <a:xfrm>
                <a:off x="5269706" y="3384709"/>
                <a:ext cx="38100" cy="38100"/>
              </a:xfrm>
              <a:custGeom>
                <a:avLst/>
                <a:gdLst>
                  <a:gd name="connsiteX0" fmla="*/ 21431 w 38100"/>
                  <a:gd name="connsiteY0" fmla="*/ 7144 h 38100"/>
                  <a:gd name="connsiteX1" fmla="*/ 7144 w 38100"/>
                  <a:gd name="connsiteY1" fmla="*/ 21431 h 38100"/>
                  <a:gd name="connsiteX2" fmla="*/ 21431 w 38100"/>
                  <a:gd name="connsiteY2" fmla="*/ 35719 h 38100"/>
                  <a:gd name="connsiteX3" fmla="*/ 35719 w 38100"/>
                  <a:gd name="connsiteY3" fmla="*/ 21431 h 38100"/>
                  <a:gd name="connsiteX4" fmla="*/ 21431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7144"/>
                    </a:moveTo>
                    <a:cubicBezTo>
                      <a:pt x="13811" y="7144"/>
                      <a:pt x="7144" y="13811"/>
                      <a:pt x="7144" y="21431"/>
                    </a:cubicBezTo>
                    <a:cubicBezTo>
                      <a:pt x="7144" y="29051"/>
                      <a:pt x="13811" y="35719"/>
                      <a:pt x="21431" y="35719"/>
                    </a:cubicBezTo>
                    <a:cubicBezTo>
                      <a:pt x="29051" y="35719"/>
                      <a:pt x="35719" y="29051"/>
                      <a:pt x="35719" y="21431"/>
                    </a:cubicBezTo>
                    <a:cubicBezTo>
                      <a:pt x="35719" y="13811"/>
                      <a:pt x="29051" y="7144"/>
                      <a:pt x="21431" y="7144"/>
                    </a:cubicBezTo>
                    <a:close/>
                  </a:path>
                </a:pathLst>
              </a:custGeom>
              <a:grpFill/>
              <a:ln w="9525" cap="flat">
                <a:noFill/>
                <a:prstDash val="solid"/>
                <a:miter/>
              </a:ln>
            </p:spPr>
            <p:txBody>
              <a:bodyPr rtlCol="0" anchor="ctr"/>
              <a:lstStyle/>
              <a:p>
                <a:endParaRPr lang="en-US"/>
              </a:p>
            </p:txBody>
          </p:sp>
          <p:sp>
            <p:nvSpPr>
              <p:cNvPr id="123" name="Freeform: Shape 110">
                <a:extLst>
                  <a:ext uri="{FF2B5EF4-FFF2-40B4-BE49-F238E27FC236}">
                    <a16:creationId xmlns:a16="http://schemas.microsoft.com/office/drawing/2014/main" id="{B65B0A30-4A5F-C040-890E-7FAE67AF1C6D}"/>
                  </a:ext>
                </a:extLst>
              </p:cNvPr>
              <p:cNvSpPr/>
              <p:nvPr/>
            </p:nvSpPr>
            <p:spPr>
              <a:xfrm>
                <a:off x="5923121" y="3529489"/>
                <a:ext cx="28575" cy="28575"/>
              </a:xfrm>
              <a:custGeom>
                <a:avLst/>
                <a:gdLst>
                  <a:gd name="connsiteX0" fmla="*/ 17621 w 28575"/>
                  <a:gd name="connsiteY0" fmla="*/ 28099 h 28575"/>
                  <a:gd name="connsiteX1" fmla="*/ 28099 w 28575"/>
                  <a:gd name="connsiteY1" fmla="*/ 17621 h 28575"/>
                  <a:gd name="connsiteX2" fmla="*/ 17621 w 28575"/>
                  <a:gd name="connsiteY2" fmla="*/ 7144 h 28575"/>
                  <a:gd name="connsiteX3" fmla="*/ 7144 w 28575"/>
                  <a:gd name="connsiteY3" fmla="*/ 17621 h 28575"/>
                  <a:gd name="connsiteX4" fmla="*/ 17621 w 28575"/>
                  <a:gd name="connsiteY4" fmla="*/ 28099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28099"/>
                    </a:moveTo>
                    <a:cubicBezTo>
                      <a:pt x="23336" y="28099"/>
                      <a:pt x="28099" y="23336"/>
                      <a:pt x="28099" y="17621"/>
                    </a:cubicBezTo>
                    <a:cubicBezTo>
                      <a:pt x="28099" y="11906"/>
                      <a:pt x="23336" y="7144"/>
                      <a:pt x="17621" y="7144"/>
                    </a:cubicBezTo>
                    <a:cubicBezTo>
                      <a:pt x="11906" y="7144"/>
                      <a:pt x="7144" y="11906"/>
                      <a:pt x="7144" y="17621"/>
                    </a:cubicBezTo>
                    <a:cubicBezTo>
                      <a:pt x="7144" y="23336"/>
                      <a:pt x="11906" y="28099"/>
                      <a:pt x="17621" y="28099"/>
                    </a:cubicBezTo>
                    <a:close/>
                  </a:path>
                </a:pathLst>
              </a:custGeom>
              <a:grpFill/>
              <a:ln w="9525" cap="flat">
                <a:noFill/>
                <a:prstDash val="solid"/>
                <a:miter/>
              </a:ln>
            </p:spPr>
            <p:txBody>
              <a:bodyPr rtlCol="0" anchor="ctr"/>
              <a:lstStyle/>
              <a:p>
                <a:endParaRPr lang="en-US"/>
              </a:p>
            </p:txBody>
          </p:sp>
          <p:sp>
            <p:nvSpPr>
              <p:cNvPr id="124" name="Freeform: Shape 111">
                <a:extLst>
                  <a:ext uri="{FF2B5EF4-FFF2-40B4-BE49-F238E27FC236}">
                    <a16:creationId xmlns:a16="http://schemas.microsoft.com/office/drawing/2014/main" id="{CDF031E3-7278-9A42-BA5F-F60C33FC6ABE}"/>
                  </a:ext>
                </a:extLst>
              </p:cNvPr>
              <p:cNvSpPr/>
              <p:nvPr/>
            </p:nvSpPr>
            <p:spPr>
              <a:xfrm>
                <a:off x="6133624" y="2769394"/>
                <a:ext cx="38100" cy="38100"/>
              </a:xfrm>
              <a:custGeom>
                <a:avLst/>
                <a:gdLst>
                  <a:gd name="connsiteX0" fmla="*/ 33814 w 38100"/>
                  <a:gd name="connsiteY0" fmla="*/ 20479 h 38100"/>
                  <a:gd name="connsiteX1" fmla="*/ 20479 w 38100"/>
                  <a:gd name="connsiteY1" fmla="*/ 7144 h 38100"/>
                  <a:gd name="connsiteX2" fmla="*/ 7144 w 38100"/>
                  <a:gd name="connsiteY2" fmla="*/ 20479 h 38100"/>
                  <a:gd name="connsiteX3" fmla="*/ 20479 w 38100"/>
                  <a:gd name="connsiteY3" fmla="*/ 33814 h 38100"/>
                  <a:gd name="connsiteX4" fmla="*/ 33814 w 38100"/>
                  <a:gd name="connsiteY4" fmla="*/ 2047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3814" y="20479"/>
                    </a:moveTo>
                    <a:cubicBezTo>
                      <a:pt x="33814" y="12859"/>
                      <a:pt x="28099" y="7144"/>
                      <a:pt x="20479" y="7144"/>
                    </a:cubicBezTo>
                    <a:cubicBezTo>
                      <a:pt x="12859" y="7144"/>
                      <a:pt x="7144" y="12859"/>
                      <a:pt x="7144" y="20479"/>
                    </a:cubicBezTo>
                    <a:cubicBezTo>
                      <a:pt x="7144" y="28099"/>
                      <a:pt x="12859" y="33814"/>
                      <a:pt x="20479" y="33814"/>
                    </a:cubicBezTo>
                    <a:cubicBezTo>
                      <a:pt x="28099" y="33814"/>
                      <a:pt x="33814" y="27146"/>
                      <a:pt x="33814" y="20479"/>
                    </a:cubicBezTo>
                    <a:close/>
                  </a:path>
                </a:pathLst>
              </a:custGeom>
              <a:grpFill/>
              <a:ln w="9525" cap="flat">
                <a:noFill/>
                <a:prstDash val="solid"/>
                <a:miter/>
              </a:ln>
            </p:spPr>
            <p:txBody>
              <a:bodyPr rtlCol="0" anchor="ctr"/>
              <a:lstStyle/>
              <a:p>
                <a:endParaRPr lang="en-US"/>
              </a:p>
            </p:txBody>
          </p:sp>
          <p:sp>
            <p:nvSpPr>
              <p:cNvPr id="125" name="Freeform: Shape 112">
                <a:extLst>
                  <a:ext uri="{FF2B5EF4-FFF2-40B4-BE49-F238E27FC236}">
                    <a16:creationId xmlns:a16="http://schemas.microsoft.com/office/drawing/2014/main" id="{09D81507-75BC-AE46-A579-D41C566B198D}"/>
                  </a:ext>
                </a:extLst>
              </p:cNvPr>
              <p:cNvSpPr/>
              <p:nvPr/>
            </p:nvSpPr>
            <p:spPr>
              <a:xfrm>
                <a:off x="5578316" y="3253264"/>
                <a:ext cx="28575" cy="28575"/>
              </a:xfrm>
              <a:custGeom>
                <a:avLst/>
                <a:gdLst>
                  <a:gd name="connsiteX0" fmla="*/ 18574 w 28575"/>
                  <a:gd name="connsiteY0" fmla="*/ 7144 h 28575"/>
                  <a:gd name="connsiteX1" fmla="*/ 7144 w 28575"/>
                  <a:gd name="connsiteY1" fmla="*/ 18574 h 28575"/>
                  <a:gd name="connsiteX2" fmla="*/ 18574 w 28575"/>
                  <a:gd name="connsiteY2" fmla="*/ 30004 h 28575"/>
                  <a:gd name="connsiteX3" fmla="*/ 30004 w 28575"/>
                  <a:gd name="connsiteY3" fmla="*/ 18574 h 28575"/>
                  <a:gd name="connsiteX4" fmla="*/ 18574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7144"/>
                    </a:moveTo>
                    <a:cubicBezTo>
                      <a:pt x="11906" y="7144"/>
                      <a:pt x="7144" y="11906"/>
                      <a:pt x="7144" y="18574"/>
                    </a:cubicBezTo>
                    <a:cubicBezTo>
                      <a:pt x="7144" y="25241"/>
                      <a:pt x="11906" y="30004"/>
                      <a:pt x="18574" y="30004"/>
                    </a:cubicBezTo>
                    <a:cubicBezTo>
                      <a:pt x="25241" y="30004"/>
                      <a:pt x="30004" y="25241"/>
                      <a:pt x="30004" y="18574"/>
                    </a:cubicBezTo>
                    <a:cubicBezTo>
                      <a:pt x="30004" y="11906"/>
                      <a:pt x="25241" y="7144"/>
                      <a:pt x="18574" y="7144"/>
                    </a:cubicBezTo>
                    <a:close/>
                  </a:path>
                </a:pathLst>
              </a:custGeom>
              <a:grpFill/>
              <a:ln w="9525" cap="flat">
                <a:noFill/>
                <a:prstDash val="solid"/>
                <a:miter/>
              </a:ln>
            </p:spPr>
            <p:txBody>
              <a:bodyPr rtlCol="0" anchor="ctr"/>
              <a:lstStyle/>
              <a:p>
                <a:endParaRPr lang="en-US"/>
              </a:p>
            </p:txBody>
          </p:sp>
          <p:sp>
            <p:nvSpPr>
              <p:cNvPr id="126" name="Freeform: Shape 113">
                <a:extLst>
                  <a:ext uri="{FF2B5EF4-FFF2-40B4-BE49-F238E27FC236}">
                    <a16:creationId xmlns:a16="http://schemas.microsoft.com/office/drawing/2014/main" id="{D7215499-5640-814D-A68C-127C40070466}"/>
                  </a:ext>
                </a:extLst>
              </p:cNvPr>
              <p:cNvSpPr/>
              <p:nvPr/>
            </p:nvSpPr>
            <p:spPr>
              <a:xfrm>
                <a:off x="5571649" y="3619024"/>
                <a:ext cx="28575" cy="28575"/>
              </a:xfrm>
              <a:custGeom>
                <a:avLst/>
                <a:gdLst>
                  <a:gd name="connsiteX0" fmla="*/ 22384 w 28575"/>
                  <a:gd name="connsiteY0" fmla="*/ 14764 h 28575"/>
                  <a:gd name="connsiteX1" fmla="*/ 14764 w 28575"/>
                  <a:gd name="connsiteY1" fmla="*/ 7144 h 28575"/>
                  <a:gd name="connsiteX2" fmla="*/ 7144 w 28575"/>
                  <a:gd name="connsiteY2" fmla="*/ 14764 h 28575"/>
                  <a:gd name="connsiteX3" fmla="*/ 14764 w 28575"/>
                  <a:gd name="connsiteY3" fmla="*/ 22384 h 28575"/>
                  <a:gd name="connsiteX4" fmla="*/ 2238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2384" y="14764"/>
                    </a:moveTo>
                    <a:cubicBezTo>
                      <a:pt x="22384" y="10954"/>
                      <a:pt x="19526" y="7144"/>
                      <a:pt x="14764" y="7144"/>
                    </a:cubicBezTo>
                    <a:cubicBezTo>
                      <a:pt x="10954" y="7144"/>
                      <a:pt x="7144" y="10001"/>
                      <a:pt x="7144" y="14764"/>
                    </a:cubicBezTo>
                    <a:cubicBezTo>
                      <a:pt x="7144" y="18574"/>
                      <a:pt x="10001" y="22384"/>
                      <a:pt x="14764" y="22384"/>
                    </a:cubicBezTo>
                    <a:cubicBezTo>
                      <a:pt x="19526" y="21431"/>
                      <a:pt x="22384" y="18574"/>
                      <a:pt x="22384" y="14764"/>
                    </a:cubicBezTo>
                    <a:close/>
                  </a:path>
                </a:pathLst>
              </a:custGeom>
              <a:grpFill/>
              <a:ln w="9525" cap="flat">
                <a:noFill/>
                <a:prstDash val="solid"/>
                <a:miter/>
              </a:ln>
            </p:spPr>
            <p:txBody>
              <a:bodyPr rtlCol="0" anchor="ctr"/>
              <a:lstStyle/>
              <a:p>
                <a:endParaRPr lang="en-US"/>
              </a:p>
            </p:txBody>
          </p:sp>
          <p:sp>
            <p:nvSpPr>
              <p:cNvPr id="127" name="Freeform: Shape 114">
                <a:extLst>
                  <a:ext uri="{FF2B5EF4-FFF2-40B4-BE49-F238E27FC236}">
                    <a16:creationId xmlns:a16="http://schemas.microsoft.com/office/drawing/2014/main" id="{950BBF54-0513-4441-8E08-6655A8967D8A}"/>
                  </a:ext>
                </a:extLst>
              </p:cNvPr>
              <p:cNvSpPr/>
              <p:nvPr/>
            </p:nvSpPr>
            <p:spPr>
              <a:xfrm>
                <a:off x="5941219" y="4137184"/>
                <a:ext cx="28575" cy="28575"/>
              </a:xfrm>
              <a:custGeom>
                <a:avLst/>
                <a:gdLst>
                  <a:gd name="connsiteX0" fmla="*/ 16669 w 28575"/>
                  <a:gd name="connsiteY0" fmla="*/ 7144 h 28575"/>
                  <a:gd name="connsiteX1" fmla="*/ 7144 w 28575"/>
                  <a:gd name="connsiteY1" fmla="*/ 16669 h 28575"/>
                  <a:gd name="connsiteX2" fmla="*/ 16669 w 28575"/>
                  <a:gd name="connsiteY2" fmla="*/ 26194 h 28575"/>
                  <a:gd name="connsiteX3" fmla="*/ 26194 w 28575"/>
                  <a:gd name="connsiteY3" fmla="*/ 16669 h 28575"/>
                  <a:gd name="connsiteX4" fmla="*/ 16669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7144"/>
                    </a:moveTo>
                    <a:cubicBezTo>
                      <a:pt x="10954" y="7144"/>
                      <a:pt x="7144" y="11906"/>
                      <a:pt x="7144" y="16669"/>
                    </a:cubicBezTo>
                    <a:cubicBezTo>
                      <a:pt x="7144" y="21431"/>
                      <a:pt x="11906" y="26194"/>
                      <a:pt x="16669" y="26194"/>
                    </a:cubicBezTo>
                    <a:cubicBezTo>
                      <a:pt x="22384" y="26194"/>
                      <a:pt x="26194" y="21431"/>
                      <a:pt x="26194" y="16669"/>
                    </a:cubicBezTo>
                    <a:cubicBezTo>
                      <a:pt x="26194" y="11906"/>
                      <a:pt x="22384" y="7144"/>
                      <a:pt x="16669" y="7144"/>
                    </a:cubicBezTo>
                    <a:close/>
                  </a:path>
                </a:pathLst>
              </a:custGeom>
              <a:grpFill/>
              <a:ln w="9525" cap="flat">
                <a:noFill/>
                <a:prstDash val="solid"/>
                <a:miter/>
              </a:ln>
            </p:spPr>
            <p:txBody>
              <a:bodyPr rtlCol="0" anchor="ctr"/>
              <a:lstStyle/>
              <a:p>
                <a:endParaRPr lang="en-US"/>
              </a:p>
            </p:txBody>
          </p:sp>
          <p:sp>
            <p:nvSpPr>
              <p:cNvPr id="128" name="Freeform: Shape 115">
                <a:extLst>
                  <a:ext uri="{FF2B5EF4-FFF2-40B4-BE49-F238E27FC236}">
                    <a16:creationId xmlns:a16="http://schemas.microsoft.com/office/drawing/2014/main" id="{183DF5BA-C2EE-3F46-BF30-C935B2918C52}"/>
                  </a:ext>
                </a:extLst>
              </p:cNvPr>
              <p:cNvSpPr/>
              <p:nvPr/>
            </p:nvSpPr>
            <p:spPr>
              <a:xfrm>
                <a:off x="6075521" y="3037999"/>
                <a:ext cx="38100" cy="38100"/>
              </a:xfrm>
              <a:custGeom>
                <a:avLst/>
                <a:gdLst>
                  <a:gd name="connsiteX0" fmla="*/ 7144 w 38100"/>
                  <a:gd name="connsiteY0" fmla="*/ 20479 h 38100"/>
                  <a:gd name="connsiteX1" fmla="*/ 20479 w 38100"/>
                  <a:gd name="connsiteY1" fmla="*/ 33814 h 38100"/>
                  <a:gd name="connsiteX2" fmla="*/ 33814 w 38100"/>
                  <a:gd name="connsiteY2" fmla="*/ 20479 h 38100"/>
                  <a:gd name="connsiteX3" fmla="*/ 20479 w 38100"/>
                  <a:gd name="connsiteY3" fmla="*/ 7144 h 38100"/>
                  <a:gd name="connsiteX4" fmla="*/ 7144 w 38100"/>
                  <a:gd name="connsiteY4" fmla="*/ 2047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7144" y="20479"/>
                    </a:moveTo>
                    <a:cubicBezTo>
                      <a:pt x="7144" y="28099"/>
                      <a:pt x="12859" y="33814"/>
                      <a:pt x="20479" y="33814"/>
                    </a:cubicBezTo>
                    <a:cubicBezTo>
                      <a:pt x="28099" y="33814"/>
                      <a:pt x="33814" y="28099"/>
                      <a:pt x="33814" y="20479"/>
                    </a:cubicBezTo>
                    <a:cubicBezTo>
                      <a:pt x="33814" y="12859"/>
                      <a:pt x="28099" y="7144"/>
                      <a:pt x="20479" y="7144"/>
                    </a:cubicBezTo>
                    <a:cubicBezTo>
                      <a:pt x="13811" y="7144"/>
                      <a:pt x="7144" y="13811"/>
                      <a:pt x="7144" y="20479"/>
                    </a:cubicBezTo>
                    <a:close/>
                  </a:path>
                </a:pathLst>
              </a:custGeom>
              <a:grpFill/>
              <a:ln w="9525" cap="flat">
                <a:noFill/>
                <a:prstDash val="solid"/>
                <a:miter/>
              </a:ln>
            </p:spPr>
            <p:txBody>
              <a:bodyPr rtlCol="0" anchor="ctr"/>
              <a:lstStyle/>
              <a:p>
                <a:endParaRPr lang="en-US"/>
              </a:p>
            </p:txBody>
          </p:sp>
          <p:sp>
            <p:nvSpPr>
              <p:cNvPr id="129" name="Freeform: Shape 116">
                <a:extLst>
                  <a:ext uri="{FF2B5EF4-FFF2-40B4-BE49-F238E27FC236}">
                    <a16:creationId xmlns:a16="http://schemas.microsoft.com/office/drawing/2014/main" id="{BA1C63B5-B4BA-E543-94F1-B2D26B3D8F5B}"/>
                  </a:ext>
                </a:extLst>
              </p:cNvPr>
              <p:cNvSpPr/>
              <p:nvPr/>
            </p:nvSpPr>
            <p:spPr>
              <a:xfrm>
                <a:off x="5909786" y="3152299"/>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3811"/>
                      <a:pt x="29051" y="7144"/>
                      <a:pt x="21431" y="7144"/>
                    </a:cubicBezTo>
                    <a:cubicBezTo>
                      <a:pt x="13811" y="7144"/>
                      <a:pt x="7144" y="13811"/>
                      <a:pt x="7144" y="21431"/>
                    </a:cubicBezTo>
                    <a:cubicBezTo>
                      <a:pt x="7144" y="29051"/>
                      <a:pt x="13811" y="35719"/>
                      <a:pt x="21431" y="35719"/>
                    </a:cubicBezTo>
                    <a:cubicBezTo>
                      <a:pt x="29051" y="35719"/>
                      <a:pt x="35719" y="29051"/>
                      <a:pt x="35719" y="21431"/>
                    </a:cubicBezTo>
                    <a:close/>
                  </a:path>
                </a:pathLst>
              </a:custGeom>
              <a:grpFill/>
              <a:ln w="9525" cap="flat">
                <a:noFill/>
                <a:prstDash val="solid"/>
                <a:miter/>
              </a:ln>
            </p:spPr>
            <p:txBody>
              <a:bodyPr rtlCol="0" anchor="ctr"/>
              <a:lstStyle/>
              <a:p>
                <a:endParaRPr lang="en-US"/>
              </a:p>
            </p:txBody>
          </p:sp>
          <p:sp>
            <p:nvSpPr>
              <p:cNvPr id="130" name="Freeform: Shape 117">
                <a:extLst>
                  <a:ext uri="{FF2B5EF4-FFF2-40B4-BE49-F238E27FC236}">
                    <a16:creationId xmlns:a16="http://schemas.microsoft.com/office/drawing/2014/main" id="{A4B18A7D-405E-4640-94A5-2BDD9F2AF713}"/>
                  </a:ext>
                </a:extLst>
              </p:cNvPr>
              <p:cNvSpPr/>
              <p:nvPr/>
            </p:nvSpPr>
            <p:spPr>
              <a:xfrm>
                <a:off x="5516404" y="3698081"/>
                <a:ext cx="28575" cy="28575"/>
              </a:xfrm>
              <a:custGeom>
                <a:avLst/>
                <a:gdLst>
                  <a:gd name="connsiteX0" fmla="*/ 15716 w 28575"/>
                  <a:gd name="connsiteY0" fmla="*/ 7144 h 28575"/>
                  <a:gd name="connsiteX1" fmla="*/ 7144 w 28575"/>
                  <a:gd name="connsiteY1" fmla="*/ 15716 h 28575"/>
                  <a:gd name="connsiteX2" fmla="*/ 15716 w 28575"/>
                  <a:gd name="connsiteY2" fmla="*/ 24289 h 28575"/>
                  <a:gd name="connsiteX3" fmla="*/ 24289 w 28575"/>
                  <a:gd name="connsiteY3" fmla="*/ 15716 h 28575"/>
                  <a:gd name="connsiteX4" fmla="*/ 15716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5716" y="7144"/>
                    </a:moveTo>
                    <a:cubicBezTo>
                      <a:pt x="10954" y="7144"/>
                      <a:pt x="7144" y="10954"/>
                      <a:pt x="7144" y="15716"/>
                    </a:cubicBezTo>
                    <a:cubicBezTo>
                      <a:pt x="7144" y="20479"/>
                      <a:pt x="10954" y="24289"/>
                      <a:pt x="15716" y="24289"/>
                    </a:cubicBezTo>
                    <a:cubicBezTo>
                      <a:pt x="20479" y="24289"/>
                      <a:pt x="24289" y="20479"/>
                      <a:pt x="24289" y="15716"/>
                    </a:cubicBezTo>
                    <a:cubicBezTo>
                      <a:pt x="24289" y="10001"/>
                      <a:pt x="20479" y="7144"/>
                      <a:pt x="15716" y="7144"/>
                    </a:cubicBezTo>
                    <a:close/>
                  </a:path>
                </a:pathLst>
              </a:custGeom>
              <a:grpFill/>
              <a:ln w="9525" cap="flat">
                <a:noFill/>
                <a:prstDash val="solid"/>
                <a:miter/>
              </a:ln>
            </p:spPr>
            <p:txBody>
              <a:bodyPr rtlCol="0" anchor="ctr"/>
              <a:lstStyle/>
              <a:p>
                <a:endParaRPr lang="en-US"/>
              </a:p>
            </p:txBody>
          </p:sp>
          <p:sp>
            <p:nvSpPr>
              <p:cNvPr id="131" name="Freeform: Shape 118">
                <a:extLst>
                  <a:ext uri="{FF2B5EF4-FFF2-40B4-BE49-F238E27FC236}">
                    <a16:creationId xmlns:a16="http://schemas.microsoft.com/office/drawing/2014/main" id="{11B91FFB-A49C-BA47-A71F-C171739B9024}"/>
                  </a:ext>
                </a:extLst>
              </p:cNvPr>
              <p:cNvSpPr/>
              <p:nvPr/>
            </p:nvSpPr>
            <p:spPr>
              <a:xfrm>
                <a:off x="5679281" y="3343751"/>
                <a:ext cx="28575" cy="28575"/>
              </a:xfrm>
              <a:custGeom>
                <a:avLst/>
                <a:gdLst>
                  <a:gd name="connsiteX0" fmla="*/ 30004 w 28575"/>
                  <a:gd name="connsiteY0" fmla="*/ 18574 h 28575"/>
                  <a:gd name="connsiteX1" fmla="*/ 18574 w 28575"/>
                  <a:gd name="connsiteY1" fmla="*/ 7144 h 28575"/>
                  <a:gd name="connsiteX2" fmla="*/ 7144 w 28575"/>
                  <a:gd name="connsiteY2" fmla="*/ 18574 h 28575"/>
                  <a:gd name="connsiteX3" fmla="*/ 18574 w 28575"/>
                  <a:gd name="connsiteY3" fmla="*/ 30004 h 28575"/>
                  <a:gd name="connsiteX4" fmla="*/ 3000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0004" y="18574"/>
                    </a:moveTo>
                    <a:cubicBezTo>
                      <a:pt x="30004" y="12859"/>
                      <a:pt x="25241" y="7144"/>
                      <a:pt x="18574" y="7144"/>
                    </a:cubicBezTo>
                    <a:cubicBezTo>
                      <a:pt x="12859" y="7144"/>
                      <a:pt x="7144" y="11906"/>
                      <a:pt x="7144" y="18574"/>
                    </a:cubicBezTo>
                    <a:cubicBezTo>
                      <a:pt x="7144" y="24289"/>
                      <a:pt x="11906" y="30004"/>
                      <a:pt x="18574" y="30004"/>
                    </a:cubicBezTo>
                    <a:cubicBezTo>
                      <a:pt x="25241" y="30004"/>
                      <a:pt x="30004" y="25241"/>
                      <a:pt x="30004" y="18574"/>
                    </a:cubicBezTo>
                    <a:close/>
                  </a:path>
                </a:pathLst>
              </a:custGeom>
              <a:grpFill/>
              <a:ln w="9525" cap="flat">
                <a:noFill/>
                <a:prstDash val="solid"/>
                <a:miter/>
              </a:ln>
            </p:spPr>
            <p:txBody>
              <a:bodyPr rtlCol="0" anchor="ctr"/>
              <a:lstStyle/>
              <a:p>
                <a:endParaRPr lang="en-US"/>
              </a:p>
            </p:txBody>
          </p:sp>
          <p:sp>
            <p:nvSpPr>
              <p:cNvPr id="132" name="Freeform: Shape 119">
                <a:extLst>
                  <a:ext uri="{FF2B5EF4-FFF2-40B4-BE49-F238E27FC236}">
                    <a16:creationId xmlns:a16="http://schemas.microsoft.com/office/drawing/2014/main" id="{AD71FD1F-BE07-E549-B03D-30AC424C212D}"/>
                  </a:ext>
                </a:extLst>
              </p:cNvPr>
              <p:cNvSpPr/>
              <p:nvPr/>
            </p:nvSpPr>
            <p:spPr>
              <a:xfrm>
                <a:off x="5951696" y="3265646"/>
                <a:ext cx="28575" cy="28575"/>
              </a:xfrm>
              <a:custGeom>
                <a:avLst/>
                <a:gdLst>
                  <a:gd name="connsiteX0" fmla="*/ 30004 w 28575"/>
                  <a:gd name="connsiteY0" fmla="*/ 18574 h 28575"/>
                  <a:gd name="connsiteX1" fmla="*/ 18574 w 28575"/>
                  <a:gd name="connsiteY1" fmla="*/ 7144 h 28575"/>
                  <a:gd name="connsiteX2" fmla="*/ 7144 w 28575"/>
                  <a:gd name="connsiteY2" fmla="*/ 18574 h 28575"/>
                  <a:gd name="connsiteX3" fmla="*/ 18574 w 28575"/>
                  <a:gd name="connsiteY3" fmla="*/ 30004 h 28575"/>
                  <a:gd name="connsiteX4" fmla="*/ 30004 w 28575"/>
                  <a:gd name="connsiteY4" fmla="*/ 1857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30004" y="18574"/>
                    </a:moveTo>
                    <a:cubicBezTo>
                      <a:pt x="30004" y="12859"/>
                      <a:pt x="25241" y="7144"/>
                      <a:pt x="18574" y="7144"/>
                    </a:cubicBezTo>
                    <a:cubicBezTo>
                      <a:pt x="12859" y="7144"/>
                      <a:pt x="7144" y="11906"/>
                      <a:pt x="7144" y="18574"/>
                    </a:cubicBezTo>
                    <a:cubicBezTo>
                      <a:pt x="7144" y="24289"/>
                      <a:pt x="11906" y="30004"/>
                      <a:pt x="18574" y="30004"/>
                    </a:cubicBezTo>
                    <a:cubicBezTo>
                      <a:pt x="25241" y="30004"/>
                      <a:pt x="30004" y="25241"/>
                      <a:pt x="30004" y="18574"/>
                    </a:cubicBezTo>
                    <a:close/>
                  </a:path>
                </a:pathLst>
              </a:custGeom>
              <a:grpFill/>
              <a:ln w="9525" cap="flat">
                <a:noFill/>
                <a:prstDash val="solid"/>
                <a:miter/>
              </a:ln>
            </p:spPr>
            <p:txBody>
              <a:bodyPr rtlCol="0" anchor="ctr"/>
              <a:lstStyle/>
              <a:p>
                <a:endParaRPr lang="en-US"/>
              </a:p>
            </p:txBody>
          </p:sp>
          <p:sp>
            <p:nvSpPr>
              <p:cNvPr id="133" name="Freeform: Shape 120">
                <a:extLst>
                  <a:ext uri="{FF2B5EF4-FFF2-40B4-BE49-F238E27FC236}">
                    <a16:creationId xmlns:a16="http://schemas.microsoft.com/office/drawing/2014/main" id="{83D96C5F-510E-B34C-BF63-1B543B1C0179}"/>
                  </a:ext>
                </a:extLst>
              </p:cNvPr>
              <p:cNvSpPr/>
              <p:nvPr/>
            </p:nvSpPr>
            <p:spPr>
              <a:xfrm>
                <a:off x="5435441" y="3113246"/>
                <a:ext cx="28575" cy="28575"/>
              </a:xfrm>
              <a:custGeom>
                <a:avLst/>
                <a:gdLst>
                  <a:gd name="connsiteX0" fmla="*/ 18574 w 28575"/>
                  <a:gd name="connsiteY0" fmla="*/ 30004 h 28575"/>
                  <a:gd name="connsiteX1" fmla="*/ 30004 w 28575"/>
                  <a:gd name="connsiteY1" fmla="*/ 18574 h 28575"/>
                  <a:gd name="connsiteX2" fmla="*/ 18574 w 28575"/>
                  <a:gd name="connsiteY2" fmla="*/ 7144 h 28575"/>
                  <a:gd name="connsiteX3" fmla="*/ 7144 w 28575"/>
                  <a:gd name="connsiteY3" fmla="*/ 18574 h 28575"/>
                  <a:gd name="connsiteX4" fmla="*/ 18574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30004"/>
                    </a:moveTo>
                    <a:cubicBezTo>
                      <a:pt x="24289" y="30004"/>
                      <a:pt x="30004" y="25241"/>
                      <a:pt x="30004" y="18574"/>
                    </a:cubicBezTo>
                    <a:cubicBezTo>
                      <a:pt x="30004" y="12859"/>
                      <a:pt x="25241" y="7144"/>
                      <a:pt x="18574" y="7144"/>
                    </a:cubicBezTo>
                    <a:cubicBezTo>
                      <a:pt x="12859" y="7144"/>
                      <a:pt x="7144" y="11906"/>
                      <a:pt x="7144" y="18574"/>
                    </a:cubicBezTo>
                    <a:cubicBezTo>
                      <a:pt x="8096" y="25241"/>
                      <a:pt x="12859" y="30004"/>
                      <a:pt x="18574" y="30004"/>
                    </a:cubicBezTo>
                    <a:close/>
                  </a:path>
                </a:pathLst>
              </a:custGeom>
              <a:grpFill/>
              <a:ln w="9525" cap="flat">
                <a:noFill/>
                <a:prstDash val="solid"/>
                <a:miter/>
              </a:ln>
            </p:spPr>
            <p:txBody>
              <a:bodyPr rtlCol="0" anchor="ctr"/>
              <a:lstStyle/>
              <a:p>
                <a:endParaRPr lang="en-US"/>
              </a:p>
            </p:txBody>
          </p:sp>
          <p:sp>
            <p:nvSpPr>
              <p:cNvPr id="134" name="Freeform: Shape 121">
                <a:extLst>
                  <a:ext uri="{FF2B5EF4-FFF2-40B4-BE49-F238E27FC236}">
                    <a16:creationId xmlns:a16="http://schemas.microsoft.com/office/drawing/2014/main" id="{310CE727-5A4F-3546-9EEA-0A82A58705F9}"/>
                  </a:ext>
                </a:extLst>
              </p:cNvPr>
              <p:cNvSpPr/>
              <p:nvPr/>
            </p:nvSpPr>
            <p:spPr>
              <a:xfrm>
                <a:off x="6027896" y="3622834"/>
                <a:ext cx="28575" cy="28575"/>
              </a:xfrm>
              <a:custGeom>
                <a:avLst/>
                <a:gdLst>
                  <a:gd name="connsiteX0" fmla="*/ 16669 w 28575"/>
                  <a:gd name="connsiteY0" fmla="*/ 7144 h 28575"/>
                  <a:gd name="connsiteX1" fmla="*/ 7144 w 28575"/>
                  <a:gd name="connsiteY1" fmla="*/ 16669 h 28575"/>
                  <a:gd name="connsiteX2" fmla="*/ 16669 w 28575"/>
                  <a:gd name="connsiteY2" fmla="*/ 26194 h 28575"/>
                  <a:gd name="connsiteX3" fmla="*/ 26194 w 28575"/>
                  <a:gd name="connsiteY3" fmla="*/ 16669 h 28575"/>
                  <a:gd name="connsiteX4" fmla="*/ 16669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7144"/>
                    </a:moveTo>
                    <a:cubicBezTo>
                      <a:pt x="11906" y="7144"/>
                      <a:pt x="7144" y="10954"/>
                      <a:pt x="7144" y="16669"/>
                    </a:cubicBezTo>
                    <a:cubicBezTo>
                      <a:pt x="7144" y="22384"/>
                      <a:pt x="10954" y="26194"/>
                      <a:pt x="16669" y="26194"/>
                    </a:cubicBezTo>
                    <a:cubicBezTo>
                      <a:pt x="22384" y="26194"/>
                      <a:pt x="26194" y="22384"/>
                      <a:pt x="26194" y="16669"/>
                    </a:cubicBezTo>
                    <a:cubicBezTo>
                      <a:pt x="26194" y="10954"/>
                      <a:pt x="21431" y="7144"/>
                      <a:pt x="16669" y="7144"/>
                    </a:cubicBezTo>
                    <a:close/>
                  </a:path>
                </a:pathLst>
              </a:custGeom>
              <a:grpFill/>
              <a:ln w="9525" cap="flat">
                <a:noFill/>
                <a:prstDash val="solid"/>
                <a:miter/>
              </a:ln>
            </p:spPr>
            <p:txBody>
              <a:bodyPr rtlCol="0" anchor="ctr"/>
              <a:lstStyle/>
              <a:p>
                <a:endParaRPr lang="en-US"/>
              </a:p>
            </p:txBody>
          </p:sp>
          <p:sp>
            <p:nvSpPr>
              <p:cNvPr id="135" name="Freeform: Shape 122">
                <a:extLst>
                  <a:ext uri="{FF2B5EF4-FFF2-40B4-BE49-F238E27FC236}">
                    <a16:creationId xmlns:a16="http://schemas.microsoft.com/office/drawing/2014/main" id="{2884ABC7-9573-7B45-A3B9-99BB25464491}"/>
                  </a:ext>
                </a:extLst>
              </p:cNvPr>
              <p:cNvSpPr/>
              <p:nvPr/>
            </p:nvSpPr>
            <p:spPr>
              <a:xfrm>
                <a:off x="5681186" y="2920841"/>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719" y="64294"/>
                    </a:moveTo>
                    <a:cubicBezTo>
                      <a:pt x="50959" y="64294"/>
                      <a:pt x="64294" y="51911"/>
                      <a:pt x="64294" y="35719"/>
                    </a:cubicBezTo>
                    <a:cubicBezTo>
                      <a:pt x="64294" y="19526"/>
                      <a:pt x="51911" y="7144"/>
                      <a:pt x="35719" y="7144"/>
                    </a:cubicBezTo>
                    <a:cubicBezTo>
                      <a:pt x="20479" y="7144"/>
                      <a:pt x="7144" y="19526"/>
                      <a:pt x="7144" y="35719"/>
                    </a:cubicBezTo>
                    <a:cubicBezTo>
                      <a:pt x="7144" y="51911"/>
                      <a:pt x="19526" y="64294"/>
                      <a:pt x="35719" y="64294"/>
                    </a:cubicBezTo>
                    <a:close/>
                  </a:path>
                </a:pathLst>
              </a:custGeom>
              <a:grpFill/>
              <a:ln w="9525" cap="flat">
                <a:noFill/>
                <a:prstDash val="solid"/>
                <a:miter/>
              </a:ln>
            </p:spPr>
            <p:txBody>
              <a:bodyPr rtlCol="0" anchor="ctr"/>
              <a:lstStyle/>
              <a:p>
                <a:endParaRPr lang="en-US"/>
              </a:p>
            </p:txBody>
          </p:sp>
          <p:sp>
            <p:nvSpPr>
              <p:cNvPr id="136" name="Freeform: Shape 123">
                <a:extLst>
                  <a:ext uri="{FF2B5EF4-FFF2-40B4-BE49-F238E27FC236}">
                    <a16:creationId xmlns:a16="http://schemas.microsoft.com/office/drawing/2014/main" id="{E88E7A9E-E58D-6A48-824F-5F3FCE77F0E0}"/>
                  </a:ext>
                </a:extLst>
              </p:cNvPr>
              <p:cNvSpPr/>
              <p:nvPr/>
            </p:nvSpPr>
            <p:spPr>
              <a:xfrm>
                <a:off x="6041231" y="4157186"/>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6669" y="18574"/>
                      <a:pt x="18574" y="15716"/>
                      <a:pt x="18574" y="12859"/>
                    </a:cubicBezTo>
                    <a:close/>
                  </a:path>
                </a:pathLst>
              </a:custGeom>
              <a:grpFill/>
              <a:ln w="9525" cap="flat">
                <a:noFill/>
                <a:prstDash val="solid"/>
                <a:miter/>
              </a:ln>
            </p:spPr>
            <p:txBody>
              <a:bodyPr rtlCol="0" anchor="ctr"/>
              <a:lstStyle/>
              <a:p>
                <a:endParaRPr lang="en-US"/>
              </a:p>
            </p:txBody>
          </p:sp>
          <p:sp>
            <p:nvSpPr>
              <p:cNvPr id="137" name="Freeform: Shape 124">
                <a:extLst>
                  <a:ext uri="{FF2B5EF4-FFF2-40B4-BE49-F238E27FC236}">
                    <a16:creationId xmlns:a16="http://schemas.microsoft.com/office/drawing/2014/main" id="{877F4893-2264-254D-8FC0-A68306D5B6FD}"/>
                  </a:ext>
                </a:extLst>
              </p:cNvPr>
              <p:cNvSpPr/>
              <p:nvPr/>
            </p:nvSpPr>
            <p:spPr>
              <a:xfrm>
                <a:off x="6189821" y="2763679"/>
                <a:ext cx="38100" cy="38100"/>
              </a:xfrm>
              <a:custGeom>
                <a:avLst/>
                <a:gdLst>
                  <a:gd name="connsiteX0" fmla="*/ 31909 w 38100"/>
                  <a:gd name="connsiteY0" fmla="*/ 19526 h 38100"/>
                  <a:gd name="connsiteX1" fmla="*/ 19526 w 38100"/>
                  <a:gd name="connsiteY1" fmla="*/ 7144 h 38100"/>
                  <a:gd name="connsiteX2" fmla="*/ 7144 w 38100"/>
                  <a:gd name="connsiteY2" fmla="*/ 19526 h 38100"/>
                  <a:gd name="connsiteX3" fmla="*/ 19526 w 38100"/>
                  <a:gd name="connsiteY3" fmla="*/ 31909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12859"/>
                      <a:pt x="26194" y="7144"/>
                      <a:pt x="19526" y="7144"/>
                    </a:cubicBezTo>
                    <a:cubicBezTo>
                      <a:pt x="12859" y="7144"/>
                      <a:pt x="7144" y="12859"/>
                      <a:pt x="7144" y="19526"/>
                    </a:cubicBezTo>
                    <a:cubicBezTo>
                      <a:pt x="7144" y="26194"/>
                      <a:pt x="12859" y="31909"/>
                      <a:pt x="19526" y="31909"/>
                    </a:cubicBezTo>
                    <a:cubicBezTo>
                      <a:pt x="26194" y="31909"/>
                      <a:pt x="31909" y="26194"/>
                      <a:pt x="31909" y="19526"/>
                    </a:cubicBezTo>
                    <a:close/>
                  </a:path>
                </a:pathLst>
              </a:custGeom>
              <a:grpFill/>
              <a:ln w="9525" cap="flat">
                <a:noFill/>
                <a:prstDash val="solid"/>
                <a:miter/>
              </a:ln>
            </p:spPr>
            <p:txBody>
              <a:bodyPr rtlCol="0" anchor="ctr"/>
              <a:lstStyle/>
              <a:p>
                <a:endParaRPr lang="en-US"/>
              </a:p>
            </p:txBody>
          </p:sp>
          <p:sp>
            <p:nvSpPr>
              <p:cNvPr id="138" name="Freeform: Shape 125">
                <a:extLst>
                  <a:ext uri="{FF2B5EF4-FFF2-40B4-BE49-F238E27FC236}">
                    <a16:creationId xmlns:a16="http://schemas.microsoft.com/office/drawing/2014/main" id="{71AD4AD7-2D89-E743-90B6-576410A058A9}"/>
                  </a:ext>
                </a:extLst>
              </p:cNvPr>
              <p:cNvSpPr/>
              <p:nvPr/>
            </p:nvSpPr>
            <p:spPr>
              <a:xfrm>
                <a:off x="5636419" y="3418046"/>
                <a:ext cx="28575" cy="28575"/>
              </a:xfrm>
              <a:custGeom>
                <a:avLst/>
                <a:gdLst>
                  <a:gd name="connsiteX0" fmla="*/ 18574 w 28575"/>
                  <a:gd name="connsiteY0" fmla="*/ 7144 h 28575"/>
                  <a:gd name="connsiteX1" fmla="*/ 7144 w 28575"/>
                  <a:gd name="connsiteY1" fmla="*/ 18574 h 28575"/>
                  <a:gd name="connsiteX2" fmla="*/ 18574 w 28575"/>
                  <a:gd name="connsiteY2" fmla="*/ 30004 h 28575"/>
                  <a:gd name="connsiteX3" fmla="*/ 30004 w 28575"/>
                  <a:gd name="connsiteY3" fmla="*/ 18574 h 28575"/>
                  <a:gd name="connsiteX4" fmla="*/ 18574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574" y="7144"/>
                    </a:moveTo>
                    <a:cubicBezTo>
                      <a:pt x="11906" y="7144"/>
                      <a:pt x="7144" y="11906"/>
                      <a:pt x="7144" y="18574"/>
                    </a:cubicBezTo>
                    <a:cubicBezTo>
                      <a:pt x="7144" y="25241"/>
                      <a:pt x="11906" y="30004"/>
                      <a:pt x="18574" y="30004"/>
                    </a:cubicBezTo>
                    <a:cubicBezTo>
                      <a:pt x="25241" y="30004"/>
                      <a:pt x="30004" y="25241"/>
                      <a:pt x="30004" y="18574"/>
                    </a:cubicBezTo>
                    <a:cubicBezTo>
                      <a:pt x="30004" y="11906"/>
                      <a:pt x="25241" y="7144"/>
                      <a:pt x="18574" y="7144"/>
                    </a:cubicBezTo>
                    <a:close/>
                  </a:path>
                </a:pathLst>
              </a:custGeom>
              <a:grpFill/>
              <a:ln w="9525" cap="flat">
                <a:noFill/>
                <a:prstDash val="solid"/>
                <a:miter/>
              </a:ln>
            </p:spPr>
            <p:txBody>
              <a:bodyPr rtlCol="0" anchor="ctr"/>
              <a:lstStyle/>
              <a:p>
                <a:endParaRPr lang="en-US"/>
              </a:p>
            </p:txBody>
          </p:sp>
          <p:sp>
            <p:nvSpPr>
              <p:cNvPr id="139" name="Freeform: Shape 126">
                <a:extLst>
                  <a:ext uri="{FF2B5EF4-FFF2-40B4-BE49-F238E27FC236}">
                    <a16:creationId xmlns:a16="http://schemas.microsoft.com/office/drawing/2014/main" id="{63C78C13-BEC8-9342-8F2A-2E9E3AF7A3D5}"/>
                  </a:ext>
                </a:extLst>
              </p:cNvPr>
              <p:cNvSpPr/>
              <p:nvPr/>
            </p:nvSpPr>
            <p:spPr>
              <a:xfrm>
                <a:off x="5991701" y="4151471"/>
                <a:ext cx="28575" cy="28575"/>
              </a:xfrm>
              <a:custGeom>
                <a:avLst/>
                <a:gdLst>
                  <a:gd name="connsiteX0" fmla="*/ 7144 w 28575"/>
                  <a:gd name="connsiteY0" fmla="*/ 14764 h 28575"/>
                  <a:gd name="connsiteX1" fmla="*/ 14764 w 28575"/>
                  <a:gd name="connsiteY1" fmla="*/ 22384 h 28575"/>
                  <a:gd name="connsiteX2" fmla="*/ 22384 w 28575"/>
                  <a:gd name="connsiteY2" fmla="*/ 14764 h 28575"/>
                  <a:gd name="connsiteX3" fmla="*/ 14764 w 28575"/>
                  <a:gd name="connsiteY3" fmla="*/ 7144 h 28575"/>
                  <a:gd name="connsiteX4" fmla="*/ 7144 w 28575"/>
                  <a:gd name="connsiteY4" fmla="*/ 1476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7144" y="14764"/>
                    </a:moveTo>
                    <a:cubicBezTo>
                      <a:pt x="7144" y="18574"/>
                      <a:pt x="10001" y="22384"/>
                      <a:pt x="14764" y="22384"/>
                    </a:cubicBezTo>
                    <a:cubicBezTo>
                      <a:pt x="19526" y="22384"/>
                      <a:pt x="22384" y="19526"/>
                      <a:pt x="22384" y="14764"/>
                    </a:cubicBezTo>
                    <a:cubicBezTo>
                      <a:pt x="22384" y="10001"/>
                      <a:pt x="19526" y="7144"/>
                      <a:pt x="14764" y="7144"/>
                    </a:cubicBezTo>
                    <a:cubicBezTo>
                      <a:pt x="10001" y="7144"/>
                      <a:pt x="7144" y="10954"/>
                      <a:pt x="7144" y="14764"/>
                    </a:cubicBezTo>
                    <a:close/>
                  </a:path>
                </a:pathLst>
              </a:custGeom>
              <a:grpFill/>
              <a:ln w="9525" cap="flat">
                <a:noFill/>
                <a:prstDash val="solid"/>
                <a:miter/>
              </a:ln>
            </p:spPr>
            <p:txBody>
              <a:bodyPr rtlCol="0" anchor="ctr"/>
              <a:lstStyle/>
              <a:p>
                <a:endParaRPr lang="en-US"/>
              </a:p>
            </p:txBody>
          </p:sp>
          <p:sp>
            <p:nvSpPr>
              <p:cNvPr id="140" name="Freeform: Shape 127">
                <a:extLst>
                  <a:ext uri="{FF2B5EF4-FFF2-40B4-BE49-F238E27FC236}">
                    <a16:creationId xmlns:a16="http://schemas.microsoft.com/office/drawing/2014/main" id="{84164037-B06E-9543-91D8-0E65DCEB7C06}"/>
                  </a:ext>
                </a:extLst>
              </p:cNvPr>
              <p:cNvSpPr/>
              <p:nvPr/>
            </p:nvSpPr>
            <p:spPr>
              <a:xfrm>
                <a:off x="5809774" y="4265771"/>
                <a:ext cx="19050" cy="19050"/>
              </a:xfrm>
              <a:custGeom>
                <a:avLst/>
                <a:gdLst>
                  <a:gd name="connsiteX0" fmla="*/ 7144 w 19050"/>
                  <a:gd name="connsiteY0" fmla="*/ 13811 h 19050"/>
                  <a:gd name="connsiteX1" fmla="*/ 13811 w 19050"/>
                  <a:gd name="connsiteY1" fmla="*/ 20479 h 19050"/>
                  <a:gd name="connsiteX2" fmla="*/ 20479 w 19050"/>
                  <a:gd name="connsiteY2" fmla="*/ 13811 h 19050"/>
                  <a:gd name="connsiteX3" fmla="*/ 13811 w 19050"/>
                  <a:gd name="connsiteY3" fmla="*/ 7144 h 19050"/>
                  <a:gd name="connsiteX4" fmla="*/ 7144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7144" y="13811"/>
                    </a:moveTo>
                    <a:cubicBezTo>
                      <a:pt x="7144" y="17621"/>
                      <a:pt x="10001" y="20479"/>
                      <a:pt x="13811" y="20479"/>
                    </a:cubicBezTo>
                    <a:cubicBezTo>
                      <a:pt x="17621" y="20479"/>
                      <a:pt x="20479" y="17621"/>
                      <a:pt x="20479" y="13811"/>
                    </a:cubicBezTo>
                    <a:cubicBezTo>
                      <a:pt x="20479" y="10001"/>
                      <a:pt x="17621" y="7144"/>
                      <a:pt x="13811" y="7144"/>
                    </a:cubicBezTo>
                    <a:cubicBezTo>
                      <a:pt x="10001" y="7144"/>
                      <a:pt x="7144" y="10001"/>
                      <a:pt x="7144" y="13811"/>
                    </a:cubicBezTo>
                    <a:close/>
                  </a:path>
                </a:pathLst>
              </a:custGeom>
              <a:grpFill/>
              <a:ln w="9525" cap="flat">
                <a:noFill/>
                <a:prstDash val="solid"/>
                <a:miter/>
              </a:ln>
            </p:spPr>
            <p:txBody>
              <a:bodyPr rtlCol="0" anchor="ctr"/>
              <a:lstStyle/>
              <a:p>
                <a:endParaRPr lang="en-US"/>
              </a:p>
            </p:txBody>
          </p:sp>
          <p:sp>
            <p:nvSpPr>
              <p:cNvPr id="141" name="Freeform: Shape 128">
                <a:extLst>
                  <a:ext uri="{FF2B5EF4-FFF2-40B4-BE49-F238E27FC236}">
                    <a16:creationId xmlns:a16="http://schemas.microsoft.com/office/drawing/2014/main" id="{D69FAC6E-738E-7944-97D7-5FEE72DD684E}"/>
                  </a:ext>
                </a:extLst>
              </p:cNvPr>
              <p:cNvSpPr/>
              <p:nvPr/>
            </p:nvSpPr>
            <p:spPr>
              <a:xfrm>
                <a:off x="5965984" y="3198971"/>
                <a:ext cx="19050" cy="19050"/>
              </a:xfrm>
              <a:custGeom>
                <a:avLst/>
                <a:gdLst>
                  <a:gd name="connsiteX0" fmla="*/ 20479 w 19050"/>
                  <a:gd name="connsiteY0" fmla="*/ 13811 h 19050"/>
                  <a:gd name="connsiteX1" fmla="*/ 13811 w 19050"/>
                  <a:gd name="connsiteY1" fmla="*/ 7144 h 19050"/>
                  <a:gd name="connsiteX2" fmla="*/ 7144 w 19050"/>
                  <a:gd name="connsiteY2" fmla="*/ 13811 h 19050"/>
                  <a:gd name="connsiteX3" fmla="*/ 13811 w 19050"/>
                  <a:gd name="connsiteY3" fmla="*/ 20479 h 19050"/>
                  <a:gd name="connsiteX4" fmla="*/ 20479 w 19050"/>
                  <a:gd name="connsiteY4" fmla="*/ 13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0479" y="13811"/>
                    </a:moveTo>
                    <a:cubicBezTo>
                      <a:pt x="20479" y="10001"/>
                      <a:pt x="17621" y="7144"/>
                      <a:pt x="13811" y="7144"/>
                    </a:cubicBezTo>
                    <a:cubicBezTo>
                      <a:pt x="10001" y="7144"/>
                      <a:pt x="7144" y="10001"/>
                      <a:pt x="7144" y="13811"/>
                    </a:cubicBezTo>
                    <a:cubicBezTo>
                      <a:pt x="7144" y="17621"/>
                      <a:pt x="10001" y="20479"/>
                      <a:pt x="13811" y="20479"/>
                    </a:cubicBezTo>
                    <a:cubicBezTo>
                      <a:pt x="17621" y="19526"/>
                      <a:pt x="20479" y="16669"/>
                      <a:pt x="20479" y="13811"/>
                    </a:cubicBezTo>
                    <a:close/>
                  </a:path>
                </a:pathLst>
              </a:custGeom>
              <a:grpFill/>
              <a:ln w="9525" cap="flat">
                <a:noFill/>
                <a:prstDash val="solid"/>
                <a:miter/>
              </a:ln>
            </p:spPr>
            <p:txBody>
              <a:bodyPr rtlCol="0" anchor="ctr"/>
              <a:lstStyle/>
              <a:p>
                <a:endParaRPr lang="en-US"/>
              </a:p>
            </p:txBody>
          </p:sp>
          <p:sp>
            <p:nvSpPr>
              <p:cNvPr id="142" name="Freeform: Shape 129">
                <a:extLst>
                  <a:ext uri="{FF2B5EF4-FFF2-40B4-BE49-F238E27FC236}">
                    <a16:creationId xmlns:a16="http://schemas.microsoft.com/office/drawing/2014/main" id="{851A516A-0409-5C4E-9A54-AF1425BA4B9F}"/>
                  </a:ext>
                </a:extLst>
              </p:cNvPr>
              <p:cNvSpPr/>
              <p:nvPr/>
            </p:nvSpPr>
            <p:spPr>
              <a:xfrm>
                <a:off x="5540216" y="3513296"/>
                <a:ext cx="38100" cy="38100"/>
              </a:xfrm>
              <a:custGeom>
                <a:avLst/>
                <a:gdLst>
                  <a:gd name="connsiteX0" fmla="*/ 35719 w 38100"/>
                  <a:gd name="connsiteY0" fmla="*/ 21431 h 38100"/>
                  <a:gd name="connsiteX1" fmla="*/ 21431 w 38100"/>
                  <a:gd name="connsiteY1" fmla="*/ 7144 h 38100"/>
                  <a:gd name="connsiteX2" fmla="*/ 7144 w 38100"/>
                  <a:gd name="connsiteY2" fmla="*/ 21431 h 38100"/>
                  <a:gd name="connsiteX3" fmla="*/ 21431 w 38100"/>
                  <a:gd name="connsiteY3" fmla="*/ 35719 h 38100"/>
                  <a:gd name="connsiteX4" fmla="*/ 35719 w 381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5719" y="21431"/>
                    </a:moveTo>
                    <a:cubicBezTo>
                      <a:pt x="35719" y="13811"/>
                      <a:pt x="29051" y="7144"/>
                      <a:pt x="21431" y="7144"/>
                    </a:cubicBezTo>
                    <a:cubicBezTo>
                      <a:pt x="13811" y="7144"/>
                      <a:pt x="7144" y="13811"/>
                      <a:pt x="7144" y="21431"/>
                    </a:cubicBezTo>
                    <a:cubicBezTo>
                      <a:pt x="7144" y="29051"/>
                      <a:pt x="13811" y="35719"/>
                      <a:pt x="21431" y="35719"/>
                    </a:cubicBezTo>
                    <a:cubicBezTo>
                      <a:pt x="29051" y="35719"/>
                      <a:pt x="35719" y="29051"/>
                      <a:pt x="35719" y="21431"/>
                    </a:cubicBezTo>
                    <a:close/>
                  </a:path>
                </a:pathLst>
              </a:custGeom>
              <a:grpFill/>
              <a:ln w="9525" cap="flat">
                <a:noFill/>
                <a:prstDash val="solid"/>
                <a:miter/>
              </a:ln>
            </p:spPr>
            <p:txBody>
              <a:bodyPr rtlCol="0" anchor="ctr"/>
              <a:lstStyle/>
              <a:p>
                <a:endParaRPr lang="en-US"/>
              </a:p>
            </p:txBody>
          </p:sp>
          <p:sp>
            <p:nvSpPr>
              <p:cNvPr id="143" name="Freeform: Shape 130">
                <a:extLst>
                  <a:ext uri="{FF2B5EF4-FFF2-40B4-BE49-F238E27FC236}">
                    <a16:creationId xmlns:a16="http://schemas.microsoft.com/office/drawing/2014/main" id="{A2A47191-C1C1-4543-90C4-F18320F57BBE}"/>
                  </a:ext>
                </a:extLst>
              </p:cNvPr>
              <p:cNvSpPr/>
              <p:nvPr/>
            </p:nvSpPr>
            <p:spPr>
              <a:xfrm>
                <a:off x="5640229" y="3940016"/>
                <a:ext cx="19050" cy="19050"/>
              </a:xfrm>
              <a:custGeom>
                <a:avLst/>
                <a:gdLst>
                  <a:gd name="connsiteX0" fmla="*/ 12859 w 19050"/>
                  <a:gd name="connsiteY0" fmla="*/ 7144 h 19050"/>
                  <a:gd name="connsiteX1" fmla="*/ 7144 w 19050"/>
                  <a:gd name="connsiteY1" fmla="*/ 12859 h 19050"/>
                  <a:gd name="connsiteX2" fmla="*/ 12859 w 19050"/>
                  <a:gd name="connsiteY2" fmla="*/ 18574 h 19050"/>
                  <a:gd name="connsiteX3" fmla="*/ 18574 w 19050"/>
                  <a:gd name="connsiteY3" fmla="*/ 12859 h 19050"/>
                  <a:gd name="connsiteX4" fmla="*/ 12859 w 19050"/>
                  <a:gd name="connsiteY4" fmla="*/ 7144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2859" y="7144"/>
                    </a:moveTo>
                    <a:cubicBezTo>
                      <a:pt x="10001" y="7144"/>
                      <a:pt x="7144" y="10001"/>
                      <a:pt x="7144" y="12859"/>
                    </a:cubicBezTo>
                    <a:cubicBezTo>
                      <a:pt x="7144" y="15716"/>
                      <a:pt x="10001" y="18574"/>
                      <a:pt x="12859" y="18574"/>
                    </a:cubicBezTo>
                    <a:cubicBezTo>
                      <a:pt x="15716" y="18574"/>
                      <a:pt x="18574" y="15716"/>
                      <a:pt x="18574" y="12859"/>
                    </a:cubicBezTo>
                    <a:cubicBezTo>
                      <a:pt x="18574" y="10001"/>
                      <a:pt x="15716" y="7144"/>
                      <a:pt x="12859" y="7144"/>
                    </a:cubicBezTo>
                    <a:close/>
                  </a:path>
                </a:pathLst>
              </a:custGeom>
              <a:grpFill/>
              <a:ln w="9525" cap="flat">
                <a:noFill/>
                <a:prstDash val="solid"/>
                <a:miter/>
              </a:ln>
            </p:spPr>
            <p:txBody>
              <a:bodyPr rtlCol="0" anchor="ctr"/>
              <a:lstStyle/>
              <a:p>
                <a:endParaRPr lang="en-US"/>
              </a:p>
            </p:txBody>
          </p:sp>
          <p:sp>
            <p:nvSpPr>
              <p:cNvPr id="144" name="Freeform: Shape 131">
                <a:extLst>
                  <a:ext uri="{FF2B5EF4-FFF2-40B4-BE49-F238E27FC236}">
                    <a16:creationId xmlns:a16="http://schemas.microsoft.com/office/drawing/2014/main" id="{4938CD08-6EEE-814D-B731-4244E4C4D0FF}"/>
                  </a:ext>
                </a:extLst>
              </p:cNvPr>
              <p:cNvSpPr/>
              <p:nvPr/>
            </p:nvSpPr>
            <p:spPr>
              <a:xfrm>
                <a:off x="5954554" y="3885724"/>
                <a:ext cx="47625" cy="38100"/>
              </a:xfrm>
              <a:custGeom>
                <a:avLst/>
                <a:gdLst>
                  <a:gd name="connsiteX0" fmla="*/ 7144 w 47625"/>
                  <a:gd name="connsiteY0" fmla="*/ 17621 h 38100"/>
                  <a:gd name="connsiteX1" fmla="*/ 14764 w 47625"/>
                  <a:gd name="connsiteY1" fmla="*/ 25241 h 38100"/>
                  <a:gd name="connsiteX2" fmla="*/ 16669 w 47625"/>
                  <a:gd name="connsiteY2" fmla="*/ 25241 h 38100"/>
                  <a:gd name="connsiteX3" fmla="*/ 29051 w 47625"/>
                  <a:gd name="connsiteY3" fmla="*/ 33814 h 38100"/>
                  <a:gd name="connsiteX4" fmla="*/ 42386 w 47625"/>
                  <a:gd name="connsiteY4" fmla="*/ 20479 h 38100"/>
                  <a:gd name="connsiteX5" fmla="*/ 29051 w 47625"/>
                  <a:gd name="connsiteY5" fmla="*/ 7144 h 38100"/>
                  <a:gd name="connsiteX6" fmla="*/ 18574 w 47625"/>
                  <a:gd name="connsiteY6" fmla="*/ 11906 h 38100"/>
                  <a:gd name="connsiteX7" fmla="*/ 14764 w 47625"/>
                  <a:gd name="connsiteY7" fmla="*/ 10954 h 38100"/>
                  <a:gd name="connsiteX8" fmla="*/ 7144 w 47625"/>
                  <a:gd name="connsiteY8" fmla="*/ 17621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7144" y="17621"/>
                    </a:moveTo>
                    <a:cubicBezTo>
                      <a:pt x="7144" y="21431"/>
                      <a:pt x="10001" y="25241"/>
                      <a:pt x="14764" y="25241"/>
                    </a:cubicBezTo>
                    <a:cubicBezTo>
                      <a:pt x="15716" y="25241"/>
                      <a:pt x="15716" y="25241"/>
                      <a:pt x="16669" y="25241"/>
                    </a:cubicBezTo>
                    <a:cubicBezTo>
                      <a:pt x="18574" y="30004"/>
                      <a:pt x="23336" y="33814"/>
                      <a:pt x="29051" y="33814"/>
                    </a:cubicBezTo>
                    <a:cubicBezTo>
                      <a:pt x="36671" y="33814"/>
                      <a:pt x="42386" y="28099"/>
                      <a:pt x="42386" y="20479"/>
                    </a:cubicBezTo>
                    <a:cubicBezTo>
                      <a:pt x="42386" y="12859"/>
                      <a:pt x="36671" y="7144"/>
                      <a:pt x="29051" y="7144"/>
                    </a:cubicBezTo>
                    <a:cubicBezTo>
                      <a:pt x="25241" y="7144"/>
                      <a:pt x="21431" y="9049"/>
                      <a:pt x="18574" y="11906"/>
                    </a:cubicBezTo>
                    <a:cubicBezTo>
                      <a:pt x="17621" y="10954"/>
                      <a:pt x="15716" y="10954"/>
                      <a:pt x="14764" y="10954"/>
                    </a:cubicBezTo>
                    <a:cubicBezTo>
                      <a:pt x="10954" y="10001"/>
                      <a:pt x="7144" y="13811"/>
                      <a:pt x="7144" y="17621"/>
                    </a:cubicBezTo>
                    <a:close/>
                  </a:path>
                </a:pathLst>
              </a:custGeom>
              <a:grpFill/>
              <a:ln w="9525" cap="flat">
                <a:noFill/>
                <a:prstDash val="solid"/>
                <a:miter/>
              </a:ln>
            </p:spPr>
            <p:txBody>
              <a:bodyPr rtlCol="0" anchor="ctr"/>
              <a:lstStyle/>
              <a:p>
                <a:endParaRPr lang="en-US"/>
              </a:p>
            </p:txBody>
          </p:sp>
          <p:sp>
            <p:nvSpPr>
              <p:cNvPr id="145" name="Freeform: Shape 132">
                <a:extLst>
                  <a:ext uri="{FF2B5EF4-FFF2-40B4-BE49-F238E27FC236}">
                    <a16:creationId xmlns:a16="http://schemas.microsoft.com/office/drawing/2014/main" id="{B88161B8-A233-B848-A20D-C95B50CE74E0}"/>
                  </a:ext>
                </a:extLst>
              </p:cNvPr>
              <p:cNvSpPr/>
              <p:nvPr/>
            </p:nvSpPr>
            <p:spPr>
              <a:xfrm>
                <a:off x="6050756" y="3398044"/>
                <a:ext cx="19050" cy="19050"/>
              </a:xfrm>
              <a:custGeom>
                <a:avLst/>
                <a:gdLst>
                  <a:gd name="connsiteX0" fmla="*/ 16669 w 19050"/>
                  <a:gd name="connsiteY0" fmla="*/ 11906 h 19050"/>
                  <a:gd name="connsiteX1" fmla="*/ 11906 w 19050"/>
                  <a:gd name="connsiteY1" fmla="*/ 7144 h 19050"/>
                  <a:gd name="connsiteX2" fmla="*/ 7144 w 19050"/>
                  <a:gd name="connsiteY2" fmla="*/ 11906 h 19050"/>
                  <a:gd name="connsiteX3" fmla="*/ 11906 w 19050"/>
                  <a:gd name="connsiteY3" fmla="*/ 16669 h 19050"/>
                  <a:gd name="connsiteX4" fmla="*/ 16669 w 19050"/>
                  <a:gd name="connsiteY4" fmla="*/ 1190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6669" y="11906"/>
                    </a:moveTo>
                    <a:cubicBezTo>
                      <a:pt x="16669" y="9049"/>
                      <a:pt x="14764" y="7144"/>
                      <a:pt x="11906" y="7144"/>
                    </a:cubicBezTo>
                    <a:cubicBezTo>
                      <a:pt x="9049" y="7144"/>
                      <a:pt x="7144" y="9049"/>
                      <a:pt x="7144" y="11906"/>
                    </a:cubicBezTo>
                    <a:cubicBezTo>
                      <a:pt x="7144" y="14764"/>
                      <a:pt x="9049" y="16669"/>
                      <a:pt x="11906" y="16669"/>
                    </a:cubicBezTo>
                    <a:cubicBezTo>
                      <a:pt x="14764" y="17621"/>
                      <a:pt x="16669" y="14764"/>
                      <a:pt x="16669" y="11906"/>
                    </a:cubicBezTo>
                    <a:close/>
                  </a:path>
                </a:pathLst>
              </a:custGeom>
              <a:grpFill/>
              <a:ln w="9525" cap="flat">
                <a:noFill/>
                <a:prstDash val="solid"/>
                <a:miter/>
              </a:ln>
            </p:spPr>
            <p:txBody>
              <a:bodyPr rtlCol="0" anchor="ctr"/>
              <a:lstStyle/>
              <a:p>
                <a:endParaRPr lang="en-US"/>
              </a:p>
            </p:txBody>
          </p:sp>
          <p:sp>
            <p:nvSpPr>
              <p:cNvPr id="146" name="Freeform: Shape 133">
                <a:extLst>
                  <a:ext uri="{FF2B5EF4-FFF2-40B4-BE49-F238E27FC236}">
                    <a16:creationId xmlns:a16="http://schemas.microsoft.com/office/drawing/2014/main" id="{C7FF88B4-8A4B-B649-A523-EBBDE6AC6F8D}"/>
                  </a:ext>
                </a:extLst>
              </p:cNvPr>
              <p:cNvSpPr/>
              <p:nvPr/>
            </p:nvSpPr>
            <p:spPr>
              <a:xfrm>
                <a:off x="5799296" y="4277201"/>
                <a:ext cx="142875" cy="123825"/>
              </a:xfrm>
              <a:custGeom>
                <a:avLst/>
                <a:gdLst>
                  <a:gd name="connsiteX0" fmla="*/ 109061 w 142875"/>
                  <a:gd name="connsiteY0" fmla="*/ 26194 h 123825"/>
                  <a:gd name="connsiteX1" fmla="*/ 95726 w 142875"/>
                  <a:gd name="connsiteY1" fmla="*/ 29051 h 123825"/>
                  <a:gd name="connsiteX2" fmla="*/ 81439 w 142875"/>
                  <a:gd name="connsiteY2" fmla="*/ 25241 h 123825"/>
                  <a:gd name="connsiteX3" fmla="*/ 79534 w 142875"/>
                  <a:gd name="connsiteY3" fmla="*/ 25241 h 123825"/>
                  <a:gd name="connsiteX4" fmla="*/ 82391 w 142875"/>
                  <a:gd name="connsiteY4" fmla="*/ 17621 h 123825"/>
                  <a:gd name="connsiteX5" fmla="*/ 71914 w 142875"/>
                  <a:gd name="connsiteY5" fmla="*/ 7144 h 123825"/>
                  <a:gd name="connsiteX6" fmla="*/ 61436 w 142875"/>
                  <a:gd name="connsiteY6" fmla="*/ 17621 h 123825"/>
                  <a:gd name="connsiteX7" fmla="*/ 69056 w 142875"/>
                  <a:gd name="connsiteY7" fmla="*/ 28099 h 123825"/>
                  <a:gd name="connsiteX8" fmla="*/ 52864 w 142875"/>
                  <a:gd name="connsiteY8" fmla="*/ 47149 h 123825"/>
                  <a:gd name="connsiteX9" fmla="*/ 49054 w 142875"/>
                  <a:gd name="connsiteY9" fmla="*/ 46196 h 123825"/>
                  <a:gd name="connsiteX10" fmla="*/ 48101 w 142875"/>
                  <a:gd name="connsiteY10" fmla="*/ 45244 h 123825"/>
                  <a:gd name="connsiteX11" fmla="*/ 55721 w 142875"/>
                  <a:gd name="connsiteY11" fmla="*/ 30956 h 123825"/>
                  <a:gd name="connsiteX12" fmla="*/ 39529 w 142875"/>
                  <a:gd name="connsiteY12" fmla="*/ 14764 h 123825"/>
                  <a:gd name="connsiteX13" fmla="*/ 23336 w 142875"/>
                  <a:gd name="connsiteY13" fmla="*/ 30956 h 123825"/>
                  <a:gd name="connsiteX14" fmla="*/ 23336 w 142875"/>
                  <a:gd name="connsiteY14" fmla="*/ 34766 h 123825"/>
                  <a:gd name="connsiteX15" fmla="*/ 7144 w 142875"/>
                  <a:gd name="connsiteY15" fmla="*/ 55721 h 123825"/>
                  <a:gd name="connsiteX16" fmla="*/ 25241 w 142875"/>
                  <a:gd name="connsiteY16" fmla="*/ 76676 h 123825"/>
                  <a:gd name="connsiteX17" fmla="*/ 34766 w 142875"/>
                  <a:gd name="connsiteY17" fmla="*/ 87154 h 123825"/>
                  <a:gd name="connsiteX18" fmla="*/ 34766 w 142875"/>
                  <a:gd name="connsiteY18" fmla="*/ 90011 h 123825"/>
                  <a:gd name="connsiteX19" fmla="*/ 58579 w 142875"/>
                  <a:gd name="connsiteY19" fmla="*/ 113824 h 123825"/>
                  <a:gd name="connsiteX20" fmla="*/ 81439 w 142875"/>
                  <a:gd name="connsiteY20" fmla="*/ 94774 h 123825"/>
                  <a:gd name="connsiteX21" fmla="*/ 82391 w 142875"/>
                  <a:gd name="connsiteY21" fmla="*/ 94774 h 123825"/>
                  <a:gd name="connsiteX22" fmla="*/ 80486 w 142875"/>
                  <a:gd name="connsiteY22" fmla="*/ 100489 h 123825"/>
                  <a:gd name="connsiteX23" fmla="*/ 79534 w 142875"/>
                  <a:gd name="connsiteY23" fmla="*/ 104299 h 123825"/>
                  <a:gd name="connsiteX24" fmla="*/ 80486 w 142875"/>
                  <a:gd name="connsiteY24" fmla="*/ 109061 h 123825"/>
                  <a:gd name="connsiteX25" fmla="*/ 99536 w 142875"/>
                  <a:gd name="connsiteY25" fmla="*/ 123349 h 123825"/>
                  <a:gd name="connsiteX26" fmla="*/ 119539 w 142875"/>
                  <a:gd name="connsiteY26" fmla="*/ 103346 h 123825"/>
                  <a:gd name="connsiteX27" fmla="*/ 110014 w 142875"/>
                  <a:gd name="connsiteY27" fmla="*/ 87154 h 123825"/>
                  <a:gd name="connsiteX28" fmla="*/ 139541 w 142875"/>
                  <a:gd name="connsiteY28" fmla="*/ 56674 h 123825"/>
                  <a:gd name="connsiteX29" fmla="*/ 109061 w 142875"/>
                  <a:gd name="connsiteY29" fmla="*/ 26194 h 123825"/>
                  <a:gd name="connsiteX30" fmla="*/ 94774 w 142875"/>
                  <a:gd name="connsiteY30" fmla="*/ 85249 h 123825"/>
                  <a:gd name="connsiteX31" fmla="*/ 94774 w 142875"/>
                  <a:gd name="connsiteY31" fmla="*/ 84296 h 123825"/>
                  <a:gd name="connsiteX32" fmla="*/ 96679 w 142875"/>
                  <a:gd name="connsiteY32" fmla="*/ 85249 h 123825"/>
                  <a:gd name="connsiteX33" fmla="*/ 94774 w 142875"/>
                  <a:gd name="connsiteY33" fmla="*/ 85249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2875" h="123825">
                    <a:moveTo>
                      <a:pt x="109061" y="26194"/>
                    </a:moveTo>
                    <a:cubicBezTo>
                      <a:pt x="104299" y="26194"/>
                      <a:pt x="99536" y="27146"/>
                      <a:pt x="95726" y="29051"/>
                    </a:cubicBezTo>
                    <a:cubicBezTo>
                      <a:pt x="91916" y="27146"/>
                      <a:pt x="87154" y="25241"/>
                      <a:pt x="81439" y="25241"/>
                    </a:cubicBezTo>
                    <a:cubicBezTo>
                      <a:pt x="80486" y="25241"/>
                      <a:pt x="79534" y="25241"/>
                      <a:pt x="79534" y="25241"/>
                    </a:cubicBezTo>
                    <a:cubicBezTo>
                      <a:pt x="81439" y="23336"/>
                      <a:pt x="82391" y="20479"/>
                      <a:pt x="82391" y="17621"/>
                    </a:cubicBezTo>
                    <a:cubicBezTo>
                      <a:pt x="82391" y="11906"/>
                      <a:pt x="77629" y="7144"/>
                      <a:pt x="71914" y="7144"/>
                    </a:cubicBezTo>
                    <a:cubicBezTo>
                      <a:pt x="66199" y="7144"/>
                      <a:pt x="61436" y="11906"/>
                      <a:pt x="61436" y="17621"/>
                    </a:cubicBezTo>
                    <a:cubicBezTo>
                      <a:pt x="61436" y="22384"/>
                      <a:pt x="65246" y="26194"/>
                      <a:pt x="69056" y="28099"/>
                    </a:cubicBezTo>
                    <a:cubicBezTo>
                      <a:pt x="61436" y="31909"/>
                      <a:pt x="55721" y="38576"/>
                      <a:pt x="52864" y="47149"/>
                    </a:cubicBezTo>
                    <a:cubicBezTo>
                      <a:pt x="51911" y="47149"/>
                      <a:pt x="50006" y="46196"/>
                      <a:pt x="49054" y="46196"/>
                    </a:cubicBezTo>
                    <a:cubicBezTo>
                      <a:pt x="49054" y="46196"/>
                      <a:pt x="49054" y="45244"/>
                      <a:pt x="48101" y="45244"/>
                    </a:cubicBezTo>
                    <a:cubicBezTo>
                      <a:pt x="52864" y="42386"/>
                      <a:pt x="55721" y="37624"/>
                      <a:pt x="55721" y="30956"/>
                    </a:cubicBezTo>
                    <a:cubicBezTo>
                      <a:pt x="55721" y="22384"/>
                      <a:pt x="48101" y="14764"/>
                      <a:pt x="39529" y="14764"/>
                    </a:cubicBezTo>
                    <a:cubicBezTo>
                      <a:pt x="30956" y="14764"/>
                      <a:pt x="23336" y="22384"/>
                      <a:pt x="23336" y="30956"/>
                    </a:cubicBezTo>
                    <a:cubicBezTo>
                      <a:pt x="23336" y="31909"/>
                      <a:pt x="23336" y="33814"/>
                      <a:pt x="23336" y="34766"/>
                    </a:cubicBezTo>
                    <a:cubicBezTo>
                      <a:pt x="13811" y="36671"/>
                      <a:pt x="7144" y="45244"/>
                      <a:pt x="7144" y="55721"/>
                    </a:cubicBezTo>
                    <a:cubicBezTo>
                      <a:pt x="7144" y="66199"/>
                      <a:pt x="14764" y="75724"/>
                      <a:pt x="25241" y="76676"/>
                    </a:cubicBezTo>
                    <a:cubicBezTo>
                      <a:pt x="27146" y="81439"/>
                      <a:pt x="30004" y="85249"/>
                      <a:pt x="34766" y="87154"/>
                    </a:cubicBezTo>
                    <a:cubicBezTo>
                      <a:pt x="34766" y="88106"/>
                      <a:pt x="34766" y="89059"/>
                      <a:pt x="34766" y="90011"/>
                    </a:cubicBezTo>
                    <a:cubicBezTo>
                      <a:pt x="34766" y="103346"/>
                      <a:pt x="45244" y="113824"/>
                      <a:pt x="58579" y="113824"/>
                    </a:cubicBezTo>
                    <a:cubicBezTo>
                      <a:pt x="70009" y="113824"/>
                      <a:pt x="79534" y="105251"/>
                      <a:pt x="81439" y="94774"/>
                    </a:cubicBezTo>
                    <a:cubicBezTo>
                      <a:pt x="81439" y="94774"/>
                      <a:pt x="82391" y="94774"/>
                      <a:pt x="82391" y="94774"/>
                    </a:cubicBezTo>
                    <a:cubicBezTo>
                      <a:pt x="81439" y="96679"/>
                      <a:pt x="80486" y="98584"/>
                      <a:pt x="80486" y="100489"/>
                    </a:cubicBezTo>
                    <a:cubicBezTo>
                      <a:pt x="79534" y="101441"/>
                      <a:pt x="79534" y="102394"/>
                      <a:pt x="79534" y="104299"/>
                    </a:cubicBezTo>
                    <a:cubicBezTo>
                      <a:pt x="79534" y="106204"/>
                      <a:pt x="80486" y="107156"/>
                      <a:pt x="80486" y="109061"/>
                    </a:cubicBezTo>
                    <a:cubicBezTo>
                      <a:pt x="82391" y="117634"/>
                      <a:pt x="90011" y="123349"/>
                      <a:pt x="99536" y="123349"/>
                    </a:cubicBezTo>
                    <a:cubicBezTo>
                      <a:pt x="110014" y="123349"/>
                      <a:pt x="119539" y="114776"/>
                      <a:pt x="119539" y="103346"/>
                    </a:cubicBezTo>
                    <a:cubicBezTo>
                      <a:pt x="119539" y="96679"/>
                      <a:pt x="115729" y="90011"/>
                      <a:pt x="110014" y="87154"/>
                    </a:cubicBezTo>
                    <a:cubicBezTo>
                      <a:pt x="126206" y="86201"/>
                      <a:pt x="139541" y="72866"/>
                      <a:pt x="139541" y="56674"/>
                    </a:cubicBezTo>
                    <a:cubicBezTo>
                      <a:pt x="140494" y="40481"/>
                      <a:pt x="126206" y="26194"/>
                      <a:pt x="109061" y="26194"/>
                    </a:cubicBezTo>
                    <a:close/>
                    <a:moveTo>
                      <a:pt x="94774" y="85249"/>
                    </a:moveTo>
                    <a:cubicBezTo>
                      <a:pt x="94774" y="85249"/>
                      <a:pt x="94774" y="84296"/>
                      <a:pt x="94774" y="84296"/>
                    </a:cubicBezTo>
                    <a:cubicBezTo>
                      <a:pt x="95726" y="84296"/>
                      <a:pt x="95726" y="85249"/>
                      <a:pt x="96679" y="85249"/>
                    </a:cubicBezTo>
                    <a:cubicBezTo>
                      <a:pt x="95726" y="85249"/>
                      <a:pt x="95726" y="85249"/>
                      <a:pt x="94774" y="85249"/>
                    </a:cubicBezTo>
                    <a:close/>
                  </a:path>
                </a:pathLst>
              </a:custGeom>
              <a:grpFill/>
              <a:ln w="9525" cap="flat">
                <a:noFill/>
                <a:prstDash val="solid"/>
                <a:miter/>
              </a:ln>
            </p:spPr>
            <p:txBody>
              <a:bodyPr rtlCol="0" anchor="ctr"/>
              <a:lstStyle/>
              <a:p>
                <a:endParaRPr lang="en-US"/>
              </a:p>
            </p:txBody>
          </p:sp>
          <p:sp>
            <p:nvSpPr>
              <p:cNvPr id="147" name="Freeform: Shape 134">
                <a:extLst>
                  <a:ext uri="{FF2B5EF4-FFF2-40B4-BE49-F238E27FC236}">
                    <a16:creationId xmlns:a16="http://schemas.microsoft.com/office/drawing/2014/main" id="{2CE08058-BF89-8B4D-A111-E3B8FE0EFB3B}"/>
                  </a:ext>
                </a:extLst>
              </p:cNvPr>
              <p:cNvSpPr/>
              <p:nvPr/>
            </p:nvSpPr>
            <p:spPr>
              <a:xfrm>
                <a:off x="5920160" y="3238976"/>
                <a:ext cx="28575" cy="28575"/>
              </a:xfrm>
              <a:custGeom>
                <a:avLst/>
                <a:gdLst>
                  <a:gd name="connsiteX0" fmla="*/ 18678 w 28575"/>
                  <a:gd name="connsiteY0" fmla="*/ 30004 h 28575"/>
                  <a:gd name="connsiteX1" fmla="*/ 30108 w 28575"/>
                  <a:gd name="connsiteY1" fmla="*/ 18574 h 28575"/>
                  <a:gd name="connsiteX2" fmla="*/ 18678 w 28575"/>
                  <a:gd name="connsiteY2" fmla="*/ 7144 h 28575"/>
                  <a:gd name="connsiteX3" fmla="*/ 7248 w 28575"/>
                  <a:gd name="connsiteY3" fmla="*/ 18574 h 28575"/>
                  <a:gd name="connsiteX4" fmla="*/ 18678 w 28575"/>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8678" y="30004"/>
                    </a:moveTo>
                    <a:cubicBezTo>
                      <a:pt x="25345" y="30004"/>
                      <a:pt x="30108" y="25241"/>
                      <a:pt x="30108" y="18574"/>
                    </a:cubicBezTo>
                    <a:cubicBezTo>
                      <a:pt x="30108" y="11906"/>
                      <a:pt x="25345" y="7144"/>
                      <a:pt x="18678" y="7144"/>
                    </a:cubicBezTo>
                    <a:cubicBezTo>
                      <a:pt x="12010" y="7144"/>
                      <a:pt x="7248" y="11906"/>
                      <a:pt x="7248" y="18574"/>
                    </a:cubicBezTo>
                    <a:cubicBezTo>
                      <a:pt x="6295" y="24289"/>
                      <a:pt x="12010" y="30004"/>
                      <a:pt x="18678" y="30004"/>
                    </a:cubicBezTo>
                    <a:close/>
                  </a:path>
                </a:pathLst>
              </a:custGeom>
              <a:grpFill/>
              <a:ln w="9525" cap="flat">
                <a:noFill/>
                <a:prstDash val="solid"/>
                <a:miter/>
              </a:ln>
            </p:spPr>
            <p:txBody>
              <a:bodyPr rtlCol="0" anchor="ctr"/>
              <a:lstStyle/>
              <a:p>
                <a:endParaRPr lang="en-US"/>
              </a:p>
            </p:txBody>
          </p:sp>
          <p:sp>
            <p:nvSpPr>
              <p:cNvPr id="148" name="Freeform: Shape 135">
                <a:extLst>
                  <a:ext uri="{FF2B5EF4-FFF2-40B4-BE49-F238E27FC236}">
                    <a16:creationId xmlns:a16="http://schemas.microsoft.com/office/drawing/2014/main" id="{603D1F41-C230-C44B-A04E-BB6C3670D67C}"/>
                  </a:ext>
                </a:extLst>
              </p:cNvPr>
              <p:cNvSpPr/>
              <p:nvPr/>
            </p:nvSpPr>
            <p:spPr>
              <a:xfrm>
                <a:off x="5753576" y="3219926"/>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5716" y="18574"/>
                      <a:pt x="18574" y="16669"/>
                      <a:pt x="18574" y="12859"/>
                    </a:cubicBezTo>
                    <a:close/>
                  </a:path>
                </a:pathLst>
              </a:custGeom>
              <a:grpFill/>
              <a:ln w="9525" cap="flat">
                <a:noFill/>
                <a:prstDash val="solid"/>
                <a:miter/>
              </a:ln>
            </p:spPr>
            <p:txBody>
              <a:bodyPr rtlCol="0" anchor="ctr"/>
              <a:lstStyle/>
              <a:p>
                <a:endParaRPr lang="en-US"/>
              </a:p>
            </p:txBody>
          </p:sp>
          <p:sp>
            <p:nvSpPr>
              <p:cNvPr id="149" name="Freeform: Shape 136">
                <a:extLst>
                  <a:ext uri="{FF2B5EF4-FFF2-40B4-BE49-F238E27FC236}">
                    <a16:creationId xmlns:a16="http://schemas.microsoft.com/office/drawing/2014/main" id="{14A40F15-9AF3-6248-9925-7DC57B5ABEEB}"/>
                  </a:ext>
                </a:extLst>
              </p:cNvPr>
              <p:cNvSpPr/>
              <p:nvPr/>
            </p:nvSpPr>
            <p:spPr>
              <a:xfrm>
                <a:off x="6035516" y="2895124"/>
                <a:ext cx="38100" cy="38100"/>
              </a:xfrm>
              <a:custGeom>
                <a:avLst/>
                <a:gdLst>
                  <a:gd name="connsiteX0" fmla="*/ 21431 w 38100"/>
                  <a:gd name="connsiteY0" fmla="*/ 7144 h 38100"/>
                  <a:gd name="connsiteX1" fmla="*/ 7144 w 38100"/>
                  <a:gd name="connsiteY1" fmla="*/ 21431 h 38100"/>
                  <a:gd name="connsiteX2" fmla="*/ 21431 w 38100"/>
                  <a:gd name="connsiteY2" fmla="*/ 35719 h 38100"/>
                  <a:gd name="connsiteX3" fmla="*/ 35719 w 38100"/>
                  <a:gd name="connsiteY3" fmla="*/ 21431 h 38100"/>
                  <a:gd name="connsiteX4" fmla="*/ 21431 w 38100"/>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21431" y="7144"/>
                    </a:moveTo>
                    <a:cubicBezTo>
                      <a:pt x="13811" y="7144"/>
                      <a:pt x="7144" y="13811"/>
                      <a:pt x="7144" y="21431"/>
                    </a:cubicBezTo>
                    <a:cubicBezTo>
                      <a:pt x="7144" y="29051"/>
                      <a:pt x="13811" y="35719"/>
                      <a:pt x="21431" y="35719"/>
                    </a:cubicBezTo>
                    <a:cubicBezTo>
                      <a:pt x="29051" y="35719"/>
                      <a:pt x="35719" y="29051"/>
                      <a:pt x="35719" y="21431"/>
                    </a:cubicBezTo>
                    <a:cubicBezTo>
                      <a:pt x="36671" y="13811"/>
                      <a:pt x="30004" y="7144"/>
                      <a:pt x="21431" y="7144"/>
                    </a:cubicBezTo>
                    <a:close/>
                  </a:path>
                </a:pathLst>
              </a:custGeom>
              <a:grpFill/>
              <a:ln w="9525" cap="flat">
                <a:noFill/>
                <a:prstDash val="solid"/>
                <a:miter/>
              </a:ln>
            </p:spPr>
            <p:txBody>
              <a:bodyPr rtlCol="0" anchor="ctr"/>
              <a:lstStyle/>
              <a:p>
                <a:endParaRPr lang="en-US"/>
              </a:p>
            </p:txBody>
          </p:sp>
          <p:sp>
            <p:nvSpPr>
              <p:cNvPr id="150" name="Freeform: Shape 137">
                <a:extLst>
                  <a:ext uri="{FF2B5EF4-FFF2-40B4-BE49-F238E27FC236}">
                    <a16:creationId xmlns:a16="http://schemas.microsoft.com/office/drawing/2014/main" id="{CC461A7D-8825-854A-8F69-C045F6364202}"/>
                  </a:ext>
                </a:extLst>
              </p:cNvPr>
              <p:cNvSpPr/>
              <p:nvPr/>
            </p:nvSpPr>
            <p:spPr>
              <a:xfrm>
                <a:off x="5612606" y="3429476"/>
                <a:ext cx="171450" cy="190500"/>
              </a:xfrm>
              <a:custGeom>
                <a:avLst/>
                <a:gdLst>
                  <a:gd name="connsiteX0" fmla="*/ 60484 w 171450"/>
                  <a:gd name="connsiteY0" fmla="*/ 172879 h 190500"/>
                  <a:gd name="connsiteX1" fmla="*/ 75724 w 171450"/>
                  <a:gd name="connsiteY1" fmla="*/ 188119 h 190500"/>
                  <a:gd name="connsiteX2" fmla="*/ 90964 w 171450"/>
                  <a:gd name="connsiteY2" fmla="*/ 172879 h 190500"/>
                  <a:gd name="connsiteX3" fmla="*/ 88106 w 171450"/>
                  <a:gd name="connsiteY3" fmla="*/ 164306 h 190500"/>
                  <a:gd name="connsiteX4" fmla="*/ 110966 w 171450"/>
                  <a:gd name="connsiteY4" fmla="*/ 131921 h 190500"/>
                  <a:gd name="connsiteX5" fmla="*/ 103346 w 171450"/>
                  <a:gd name="connsiteY5" fmla="*/ 110966 h 190500"/>
                  <a:gd name="connsiteX6" fmla="*/ 104299 w 171450"/>
                  <a:gd name="connsiteY6" fmla="*/ 102394 h 190500"/>
                  <a:gd name="connsiteX7" fmla="*/ 103346 w 171450"/>
                  <a:gd name="connsiteY7" fmla="*/ 94774 h 190500"/>
                  <a:gd name="connsiteX8" fmla="*/ 107156 w 171450"/>
                  <a:gd name="connsiteY8" fmla="*/ 94774 h 190500"/>
                  <a:gd name="connsiteX9" fmla="*/ 137636 w 171450"/>
                  <a:gd name="connsiteY9" fmla="*/ 70009 h 190500"/>
                  <a:gd name="connsiteX10" fmla="*/ 146209 w 171450"/>
                  <a:gd name="connsiteY10" fmla="*/ 71914 h 190500"/>
                  <a:gd name="connsiteX11" fmla="*/ 172879 w 171450"/>
                  <a:gd name="connsiteY11" fmla="*/ 45244 h 190500"/>
                  <a:gd name="connsiteX12" fmla="*/ 146209 w 171450"/>
                  <a:gd name="connsiteY12" fmla="*/ 18574 h 190500"/>
                  <a:gd name="connsiteX13" fmla="*/ 139541 w 171450"/>
                  <a:gd name="connsiteY13" fmla="*/ 19526 h 190500"/>
                  <a:gd name="connsiteX14" fmla="*/ 124301 w 171450"/>
                  <a:gd name="connsiteY14" fmla="*/ 7144 h 190500"/>
                  <a:gd name="connsiteX15" fmla="*/ 108109 w 171450"/>
                  <a:gd name="connsiteY15" fmla="*/ 23336 h 190500"/>
                  <a:gd name="connsiteX16" fmla="*/ 111919 w 171450"/>
                  <a:gd name="connsiteY16" fmla="*/ 33814 h 190500"/>
                  <a:gd name="connsiteX17" fmla="*/ 106204 w 171450"/>
                  <a:gd name="connsiteY17" fmla="*/ 32861 h 190500"/>
                  <a:gd name="connsiteX18" fmla="*/ 90964 w 171450"/>
                  <a:gd name="connsiteY18" fmla="*/ 36671 h 190500"/>
                  <a:gd name="connsiteX19" fmla="*/ 63341 w 171450"/>
                  <a:gd name="connsiteY19" fmla="*/ 19526 h 190500"/>
                  <a:gd name="connsiteX20" fmla="*/ 31909 w 171450"/>
                  <a:gd name="connsiteY20" fmla="*/ 50959 h 190500"/>
                  <a:gd name="connsiteX21" fmla="*/ 39529 w 171450"/>
                  <a:gd name="connsiteY21" fmla="*/ 70961 h 190500"/>
                  <a:gd name="connsiteX22" fmla="*/ 24289 w 171450"/>
                  <a:gd name="connsiteY22" fmla="*/ 101441 h 190500"/>
                  <a:gd name="connsiteX23" fmla="*/ 24289 w 171450"/>
                  <a:gd name="connsiteY23" fmla="*/ 105251 h 190500"/>
                  <a:gd name="connsiteX24" fmla="*/ 18574 w 171450"/>
                  <a:gd name="connsiteY24" fmla="*/ 103346 h 190500"/>
                  <a:gd name="connsiteX25" fmla="*/ 7144 w 171450"/>
                  <a:gd name="connsiteY25" fmla="*/ 114776 h 190500"/>
                  <a:gd name="connsiteX26" fmla="*/ 18574 w 171450"/>
                  <a:gd name="connsiteY26" fmla="*/ 126206 h 190500"/>
                  <a:gd name="connsiteX27" fmla="*/ 26194 w 171450"/>
                  <a:gd name="connsiteY27" fmla="*/ 123349 h 190500"/>
                  <a:gd name="connsiteX28" fmla="*/ 41434 w 171450"/>
                  <a:gd name="connsiteY28" fmla="*/ 140494 h 190500"/>
                  <a:gd name="connsiteX29" fmla="*/ 62389 w 171450"/>
                  <a:gd name="connsiteY29" fmla="*/ 164306 h 190500"/>
                  <a:gd name="connsiteX30" fmla="*/ 60484 w 171450"/>
                  <a:gd name="connsiteY30" fmla="*/ 17287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1450" h="190500">
                    <a:moveTo>
                      <a:pt x="60484" y="172879"/>
                    </a:moveTo>
                    <a:cubicBezTo>
                      <a:pt x="60484" y="181451"/>
                      <a:pt x="67151" y="188119"/>
                      <a:pt x="75724" y="188119"/>
                    </a:cubicBezTo>
                    <a:cubicBezTo>
                      <a:pt x="84296" y="188119"/>
                      <a:pt x="90964" y="181451"/>
                      <a:pt x="90964" y="172879"/>
                    </a:cubicBezTo>
                    <a:cubicBezTo>
                      <a:pt x="90964" y="169069"/>
                      <a:pt x="90011" y="166211"/>
                      <a:pt x="88106" y="164306"/>
                    </a:cubicBezTo>
                    <a:cubicBezTo>
                      <a:pt x="101441" y="159544"/>
                      <a:pt x="110966" y="147161"/>
                      <a:pt x="110966" y="131921"/>
                    </a:cubicBezTo>
                    <a:cubicBezTo>
                      <a:pt x="110966" y="124301"/>
                      <a:pt x="108109" y="116681"/>
                      <a:pt x="103346" y="110966"/>
                    </a:cubicBezTo>
                    <a:cubicBezTo>
                      <a:pt x="104299" y="108109"/>
                      <a:pt x="104299" y="105251"/>
                      <a:pt x="104299" y="102394"/>
                    </a:cubicBezTo>
                    <a:cubicBezTo>
                      <a:pt x="104299" y="99536"/>
                      <a:pt x="104299" y="97631"/>
                      <a:pt x="103346" y="94774"/>
                    </a:cubicBezTo>
                    <a:cubicBezTo>
                      <a:pt x="104299" y="94774"/>
                      <a:pt x="106204" y="94774"/>
                      <a:pt x="107156" y="94774"/>
                    </a:cubicBezTo>
                    <a:cubicBezTo>
                      <a:pt x="122396" y="94774"/>
                      <a:pt x="134779" y="84296"/>
                      <a:pt x="137636" y="70009"/>
                    </a:cubicBezTo>
                    <a:cubicBezTo>
                      <a:pt x="140494" y="70961"/>
                      <a:pt x="143351" y="71914"/>
                      <a:pt x="146209" y="71914"/>
                    </a:cubicBezTo>
                    <a:cubicBezTo>
                      <a:pt x="161449" y="71914"/>
                      <a:pt x="172879" y="59531"/>
                      <a:pt x="172879" y="45244"/>
                    </a:cubicBezTo>
                    <a:cubicBezTo>
                      <a:pt x="172879" y="30956"/>
                      <a:pt x="160496" y="18574"/>
                      <a:pt x="146209" y="18574"/>
                    </a:cubicBezTo>
                    <a:cubicBezTo>
                      <a:pt x="144304" y="18574"/>
                      <a:pt x="141446" y="18574"/>
                      <a:pt x="139541" y="19526"/>
                    </a:cubicBezTo>
                    <a:cubicBezTo>
                      <a:pt x="138589" y="11906"/>
                      <a:pt x="131921" y="7144"/>
                      <a:pt x="124301" y="7144"/>
                    </a:cubicBezTo>
                    <a:cubicBezTo>
                      <a:pt x="115729" y="7144"/>
                      <a:pt x="108109" y="13811"/>
                      <a:pt x="108109" y="23336"/>
                    </a:cubicBezTo>
                    <a:cubicBezTo>
                      <a:pt x="108109" y="27146"/>
                      <a:pt x="110014" y="30956"/>
                      <a:pt x="111919" y="33814"/>
                    </a:cubicBezTo>
                    <a:cubicBezTo>
                      <a:pt x="110014" y="33814"/>
                      <a:pt x="108109" y="32861"/>
                      <a:pt x="106204" y="32861"/>
                    </a:cubicBezTo>
                    <a:cubicBezTo>
                      <a:pt x="100489" y="32861"/>
                      <a:pt x="95726" y="34766"/>
                      <a:pt x="90964" y="36671"/>
                    </a:cubicBezTo>
                    <a:cubicBezTo>
                      <a:pt x="85249" y="27146"/>
                      <a:pt x="75724" y="19526"/>
                      <a:pt x="63341" y="19526"/>
                    </a:cubicBezTo>
                    <a:cubicBezTo>
                      <a:pt x="46196" y="19526"/>
                      <a:pt x="31909" y="33814"/>
                      <a:pt x="31909" y="50959"/>
                    </a:cubicBezTo>
                    <a:cubicBezTo>
                      <a:pt x="31909" y="58579"/>
                      <a:pt x="34766" y="65246"/>
                      <a:pt x="39529" y="70961"/>
                    </a:cubicBezTo>
                    <a:cubicBezTo>
                      <a:pt x="30004" y="78581"/>
                      <a:pt x="24289" y="89059"/>
                      <a:pt x="24289" y="101441"/>
                    </a:cubicBezTo>
                    <a:cubicBezTo>
                      <a:pt x="24289" y="103346"/>
                      <a:pt x="24289" y="104299"/>
                      <a:pt x="24289" y="105251"/>
                    </a:cubicBezTo>
                    <a:cubicBezTo>
                      <a:pt x="22384" y="104299"/>
                      <a:pt x="20479" y="103346"/>
                      <a:pt x="18574" y="103346"/>
                    </a:cubicBezTo>
                    <a:cubicBezTo>
                      <a:pt x="12859" y="103346"/>
                      <a:pt x="7144" y="108109"/>
                      <a:pt x="7144" y="114776"/>
                    </a:cubicBezTo>
                    <a:cubicBezTo>
                      <a:pt x="7144" y="120491"/>
                      <a:pt x="11906" y="126206"/>
                      <a:pt x="18574" y="126206"/>
                    </a:cubicBezTo>
                    <a:cubicBezTo>
                      <a:pt x="21431" y="126206"/>
                      <a:pt x="24289" y="125254"/>
                      <a:pt x="26194" y="123349"/>
                    </a:cubicBezTo>
                    <a:cubicBezTo>
                      <a:pt x="28099" y="130969"/>
                      <a:pt x="33814" y="137636"/>
                      <a:pt x="41434" y="140494"/>
                    </a:cubicBezTo>
                    <a:cubicBezTo>
                      <a:pt x="44291" y="151924"/>
                      <a:pt x="51911" y="160496"/>
                      <a:pt x="62389" y="164306"/>
                    </a:cubicBezTo>
                    <a:cubicBezTo>
                      <a:pt x="61436" y="166211"/>
                      <a:pt x="60484" y="169069"/>
                      <a:pt x="60484" y="172879"/>
                    </a:cubicBezTo>
                    <a:close/>
                  </a:path>
                </a:pathLst>
              </a:custGeom>
              <a:grpFill/>
              <a:ln w="9525" cap="flat">
                <a:noFill/>
                <a:prstDash val="solid"/>
                <a:miter/>
              </a:ln>
            </p:spPr>
            <p:txBody>
              <a:bodyPr rtlCol="0" anchor="ctr"/>
              <a:lstStyle/>
              <a:p>
                <a:endParaRPr lang="en-US"/>
              </a:p>
            </p:txBody>
          </p:sp>
          <p:sp>
            <p:nvSpPr>
              <p:cNvPr id="151" name="Freeform: Shape 138">
                <a:extLst>
                  <a:ext uri="{FF2B5EF4-FFF2-40B4-BE49-F238E27FC236}">
                    <a16:creationId xmlns:a16="http://schemas.microsoft.com/office/drawing/2014/main" id="{6D36A1FE-3581-D74C-AF2C-76586B4BE78A}"/>
                  </a:ext>
                </a:extLst>
              </p:cNvPr>
              <p:cNvSpPr/>
              <p:nvPr/>
            </p:nvSpPr>
            <p:spPr>
              <a:xfrm>
                <a:off x="5805011" y="4197191"/>
                <a:ext cx="66675" cy="57150"/>
              </a:xfrm>
              <a:custGeom>
                <a:avLst/>
                <a:gdLst>
                  <a:gd name="connsiteX0" fmla="*/ 39529 w 66675"/>
                  <a:gd name="connsiteY0" fmla="*/ 50959 h 57150"/>
                  <a:gd name="connsiteX1" fmla="*/ 61436 w 66675"/>
                  <a:gd name="connsiteY1" fmla="*/ 29051 h 57150"/>
                  <a:gd name="connsiteX2" fmla="*/ 39529 w 66675"/>
                  <a:gd name="connsiteY2" fmla="*/ 7144 h 57150"/>
                  <a:gd name="connsiteX3" fmla="*/ 20479 w 66675"/>
                  <a:gd name="connsiteY3" fmla="*/ 17621 h 57150"/>
                  <a:gd name="connsiteX4" fmla="*/ 19526 w 66675"/>
                  <a:gd name="connsiteY4" fmla="*/ 17621 h 57150"/>
                  <a:gd name="connsiteX5" fmla="*/ 7144 w 66675"/>
                  <a:gd name="connsiteY5" fmla="*/ 30004 h 57150"/>
                  <a:gd name="connsiteX6" fmla="*/ 19526 w 66675"/>
                  <a:gd name="connsiteY6" fmla="*/ 42386 h 57150"/>
                  <a:gd name="connsiteX7" fmla="*/ 22384 w 66675"/>
                  <a:gd name="connsiteY7" fmla="*/ 41434 h 57150"/>
                  <a:gd name="connsiteX8" fmla="*/ 39529 w 66675"/>
                  <a:gd name="connsiteY8" fmla="*/ 5095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57150">
                    <a:moveTo>
                      <a:pt x="39529" y="50959"/>
                    </a:moveTo>
                    <a:cubicBezTo>
                      <a:pt x="51911" y="50959"/>
                      <a:pt x="61436" y="41434"/>
                      <a:pt x="61436" y="29051"/>
                    </a:cubicBezTo>
                    <a:cubicBezTo>
                      <a:pt x="61436" y="16669"/>
                      <a:pt x="51911" y="7144"/>
                      <a:pt x="39529" y="7144"/>
                    </a:cubicBezTo>
                    <a:cubicBezTo>
                      <a:pt x="31909" y="7144"/>
                      <a:pt x="24289" y="11906"/>
                      <a:pt x="20479" y="17621"/>
                    </a:cubicBezTo>
                    <a:cubicBezTo>
                      <a:pt x="20479" y="17621"/>
                      <a:pt x="20479" y="17621"/>
                      <a:pt x="19526" y="17621"/>
                    </a:cubicBezTo>
                    <a:cubicBezTo>
                      <a:pt x="12859" y="17621"/>
                      <a:pt x="7144" y="23336"/>
                      <a:pt x="7144" y="30004"/>
                    </a:cubicBezTo>
                    <a:cubicBezTo>
                      <a:pt x="7144" y="36671"/>
                      <a:pt x="12859" y="42386"/>
                      <a:pt x="19526" y="42386"/>
                    </a:cubicBezTo>
                    <a:cubicBezTo>
                      <a:pt x="20479" y="42386"/>
                      <a:pt x="21431" y="42386"/>
                      <a:pt x="22384" y="41434"/>
                    </a:cubicBezTo>
                    <a:cubicBezTo>
                      <a:pt x="27146" y="48101"/>
                      <a:pt x="32861" y="50959"/>
                      <a:pt x="39529" y="50959"/>
                    </a:cubicBezTo>
                    <a:close/>
                  </a:path>
                </a:pathLst>
              </a:custGeom>
              <a:grpFill/>
              <a:ln w="9525" cap="flat">
                <a:noFill/>
                <a:prstDash val="solid"/>
                <a:miter/>
              </a:ln>
            </p:spPr>
            <p:txBody>
              <a:bodyPr rtlCol="0" anchor="ctr"/>
              <a:lstStyle/>
              <a:p>
                <a:endParaRPr lang="en-US"/>
              </a:p>
            </p:txBody>
          </p:sp>
          <p:sp>
            <p:nvSpPr>
              <p:cNvPr id="152" name="Freeform: Shape 139">
                <a:extLst>
                  <a:ext uri="{FF2B5EF4-FFF2-40B4-BE49-F238E27FC236}">
                    <a16:creationId xmlns:a16="http://schemas.microsoft.com/office/drawing/2014/main" id="{C1F70CA3-6BFE-DC46-945B-EC5510CC201A}"/>
                  </a:ext>
                </a:extLst>
              </p:cNvPr>
              <p:cNvSpPr/>
              <p:nvPr/>
            </p:nvSpPr>
            <p:spPr>
              <a:xfrm>
                <a:off x="5743099" y="3115151"/>
                <a:ext cx="66675" cy="76200"/>
              </a:xfrm>
              <a:custGeom>
                <a:avLst/>
                <a:gdLst>
                  <a:gd name="connsiteX0" fmla="*/ 18574 w 66675"/>
                  <a:gd name="connsiteY0" fmla="*/ 56674 h 76200"/>
                  <a:gd name="connsiteX1" fmla="*/ 10954 w 66675"/>
                  <a:gd name="connsiteY1" fmla="*/ 67151 h 76200"/>
                  <a:gd name="connsiteX2" fmla="*/ 21431 w 66675"/>
                  <a:gd name="connsiteY2" fmla="*/ 77629 h 76200"/>
                  <a:gd name="connsiteX3" fmla="*/ 31909 w 66675"/>
                  <a:gd name="connsiteY3" fmla="*/ 67151 h 76200"/>
                  <a:gd name="connsiteX4" fmla="*/ 30956 w 66675"/>
                  <a:gd name="connsiteY4" fmla="*/ 62389 h 76200"/>
                  <a:gd name="connsiteX5" fmla="*/ 34766 w 66675"/>
                  <a:gd name="connsiteY5" fmla="*/ 62389 h 76200"/>
                  <a:gd name="connsiteX6" fmla="*/ 62389 w 66675"/>
                  <a:gd name="connsiteY6" fmla="*/ 34766 h 76200"/>
                  <a:gd name="connsiteX7" fmla="*/ 34766 w 66675"/>
                  <a:gd name="connsiteY7" fmla="*/ 7144 h 76200"/>
                  <a:gd name="connsiteX8" fmla="*/ 7144 w 66675"/>
                  <a:gd name="connsiteY8" fmla="*/ 34766 h 76200"/>
                  <a:gd name="connsiteX9" fmla="*/ 18574 w 66675"/>
                  <a:gd name="connsiteY9" fmla="*/ 5667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18574" y="56674"/>
                    </a:moveTo>
                    <a:cubicBezTo>
                      <a:pt x="13811" y="57626"/>
                      <a:pt x="10954" y="62389"/>
                      <a:pt x="10954" y="67151"/>
                    </a:cubicBezTo>
                    <a:cubicBezTo>
                      <a:pt x="10954" y="72866"/>
                      <a:pt x="15716" y="77629"/>
                      <a:pt x="21431" y="77629"/>
                    </a:cubicBezTo>
                    <a:cubicBezTo>
                      <a:pt x="27146" y="77629"/>
                      <a:pt x="31909" y="72866"/>
                      <a:pt x="31909" y="67151"/>
                    </a:cubicBezTo>
                    <a:cubicBezTo>
                      <a:pt x="31909" y="65246"/>
                      <a:pt x="30956" y="63341"/>
                      <a:pt x="30956" y="62389"/>
                    </a:cubicBezTo>
                    <a:cubicBezTo>
                      <a:pt x="31909" y="62389"/>
                      <a:pt x="33814" y="62389"/>
                      <a:pt x="34766" y="62389"/>
                    </a:cubicBezTo>
                    <a:cubicBezTo>
                      <a:pt x="50006" y="62389"/>
                      <a:pt x="62389" y="50006"/>
                      <a:pt x="62389" y="34766"/>
                    </a:cubicBezTo>
                    <a:cubicBezTo>
                      <a:pt x="62389" y="19526"/>
                      <a:pt x="50006" y="7144"/>
                      <a:pt x="34766" y="7144"/>
                    </a:cubicBezTo>
                    <a:cubicBezTo>
                      <a:pt x="19526" y="7144"/>
                      <a:pt x="7144" y="19526"/>
                      <a:pt x="7144" y="34766"/>
                    </a:cubicBezTo>
                    <a:cubicBezTo>
                      <a:pt x="7144" y="44291"/>
                      <a:pt x="11906" y="51911"/>
                      <a:pt x="18574" y="56674"/>
                    </a:cubicBezTo>
                    <a:close/>
                  </a:path>
                </a:pathLst>
              </a:custGeom>
              <a:grpFill/>
              <a:ln w="9525" cap="flat">
                <a:noFill/>
                <a:prstDash val="solid"/>
                <a:miter/>
              </a:ln>
            </p:spPr>
            <p:txBody>
              <a:bodyPr rtlCol="0" anchor="ctr"/>
              <a:lstStyle/>
              <a:p>
                <a:endParaRPr lang="en-US"/>
              </a:p>
            </p:txBody>
          </p:sp>
          <p:sp>
            <p:nvSpPr>
              <p:cNvPr id="153" name="Freeform: Shape 140">
                <a:extLst>
                  <a:ext uri="{FF2B5EF4-FFF2-40B4-BE49-F238E27FC236}">
                    <a16:creationId xmlns:a16="http://schemas.microsoft.com/office/drawing/2014/main" id="{13B5F6C0-23C6-1045-9061-11B74A8444B3}"/>
                  </a:ext>
                </a:extLst>
              </p:cNvPr>
              <p:cNvSpPr/>
              <p:nvPr/>
            </p:nvSpPr>
            <p:spPr>
              <a:xfrm>
                <a:off x="5561171" y="3656171"/>
                <a:ext cx="28575" cy="28575"/>
              </a:xfrm>
              <a:custGeom>
                <a:avLst/>
                <a:gdLst>
                  <a:gd name="connsiteX0" fmla="*/ 17621 w 28575"/>
                  <a:gd name="connsiteY0" fmla="*/ 7144 h 28575"/>
                  <a:gd name="connsiteX1" fmla="*/ 7144 w 28575"/>
                  <a:gd name="connsiteY1" fmla="*/ 17621 h 28575"/>
                  <a:gd name="connsiteX2" fmla="*/ 17621 w 28575"/>
                  <a:gd name="connsiteY2" fmla="*/ 28099 h 28575"/>
                  <a:gd name="connsiteX3" fmla="*/ 28099 w 28575"/>
                  <a:gd name="connsiteY3" fmla="*/ 17621 h 28575"/>
                  <a:gd name="connsiteX4" fmla="*/ 17621 w 28575"/>
                  <a:gd name="connsiteY4" fmla="*/ 714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7621" y="7144"/>
                    </a:moveTo>
                    <a:cubicBezTo>
                      <a:pt x="11906" y="7144"/>
                      <a:pt x="7144" y="11906"/>
                      <a:pt x="7144" y="17621"/>
                    </a:cubicBezTo>
                    <a:cubicBezTo>
                      <a:pt x="7144" y="23336"/>
                      <a:pt x="11906" y="28099"/>
                      <a:pt x="17621" y="28099"/>
                    </a:cubicBezTo>
                    <a:cubicBezTo>
                      <a:pt x="23336" y="28099"/>
                      <a:pt x="28099" y="23336"/>
                      <a:pt x="28099" y="17621"/>
                    </a:cubicBezTo>
                    <a:cubicBezTo>
                      <a:pt x="27146" y="11906"/>
                      <a:pt x="23336" y="7144"/>
                      <a:pt x="17621" y="7144"/>
                    </a:cubicBezTo>
                    <a:close/>
                  </a:path>
                </a:pathLst>
              </a:custGeom>
              <a:grpFill/>
              <a:ln w="9525" cap="flat">
                <a:noFill/>
                <a:prstDash val="solid"/>
                <a:miter/>
              </a:ln>
            </p:spPr>
            <p:txBody>
              <a:bodyPr rtlCol="0" anchor="ctr"/>
              <a:lstStyle/>
              <a:p>
                <a:endParaRPr lang="en-US"/>
              </a:p>
            </p:txBody>
          </p:sp>
          <p:sp>
            <p:nvSpPr>
              <p:cNvPr id="154" name="Freeform: Shape 141">
                <a:extLst>
                  <a:ext uri="{FF2B5EF4-FFF2-40B4-BE49-F238E27FC236}">
                    <a16:creationId xmlns:a16="http://schemas.microsoft.com/office/drawing/2014/main" id="{7DA4BA8D-C916-EC49-AA4E-19694557600E}"/>
                  </a:ext>
                </a:extLst>
              </p:cNvPr>
              <p:cNvSpPr/>
              <p:nvPr/>
            </p:nvSpPr>
            <p:spPr>
              <a:xfrm>
                <a:off x="5945981" y="3291038"/>
                <a:ext cx="47625" cy="38100"/>
              </a:xfrm>
              <a:custGeom>
                <a:avLst/>
                <a:gdLst>
                  <a:gd name="connsiteX0" fmla="*/ 7144 w 47625"/>
                  <a:gd name="connsiteY0" fmla="*/ 21757 h 38100"/>
                  <a:gd name="connsiteX1" fmla="*/ 23336 w 47625"/>
                  <a:gd name="connsiteY1" fmla="*/ 37950 h 38100"/>
                  <a:gd name="connsiteX2" fmla="*/ 37624 w 47625"/>
                  <a:gd name="connsiteY2" fmla="*/ 28425 h 38100"/>
                  <a:gd name="connsiteX3" fmla="*/ 47149 w 47625"/>
                  <a:gd name="connsiteY3" fmla="*/ 17947 h 38100"/>
                  <a:gd name="connsiteX4" fmla="*/ 36671 w 47625"/>
                  <a:gd name="connsiteY4" fmla="*/ 7470 h 38100"/>
                  <a:gd name="connsiteX5" fmla="*/ 30956 w 47625"/>
                  <a:gd name="connsiteY5" fmla="*/ 9375 h 38100"/>
                  <a:gd name="connsiteX6" fmla="*/ 23336 w 47625"/>
                  <a:gd name="connsiteY6" fmla="*/ 7470 h 38100"/>
                  <a:gd name="connsiteX7" fmla="*/ 7144 w 47625"/>
                  <a:gd name="connsiteY7" fmla="*/ 2175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7144" y="21757"/>
                    </a:moveTo>
                    <a:cubicBezTo>
                      <a:pt x="7144" y="30330"/>
                      <a:pt x="13811" y="37950"/>
                      <a:pt x="23336" y="37950"/>
                    </a:cubicBezTo>
                    <a:cubicBezTo>
                      <a:pt x="30004" y="37950"/>
                      <a:pt x="35719" y="34140"/>
                      <a:pt x="37624" y="28425"/>
                    </a:cubicBezTo>
                    <a:cubicBezTo>
                      <a:pt x="43339" y="27472"/>
                      <a:pt x="47149" y="23662"/>
                      <a:pt x="47149" y="17947"/>
                    </a:cubicBezTo>
                    <a:cubicBezTo>
                      <a:pt x="47149" y="12232"/>
                      <a:pt x="42386" y="7470"/>
                      <a:pt x="36671" y="7470"/>
                    </a:cubicBezTo>
                    <a:cubicBezTo>
                      <a:pt x="34766" y="7470"/>
                      <a:pt x="32861" y="8422"/>
                      <a:pt x="30956" y="9375"/>
                    </a:cubicBezTo>
                    <a:cubicBezTo>
                      <a:pt x="29051" y="8422"/>
                      <a:pt x="26194" y="7470"/>
                      <a:pt x="23336" y="7470"/>
                    </a:cubicBezTo>
                    <a:cubicBezTo>
                      <a:pt x="14764" y="5565"/>
                      <a:pt x="7144" y="12232"/>
                      <a:pt x="7144" y="21757"/>
                    </a:cubicBezTo>
                    <a:close/>
                  </a:path>
                </a:pathLst>
              </a:custGeom>
              <a:grpFill/>
              <a:ln w="9525" cap="flat">
                <a:noFill/>
                <a:prstDash val="solid"/>
                <a:miter/>
              </a:ln>
            </p:spPr>
            <p:txBody>
              <a:bodyPr rtlCol="0" anchor="ctr"/>
              <a:lstStyle/>
              <a:p>
                <a:endParaRPr lang="en-US"/>
              </a:p>
            </p:txBody>
          </p:sp>
          <p:sp>
            <p:nvSpPr>
              <p:cNvPr id="155" name="Freeform: Shape 142">
                <a:extLst>
                  <a:ext uri="{FF2B5EF4-FFF2-40B4-BE49-F238E27FC236}">
                    <a16:creationId xmlns:a16="http://schemas.microsoft.com/office/drawing/2014/main" id="{D91A85EC-218B-7D48-98CB-DFBAFC7BABC5}"/>
                  </a:ext>
                </a:extLst>
              </p:cNvPr>
              <p:cNvSpPr/>
              <p:nvPr/>
            </p:nvSpPr>
            <p:spPr>
              <a:xfrm>
                <a:off x="5442109" y="3480911"/>
                <a:ext cx="19050" cy="19050"/>
              </a:xfrm>
              <a:custGeom>
                <a:avLst/>
                <a:gdLst>
                  <a:gd name="connsiteX0" fmla="*/ 18574 w 19050"/>
                  <a:gd name="connsiteY0" fmla="*/ 12859 h 19050"/>
                  <a:gd name="connsiteX1" fmla="*/ 12859 w 19050"/>
                  <a:gd name="connsiteY1" fmla="*/ 7144 h 19050"/>
                  <a:gd name="connsiteX2" fmla="*/ 7144 w 19050"/>
                  <a:gd name="connsiteY2" fmla="*/ 12859 h 19050"/>
                  <a:gd name="connsiteX3" fmla="*/ 12859 w 19050"/>
                  <a:gd name="connsiteY3" fmla="*/ 18574 h 19050"/>
                  <a:gd name="connsiteX4" fmla="*/ 18574 w 19050"/>
                  <a:gd name="connsiteY4" fmla="*/ 12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8574" y="12859"/>
                    </a:moveTo>
                    <a:cubicBezTo>
                      <a:pt x="18574" y="10001"/>
                      <a:pt x="15716" y="7144"/>
                      <a:pt x="12859" y="7144"/>
                    </a:cubicBezTo>
                    <a:cubicBezTo>
                      <a:pt x="10001" y="7144"/>
                      <a:pt x="7144" y="10001"/>
                      <a:pt x="7144" y="12859"/>
                    </a:cubicBezTo>
                    <a:cubicBezTo>
                      <a:pt x="7144" y="15716"/>
                      <a:pt x="10001" y="18574"/>
                      <a:pt x="12859" y="18574"/>
                    </a:cubicBezTo>
                    <a:cubicBezTo>
                      <a:pt x="15716" y="18574"/>
                      <a:pt x="18574" y="15716"/>
                      <a:pt x="18574" y="12859"/>
                    </a:cubicBezTo>
                    <a:close/>
                  </a:path>
                </a:pathLst>
              </a:custGeom>
              <a:grpFill/>
              <a:ln w="9525" cap="flat">
                <a:noFill/>
                <a:prstDash val="solid"/>
                <a:miter/>
              </a:ln>
            </p:spPr>
            <p:txBody>
              <a:bodyPr rtlCol="0" anchor="ctr"/>
              <a:lstStyle/>
              <a:p>
                <a:endParaRPr lang="en-US"/>
              </a:p>
            </p:txBody>
          </p:sp>
          <p:sp>
            <p:nvSpPr>
              <p:cNvPr id="156" name="Freeform: Shape 143">
                <a:extLst>
                  <a:ext uri="{FF2B5EF4-FFF2-40B4-BE49-F238E27FC236}">
                    <a16:creationId xmlns:a16="http://schemas.microsoft.com/office/drawing/2014/main" id="{1BC95340-8D51-274E-AF8C-C8119A03BF11}"/>
                  </a:ext>
                </a:extLst>
              </p:cNvPr>
              <p:cNvSpPr/>
              <p:nvPr/>
            </p:nvSpPr>
            <p:spPr>
              <a:xfrm>
                <a:off x="5835491" y="2999899"/>
                <a:ext cx="47625" cy="38100"/>
              </a:xfrm>
              <a:custGeom>
                <a:avLst/>
                <a:gdLst>
                  <a:gd name="connsiteX0" fmla="*/ 15716 w 47625"/>
                  <a:gd name="connsiteY0" fmla="*/ 15716 h 38100"/>
                  <a:gd name="connsiteX1" fmla="*/ 7144 w 47625"/>
                  <a:gd name="connsiteY1" fmla="*/ 24289 h 38100"/>
                  <a:gd name="connsiteX2" fmla="*/ 15716 w 47625"/>
                  <a:gd name="connsiteY2" fmla="*/ 32861 h 38100"/>
                  <a:gd name="connsiteX3" fmla="*/ 21431 w 47625"/>
                  <a:gd name="connsiteY3" fmla="*/ 30956 h 38100"/>
                  <a:gd name="connsiteX4" fmla="*/ 33814 w 47625"/>
                  <a:gd name="connsiteY4" fmla="*/ 37624 h 38100"/>
                  <a:gd name="connsiteX5" fmla="*/ 49054 w 47625"/>
                  <a:gd name="connsiteY5" fmla="*/ 22384 h 38100"/>
                  <a:gd name="connsiteX6" fmla="*/ 33814 w 47625"/>
                  <a:gd name="connsiteY6" fmla="*/ 7144 h 38100"/>
                  <a:gd name="connsiteX7" fmla="*/ 18574 w 47625"/>
                  <a:gd name="connsiteY7" fmla="*/ 17621 h 38100"/>
                  <a:gd name="connsiteX8" fmla="*/ 15716 w 47625"/>
                  <a:gd name="connsiteY8" fmla="*/ 15716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38100">
                    <a:moveTo>
                      <a:pt x="15716" y="15716"/>
                    </a:moveTo>
                    <a:cubicBezTo>
                      <a:pt x="10954" y="15716"/>
                      <a:pt x="7144" y="19526"/>
                      <a:pt x="7144" y="24289"/>
                    </a:cubicBezTo>
                    <a:cubicBezTo>
                      <a:pt x="7144" y="29051"/>
                      <a:pt x="10954" y="32861"/>
                      <a:pt x="15716" y="32861"/>
                    </a:cubicBezTo>
                    <a:cubicBezTo>
                      <a:pt x="17621" y="32861"/>
                      <a:pt x="19526" y="31909"/>
                      <a:pt x="21431" y="30956"/>
                    </a:cubicBezTo>
                    <a:cubicBezTo>
                      <a:pt x="24289" y="34766"/>
                      <a:pt x="29051" y="37624"/>
                      <a:pt x="33814" y="37624"/>
                    </a:cubicBezTo>
                    <a:cubicBezTo>
                      <a:pt x="42386" y="37624"/>
                      <a:pt x="49054" y="30956"/>
                      <a:pt x="49054" y="22384"/>
                    </a:cubicBezTo>
                    <a:cubicBezTo>
                      <a:pt x="49054" y="13811"/>
                      <a:pt x="42386" y="7144"/>
                      <a:pt x="33814" y="7144"/>
                    </a:cubicBezTo>
                    <a:cubicBezTo>
                      <a:pt x="27146" y="7144"/>
                      <a:pt x="21431" y="11906"/>
                      <a:pt x="18574" y="17621"/>
                    </a:cubicBezTo>
                    <a:cubicBezTo>
                      <a:pt x="17621" y="15716"/>
                      <a:pt x="16669" y="15716"/>
                      <a:pt x="15716" y="15716"/>
                    </a:cubicBezTo>
                    <a:close/>
                  </a:path>
                </a:pathLst>
              </a:custGeom>
              <a:grpFill/>
              <a:ln w="9525" cap="flat">
                <a:noFill/>
                <a:prstDash val="solid"/>
                <a:miter/>
              </a:ln>
            </p:spPr>
            <p:txBody>
              <a:bodyPr rtlCol="0" anchor="ctr"/>
              <a:lstStyle/>
              <a:p>
                <a:endParaRPr lang="en-US"/>
              </a:p>
            </p:txBody>
          </p:sp>
          <p:sp>
            <p:nvSpPr>
              <p:cNvPr id="157" name="Freeform: Shape 144">
                <a:extLst>
                  <a:ext uri="{FF2B5EF4-FFF2-40B4-BE49-F238E27FC236}">
                    <a16:creationId xmlns:a16="http://schemas.microsoft.com/office/drawing/2014/main" id="{1DEB776B-8674-6C41-BCDF-3F3B5A537E9A}"/>
                  </a:ext>
                </a:extLst>
              </p:cNvPr>
              <p:cNvSpPr/>
              <p:nvPr/>
            </p:nvSpPr>
            <p:spPr>
              <a:xfrm>
                <a:off x="5748814" y="3547586"/>
                <a:ext cx="57150" cy="57150"/>
              </a:xfrm>
              <a:custGeom>
                <a:avLst/>
                <a:gdLst>
                  <a:gd name="connsiteX0" fmla="*/ 7144 w 57150"/>
                  <a:gd name="connsiteY0" fmla="*/ 30956 h 57150"/>
                  <a:gd name="connsiteX1" fmla="*/ 30956 w 57150"/>
                  <a:gd name="connsiteY1" fmla="*/ 54769 h 57150"/>
                  <a:gd name="connsiteX2" fmla="*/ 54769 w 57150"/>
                  <a:gd name="connsiteY2" fmla="*/ 30956 h 57150"/>
                  <a:gd name="connsiteX3" fmla="*/ 30956 w 57150"/>
                  <a:gd name="connsiteY3" fmla="*/ 7144 h 57150"/>
                  <a:gd name="connsiteX4" fmla="*/ 7144 w 57150"/>
                  <a:gd name="connsiteY4" fmla="*/ 30956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0956"/>
                    </a:moveTo>
                    <a:cubicBezTo>
                      <a:pt x="7144" y="44291"/>
                      <a:pt x="17621" y="54769"/>
                      <a:pt x="30956" y="54769"/>
                    </a:cubicBezTo>
                    <a:cubicBezTo>
                      <a:pt x="44291" y="54769"/>
                      <a:pt x="54769" y="44291"/>
                      <a:pt x="54769" y="30956"/>
                    </a:cubicBezTo>
                    <a:cubicBezTo>
                      <a:pt x="54769" y="17621"/>
                      <a:pt x="44291" y="7144"/>
                      <a:pt x="30956" y="7144"/>
                    </a:cubicBezTo>
                    <a:cubicBezTo>
                      <a:pt x="17621" y="7144"/>
                      <a:pt x="7144" y="17621"/>
                      <a:pt x="7144" y="30956"/>
                    </a:cubicBezTo>
                    <a:close/>
                  </a:path>
                </a:pathLst>
              </a:custGeom>
              <a:grpFill/>
              <a:ln w="9525" cap="flat">
                <a:noFill/>
                <a:prstDash val="solid"/>
                <a:miter/>
              </a:ln>
            </p:spPr>
            <p:txBody>
              <a:bodyPr rtlCol="0" anchor="ctr"/>
              <a:lstStyle/>
              <a:p>
                <a:endParaRPr lang="en-US"/>
              </a:p>
            </p:txBody>
          </p:sp>
          <p:sp>
            <p:nvSpPr>
              <p:cNvPr id="158" name="Freeform: Shape 145">
                <a:extLst>
                  <a:ext uri="{FF2B5EF4-FFF2-40B4-BE49-F238E27FC236}">
                    <a16:creationId xmlns:a16="http://schemas.microsoft.com/office/drawing/2014/main" id="{6056531D-553F-F84D-BD78-160CC5A10A03}"/>
                  </a:ext>
                </a:extLst>
              </p:cNvPr>
              <p:cNvSpPr/>
              <p:nvPr/>
            </p:nvSpPr>
            <p:spPr>
              <a:xfrm>
                <a:off x="6052661" y="2749336"/>
                <a:ext cx="57150" cy="57150"/>
              </a:xfrm>
              <a:custGeom>
                <a:avLst/>
                <a:gdLst>
                  <a:gd name="connsiteX0" fmla="*/ 7144 w 57150"/>
                  <a:gd name="connsiteY0" fmla="*/ 31012 h 57150"/>
                  <a:gd name="connsiteX1" fmla="*/ 30956 w 57150"/>
                  <a:gd name="connsiteY1" fmla="*/ 54824 h 57150"/>
                  <a:gd name="connsiteX2" fmla="*/ 54769 w 57150"/>
                  <a:gd name="connsiteY2" fmla="*/ 31012 h 57150"/>
                  <a:gd name="connsiteX3" fmla="*/ 30956 w 57150"/>
                  <a:gd name="connsiteY3" fmla="*/ 7199 h 57150"/>
                  <a:gd name="connsiteX4" fmla="*/ 7144 w 57150"/>
                  <a:gd name="connsiteY4" fmla="*/ 31012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7144" y="31012"/>
                    </a:moveTo>
                    <a:cubicBezTo>
                      <a:pt x="7144" y="44347"/>
                      <a:pt x="17621" y="54824"/>
                      <a:pt x="30956" y="54824"/>
                    </a:cubicBezTo>
                    <a:cubicBezTo>
                      <a:pt x="44291" y="54824"/>
                      <a:pt x="54769" y="44347"/>
                      <a:pt x="54769" y="31012"/>
                    </a:cubicBezTo>
                    <a:cubicBezTo>
                      <a:pt x="54769" y="17677"/>
                      <a:pt x="44291" y="7199"/>
                      <a:pt x="30956" y="7199"/>
                    </a:cubicBezTo>
                    <a:cubicBezTo>
                      <a:pt x="17621" y="6247"/>
                      <a:pt x="7144" y="17677"/>
                      <a:pt x="7144" y="31012"/>
                    </a:cubicBezTo>
                    <a:close/>
                  </a:path>
                </a:pathLst>
              </a:custGeom>
              <a:grpFill/>
              <a:ln w="9525" cap="flat">
                <a:noFill/>
                <a:prstDash val="solid"/>
                <a:miter/>
              </a:ln>
            </p:spPr>
            <p:txBody>
              <a:bodyPr rtlCol="0" anchor="ctr"/>
              <a:lstStyle/>
              <a:p>
                <a:endParaRPr lang="en-US"/>
              </a:p>
            </p:txBody>
          </p:sp>
          <p:sp>
            <p:nvSpPr>
              <p:cNvPr id="159" name="Freeform: Shape 146">
                <a:extLst>
                  <a:ext uri="{FF2B5EF4-FFF2-40B4-BE49-F238E27FC236}">
                    <a16:creationId xmlns:a16="http://schemas.microsoft.com/office/drawing/2014/main" id="{585D53AF-5586-9C4E-B191-EC5AB29E9CE5}"/>
                  </a:ext>
                </a:extLst>
              </p:cNvPr>
              <p:cNvSpPr/>
              <p:nvPr/>
            </p:nvSpPr>
            <p:spPr>
              <a:xfrm>
                <a:off x="5403056" y="3395186"/>
                <a:ext cx="38100" cy="38100"/>
              </a:xfrm>
              <a:custGeom>
                <a:avLst/>
                <a:gdLst>
                  <a:gd name="connsiteX0" fmla="*/ 37624 w 38100"/>
                  <a:gd name="connsiteY0" fmla="*/ 22384 h 38100"/>
                  <a:gd name="connsiteX1" fmla="*/ 22384 w 38100"/>
                  <a:gd name="connsiteY1" fmla="*/ 37624 h 38100"/>
                  <a:gd name="connsiteX2" fmla="*/ 7144 w 38100"/>
                  <a:gd name="connsiteY2" fmla="*/ 22384 h 38100"/>
                  <a:gd name="connsiteX3" fmla="*/ 22384 w 38100"/>
                  <a:gd name="connsiteY3" fmla="*/ 7144 h 38100"/>
                  <a:gd name="connsiteX4" fmla="*/ 37624 w 38100"/>
                  <a:gd name="connsiteY4" fmla="*/ 2238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7624" y="22384"/>
                    </a:moveTo>
                    <a:cubicBezTo>
                      <a:pt x="37624" y="30801"/>
                      <a:pt x="30801" y="37624"/>
                      <a:pt x="22384" y="37624"/>
                    </a:cubicBezTo>
                    <a:cubicBezTo>
                      <a:pt x="13967" y="37624"/>
                      <a:pt x="7144" y="30801"/>
                      <a:pt x="7144" y="22384"/>
                    </a:cubicBezTo>
                    <a:cubicBezTo>
                      <a:pt x="7144" y="13967"/>
                      <a:pt x="13967" y="7144"/>
                      <a:pt x="22384" y="7144"/>
                    </a:cubicBezTo>
                    <a:cubicBezTo>
                      <a:pt x="30801" y="7144"/>
                      <a:pt x="37624" y="13967"/>
                      <a:pt x="37624" y="22384"/>
                    </a:cubicBezTo>
                    <a:close/>
                  </a:path>
                </a:pathLst>
              </a:custGeom>
              <a:grpFill/>
              <a:ln w="9525" cap="flat">
                <a:noFill/>
                <a:prstDash val="solid"/>
                <a:miter/>
              </a:ln>
            </p:spPr>
            <p:txBody>
              <a:bodyPr rtlCol="0" anchor="ctr"/>
              <a:lstStyle/>
              <a:p>
                <a:endParaRPr lang="en-US"/>
              </a:p>
            </p:txBody>
          </p:sp>
          <p:sp>
            <p:nvSpPr>
              <p:cNvPr id="160" name="Freeform: Shape 147">
                <a:extLst>
                  <a:ext uri="{FF2B5EF4-FFF2-40B4-BE49-F238E27FC236}">
                    <a16:creationId xmlns:a16="http://schemas.microsoft.com/office/drawing/2014/main" id="{38C8DCD0-6E26-E84A-B7C6-52D4ED41614D}"/>
                  </a:ext>
                </a:extLst>
              </p:cNvPr>
              <p:cNvSpPr/>
              <p:nvPr/>
            </p:nvSpPr>
            <p:spPr>
              <a:xfrm>
                <a:off x="5899309" y="3254216"/>
                <a:ext cx="28575" cy="28575"/>
              </a:xfrm>
              <a:custGeom>
                <a:avLst/>
                <a:gdLst>
                  <a:gd name="connsiteX0" fmla="*/ 16669 w 28575"/>
                  <a:gd name="connsiteY0" fmla="*/ 26194 h 28575"/>
                  <a:gd name="connsiteX1" fmla="*/ 26194 w 28575"/>
                  <a:gd name="connsiteY1" fmla="*/ 16669 h 28575"/>
                  <a:gd name="connsiteX2" fmla="*/ 16669 w 28575"/>
                  <a:gd name="connsiteY2" fmla="*/ 7144 h 28575"/>
                  <a:gd name="connsiteX3" fmla="*/ 7144 w 28575"/>
                  <a:gd name="connsiteY3" fmla="*/ 16669 h 28575"/>
                  <a:gd name="connsiteX4" fmla="*/ 16669 w 28575"/>
                  <a:gd name="connsiteY4" fmla="*/ 2619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16669" y="26194"/>
                    </a:moveTo>
                    <a:cubicBezTo>
                      <a:pt x="22384" y="26194"/>
                      <a:pt x="26194" y="22384"/>
                      <a:pt x="26194" y="16669"/>
                    </a:cubicBezTo>
                    <a:cubicBezTo>
                      <a:pt x="26194" y="10954"/>
                      <a:pt x="22384" y="7144"/>
                      <a:pt x="16669" y="7144"/>
                    </a:cubicBezTo>
                    <a:cubicBezTo>
                      <a:pt x="10954" y="7144"/>
                      <a:pt x="7144" y="10954"/>
                      <a:pt x="7144" y="16669"/>
                    </a:cubicBezTo>
                    <a:cubicBezTo>
                      <a:pt x="7144" y="22384"/>
                      <a:pt x="10954" y="26194"/>
                      <a:pt x="16669" y="26194"/>
                    </a:cubicBezTo>
                    <a:close/>
                  </a:path>
                </a:pathLst>
              </a:custGeom>
              <a:grpFill/>
              <a:ln w="9525" cap="flat">
                <a:noFill/>
                <a:prstDash val="solid"/>
                <a:miter/>
              </a:ln>
            </p:spPr>
            <p:txBody>
              <a:bodyPr rtlCol="0" anchor="ctr"/>
              <a:lstStyle/>
              <a:p>
                <a:endParaRPr lang="en-US"/>
              </a:p>
            </p:txBody>
          </p:sp>
          <p:sp>
            <p:nvSpPr>
              <p:cNvPr id="161" name="Freeform: Shape 148">
                <a:extLst>
                  <a:ext uri="{FF2B5EF4-FFF2-40B4-BE49-F238E27FC236}">
                    <a16:creationId xmlns:a16="http://schemas.microsoft.com/office/drawing/2014/main" id="{8030CB11-7E54-334E-A047-D259458E5741}"/>
                  </a:ext>
                </a:extLst>
              </p:cNvPr>
              <p:cNvSpPr/>
              <p:nvPr/>
            </p:nvSpPr>
            <p:spPr>
              <a:xfrm>
                <a:off x="5721191" y="4040029"/>
                <a:ext cx="38100" cy="38100"/>
              </a:xfrm>
              <a:custGeom>
                <a:avLst/>
                <a:gdLst>
                  <a:gd name="connsiteX0" fmla="*/ 39529 w 38100"/>
                  <a:gd name="connsiteY0" fmla="*/ 23336 h 38100"/>
                  <a:gd name="connsiteX1" fmla="*/ 23336 w 38100"/>
                  <a:gd name="connsiteY1" fmla="*/ 7144 h 38100"/>
                  <a:gd name="connsiteX2" fmla="*/ 7144 w 38100"/>
                  <a:gd name="connsiteY2" fmla="*/ 23336 h 38100"/>
                  <a:gd name="connsiteX3" fmla="*/ 23336 w 38100"/>
                  <a:gd name="connsiteY3" fmla="*/ 39529 h 38100"/>
                  <a:gd name="connsiteX4" fmla="*/ 39529 w 38100"/>
                  <a:gd name="connsiteY4" fmla="*/ 2333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23336"/>
                    </a:moveTo>
                    <a:cubicBezTo>
                      <a:pt x="39529" y="14764"/>
                      <a:pt x="31909" y="7144"/>
                      <a:pt x="23336" y="7144"/>
                    </a:cubicBezTo>
                    <a:cubicBezTo>
                      <a:pt x="14764" y="7144"/>
                      <a:pt x="7144" y="14764"/>
                      <a:pt x="7144" y="23336"/>
                    </a:cubicBezTo>
                    <a:cubicBezTo>
                      <a:pt x="7144" y="31909"/>
                      <a:pt x="14764" y="39529"/>
                      <a:pt x="23336" y="39529"/>
                    </a:cubicBezTo>
                    <a:cubicBezTo>
                      <a:pt x="31909" y="39529"/>
                      <a:pt x="39529" y="31909"/>
                      <a:pt x="39529" y="23336"/>
                    </a:cubicBezTo>
                    <a:close/>
                  </a:path>
                </a:pathLst>
              </a:custGeom>
              <a:grpFill/>
              <a:ln w="9525" cap="flat">
                <a:noFill/>
                <a:prstDash val="solid"/>
                <a:miter/>
              </a:ln>
            </p:spPr>
            <p:txBody>
              <a:bodyPr rtlCol="0" anchor="ctr"/>
              <a:lstStyle/>
              <a:p>
                <a:endParaRPr lang="en-US"/>
              </a:p>
            </p:txBody>
          </p:sp>
          <p:sp>
            <p:nvSpPr>
              <p:cNvPr id="162" name="Freeform: Shape 149">
                <a:extLst>
                  <a:ext uri="{FF2B5EF4-FFF2-40B4-BE49-F238E27FC236}">
                    <a16:creationId xmlns:a16="http://schemas.microsoft.com/office/drawing/2014/main" id="{5B290A3A-26D0-D64B-8498-59A9AE98B6E5}"/>
                  </a:ext>
                </a:extLst>
              </p:cNvPr>
              <p:cNvSpPr/>
              <p:nvPr/>
            </p:nvSpPr>
            <p:spPr>
              <a:xfrm>
                <a:off x="5850731" y="3401854"/>
                <a:ext cx="28575" cy="28575"/>
              </a:xfrm>
              <a:custGeom>
                <a:avLst/>
                <a:gdLst>
                  <a:gd name="connsiteX0" fmla="*/ 28099 w 28575"/>
                  <a:gd name="connsiteY0" fmla="*/ 17621 h 28575"/>
                  <a:gd name="connsiteX1" fmla="*/ 17621 w 28575"/>
                  <a:gd name="connsiteY1" fmla="*/ 28099 h 28575"/>
                  <a:gd name="connsiteX2" fmla="*/ 7144 w 28575"/>
                  <a:gd name="connsiteY2" fmla="*/ 17621 h 28575"/>
                  <a:gd name="connsiteX3" fmla="*/ 17621 w 28575"/>
                  <a:gd name="connsiteY3" fmla="*/ 7144 h 28575"/>
                  <a:gd name="connsiteX4" fmla="*/ 28099 w 28575"/>
                  <a:gd name="connsiteY4" fmla="*/ 1762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8099" y="17621"/>
                    </a:moveTo>
                    <a:cubicBezTo>
                      <a:pt x="28099" y="23408"/>
                      <a:pt x="23408" y="28099"/>
                      <a:pt x="17621" y="28099"/>
                    </a:cubicBezTo>
                    <a:cubicBezTo>
                      <a:pt x="11835" y="28099"/>
                      <a:pt x="7144" y="23408"/>
                      <a:pt x="7144" y="17621"/>
                    </a:cubicBezTo>
                    <a:cubicBezTo>
                      <a:pt x="7144" y="11835"/>
                      <a:pt x="11835" y="7144"/>
                      <a:pt x="17621" y="7144"/>
                    </a:cubicBezTo>
                    <a:cubicBezTo>
                      <a:pt x="23408" y="7144"/>
                      <a:pt x="28099" y="11835"/>
                      <a:pt x="28099" y="17621"/>
                    </a:cubicBezTo>
                    <a:close/>
                  </a:path>
                </a:pathLst>
              </a:custGeom>
              <a:grpFill/>
              <a:ln w="9525" cap="flat">
                <a:noFill/>
                <a:prstDash val="solid"/>
                <a:miter/>
              </a:ln>
            </p:spPr>
            <p:txBody>
              <a:bodyPr rtlCol="0" anchor="ctr"/>
              <a:lstStyle/>
              <a:p>
                <a:endParaRPr lang="en-US"/>
              </a:p>
            </p:txBody>
          </p:sp>
          <p:sp>
            <p:nvSpPr>
              <p:cNvPr id="163" name="Freeform: Shape 150">
                <a:extLst>
                  <a:ext uri="{FF2B5EF4-FFF2-40B4-BE49-F238E27FC236}">
                    <a16:creationId xmlns:a16="http://schemas.microsoft.com/office/drawing/2014/main" id="{69907A2B-7E20-8146-A9A3-129268AF6193}"/>
                  </a:ext>
                </a:extLst>
              </p:cNvPr>
              <p:cNvSpPr/>
              <p:nvPr/>
            </p:nvSpPr>
            <p:spPr>
              <a:xfrm>
                <a:off x="5676424" y="2450306"/>
                <a:ext cx="1247775" cy="1857375"/>
              </a:xfrm>
              <a:custGeom>
                <a:avLst/>
                <a:gdLst>
                  <a:gd name="connsiteX0" fmla="*/ 1172051 w 1247775"/>
                  <a:gd name="connsiteY0" fmla="*/ 974884 h 1857375"/>
                  <a:gd name="connsiteX1" fmla="*/ 1037749 w 1247775"/>
                  <a:gd name="connsiteY1" fmla="*/ 787241 h 1857375"/>
                  <a:gd name="connsiteX2" fmla="*/ 1026319 w 1247775"/>
                  <a:gd name="connsiteY2" fmla="*/ 764381 h 1857375"/>
                  <a:gd name="connsiteX3" fmla="*/ 1023461 w 1247775"/>
                  <a:gd name="connsiteY3" fmla="*/ 751046 h 1857375"/>
                  <a:gd name="connsiteX4" fmla="*/ 1024414 w 1247775"/>
                  <a:gd name="connsiteY4" fmla="*/ 750094 h 1857375"/>
                  <a:gd name="connsiteX5" fmla="*/ 1025366 w 1247775"/>
                  <a:gd name="connsiteY5" fmla="*/ 744379 h 1857375"/>
                  <a:gd name="connsiteX6" fmla="*/ 1022509 w 1247775"/>
                  <a:gd name="connsiteY6" fmla="*/ 731996 h 1857375"/>
                  <a:gd name="connsiteX7" fmla="*/ 1037749 w 1247775"/>
                  <a:gd name="connsiteY7" fmla="*/ 609124 h 1857375"/>
                  <a:gd name="connsiteX8" fmla="*/ 1025366 w 1247775"/>
                  <a:gd name="connsiteY8" fmla="*/ 473869 h 1857375"/>
                  <a:gd name="connsiteX9" fmla="*/ 1025366 w 1247775"/>
                  <a:gd name="connsiteY9" fmla="*/ 472916 h 1857375"/>
                  <a:gd name="connsiteX10" fmla="*/ 1023461 w 1247775"/>
                  <a:gd name="connsiteY10" fmla="*/ 463391 h 1857375"/>
                  <a:gd name="connsiteX11" fmla="*/ 1020604 w 1247775"/>
                  <a:gd name="connsiteY11" fmla="*/ 450056 h 1857375"/>
                  <a:gd name="connsiteX12" fmla="*/ 1021556 w 1247775"/>
                  <a:gd name="connsiteY12" fmla="*/ 442436 h 1857375"/>
                  <a:gd name="connsiteX13" fmla="*/ 1014889 w 1247775"/>
                  <a:gd name="connsiteY13" fmla="*/ 424339 h 1857375"/>
                  <a:gd name="connsiteX14" fmla="*/ 1000601 w 1247775"/>
                  <a:gd name="connsiteY14" fmla="*/ 362426 h 1857375"/>
                  <a:gd name="connsiteX15" fmla="*/ 996791 w 1247775"/>
                  <a:gd name="connsiteY15" fmla="*/ 347186 h 1857375"/>
                  <a:gd name="connsiteX16" fmla="*/ 994886 w 1247775"/>
                  <a:gd name="connsiteY16" fmla="*/ 339566 h 1857375"/>
                  <a:gd name="connsiteX17" fmla="*/ 892969 w 1247775"/>
                  <a:gd name="connsiteY17" fmla="*/ 148114 h 1857375"/>
                  <a:gd name="connsiteX18" fmla="*/ 891064 w 1247775"/>
                  <a:gd name="connsiteY18" fmla="*/ 144304 h 1857375"/>
                  <a:gd name="connsiteX19" fmla="*/ 891064 w 1247775"/>
                  <a:gd name="connsiteY19" fmla="*/ 144304 h 1857375"/>
                  <a:gd name="connsiteX20" fmla="*/ 886301 w 1247775"/>
                  <a:gd name="connsiteY20" fmla="*/ 137636 h 1857375"/>
                  <a:gd name="connsiteX21" fmla="*/ 842486 w 1247775"/>
                  <a:gd name="connsiteY21" fmla="*/ 97631 h 1857375"/>
                  <a:gd name="connsiteX22" fmla="*/ 821531 w 1247775"/>
                  <a:gd name="connsiteY22" fmla="*/ 103346 h 1857375"/>
                  <a:gd name="connsiteX23" fmla="*/ 803434 w 1247775"/>
                  <a:gd name="connsiteY23" fmla="*/ 80486 h 1857375"/>
                  <a:gd name="connsiteX24" fmla="*/ 784384 w 1247775"/>
                  <a:gd name="connsiteY24" fmla="*/ 63341 h 1857375"/>
                  <a:gd name="connsiteX25" fmla="*/ 751046 w 1247775"/>
                  <a:gd name="connsiteY25" fmla="*/ 40481 h 1857375"/>
                  <a:gd name="connsiteX26" fmla="*/ 719614 w 1247775"/>
                  <a:gd name="connsiteY26" fmla="*/ 58579 h 1857375"/>
                  <a:gd name="connsiteX27" fmla="*/ 708184 w 1247775"/>
                  <a:gd name="connsiteY27" fmla="*/ 55721 h 1857375"/>
                  <a:gd name="connsiteX28" fmla="*/ 704374 w 1247775"/>
                  <a:gd name="connsiteY28" fmla="*/ 55721 h 1857375"/>
                  <a:gd name="connsiteX29" fmla="*/ 698659 w 1247775"/>
                  <a:gd name="connsiteY29" fmla="*/ 48101 h 1857375"/>
                  <a:gd name="connsiteX30" fmla="*/ 703421 w 1247775"/>
                  <a:gd name="connsiteY30" fmla="*/ 37624 h 1857375"/>
                  <a:gd name="connsiteX31" fmla="*/ 688181 w 1247775"/>
                  <a:gd name="connsiteY31" fmla="*/ 22384 h 1857375"/>
                  <a:gd name="connsiteX32" fmla="*/ 679609 w 1247775"/>
                  <a:gd name="connsiteY32" fmla="*/ 25241 h 1857375"/>
                  <a:gd name="connsiteX33" fmla="*/ 667226 w 1247775"/>
                  <a:gd name="connsiteY33" fmla="*/ 16669 h 1857375"/>
                  <a:gd name="connsiteX34" fmla="*/ 667226 w 1247775"/>
                  <a:gd name="connsiteY34" fmla="*/ 16669 h 1857375"/>
                  <a:gd name="connsiteX35" fmla="*/ 652939 w 1247775"/>
                  <a:gd name="connsiteY35" fmla="*/ 7144 h 1857375"/>
                  <a:gd name="connsiteX36" fmla="*/ 637699 w 1247775"/>
                  <a:gd name="connsiteY36" fmla="*/ 22384 h 1857375"/>
                  <a:gd name="connsiteX37" fmla="*/ 652939 w 1247775"/>
                  <a:gd name="connsiteY37" fmla="*/ 37624 h 1857375"/>
                  <a:gd name="connsiteX38" fmla="*/ 658654 w 1247775"/>
                  <a:gd name="connsiteY38" fmla="*/ 36671 h 1857375"/>
                  <a:gd name="connsiteX39" fmla="*/ 667226 w 1247775"/>
                  <a:gd name="connsiteY39" fmla="*/ 40481 h 1857375"/>
                  <a:gd name="connsiteX40" fmla="*/ 671989 w 1247775"/>
                  <a:gd name="connsiteY40" fmla="*/ 39529 h 1857375"/>
                  <a:gd name="connsiteX41" fmla="*/ 673894 w 1247775"/>
                  <a:gd name="connsiteY41" fmla="*/ 45244 h 1857375"/>
                  <a:gd name="connsiteX42" fmla="*/ 667226 w 1247775"/>
                  <a:gd name="connsiteY42" fmla="*/ 50006 h 1857375"/>
                  <a:gd name="connsiteX43" fmla="*/ 652939 w 1247775"/>
                  <a:gd name="connsiteY43" fmla="*/ 65246 h 1857375"/>
                  <a:gd name="connsiteX44" fmla="*/ 664369 w 1247775"/>
                  <a:gd name="connsiteY44" fmla="*/ 80486 h 1857375"/>
                  <a:gd name="connsiteX45" fmla="*/ 666274 w 1247775"/>
                  <a:gd name="connsiteY45" fmla="*/ 83344 h 1857375"/>
                  <a:gd name="connsiteX46" fmla="*/ 661511 w 1247775"/>
                  <a:gd name="connsiteY46" fmla="*/ 94774 h 1857375"/>
                  <a:gd name="connsiteX47" fmla="*/ 662464 w 1247775"/>
                  <a:gd name="connsiteY47" fmla="*/ 101441 h 1857375"/>
                  <a:gd name="connsiteX48" fmla="*/ 661511 w 1247775"/>
                  <a:gd name="connsiteY48" fmla="*/ 101441 h 1857375"/>
                  <a:gd name="connsiteX49" fmla="*/ 640556 w 1247775"/>
                  <a:gd name="connsiteY49" fmla="*/ 122396 h 1857375"/>
                  <a:gd name="connsiteX50" fmla="*/ 651034 w 1247775"/>
                  <a:gd name="connsiteY50" fmla="*/ 140494 h 1857375"/>
                  <a:gd name="connsiteX51" fmla="*/ 649129 w 1247775"/>
                  <a:gd name="connsiteY51" fmla="*/ 146209 h 1857375"/>
                  <a:gd name="connsiteX52" fmla="*/ 659606 w 1247775"/>
                  <a:gd name="connsiteY52" fmla="*/ 156686 h 1857375"/>
                  <a:gd name="connsiteX53" fmla="*/ 670084 w 1247775"/>
                  <a:gd name="connsiteY53" fmla="*/ 146209 h 1857375"/>
                  <a:gd name="connsiteX54" fmla="*/ 669131 w 1247775"/>
                  <a:gd name="connsiteY54" fmla="*/ 142399 h 1857375"/>
                  <a:gd name="connsiteX55" fmla="*/ 672941 w 1247775"/>
                  <a:gd name="connsiteY55" fmla="*/ 140494 h 1857375"/>
                  <a:gd name="connsiteX56" fmla="*/ 671989 w 1247775"/>
                  <a:gd name="connsiteY56" fmla="*/ 145256 h 1857375"/>
                  <a:gd name="connsiteX57" fmla="*/ 685324 w 1247775"/>
                  <a:gd name="connsiteY57" fmla="*/ 158591 h 1857375"/>
                  <a:gd name="connsiteX58" fmla="*/ 698659 w 1247775"/>
                  <a:gd name="connsiteY58" fmla="*/ 145256 h 1857375"/>
                  <a:gd name="connsiteX59" fmla="*/ 685324 w 1247775"/>
                  <a:gd name="connsiteY59" fmla="*/ 131921 h 1857375"/>
                  <a:gd name="connsiteX60" fmla="*/ 679609 w 1247775"/>
                  <a:gd name="connsiteY60" fmla="*/ 132874 h 1857375"/>
                  <a:gd name="connsiteX61" fmla="*/ 681514 w 1247775"/>
                  <a:gd name="connsiteY61" fmla="*/ 125254 h 1857375"/>
                  <a:gd name="connsiteX62" fmla="*/ 682466 w 1247775"/>
                  <a:gd name="connsiteY62" fmla="*/ 125254 h 1857375"/>
                  <a:gd name="connsiteX63" fmla="*/ 699611 w 1247775"/>
                  <a:gd name="connsiteY63" fmla="*/ 110014 h 1857375"/>
                  <a:gd name="connsiteX64" fmla="*/ 706279 w 1247775"/>
                  <a:gd name="connsiteY64" fmla="*/ 111919 h 1857375"/>
                  <a:gd name="connsiteX65" fmla="*/ 706279 w 1247775"/>
                  <a:gd name="connsiteY65" fmla="*/ 113824 h 1857375"/>
                  <a:gd name="connsiteX66" fmla="*/ 711994 w 1247775"/>
                  <a:gd name="connsiteY66" fmla="*/ 122396 h 1857375"/>
                  <a:gd name="connsiteX67" fmla="*/ 738664 w 1247775"/>
                  <a:gd name="connsiteY67" fmla="*/ 146209 h 1857375"/>
                  <a:gd name="connsiteX68" fmla="*/ 763429 w 1247775"/>
                  <a:gd name="connsiteY68" fmla="*/ 130969 h 1857375"/>
                  <a:gd name="connsiteX69" fmla="*/ 770096 w 1247775"/>
                  <a:gd name="connsiteY69" fmla="*/ 132874 h 1857375"/>
                  <a:gd name="connsiteX70" fmla="*/ 778669 w 1247775"/>
                  <a:gd name="connsiteY70" fmla="*/ 140494 h 1857375"/>
                  <a:gd name="connsiteX71" fmla="*/ 773906 w 1247775"/>
                  <a:gd name="connsiteY71" fmla="*/ 145256 h 1857375"/>
                  <a:gd name="connsiteX72" fmla="*/ 765334 w 1247775"/>
                  <a:gd name="connsiteY72" fmla="*/ 138589 h 1857375"/>
                  <a:gd name="connsiteX73" fmla="*/ 756761 w 1247775"/>
                  <a:gd name="connsiteY73" fmla="*/ 147161 h 1857375"/>
                  <a:gd name="connsiteX74" fmla="*/ 761524 w 1247775"/>
                  <a:gd name="connsiteY74" fmla="*/ 154781 h 1857375"/>
                  <a:gd name="connsiteX75" fmla="*/ 757714 w 1247775"/>
                  <a:gd name="connsiteY75" fmla="*/ 161449 h 1857375"/>
                  <a:gd name="connsiteX76" fmla="*/ 759619 w 1247775"/>
                  <a:gd name="connsiteY76" fmla="*/ 167164 h 1857375"/>
                  <a:gd name="connsiteX77" fmla="*/ 759619 w 1247775"/>
                  <a:gd name="connsiteY77" fmla="*/ 169069 h 1857375"/>
                  <a:gd name="connsiteX78" fmla="*/ 738664 w 1247775"/>
                  <a:gd name="connsiteY78" fmla="*/ 155734 h 1857375"/>
                  <a:gd name="connsiteX79" fmla="*/ 735806 w 1247775"/>
                  <a:gd name="connsiteY79" fmla="*/ 155734 h 1857375"/>
                  <a:gd name="connsiteX80" fmla="*/ 729139 w 1247775"/>
                  <a:gd name="connsiteY80" fmla="*/ 152876 h 1857375"/>
                  <a:gd name="connsiteX81" fmla="*/ 719614 w 1247775"/>
                  <a:gd name="connsiteY81" fmla="*/ 162401 h 1857375"/>
                  <a:gd name="connsiteX82" fmla="*/ 720566 w 1247775"/>
                  <a:gd name="connsiteY82" fmla="*/ 165259 h 1857375"/>
                  <a:gd name="connsiteX83" fmla="*/ 716756 w 1247775"/>
                  <a:gd name="connsiteY83" fmla="*/ 173831 h 1857375"/>
                  <a:gd name="connsiteX84" fmla="*/ 711994 w 1247775"/>
                  <a:gd name="connsiteY84" fmla="*/ 172879 h 1857375"/>
                  <a:gd name="connsiteX85" fmla="*/ 691991 w 1247775"/>
                  <a:gd name="connsiteY85" fmla="*/ 178594 h 1857375"/>
                  <a:gd name="connsiteX86" fmla="*/ 680561 w 1247775"/>
                  <a:gd name="connsiteY86" fmla="*/ 175736 h 1857375"/>
                  <a:gd name="connsiteX87" fmla="*/ 673894 w 1247775"/>
                  <a:gd name="connsiteY87" fmla="*/ 176689 h 1857375"/>
                  <a:gd name="connsiteX88" fmla="*/ 675799 w 1247775"/>
                  <a:gd name="connsiteY88" fmla="*/ 172879 h 1857375"/>
                  <a:gd name="connsiteX89" fmla="*/ 668179 w 1247775"/>
                  <a:gd name="connsiteY89" fmla="*/ 165259 h 1857375"/>
                  <a:gd name="connsiteX90" fmla="*/ 660559 w 1247775"/>
                  <a:gd name="connsiteY90" fmla="*/ 172879 h 1857375"/>
                  <a:gd name="connsiteX91" fmla="*/ 667226 w 1247775"/>
                  <a:gd name="connsiteY91" fmla="*/ 180499 h 1857375"/>
                  <a:gd name="connsiteX92" fmla="*/ 657701 w 1247775"/>
                  <a:gd name="connsiteY92" fmla="*/ 199549 h 1857375"/>
                  <a:gd name="connsiteX93" fmla="*/ 659606 w 1247775"/>
                  <a:gd name="connsiteY93" fmla="*/ 207169 h 1857375"/>
                  <a:gd name="connsiteX94" fmla="*/ 654844 w 1247775"/>
                  <a:gd name="connsiteY94" fmla="*/ 208121 h 1857375"/>
                  <a:gd name="connsiteX95" fmla="*/ 648176 w 1247775"/>
                  <a:gd name="connsiteY95" fmla="*/ 205264 h 1857375"/>
                  <a:gd name="connsiteX96" fmla="*/ 639604 w 1247775"/>
                  <a:gd name="connsiteY96" fmla="*/ 213836 h 1857375"/>
                  <a:gd name="connsiteX97" fmla="*/ 640556 w 1247775"/>
                  <a:gd name="connsiteY97" fmla="*/ 217646 h 1857375"/>
                  <a:gd name="connsiteX98" fmla="*/ 634841 w 1247775"/>
                  <a:gd name="connsiteY98" fmla="*/ 226219 h 1857375"/>
                  <a:gd name="connsiteX99" fmla="*/ 627221 w 1247775"/>
                  <a:gd name="connsiteY99" fmla="*/ 223361 h 1857375"/>
                  <a:gd name="connsiteX100" fmla="*/ 613886 w 1247775"/>
                  <a:gd name="connsiteY100" fmla="*/ 205264 h 1857375"/>
                  <a:gd name="connsiteX101" fmla="*/ 623411 w 1247775"/>
                  <a:gd name="connsiteY101" fmla="*/ 203359 h 1857375"/>
                  <a:gd name="connsiteX102" fmla="*/ 632936 w 1247775"/>
                  <a:gd name="connsiteY102" fmla="*/ 209074 h 1857375"/>
                  <a:gd name="connsiteX103" fmla="*/ 644366 w 1247775"/>
                  <a:gd name="connsiteY103" fmla="*/ 197644 h 1857375"/>
                  <a:gd name="connsiteX104" fmla="*/ 640556 w 1247775"/>
                  <a:gd name="connsiteY104" fmla="*/ 189071 h 1857375"/>
                  <a:gd name="connsiteX105" fmla="*/ 646271 w 1247775"/>
                  <a:gd name="connsiteY105" fmla="*/ 170021 h 1857375"/>
                  <a:gd name="connsiteX106" fmla="*/ 619601 w 1247775"/>
                  <a:gd name="connsiteY106" fmla="*/ 135731 h 1857375"/>
                  <a:gd name="connsiteX107" fmla="*/ 612934 w 1247775"/>
                  <a:gd name="connsiteY107" fmla="*/ 132874 h 1857375"/>
                  <a:gd name="connsiteX108" fmla="*/ 607219 w 1247775"/>
                  <a:gd name="connsiteY108" fmla="*/ 134779 h 1857375"/>
                  <a:gd name="connsiteX109" fmla="*/ 600551 w 1247775"/>
                  <a:gd name="connsiteY109" fmla="*/ 135731 h 1857375"/>
                  <a:gd name="connsiteX110" fmla="*/ 601504 w 1247775"/>
                  <a:gd name="connsiteY110" fmla="*/ 129064 h 1857375"/>
                  <a:gd name="connsiteX111" fmla="*/ 607219 w 1247775"/>
                  <a:gd name="connsiteY111" fmla="*/ 130969 h 1857375"/>
                  <a:gd name="connsiteX112" fmla="*/ 616744 w 1247775"/>
                  <a:gd name="connsiteY112" fmla="*/ 121444 h 1857375"/>
                  <a:gd name="connsiteX113" fmla="*/ 607219 w 1247775"/>
                  <a:gd name="connsiteY113" fmla="*/ 111919 h 1857375"/>
                  <a:gd name="connsiteX114" fmla="*/ 599599 w 1247775"/>
                  <a:gd name="connsiteY114" fmla="*/ 116681 h 1857375"/>
                  <a:gd name="connsiteX115" fmla="*/ 591979 w 1247775"/>
                  <a:gd name="connsiteY115" fmla="*/ 107156 h 1857375"/>
                  <a:gd name="connsiteX116" fmla="*/ 598646 w 1247775"/>
                  <a:gd name="connsiteY116" fmla="*/ 108109 h 1857375"/>
                  <a:gd name="connsiteX117" fmla="*/ 626269 w 1247775"/>
                  <a:gd name="connsiteY117" fmla="*/ 84296 h 1857375"/>
                  <a:gd name="connsiteX118" fmla="*/ 631031 w 1247775"/>
                  <a:gd name="connsiteY118" fmla="*/ 85249 h 1857375"/>
                  <a:gd name="connsiteX119" fmla="*/ 644366 w 1247775"/>
                  <a:gd name="connsiteY119" fmla="*/ 71914 h 1857375"/>
                  <a:gd name="connsiteX120" fmla="*/ 631031 w 1247775"/>
                  <a:gd name="connsiteY120" fmla="*/ 58579 h 1857375"/>
                  <a:gd name="connsiteX121" fmla="*/ 620554 w 1247775"/>
                  <a:gd name="connsiteY121" fmla="*/ 64294 h 1857375"/>
                  <a:gd name="connsiteX122" fmla="*/ 598646 w 1247775"/>
                  <a:gd name="connsiteY122" fmla="*/ 53816 h 1857375"/>
                  <a:gd name="connsiteX123" fmla="*/ 578644 w 1247775"/>
                  <a:gd name="connsiteY123" fmla="*/ 62389 h 1857375"/>
                  <a:gd name="connsiteX124" fmla="*/ 578644 w 1247775"/>
                  <a:gd name="connsiteY124" fmla="*/ 58579 h 1857375"/>
                  <a:gd name="connsiteX125" fmla="*/ 557689 w 1247775"/>
                  <a:gd name="connsiteY125" fmla="*/ 37624 h 1857375"/>
                  <a:gd name="connsiteX126" fmla="*/ 536734 w 1247775"/>
                  <a:gd name="connsiteY126" fmla="*/ 58579 h 1857375"/>
                  <a:gd name="connsiteX127" fmla="*/ 557689 w 1247775"/>
                  <a:gd name="connsiteY127" fmla="*/ 79534 h 1857375"/>
                  <a:gd name="connsiteX128" fmla="*/ 571024 w 1247775"/>
                  <a:gd name="connsiteY128" fmla="*/ 74771 h 1857375"/>
                  <a:gd name="connsiteX129" fmla="*/ 570071 w 1247775"/>
                  <a:gd name="connsiteY129" fmla="*/ 83344 h 1857375"/>
                  <a:gd name="connsiteX130" fmla="*/ 582454 w 1247775"/>
                  <a:gd name="connsiteY130" fmla="*/ 106204 h 1857375"/>
                  <a:gd name="connsiteX131" fmla="*/ 577691 w 1247775"/>
                  <a:gd name="connsiteY131" fmla="*/ 105251 h 1857375"/>
                  <a:gd name="connsiteX132" fmla="*/ 559594 w 1247775"/>
                  <a:gd name="connsiteY132" fmla="*/ 113824 h 1857375"/>
                  <a:gd name="connsiteX133" fmla="*/ 541496 w 1247775"/>
                  <a:gd name="connsiteY133" fmla="*/ 103346 h 1857375"/>
                  <a:gd name="connsiteX134" fmla="*/ 519589 w 1247775"/>
                  <a:gd name="connsiteY134" fmla="*/ 125254 h 1857375"/>
                  <a:gd name="connsiteX135" fmla="*/ 541496 w 1247775"/>
                  <a:gd name="connsiteY135" fmla="*/ 147161 h 1857375"/>
                  <a:gd name="connsiteX136" fmla="*/ 556736 w 1247775"/>
                  <a:gd name="connsiteY136" fmla="*/ 140494 h 1857375"/>
                  <a:gd name="connsiteX137" fmla="*/ 578644 w 1247775"/>
                  <a:gd name="connsiteY137" fmla="*/ 153829 h 1857375"/>
                  <a:gd name="connsiteX138" fmla="*/ 581501 w 1247775"/>
                  <a:gd name="connsiteY138" fmla="*/ 153829 h 1857375"/>
                  <a:gd name="connsiteX139" fmla="*/ 576739 w 1247775"/>
                  <a:gd name="connsiteY139" fmla="*/ 170974 h 1857375"/>
                  <a:gd name="connsiteX140" fmla="*/ 577691 w 1247775"/>
                  <a:gd name="connsiteY140" fmla="*/ 176689 h 1857375"/>
                  <a:gd name="connsiteX141" fmla="*/ 557689 w 1247775"/>
                  <a:gd name="connsiteY141" fmla="*/ 170974 h 1857375"/>
                  <a:gd name="connsiteX142" fmla="*/ 526256 w 1247775"/>
                  <a:gd name="connsiteY142" fmla="*/ 186214 h 1857375"/>
                  <a:gd name="connsiteX143" fmla="*/ 512921 w 1247775"/>
                  <a:gd name="connsiteY143" fmla="*/ 177641 h 1857375"/>
                  <a:gd name="connsiteX144" fmla="*/ 497681 w 1247775"/>
                  <a:gd name="connsiteY144" fmla="*/ 192881 h 1857375"/>
                  <a:gd name="connsiteX145" fmla="*/ 512921 w 1247775"/>
                  <a:gd name="connsiteY145" fmla="*/ 208121 h 1857375"/>
                  <a:gd name="connsiteX146" fmla="*/ 518636 w 1247775"/>
                  <a:gd name="connsiteY146" fmla="*/ 207169 h 1857375"/>
                  <a:gd name="connsiteX147" fmla="*/ 518636 w 1247775"/>
                  <a:gd name="connsiteY147" fmla="*/ 210026 h 1857375"/>
                  <a:gd name="connsiteX148" fmla="*/ 532924 w 1247775"/>
                  <a:gd name="connsiteY148" fmla="*/ 239554 h 1857375"/>
                  <a:gd name="connsiteX149" fmla="*/ 530066 w 1247775"/>
                  <a:gd name="connsiteY149" fmla="*/ 249079 h 1857375"/>
                  <a:gd name="connsiteX150" fmla="*/ 530066 w 1247775"/>
                  <a:gd name="connsiteY150" fmla="*/ 250984 h 1857375"/>
                  <a:gd name="connsiteX151" fmla="*/ 514826 w 1247775"/>
                  <a:gd name="connsiteY151" fmla="*/ 270034 h 1857375"/>
                  <a:gd name="connsiteX152" fmla="*/ 503396 w 1247775"/>
                  <a:gd name="connsiteY152" fmla="*/ 291941 h 1857375"/>
                  <a:gd name="connsiteX153" fmla="*/ 531019 w 1247775"/>
                  <a:gd name="connsiteY153" fmla="*/ 319564 h 1857375"/>
                  <a:gd name="connsiteX154" fmla="*/ 540544 w 1247775"/>
                  <a:gd name="connsiteY154" fmla="*/ 317659 h 1857375"/>
                  <a:gd name="connsiteX155" fmla="*/ 549116 w 1247775"/>
                  <a:gd name="connsiteY155" fmla="*/ 318611 h 1857375"/>
                  <a:gd name="connsiteX156" fmla="*/ 582454 w 1247775"/>
                  <a:gd name="connsiteY156" fmla="*/ 295751 h 1857375"/>
                  <a:gd name="connsiteX157" fmla="*/ 584359 w 1247775"/>
                  <a:gd name="connsiteY157" fmla="*/ 294799 h 1857375"/>
                  <a:gd name="connsiteX158" fmla="*/ 585311 w 1247775"/>
                  <a:gd name="connsiteY158" fmla="*/ 294799 h 1857375"/>
                  <a:gd name="connsiteX159" fmla="*/ 596741 w 1247775"/>
                  <a:gd name="connsiteY159" fmla="*/ 310991 h 1857375"/>
                  <a:gd name="connsiteX160" fmla="*/ 596741 w 1247775"/>
                  <a:gd name="connsiteY160" fmla="*/ 311944 h 1857375"/>
                  <a:gd name="connsiteX161" fmla="*/ 596741 w 1247775"/>
                  <a:gd name="connsiteY161" fmla="*/ 313849 h 1857375"/>
                  <a:gd name="connsiteX162" fmla="*/ 595789 w 1247775"/>
                  <a:gd name="connsiteY162" fmla="*/ 321469 h 1857375"/>
                  <a:gd name="connsiteX163" fmla="*/ 603409 w 1247775"/>
                  <a:gd name="connsiteY163" fmla="*/ 337661 h 1857375"/>
                  <a:gd name="connsiteX164" fmla="*/ 603409 w 1247775"/>
                  <a:gd name="connsiteY164" fmla="*/ 339566 h 1857375"/>
                  <a:gd name="connsiteX165" fmla="*/ 614839 w 1247775"/>
                  <a:gd name="connsiteY165" fmla="*/ 354806 h 1857375"/>
                  <a:gd name="connsiteX166" fmla="*/ 611029 w 1247775"/>
                  <a:gd name="connsiteY166" fmla="*/ 363379 h 1857375"/>
                  <a:gd name="connsiteX167" fmla="*/ 586264 w 1247775"/>
                  <a:gd name="connsiteY167" fmla="*/ 352901 h 1857375"/>
                  <a:gd name="connsiteX168" fmla="*/ 551974 w 1247775"/>
                  <a:gd name="connsiteY168" fmla="*/ 387191 h 1857375"/>
                  <a:gd name="connsiteX169" fmla="*/ 552926 w 1247775"/>
                  <a:gd name="connsiteY169" fmla="*/ 395764 h 1857375"/>
                  <a:gd name="connsiteX170" fmla="*/ 541496 w 1247775"/>
                  <a:gd name="connsiteY170" fmla="*/ 385286 h 1857375"/>
                  <a:gd name="connsiteX171" fmla="*/ 527209 w 1247775"/>
                  <a:gd name="connsiteY171" fmla="*/ 375761 h 1857375"/>
                  <a:gd name="connsiteX172" fmla="*/ 511969 w 1247775"/>
                  <a:gd name="connsiteY172" fmla="*/ 391001 h 1857375"/>
                  <a:gd name="connsiteX173" fmla="*/ 511969 w 1247775"/>
                  <a:gd name="connsiteY173" fmla="*/ 392906 h 1857375"/>
                  <a:gd name="connsiteX174" fmla="*/ 506254 w 1247775"/>
                  <a:gd name="connsiteY174" fmla="*/ 409099 h 1857375"/>
                  <a:gd name="connsiteX175" fmla="*/ 511969 w 1247775"/>
                  <a:gd name="connsiteY175" fmla="*/ 425291 h 1857375"/>
                  <a:gd name="connsiteX176" fmla="*/ 511016 w 1247775"/>
                  <a:gd name="connsiteY176" fmla="*/ 430054 h 1857375"/>
                  <a:gd name="connsiteX177" fmla="*/ 524351 w 1247775"/>
                  <a:gd name="connsiteY177" fmla="*/ 443389 h 1857375"/>
                  <a:gd name="connsiteX178" fmla="*/ 537686 w 1247775"/>
                  <a:gd name="connsiteY178" fmla="*/ 433864 h 1857375"/>
                  <a:gd name="connsiteX179" fmla="*/ 537686 w 1247775"/>
                  <a:gd name="connsiteY179" fmla="*/ 433864 h 1857375"/>
                  <a:gd name="connsiteX180" fmla="*/ 539591 w 1247775"/>
                  <a:gd name="connsiteY180" fmla="*/ 441484 h 1857375"/>
                  <a:gd name="connsiteX181" fmla="*/ 531971 w 1247775"/>
                  <a:gd name="connsiteY181" fmla="*/ 450056 h 1857375"/>
                  <a:gd name="connsiteX182" fmla="*/ 540544 w 1247775"/>
                  <a:gd name="connsiteY182" fmla="*/ 458629 h 1857375"/>
                  <a:gd name="connsiteX183" fmla="*/ 549116 w 1247775"/>
                  <a:gd name="connsiteY183" fmla="*/ 451009 h 1857375"/>
                  <a:gd name="connsiteX184" fmla="*/ 557689 w 1247775"/>
                  <a:gd name="connsiteY184" fmla="*/ 452914 h 1857375"/>
                  <a:gd name="connsiteX185" fmla="*/ 563404 w 1247775"/>
                  <a:gd name="connsiteY185" fmla="*/ 451961 h 1857375"/>
                  <a:gd name="connsiteX186" fmla="*/ 565309 w 1247775"/>
                  <a:gd name="connsiteY186" fmla="*/ 454819 h 1857375"/>
                  <a:gd name="connsiteX187" fmla="*/ 560546 w 1247775"/>
                  <a:gd name="connsiteY187" fmla="*/ 464344 h 1857375"/>
                  <a:gd name="connsiteX188" fmla="*/ 560546 w 1247775"/>
                  <a:gd name="connsiteY188" fmla="*/ 467201 h 1857375"/>
                  <a:gd name="connsiteX189" fmla="*/ 551974 w 1247775"/>
                  <a:gd name="connsiteY189" fmla="*/ 487204 h 1857375"/>
                  <a:gd name="connsiteX190" fmla="*/ 551974 w 1247775"/>
                  <a:gd name="connsiteY190" fmla="*/ 488156 h 1857375"/>
                  <a:gd name="connsiteX191" fmla="*/ 548164 w 1247775"/>
                  <a:gd name="connsiteY191" fmla="*/ 499586 h 1857375"/>
                  <a:gd name="connsiteX192" fmla="*/ 566261 w 1247775"/>
                  <a:gd name="connsiteY192" fmla="*/ 517684 h 1857375"/>
                  <a:gd name="connsiteX193" fmla="*/ 573881 w 1247775"/>
                  <a:gd name="connsiteY193" fmla="*/ 515779 h 1857375"/>
                  <a:gd name="connsiteX194" fmla="*/ 571024 w 1247775"/>
                  <a:gd name="connsiteY194" fmla="*/ 523399 h 1857375"/>
                  <a:gd name="connsiteX195" fmla="*/ 574834 w 1247775"/>
                  <a:gd name="connsiteY195" fmla="*/ 531971 h 1857375"/>
                  <a:gd name="connsiteX196" fmla="*/ 574834 w 1247775"/>
                  <a:gd name="connsiteY196" fmla="*/ 532924 h 1857375"/>
                  <a:gd name="connsiteX197" fmla="*/ 586264 w 1247775"/>
                  <a:gd name="connsiteY197" fmla="*/ 544354 h 1857375"/>
                  <a:gd name="connsiteX198" fmla="*/ 596741 w 1247775"/>
                  <a:gd name="connsiteY198" fmla="*/ 537686 h 1857375"/>
                  <a:gd name="connsiteX199" fmla="*/ 598646 w 1247775"/>
                  <a:gd name="connsiteY199" fmla="*/ 536734 h 1857375"/>
                  <a:gd name="connsiteX200" fmla="*/ 611981 w 1247775"/>
                  <a:gd name="connsiteY200" fmla="*/ 542449 h 1857375"/>
                  <a:gd name="connsiteX201" fmla="*/ 631984 w 1247775"/>
                  <a:gd name="connsiteY201" fmla="*/ 522446 h 1857375"/>
                  <a:gd name="connsiteX202" fmla="*/ 643414 w 1247775"/>
                  <a:gd name="connsiteY202" fmla="*/ 525304 h 1857375"/>
                  <a:gd name="connsiteX203" fmla="*/ 632936 w 1247775"/>
                  <a:gd name="connsiteY203" fmla="*/ 538639 h 1857375"/>
                  <a:gd name="connsiteX204" fmla="*/ 633889 w 1247775"/>
                  <a:gd name="connsiteY204" fmla="*/ 542449 h 1857375"/>
                  <a:gd name="connsiteX205" fmla="*/ 626269 w 1247775"/>
                  <a:gd name="connsiteY205" fmla="*/ 554831 h 1857375"/>
                  <a:gd name="connsiteX206" fmla="*/ 626269 w 1247775"/>
                  <a:gd name="connsiteY206" fmla="*/ 555784 h 1857375"/>
                  <a:gd name="connsiteX207" fmla="*/ 614839 w 1247775"/>
                  <a:gd name="connsiteY207" fmla="*/ 548164 h 1857375"/>
                  <a:gd name="connsiteX208" fmla="*/ 602456 w 1247775"/>
                  <a:gd name="connsiteY208" fmla="*/ 560546 h 1857375"/>
                  <a:gd name="connsiteX209" fmla="*/ 614839 w 1247775"/>
                  <a:gd name="connsiteY209" fmla="*/ 572929 h 1857375"/>
                  <a:gd name="connsiteX210" fmla="*/ 627221 w 1247775"/>
                  <a:gd name="connsiteY210" fmla="*/ 560546 h 1857375"/>
                  <a:gd name="connsiteX211" fmla="*/ 627221 w 1247775"/>
                  <a:gd name="connsiteY211" fmla="*/ 560546 h 1857375"/>
                  <a:gd name="connsiteX212" fmla="*/ 631031 w 1247775"/>
                  <a:gd name="connsiteY212" fmla="*/ 566261 h 1857375"/>
                  <a:gd name="connsiteX213" fmla="*/ 628174 w 1247775"/>
                  <a:gd name="connsiteY213" fmla="*/ 571024 h 1857375"/>
                  <a:gd name="connsiteX214" fmla="*/ 633889 w 1247775"/>
                  <a:gd name="connsiteY214" fmla="*/ 576739 h 1857375"/>
                  <a:gd name="connsiteX215" fmla="*/ 639604 w 1247775"/>
                  <a:gd name="connsiteY215" fmla="*/ 571024 h 1857375"/>
                  <a:gd name="connsiteX216" fmla="*/ 639604 w 1247775"/>
                  <a:gd name="connsiteY216" fmla="*/ 569119 h 1857375"/>
                  <a:gd name="connsiteX217" fmla="*/ 640556 w 1247775"/>
                  <a:gd name="connsiteY217" fmla="*/ 569119 h 1857375"/>
                  <a:gd name="connsiteX218" fmla="*/ 646271 w 1247775"/>
                  <a:gd name="connsiteY218" fmla="*/ 568166 h 1857375"/>
                  <a:gd name="connsiteX219" fmla="*/ 648176 w 1247775"/>
                  <a:gd name="connsiteY219" fmla="*/ 570071 h 1857375"/>
                  <a:gd name="connsiteX220" fmla="*/ 647224 w 1247775"/>
                  <a:gd name="connsiteY220" fmla="*/ 573881 h 1857375"/>
                  <a:gd name="connsiteX221" fmla="*/ 650081 w 1247775"/>
                  <a:gd name="connsiteY221" fmla="*/ 579596 h 1857375"/>
                  <a:gd name="connsiteX222" fmla="*/ 642461 w 1247775"/>
                  <a:gd name="connsiteY222" fmla="*/ 589121 h 1857375"/>
                  <a:gd name="connsiteX223" fmla="*/ 648176 w 1247775"/>
                  <a:gd name="connsiteY223" fmla="*/ 597694 h 1857375"/>
                  <a:gd name="connsiteX224" fmla="*/ 656749 w 1247775"/>
                  <a:gd name="connsiteY224" fmla="*/ 605314 h 1857375"/>
                  <a:gd name="connsiteX225" fmla="*/ 656749 w 1247775"/>
                  <a:gd name="connsiteY225" fmla="*/ 608171 h 1857375"/>
                  <a:gd name="connsiteX226" fmla="*/ 647224 w 1247775"/>
                  <a:gd name="connsiteY226" fmla="*/ 603409 h 1857375"/>
                  <a:gd name="connsiteX227" fmla="*/ 635794 w 1247775"/>
                  <a:gd name="connsiteY227" fmla="*/ 614839 h 1857375"/>
                  <a:gd name="connsiteX228" fmla="*/ 636746 w 1247775"/>
                  <a:gd name="connsiteY228" fmla="*/ 617696 h 1857375"/>
                  <a:gd name="connsiteX229" fmla="*/ 634841 w 1247775"/>
                  <a:gd name="connsiteY229" fmla="*/ 617696 h 1857375"/>
                  <a:gd name="connsiteX230" fmla="*/ 614839 w 1247775"/>
                  <a:gd name="connsiteY230" fmla="*/ 623411 h 1857375"/>
                  <a:gd name="connsiteX231" fmla="*/ 613886 w 1247775"/>
                  <a:gd name="connsiteY231" fmla="*/ 623411 h 1857375"/>
                  <a:gd name="connsiteX232" fmla="*/ 609124 w 1247775"/>
                  <a:gd name="connsiteY232" fmla="*/ 624364 h 1857375"/>
                  <a:gd name="connsiteX233" fmla="*/ 609124 w 1247775"/>
                  <a:gd name="connsiteY233" fmla="*/ 624364 h 1857375"/>
                  <a:gd name="connsiteX234" fmla="*/ 596741 w 1247775"/>
                  <a:gd name="connsiteY234" fmla="*/ 611981 h 1857375"/>
                  <a:gd name="connsiteX235" fmla="*/ 587216 w 1247775"/>
                  <a:gd name="connsiteY235" fmla="*/ 617696 h 1857375"/>
                  <a:gd name="connsiteX236" fmla="*/ 564356 w 1247775"/>
                  <a:gd name="connsiteY236" fmla="*/ 605314 h 1857375"/>
                  <a:gd name="connsiteX237" fmla="*/ 542449 w 1247775"/>
                  <a:gd name="connsiteY237" fmla="*/ 616744 h 1857375"/>
                  <a:gd name="connsiteX238" fmla="*/ 540544 w 1247775"/>
                  <a:gd name="connsiteY238" fmla="*/ 615791 h 1857375"/>
                  <a:gd name="connsiteX239" fmla="*/ 536734 w 1247775"/>
                  <a:gd name="connsiteY239" fmla="*/ 609124 h 1857375"/>
                  <a:gd name="connsiteX240" fmla="*/ 556736 w 1247775"/>
                  <a:gd name="connsiteY240" fmla="*/ 593884 h 1857375"/>
                  <a:gd name="connsiteX241" fmla="*/ 563404 w 1247775"/>
                  <a:gd name="connsiteY241" fmla="*/ 579596 h 1857375"/>
                  <a:gd name="connsiteX242" fmla="*/ 563404 w 1247775"/>
                  <a:gd name="connsiteY242" fmla="*/ 575786 h 1857375"/>
                  <a:gd name="connsiteX243" fmla="*/ 564356 w 1247775"/>
                  <a:gd name="connsiteY243" fmla="*/ 575786 h 1857375"/>
                  <a:gd name="connsiteX244" fmla="*/ 572929 w 1247775"/>
                  <a:gd name="connsiteY244" fmla="*/ 573881 h 1857375"/>
                  <a:gd name="connsiteX245" fmla="*/ 569119 w 1247775"/>
                  <a:gd name="connsiteY245" fmla="*/ 585311 h 1857375"/>
                  <a:gd name="connsiteX246" fmla="*/ 591026 w 1247775"/>
                  <a:gd name="connsiteY246" fmla="*/ 607219 h 1857375"/>
                  <a:gd name="connsiteX247" fmla="*/ 612934 w 1247775"/>
                  <a:gd name="connsiteY247" fmla="*/ 585311 h 1857375"/>
                  <a:gd name="connsiteX248" fmla="*/ 591026 w 1247775"/>
                  <a:gd name="connsiteY248" fmla="*/ 563404 h 1857375"/>
                  <a:gd name="connsiteX249" fmla="*/ 579596 w 1247775"/>
                  <a:gd name="connsiteY249" fmla="*/ 567214 h 1857375"/>
                  <a:gd name="connsiteX250" fmla="*/ 581501 w 1247775"/>
                  <a:gd name="connsiteY250" fmla="*/ 558641 h 1857375"/>
                  <a:gd name="connsiteX251" fmla="*/ 564356 w 1247775"/>
                  <a:gd name="connsiteY251" fmla="*/ 541496 h 1857375"/>
                  <a:gd name="connsiteX252" fmla="*/ 547211 w 1247775"/>
                  <a:gd name="connsiteY252" fmla="*/ 558641 h 1857375"/>
                  <a:gd name="connsiteX253" fmla="*/ 547211 w 1247775"/>
                  <a:gd name="connsiteY253" fmla="*/ 560546 h 1857375"/>
                  <a:gd name="connsiteX254" fmla="*/ 543401 w 1247775"/>
                  <a:gd name="connsiteY254" fmla="*/ 560546 h 1857375"/>
                  <a:gd name="connsiteX255" fmla="*/ 528161 w 1247775"/>
                  <a:gd name="connsiteY255" fmla="*/ 567214 h 1857375"/>
                  <a:gd name="connsiteX256" fmla="*/ 526256 w 1247775"/>
                  <a:gd name="connsiteY256" fmla="*/ 568166 h 1857375"/>
                  <a:gd name="connsiteX257" fmla="*/ 526256 w 1247775"/>
                  <a:gd name="connsiteY257" fmla="*/ 566261 h 1857375"/>
                  <a:gd name="connsiteX258" fmla="*/ 508159 w 1247775"/>
                  <a:gd name="connsiteY258" fmla="*/ 548164 h 1857375"/>
                  <a:gd name="connsiteX259" fmla="*/ 490061 w 1247775"/>
                  <a:gd name="connsiteY259" fmla="*/ 566261 h 1857375"/>
                  <a:gd name="connsiteX260" fmla="*/ 508159 w 1247775"/>
                  <a:gd name="connsiteY260" fmla="*/ 584359 h 1857375"/>
                  <a:gd name="connsiteX261" fmla="*/ 513874 w 1247775"/>
                  <a:gd name="connsiteY261" fmla="*/ 583406 h 1857375"/>
                  <a:gd name="connsiteX262" fmla="*/ 512921 w 1247775"/>
                  <a:gd name="connsiteY262" fmla="*/ 588169 h 1857375"/>
                  <a:gd name="connsiteX263" fmla="*/ 515779 w 1247775"/>
                  <a:gd name="connsiteY263" fmla="*/ 599599 h 1857375"/>
                  <a:gd name="connsiteX264" fmla="*/ 511969 w 1247775"/>
                  <a:gd name="connsiteY264" fmla="*/ 599599 h 1857375"/>
                  <a:gd name="connsiteX265" fmla="*/ 506254 w 1247775"/>
                  <a:gd name="connsiteY265" fmla="*/ 600551 h 1857375"/>
                  <a:gd name="connsiteX266" fmla="*/ 497681 w 1247775"/>
                  <a:gd name="connsiteY266" fmla="*/ 594836 h 1857375"/>
                  <a:gd name="connsiteX267" fmla="*/ 489109 w 1247775"/>
                  <a:gd name="connsiteY267" fmla="*/ 602456 h 1857375"/>
                  <a:gd name="connsiteX268" fmla="*/ 487204 w 1247775"/>
                  <a:gd name="connsiteY268" fmla="*/ 603409 h 1857375"/>
                  <a:gd name="connsiteX269" fmla="*/ 475774 w 1247775"/>
                  <a:gd name="connsiteY269" fmla="*/ 599599 h 1857375"/>
                  <a:gd name="connsiteX270" fmla="*/ 454819 w 1247775"/>
                  <a:gd name="connsiteY270" fmla="*/ 620554 h 1857375"/>
                  <a:gd name="connsiteX271" fmla="*/ 455771 w 1247775"/>
                  <a:gd name="connsiteY271" fmla="*/ 625316 h 1857375"/>
                  <a:gd name="connsiteX272" fmla="*/ 450056 w 1247775"/>
                  <a:gd name="connsiteY272" fmla="*/ 633889 h 1857375"/>
                  <a:gd name="connsiteX273" fmla="*/ 459581 w 1247775"/>
                  <a:gd name="connsiteY273" fmla="*/ 643414 h 1857375"/>
                  <a:gd name="connsiteX274" fmla="*/ 484346 w 1247775"/>
                  <a:gd name="connsiteY274" fmla="*/ 668179 h 1857375"/>
                  <a:gd name="connsiteX275" fmla="*/ 498634 w 1247775"/>
                  <a:gd name="connsiteY275" fmla="*/ 663416 h 1857375"/>
                  <a:gd name="connsiteX276" fmla="*/ 503396 w 1247775"/>
                  <a:gd name="connsiteY276" fmla="*/ 662464 h 1857375"/>
                  <a:gd name="connsiteX277" fmla="*/ 511016 w 1247775"/>
                  <a:gd name="connsiteY277" fmla="*/ 664369 h 1857375"/>
                  <a:gd name="connsiteX278" fmla="*/ 511969 w 1247775"/>
                  <a:gd name="connsiteY278" fmla="*/ 667226 h 1857375"/>
                  <a:gd name="connsiteX279" fmla="*/ 511969 w 1247775"/>
                  <a:gd name="connsiteY279" fmla="*/ 668179 h 1857375"/>
                  <a:gd name="connsiteX280" fmla="*/ 513874 w 1247775"/>
                  <a:gd name="connsiteY280" fmla="*/ 677704 h 1857375"/>
                  <a:gd name="connsiteX281" fmla="*/ 511969 w 1247775"/>
                  <a:gd name="connsiteY281" fmla="*/ 678656 h 1857375"/>
                  <a:gd name="connsiteX282" fmla="*/ 498634 w 1247775"/>
                  <a:gd name="connsiteY282" fmla="*/ 671036 h 1857375"/>
                  <a:gd name="connsiteX283" fmla="*/ 487204 w 1247775"/>
                  <a:gd name="connsiteY283" fmla="*/ 675799 h 1857375"/>
                  <a:gd name="connsiteX284" fmla="*/ 481489 w 1247775"/>
                  <a:gd name="connsiteY284" fmla="*/ 673894 h 1857375"/>
                  <a:gd name="connsiteX285" fmla="*/ 470059 w 1247775"/>
                  <a:gd name="connsiteY285" fmla="*/ 685324 h 1857375"/>
                  <a:gd name="connsiteX286" fmla="*/ 481489 w 1247775"/>
                  <a:gd name="connsiteY286" fmla="*/ 696754 h 1857375"/>
                  <a:gd name="connsiteX287" fmla="*/ 484346 w 1247775"/>
                  <a:gd name="connsiteY287" fmla="*/ 695801 h 1857375"/>
                  <a:gd name="connsiteX288" fmla="*/ 488156 w 1247775"/>
                  <a:gd name="connsiteY288" fmla="*/ 700564 h 1857375"/>
                  <a:gd name="connsiteX289" fmla="*/ 486251 w 1247775"/>
                  <a:gd name="connsiteY289" fmla="*/ 712946 h 1857375"/>
                  <a:gd name="connsiteX290" fmla="*/ 486251 w 1247775"/>
                  <a:gd name="connsiteY290" fmla="*/ 715804 h 1857375"/>
                  <a:gd name="connsiteX291" fmla="*/ 460534 w 1247775"/>
                  <a:gd name="connsiteY291" fmla="*/ 701516 h 1857375"/>
                  <a:gd name="connsiteX292" fmla="*/ 435769 w 1247775"/>
                  <a:gd name="connsiteY292" fmla="*/ 714851 h 1857375"/>
                  <a:gd name="connsiteX293" fmla="*/ 426244 w 1247775"/>
                  <a:gd name="connsiteY293" fmla="*/ 711041 h 1857375"/>
                  <a:gd name="connsiteX294" fmla="*/ 432911 w 1247775"/>
                  <a:gd name="connsiteY294" fmla="*/ 701516 h 1857375"/>
                  <a:gd name="connsiteX295" fmla="*/ 437674 w 1247775"/>
                  <a:gd name="connsiteY295" fmla="*/ 691039 h 1857375"/>
                  <a:gd name="connsiteX296" fmla="*/ 431006 w 1247775"/>
                  <a:gd name="connsiteY296" fmla="*/ 679609 h 1857375"/>
                  <a:gd name="connsiteX297" fmla="*/ 410051 w 1247775"/>
                  <a:gd name="connsiteY297" fmla="*/ 668179 h 1857375"/>
                  <a:gd name="connsiteX298" fmla="*/ 404336 w 1247775"/>
                  <a:gd name="connsiteY298" fmla="*/ 669131 h 1857375"/>
                  <a:gd name="connsiteX299" fmla="*/ 401479 w 1247775"/>
                  <a:gd name="connsiteY299" fmla="*/ 661511 h 1857375"/>
                  <a:gd name="connsiteX300" fmla="*/ 409099 w 1247775"/>
                  <a:gd name="connsiteY300" fmla="*/ 650081 h 1857375"/>
                  <a:gd name="connsiteX301" fmla="*/ 410051 w 1247775"/>
                  <a:gd name="connsiteY301" fmla="*/ 647224 h 1857375"/>
                  <a:gd name="connsiteX302" fmla="*/ 410051 w 1247775"/>
                  <a:gd name="connsiteY302" fmla="*/ 647224 h 1857375"/>
                  <a:gd name="connsiteX303" fmla="*/ 411956 w 1247775"/>
                  <a:gd name="connsiteY303" fmla="*/ 634841 h 1857375"/>
                  <a:gd name="connsiteX304" fmla="*/ 370046 w 1247775"/>
                  <a:gd name="connsiteY304" fmla="*/ 592931 h 1857375"/>
                  <a:gd name="connsiteX305" fmla="*/ 360521 w 1247775"/>
                  <a:gd name="connsiteY305" fmla="*/ 593884 h 1857375"/>
                  <a:gd name="connsiteX306" fmla="*/ 362426 w 1247775"/>
                  <a:gd name="connsiteY306" fmla="*/ 588169 h 1857375"/>
                  <a:gd name="connsiteX307" fmla="*/ 350996 w 1247775"/>
                  <a:gd name="connsiteY307" fmla="*/ 576739 h 1857375"/>
                  <a:gd name="connsiteX308" fmla="*/ 342424 w 1247775"/>
                  <a:gd name="connsiteY308" fmla="*/ 580549 h 1857375"/>
                  <a:gd name="connsiteX309" fmla="*/ 335756 w 1247775"/>
                  <a:gd name="connsiteY309" fmla="*/ 578644 h 1857375"/>
                  <a:gd name="connsiteX310" fmla="*/ 324326 w 1247775"/>
                  <a:gd name="connsiteY310" fmla="*/ 590074 h 1857375"/>
                  <a:gd name="connsiteX311" fmla="*/ 335756 w 1247775"/>
                  <a:gd name="connsiteY311" fmla="*/ 601504 h 1857375"/>
                  <a:gd name="connsiteX312" fmla="*/ 344329 w 1247775"/>
                  <a:gd name="connsiteY312" fmla="*/ 597694 h 1857375"/>
                  <a:gd name="connsiteX313" fmla="*/ 348139 w 1247775"/>
                  <a:gd name="connsiteY313" fmla="*/ 599599 h 1857375"/>
                  <a:gd name="connsiteX314" fmla="*/ 324326 w 1247775"/>
                  <a:gd name="connsiteY314" fmla="*/ 625316 h 1857375"/>
                  <a:gd name="connsiteX315" fmla="*/ 324326 w 1247775"/>
                  <a:gd name="connsiteY315" fmla="*/ 627221 h 1857375"/>
                  <a:gd name="connsiteX316" fmla="*/ 316706 w 1247775"/>
                  <a:gd name="connsiteY316" fmla="*/ 633889 h 1857375"/>
                  <a:gd name="connsiteX317" fmla="*/ 316706 w 1247775"/>
                  <a:gd name="connsiteY317" fmla="*/ 633889 h 1857375"/>
                  <a:gd name="connsiteX318" fmla="*/ 316706 w 1247775"/>
                  <a:gd name="connsiteY318" fmla="*/ 631031 h 1857375"/>
                  <a:gd name="connsiteX319" fmla="*/ 310039 w 1247775"/>
                  <a:gd name="connsiteY319" fmla="*/ 616744 h 1857375"/>
                  <a:gd name="connsiteX320" fmla="*/ 294799 w 1247775"/>
                  <a:gd name="connsiteY320" fmla="*/ 602456 h 1857375"/>
                  <a:gd name="connsiteX321" fmla="*/ 279559 w 1247775"/>
                  <a:gd name="connsiteY321" fmla="*/ 617696 h 1857375"/>
                  <a:gd name="connsiteX322" fmla="*/ 280511 w 1247775"/>
                  <a:gd name="connsiteY322" fmla="*/ 623411 h 1857375"/>
                  <a:gd name="connsiteX323" fmla="*/ 278606 w 1247775"/>
                  <a:gd name="connsiteY323" fmla="*/ 631031 h 1857375"/>
                  <a:gd name="connsiteX324" fmla="*/ 297656 w 1247775"/>
                  <a:gd name="connsiteY324" fmla="*/ 650081 h 1857375"/>
                  <a:gd name="connsiteX325" fmla="*/ 310039 w 1247775"/>
                  <a:gd name="connsiteY325" fmla="*/ 645319 h 1857375"/>
                  <a:gd name="connsiteX326" fmla="*/ 310991 w 1247775"/>
                  <a:gd name="connsiteY326" fmla="*/ 645319 h 1857375"/>
                  <a:gd name="connsiteX327" fmla="*/ 310039 w 1247775"/>
                  <a:gd name="connsiteY327" fmla="*/ 652939 h 1857375"/>
                  <a:gd name="connsiteX328" fmla="*/ 312896 w 1247775"/>
                  <a:gd name="connsiteY328" fmla="*/ 666274 h 1857375"/>
                  <a:gd name="connsiteX329" fmla="*/ 308134 w 1247775"/>
                  <a:gd name="connsiteY329" fmla="*/ 665321 h 1857375"/>
                  <a:gd name="connsiteX330" fmla="*/ 304324 w 1247775"/>
                  <a:gd name="connsiteY330" fmla="*/ 666274 h 1857375"/>
                  <a:gd name="connsiteX331" fmla="*/ 304324 w 1247775"/>
                  <a:gd name="connsiteY331" fmla="*/ 664369 h 1857375"/>
                  <a:gd name="connsiteX332" fmla="*/ 290036 w 1247775"/>
                  <a:gd name="connsiteY332" fmla="*/ 650081 h 1857375"/>
                  <a:gd name="connsiteX333" fmla="*/ 275749 w 1247775"/>
                  <a:gd name="connsiteY333" fmla="*/ 664369 h 1857375"/>
                  <a:gd name="connsiteX334" fmla="*/ 290036 w 1247775"/>
                  <a:gd name="connsiteY334" fmla="*/ 678656 h 1857375"/>
                  <a:gd name="connsiteX335" fmla="*/ 289084 w 1247775"/>
                  <a:gd name="connsiteY335" fmla="*/ 685324 h 1857375"/>
                  <a:gd name="connsiteX336" fmla="*/ 309086 w 1247775"/>
                  <a:gd name="connsiteY336" fmla="*/ 705326 h 1857375"/>
                  <a:gd name="connsiteX337" fmla="*/ 329089 w 1247775"/>
                  <a:gd name="connsiteY337" fmla="*/ 685324 h 1857375"/>
                  <a:gd name="connsiteX338" fmla="*/ 328136 w 1247775"/>
                  <a:gd name="connsiteY338" fmla="*/ 679609 h 1857375"/>
                  <a:gd name="connsiteX339" fmla="*/ 337661 w 1247775"/>
                  <a:gd name="connsiteY339" fmla="*/ 682466 h 1857375"/>
                  <a:gd name="connsiteX340" fmla="*/ 342424 w 1247775"/>
                  <a:gd name="connsiteY340" fmla="*/ 690086 h 1857375"/>
                  <a:gd name="connsiteX341" fmla="*/ 345281 w 1247775"/>
                  <a:gd name="connsiteY341" fmla="*/ 698659 h 1857375"/>
                  <a:gd name="connsiteX342" fmla="*/ 344329 w 1247775"/>
                  <a:gd name="connsiteY342" fmla="*/ 698659 h 1857375"/>
                  <a:gd name="connsiteX343" fmla="*/ 329089 w 1247775"/>
                  <a:gd name="connsiteY343" fmla="*/ 713899 h 1857375"/>
                  <a:gd name="connsiteX344" fmla="*/ 329089 w 1247775"/>
                  <a:gd name="connsiteY344" fmla="*/ 715804 h 1857375"/>
                  <a:gd name="connsiteX345" fmla="*/ 327184 w 1247775"/>
                  <a:gd name="connsiteY345" fmla="*/ 719614 h 1857375"/>
                  <a:gd name="connsiteX346" fmla="*/ 316706 w 1247775"/>
                  <a:gd name="connsiteY346" fmla="*/ 715804 h 1857375"/>
                  <a:gd name="connsiteX347" fmla="*/ 300514 w 1247775"/>
                  <a:gd name="connsiteY347" fmla="*/ 731996 h 1857375"/>
                  <a:gd name="connsiteX348" fmla="*/ 316706 w 1247775"/>
                  <a:gd name="connsiteY348" fmla="*/ 748189 h 1857375"/>
                  <a:gd name="connsiteX349" fmla="*/ 328136 w 1247775"/>
                  <a:gd name="connsiteY349" fmla="*/ 743426 h 1857375"/>
                  <a:gd name="connsiteX350" fmla="*/ 333851 w 1247775"/>
                  <a:gd name="connsiteY350" fmla="*/ 750094 h 1857375"/>
                  <a:gd name="connsiteX351" fmla="*/ 333851 w 1247775"/>
                  <a:gd name="connsiteY351" fmla="*/ 750094 h 1857375"/>
                  <a:gd name="connsiteX352" fmla="*/ 324326 w 1247775"/>
                  <a:gd name="connsiteY352" fmla="*/ 759619 h 1857375"/>
                  <a:gd name="connsiteX353" fmla="*/ 333851 w 1247775"/>
                  <a:gd name="connsiteY353" fmla="*/ 769144 h 1857375"/>
                  <a:gd name="connsiteX354" fmla="*/ 341471 w 1247775"/>
                  <a:gd name="connsiteY354" fmla="*/ 765334 h 1857375"/>
                  <a:gd name="connsiteX355" fmla="*/ 339566 w 1247775"/>
                  <a:gd name="connsiteY355" fmla="*/ 774859 h 1857375"/>
                  <a:gd name="connsiteX356" fmla="*/ 342424 w 1247775"/>
                  <a:gd name="connsiteY356" fmla="*/ 788194 h 1857375"/>
                  <a:gd name="connsiteX357" fmla="*/ 332899 w 1247775"/>
                  <a:gd name="connsiteY357" fmla="*/ 794861 h 1857375"/>
                  <a:gd name="connsiteX358" fmla="*/ 332899 w 1247775"/>
                  <a:gd name="connsiteY358" fmla="*/ 792956 h 1857375"/>
                  <a:gd name="connsiteX359" fmla="*/ 313849 w 1247775"/>
                  <a:gd name="connsiteY359" fmla="*/ 772954 h 1857375"/>
                  <a:gd name="connsiteX360" fmla="*/ 309086 w 1247775"/>
                  <a:gd name="connsiteY360" fmla="*/ 772001 h 1857375"/>
                  <a:gd name="connsiteX361" fmla="*/ 299561 w 1247775"/>
                  <a:gd name="connsiteY361" fmla="*/ 777716 h 1857375"/>
                  <a:gd name="connsiteX362" fmla="*/ 292894 w 1247775"/>
                  <a:gd name="connsiteY362" fmla="*/ 792956 h 1857375"/>
                  <a:gd name="connsiteX363" fmla="*/ 312896 w 1247775"/>
                  <a:gd name="connsiteY363" fmla="*/ 812959 h 1857375"/>
                  <a:gd name="connsiteX364" fmla="*/ 328136 w 1247775"/>
                  <a:gd name="connsiteY364" fmla="*/ 806291 h 1857375"/>
                  <a:gd name="connsiteX365" fmla="*/ 328136 w 1247775"/>
                  <a:gd name="connsiteY365" fmla="*/ 808196 h 1857375"/>
                  <a:gd name="connsiteX366" fmla="*/ 331946 w 1247775"/>
                  <a:gd name="connsiteY366" fmla="*/ 820579 h 1857375"/>
                  <a:gd name="connsiteX367" fmla="*/ 314801 w 1247775"/>
                  <a:gd name="connsiteY367" fmla="*/ 844391 h 1857375"/>
                  <a:gd name="connsiteX368" fmla="*/ 340519 w 1247775"/>
                  <a:gd name="connsiteY368" fmla="*/ 870109 h 1857375"/>
                  <a:gd name="connsiteX369" fmla="*/ 351949 w 1247775"/>
                  <a:gd name="connsiteY369" fmla="*/ 867251 h 1857375"/>
                  <a:gd name="connsiteX370" fmla="*/ 353854 w 1247775"/>
                  <a:gd name="connsiteY370" fmla="*/ 867251 h 1857375"/>
                  <a:gd name="connsiteX371" fmla="*/ 352901 w 1247775"/>
                  <a:gd name="connsiteY371" fmla="*/ 871061 h 1857375"/>
                  <a:gd name="connsiteX372" fmla="*/ 367189 w 1247775"/>
                  <a:gd name="connsiteY372" fmla="*/ 885349 h 1857375"/>
                  <a:gd name="connsiteX373" fmla="*/ 368141 w 1247775"/>
                  <a:gd name="connsiteY373" fmla="*/ 885349 h 1857375"/>
                  <a:gd name="connsiteX374" fmla="*/ 371951 w 1247775"/>
                  <a:gd name="connsiteY374" fmla="*/ 890111 h 1857375"/>
                  <a:gd name="connsiteX375" fmla="*/ 372904 w 1247775"/>
                  <a:gd name="connsiteY375" fmla="*/ 892016 h 1857375"/>
                  <a:gd name="connsiteX376" fmla="*/ 367189 w 1247775"/>
                  <a:gd name="connsiteY376" fmla="*/ 890111 h 1857375"/>
                  <a:gd name="connsiteX377" fmla="*/ 358616 w 1247775"/>
                  <a:gd name="connsiteY377" fmla="*/ 898684 h 1857375"/>
                  <a:gd name="connsiteX378" fmla="*/ 367189 w 1247775"/>
                  <a:gd name="connsiteY378" fmla="*/ 907256 h 1857375"/>
                  <a:gd name="connsiteX379" fmla="*/ 375761 w 1247775"/>
                  <a:gd name="connsiteY379" fmla="*/ 898684 h 1857375"/>
                  <a:gd name="connsiteX380" fmla="*/ 373856 w 1247775"/>
                  <a:gd name="connsiteY380" fmla="*/ 892969 h 1857375"/>
                  <a:gd name="connsiteX381" fmla="*/ 386239 w 1247775"/>
                  <a:gd name="connsiteY381" fmla="*/ 899636 h 1857375"/>
                  <a:gd name="connsiteX382" fmla="*/ 386239 w 1247775"/>
                  <a:gd name="connsiteY382" fmla="*/ 899636 h 1857375"/>
                  <a:gd name="connsiteX383" fmla="*/ 417671 w 1247775"/>
                  <a:gd name="connsiteY383" fmla="*/ 920591 h 1857375"/>
                  <a:gd name="connsiteX384" fmla="*/ 417671 w 1247775"/>
                  <a:gd name="connsiteY384" fmla="*/ 920591 h 1857375"/>
                  <a:gd name="connsiteX385" fmla="*/ 425291 w 1247775"/>
                  <a:gd name="connsiteY385" fmla="*/ 926306 h 1857375"/>
                  <a:gd name="connsiteX386" fmla="*/ 431006 w 1247775"/>
                  <a:gd name="connsiteY386" fmla="*/ 923449 h 1857375"/>
                  <a:gd name="connsiteX387" fmla="*/ 435769 w 1247775"/>
                  <a:gd name="connsiteY387" fmla="*/ 924401 h 1857375"/>
                  <a:gd name="connsiteX388" fmla="*/ 447199 w 1247775"/>
                  <a:gd name="connsiteY388" fmla="*/ 916781 h 1857375"/>
                  <a:gd name="connsiteX389" fmla="*/ 450056 w 1247775"/>
                  <a:gd name="connsiteY389" fmla="*/ 917734 h 1857375"/>
                  <a:gd name="connsiteX390" fmla="*/ 449104 w 1247775"/>
                  <a:gd name="connsiteY390" fmla="*/ 922496 h 1857375"/>
                  <a:gd name="connsiteX391" fmla="*/ 454819 w 1247775"/>
                  <a:gd name="connsiteY391" fmla="*/ 935831 h 1857375"/>
                  <a:gd name="connsiteX392" fmla="*/ 454819 w 1247775"/>
                  <a:gd name="connsiteY392" fmla="*/ 935831 h 1857375"/>
                  <a:gd name="connsiteX393" fmla="*/ 449104 w 1247775"/>
                  <a:gd name="connsiteY393" fmla="*/ 936784 h 1857375"/>
                  <a:gd name="connsiteX394" fmla="*/ 438626 w 1247775"/>
                  <a:gd name="connsiteY394" fmla="*/ 934879 h 1857375"/>
                  <a:gd name="connsiteX395" fmla="*/ 415766 w 1247775"/>
                  <a:gd name="connsiteY395" fmla="*/ 942499 h 1857375"/>
                  <a:gd name="connsiteX396" fmla="*/ 415766 w 1247775"/>
                  <a:gd name="connsiteY396" fmla="*/ 939641 h 1857375"/>
                  <a:gd name="connsiteX397" fmla="*/ 401479 w 1247775"/>
                  <a:gd name="connsiteY397" fmla="*/ 925354 h 1857375"/>
                  <a:gd name="connsiteX398" fmla="*/ 387191 w 1247775"/>
                  <a:gd name="connsiteY398" fmla="*/ 939641 h 1857375"/>
                  <a:gd name="connsiteX399" fmla="*/ 401479 w 1247775"/>
                  <a:gd name="connsiteY399" fmla="*/ 953929 h 1857375"/>
                  <a:gd name="connsiteX400" fmla="*/ 405289 w 1247775"/>
                  <a:gd name="connsiteY400" fmla="*/ 953929 h 1857375"/>
                  <a:gd name="connsiteX401" fmla="*/ 399574 w 1247775"/>
                  <a:gd name="connsiteY401" fmla="*/ 973931 h 1857375"/>
                  <a:gd name="connsiteX402" fmla="*/ 392906 w 1247775"/>
                  <a:gd name="connsiteY402" fmla="*/ 972979 h 1857375"/>
                  <a:gd name="connsiteX403" fmla="*/ 359569 w 1247775"/>
                  <a:gd name="connsiteY403" fmla="*/ 1006316 h 1857375"/>
                  <a:gd name="connsiteX404" fmla="*/ 392906 w 1247775"/>
                  <a:gd name="connsiteY404" fmla="*/ 1039654 h 1857375"/>
                  <a:gd name="connsiteX405" fmla="*/ 404336 w 1247775"/>
                  <a:gd name="connsiteY405" fmla="*/ 1037749 h 1857375"/>
                  <a:gd name="connsiteX406" fmla="*/ 409099 w 1247775"/>
                  <a:gd name="connsiteY406" fmla="*/ 1038701 h 1857375"/>
                  <a:gd name="connsiteX407" fmla="*/ 418624 w 1247775"/>
                  <a:gd name="connsiteY407" fmla="*/ 1029176 h 1857375"/>
                  <a:gd name="connsiteX408" fmla="*/ 418624 w 1247775"/>
                  <a:gd name="connsiteY408" fmla="*/ 1028224 h 1857375"/>
                  <a:gd name="connsiteX409" fmla="*/ 421481 w 1247775"/>
                  <a:gd name="connsiteY409" fmla="*/ 1024414 h 1857375"/>
                  <a:gd name="connsiteX410" fmla="*/ 424339 w 1247775"/>
                  <a:gd name="connsiteY410" fmla="*/ 1026319 h 1857375"/>
                  <a:gd name="connsiteX411" fmla="*/ 432911 w 1247775"/>
                  <a:gd name="connsiteY411" fmla="*/ 1035844 h 1857375"/>
                  <a:gd name="connsiteX412" fmla="*/ 429101 w 1247775"/>
                  <a:gd name="connsiteY412" fmla="*/ 1042511 h 1857375"/>
                  <a:gd name="connsiteX413" fmla="*/ 436721 w 1247775"/>
                  <a:gd name="connsiteY413" fmla="*/ 1050131 h 1857375"/>
                  <a:gd name="connsiteX414" fmla="*/ 444341 w 1247775"/>
                  <a:gd name="connsiteY414" fmla="*/ 1042511 h 1857375"/>
                  <a:gd name="connsiteX415" fmla="*/ 442436 w 1247775"/>
                  <a:gd name="connsiteY415" fmla="*/ 1037749 h 1857375"/>
                  <a:gd name="connsiteX416" fmla="*/ 447199 w 1247775"/>
                  <a:gd name="connsiteY416" fmla="*/ 1036796 h 1857375"/>
                  <a:gd name="connsiteX417" fmla="*/ 452914 w 1247775"/>
                  <a:gd name="connsiteY417" fmla="*/ 1042511 h 1857375"/>
                  <a:gd name="connsiteX418" fmla="*/ 447199 w 1247775"/>
                  <a:gd name="connsiteY418" fmla="*/ 1048226 h 1857375"/>
                  <a:gd name="connsiteX419" fmla="*/ 447199 w 1247775"/>
                  <a:gd name="connsiteY419" fmla="*/ 1048226 h 1857375"/>
                  <a:gd name="connsiteX420" fmla="*/ 424339 w 1247775"/>
                  <a:gd name="connsiteY420" fmla="*/ 1071086 h 1857375"/>
                  <a:gd name="connsiteX421" fmla="*/ 425291 w 1247775"/>
                  <a:gd name="connsiteY421" fmla="*/ 1076801 h 1857375"/>
                  <a:gd name="connsiteX422" fmla="*/ 412909 w 1247775"/>
                  <a:gd name="connsiteY422" fmla="*/ 1072991 h 1857375"/>
                  <a:gd name="connsiteX423" fmla="*/ 389096 w 1247775"/>
                  <a:gd name="connsiteY423" fmla="*/ 1096804 h 1857375"/>
                  <a:gd name="connsiteX424" fmla="*/ 389096 w 1247775"/>
                  <a:gd name="connsiteY424" fmla="*/ 1098709 h 1857375"/>
                  <a:gd name="connsiteX425" fmla="*/ 389096 w 1247775"/>
                  <a:gd name="connsiteY425" fmla="*/ 1098709 h 1857375"/>
                  <a:gd name="connsiteX426" fmla="*/ 377666 w 1247775"/>
                  <a:gd name="connsiteY426" fmla="*/ 1091089 h 1857375"/>
                  <a:gd name="connsiteX427" fmla="*/ 371951 w 1247775"/>
                  <a:gd name="connsiteY427" fmla="*/ 1092994 h 1857375"/>
                  <a:gd name="connsiteX428" fmla="*/ 374809 w 1247775"/>
                  <a:gd name="connsiteY428" fmla="*/ 1082516 h 1857375"/>
                  <a:gd name="connsiteX429" fmla="*/ 371951 w 1247775"/>
                  <a:gd name="connsiteY429" fmla="*/ 1072039 h 1857375"/>
                  <a:gd name="connsiteX430" fmla="*/ 375761 w 1247775"/>
                  <a:gd name="connsiteY430" fmla="*/ 1072991 h 1857375"/>
                  <a:gd name="connsiteX431" fmla="*/ 388144 w 1247775"/>
                  <a:gd name="connsiteY431" fmla="*/ 1060609 h 1857375"/>
                  <a:gd name="connsiteX432" fmla="*/ 388144 w 1247775"/>
                  <a:gd name="connsiteY432" fmla="*/ 1060609 h 1857375"/>
                  <a:gd name="connsiteX433" fmla="*/ 390049 w 1247775"/>
                  <a:gd name="connsiteY433" fmla="*/ 1054894 h 1857375"/>
                  <a:gd name="connsiteX434" fmla="*/ 381476 w 1247775"/>
                  <a:gd name="connsiteY434" fmla="*/ 1046321 h 1857375"/>
                  <a:gd name="connsiteX435" fmla="*/ 375761 w 1247775"/>
                  <a:gd name="connsiteY435" fmla="*/ 1048226 h 1857375"/>
                  <a:gd name="connsiteX436" fmla="*/ 374809 w 1247775"/>
                  <a:gd name="connsiteY436" fmla="*/ 1048226 h 1857375"/>
                  <a:gd name="connsiteX437" fmla="*/ 362426 w 1247775"/>
                  <a:gd name="connsiteY437" fmla="*/ 1060609 h 1857375"/>
                  <a:gd name="connsiteX438" fmla="*/ 363379 w 1247775"/>
                  <a:gd name="connsiteY438" fmla="*/ 1065371 h 1857375"/>
                  <a:gd name="connsiteX439" fmla="*/ 353854 w 1247775"/>
                  <a:gd name="connsiteY439" fmla="*/ 1062514 h 1857375"/>
                  <a:gd name="connsiteX440" fmla="*/ 333851 w 1247775"/>
                  <a:gd name="connsiteY440" fmla="*/ 1082516 h 1857375"/>
                  <a:gd name="connsiteX441" fmla="*/ 338614 w 1247775"/>
                  <a:gd name="connsiteY441" fmla="*/ 1094899 h 1857375"/>
                  <a:gd name="connsiteX442" fmla="*/ 336709 w 1247775"/>
                  <a:gd name="connsiteY442" fmla="*/ 1094899 h 1857375"/>
                  <a:gd name="connsiteX443" fmla="*/ 327184 w 1247775"/>
                  <a:gd name="connsiteY443" fmla="*/ 1104424 h 1857375"/>
                  <a:gd name="connsiteX444" fmla="*/ 328136 w 1247775"/>
                  <a:gd name="connsiteY444" fmla="*/ 1107281 h 1857375"/>
                  <a:gd name="connsiteX445" fmla="*/ 324326 w 1247775"/>
                  <a:gd name="connsiteY445" fmla="*/ 1108234 h 1857375"/>
                  <a:gd name="connsiteX446" fmla="*/ 324326 w 1247775"/>
                  <a:gd name="connsiteY446" fmla="*/ 1108234 h 1857375"/>
                  <a:gd name="connsiteX447" fmla="*/ 323374 w 1247775"/>
                  <a:gd name="connsiteY447" fmla="*/ 1108234 h 1857375"/>
                  <a:gd name="connsiteX448" fmla="*/ 326231 w 1247775"/>
                  <a:gd name="connsiteY448" fmla="*/ 1100614 h 1857375"/>
                  <a:gd name="connsiteX449" fmla="*/ 311944 w 1247775"/>
                  <a:gd name="connsiteY449" fmla="*/ 1086326 h 1857375"/>
                  <a:gd name="connsiteX450" fmla="*/ 307181 w 1247775"/>
                  <a:gd name="connsiteY450" fmla="*/ 1087279 h 1857375"/>
                  <a:gd name="connsiteX451" fmla="*/ 310991 w 1247775"/>
                  <a:gd name="connsiteY451" fmla="*/ 1080611 h 1857375"/>
                  <a:gd name="connsiteX452" fmla="*/ 312896 w 1247775"/>
                  <a:gd name="connsiteY452" fmla="*/ 1080611 h 1857375"/>
                  <a:gd name="connsiteX453" fmla="*/ 343376 w 1247775"/>
                  <a:gd name="connsiteY453" fmla="*/ 1050131 h 1857375"/>
                  <a:gd name="connsiteX454" fmla="*/ 342424 w 1247775"/>
                  <a:gd name="connsiteY454" fmla="*/ 1044416 h 1857375"/>
                  <a:gd name="connsiteX455" fmla="*/ 350996 w 1247775"/>
                  <a:gd name="connsiteY455" fmla="*/ 1032034 h 1857375"/>
                  <a:gd name="connsiteX456" fmla="*/ 337661 w 1247775"/>
                  <a:gd name="connsiteY456" fmla="*/ 1018699 h 1857375"/>
                  <a:gd name="connsiteX457" fmla="*/ 327184 w 1247775"/>
                  <a:gd name="connsiteY457" fmla="*/ 1023461 h 1857375"/>
                  <a:gd name="connsiteX458" fmla="*/ 322421 w 1247775"/>
                  <a:gd name="connsiteY458" fmla="*/ 1021556 h 1857375"/>
                  <a:gd name="connsiteX459" fmla="*/ 322421 w 1247775"/>
                  <a:gd name="connsiteY459" fmla="*/ 1020604 h 1857375"/>
                  <a:gd name="connsiteX460" fmla="*/ 330041 w 1247775"/>
                  <a:gd name="connsiteY460" fmla="*/ 1005364 h 1857375"/>
                  <a:gd name="connsiteX461" fmla="*/ 312896 w 1247775"/>
                  <a:gd name="connsiteY461" fmla="*/ 987266 h 1857375"/>
                  <a:gd name="connsiteX462" fmla="*/ 317659 w 1247775"/>
                  <a:gd name="connsiteY462" fmla="*/ 978694 h 1857375"/>
                  <a:gd name="connsiteX463" fmla="*/ 328136 w 1247775"/>
                  <a:gd name="connsiteY463" fmla="*/ 971074 h 1857375"/>
                  <a:gd name="connsiteX464" fmla="*/ 345281 w 1247775"/>
                  <a:gd name="connsiteY464" fmla="*/ 976789 h 1857375"/>
                  <a:gd name="connsiteX465" fmla="*/ 374809 w 1247775"/>
                  <a:gd name="connsiteY465" fmla="*/ 947261 h 1857375"/>
                  <a:gd name="connsiteX466" fmla="*/ 350996 w 1247775"/>
                  <a:gd name="connsiteY466" fmla="*/ 918686 h 1857375"/>
                  <a:gd name="connsiteX467" fmla="*/ 350044 w 1247775"/>
                  <a:gd name="connsiteY467" fmla="*/ 915829 h 1857375"/>
                  <a:gd name="connsiteX468" fmla="*/ 357664 w 1247775"/>
                  <a:gd name="connsiteY468" fmla="*/ 903446 h 1857375"/>
                  <a:gd name="connsiteX469" fmla="*/ 344329 w 1247775"/>
                  <a:gd name="connsiteY469" fmla="*/ 890111 h 1857375"/>
                  <a:gd name="connsiteX470" fmla="*/ 330994 w 1247775"/>
                  <a:gd name="connsiteY470" fmla="*/ 903446 h 1857375"/>
                  <a:gd name="connsiteX471" fmla="*/ 331946 w 1247775"/>
                  <a:gd name="connsiteY471" fmla="*/ 908209 h 1857375"/>
                  <a:gd name="connsiteX472" fmla="*/ 323374 w 1247775"/>
                  <a:gd name="connsiteY472" fmla="*/ 918686 h 1857375"/>
                  <a:gd name="connsiteX473" fmla="*/ 304324 w 1247775"/>
                  <a:gd name="connsiteY473" fmla="*/ 912971 h 1857375"/>
                  <a:gd name="connsiteX474" fmla="*/ 281464 w 1247775"/>
                  <a:gd name="connsiteY474" fmla="*/ 921544 h 1857375"/>
                  <a:gd name="connsiteX475" fmla="*/ 281464 w 1247775"/>
                  <a:gd name="connsiteY475" fmla="*/ 920591 h 1857375"/>
                  <a:gd name="connsiteX476" fmla="*/ 256699 w 1247775"/>
                  <a:gd name="connsiteY476" fmla="*/ 895826 h 1857375"/>
                  <a:gd name="connsiteX477" fmla="*/ 251936 w 1247775"/>
                  <a:gd name="connsiteY477" fmla="*/ 896779 h 1857375"/>
                  <a:gd name="connsiteX478" fmla="*/ 234791 w 1247775"/>
                  <a:gd name="connsiteY478" fmla="*/ 872966 h 1857375"/>
                  <a:gd name="connsiteX479" fmla="*/ 234791 w 1247775"/>
                  <a:gd name="connsiteY479" fmla="*/ 872966 h 1857375"/>
                  <a:gd name="connsiteX480" fmla="*/ 250984 w 1247775"/>
                  <a:gd name="connsiteY480" fmla="*/ 856774 h 1857375"/>
                  <a:gd name="connsiteX481" fmla="*/ 234791 w 1247775"/>
                  <a:gd name="connsiteY481" fmla="*/ 840581 h 1857375"/>
                  <a:gd name="connsiteX482" fmla="*/ 218599 w 1247775"/>
                  <a:gd name="connsiteY482" fmla="*/ 856774 h 1857375"/>
                  <a:gd name="connsiteX483" fmla="*/ 227171 w 1247775"/>
                  <a:gd name="connsiteY483" fmla="*/ 871061 h 1857375"/>
                  <a:gd name="connsiteX484" fmla="*/ 223361 w 1247775"/>
                  <a:gd name="connsiteY484" fmla="*/ 871061 h 1857375"/>
                  <a:gd name="connsiteX485" fmla="*/ 216694 w 1247775"/>
                  <a:gd name="connsiteY485" fmla="*/ 872014 h 1857375"/>
                  <a:gd name="connsiteX486" fmla="*/ 213836 w 1247775"/>
                  <a:gd name="connsiteY486" fmla="*/ 870109 h 1857375"/>
                  <a:gd name="connsiteX487" fmla="*/ 200501 w 1247775"/>
                  <a:gd name="connsiteY487" fmla="*/ 859631 h 1857375"/>
                  <a:gd name="connsiteX488" fmla="*/ 196691 w 1247775"/>
                  <a:gd name="connsiteY488" fmla="*/ 860584 h 1857375"/>
                  <a:gd name="connsiteX489" fmla="*/ 196691 w 1247775"/>
                  <a:gd name="connsiteY489" fmla="*/ 860584 h 1857375"/>
                  <a:gd name="connsiteX490" fmla="*/ 194786 w 1247775"/>
                  <a:gd name="connsiteY490" fmla="*/ 849154 h 1857375"/>
                  <a:gd name="connsiteX491" fmla="*/ 198596 w 1247775"/>
                  <a:gd name="connsiteY491" fmla="*/ 842486 h 1857375"/>
                  <a:gd name="connsiteX492" fmla="*/ 203359 w 1247775"/>
                  <a:gd name="connsiteY492" fmla="*/ 827246 h 1857375"/>
                  <a:gd name="connsiteX493" fmla="*/ 200501 w 1247775"/>
                  <a:gd name="connsiteY493" fmla="*/ 815816 h 1857375"/>
                  <a:gd name="connsiteX494" fmla="*/ 205264 w 1247775"/>
                  <a:gd name="connsiteY494" fmla="*/ 816769 h 1857375"/>
                  <a:gd name="connsiteX495" fmla="*/ 226219 w 1247775"/>
                  <a:gd name="connsiteY495" fmla="*/ 795814 h 1857375"/>
                  <a:gd name="connsiteX496" fmla="*/ 205264 w 1247775"/>
                  <a:gd name="connsiteY496" fmla="*/ 774859 h 1857375"/>
                  <a:gd name="connsiteX497" fmla="*/ 184309 w 1247775"/>
                  <a:gd name="connsiteY497" fmla="*/ 795814 h 1857375"/>
                  <a:gd name="connsiteX498" fmla="*/ 186214 w 1247775"/>
                  <a:gd name="connsiteY498" fmla="*/ 803434 h 1857375"/>
                  <a:gd name="connsiteX499" fmla="*/ 177641 w 1247775"/>
                  <a:gd name="connsiteY499" fmla="*/ 802481 h 1857375"/>
                  <a:gd name="connsiteX500" fmla="*/ 157639 w 1247775"/>
                  <a:gd name="connsiteY500" fmla="*/ 812006 h 1857375"/>
                  <a:gd name="connsiteX501" fmla="*/ 140494 w 1247775"/>
                  <a:gd name="connsiteY501" fmla="*/ 802481 h 1857375"/>
                  <a:gd name="connsiteX502" fmla="*/ 130969 w 1247775"/>
                  <a:gd name="connsiteY502" fmla="*/ 804386 h 1857375"/>
                  <a:gd name="connsiteX503" fmla="*/ 120491 w 1247775"/>
                  <a:gd name="connsiteY503" fmla="*/ 794861 h 1857375"/>
                  <a:gd name="connsiteX504" fmla="*/ 110966 w 1247775"/>
                  <a:gd name="connsiteY504" fmla="*/ 800576 h 1857375"/>
                  <a:gd name="connsiteX505" fmla="*/ 98584 w 1247775"/>
                  <a:gd name="connsiteY505" fmla="*/ 818674 h 1857375"/>
                  <a:gd name="connsiteX506" fmla="*/ 118586 w 1247775"/>
                  <a:gd name="connsiteY506" fmla="*/ 838676 h 1857375"/>
                  <a:gd name="connsiteX507" fmla="*/ 126206 w 1247775"/>
                  <a:gd name="connsiteY507" fmla="*/ 836771 h 1857375"/>
                  <a:gd name="connsiteX508" fmla="*/ 140494 w 1247775"/>
                  <a:gd name="connsiteY508" fmla="*/ 842486 h 1857375"/>
                  <a:gd name="connsiteX509" fmla="*/ 148114 w 1247775"/>
                  <a:gd name="connsiteY509" fmla="*/ 840581 h 1857375"/>
                  <a:gd name="connsiteX510" fmla="*/ 141446 w 1247775"/>
                  <a:gd name="connsiteY510" fmla="*/ 858679 h 1857375"/>
                  <a:gd name="connsiteX511" fmla="*/ 161449 w 1247775"/>
                  <a:gd name="connsiteY511" fmla="*/ 885349 h 1857375"/>
                  <a:gd name="connsiteX512" fmla="*/ 153829 w 1247775"/>
                  <a:gd name="connsiteY512" fmla="*/ 911066 h 1857375"/>
                  <a:gd name="connsiteX513" fmla="*/ 165259 w 1247775"/>
                  <a:gd name="connsiteY513" fmla="*/ 940594 h 1857375"/>
                  <a:gd name="connsiteX514" fmla="*/ 154781 w 1247775"/>
                  <a:gd name="connsiteY514" fmla="*/ 955834 h 1857375"/>
                  <a:gd name="connsiteX515" fmla="*/ 170974 w 1247775"/>
                  <a:gd name="connsiteY515" fmla="*/ 972026 h 1857375"/>
                  <a:gd name="connsiteX516" fmla="*/ 187166 w 1247775"/>
                  <a:gd name="connsiteY516" fmla="*/ 957739 h 1857375"/>
                  <a:gd name="connsiteX517" fmla="*/ 188119 w 1247775"/>
                  <a:gd name="connsiteY517" fmla="*/ 957739 h 1857375"/>
                  <a:gd name="connsiteX518" fmla="*/ 192881 w 1247775"/>
                  <a:gd name="connsiteY518" fmla="*/ 955834 h 1857375"/>
                  <a:gd name="connsiteX519" fmla="*/ 199549 w 1247775"/>
                  <a:gd name="connsiteY519" fmla="*/ 956786 h 1857375"/>
                  <a:gd name="connsiteX520" fmla="*/ 211931 w 1247775"/>
                  <a:gd name="connsiteY520" fmla="*/ 954881 h 1857375"/>
                  <a:gd name="connsiteX521" fmla="*/ 211931 w 1247775"/>
                  <a:gd name="connsiteY521" fmla="*/ 954881 h 1857375"/>
                  <a:gd name="connsiteX522" fmla="*/ 228124 w 1247775"/>
                  <a:gd name="connsiteY522" fmla="*/ 948214 h 1857375"/>
                  <a:gd name="connsiteX523" fmla="*/ 237649 w 1247775"/>
                  <a:gd name="connsiteY523" fmla="*/ 954881 h 1857375"/>
                  <a:gd name="connsiteX524" fmla="*/ 241459 w 1247775"/>
                  <a:gd name="connsiteY524" fmla="*/ 953929 h 1857375"/>
                  <a:gd name="connsiteX525" fmla="*/ 254794 w 1247775"/>
                  <a:gd name="connsiteY525" fmla="*/ 957739 h 1857375"/>
                  <a:gd name="connsiteX526" fmla="*/ 267176 w 1247775"/>
                  <a:gd name="connsiteY526" fmla="*/ 953929 h 1857375"/>
                  <a:gd name="connsiteX527" fmla="*/ 269081 w 1247775"/>
                  <a:gd name="connsiteY527" fmla="*/ 953929 h 1857375"/>
                  <a:gd name="connsiteX528" fmla="*/ 272891 w 1247775"/>
                  <a:gd name="connsiteY528" fmla="*/ 952976 h 1857375"/>
                  <a:gd name="connsiteX529" fmla="*/ 281464 w 1247775"/>
                  <a:gd name="connsiteY529" fmla="*/ 970121 h 1857375"/>
                  <a:gd name="connsiteX530" fmla="*/ 277654 w 1247775"/>
                  <a:gd name="connsiteY530" fmla="*/ 970121 h 1857375"/>
                  <a:gd name="connsiteX531" fmla="*/ 275749 w 1247775"/>
                  <a:gd name="connsiteY531" fmla="*/ 970121 h 1857375"/>
                  <a:gd name="connsiteX532" fmla="*/ 265271 w 1247775"/>
                  <a:gd name="connsiteY532" fmla="*/ 959644 h 1857375"/>
                  <a:gd name="connsiteX533" fmla="*/ 254794 w 1247775"/>
                  <a:gd name="connsiteY533" fmla="*/ 970121 h 1857375"/>
                  <a:gd name="connsiteX534" fmla="*/ 260509 w 1247775"/>
                  <a:gd name="connsiteY534" fmla="*/ 979646 h 1857375"/>
                  <a:gd name="connsiteX535" fmla="*/ 257651 w 1247775"/>
                  <a:gd name="connsiteY535" fmla="*/ 986314 h 1857375"/>
                  <a:gd name="connsiteX536" fmla="*/ 247174 w 1247775"/>
                  <a:gd name="connsiteY536" fmla="*/ 982504 h 1857375"/>
                  <a:gd name="connsiteX537" fmla="*/ 230029 w 1247775"/>
                  <a:gd name="connsiteY537" fmla="*/ 966311 h 1857375"/>
                  <a:gd name="connsiteX538" fmla="*/ 212884 w 1247775"/>
                  <a:gd name="connsiteY538" fmla="*/ 983456 h 1857375"/>
                  <a:gd name="connsiteX539" fmla="*/ 215741 w 1247775"/>
                  <a:gd name="connsiteY539" fmla="*/ 992029 h 1857375"/>
                  <a:gd name="connsiteX540" fmla="*/ 206216 w 1247775"/>
                  <a:gd name="connsiteY540" fmla="*/ 1014889 h 1857375"/>
                  <a:gd name="connsiteX541" fmla="*/ 207169 w 1247775"/>
                  <a:gd name="connsiteY541" fmla="*/ 1022509 h 1857375"/>
                  <a:gd name="connsiteX542" fmla="*/ 200501 w 1247775"/>
                  <a:gd name="connsiteY542" fmla="*/ 1021556 h 1857375"/>
                  <a:gd name="connsiteX543" fmla="*/ 195739 w 1247775"/>
                  <a:gd name="connsiteY543" fmla="*/ 1022509 h 1857375"/>
                  <a:gd name="connsiteX544" fmla="*/ 182404 w 1247775"/>
                  <a:gd name="connsiteY544" fmla="*/ 1015841 h 1857375"/>
                  <a:gd name="connsiteX545" fmla="*/ 165259 w 1247775"/>
                  <a:gd name="connsiteY545" fmla="*/ 1032986 h 1857375"/>
                  <a:gd name="connsiteX546" fmla="*/ 170974 w 1247775"/>
                  <a:gd name="connsiteY546" fmla="*/ 1045369 h 1857375"/>
                  <a:gd name="connsiteX547" fmla="*/ 170021 w 1247775"/>
                  <a:gd name="connsiteY547" fmla="*/ 1051084 h 1857375"/>
                  <a:gd name="connsiteX548" fmla="*/ 170974 w 1247775"/>
                  <a:gd name="connsiteY548" fmla="*/ 1057751 h 1857375"/>
                  <a:gd name="connsiteX549" fmla="*/ 164306 w 1247775"/>
                  <a:gd name="connsiteY549" fmla="*/ 1073944 h 1857375"/>
                  <a:gd name="connsiteX550" fmla="*/ 166211 w 1247775"/>
                  <a:gd name="connsiteY550" fmla="*/ 1081564 h 1857375"/>
                  <a:gd name="connsiteX551" fmla="*/ 162401 w 1247775"/>
                  <a:gd name="connsiteY551" fmla="*/ 1081564 h 1857375"/>
                  <a:gd name="connsiteX552" fmla="*/ 162401 w 1247775"/>
                  <a:gd name="connsiteY552" fmla="*/ 1080611 h 1857375"/>
                  <a:gd name="connsiteX553" fmla="*/ 161449 w 1247775"/>
                  <a:gd name="connsiteY553" fmla="*/ 1074896 h 1857375"/>
                  <a:gd name="connsiteX554" fmla="*/ 162401 w 1247775"/>
                  <a:gd name="connsiteY554" fmla="*/ 1070134 h 1857375"/>
                  <a:gd name="connsiteX555" fmla="*/ 147161 w 1247775"/>
                  <a:gd name="connsiteY555" fmla="*/ 1054894 h 1857375"/>
                  <a:gd name="connsiteX556" fmla="*/ 137636 w 1247775"/>
                  <a:gd name="connsiteY556" fmla="*/ 1057751 h 1857375"/>
                  <a:gd name="connsiteX557" fmla="*/ 116681 w 1247775"/>
                  <a:gd name="connsiteY557" fmla="*/ 1080611 h 1857375"/>
                  <a:gd name="connsiteX558" fmla="*/ 135731 w 1247775"/>
                  <a:gd name="connsiteY558" fmla="*/ 1103471 h 1857375"/>
                  <a:gd name="connsiteX559" fmla="*/ 132874 w 1247775"/>
                  <a:gd name="connsiteY559" fmla="*/ 1115854 h 1857375"/>
                  <a:gd name="connsiteX560" fmla="*/ 157639 w 1247775"/>
                  <a:gd name="connsiteY560" fmla="*/ 1149191 h 1857375"/>
                  <a:gd name="connsiteX561" fmla="*/ 151924 w 1247775"/>
                  <a:gd name="connsiteY561" fmla="*/ 1148239 h 1857375"/>
                  <a:gd name="connsiteX562" fmla="*/ 123349 w 1247775"/>
                  <a:gd name="connsiteY562" fmla="*/ 1166336 h 1857375"/>
                  <a:gd name="connsiteX563" fmla="*/ 102394 w 1247775"/>
                  <a:gd name="connsiteY563" fmla="*/ 1157764 h 1857375"/>
                  <a:gd name="connsiteX564" fmla="*/ 73819 w 1247775"/>
                  <a:gd name="connsiteY564" fmla="*/ 1186339 h 1857375"/>
                  <a:gd name="connsiteX565" fmla="*/ 85249 w 1247775"/>
                  <a:gd name="connsiteY565" fmla="*/ 1209199 h 1857375"/>
                  <a:gd name="connsiteX566" fmla="*/ 85249 w 1247775"/>
                  <a:gd name="connsiteY566" fmla="*/ 1210151 h 1857375"/>
                  <a:gd name="connsiteX567" fmla="*/ 96679 w 1247775"/>
                  <a:gd name="connsiteY567" fmla="*/ 1222534 h 1857375"/>
                  <a:gd name="connsiteX568" fmla="*/ 84296 w 1247775"/>
                  <a:gd name="connsiteY568" fmla="*/ 1237774 h 1857375"/>
                  <a:gd name="connsiteX569" fmla="*/ 100489 w 1247775"/>
                  <a:gd name="connsiteY569" fmla="*/ 1253966 h 1857375"/>
                  <a:gd name="connsiteX570" fmla="*/ 115729 w 1247775"/>
                  <a:gd name="connsiteY570" fmla="*/ 1241584 h 1857375"/>
                  <a:gd name="connsiteX571" fmla="*/ 139541 w 1247775"/>
                  <a:gd name="connsiteY571" fmla="*/ 1256824 h 1857375"/>
                  <a:gd name="connsiteX572" fmla="*/ 140494 w 1247775"/>
                  <a:gd name="connsiteY572" fmla="*/ 1256824 h 1857375"/>
                  <a:gd name="connsiteX573" fmla="*/ 140494 w 1247775"/>
                  <a:gd name="connsiteY573" fmla="*/ 1257776 h 1857375"/>
                  <a:gd name="connsiteX574" fmla="*/ 130016 w 1247775"/>
                  <a:gd name="connsiteY574" fmla="*/ 1272064 h 1857375"/>
                  <a:gd name="connsiteX575" fmla="*/ 110966 w 1247775"/>
                  <a:gd name="connsiteY575" fmla="*/ 1267301 h 1857375"/>
                  <a:gd name="connsiteX576" fmla="*/ 85249 w 1247775"/>
                  <a:gd name="connsiteY576" fmla="*/ 1276826 h 1857375"/>
                  <a:gd name="connsiteX577" fmla="*/ 77629 w 1247775"/>
                  <a:gd name="connsiteY577" fmla="*/ 1273969 h 1857375"/>
                  <a:gd name="connsiteX578" fmla="*/ 64294 w 1247775"/>
                  <a:gd name="connsiteY578" fmla="*/ 1287304 h 1857375"/>
                  <a:gd name="connsiteX579" fmla="*/ 64294 w 1247775"/>
                  <a:gd name="connsiteY579" fmla="*/ 1290161 h 1857375"/>
                  <a:gd name="connsiteX580" fmla="*/ 64294 w 1247775"/>
                  <a:gd name="connsiteY580" fmla="*/ 1291114 h 1857375"/>
                  <a:gd name="connsiteX581" fmla="*/ 59531 w 1247775"/>
                  <a:gd name="connsiteY581" fmla="*/ 1290161 h 1857375"/>
                  <a:gd name="connsiteX582" fmla="*/ 40481 w 1247775"/>
                  <a:gd name="connsiteY582" fmla="*/ 1309211 h 1857375"/>
                  <a:gd name="connsiteX583" fmla="*/ 59531 w 1247775"/>
                  <a:gd name="connsiteY583" fmla="*/ 1328261 h 1857375"/>
                  <a:gd name="connsiteX584" fmla="*/ 73819 w 1247775"/>
                  <a:gd name="connsiteY584" fmla="*/ 1322546 h 1857375"/>
                  <a:gd name="connsiteX585" fmla="*/ 111919 w 1247775"/>
                  <a:gd name="connsiteY585" fmla="*/ 1348264 h 1857375"/>
                  <a:gd name="connsiteX586" fmla="*/ 139541 w 1247775"/>
                  <a:gd name="connsiteY586" fmla="*/ 1337786 h 1857375"/>
                  <a:gd name="connsiteX587" fmla="*/ 136684 w 1247775"/>
                  <a:gd name="connsiteY587" fmla="*/ 1345406 h 1857375"/>
                  <a:gd name="connsiteX588" fmla="*/ 136684 w 1247775"/>
                  <a:gd name="connsiteY588" fmla="*/ 1345406 h 1857375"/>
                  <a:gd name="connsiteX589" fmla="*/ 116681 w 1247775"/>
                  <a:gd name="connsiteY589" fmla="*/ 1373981 h 1857375"/>
                  <a:gd name="connsiteX590" fmla="*/ 123349 w 1247775"/>
                  <a:gd name="connsiteY590" fmla="*/ 1393031 h 1857375"/>
                  <a:gd name="connsiteX591" fmla="*/ 113824 w 1247775"/>
                  <a:gd name="connsiteY591" fmla="*/ 1390174 h 1857375"/>
                  <a:gd name="connsiteX592" fmla="*/ 99536 w 1247775"/>
                  <a:gd name="connsiteY592" fmla="*/ 1398746 h 1857375"/>
                  <a:gd name="connsiteX593" fmla="*/ 98584 w 1247775"/>
                  <a:gd name="connsiteY593" fmla="*/ 1398746 h 1857375"/>
                  <a:gd name="connsiteX594" fmla="*/ 90964 w 1247775"/>
                  <a:gd name="connsiteY594" fmla="*/ 1400651 h 1857375"/>
                  <a:gd name="connsiteX595" fmla="*/ 59531 w 1247775"/>
                  <a:gd name="connsiteY595" fmla="*/ 1384459 h 1857375"/>
                  <a:gd name="connsiteX596" fmla="*/ 33814 w 1247775"/>
                  <a:gd name="connsiteY596" fmla="*/ 1393984 h 1857375"/>
                  <a:gd name="connsiteX597" fmla="*/ 32861 w 1247775"/>
                  <a:gd name="connsiteY597" fmla="*/ 1393984 h 1857375"/>
                  <a:gd name="connsiteX598" fmla="*/ 27146 w 1247775"/>
                  <a:gd name="connsiteY598" fmla="*/ 1399699 h 1857375"/>
                  <a:gd name="connsiteX599" fmla="*/ 27146 w 1247775"/>
                  <a:gd name="connsiteY599" fmla="*/ 1400651 h 1857375"/>
                  <a:gd name="connsiteX600" fmla="*/ 19526 w 1247775"/>
                  <a:gd name="connsiteY600" fmla="*/ 1420654 h 1857375"/>
                  <a:gd name="connsiteX601" fmla="*/ 7144 w 1247775"/>
                  <a:gd name="connsiteY601" fmla="*/ 1437799 h 1857375"/>
                  <a:gd name="connsiteX602" fmla="*/ 26194 w 1247775"/>
                  <a:gd name="connsiteY602" fmla="*/ 1456849 h 1857375"/>
                  <a:gd name="connsiteX603" fmla="*/ 34766 w 1247775"/>
                  <a:gd name="connsiteY603" fmla="*/ 1454944 h 1857375"/>
                  <a:gd name="connsiteX604" fmla="*/ 59531 w 1247775"/>
                  <a:gd name="connsiteY604" fmla="*/ 1463516 h 1857375"/>
                  <a:gd name="connsiteX605" fmla="*/ 98584 w 1247775"/>
                  <a:gd name="connsiteY605" fmla="*/ 1429226 h 1857375"/>
                  <a:gd name="connsiteX606" fmla="*/ 98584 w 1247775"/>
                  <a:gd name="connsiteY606" fmla="*/ 1429226 h 1857375"/>
                  <a:gd name="connsiteX607" fmla="*/ 110966 w 1247775"/>
                  <a:gd name="connsiteY607" fmla="*/ 1422559 h 1857375"/>
                  <a:gd name="connsiteX608" fmla="*/ 112871 w 1247775"/>
                  <a:gd name="connsiteY608" fmla="*/ 1422559 h 1857375"/>
                  <a:gd name="connsiteX609" fmla="*/ 129064 w 1247775"/>
                  <a:gd name="connsiteY609" fmla="*/ 1406366 h 1857375"/>
                  <a:gd name="connsiteX610" fmla="*/ 126206 w 1247775"/>
                  <a:gd name="connsiteY610" fmla="*/ 1397794 h 1857375"/>
                  <a:gd name="connsiteX611" fmla="*/ 146209 w 1247775"/>
                  <a:gd name="connsiteY611" fmla="*/ 1405414 h 1857375"/>
                  <a:gd name="connsiteX612" fmla="*/ 173831 w 1247775"/>
                  <a:gd name="connsiteY612" fmla="*/ 1388269 h 1857375"/>
                  <a:gd name="connsiteX613" fmla="*/ 176689 w 1247775"/>
                  <a:gd name="connsiteY613" fmla="*/ 1388269 h 1857375"/>
                  <a:gd name="connsiteX614" fmla="*/ 177641 w 1247775"/>
                  <a:gd name="connsiteY614" fmla="*/ 1388269 h 1857375"/>
                  <a:gd name="connsiteX615" fmla="*/ 212884 w 1247775"/>
                  <a:gd name="connsiteY615" fmla="*/ 1410176 h 1857375"/>
                  <a:gd name="connsiteX616" fmla="*/ 246221 w 1247775"/>
                  <a:gd name="connsiteY616" fmla="*/ 1391126 h 1857375"/>
                  <a:gd name="connsiteX617" fmla="*/ 247174 w 1247775"/>
                  <a:gd name="connsiteY617" fmla="*/ 1391126 h 1857375"/>
                  <a:gd name="connsiteX618" fmla="*/ 253841 w 1247775"/>
                  <a:gd name="connsiteY618" fmla="*/ 1383506 h 1857375"/>
                  <a:gd name="connsiteX619" fmla="*/ 250984 w 1247775"/>
                  <a:gd name="connsiteY619" fmla="*/ 1377791 h 1857375"/>
                  <a:gd name="connsiteX620" fmla="*/ 251936 w 1247775"/>
                  <a:gd name="connsiteY620" fmla="*/ 1370171 h 1857375"/>
                  <a:gd name="connsiteX621" fmla="*/ 212884 w 1247775"/>
                  <a:gd name="connsiteY621" fmla="*/ 1331119 h 1857375"/>
                  <a:gd name="connsiteX622" fmla="*/ 206216 w 1247775"/>
                  <a:gd name="connsiteY622" fmla="*/ 1332071 h 1857375"/>
                  <a:gd name="connsiteX623" fmla="*/ 199549 w 1247775"/>
                  <a:gd name="connsiteY623" fmla="*/ 1331119 h 1857375"/>
                  <a:gd name="connsiteX624" fmla="*/ 188119 w 1247775"/>
                  <a:gd name="connsiteY624" fmla="*/ 1320641 h 1857375"/>
                  <a:gd name="connsiteX625" fmla="*/ 176689 w 1247775"/>
                  <a:gd name="connsiteY625" fmla="*/ 1332071 h 1857375"/>
                  <a:gd name="connsiteX626" fmla="*/ 176689 w 1247775"/>
                  <a:gd name="connsiteY626" fmla="*/ 1333024 h 1857375"/>
                  <a:gd name="connsiteX627" fmla="*/ 165259 w 1247775"/>
                  <a:gd name="connsiteY627" fmla="*/ 1329214 h 1857375"/>
                  <a:gd name="connsiteX628" fmla="*/ 150019 w 1247775"/>
                  <a:gd name="connsiteY628" fmla="*/ 1334929 h 1857375"/>
                  <a:gd name="connsiteX629" fmla="*/ 147161 w 1247775"/>
                  <a:gd name="connsiteY629" fmla="*/ 1333976 h 1857375"/>
                  <a:gd name="connsiteX630" fmla="*/ 139541 w 1247775"/>
                  <a:gd name="connsiteY630" fmla="*/ 1336834 h 1857375"/>
                  <a:gd name="connsiteX631" fmla="*/ 150971 w 1247775"/>
                  <a:gd name="connsiteY631" fmla="*/ 1308259 h 1857375"/>
                  <a:gd name="connsiteX632" fmla="*/ 150019 w 1247775"/>
                  <a:gd name="connsiteY632" fmla="*/ 1303496 h 1857375"/>
                  <a:gd name="connsiteX633" fmla="*/ 151924 w 1247775"/>
                  <a:gd name="connsiteY633" fmla="*/ 1303496 h 1857375"/>
                  <a:gd name="connsiteX634" fmla="*/ 176689 w 1247775"/>
                  <a:gd name="connsiteY634" fmla="*/ 1278731 h 1857375"/>
                  <a:gd name="connsiteX635" fmla="*/ 153829 w 1247775"/>
                  <a:gd name="connsiteY635" fmla="*/ 1254919 h 1857375"/>
                  <a:gd name="connsiteX636" fmla="*/ 152876 w 1247775"/>
                  <a:gd name="connsiteY636" fmla="*/ 1253014 h 1857375"/>
                  <a:gd name="connsiteX637" fmla="*/ 156686 w 1247775"/>
                  <a:gd name="connsiteY637" fmla="*/ 1249204 h 1857375"/>
                  <a:gd name="connsiteX638" fmla="*/ 170021 w 1247775"/>
                  <a:gd name="connsiteY638" fmla="*/ 1233011 h 1857375"/>
                  <a:gd name="connsiteX639" fmla="*/ 168116 w 1247775"/>
                  <a:gd name="connsiteY639" fmla="*/ 1224439 h 1857375"/>
                  <a:gd name="connsiteX640" fmla="*/ 176689 w 1247775"/>
                  <a:gd name="connsiteY640" fmla="*/ 1213961 h 1857375"/>
                  <a:gd name="connsiteX641" fmla="*/ 170021 w 1247775"/>
                  <a:gd name="connsiteY641" fmla="*/ 1204436 h 1857375"/>
                  <a:gd name="connsiteX642" fmla="*/ 180499 w 1247775"/>
                  <a:gd name="connsiteY642" fmla="*/ 1181576 h 1857375"/>
                  <a:gd name="connsiteX643" fmla="*/ 158591 w 1247775"/>
                  <a:gd name="connsiteY643" fmla="*/ 1152049 h 1857375"/>
                  <a:gd name="connsiteX644" fmla="*/ 165259 w 1247775"/>
                  <a:gd name="connsiteY644" fmla="*/ 1153001 h 1857375"/>
                  <a:gd name="connsiteX645" fmla="*/ 169069 w 1247775"/>
                  <a:gd name="connsiteY645" fmla="*/ 1153001 h 1857375"/>
                  <a:gd name="connsiteX646" fmla="*/ 169069 w 1247775"/>
                  <a:gd name="connsiteY646" fmla="*/ 1153001 h 1857375"/>
                  <a:gd name="connsiteX647" fmla="*/ 177641 w 1247775"/>
                  <a:gd name="connsiteY647" fmla="*/ 1161574 h 1857375"/>
                  <a:gd name="connsiteX648" fmla="*/ 178594 w 1247775"/>
                  <a:gd name="connsiteY648" fmla="*/ 1161574 h 1857375"/>
                  <a:gd name="connsiteX649" fmla="*/ 178594 w 1247775"/>
                  <a:gd name="connsiteY649" fmla="*/ 1162526 h 1857375"/>
                  <a:gd name="connsiteX650" fmla="*/ 188119 w 1247775"/>
                  <a:gd name="connsiteY650" fmla="*/ 1180624 h 1857375"/>
                  <a:gd name="connsiteX651" fmla="*/ 185261 w 1247775"/>
                  <a:gd name="connsiteY651" fmla="*/ 1193006 h 1857375"/>
                  <a:gd name="connsiteX652" fmla="*/ 210026 w 1247775"/>
                  <a:gd name="connsiteY652" fmla="*/ 1221581 h 1857375"/>
                  <a:gd name="connsiteX653" fmla="*/ 205264 w 1247775"/>
                  <a:gd name="connsiteY653" fmla="*/ 1229201 h 1857375"/>
                  <a:gd name="connsiteX654" fmla="*/ 213836 w 1247775"/>
                  <a:gd name="connsiteY654" fmla="*/ 1237774 h 1857375"/>
                  <a:gd name="connsiteX655" fmla="*/ 222409 w 1247775"/>
                  <a:gd name="connsiteY655" fmla="*/ 1229201 h 1857375"/>
                  <a:gd name="connsiteX656" fmla="*/ 217646 w 1247775"/>
                  <a:gd name="connsiteY656" fmla="*/ 1221581 h 1857375"/>
                  <a:gd name="connsiteX657" fmla="*/ 219551 w 1247775"/>
                  <a:gd name="connsiteY657" fmla="*/ 1221581 h 1857375"/>
                  <a:gd name="connsiteX658" fmla="*/ 226219 w 1247775"/>
                  <a:gd name="connsiteY658" fmla="*/ 1223486 h 1857375"/>
                  <a:gd name="connsiteX659" fmla="*/ 239554 w 1247775"/>
                  <a:gd name="connsiteY659" fmla="*/ 1210151 h 1857375"/>
                  <a:gd name="connsiteX660" fmla="*/ 239554 w 1247775"/>
                  <a:gd name="connsiteY660" fmla="*/ 1209199 h 1857375"/>
                  <a:gd name="connsiteX661" fmla="*/ 244316 w 1247775"/>
                  <a:gd name="connsiteY661" fmla="*/ 1196816 h 1857375"/>
                  <a:gd name="connsiteX662" fmla="*/ 246221 w 1247775"/>
                  <a:gd name="connsiteY662" fmla="*/ 1196816 h 1857375"/>
                  <a:gd name="connsiteX663" fmla="*/ 254794 w 1247775"/>
                  <a:gd name="connsiteY663" fmla="*/ 1188244 h 1857375"/>
                  <a:gd name="connsiteX664" fmla="*/ 250984 w 1247775"/>
                  <a:gd name="connsiteY664" fmla="*/ 1181576 h 1857375"/>
                  <a:gd name="connsiteX665" fmla="*/ 259556 w 1247775"/>
                  <a:gd name="connsiteY665" fmla="*/ 1172051 h 1857375"/>
                  <a:gd name="connsiteX666" fmla="*/ 252889 w 1247775"/>
                  <a:gd name="connsiteY666" fmla="*/ 1162526 h 1857375"/>
                  <a:gd name="connsiteX667" fmla="*/ 255746 w 1247775"/>
                  <a:gd name="connsiteY667" fmla="*/ 1153001 h 1857375"/>
                  <a:gd name="connsiteX668" fmla="*/ 239554 w 1247775"/>
                  <a:gd name="connsiteY668" fmla="*/ 1136809 h 1857375"/>
                  <a:gd name="connsiteX669" fmla="*/ 223361 w 1247775"/>
                  <a:gd name="connsiteY669" fmla="*/ 1153001 h 1857375"/>
                  <a:gd name="connsiteX670" fmla="*/ 239554 w 1247775"/>
                  <a:gd name="connsiteY670" fmla="*/ 1169194 h 1857375"/>
                  <a:gd name="connsiteX671" fmla="*/ 240506 w 1247775"/>
                  <a:gd name="connsiteY671" fmla="*/ 1169194 h 1857375"/>
                  <a:gd name="connsiteX672" fmla="*/ 239554 w 1247775"/>
                  <a:gd name="connsiteY672" fmla="*/ 1172051 h 1857375"/>
                  <a:gd name="connsiteX673" fmla="*/ 244316 w 1247775"/>
                  <a:gd name="connsiteY673" fmla="*/ 1180624 h 1857375"/>
                  <a:gd name="connsiteX674" fmla="*/ 241459 w 1247775"/>
                  <a:gd name="connsiteY674" fmla="*/ 1181576 h 1857375"/>
                  <a:gd name="connsiteX675" fmla="*/ 223361 w 1247775"/>
                  <a:gd name="connsiteY675" fmla="*/ 1165384 h 1857375"/>
                  <a:gd name="connsiteX676" fmla="*/ 223361 w 1247775"/>
                  <a:gd name="connsiteY676" fmla="*/ 1162526 h 1857375"/>
                  <a:gd name="connsiteX677" fmla="*/ 201454 w 1247775"/>
                  <a:gd name="connsiteY677" fmla="*/ 1140619 h 1857375"/>
                  <a:gd name="connsiteX678" fmla="*/ 190976 w 1247775"/>
                  <a:gd name="connsiteY678" fmla="*/ 1143476 h 1857375"/>
                  <a:gd name="connsiteX679" fmla="*/ 201454 w 1247775"/>
                  <a:gd name="connsiteY679" fmla="*/ 1118711 h 1857375"/>
                  <a:gd name="connsiteX680" fmla="*/ 200501 w 1247775"/>
                  <a:gd name="connsiteY680" fmla="*/ 1111091 h 1857375"/>
                  <a:gd name="connsiteX681" fmla="*/ 205264 w 1247775"/>
                  <a:gd name="connsiteY681" fmla="*/ 1105376 h 1857375"/>
                  <a:gd name="connsiteX682" fmla="*/ 199549 w 1247775"/>
                  <a:gd name="connsiteY682" fmla="*/ 1099661 h 1857375"/>
                  <a:gd name="connsiteX683" fmla="*/ 196691 w 1247775"/>
                  <a:gd name="connsiteY683" fmla="*/ 1100614 h 1857375"/>
                  <a:gd name="connsiteX684" fmla="*/ 193834 w 1247775"/>
                  <a:gd name="connsiteY684" fmla="*/ 1096804 h 1857375"/>
                  <a:gd name="connsiteX685" fmla="*/ 207169 w 1247775"/>
                  <a:gd name="connsiteY685" fmla="*/ 1081564 h 1857375"/>
                  <a:gd name="connsiteX686" fmla="*/ 228124 w 1247775"/>
                  <a:gd name="connsiteY686" fmla="*/ 1052989 h 1857375"/>
                  <a:gd name="connsiteX687" fmla="*/ 227171 w 1247775"/>
                  <a:gd name="connsiteY687" fmla="*/ 1048226 h 1857375"/>
                  <a:gd name="connsiteX688" fmla="*/ 236696 w 1247775"/>
                  <a:gd name="connsiteY688" fmla="*/ 1050131 h 1857375"/>
                  <a:gd name="connsiteX689" fmla="*/ 257651 w 1247775"/>
                  <a:gd name="connsiteY689" fmla="*/ 1042511 h 1857375"/>
                  <a:gd name="connsiteX690" fmla="*/ 263366 w 1247775"/>
                  <a:gd name="connsiteY690" fmla="*/ 1043464 h 1857375"/>
                  <a:gd name="connsiteX691" fmla="*/ 282416 w 1247775"/>
                  <a:gd name="connsiteY691" fmla="*/ 1024414 h 1857375"/>
                  <a:gd name="connsiteX692" fmla="*/ 279559 w 1247775"/>
                  <a:gd name="connsiteY692" fmla="*/ 1013936 h 1857375"/>
                  <a:gd name="connsiteX693" fmla="*/ 295751 w 1247775"/>
                  <a:gd name="connsiteY693" fmla="*/ 1000601 h 1857375"/>
                  <a:gd name="connsiteX694" fmla="*/ 294799 w 1247775"/>
                  <a:gd name="connsiteY694" fmla="*/ 1006316 h 1857375"/>
                  <a:gd name="connsiteX695" fmla="*/ 294799 w 1247775"/>
                  <a:gd name="connsiteY695" fmla="*/ 1009174 h 1857375"/>
                  <a:gd name="connsiteX696" fmla="*/ 293846 w 1247775"/>
                  <a:gd name="connsiteY696" fmla="*/ 1015841 h 1857375"/>
                  <a:gd name="connsiteX697" fmla="*/ 297656 w 1247775"/>
                  <a:gd name="connsiteY697" fmla="*/ 1026319 h 1857375"/>
                  <a:gd name="connsiteX698" fmla="*/ 284321 w 1247775"/>
                  <a:gd name="connsiteY698" fmla="*/ 1051084 h 1857375"/>
                  <a:gd name="connsiteX699" fmla="*/ 284321 w 1247775"/>
                  <a:gd name="connsiteY699" fmla="*/ 1052989 h 1857375"/>
                  <a:gd name="connsiteX700" fmla="*/ 280511 w 1247775"/>
                  <a:gd name="connsiteY700" fmla="*/ 1052036 h 1857375"/>
                  <a:gd name="connsiteX701" fmla="*/ 268129 w 1247775"/>
                  <a:gd name="connsiteY701" fmla="*/ 1064419 h 1857375"/>
                  <a:gd name="connsiteX702" fmla="*/ 277654 w 1247775"/>
                  <a:gd name="connsiteY702" fmla="*/ 1075849 h 1857375"/>
                  <a:gd name="connsiteX703" fmla="*/ 277654 w 1247775"/>
                  <a:gd name="connsiteY703" fmla="*/ 1076801 h 1857375"/>
                  <a:gd name="connsiteX704" fmla="*/ 295751 w 1247775"/>
                  <a:gd name="connsiteY704" fmla="*/ 1094899 h 1857375"/>
                  <a:gd name="connsiteX705" fmla="*/ 303371 w 1247775"/>
                  <a:gd name="connsiteY705" fmla="*/ 1092994 h 1857375"/>
                  <a:gd name="connsiteX706" fmla="*/ 300514 w 1247775"/>
                  <a:gd name="connsiteY706" fmla="*/ 1100614 h 1857375"/>
                  <a:gd name="connsiteX707" fmla="*/ 304324 w 1247775"/>
                  <a:gd name="connsiteY707" fmla="*/ 1110139 h 1857375"/>
                  <a:gd name="connsiteX708" fmla="*/ 303371 w 1247775"/>
                  <a:gd name="connsiteY708" fmla="*/ 1110139 h 1857375"/>
                  <a:gd name="connsiteX709" fmla="*/ 270986 w 1247775"/>
                  <a:gd name="connsiteY709" fmla="*/ 1142524 h 1857375"/>
                  <a:gd name="connsiteX710" fmla="*/ 285274 w 1247775"/>
                  <a:gd name="connsiteY710" fmla="*/ 1169194 h 1857375"/>
                  <a:gd name="connsiteX711" fmla="*/ 288131 w 1247775"/>
                  <a:gd name="connsiteY711" fmla="*/ 1174909 h 1857375"/>
                  <a:gd name="connsiteX712" fmla="*/ 280511 w 1247775"/>
                  <a:gd name="connsiteY712" fmla="*/ 1193959 h 1857375"/>
                  <a:gd name="connsiteX713" fmla="*/ 266224 w 1247775"/>
                  <a:gd name="connsiteY713" fmla="*/ 1210151 h 1857375"/>
                  <a:gd name="connsiteX714" fmla="*/ 269081 w 1247775"/>
                  <a:gd name="connsiteY714" fmla="*/ 1218724 h 1857375"/>
                  <a:gd name="connsiteX715" fmla="*/ 258604 w 1247775"/>
                  <a:gd name="connsiteY715" fmla="*/ 1216819 h 1857375"/>
                  <a:gd name="connsiteX716" fmla="*/ 227171 w 1247775"/>
                  <a:gd name="connsiteY716" fmla="*/ 1248251 h 1857375"/>
                  <a:gd name="connsiteX717" fmla="*/ 258604 w 1247775"/>
                  <a:gd name="connsiteY717" fmla="*/ 1279684 h 1857375"/>
                  <a:gd name="connsiteX718" fmla="*/ 285274 w 1247775"/>
                  <a:gd name="connsiteY718" fmla="*/ 1264444 h 1857375"/>
                  <a:gd name="connsiteX719" fmla="*/ 293846 w 1247775"/>
                  <a:gd name="connsiteY719" fmla="*/ 1266349 h 1857375"/>
                  <a:gd name="connsiteX720" fmla="*/ 316706 w 1247775"/>
                  <a:gd name="connsiteY720" fmla="*/ 1253966 h 1857375"/>
                  <a:gd name="connsiteX721" fmla="*/ 321469 w 1247775"/>
                  <a:gd name="connsiteY721" fmla="*/ 1249204 h 1857375"/>
                  <a:gd name="connsiteX722" fmla="*/ 326231 w 1247775"/>
                  <a:gd name="connsiteY722" fmla="*/ 1263491 h 1857375"/>
                  <a:gd name="connsiteX723" fmla="*/ 326231 w 1247775"/>
                  <a:gd name="connsiteY723" fmla="*/ 1264444 h 1857375"/>
                  <a:gd name="connsiteX724" fmla="*/ 328136 w 1247775"/>
                  <a:gd name="connsiteY724" fmla="*/ 1275874 h 1857375"/>
                  <a:gd name="connsiteX725" fmla="*/ 322421 w 1247775"/>
                  <a:gd name="connsiteY725" fmla="*/ 1285399 h 1857375"/>
                  <a:gd name="connsiteX726" fmla="*/ 310991 w 1247775"/>
                  <a:gd name="connsiteY726" fmla="*/ 1279684 h 1857375"/>
                  <a:gd name="connsiteX727" fmla="*/ 304324 w 1247775"/>
                  <a:gd name="connsiteY727" fmla="*/ 1273016 h 1857375"/>
                  <a:gd name="connsiteX728" fmla="*/ 297656 w 1247775"/>
                  <a:gd name="connsiteY728" fmla="*/ 1279684 h 1857375"/>
                  <a:gd name="connsiteX729" fmla="*/ 299561 w 1247775"/>
                  <a:gd name="connsiteY729" fmla="*/ 1284446 h 1857375"/>
                  <a:gd name="connsiteX730" fmla="*/ 294799 w 1247775"/>
                  <a:gd name="connsiteY730" fmla="*/ 1296829 h 1857375"/>
                  <a:gd name="connsiteX731" fmla="*/ 298609 w 1247775"/>
                  <a:gd name="connsiteY731" fmla="*/ 1307306 h 1857375"/>
                  <a:gd name="connsiteX732" fmla="*/ 298609 w 1247775"/>
                  <a:gd name="connsiteY732" fmla="*/ 1307306 h 1857375"/>
                  <a:gd name="connsiteX733" fmla="*/ 308134 w 1247775"/>
                  <a:gd name="connsiteY733" fmla="*/ 1316831 h 1857375"/>
                  <a:gd name="connsiteX734" fmla="*/ 314801 w 1247775"/>
                  <a:gd name="connsiteY734" fmla="*/ 1313974 h 1857375"/>
                  <a:gd name="connsiteX735" fmla="*/ 328136 w 1247775"/>
                  <a:gd name="connsiteY735" fmla="*/ 1302544 h 1857375"/>
                  <a:gd name="connsiteX736" fmla="*/ 343376 w 1247775"/>
                  <a:gd name="connsiteY736" fmla="*/ 1310164 h 1857375"/>
                  <a:gd name="connsiteX737" fmla="*/ 353854 w 1247775"/>
                  <a:gd name="connsiteY737" fmla="*/ 1306354 h 1857375"/>
                  <a:gd name="connsiteX738" fmla="*/ 353854 w 1247775"/>
                  <a:gd name="connsiteY738" fmla="*/ 1307306 h 1857375"/>
                  <a:gd name="connsiteX739" fmla="*/ 369094 w 1247775"/>
                  <a:gd name="connsiteY739" fmla="*/ 1322546 h 1857375"/>
                  <a:gd name="connsiteX740" fmla="*/ 376714 w 1247775"/>
                  <a:gd name="connsiteY740" fmla="*/ 1320641 h 1857375"/>
                  <a:gd name="connsiteX741" fmla="*/ 384334 w 1247775"/>
                  <a:gd name="connsiteY741" fmla="*/ 1323499 h 1857375"/>
                  <a:gd name="connsiteX742" fmla="*/ 396716 w 1247775"/>
                  <a:gd name="connsiteY742" fmla="*/ 1311116 h 1857375"/>
                  <a:gd name="connsiteX743" fmla="*/ 396716 w 1247775"/>
                  <a:gd name="connsiteY743" fmla="*/ 1309211 h 1857375"/>
                  <a:gd name="connsiteX744" fmla="*/ 406241 w 1247775"/>
                  <a:gd name="connsiteY744" fmla="*/ 1293971 h 1857375"/>
                  <a:gd name="connsiteX745" fmla="*/ 397669 w 1247775"/>
                  <a:gd name="connsiteY745" fmla="*/ 1278731 h 1857375"/>
                  <a:gd name="connsiteX746" fmla="*/ 397669 w 1247775"/>
                  <a:gd name="connsiteY746" fmla="*/ 1278731 h 1857375"/>
                  <a:gd name="connsiteX747" fmla="*/ 404336 w 1247775"/>
                  <a:gd name="connsiteY747" fmla="*/ 1280636 h 1857375"/>
                  <a:gd name="connsiteX748" fmla="*/ 408146 w 1247775"/>
                  <a:gd name="connsiteY748" fmla="*/ 1279684 h 1857375"/>
                  <a:gd name="connsiteX749" fmla="*/ 421481 w 1247775"/>
                  <a:gd name="connsiteY749" fmla="*/ 1288256 h 1857375"/>
                  <a:gd name="connsiteX750" fmla="*/ 437674 w 1247775"/>
                  <a:gd name="connsiteY750" fmla="*/ 1296829 h 1857375"/>
                  <a:gd name="connsiteX751" fmla="*/ 456724 w 1247775"/>
                  <a:gd name="connsiteY751" fmla="*/ 1277779 h 1857375"/>
                  <a:gd name="connsiteX752" fmla="*/ 456724 w 1247775"/>
                  <a:gd name="connsiteY752" fmla="*/ 1276826 h 1857375"/>
                  <a:gd name="connsiteX753" fmla="*/ 471011 w 1247775"/>
                  <a:gd name="connsiteY753" fmla="*/ 1284446 h 1857375"/>
                  <a:gd name="connsiteX754" fmla="*/ 485299 w 1247775"/>
                  <a:gd name="connsiteY754" fmla="*/ 1291114 h 1857375"/>
                  <a:gd name="connsiteX755" fmla="*/ 499586 w 1247775"/>
                  <a:gd name="connsiteY755" fmla="*/ 1283494 h 1857375"/>
                  <a:gd name="connsiteX756" fmla="*/ 500539 w 1247775"/>
                  <a:gd name="connsiteY756" fmla="*/ 1284446 h 1857375"/>
                  <a:gd name="connsiteX757" fmla="*/ 498634 w 1247775"/>
                  <a:gd name="connsiteY757" fmla="*/ 1286351 h 1857375"/>
                  <a:gd name="connsiteX758" fmla="*/ 491014 w 1247775"/>
                  <a:gd name="connsiteY758" fmla="*/ 1297781 h 1857375"/>
                  <a:gd name="connsiteX759" fmla="*/ 483394 w 1247775"/>
                  <a:gd name="connsiteY759" fmla="*/ 1313974 h 1857375"/>
                  <a:gd name="connsiteX760" fmla="*/ 477679 w 1247775"/>
                  <a:gd name="connsiteY760" fmla="*/ 1317784 h 1857375"/>
                  <a:gd name="connsiteX761" fmla="*/ 471011 w 1247775"/>
                  <a:gd name="connsiteY761" fmla="*/ 1315879 h 1857375"/>
                  <a:gd name="connsiteX762" fmla="*/ 457676 w 1247775"/>
                  <a:gd name="connsiteY762" fmla="*/ 1329214 h 1857375"/>
                  <a:gd name="connsiteX763" fmla="*/ 471011 w 1247775"/>
                  <a:gd name="connsiteY763" fmla="*/ 1342549 h 1857375"/>
                  <a:gd name="connsiteX764" fmla="*/ 475774 w 1247775"/>
                  <a:gd name="connsiteY764" fmla="*/ 1341596 h 1857375"/>
                  <a:gd name="connsiteX765" fmla="*/ 475774 w 1247775"/>
                  <a:gd name="connsiteY765" fmla="*/ 1341596 h 1857375"/>
                  <a:gd name="connsiteX766" fmla="*/ 451961 w 1247775"/>
                  <a:gd name="connsiteY766" fmla="*/ 1361599 h 1857375"/>
                  <a:gd name="connsiteX767" fmla="*/ 444341 w 1247775"/>
                  <a:gd name="connsiteY767" fmla="*/ 1356836 h 1857375"/>
                  <a:gd name="connsiteX768" fmla="*/ 446246 w 1247775"/>
                  <a:gd name="connsiteY768" fmla="*/ 1349216 h 1857375"/>
                  <a:gd name="connsiteX769" fmla="*/ 430054 w 1247775"/>
                  <a:gd name="connsiteY769" fmla="*/ 1333024 h 1857375"/>
                  <a:gd name="connsiteX770" fmla="*/ 417671 w 1247775"/>
                  <a:gd name="connsiteY770" fmla="*/ 1337786 h 1857375"/>
                  <a:gd name="connsiteX771" fmla="*/ 408146 w 1247775"/>
                  <a:gd name="connsiteY771" fmla="*/ 1333024 h 1857375"/>
                  <a:gd name="connsiteX772" fmla="*/ 395764 w 1247775"/>
                  <a:gd name="connsiteY772" fmla="*/ 1345406 h 1857375"/>
                  <a:gd name="connsiteX773" fmla="*/ 401479 w 1247775"/>
                  <a:gd name="connsiteY773" fmla="*/ 1355884 h 1857375"/>
                  <a:gd name="connsiteX774" fmla="*/ 386239 w 1247775"/>
                  <a:gd name="connsiteY774" fmla="*/ 1375886 h 1857375"/>
                  <a:gd name="connsiteX775" fmla="*/ 386239 w 1247775"/>
                  <a:gd name="connsiteY775" fmla="*/ 1379696 h 1857375"/>
                  <a:gd name="connsiteX776" fmla="*/ 384334 w 1247775"/>
                  <a:gd name="connsiteY776" fmla="*/ 1387316 h 1857375"/>
                  <a:gd name="connsiteX777" fmla="*/ 379571 w 1247775"/>
                  <a:gd name="connsiteY777" fmla="*/ 1394936 h 1857375"/>
                  <a:gd name="connsiteX778" fmla="*/ 378619 w 1247775"/>
                  <a:gd name="connsiteY778" fmla="*/ 1394936 h 1857375"/>
                  <a:gd name="connsiteX779" fmla="*/ 378619 w 1247775"/>
                  <a:gd name="connsiteY779" fmla="*/ 1394936 h 1857375"/>
                  <a:gd name="connsiteX780" fmla="*/ 379571 w 1247775"/>
                  <a:gd name="connsiteY780" fmla="*/ 1389221 h 1857375"/>
                  <a:gd name="connsiteX781" fmla="*/ 379571 w 1247775"/>
                  <a:gd name="connsiteY781" fmla="*/ 1386364 h 1857375"/>
                  <a:gd name="connsiteX782" fmla="*/ 386239 w 1247775"/>
                  <a:gd name="connsiteY782" fmla="*/ 1373981 h 1857375"/>
                  <a:gd name="connsiteX783" fmla="*/ 371951 w 1247775"/>
                  <a:gd name="connsiteY783" fmla="*/ 1359694 h 1857375"/>
                  <a:gd name="connsiteX784" fmla="*/ 360521 w 1247775"/>
                  <a:gd name="connsiteY784" fmla="*/ 1365409 h 1857375"/>
                  <a:gd name="connsiteX785" fmla="*/ 354806 w 1247775"/>
                  <a:gd name="connsiteY785" fmla="*/ 1364456 h 1857375"/>
                  <a:gd name="connsiteX786" fmla="*/ 339566 w 1247775"/>
                  <a:gd name="connsiteY786" fmla="*/ 1370171 h 1857375"/>
                  <a:gd name="connsiteX787" fmla="*/ 330041 w 1247775"/>
                  <a:gd name="connsiteY787" fmla="*/ 1365409 h 1857375"/>
                  <a:gd name="connsiteX788" fmla="*/ 318611 w 1247775"/>
                  <a:gd name="connsiteY788" fmla="*/ 1373981 h 1857375"/>
                  <a:gd name="connsiteX789" fmla="*/ 313849 w 1247775"/>
                  <a:gd name="connsiteY789" fmla="*/ 1377791 h 1857375"/>
                  <a:gd name="connsiteX790" fmla="*/ 308134 w 1247775"/>
                  <a:gd name="connsiteY790" fmla="*/ 1376839 h 1857375"/>
                  <a:gd name="connsiteX791" fmla="*/ 295751 w 1247775"/>
                  <a:gd name="connsiteY791" fmla="*/ 1389221 h 1857375"/>
                  <a:gd name="connsiteX792" fmla="*/ 308134 w 1247775"/>
                  <a:gd name="connsiteY792" fmla="*/ 1401604 h 1857375"/>
                  <a:gd name="connsiteX793" fmla="*/ 320516 w 1247775"/>
                  <a:gd name="connsiteY793" fmla="*/ 1390174 h 1857375"/>
                  <a:gd name="connsiteX794" fmla="*/ 320516 w 1247775"/>
                  <a:gd name="connsiteY794" fmla="*/ 1390174 h 1857375"/>
                  <a:gd name="connsiteX795" fmla="*/ 325279 w 1247775"/>
                  <a:gd name="connsiteY795" fmla="*/ 1388269 h 1857375"/>
                  <a:gd name="connsiteX796" fmla="*/ 329089 w 1247775"/>
                  <a:gd name="connsiteY796" fmla="*/ 1389221 h 1857375"/>
                  <a:gd name="connsiteX797" fmla="*/ 329089 w 1247775"/>
                  <a:gd name="connsiteY797" fmla="*/ 1390174 h 1857375"/>
                  <a:gd name="connsiteX798" fmla="*/ 347186 w 1247775"/>
                  <a:gd name="connsiteY798" fmla="*/ 1413986 h 1857375"/>
                  <a:gd name="connsiteX799" fmla="*/ 346234 w 1247775"/>
                  <a:gd name="connsiteY799" fmla="*/ 1417796 h 1857375"/>
                  <a:gd name="connsiteX800" fmla="*/ 347186 w 1247775"/>
                  <a:gd name="connsiteY800" fmla="*/ 1420654 h 1857375"/>
                  <a:gd name="connsiteX801" fmla="*/ 343376 w 1247775"/>
                  <a:gd name="connsiteY801" fmla="*/ 1433036 h 1857375"/>
                  <a:gd name="connsiteX802" fmla="*/ 347186 w 1247775"/>
                  <a:gd name="connsiteY802" fmla="*/ 1446371 h 1857375"/>
                  <a:gd name="connsiteX803" fmla="*/ 334804 w 1247775"/>
                  <a:gd name="connsiteY803" fmla="*/ 1461611 h 1857375"/>
                  <a:gd name="connsiteX804" fmla="*/ 350044 w 1247775"/>
                  <a:gd name="connsiteY804" fmla="*/ 1476851 h 1857375"/>
                  <a:gd name="connsiteX805" fmla="*/ 359569 w 1247775"/>
                  <a:gd name="connsiteY805" fmla="*/ 1473994 h 1857375"/>
                  <a:gd name="connsiteX806" fmla="*/ 377666 w 1247775"/>
                  <a:gd name="connsiteY806" fmla="*/ 1486376 h 1857375"/>
                  <a:gd name="connsiteX807" fmla="*/ 388144 w 1247775"/>
                  <a:gd name="connsiteY807" fmla="*/ 1492091 h 1857375"/>
                  <a:gd name="connsiteX808" fmla="*/ 400526 w 1247775"/>
                  <a:gd name="connsiteY808" fmla="*/ 1479709 h 1857375"/>
                  <a:gd name="connsiteX809" fmla="*/ 400526 w 1247775"/>
                  <a:gd name="connsiteY809" fmla="*/ 1478756 h 1857375"/>
                  <a:gd name="connsiteX810" fmla="*/ 408146 w 1247775"/>
                  <a:gd name="connsiteY810" fmla="*/ 1460659 h 1857375"/>
                  <a:gd name="connsiteX811" fmla="*/ 396716 w 1247775"/>
                  <a:gd name="connsiteY811" fmla="*/ 1438751 h 1857375"/>
                  <a:gd name="connsiteX812" fmla="*/ 397669 w 1247775"/>
                  <a:gd name="connsiteY812" fmla="*/ 1433989 h 1857375"/>
                  <a:gd name="connsiteX813" fmla="*/ 395764 w 1247775"/>
                  <a:gd name="connsiteY813" fmla="*/ 1425416 h 1857375"/>
                  <a:gd name="connsiteX814" fmla="*/ 396716 w 1247775"/>
                  <a:gd name="connsiteY814" fmla="*/ 1420654 h 1857375"/>
                  <a:gd name="connsiteX815" fmla="*/ 396716 w 1247775"/>
                  <a:gd name="connsiteY815" fmla="*/ 1420654 h 1857375"/>
                  <a:gd name="connsiteX816" fmla="*/ 399574 w 1247775"/>
                  <a:gd name="connsiteY816" fmla="*/ 1423511 h 1857375"/>
                  <a:gd name="connsiteX817" fmla="*/ 395764 w 1247775"/>
                  <a:gd name="connsiteY817" fmla="*/ 1431131 h 1857375"/>
                  <a:gd name="connsiteX818" fmla="*/ 406241 w 1247775"/>
                  <a:gd name="connsiteY818" fmla="*/ 1441609 h 1857375"/>
                  <a:gd name="connsiteX819" fmla="*/ 416719 w 1247775"/>
                  <a:gd name="connsiteY819" fmla="*/ 1432084 h 1857375"/>
                  <a:gd name="connsiteX820" fmla="*/ 422434 w 1247775"/>
                  <a:gd name="connsiteY820" fmla="*/ 1433036 h 1857375"/>
                  <a:gd name="connsiteX821" fmla="*/ 420529 w 1247775"/>
                  <a:gd name="connsiteY821" fmla="*/ 1440656 h 1857375"/>
                  <a:gd name="connsiteX822" fmla="*/ 427196 w 1247775"/>
                  <a:gd name="connsiteY822" fmla="*/ 1454944 h 1857375"/>
                  <a:gd name="connsiteX823" fmla="*/ 417671 w 1247775"/>
                  <a:gd name="connsiteY823" fmla="*/ 1471136 h 1857375"/>
                  <a:gd name="connsiteX824" fmla="*/ 419576 w 1247775"/>
                  <a:gd name="connsiteY824" fmla="*/ 1478756 h 1857375"/>
                  <a:gd name="connsiteX825" fmla="*/ 408146 w 1247775"/>
                  <a:gd name="connsiteY825" fmla="*/ 1490186 h 1857375"/>
                  <a:gd name="connsiteX826" fmla="*/ 411956 w 1247775"/>
                  <a:gd name="connsiteY826" fmla="*/ 1498759 h 1857375"/>
                  <a:gd name="connsiteX827" fmla="*/ 411004 w 1247775"/>
                  <a:gd name="connsiteY827" fmla="*/ 1502569 h 1857375"/>
                  <a:gd name="connsiteX828" fmla="*/ 404336 w 1247775"/>
                  <a:gd name="connsiteY828" fmla="*/ 1500664 h 1857375"/>
                  <a:gd name="connsiteX829" fmla="*/ 393859 w 1247775"/>
                  <a:gd name="connsiteY829" fmla="*/ 1511141 h 1857375"/>
                  <a:gd name="connsiteX830" fmla="*/ 399574 w 1247775"/>
                  <a:gd name="connsiteY830" fmla="*/ 1519714 h 1857375"/>
                  <a:gd name="connsiteX831" fmla="*/ 387191 w 1247775"/>
                  <a:gd name="connsiteY831" fmla="*/ 1535906 h 1857375"/>
                  <a:gd name="connsiteX832" fmla="*/ 389096 w 1247775"/>
                  <a:gd name="connsiteY832" fmla="*/ 1544479 h 1857375"/>
                  <a:gd name="connsiteX833" fmla="*/ 384334 w 1247775"/>
                  <a:gd name="connsiteY833" fmla="*/ 1545431 h 1857375"/>
                  <a:gd name="connsiteX834" fmla="*/ 367189 w 1247775"/>
                  <a:gd name="connsiteY834" fmla="*/ 1530191 h 1857375"/>
                  <a:gd name="connsiteX835" fmla="*/ 350044 w 1247775"/>
                  <a:gd name="connsiteY835" fmla="*/ 1547336 h 1857375"/>
                  <a:gd name="connsiteX836" fmla="*/ 361474 w 1247775"/>
                  <a:gd name="connsiteY836" fmla="*/ 1563529 h 1857375"/>
                  <a:gd name="connsiteX837" fmla="*/ 359569 w 1247775"/>
                  <a:gd name="connsiteY837" fmla="*/ 1568291 h 1857375"/>
                  <a:gd name="connsiteX838" fmla="*/ 352901 w 1247775"/>
                  <a:gd name="connsiteY838" fmla="*/ 1565434 h 1857375"/>
                  <a:gd name="connsiteX839" fmla="*/ 344329 w 1247775"/>
                  <a:gd name="connsiteY839" fmla="*/ 1574006 h 1857375"/>
                  <a:gd name="connsiteX840" fmla="*/ 346234 w 1247775"/>
                  <a:gd name="connsiteY840" fmla="*/ 1578769 h 1857375"/>
                  <a:gd name="connsiteX841" fmla="*/ 338614 w 1247775"/>
                  <a:gd name="connsiteY841" fmla="*/ 1594961 h 1857375"/>
                  <a:gd name="connsiteX842" fmla="*/ 357664 w 1247775"/>
                  <a:gd name="connsiteY842" fmla="*/ 1615916 h 1857375"/>
                  <a:gd name="connsiteX843" fmla="*/ 361474 w 1247775"/>
                  <a:gd name="connsiteY843" fmla="*/ 1620679 h 1857375"/>
                  <a:gd name="connsiteX844" fmla="*/ 375761 w 1247775"/>
                  <a:gd name="connsiteY844" fmla="*/ 1637824 h 1857375"/>
                  <a:gd name="connsiteX845" fmla="*/ 376714 w 1247775"/>
                  <a:gd name="connsiteY845" fmla="*/ 1640681 h 1857375"/>
                  <a:gd name="connsiteX846" fmla="*/ 355759 w 1247775"/>
                  <a:gd name="connsiteY846" fmla="*/ 1662589 h 1857375"/>
                  <a:gd name="connsiteX847" fmla="*/ 347186 w 1247775"/>
                  <a:gd name="connsiteY847" fmla="*/ 1657826 h 1857375"/>
                  <a:gd name="connsiteX848" fmla="*/ 358616 w 1247775"/>
                  <a:gd name="connsiteY848" fmla="*/ 1637824 h 1857375"/>
                  <a:gd name="connsiteX849" fmla="*/ 341471 w 1247775"/>
                  <a:gd name="connsiteY849" fmla="*/ 1614964 h 1857375"/>
                  <a:gd name="connsiteX850" fmla="*/ 324326 w 1247775"/>
                  <a:gd name="connsiteY850" fmla="*/ 1589246 h 1857375"/>
                  <a:gd name="connsiteX851" fmla="*/ 321469 w 1247775"/>
                  <a:gd name="connsiteY851" fmla="*/ 1579721 h 1857375"/>
                  <a:gd name="connsiteX852" fmla="*/ 322421 w 1247775"/>
                  <a:gd name="connsiteY852" fmla="*/ 1575911 h 1857375"/>
                  <a:gd name="connsiteX853" fmla="*/ 309086 w 1247775"/>
                  <a:gd name="connsiteY853" fmla="*/ 1562576 h 1857375"/>
                  <a:gd name="connsiteX854" fmla="*/ 306229 w 1247775"/>
                  <a:gd name="connsiteY854" fmla="*/ 1562576 h 1857375"/>
                  <a:gd name="connsiteX855" fmla="*/ 306229 w 1247775"/>
                  <a:gd name="connsiteY855" fmla="*/ 1558766 h 1857375"/>
                  <a:gd name="connsiteX856" fmla="*/ 305276 w 1247775"/>
                  <a:gd name="connsiteY856" fmla="*/ 1552099 h 1857375"/>
                  <a:gd name="connsiteX857" fmla="*/ 308134 w 1247775"/>
                  <a:gd name="connsiteY857" fmla="*/ 1550194 h 1857375"/>
                  <a:gd name="connsiteX858" fmla="*/ 316706 w 1247775"/>
                  <a:gd name="connsiteY858" fmla="*/ 1554956 h 1857375"/>
                  <a:gd name="connsiteX859" fmla="*/ 317659 w 1247775"/>
                  <a:gd name="connsiteY859" fmla="*/ 1554956 h 1857375"/>
                  <a:gd name="connsiteX860" fmla="*/ 316706 w 1247775"/>
                  <a:gd name="connsiteY860" fmla="*/ 1558766 h 1857375"/>
                  <a:gd name="connsiteX861" fmla="*/ 327184 w 1247775"/>
                  <a:gd name="connsiteY861" fmla="*/ 1569244 h 1857375"/>
                  <a:gd name="connsiteX862" fmla="*/ 337661 w 1247775"/>
                  <a:gd name="connsiteY862" fmla="*/ 1558766 h 1857375"/>
                  <a:gd name="connsiteX863" fmla="*/ 327184 w 1247775"/>
                  <a:gd name="connsiteY863" fmla="*/ 1548289 h 1857375"/>
                  <a:gd name="connsiteX864" fmla="*/ 326231 w 1247775"/>
                  <a:gd name="connsiteY864" fmla="*/ 1548289 h 1857375"/>
                  <a:gd name="connsiteX865" fmla="*/ 327184 w 1247775"/>
                  <a:gd name="connsiteY865" fmla="*/ 1544479 h 1857375"/>
                  <a:gd name="connsiteX866" fmla="*/ 316706 w 1247775"/>
                  <a:gd name="connsiteY866" fmla="*/ 1534001 h 1857375"/>
                  <a:gd name="connsiteX867" fmla="*/ 313849 w 1247775"/>
                  <a:gd name="connsiteY867" fmla="*/ 1534954 h 1857375"/>
                  <a:gd name="connsiteX868" fmla="*/ 312896 w 1247775"/>
                  <a:gd name="connsiteY868" fmla="*/ 1533049 h 1857375"/>
                  <a:gd name="connsiteX869" fmla="*/ 335756 w 1247775"/>
                  <a:gd name="connsiteY869" fmla="*/ 1505426 h 1857375"/>
                  <a:gd name="connsiteX870" fmla="*/ 331946 w 1247775"/>
                  <a:gd name="connsiteY870" fmla="*/ 1492091 h 1857375"/>
                  <a:gd name="connsiteX871" fmla="*/ 332899 w 1247775"/>
                  <a:gd name="connsiteY871" fmla="*/ 1488281 h 1857375"/>
                  <a:gd name="connsiteX872" fmla="*/ 324326 w 1247775"/>
                  <a:gd name="connsiteY872" fmla="*/ 1479709 h 1857375"/>
                  <a:gd name="connsiteX873" fmla="*/ 320516 w 1247775"/>
                  <a:gd name="connsiteY873" fmla="*/ 1480661 h 1857375"/>
                  <a:gd name="connsiteX874" fmla="*/ 308134 w 1247775"/>
                  <a:gd name="connsiteY874" fmla="*/ 1477804 h 1857375"/>
                  <a:gd name="connsiteX875" fmla="*/ 283369 w 1247775"/>
                  <a:gd name="connsiteY875" fmla="*/ 1492091 h 1857375"/>
                  <a:gd name="connsiteX876" fmla="*/ 279559 w 1247775"/>
                  <a:gd name="connsiteY876" fmla="*/ 1491139 h 1857375"/>
                  <a:gd name="connsiteX877" fmla="*/ 265271 w 1247775"/>
                  <a:gd name="connsiteY877" fmla="*/ 1500664 h 1857375"/>
                  <a:gd name="connsiteX878" fmla="*/ 258604 w 1247775"/>
                  <a:gd name="connsiteY878" fmla="*/ 1508284 h 1857375"/>
                  <a:gd name="connsiteX879" fmla="*/ 250031 w 1247775"/>
                  <a:gd name="connsiteY879" fmla="*/ 1506379 h 1857375"/>
                  <a:gd name="connsiteX880" fmla="*/ 231934 w 1247775"/>
                  <a:gd name="connsiteY880" fmla="*/ 1524476 h 1857375"/>
                  <a:gd name="connsiteX881" fmla="*/ 243364 w 1247775"/>
                  <a:gd name="connsiteY881" fmla="*/ 1541621 h 1857375"/>
                  <a:gd name="connsiteX882" fmla="*/ 242411 w 1247775"/>
                  <a:gd name="connsiteY882" fmla="*/ 1543526 h 1857375"/>
                  <a:gd name="connsiteX883" fmla="*/ 239554 w 1247775"/>
                  <a:gd name="connsiteY883" fmla="*/ 1543526 h 1857375"/>
                  <a:gd name="connsiteX884" fmla="*/ 225266 w 1247775"/>
                  <a:gd name="connsiteY884" fmla="*/ 1548289 h 1857375"/>
                  <a:gd name="connsiteX885" fmla="*/ 210026 w 1247775"/>
                  <a:gd name="connsiteY885" fmla="*/ 1544479 h 1857375"/>
                  <a:gd name="connsiteX886" fmla="*/ 189071 w 1247775"/>
                  <a:gd name="connsiteY886" fmla="*/ 1553051 h 1857375"/>
                  <a:gd name="connsiteX887" fmla="*/ 170974 w 1247775"/>
                  <a:gd name="connsiteY887" fmla="*/ 1543526 h 1857375"/>
                  <a:gd name="connsiteX888" fmla="*/ 162401 w 1247775"/>
                  <a:gd name="connsiteY888" fmla="*/ 1545431 h 1857375"/>
                  <a:gd name="connsiteX889" fmla="*/ 152876 w 1247775"/>
                  <a:gd name="connsiteY889" fmla="*/ 1537811 h 1857375"/>
                  <a:gd name="connsiteX890" fmla="*/ 143351 w 1247775"/>
                  <a:gd name="connsiteY890" fmla="*/ 1547336 h 1857375"/>
                  <a:gd name="connsiteX891" fmla="*/ 150971 w 1247775"/>
                  <a:gd name="connsiteY891" fmla="*/ 1556861 h 1857375"/>
                  <a:gd name="connsiteX892" fmla="*/ 149066 w 1247775"/>
                  <a:gd name="connsiteY892" fmla="*/ 1566386 h 1857375"/>
                  <a:gd name="connsiteX893" fmla="*/ 153829 w 1247775"/>
                  <a:gd name="connsiteY893" fmla="*/ 1580674 h 1857375"/>
                  <a:gd name="connsiteX894" fmla="*/ 143351 w 1247775"/>
                  <a:gd name="connsiteY894" fmla="*/ 1593056 h 1857375"/>
                  <a:gd name="connsiteX895" fmla="*/ 155734 w 1247775"/>
                  <a:gd name="connsiteY895" fmla="*/ 1605439 h 1857375"/>
                  <a:gd name="connsiteX896" fmla="*/ 168116 w 1247775"/>
                  <a:gd name="connsiteY896" fmla="*/ 1593056 h 1857375"/>
                  <a:gd name="connsiteX897" fmla="*/ 167164 w 1247775"/>
                  <a:gd name="connsiteY897" fmla="*/ 1589246 h 1857375"/>
                  <a:gd name="connsiteX898" fmla="*/ 170974 w 1247775"/>
                  <a:gd name="connsiteY898" fmla="*/ 1589246 h 1857375"/>
                  <a:gd name="connsiteX899" fmla="*/ 182404 w 1247775"/>
                  <a:gd name="connsiteY899" fmla="*/ 1586389 h 1857375"/>
                  <a:gd name="connsiteX900" fmla="*/ 184309 w 1247775"/>
                  <a:gd name="connsiteY900" fmla="*/ 1589246 h 1857375"/>
                  <a:gd name="connsiteX901" fmla="*/ 183356 w 1247775"/>
                  <a:gd name="connsiteY901" fmla="*/ 1597819 h 1857375"/>
                  <a:gd name="connsiteX902" fmla="*/ 195739 w 1247775"/>
                  <a:gd name="connsiteY902" fmla="*/ 1620679 h 1857375"/>
                  <a:gd name="connsiteX903" fmla="*/ 195739 w 1247775"/>
                  <a:gd name="connsiteY903" fmla="*/ 1620679 h 1857375"/>
                  <a:gd name="connsiteX904" fmla="*/ 201454 w 1247775"/>
                  <a:gd name="connsiteY904" fmla="*/ 1626394 h 1857375"/>
                  <a:gd name="connsiteX905" fmla="*/ 206216 w 1247775"/>
                  <a:gd name="connsiteY905" fmla="*/ 1624489 h 1857375"/>
                  <a:gd name="connsiteX906" fmla="*/ 210026 w 1247775"/>
                  <a:gd name="connsiteY906" fmla="*/ 1624489 h 1857375"/>
                  <a:gd name="connsiteX907" fmla="*/ 236696 w 1247775"/>
                  <a:gd name="connsiteY907" fmla="*/ 1600676 h 1857375"/>
                  <a:gd name="connsiteX908" fmla="*/ 249079 w 1247775"/>
                  <a:gd name="connsiteY908" fmla="*/ 1604486 h 1857375"/>
                  <a:gd name="connsiteX909" fmla="*/ 247174 w 1247775"/>
                  <a:gd name="connsiteY909" fmla="*/ 1614011 h 1857375"/>
                  <a:gd name="connsiteX910" fmla="*/ 248126 w 1247775"/>
                  <a:gd name="connsiteY910" fmla="*/ 1619726 h 1857375"/>
                  <a:gd name="connsiteX911" fmla="*/ 247174 w 1247775"/>
                  <a:gd name="connsiteY911" fmla="*/ 1619726 h 1857375"/>
                  <a:gd name="connsiteX912" fmla="*/ 233839 w 1247775"/>
                  <a:gd name="connsiteY912" fmla="*/ 1633061 h 1857375"/>
                  <a:gd name="connsiteX913" fmla="*/ 246221 w 1247775"/>
                  <a:gd name="connsiteY913" fmla="*/ 1646396 h 1857375"/>
                  <a:gd name="connsiteX914" fmla="*/ 258604 w 1247775"/>
                  <a:gd name="connsiteY914" fmla="*/ 1657826 h 1857375"/>
                  <a:gd name="connsiteX915" fmla="*/ 270986 w 1247775"/>
                  <a:gd name="connsiteY915" fmla="*/ 1645444 h 1857375"/>
                  <a:gd name="connsiteX916" fmla="*/ 268129 w 1247775"/>
                  <a:gd name="connsiteY916" fmla="*/ 1637824 h 1857375"/>
                  <a:gd name="connsiteX917" fmla="*/ 270034 w 1247775"/>
                  <a:gd name="connsiteY917" fmla="*/ 1637824 h 1857375"/>
                  <a:gd name="connsiteX918" fmla="*/ 281464 w 1247775"/>
                  <a:gd name="connsiteY918" fmla="*/ 1634966 h 1857375"/>
                  <a:gd name="connsiteX919" fmla="*/ 291941 w 1247775"/>
                  <a:gd name="connsiteY919" fmla="*/ 1644491 h 1857375"/>
                  <a:gd name="connsiteX920" fmla="*/ 290036 w 1247775"/>
                  <a:gd name="connsiteY920" fmla="*/ 1651159 h 1857375"/>
                  <a:gd name="connsiteX921" fmla="*/ 303371 w 1247775"/>
                  <a:gd name="connsiteY921" fmla="*/ 1664494 h 1857375"/>
                  <a:gd name="connsiteX922" fmla="*/ 312896 w 1247775"/>
                  <a:gd name="connsiteY922" fmla="*/ 1660684 h 1857375"/>
                  <a:gd name="connsiteX923" fmla="*/ 311944 w 1247775"/>
                  <a:gd name="connsiteY923" fmla="*/ 1664494 h 1857375"/>
                  <a:gd name="connsiteX924" fmla="*/ 324326 w 1247775"/>
                  <a:gd name="connsiteY924" fmla="*/ 1676876 h 1857375"/>
                  <a:gd name="connsiteX925" fmla="*/ 330041 w 1247775"/>
                  <a:gd name="connsiteY925" fmla="*/ 1675924 h 1857375"/>
                  <a:gd name="connsiteX926" fmla="*/ 342424 w 1247775"/>
                  <a:gd name="connsiteY926" fmla="*/ 1683544 h 1857375"/>
                  <a:gd name="connsiteX927" fmla="*/ 351949 w 1247775"/>
                  <a:gd name="connsiteY927" fmla="*/ 1679734 h 1857375"/>
                  <a:gd name="connsiteX928" fmla="*/ 360521 w 1247775"/>
                  <a:gd name="connsiteY928" fmla="*/ 1694974 h 1857375"/>
                  <a:gd name="connsiteX929" fmla="*/ 358616 w 1247775"/>
                  <a:gd name="connsiteY929" fmla="*/ 1694974 h 1857375"/>
                  <a:gd name="connsiteX930" fmla="*/ 348139 w 1247775"/>
                  <a:gd name="connsiteY930" fmla="*/ 1705451 h 1857375"/>
                  <a:gd name="connsiteX931" fmla="*/ 354806 w 1247775"/>
                  <a:gd name="connsiteY931" fmla="*/ 1714976 h 1857375"/>
                  <a:gd name="connsiteX932" fmla="*/ 345281 w 1247775"/>
                  <a:gd name="connsiteY932" fmla="*/ 1729264 h 1857375"/>
                  <a:gd name="connsiteX933" fmla="*/ 360521 w 1247775"/>
                  <a:gd name="connsiteY933" fmla="*/ 1744504 h 1857375"/>
                  <a:gd name="connsiteX934" fmla="*/ 375761 w 1247775"/>
                  <a:gd name="connsiteY934" fmla="*/ 1729264 h 1857375"/>
                  <a:gd name="connsiteX935" fmla="*/ 363379 w 1247775"/>
                  <a:gd name="connsiteY935" fmla="*/ 1714024 h 1857375"/>
                  <a:gd name="connsiteX936" fmla="*/ 368141 w 1247775"/>
                  <a:gd name="connsiteY936" fmla="*/ 1705451 h 1857375"/>
                  <a:gd name="connsiteX937" fmla="*/ 367189 w 1247775"/>
                  <a:gd name="connsiteY937" fmla="*/ 1701641 h 1857375"/>
                  <a:gd name="connsiteX938" fmla="*/ 374809 w 1247775"/>
                  <a:gd name="connsiteY938" fmla="*/ 1704499 h 1857375"/>
                  <a:gd name="connsiteX939" fmla="*/ 381476 w 1247775"/>
                  <a:gd name="connsiteY939" fmla="*/ 1707356 h 1857375"/>
                  <a:gd name="connsiteX940" fmla="*/ 385286 w 1247775"/>
                  <a:gd name="connsiteY940" fmla="*/ 1706404 h 1857375"/>
                  <a:gd name="connsiteX941" fmla="*/ 386239 w 1247775"/>
                  <a:gd name="connsiteY941" fmla="*/ 1706404 h 1857375"/>
                  <a:gd name="connsiteX942" fmla="*/ 416719 w 1247775"/>
                  <a:gd name="connsiteY942" fmla="*/ 1688306 h 1857375"/>
                  <a:gd name="connsiteX943" fmla="*/ 421481 w 1247775"/>
                  <a:gd name="connsiteY943" fmla="*/ 1681639 h 1857375"/>
                  <a:gd name="connsiteX944" fmla="*/ 420529 w 1247775"/>
                  <a:gd name="connsiteY944" fmla="*/ 1678781 h 1857375"/>
                  <a:gd name="connsiteX945" fmla="*/ 420529 w 1247775"/>
                  <a:gd name="connsiteY945" fmla="*/ 1675924 h 1857375"/>
                  <a:gd name="connsiteX946" fmla="*/ 433864 w 1247775"/>
                  <a:gd name="connsiteY946" fmla="*/ 1679734 h 1857375"/>
                  <a:gd name="connsiteX947" fmla="*/ 436721 w 1247775"/>
                  <a:gd name="connsiteY947" fmla="*/ 1686401 h 1857375"/>
                  <a:gd name="connsiteX948" fmla="*/ 415766 w 1247775"/>
                  <a:gd name="connsiteY948" fmla="*/ 1702594 h 1857375"/>
                  <a:gd name="connsiteX949" fmla="*/ 414814 w 1247775"/>
                  <a:gd name="connsiteY949" fmla="*/ 1702594 h 1857375"/>
                  <a:gd name="connsiteX950" fmla="*/ 409099 w 1247775"/>
                  <a:gd name="connsiteY950" fmla="*/ 1708309 h 1857375"/>
                  <a:gd name="connsiteX951" fmla="*/ 409099 w 1247775"/>
                  <a:gd name="connsiteY951" fmla="*/ 1710214 h 1857375"/>
                  <a:gd name="connsiteX952" fmla="*/ 407194 w 1247775"/>
                  <a:gd name="connsiteY952" fmla="*/ 1711166 h 1857375"/>
                  <a:gd name="connsiteX953" fmla="*/ 399574 w 1247775"/>
                  <a:gd name="connsiteY953" fmla="*/ 1705451 h 1857375"/>
                  <a:gd name="connsiteX954" fmla="*/ 391954 w 1247775"/>
                  <a:gd name="connsiteY954" fmla="*/ 1713071 h 1857375"/>
                  <a:gd name="connsiteX955" fmla="*/ 399574 w 1247775"/>
                  <a:gd name="connsiteY955" fmla="*/ 1720691 h 1857375"/>
                  <a:gd name="connsiteX956" fmla="*/ 400526 w 1247775"/>
                  <a:gd name="connsiteY956" fmla="*/ 1720691 h 1857375"/>
                  <a:gd name="connsiteX957" fmla="*/ 400526 w 1247775"/>
                  <a:gd name="connsiteY957" fmla="*/ 1724501 h 1857375"/>
                  <a:gd name="connsiteX958" fmla="*/ 401479 w 1247775"/>
                  <a:gd name="connsiteY958" fmla="*/ 1729264 h 1857375"/>
                  <a:gd name="connsiteX959" fmla="*/ 392906 w 1247775"/>
                  <a:gd name="connsiteY959" fmla="*/ 1743551 h 1857375"/>
                  <a:gd name="connsiteX960" fmla="*/ 394811 w 1247775"/>
                  <a:gd name="connsiteY960" fmla="*/ 1752124 h 1857375"/>
                  <a:gd name="connsiteX961" fmla="*/ 380524 w 1247775"/>
                  <a:gd name="connsiteY961" fmla="*/ 1756886 h 1857375"/>
                  <a:gd name="connsiteX962" fmla="*/ 367189 w 1247775"/>
                  <a:gd name="connsiteY962" fmla="*/ 1751171 h 1857375"/>
                  <a:gd name="connsiteX963" fmla="*/ 348139 w 1247775"/>
                  <a:gd name="connsiteY963" fmla="*/ 1766411 h 1857375"/>
                  <a:gd name="connsiteX964" fmla="*/ 347186 w 1247775"/>
                  <a:gd name="connsiteY964" fmla="*/ 1767364 h 1857375"/>
                  <a:gd name="connsiteX965" fmla="*/ 348139 w 1247775"/>
                  <a:gd name="connsiteY965" fmla="*/ 1761649 h 1857375"/>
                  <a:gd name="connsiteX966" fmla="*/ 333851 w 1247775"/>
                  <a:gd name="connsiteY966" fmla="*/ 1747361 h 1857375"/>
                  <a:gd name="connsiteX967" fmla="*/ 324326 w 1247775"/>
                  <a:gd name="connsiteY967" fmla="*/ 1751171 h 1857375"/>
                  <a:gd name="connsiteX968" fmla="*/ 298609 w 1247775"/>
                  <a:gd name="connsiteY968" fmla="*/ 1736884 h 1857375"/>
                  <a:gd name="connsiteX969" fmla="*/ 268129 w 1247775"/>
                  <a:gd name="connsiteY969" fmla="*/ 1766411 h 1857375"/>
                  <a:gd name="connsiteX970" fmla="*/ 263366 w 1247775"/>
                  <a:gd name="connsiteY970" fmla="*/ 1767364 h 1857375"/>
                  <a:gd name="connsiteX971" fmla="*/ 265271 w 1247775"/>
                  <a:gd name="connsiteY971" fmla="*/ 1758791 h 1857375"/>
                  <a:gd name="connsiteX972" fmla="*/ 238601 w 1247775"/>
                  <a:gd name="connsiteY972" fmla="*/ 1732121 h 1857375"/>
                  <a:gd name="connsiteX973" fmla="*/ 211931 w 1247775"/>
                  <a:gd name="connsiteY973" fmla="*/ 1758791 h 1857375"/>
                  <a:gd name="connsiteX974" fmla="*/ 212884 w 1247775"/>
                  <a:gd name="connsiteY974" fmla="*/ 1764506 h 1857375"/>
                  <a:gd name="connsiteX975" fmla="*/ 212884 w 1247775"/>
                  <a:gd name="connsiteY975" fmla="*/ 1765459 h 1857375"/>
                  <a:gd name="connsiteX976" fmla="*/ 214789 w 1247775"/>
                  <a:gd name="connsiteY976" fmla="*/ 1773079 h 1857375"/>
                  <a:gd name="connsiteX977" fmla="*/ 207169 w 1247775"/>
                  <a:gd name="connsiteY977" fmla="*/ 1781651 h 1857375"/>
                  <a:gd name="connsiteX978" fmla="*/ 208121 w 1247775"/>
                  <a:gd name="connsiteY978" fmla="*/ 1784509 h 1857375"/>
                  <a:gd name="connsiteX979" fmla="*/ 195739 w 1247775"/>
                  <a:gd name="connsiteY979" fmla="*/ 1810226 h 1857375"/>
                  <a:gd name="connsiteX980" fmla="*/ 230029 w 1247775"/>
                  <a:gd name="connsiteY980" fmla="*/ 1847374 h 1857375"/>
                  <a:gd name="connsiteX981" fmla="*/ 260509 w 1247775"/>
                  <a:gd name="connsiteY981" fmla="*/ 1832134 h 1857375"/>
                  <a:gd name="connsiteX982" fmla="*/ 260509 w 1247775"/>
                  <a:gd name="connsiteY982" fmla="*/ 1834991 h 1857375"/>
                  <a:gd name="connsiteX983" fmla="*/ 261461 w 1247775"/>
                  <a:gd name="connsiteY983" fmla="*/ 1839754 h 1857375"/>
                  <a:gd name="connsiteX984" fmla="*/ 257651 w 1247775"/>
                  <a:gd name="connsiteY984" fmla="*/ 1844516 h 1857375"/>
                  <a:gd name="connsiteX985" fmla="*/ 263366 w 1247775"/>
                  <a:gd name="connsiteY985" fmla="*/ 1850231 h 1857375"/>
                  <a:gd name="connsiteX986" fmla="*/ 267176 w 1247775"/>
                  <a:gd name="connsiteY986" fmla="*/ 1848326 h 1857375"/>
                  <a:gd name="connsiteX987" fmla="*/ 270986 w 1247775"/>
                  <a:gd name="connsiteY987" fmla="*/ 1850231 h 1857375"/>
                  <a:gd name="connsiteX988" fmla="*/ 279559 w 1247775"/>
                  <a:gd name="connsiteY988" fmla="*/ 1855946 h 1857375"/>
                  <a:gd name="connsiteX989" fmla="*/ 288131 w 1247775"/>
                  <a:gd name="connsiteY989" fmla="*/ 1850231 h 1857375"/>
                  <a:gd name="connsiteX990" fmla="*/ 300514 w 1247775"/>
                  <a:gd name="connsiteY990" fmla="*/ 1854041 h 1857375"/>
                  <a:gd name="connsiteX991" fmla="*/ 310039 w 1247775"/>
                  <a:gd name="connsiteY991" fmla="*/ 1852136 h 1857375"/>
                  <a:gd name="connsiteX992" fmla="*/ 329089 w 1247775"/>
                  <a:gd name="connsiteY992" fmla="*/ 1834039 h 1857375"/>
                  <a:gd name="connsiteX993" fmla="*/ 334804 w 1247775"/>
                  <a:gd name="connsiteY993" fmla="*/ 1828324 h 1857375"/>
                  <a:gd name="connsiteX994" fmla="*/ 337661 w 1247775"/>
                  <a:gd name="connsiteY994" fmla="*/ 1828324 h 1857375"/>
                  <a:gd name="connsiteX995" fmla="*/ 356711 w 1247775"/>
                  <a:gd name="connsiteY995" fmla="*/ 1817846 h 1857375"/>
                  <a:gd name="connsiteX996" fmla="*/ 368141 w 1247775"/>
                  <a:gd name="connsiteY996" fmla="*/ 1819751 h 1857375"/>
                  <a:gd name="connsiteX997" fmla="*/ 380524 w 1247775"/>
                  <a:gd name="connsiteY997" fmla="*/ 1817846 h 1857375"/>
                  <a:gd name="connsiteX998" fmla="*/ 400526 w 1247775"/>
                  <a:gd name="connsiteY998" fmla="*/ 1823561 h 1857375"/>
                  <a:gd name="connsiteX999" fmla="*/ 437674 w 1247775"/>
                  <a:gd name="connsiteY999" fmla="*/ 1786414 h 1857375"/>
                  <a:gd name="connsiteX1000" fmla="*/ 437674 w 1247775"/>
                  <a:gd name="connsiteY1000" fmla="*/ 1786414 h 1857375"/>
                  <a:gd name="connsiteX1001" fmla="*/ 441484 w 1247775"/>
                  <a:gd name="connsiteY1001" fmla="*/ 1786414 h 1857375"/>
                  <a:gd name="connsiteX1002" fmla="*/ 454819 w 1247775"/>
                  <a:gd name="connsiteY1002" fmla="*/ 1782604 h 1857375"/>
                  <a:gd name="connsiteX1003" fmla="*/ 461486 w 1247775"/>
                  <a:gd name="connsiteY1003" fmla="*/ 1784509 h 1857375"/>
                  <a:gd name="connsiteX1004" fmla="*/ 475774 w 1247775"/>
                  <a:gd name="connsiteY1004" fmla="*/ 1770221 h 1857375"/>
                  <a:gd name="connsiteX1005" fmla="*/ 472916 w 1247775"/>
                  <a:gd name="connsiteY1005" fmla="*/ 1762601 h 1857375"/>
                  <a:gd name="connsiteX1006" fmla="*/ 488156 w 1247775"/>
                  <a:gd name="connsiteY1006" fmla="*/ 1753076 h 1857375"/>
                  <a:gd name="connsiteX1007" fmla="*/ 493871 w 1247775"/>
                  <a:gd name="connsiteY1007" fmla="*/ 1750219 h 1857375"/>
                  <a:gd name="connsiteX1008" fmla="*/ 493871 w 1247775"/>
                  <a:gd name="connsiteY1008" fmla="*/ 1751171 h 1857375"/>
                  <a:gd name="connsiteX1009" fmla="*/ 525304 w 1247775"/>
                  <a:gd name="connsiteY1009" fmla="*/ 1782604 h 1857375"/>
                  <a:gd name="connsiteX1010" fmla="*/ 533876 w 1247775"/>
                  <a:gd name="connsiteY1010" fmla="*/ 1780699 h 1857375"/>
                  <a:gd name="connsiteX1011" fmla="*/ 550069 w 1247775"/>
                  <a:gd name="connsiteY1011" fmla="*/ 1785461 h 1857375"/>
                  <a:gd name="connsiteX1012" fmla="*/ 567214 w 1247775"/>
                  <a:gd name="connsiteY1012" fmla="*/ 1779746 h 1857375"/>
                  <a:gd name="connsiteX1013" fmla="*/ 575786 w 1247775"/>
                  <a:gd name="connsiteY1013" fmla="*/ 1780699 h 1857375"/>
                  <a:gd name="connsiteX1014" fmla="*/ 601504 w 1247775"/>
                  <a:gd name="connsiteY1014" fmla="*/ 1769269 h 1857375"/>
                  <a:gd name="connsiteX1015" fmla="*/ 604361 w 1247775"/>
                  <a:gd name="connsiteY1015" fmla="*/ 1769269 h 1857375"/>
                  <a:gd name="connsiteX1016" fmla="*/ 615791 w 1247775"/>
                  <a:gd name="connsiteY1016" fmla="*/ 1767364 h 1857375"/>
                  <a:gd name="connsiteX1017" fmla="*/ 651034 w 1247775"/>
                  <a:gd name="connsiteY1017" fmla="*/ 1791176 h 1857375"/>
                  <a:gd name="connsiteX1018" fmla="*/ 655796 w 1247775"/>
                  <a:gd name="connsiteY1018" fmla="*/ 1791176 h 1857375"/>
                  <a:gd name="connsiteX1019" fmla="*/ 705326 w 1247775"/>
                  <a:gd name="connsiteY1019" fmla="*/ 1800701 h 1857375"/>
                  <a:gd name="connsiteX1020" fmla="*/ 1004411 w 1247775"/>
                  <a:gd name="connsiteY1020" fmla="*/ 1796891 h 1857375"/>
                  <a:gd name="connsiteX1021" fmla="*/ 1087279 w 1247775"/>
                  <a:gd name="connsiteY1021" fmla="*/ 1637824 h 1857375"/>
                  <a:gd name="connsiteX1022" fmla="*/ 1076801 w 1247775"/>
                  <a:gd name="connsiteY1022" fmla="*/ 1550194 h 1857375"/>
                  <a:gd name="connsiteX1023" fmla="*/ 1153001 w 1247775"/>
                  <a:gd name="connsiteY1023" fmla="*/ 1512094 h 1857375"/>
                  <a:gd name="connsiteX1024" fmla="*/ 1149191 w 1247775"/>
                  <a:gd name="connsiteY1024" fmla="*/ 1437799 h 1857375"/>
                  <a:gd name="connsiteX1025" fmla="*/ 1078706 w 1247775"/>
                  <a:gd name="connsiteY1025" fmla="*/ 1408271 h 1857375"/>
                  <a:gd name="connsiteX1026" fmla="*/ 1161574 w 1247775"/>
                  <a:gd name="connsiteY1026" fmla="*/ 1366361 h 1857375"/>
                  <a:gd name="connsiteX1027" fmla="*/ 1186339 w 1247775"/>
                  <a:gd name="connsiteY1027" fmla="*/ 1283494 h 1857375"/>
                  <a:gd name="connsiteX1028" fmla="*/ 1138714 w 1247775"/>
                  <a:gd name="connsiteY1028" fmla="*/ 1235869 h 1857375"/>
                  <a:gd name="connsiteX1029" fmla="*/ 1159669 w 1247775"/>
                  <a:gd name="connsiteY1029" fmla="*/ 1165384 h 1857375"/>
                  <a:gd name="connsiteX1030" fmla="*/ 1240631 w 1247775"/>
                  <a:gd name="connsiteY1030" fmla="*/ 1103471 h 1857375"/>
                  <a:gd name="connsiteX1031" fmla="*/ 1172051 w 1247775"/>
                  <a:gd name="connsiteY1031" fmla="*/ 974884 h 1857375"/>
                  <a:gd name="connsiteX1032" fmla="*/ 584359 w 1247775"/>
                  <a:gd name="connsiteY1032" fmla="*/ 250984 h 1857375"/>
                  <a:gd name="connsiteX1033" fmla="*/ 581501 w 1247775"/>
                  <a:gd name="connsiteY1033" fmla="*/ 252889 h 1857375"/>
                  <a:gd name="connsiteX1034" fmla="*/ 572929 w 1247775"/>
                  <a:gd name="connsiteY1034" fmla="*/ 250031 h 1857375"/>
                  <a:gd name="connsiteX1035" fmla="*/ 571976 w 1247775"/>
                  <a:gd name="connsiteY1035" fmla="*/ 250031 h 1857375"/>
                  <a:gd name="connsiteX1036" fmla="*/ 570071 w 1247775"/>
                  <a:gd name="connsiteY1036" fmla="*/ 249079 h 1857375"/>
                  <a:gd name="connsiteX1037" fmla="*/ 570071 w 1247775"/>
                  <a:gd name="connsiteY1037" fmla="*/ 246221 h 1857375"/>
                  <a:gd name="connsiteX1038" fmla="*/ 570071 w 1247775"/>
                  <a:gd name="connsiteY1038" fmla="*/ 243364 h 1857375"/>
                  <a:gd name="connsiteX1039" fmla="*/ 585311 w 1247775"/>
                  <a:gd name="connsiteY1039" fmla="*/ 234791 h 1857375"/>
                  <a:gd name="connsiteX1040" fmla="*/ 595789 w 1247775"/>
                  <a:gd name="connsiteY1040" fmla="*/ 244316 h 1857375"/>
                  <a:gd name="connsiteX1041" fmla="*/ 584359 w 1247775"/>
                  <a:gd name="connsiteY1041" fmla="*/ 250984 h 1857375"/>
                  <a:gd name="connsiteX1042" fmla="*/ 596741 w 1247775"/>
                  <a:gd name="connsiteY1042" fmla="*/ 201454 h 1857375"/>
                  <a:gd name="connsiteX1043" fmla="*/ 596741 w 1247775"/>
                  <a:gd name="connsiteY1043" fmla="*/ 198596 h 1857375"/>
                  <a:gd name="connsiteX1044" fmla="*/ 598646 w 1247775"/>
                  <a:gd name="connsiteY1044" fmla="*/ 199549 h 1857375"/>
                  <a:gd name="connsiteX1045" fmla="*/ 596741 w 1247775"/>
                  <a:gd name="connsiteY1045" fmla="*/ 201454 h 1857375"/>
                  <a:gd name="connsiteX1046" fmla="*/ 606266 w 1247775"/>
                  <a:gd name="connsiteY1046" fmla="*/ 250031 h 1857375"/>
                  <a:gd name="connsiteX1047" fmla="*/ 602456 w 1247775"/>
                  <a:gd name="connsiteY1047" fmla="*/ 245269 h 1857375"/>
                  <a:gd name="connsiteX1048" fmla="*/ 605314 w 1247775"/>
                  <a:gd name="connsiteY1048" fmla="*/ 245269 h 1857375"/>
                  <a:gd name="connsiteX1049" fmla="*/ 609124 w 1247775"/>
                  <a:gd name="connsiteY1049" fmla="*/ 245269 h 1857375"/>
                  <a:gd name="connsiteX1050" fmla="*/ 606266 w 1247775"/>
                  <a:gd name="connsiteY1050" fmla="*/ 250031 h 1857375"/>
                  <a:gd name="connsiteX1051" fmla="*/ 557689 w 1247775"/>
                  <a:gd name="connsiteY1051" fmla="*/ 407194 h 1857375"/>
                  <a:gd name="connsiteX1052" fmla="*/ 555784 w 1247775"/>
                  <a:gd name="connsiteY1052" fmla="*/ 407194 h 1857375"/>
                  <a:gd name="connsiteX1053" fmla="*/ 555784 w 1247775"/>
                  <a:gd name="connsiteY1053" fmla="*/ 405289 h 1857375"/>
                  <a:gd name="connsiteX1054" fmla="*/ 554831 w 1247775"/>
                  <a:gd name="connsiteY1054" fmla="*/ 400526 h 1857375"/>
                  <a:gd name="connsiteX1055" fmla="*/ 559594 w 1247775"/>
                  <a:gd name="connsiteY1055" fmla="*/ 407194 h 1857375"/>
                  <a:gd name="connsiteX1056" fmla="*/ 557689 w 1247775"/>
                  <a:gd name="connsiteY1056" fmla="*/ 407194 h 1857375"/>
                  <a:gd name="connsiteX1057" fmla="*/ 637699 w 1247775"/>
                  <a:gd name="connsiteY1057" fmla="*/ 305276 h 1857375"/>
                  <a:gd name="connsiteX1058" fmla="*/ 641509 w 1247775"/>
                  <a:gd name="connsiteY1058" fmla="*/ 309086 h 1857375"/>
                  <a:gd name="connsiteX1059" fmla="*/ 638651 w 1247775"/>
                  <a:gd name="connsiteY1059" fmla="*/ 310039 h 1857375"/>
                  <a:gd name="connsiteX1060" fmla="*/ 636746 w 1247775"/>
                  <a:gd name="connsiteY1060" fmla="*/ 306229 h 1857375"/>
                  <a:gd name="connsiteX1061" fmla="*/ 637699 w 1247775"/>
                  <a:gd name="connsiteY1061" fmla="*/ 305276 h 1857375"/>
                  <a:gd name="connsiteX1062" fmla="*/ 591979 w 1247775"/>
                  <a:gd name="connsiteY1062" fmla="*/ 417671 h 1857375"/>
                  <a:gd name="connsiteX1063" fmla="*/ 609124 w 1247775"/>
                  <a:gd name="connsiteY1063" fmla="*/ 409099 h 1857375"/>
                  <a:gd name="connsiteX1064" fmla="*/ 606266 w 1247775"/>
                  <a:gd name="connsiteY1064" fmla="*/ 418624 h 1857375"/>
                  <a:gd name="connsiteX1065" fmla="*/ 606266 w 1247775"/>
                  <a:gd name="connsiteY1065" fmla="*/ 418624 h 1857375"/>
                  <a:gd name="connsiteX1066" fmla="*/ 598646 w 1247775"/>
                  <a:gd name="connsiteY1066" fmla="*/ 426244 h 1857375"/>
                  <a:gd name="connsiteX1067" fmla="*/ 591026 w 1247775"/>
                  <a:gd name="connsiteY1067" fmla="*/ 420529 h 1857375"/>
                  <a:gd name="connsiteX1068" fmla="*/ 591979 w 1247775"/>
                  <a:gd name="connsiteY1068" fmla="*/ 417671 h 1857375"/>
                  <a:gd name="connsiteX1069" fmla="*/ 594836 w 1247775"/>
                  <a:gd name="connsiteY1069" fmla="*/ 511016 h 1857375"/>
                  <a:gd name="connsiteX1070" fmla="*/ 591979 w 1247775"/>
                  <a:gd name="connsiteY1070" fmla="*/ 510064 h 1857375"/>
                  <a:gd name="connsiteX1071" fmla="*/ 590074 w 1247775"/>
                  <a:gd name="connsiteY1071" fmla="*/ 510064 h 1857375"/>
                  <a:gd name="connsiteX1072" fmla="*/ 587216 w 1247775"/>
                  <a:gd name="connsiteY1072" fmla="*/ 508159 h 1857375"/>
                  <a:gd name="connsiteX1073" fmla="*/ 597694 w 1247775"/>
                  <a:gd name="connsiteY1073" fmla="*/ 503396 h 1857375"/>
                  <a:gd name="connsiteX1074" fmla="*/ 598646 w 1247775"/>
                  <a:gd name="connsiteY1074" fmla="*/ 505301 h 1857375"/>
                  <a:gd name="connsiteX1075" fmla="*/ 594836 w 1247775"/>
                  <a:gd name="connsiteY1075" fmla="*/ 511016 h 1857375"/>
                  <a:gd name="connsiteX1076" fmla="*/ 633889 w 1247775"/>
                  <a:gd name="connsiteY1076" fmla="*/ 447199 h 1857375"/>
                  <a:gd name="connsiteX1077" fmla="*/ 627221 w 1247775"/>
                  <a:gd name="connsiteY1077" fmla="*/ 461486 h 1857375"/>
                  <a:gd name="connsiteX1078" fmla="*/ 626269 w 1247775"/>
                  <a:gd name="connsiteY1078" fmla="*/ 461486 h 1857375"/>
                  <a:gd name="connsiteX1079" fmla="*/ 608171 w 1247775"/>
                  <a:gd name="connsiteY1079" fmla="*/ 479584 h 1857375"/>
                  <a:gd name="connsiteX1080" fmla="*/ 609124 w 1247775"/>
                  <a:gd name="connsiteY1080" fmla="*/ 484346 h 1857375"/>
                  <a:gd name="connsiteX1081" fmla="*/ 608171 w 1247775"/>
                  <a:gd name="connsiteY1081" fmla="*/ 485299 h 1857375"/>
                  <a:gd name="connsiteX1082" fmla="*/ 608171 w 1247775"/>
                  <a:gd name="connsiteY1082" fmla="*/ 483394 h 1857375"/>
                  <a:gd name="connsiteX1083" fmla="*/ 593884 w 1247775"/>
                  <a:gd name="connsiteY1083" fmla="*/ 459581 h 1857375"/>
                  <a:gd name="connsiteX1084" fmla="*/ 606266 w 1247775"/>
                  <a:gd name="connsiteY1084" fmla="*/ 444341 h 1857375"/>
                  <a:gd name="connsiteX1085" fmla="*/ 614839 w 1247775"/>
                  <a:gd name="connsiteY1085" fmla="*/ 447199 h 1857375"/>
                  <a:gd name="connsiteX1086" fmla="*/ 626269 w 1247775"/>
                  <a:gd name="connsiteY1086" fmla="*/ 440531 h 1857375"/>
                  <a:gd name="connsiteX1087" fmla="*/ 630079 w 1247775"/>
                  <a:gd name="connsiteY1087" fmla="*/ 440531 h 1857375"/>
                  <a:gd name="connsiteX1088" fmla="*/ 631984 w 1247775"/>
                  <a:gd name="connsiteY1088" fmla="*/ 440531 h 1857375"/>
                  <a:gd name="connsiteX1089" fmla="*/ 636746 w 1247775"/>
                  <a:gd name="connsiteY1089" fmla="*/ 444341 h 1857375"/>
                  <a:gd name="connsiteX1090" fmla="*/ 633889 w 1247775"/>
                  <a:gd name="connsiteY1090" fmla="*/ 447199 h 1857375"/>
                  <a:gd name="connsiteX1091" fmla="*/ 633889 w 1247775"/>
                  <a:gd name="connsiteY1091" fmla="*/ 447199 h 1857375"/>
                  <a:gd name="connsiteX1092" fmla="*/ 639604 w 1247775"/>
                  <a:gd name="connsiteY1092" fmla="*/ 402431 h 1857375"/>
                  <a:gd name="connsiteX1093" fmla="*/ 631031 w 1247775"/>
                  <a:gd name="connsiteY1093" fmla="*/ 399574 h 1857375"/>
                  <a:gd name="connsiteX1094" fmla="*/ 625316 w 1247775"/>
                  <a:gd name="connsiteY1094" fmla="*/ 391001 h 1857375"/>
                  <a:gd name="connsiteX1095" fmla="*/ 626269 w 1247775"/>
                  <a:gd name="connsiteY1095" fmla="*/ 388144 h 1857375"/>
                  <a:gd name="connsiteX1096" fmla="*/ 620554 w 1247775"/>
                  <a:gd name="connsiteY1096" fmla="*/ 382429 h 1857375"/>
                  <a:gd name="connsiteX1097" fmla="*/ 619601 w 1247775"/>
                  <a:gd name="connsiteY1097" fmla="*/ 374809 h 1857375"/>
                  <a:gd name="connsiteX1098" fmla="*/ 625316 w 1247775"/>
                  <a:gd name="connsiteY1098" fmla="*/ 375761 h 1857375"/>
                  <a:gd name="connsiteX1099" fmla="*/ 631031 w 1247775"/>
                  <a:gd name="connsiteY1099" fmla="*/ 373856 h 1857375"/>
                  <a:gd name="connsiteX1100" fmla="*/ 642461 w 1247775"/>
                  <a:gd name="connsiteY1100" fmla="*/ 380524 h 1857375"/>
                  <a:gd name="connsiteX1101" fmla="*/ 647224 w 1247775"/>
                  <a:gd name="connsiteY1101" fmla="*/ 394811 h 1857375"/>
                  <a:gd name="connsiteX1102" fmla="*/ 639604 w 1247775"/>
                  <a:gd name="connsiteY1102" fmla="*/ 402431 h 1857375"/>
                  <a:gd name="connsiteX1103" fmla="*/ 343376 w 1247775"/>
                  <a:gd name="connsiteY1103" fmla="*/ 758666 h 1857375"/>
                  <a:gd name="connsiteX1104" fmla="*/ 343376 w 1247775"/>
                  <a:gd name="connsiteY1104" fmla="*/ 758666 h 1857375"/>
                  <a:gd name="connsiteX1105" fmla="*/ 341471 w 1247775"/>
                  <a:gd name="connsiteY1105" fmla="*/ 751999 h 1857375"/>
                  <a:gd name="connsiteX1106" fmla="*/ 346234 w 1247775"/>
                  <a:gd name="connsiteY1106" fmla="*/ 752951 h 1857375"/>
                  <a:gd name="connsiteX1107" fmla="*/ 343376 w 1247775"/>
                  <a:gd name="connsiteY1107" fmla="*/ 758666 h 1857375"/>
                  <a:gd name="connsiteX1108" fmla="*/ 109061 w 1247775"/>
                  <a:gd name="connsiteY1108" fmla="*/ 1225391 h 1857375"/>
                  <a:gd name="connsiteX1109" fmla="*/ 95726 w 1247775"/>
                  <a:gd name="connsiteY1109" fmla="*/ 1217771 h 1857375"/>
                  <a:gd name="connsiteX1110" fmla="*/ 104299 w 1247775"/>
                  <a:gd name="connsiteY1110" fmla="*/ 1210151 h 1857375"/>
                  <a:gd name="connsiteX1111" fmla="*/ 122396 w 1247775"/>
                  <a:gd name="connsiteY1111" fmla="*/ 1195864 h 1857375"/>
                  <a:gd name="connsiteX1112" fmla="*/ 129064 w 1247775"/>
                  <a:gd name="connsiteY1112" fmla="*/ 1201579 h 1857375"/>
                  <a:gd name="connsiteX1113" fmla="*/ 109061 w 1247775"/>
                  <a:gd name="connsiteY1113" fmla="*/ 1225391 h 1857375"/>
                  <a:gd name="connsiteX1114" fmla="*/ 151924 w 1247775"/>
                  <a:gd name="connsiteY1114" fmla="*/ 1208246 h 1857375"/>
                  <a:gd name="connsiteX1115" fmla="*/ 150019 w 1247775"/>
                  <a:gd name="connsiteY1115" fmla="*/ 1206341 h 1857375"/>
                  <a:gd name="connsiteX1116" fmla="*/ 151924 w 1247775"/>
                  <a:gd name="connsiteY1116" fmla="*/ 1206341 h 1857375"/>
                  <a:gd name="connsiteX1117" fmla="*/ 151924 w 1247775"/>
                  <a:gd name="connsiteY1117" fmla="*/ 1208246 h 1857375"/>
                  <a:gd name="connsiteX1118" fmla="*/ 290989 w 1247775"/>
                  <a:gd name="connsiteY1118" fmla="*/ 992981 h 1857375"/>
                  <a:gd name="connsiteX1119" fmla="*/ 291941 w 1247775"/>
                  <a:gd name="connsiteY1119" fmla="*/ 986314 h 1857375"/>
                  <a:gd name="connsiteX1120" fmla="*/ 291941 w 1247775"/>
                  <a:gd name="connsiteY1120" fmla="*/ 986314 h 1857375"/>
                  <a:gd name="connsiteX1121" fmla="*/ 294799 w 1247775"/>
                  <a:gd name="connsiteY1121" fmla="*/ 987266 h 1857375"/>
                  <a:gd name="connsiteX1122" fmla="*/ 290989 w 1247775"/>
                  <a:gd name="connsiteY1122" fmla="*/ 992981 h 1857375"/>
                  <a:gd name="connsiteX1123" fmla="*/ 309086 w 1247775"/>
                  <a:gd name="connsiteY1123" fmla="*/ 1652111 h 1857375"/>
                  <a:gd name="connsiteX1124" fmla="*/ 310039 w 1247775"/>
                  <a:gd name="connsiteY1124" fmla="*/ 1649254 h 1857375"/>
                  <a:gd name="connsiteX1125" fmla="*/ 310991 w 1247775"/>
                  <a:gd name="connsiteY1125" fmla="*/ 1650206 h 1857375"/>
                  <a:gd name="connsiteX1126" fmla="*/ 309086 w 1247775"/>
                  <a:gd name="connsiteY1126" fmla="*/ 1652111 h 1857375"/>
                  <a:gd name="connsiteX1127" fmla="*/ 259556 w 1247775"/>
                  <a:gd name="connsiteY1127" fmla="*/ 1822609 h 1857375"/>
                  <a:gd name="connsiteX1128" fmla="*/ 261461 w 1247775"/>
                  <a:gd name="connsiteY1128" fmla="*/ 1816894 h 1857375"/>
                  <a:gd name="connsiteX1129" fmla="*/ 265271 w 1247775"/>
                  <a:gd name="connsiteY1129" fmla="*/ 1816894 h 1857375"/>
                  <a:gd name="connsiteX1130" fmla="*/ 266224 w 1247775"/>
                  <a:gd name="connsiteY1130" fmla="*/ 1817846 h 1857375"/>
                  <a:gd name="connsiteX1131" fmla="*/ 259556 w 1247775"/>
                  <a:gd name="connsiteY1131" fmla="*/ 1822609 h 1857375"/>
                  <a:gd name="connsiteX1132" fmla="*/ 330994 w 1247775"/>
                  <a:gd name="connsiteY1132" fmla="*/ 1783556 h 1857375"/>
                  <a:gd name="connsiteX1133" fmla="*/ 329089 w 1247775"/>
                  <a:gd name="connsiteY1133" fmla="*/ 1783556 h 1857375"/>
                  <a:gd name="connsiteX1134" fmla="*/ 326231 w 1247775"/>
                  <a:gd name="connsiteY1134" fmla="*/ 1781651 h 1857375"/>
                  <a:gd name="connsiteX1135" fmla="*/ 321469 w 1247775"/>
                  <a:gd name="connsiteY1135" fmla="*/ 1777841 h 1857375"/>
                  <a:gd name="connsiteX1136" fmla="*/ 323374 w 1247775"/>
                  <a:gd name="connsiteY1136" fmla="*/ 1772126 h 1857375"/>
                  <a:gd name="connsiteX1137" fmla="*/ 329089 w 1247775"/>
                  <a:gd name="connsiteY1137" fmla="*/ 1773079 h 1857375"/>
                  <a:gd name="connsiteX1138" fmla="*/ 335756 w 1247775"/>
                  <a:gd name="connsiteY1138" fmla="*/ 1771174 h 1857375"/>
                  <a:gd name="connsiteX1139" fmla="*/ 330994 w 1247775"/>
                  <a:gd name="connsiteY1139" fmla="*/ 1783556 h 1857375"/>
                  <a:gd name="connsiteX1140" fmla="*/ 442436 w 1247775"/>
                  <a:gd name="connsiteY1140" fmla="*/ 1450181 h 1857375"/>
                  <a:gd name="connsiteX1141" fmla="*/ 451009 w 1247775"/>
                  <a:gd name="connsiteY1141" fmla="*/ 1458754 h 1857375"/>
                  <a:gd name="connsiteX1142" fmla="*/ 444341 w 1247775"/>
                  <a:gd name="connsiteY1142" fmla="*/ 1465421 h 1857375"/>
                  <a:gd name="connsiteX1143" fmla="*/ 437674 w 1247775"/>
                  <a:gd name="connsiteY1143" fmla="*/ 1454944 h 1857375"/>
                  <a:gd name="connsiteX1144" fmla="*/ 442436 w 1247775"/>
                  <a:gd name="connsiteY1144" fmla="*/ 1450181 h 1857375"/>
                  <a:gd name="connsiteX1145" fmla="*/ 426244 w 1247775"/>
                  <a:gd name="connsiteY1145" fmla="*/ 1592104 h 1857375"/>
                  <a:gd name="connsiteX1146" fmla="*/ 420529 w 1247775"/>
                  <a:gd name="connsiteY1146" fmla="*/ 1587341 h 1857375"/>
                  <a:gd name="connsiteX1147" fmla="*/ 419576 w 1247775"/>
                  <a:gd name="connsiteY1147" fmla="*/ 1587341 h 1857375"/>
                  <a:gd name="connsiteX1148" fmla="*/ 421481 w 1247775"/>
                  <a:gd name="connsiteY1148" fmla="*/ 1576864 h 1857375"/>
                  <a:gd name="connsiteX1149" fmla="*/ 421481 w 1247775"/>
                  <a:gd name="connsiteY1149" fmla="*/ 1574959 h 1857375"/>
                  <a:gd name="connsiteX1150" fmla="*/ 422434 w 1247775"/>
                  <a:gd name="connsiteY1150" fmla="*/ 1574959 h 1857375"/>
                  <a:gd name="connsiteX1151" fmla="*/ 426244 w 1247775"/>
                  <a:gd name="connsiteY1151" fmla="*/ 1577816 h 1857375"/>
                  <a:gd name="connsiteX1152" fmla="*/ 426244 w 1247775"/>
                  <a:gd name="connsiteY1152" fmla="*/ 1580674 h 1857375"/>
                  <a:gd name="connsiteX1153" fmla="*/ 430054 w 1247775"/>
                  <a:gd name="connsiteY1153" fmla="*/ 1593056 h 1857375"/>
                  <a:gd name="connsiteX1154" fmla="*/ 426244 w 1247775"/>
                  <a:gd name="connsiteY1154" fmla="*/ 1592104 h 1857375"/>
                  <a:gd name="connsiteX1155" fmla="*/ 431959 w 1247775"/>
                  <a:gd name="connsiteY1155" fmla="*/ 1518761 h 1857375"/>
                  <a:gd name="connsiteX1156" fmla="*/ 425291 w 1247775"/>
                  <a:gd name="connsiteY1156" fmla="*/ 1517809 h 1857375"/>
                  <a:gd name="connsiteX1157" fmla="*/ 415766 w 1247775"/>
                  <a:gd name="connsiteY1157" fmla="*/ 1519714 h 1857375"/>
                  <a:gd name="connsiteX1158" fmla="*/ 416719 w 1247775"/>
                  <a:gd name="connsiteY1158" fmla="*/ 1515904 h 1857375"/>
                  <a:gd name="connsiteX1159" fmla="*/ 413861 w 1247775"/>
                  <a:gd name="connsiteY1159" fmla="*/ 1508284 h 1857375"/>
                  <a:gd name="connsiteX1160" fmla="*/ 419576 w 1247775"/>
                  <a:gd name="connsiteY1160" fmla="*/ 1499711 h 1857375"/>
                  <a:gd name="connsiteX1161" fmla="*/ 418624 w 1247775"/>
                  <a:gd name="connsiteY1161" fmla="*/ 1494949 h 1857375"/>
                  <a:gd name="connsiteX1162" fmla="*/ 422434 w 1247775"/>
                  <a:gd name="connsiteY1162" fmla="*/ 1486376 h 1857375"/>
                  <a:gd name="connsiteX1163" fmla="*/ 422434 w 1247775"/>
                  <a:gd name="connsiteY1163" fmla="*/ 1484471 h 1857375"/>
                  <a:gd name="connsiteX1164" fmla="*/ 422434 w 1247775"/>
                  <a:gd name="connsiteY1164" fmla="*/ 1484471 h 1857375"/>
                  <a:gd name="connsiteX1165" fmla="*/ 431959 w 1247775"/>
                  <a:gd name="connsiteY1165" fmla="*/ 1491139 h 1857375"/>
                  <a:gd name="connsiteX1166" fmla="*/ 435769 w 1247775"/>
                  <a:gd name="connsiteY1166" fmla="*/ 1490186 h 1857375"/>
                  <a:gd name="connsiteX1167" fmla="*/ 436721 w 1247775"/>
                  <a:gd name="connsiteY1167" fmla="*/ 1493044 h 1857375"/>
                  <a:gd name="connsiteX1168" fmla="*/ 430054 w 1247775"/>
                  <a:gd name="connsiteY1168" fmla="*/ 1505426 h 1857375"/>
                  <a:gd name="connsiteX1169" fmla="*/ 434816 w 1247775"/>
                  <a:gd name="connsiteY1169" fmla="*/ 1515904 h 1857375"/>
                  <a:gd name="connsiteX1170" fmla="*/ 431959 w 1247775"/>
                  <a:gd name="connsiteY1170" fmla="*/ 1518761 h 1857375"/>
                  <a:gd name="connsiteX1171" fmla="*/ 445294 w 1247775"/>
                  <a:gd name="connsiteY1171" fmla="*/ 1609249 h 1857375"/>
                  <a:gd name="connsiteX1172" fmla="*/ 435769 w 1247775"/>
                  <a:gd name="connsiteY1172" fmla="*/ 1603534 h 1857375"/>
                  <a:gd name="connsiteX1173" fmla="*/ 435769 w 1247775"/>
                  <a:gd name="connsiteY1173" fmla="*/ 1603534 h 1857375"/>
                  <a:gd name="connsiteX1174" fmla="*/ 434816 w 1247775"/>
                  <a:gd name="connsiteY1174" fmla="*/ 1598771 h 1857375"/>
                  <a:gd name="connsiteX1175" fmla="*/ 449104 w 1247775"/>
                  <a:gd name="connsiteY1175" fmla="*/ 1603534 h 1857375"/>
                  <a:gd name="connsiteX1176" fmla="*/ 450056 w 1247775"/>
                  <a:gd name="connsiteY1176" fmla="*/ 1603534 h 1857375"/>
                  <a:gd name="connsiteX1177" fmla="*/ 451961 w 1247775"/>
                  <a:gd name="connsiteY1177" fmla="*/ 1606391 h 1857375"/>
                  <a:gd name="connsiteX1178" fmla="*/ 445294 w 1247775"/>
                  <a:gd name="connsiteY1178" fmla="*/ 1609249 h 1857375"/>
                  <a:gd name="connsiteX1179" fmla="*/ 452914 w 1247775"/>
                  <a:gd name="connsiteY1179" fmla="*/ 1518761 h 1857375"/>
                  <a:gd name="connsiteX1180" fmla="*/ 451961 w 1247775"/>
                  <a:gd name="connsiteY1180" fmla="*/ 1517809 h 1857375"/>
                  <a:gd name="connsiteX1181" fmla="*/ 452914 w 1247775"/>
                  <a:gd name="connsiteY1181" fmla="*/ 1516856 h 1857375"/>
                  <a:gd name="connsiteX1182" fmla="*/ 454819 w 1247775"/>
                  <a:gd name="connsiteY1182" fmla="*/ 1517809 h 1857375"/>
                  <a:gd name="connsiteX1183" fmla="*/ 452914 w 1247775"/>
                  <a:gd name="connsiteY1183" fmla="*/ 1518761 h 1857375"/>
                  <a:gd name="connsiteX1184" fmla="*/ 666274 w 1247775"/>
                  <a:gd name="connsiteY1184" fmla="*/ 511969 h 1857375"/>
                  <a:gd name="connsiteX1185" fmla="*/ 668179 w 1247775"/>
                  <a:gd name="connsiteY1185" fmla="*/ 509111 h 1857375"/>
                  <a:gd name="connsiteX1186" fmla="*/ 668179 w 1247775"/>
                  <a:gd name="connsiteY1186" fmla="*/ 511969 h 1857375"/>
                  <a:gd name="connsiteX1187" fmla="*/ 666274 w 1247775"/>
                  <a:gd name="connsiteY1187" fmla="*/ 511969 h 1857375"/>
                  <a:gd name="connsiteX1188" fmla="*/ 657701 w 1247775"/>
                  <a:gd name="connsiteY1188" fmla="*/ 574834 h 1857375"/>
                  <a:gd name="connsiteX1189" fmla="*/ 659606 w 1247775"/>
                  <a:gd name="connsiteY1189" fmla="*/ 572929 h 1857375"/>
                  <a:gd name="connsiteX1190" fmla="*/ 659606 w 1247775"/>
                  <a:gd name="connsiteY1190" fmla="*/ 575786 h 1857375"/>
                  <a:gd name="connsiteX1191" fmla="*/ 657701 w 1247775"/>
                  <a:gd name="connsiteY1191" fmla="*/ 574834 h 1857375"/>
                  <a:gd name="connsiteX1192" fmla="*/ 502444 w 1247775"/>
                  <a:gd name="connsiteY1192" fmla="*/ 1197769 h 1857375"/>
                  <a:gd name="connsiteX1193" fmla="*/ 507206 w 1247775"/>
                  <a:gd name="connsiteY1193" fmla="*/ 1198721 h 1857375"/>
                  <a:gd name="connsiteX1194" fmla="*/ 511969 w 1247775"/>
                  <a:gd name="connsiteY1194" fmla="*/ 1197769 h 1857375"/>
                  <a:gd name="connsiteX1195" fmla="*/ 529114 w 1247775"/>
                  <a:gd name="connsiteY1195" fmla="*/ 1227296 h 1857375"/>
                  <a:gd name="connsiteX1196" fmla="*/ 526256 w 1247775"/>
                  <a:gd name="connsiteY1196" fmla="*/ 1230154 h 1857375"/>
                  <a:gd name="connsiteX1197" fmla="*/ 524351 w 1247775"/>
                  <a:gd name="connsiteY1197" fmla="*/ 1230154 h 1857375"/>
                  <a:gd name="connsiteX1198" fmla="*/ 504349 w 1247775"/>
                  <a:gd name="connsiteY1198" fmla="*/ 1220629 h 1857375"/>
                  <a:gd name="connsiteX1199" fmla="*/ 503396 w 1247775"/>
                  <a:gd name="connsiteY1199" fmla="*/ 1220629 h 1857375"/>
                  <a:gd name="connsiteX1200" fmla="*/ 497681 w 1247775"/>
                  <a:gd name="connsiteY1200" fmla="*/ 1213961 h 1857375"/>
                  <a:gd name="connsiteX1201" fmla="*/ 504349 w 1247775"/>
                  <a:gd name="connsiteY1201" fmla="*/ 1203484 h 1857375"/>
                  <a:gd name="connsiteX1202" fmla="*/ 502444 w 1247775"/>
                  <a:gd name="connsiteY1202" fmla="*/ 1197769 h 1857375"/>
                  <a:gd name="connsiteX1203" fmla="*/ 574834 w 1247775"/>
                  <a:gd name="connsiteY1203" fmla="*/ 1231106 h 1857375"/>
                  <a:gd name="connsiteX1204" fmla="*/ 574834 w 1247775"/>
                  <a:gd name="connsiteY1204" fmla="*/ 1231106 h 1857375"/>
                  <a:gd name="connsiteX1205" fmla="*/ 579596 w 1247775"/>
                  <a:gd name="connsiteY1205" fmla="*/ 1226344 h 1857375"/>
                  <a:gd name="connsiteX1206" fmla="*/ 579596 w 1247775"/>
                  <a:gd name="connsiteY1206" fmla="*/ 1229201 h 1857375"/>
                  <a:gd name="connsiteX1207" fmla="*/ 574834 w 1247775"/>
                  <a:gd name="connsiteY1207" fmla="*/ 1231106 h 1857375"/>
                  <a:gd name="connsiteX1208" fmla="*/ 516731 w 1247775"/>
                  <a:gd name="connsiteY1208" fmla="*/ 1371124 h 1857375"/>
                  <a:gd name="connsiteX1209" fmla="*/ 518636 w 1247775"/>
                  <a:gd name="connsiteY1209" fmla="*/ 1371124 h 1857375"/>
                  <a:gd name="connsiteX1210" fmla="*/ 516731 w 1247775"/>
                  <a:gd name="connsiteY1210" fmla="*/ 1373029 h 1857375"/>
                  <a:gd name="connsiteX1211" fmla="*/ 516731 w 1247775"/>
                  <a:gd name="connsiteY1211" fmla="*/ 1371124 h 1857375"/>
                  <a:gd name="connsiteX1212" fmla="*/ 615791 w 1247775"/>
                  <a:gd name="connsiteY1212" fmla="*/ 838676 h 1857375"/>
                  <a:gd name="connsiteX1213" fmla="*/ 627221 w 1247775"/>
                  <a:gd name="connsiteY1213" fmla="*/ 845344 h 1857375"/>
                  <a:gd name="connsiteX1214" fmla="*/ 627221 w 1247775"/>
                  <a:gd name="connsiteY1214" fmla="*/ 847249 h 1857375"/>
                  <a:gd name="connsiteX1215" fmla="*/ 626269 w 1247775"/>
                  <a:gd name="connsiteY1215" fmla="*/ 849154 h 1857375"/>
                  <a:gd name="connsiteX1216" fmla="*/ 620554 w 1247775"/>
                  <a:gd name="connsiteY1216" fmla="*/ 848201 h 1857375"/>
                  <a:gd name="connsiteX1217" fmla="*/ 610076 w 1247775"/>
                  <a:gd name="connsiteY1217" fmla="*/ 849154 h 1857375"/>
                  <a:gd name="connsiteX1218" fmla="*/ 610076 w 1247775"/>
                  <a:gd name="connsiteY1218" fmla="*/ 847249 h 1857375"/>
                  <a:gd name="connsiteX1219" fmla="*/ 609124 w 1247775"/>
                  <a:gd name="connsiteY1219" fmla="*/ 842486 h 1857375"/>
                  <a:gd name="connsiteX1220" fmla="*/ 615791 w 1247775"/>
                  <a:gd name="connsiteY1220" fmla="*/ 838676 h 1857375"/>
                  <a:gd name="connsiteX1221" fmla="*/ 571024 w 1247775"/>
                  <a:gd name="connsiteY1221" fmla="*/ 938689 h 1857375"/>
                  <a:gd name="connsiteX1222" fmla="*/ 577691 w 1247775"/>
                  <a:gd name="connsiteY1222" fmla="*/ 943451 h 1857375"/>
                  <a:gd name="connsiteX1223" fmla="*/ 575786 w 1247775"/>
                  <a:gd name="connsiteY1223" fmla="*/ 946309 h 1857375"/>
                  <a:gd name="connsiteX1224" fmla="*/ 571024 w 1247775"/>
                  <a:gd name="connsiteY1224" fmla="*/ 938689 h 1857375"/>
                  <a:gd name="connsiteX1225" fmla="*/ 571024 w 1247775"/>
                  <a:gd name="connsiteY1225" fmla="*/ 938689 h 1857375"/>
                  <a:gd name="connsiteX1226" fmla="*/ 552926 w 1247775"/>
                  <a:gd name="connsiteY1226" fmla="*/ 718661 h 1857375"/>
                  <a:gd name="connsiteX1227" fmla="*/ 566261 w 1247775"/>
                  <a:gd name="connsiteY1227" fmla="*/ 710089 h 1857375"/>
                  <a:gd name="connsiteX1228" fmla="*/ 568166 w 1247775"/>
                  <a:gd name="connsiteY1228" fmla="*/ 711041 h 1857375"/>
                  <a:gd name="connsiteX1229" fmla="*/ 567214 w 1247775"/>
                  <a:gd name="connsiteY1229" fmla="*/ 719614 h 1857375"/>
                  <a:gd name="connsiteX1230" fmla="*/ 567214 w 1247775"/>
                  <a:gd name="connsiteY1230" fmla="*/ 723424 h 1857375"/>
                  <a:gd name="connsiteX1231" fmla="*/ 565309 w 1247775"/>
                  <a:gd name="connsiteY1231" fmla="*/ 724376 h 1857375"/>
                  <a:gd name="connsiteX1232" fmla="*/ 552926 w 1247775"/>
                  <a:gd name="connsiteY1232" fmla="*/ 720566 h 1857375"/>
                  <a:gd name="connsiteX1233" fmla="*/ 552926 w 1247775"/>
                  <a:gd name="connsiteY1233" fmla="*/ 718661 h 1857375"/>
                  <a:gd name="connsiteX1234" fmla="*/ 553879 w 1247775"/>
                  <a:gd name="connsiteY1234" fmla="*/ 816769 h 1857375"/>
                  <a:gd name="connsiteX1235" fmla="*/ 559594 w 1247775"/>
                  <a:gd name="connsiteY1235" fmla="*/ 804386 h 1857375"/>
                  <a:gd name="connsiteX1236" fmla="*/ 561499 w 1247775"/>
                  <a:gd name="connsiteY1236" fmla="*/ 804386 h 1857375"/>
                  <a:gd name="connsiteX1237" fmla="*/ 569119 w 1247775"/>
                  <a:gd name="connsiteY1237" fmla="*/ 808196 h 1857375"/>
                  <a:gd name="connsiteX1238" fmla="*/ 568166 w 1247775"/>
                  <a:gd name="connsiteY1238" fmla="*/ 813911 h 1857375"/>
                  <a:gd name="connsiteX1239" fmla="*/ 563404 w 1247775"/>
                  <a:gd name="connsiteY1239" fmla="*/ 822484 h 1857375"/>
                  <a:gd name="connsiteX1240" fmla="*/ 563404 w 1247775"/>
                  <a:gd name="connsiteY1240" fmla="*/ 824389 h 1857375"/>
                  <a:gd name="connsiteX1241" fmla="*/ 550069 w 1247775"/>
                  <a:gd name="connsiteY1241" fmla="*/ 828199 h 1857375"/>
                  <a:gd name="connsiteX1242" fmla="*/ 553879 w 1247775"/>
                  <a:gd name="connsiteY1242" fmla="*/ 816769 h 1857375"/>
                  <a:gd name="connsiteX1243" fmla="*/ 547211 w 1247775"/>
                  <a:gd name="connsiteY1243" fmla="*/ 968216 h 1857375"/>
                  <a:gd name="connsiteX1244" fmla="*/ 547211 w 1247775"/>
                  <a:gd name="connsiteY1244" fmla="*/ 970121 h 1857375"/>
                  <a:gd name="connsiteX1245" fmla="*/ 552926 w 1247775"/>
                  <a:gd name="connsiteY1245" fmla="*/ 975836 h 1857375"/>
                  <a:gd name="connsiteX1246" fmla="*/ 558641 w 1247775"/>
                  <a:gd name="connsiteY1246" fmla="*/ 972026 h 1857375"/>
                  <a:gd name="connsiteX1247" fmla="*/ 558641 w 1247775"/>
                  <a:gd name="connsiteY1247" fmla="*/ 972026 h 1857375"/>
                  <a:gd name="connsiteX1248" fmla="*/ 563404 w 1247775"/>
                  <a:gd name="connsiteY1248" fmla="*/ 971074 h 1857375"/>
                  <a:gd name="connsiteX1249" fmla="*/ 562451 w 1247775"/>
                  <a:gd name="connsiteY1249" fmla="*/ 973931 h 1857375"/>
                  <a:gd name="connsiteX1250" fmla="*/ 567214 w 1247775"/>
                  <a:gd name="connsiteY1250" fmla="*/ 980599 h 1857375"/>
                  <a:gd name="connsiteX1251" fmla="*/ 571024 w 1247775"/>
                  <a:gd name="connsiteY1251" fmla="*/ 991076 h 1857375"/>
                  <a:gd name="connsiteX1252" fmla="*/ 567214 w 1247775"/>
                  <a:gd name="connsiteY1252" fmla="*/ 992029 h 1857375"/>
                  <a:gd name="connsiteX1253" fmla="*/ 559594 w 1247775"/>
                  <a:gd name="connsiteY1253" fmla="*/ 989171 h 1857375"/>
                  <a:gd name="connsiteX1254" fmla="*/ 548164 w 1247775"/>
                  <a:gd name="connsiteY1254" fmla="*/ 996791 h 1857375"/>
                  <a:gd name="connsiteX1255" fmla="*/ 545306 w 1247775"/>
                  <a:gd name="connsiteY1255" fmla="*/ 1001554 h 1857375"/>
                  <a:gd name="connsiteX1256" fmla="*/ 536734 w 1247775"/>
                  <a:gd name="connsiteY1256" fmla="*/ 994886 h 1857375"/>
                  <a:gd name="connsiteX1257" fmla="*/ 537686 w 1247775"/>
                  <a:gd name="connsiteY1257" fmla="*/ 992029 h 1857375"/>
                  <a:gd name="connsiteX1258" fmla="*/ 531019 w 1247775"/>
                  <a:gd name="connsiteY1258" fmla="*/ 985361 h 1857375"/>
                  <a:gd name="connsiteX1259" fmla="*/ 524351 w 1247775"/>
                  <a:gd name="connsiteY1259" fmla="*/ 992029 h 1857375"/>
                  <a:gd name="connsiteX1260" fmla="*/ 524351 w 1247775"/>
                  <a:gd name="connsiteY1260" fmla="*/ 993934 h 1857375"/>
                  <a:gd name="connsiteX1261" fmla="*/ 511016 w 1247775"/>
                  <a:gd name="connsiteY1261" fmla="*/ 1004411 h 1857375"/>
                  <a:gd name="connsiteX1262" fmla="*/ 504349 w 1247775"/>
                  <a:gd name="connsiteY1262" fmla="*/ 1000601 h 1857375"/>
                  <a:gd name="connsiteX1263" fmla="*/ 503396 w 1247775"/>
                  <a:gd name="connsiteY1263" fmla="*/ 1000601 h 1857375"/>
                  <a:gd name="connsiteX1264" fmla="*/ 501491 w 1247775"/>
                  <a:gd name="connsiteY1264" fmla="*/ 995839 h 1857375"/>
                  <a:gd name="connsiteX1265" fmla="*/ 502444 w 1247775"/>
                  <a:gd name="connsiteY1265" fmla="*/ 995839 h 1857375"/>
                  <a:gd name="connsiteX1266" fmla="*/ 524351 w 1247775"/>
                  <a:gd name="connsiteY1266" fmla="*/ 973931 h 1857375"/>
                  <a:gd name="connsiteX1267" fmla="*/ 524351 w 1247775"/>
                  <a:gd name="connsiteY1267" fmla="*/ 972979 h 1857375"/>
                  <a:gd name="connsiteX1268" fmla="*/ 529114 w 1247775"/>
                  <a:gd name="connsiteY1268" fmla="*/ 973931 h 1857375"/>
                  <a:gd name="connsiteX1269" fmla="*/ 541496 w 1247775"/>
                  <a:gd name="connsiteY1269" fmla="*/ 961549 h 1857375"/>
                  <a:gd name="connsiteX1270" fmla="*/ 529114 w 1247775"/>
                  <a:gd name="connsiteY1270" fmla="*/ 949166 h 1857375"/>
                  <a:gd name="connsiteX1271" fmla="*/ 519589 w 1247775"/>
                  <a:gd name="connsiteY1271" fmla="*/ 954881 h 1857375"/>
                  <a:gd name="connsiteX1272" fmla="*/ 520541 w 1247775"/>
                  <a:gd name="connsiteY1272" fmla="*/ 951071 h 1857375"/>
                  <a:gd name="connsiteX1273" fmla="*/ 500539 w 1247775"/>
                  <a:gd name="connsiteY1273" fmla="*/ 931069 h 1857375"/>
                  <a:gd name="connsiteX1274" fmla="*/ 492919 w 1247775"/>
                  <a:gd name="connsiteY1274" fmla="*/ 932974 h 1857375"/>
                  <a:gd name="connsiteX1275" fmla="*/ 484346 w 1247775"/>
                  <a:gd name="connsiteY1275" fmla="*/ 925354 h 1857375"/>
                  <a:gd name="connsiteX1276" fmla="*/ 486251 w 1247775"/>
                  <a:gd name="connsiteY1276" fmla="*/ 917734 h 1857375"/>
                  <a:gd name="connsiteX1277" fmla="*/ 485299 w 1247775"/>
                  <a:gd name="connsiteY1277" fmla="*/ 912971 h 1857375"/>
                  <a:gd name="connsiteX1278" fmla="*/ 488156 w 1247775"/>
                  <a:gd name="connsiteY1278" fmla="*/ 906304 h 1857375"/>
                  <a:gd name="connsiteX1279" fmla="*/ 486251 w 1247775"/>
                  <a:gd name="connsiteY1279" fmla="*/ 901541 h 1857375"/>
                  <a:gd name="connsiteX1280" fmla="*/ 492919 w 1247775"/>
                  <a:gd name="connsiteY1280" fmla="*/ 893921 h 1857375"/>
                  <a:gd name="connsiteX1281" fmla="*/ 505301 w 1247775"/>
                  <a:gd name="connsiteY1281" fmla="*/ 907256 h 1857375"/>
                  <a:gd name="connsiteX1282" fmla="*/ 505301 w 1247775"/>
                  <a:gd name="connsiteY1282" fmla="*/ 907256 h 1857375"/>
                  <a:gd name="connsiteX1283" fmla="*/ 525304 w 1247775"/>
                  <a:gd name="connsiteY1283" fmla="*/ 941546 h 1857375"/>
                  <a:gd name="connsiteX1284" fmla="*/ 537686 w 1247775"/>
                  <a:gd name="connsiteY1284" fmla="*/ 947261 h 1857375"/>
                  <a:gd name="connsiteX1285" fmla="*/ 538639 w 1247775"/>
                  <a:gd name="connsiteY1285" fmla="*/ 947261 h 1857375"/>
                  <a:gd name="connsiteX1286" fmla="*/ 539591 w 1247775"/>
                  <a:gd name="connsiteY1286" fmla="*/ 948214 h 1857375"/>
                  <a:gd name="connsiteX1287" fmla="*/ 539591 w 1247775"/>
                  <a:gd name="connsiteY1287" fmla="*/ 952024 h 1857375"/>
                  <a:gd name="connsiteX1288" fmla="*/ 547211 w 1247775"/>
                  <a:gd name="connsiteY1288" fmla="*/ 968216 h 1857375"/>
                  <a:gd name="connsiteX1289" fmla="*/ 549116 w 1247775"/>
                  <a:gd name="connsiteY1289" fmla="*/ 1032986 h 1857375"/>
                  <a:gd name="connsiteX1290" fmla="*/ 536734 w 1247775"/>
                  <a:gd name="connsiteY1290" fmla="*/ 1048226 h 1857375"/>
                  <a:gd name="connsiteX1291" fmla="*/ 532924 w 1247775"/>
                  <a:gd name="connsiteY1291" fmla="*/ 1048226 h 1857375"/>
                  <a:gd name="connsiteX1292" fmla="*/ 531019 w 1247775"/>
                  <a:gd name="connsiteY1292" fmla="*/ 1048226 h 1857375"/>
                  <a:gd name="connsiteX1293" fmla="*/ 531019 w 1247775"/>
                  <a:gd name="connsiteY1293" fmla="*/ 1047274 h 1857375"/>
                  <a:gd name="connsiteX1294" fmla="*/ 535781 w 1247775"/>
                  <a:gd name="connsiteY1294" fmla="*/ 1036796 h 1857375"/>
                  <a:gd name="connsiteX1295" fmla="*/ 534829 w 1247775"/>
                  <a:gd name="connsiteY1295" fmla="*/ 1032986 h 1857375"/>
                  <a:gd name="connsiteX1296" fmla="*/ 547211 w 1247775"/>
                  <a:gd name="connsiteY1296" fmla="*/ 1018699 h 1857375"/>
                  <a:gd name="connsiteX1297" fmla="*/ 548164 w 1247775"/>
                  <a:gd name="connsiteY1297" fmla="*/ 1019651 h 1857375"/>
                  <a:gd name="connsiteX1298" fmla="*/ 547211 w 1247775"/>
                  <a:gd name="connsiteY1298" fmla="*/ 1026319 h 1857375"/>
                  <a:gd name="connsiteX1299" fmla="*/ 549116 w 1247775"/>
                  <a:gd name="connsiteY1299" fmla="*/ 1032986 h 1857375"/>
                  <a:gd name="connsiteX1300" fmla="*/ 506254 w 1247775"/>
                  <a:gd name="connsiteY1300" fmla="*/ 814864 h 1857375"/>
                  <a:gd name="connsiteX1301" fmla="*/ 497681 w 1247775"/>
                  <a:gd name="connsiteY1301" fmla="*/ 812959 h 1857375"/>
                  <a:gd name="connsiteX1302" fmla="*/ 497681 w 1247775"/>
                  <a:gd name="connsiteY1302" fmla="*/ 812959 h 1857375"/>
                  <a:gd name="connsiteX1303" fmla="*/ 507206 w 1247775"/>
                  <a:gd name="connsiteY1303" fmla="*/ 806291 h 1857375"/>
                  <a:gd name="connsiteX1304" fmla="*/ 509111 w 1247775"/>
                  <a:gd name="connsiteY1304" fmla="*/ 805339 h 1857375"/>
                  <a:gd name="connsiteX1305" fmla="*/ 509111 w 1247775"/>
                  <a:gd name="connsiteY1305" fmla="*/ 806291 h 1857375"/>
                  <a:gd name="connsiteX1306" fmla="*/ 506254 w 1247775"/>
                  <a:gd name="connsiteY1306" fmla="*/ 812959 h 1857375"/>
                  <a:gd name="connsiteX1307" fmla="*/ 506254 w 1247775"/>
                  <a:gd name="connsiteY1307" fmla="*/ 814864 h 1857375"/>
                  <a:gd name="connsiteX1308" fmla="*/ 521494 w 1247775"/>
                  <a:gd name="connsiteY1308" fmla="*/ 822484 h 1857375"/>
                  <a:gd name="connsiteX1309" fmla="*/ 536734 w 1247775"/>
                  <a:gd name="connsiteY1309" fmla="*/ 832961 h 1857375"/>
                  <a:gd name="connsiteX1310" fmla="*/ 543401 w 1247775"/>
                  <a:gd name="connsiteY1310" fmla="*/ 832009 h 1857375"/>
                  <a:gd name="connsiteX1311" fmla="*/ 536734 w 1247775"/>
                  <a:gd name="connsiteY1311" fmla="*/ 842486 h 1857375"/>
                  <a:gd name="connsiteX1312" fmla="*/ 533876 w 1247775"/>
                  <a:gd name="connsiteY1312" fmla="*/ 842486 h 1857375"/>
                  <a:gd name="connsiteX1313" fmla="*/ 517684 w 1247775"/>
                  <a:gd name="connsiteY1313" fmla="*/ 854869 h 1857375"/>
                  <a:gd name="connsiteX1314" fmla="*/ 517684 w 1247775"/>
                  <a:gd name="connsiteY1314" fmla="*/ 854869 h 1857375"/>
                  <a:gd name="connsiteX1315" fmla="*/ 515779 w 1247775"/>
                  <a:gd name="connsiteY1315" fmla="*/ 854869 h 1857375"/>
                  <a:gd name="connsiteX1316" fmla="*/ 522446 w 1247775"/>
                  <a:gd name="connsiteY1316" fmla="*/ 838676 h 1857375"/>
                  <a:gd name="connsiteX1317" fmla="*/ 514826 w 1247775"/>
                  <a:gd name="connsiteY1317" fmla="*/ 820579 h 1857375"/>
                  <a:gd name="connsiteX1318" fmla="*/ 516731 w 1247775"/>
                  <a:gd name="connsiteY1318" fmla="*/ 819626 h 1857375"/>
                  <a:gd name="connsiteX1319" fmla="*/ 521494 w 1247775"/>
                  <a:gd name="connsiteY1319" fmla="*/ 822484 h 1857375"/>
                  <a:gd name="connsiteX1320" fmla="*/ 487204 w 1247775"/>
                  <a:gd name="connsiteY1320" fmla="*/ 723424 h 1857375"/>
                  <a:gd name="connsiteX1321" fmla="*/ 490061 w 1247775"/>
                  <a:gd name="connsiteY1321" fmla="*/ 728186 h 1857375"/>
                  <a:gd name="connsiteX1322" fmla="*/ 486251 w 1247775"/>
                  <a:gd name="connsiteY1322" fmla="*/ 731996 h 1857375"/>
                  <a:gd name="connsiteX1323" fmla="*/ 487204 w 1247775"/>
                  <a:gd name="connsiteY1323" fmla="*/ 723424 h 1857375"/>
                  <a:gd name="connsiteX1324" fmla="*/ 487204 w 1247775"/>
                  <a:gd name="connsiteY1324" fmla="*/ 723424 h 1857375"/>
                  <a:gd name="connsiteX1325" fmla="*/ 362426 w 1247775"/>
                  <a:gd name="connsiteY1325" fmla="*/ 708184 h 1857375"/>
                  <a:gd name="connsiteX1326" fmla="*/ 380524 w 1247775"/>
                  <a:gd name="connsiteY1326" fmla="*/ 695801 h 1857375"/>
                  <a:gd name="connsiteX1327" fmla="*/ 383381 w 1247775"/>
                  <a:gd name="connsiteY1327" fmla="*/ 694849 h 1857375"/>
                  <a:gd name="connsiteX1328" fmla="*/ 392906 w 1247775"/>
                  <a:gd name="connsiteY1328" fmla="*/ 705326 h 1857375"/>
                  <a:gd name="connsiteX1329" fmla="*/ 371951 w 1247775"/>
                  <a:gd name="connsiteY1329" fmla="*/ 726281 h 1857375"/>
                  <a:gd name="connsiteX1330" fmla="*/ 360521 w 1247775"/>
                  <a:gd name="connsiteY1330" fmla="*/ 708184 h 1857375"/>
                  <a:gd name="connsiteX1331" fmla="*/ 362426 w 1247775"/>
                  <a:gd name="connsiteY1331" fmla="*/ 708184 h 1857375"/>
                  <a:gd name="connsiteX1332" fmla="*/ 453866 w 1247775"/>
                  <a:gd name="connsiteY1332" fmla="*/ 781526 h 1857375"/>
                  <a:gd name="connsiteX1333" fmla="*/ 443389 w 1247775"/>
                  <a:gd name="connsiteY1333" fmla="*/ 791051 h 1857375"/>
                  <a:gd name="connsiteX1334" fmla="*/ 450056 w 1247775"/>
                  <a:gd name="connsiteY1334" fmla="*/ 800576 h 1857375"/>
                  <a:gd name="connsiteX1335" fmla="*/ 438626 w 1247775"/>
                  <a:gd name="connsiteY1335" fmla="*/ 809149 h 1857375"/>
                  <a:gd name="connsiteX1336" fmla="*/ 419576 w 1247775"/>
                  <a:gd name="connsiteY1336" fmla="*/ 830104 h 1857375"/>
                  <a:gd name="connsiteX1337" fmla="*/ 425291 w 1247775"/>
                  <a:gd name="connsiteY1337" fmla="*/ 844391 h 1857375"/>
                  <a:gd name="connsiteX1338" fmla="*/ 423386 w 1247775"/>
                  <a:gd name="connsiteY1338" fmla="*/ 846296 h 1857375"/>
                  <a:gd name="connsiteX1339" fmla="*/ 404336 w 1247775"/>
                  <a:gd name="connsiteY1339" fmla="*/ 832009 h 1857375"/>
                  <a:gd name="connsiteX1340" fmla="*/ 394811 w 1247775"/>
                  <a:gd name="connsiteY1340" fmla="*/ 828199 h 1857375"/>
                  <a:gd name="connsiteX1341" fmla="*/ 386239 w 1247775"/>
                  <a:gd name="connsiteY1341" fmla="*/ 831056 h 1857375"/>
                  <a:gd name="connsiteX1342" fmla="*/ 368141 w 1247775"/>
                  <a:gd name="connsiteY1342" fmla="*/ 842486 h 1857375"/>
                  <a:gd name="connsiteX1343" fmla="*/ 363379 w 1247775"/>
                  <a:gd name="connsiteY1343" fmla="*/ 837724 h 1857375"/>
                  <a:gd name="connsiteX1344" fmla="*/ 357664 w 1247775"/>
                  <a:gd name="connsiteY1344" fmla="*/ 826294 h 1857375"/>
                  <a:gd name="connsiteX1345" fmla="*/ 370046 w 1247775"/>
                  <a:gd name="connsiteY1345" fmla="*/ 807244 h 1857375"/>
                  <a:gd name="connsiteX1346" fmla="*/ 372904 w 1247775"/>
                  <a:gd name="connsiteY1346" fmla="*/ 807244 h 1857375"/>
                  <a:gd name="connsiteX1347" fmla="*/ 388144 w 1247775"/>
                  <a:gd name="connsiteY1347" fmla="*/ 803434 h 1857375"/>
                  <a:gd name="connsiteX1348" fmla="*/ 385286 w 1247775"/>
                  <a:gd name="connsiteY1348" fmla="*/ 811054 h 1857375"/>
                  <a:gd name="connsiteX1349" fmla="*/ 397669 w 1247775"/>
                  <a:gd name="connsiteY1349" fmla="*/ 823436 h 1857375"/>
                  <a:gd name="connsiteX1350" fmla="*/ 410051 w 1247775"/>
                  <a:gd name="connsiteY1350" fmla="*/ 811054 h 1857375"/>
                  <a:gd name="connsiteX1351" fmla="*/ 397669 w 1247775"/>
                  <a:gd name="connsiteY1351" fmla="*/ 798671 h 1857375"/>
                  <a:gd name="connsiteX1352" fmla="*/ 394811 w 1247775"/>
                  <a:gd name="connsiteY1352" fmla="*/ 799624 h 1857375"/>
                  <a:gd name="connsiteX1353" fmla="*/ 398621 w 1247775"/>
                  <a:gd name="connsiteY1353" fmla="*/ 795814 h 1857375"/>
                  <a:gd name="connsiteX1354" fmla="*/ 416719 w 1247775"/>
                  <a:gd name="connsiteY1354" fmla="*/ 787241 h 1857375"/>
                  <a:gd name="connsiteX1355" fmla="*/ 424339 w 1247775"/>
                  <a:gd name="connsiteY1355" fmla="*/ 788194 h 1857375"/>
                  <a:gd name="connsiteX1356" fmla="*/ 456724 w 1247775"/>
                  <a:gd name="connsiteY1356" fmla="*/ 759619 h 1857375"/>
                  <a:gd name="connsiteX1357" fmla="*/ 460534 w 1247775"/>
                  <a:gd name="connsiteY1357" fmla="*/ 759619 h 1857375"/>
                  <a:gd name="connsiteX1358" fmla="*/ 482441 w 1247775"/>
                  <a:gd name="connsiteY1358" fmla="*/ 743426 h 1857375"/>
                  <a:gd name="connsiteX1359" fmla="*/ 498634 w 1247775"/>
                  <a:gd name="connsiteY1359" fmla="*/ 757714 h 1857375"/>
                  <a:gd name="connsiteX1360" fmla="*/ 514826 w 1247775"/>
                  <a:gd name="connsiteY1360" fmla="*/ 742474 h 1857375"/>
                  <a:gd name="connsiteX1361" fmla="*/ 515779 w 1247775"/>
                  <a:gd name="connsiteY1361" fmla="*/ 742474 h 1857375"/>
                  <a:gd name="connsiteX1362" fmla="*/ 513874 w 1247775"/>
                  <a:gd name="connsiteY1362" fmla="*/ 751999 h 1857375"/>
                  <a:gd name="connsiteX1363" fmla="*/ 513874 w 1247775"/>
                  <a:gd name="connsiteY1363" fmla="*/ 755809 h 1857375"/>
                  <a:gd name="connsiteX1364" fmla="*/ 509111 w 1247775"/>
                  <a:gd name="connsiteY1364" fmla="*/ 768191 h 1857375"/>
                  <a:gd name="connsiteX1365" fmla="*/ 514826 w 1247775"/>
                  <a:gd name="connsiteY1365" fmla="*/ 781526 h 1857375"/>
                  <a:gd name="connsiteX1366" fmla="*/ 510064 w 1247775"/>
                  <a:gd name="connsiteY1366" fmla="*/ 788194 h 1857375"/>
                  <a:gd name="connsiteX1367" fmla="*/ 501491 w 1247775"/>
                  <a:gd name="connsiteY1367" fmla="*/ 783431 h 1857375"/>
                  <a:gd name="connsiteX1368" fmla="*/ 491966 w 1247775"/>
                  <a:gd name="connsiteY1368" fmla="*/ 780574 h 1857375"/>
                  <a:gd name="connsiteX1369" fmla="*/ 490061 w 1247775"/>
                  <a:gd name="connsiteY1369" fmla="*/ 780574 h 1857375"/>
                  <a:gd name="connsiteX1370" fmla="*/ 490061 w 1247775"/>
                  <a:gd name="connsiteY1370" fmla="*/ 779621 h 1857375"/>
                  <a:gd name="connsiteX1371" fmla="*/ 477679 w 1247775"/>
                  <a:gd name="connsiteY1371" fmla="*/ 767239 h 1857375"/>
                  <a:gd name="connsiteX1372" fmla="*/ 465296 w 1247775"/>
                  <a:gd name="connsiteY1372" fmla="*/ 779621 h 1857375"/>
                  <a:gd name="connsiteX1373" fmla="*/ 471011 w 1247775"/>
                  <a:gd name="connsiteY1373" fmla="*/ 790099 h 1857375"/>
                  <a:gd name="connsiteX1374" fmla="*/ 458629 w 1247775"/>
                  <a:gd name="connsiteY1374" fmla="*/ 799624 h 1857375"/>
                  <a:gd name="connsiteX1375" fmla="*/ 457676 w 1247775"/>
                  <a:gd name="connsiteY1375" fmla="*/ 799624 h 1857375"/>
                  <a:gd name="connsiteX1376" fmla="*/ 462439 w 1247775"/>
                  <a:gd name="connsiteY1376" fmla="*/ 791051 h 1857375"/>
                  <a:gd name="connsiteX1377" fmla="*/ 453866 w 1247775"/>
                  <a:gd name="connsiteY1377" fmla="*/ 781526 h 1857375"/>
                  <a:gd name="connsiteX1378" fmla="*/ 481489 w 1247775"/>
                  <a:gd name="connsiteY1378" fmla="*/ 946309 h 1857375"/>
                  <a:gd name="connsiteX1379" fmla="*/ 480536 w 1247775"/>
                  <a:gd name="connsiteY1379" fmla="*/ 951071 h 1857375"/>
                  <a:gd name="connsiteX1380" fmla="*/ 470059 w 1247775"/>
                  <a:gd name="connsiteY1380" fmla="*/ 936784 h 1857375"/>
                  <a:gd name="connsiteX1381" fmla="*/ 473869 w 1247775"/>
                  <a:gd name="connsiteY1381" fmla="*/ 935831 h 1857375"/>
                  <a:gd name="connsiteX1382" fmla="*/ 473869 w 1247775"/>
                  <a:gd name="connsiteY1382" fmla="*/ 935831 h 1857375"/>
                  <a:gd name="connsiteX1383" fmla="*/ 481489 w 1247775"/>
                  <a:gd name="connsiteY1383" fmla="*/ 946309 h 1857375"/>
                  <a:gd name="connsiteX1384" fmla="*/ 345281 w 1247775"/>
                  <a:gd name="connsiteY1384" fmla="*/ 1095851 h 1857375"/>
                  <a:gd name="connsiteX1385" fmla="*/ 345281 w 1247775"/>
                  <a:gd name="connsiteY1385" fmla="*/ 1095851 h 1857375"/>
                  <a:gd name="connsiteX1386" fmla="*/ 345281 w 1247775"/>
                  <a:gd name="connsiteY1386" fmla="*/ 1095851 h 1857375"/>
                  <a:gd name="connsiteX1387" fmla="*/ 345281 w 1247775"/>
                  <a:gd name="connsiteY1387" fmla="*/ 1095851 h 1857375"/>
                  <a:gd name="connsiteX1388" fmla="*/ 423386 w 1247775"/>
                  <a:gd name="connsiteY1388" fmla="*/ 1187291 h 1857375"/>
                  <a:gd name="connsiteX1389" fmla="*/ 421481 w 1247775"/>
                  <a:gd name="connsiteY1389" fmla="*/ 1188244 h 1857375"/>
                  <a:gd name="connsiteX1390" fmla="*/ 423386 w 1247775"/>
                  <a:gd name="connsiteY1390" fmla="*/ 1181576 h 1857375"/>
                  <a:gd name="connsiteX1391" fmla="*/ 426244 w 1247775"/>
                  <a:gd name="connsiteY1391" fmla="*/ 1182529 h 1857375"/>
                  <a:gd name="connsiteX1392" fmla="*/ 430054 w 1247775"/>
                  <a:gd name="connsiteY1392" fmla="*/ 1185386 h 1857375"/>
                  <a:gd name="connsiteX1393" fmla="*/ 423386 w 1247775"/>
                  <a:gd name="connsiteY1393" fmla="*/ 1187291 h 1857375"/>
                  <a:gd name="connsiteX1394" fmla="*/ 432911 w 1247775"/>
                  <a:gd name="connsiteY1394" fmla="*/ 1183481 h 1857375"/>
                  <a:gd name="connsiteX1395" fmla="*/ 432911 w 1247775"/>
                  <a:gd name="connsiteY1395" fmla="*/ 1183481 h 1857375"/>
                  <a:gd name="connsiteX1396" fmla="*/ 432911 w 1247775"/>
                  <a:gd name="connsiteY1396" fmla="*/ 1183481 h 1857375"/>
                  <a:gd name="connsiteX1397" fmla="*/ 432911 w 1247775"/>
                  <a:gd name="connsiteY1397" fmla="*/ 1183481 h 1857375"/>
                  <a:gd name="connsiteX1398" fmla="*/ 455771 w 1247775"/>
                  <a:gd name="connsiteY1398" fmla="*/ 1106329 h 1857375"/>
                  <a:gd name="connsiteX1399" fmla="*/ 443389 w 1247775"/>
                  <a:gd name="connsiteY1399" fmla="*/ 1117759 h 1857375"/>
                  <a:gd name="connsiteX1400" fmla="*/ 433864 w 1247775"/>
                  <a:gd name="connsiteY1400" fmla="*/ 1115854 h 1857375"/>
                  <a:gd name="connsiteX1401" fmla="*/ 400526 w 1247775"/>
                  <a:gd name="connsiteY1401" fmla="*/ 1149191 h 1857375"/>
                  <a:gd name="connsiteX1402" fmla="*/ 403384 w 1247775"/>
                  <a:gd name="connsiteY1402" fmla="*/ 1162526 h 1857375"/>
                  <a:gd name="connsiteX1403" fmla="*/ 387191 w 1247775"/>
                  <a:gd name="connsiteY1403" fmla="*/ 1179671 h 1857375"/>
                  <a:gd name="connsiteX1404" fmla="*/ 394811 w 1247775"/>
                  <a:gd name="connsiteY1404" fmla="*/ 1193959 h 1857375"/>
                  <a:gd name="connsiteX1405" fmla="*/ 389096 w 1247775"/>
                  <a:gd name="connsiteY1405" fmla="*/ 1206341 h 1857375"/>
                  <a:gd name="connsiteX1406" fmla="*/ 399574 w 1247775"/>
                  <a:gd name="connsiteY1406" fmla="*/ 1221581 h 1857375"/>
                  <a:gd name="connsiteX1407" fmla="*/ 409099 w 1247775"/>
                  <a:gd name="connsiteY1407" fmla="*/ 1231106 h 1857375"/>
                  <a:gd name="connsiteX1408" fmla="*/ 392906 w 1247775"/>
                  <a:gd name="connsiteY1408" fmla="*/ 1250156 h 1857375"/>
                  <a:gd name="connsiteX1409" fmla="*/ 390049 w 1247775"/>
                  <a:gd name="connsiteY1409" fmla="*/ 1251109 h 1857375"/>
                  <a:gd name="connsiteX1410" fmla="*/ 388144 w 1247775"/>
                  <a:gd name="connsiteY1410" fmla="*/ 1245394 h 1857375"/>
                  <a:gd name="connsiteX1411" fmla="*/ 390049 w 1247775"/>
                  <a:gd name="connsiteY1411" fmla="*/ 1241584 h 1857375"/>
                  <a:gd name="connsiteX1412" fmla="*/ 396716 w 1247775"/>
                  <a:gd name="connsiteY1412" fmla="*/ 1230154 h 1857375"/>
                  <a:gd name="connsiteX1413" fmla="*/ 388144 w 1247775"/>
                  <a:gd name="connsiteY1413" fmla="*/ 1217771 h 1857375"/>
                  <a:gd name="connsiteX1414" fmla="*/ 378619 w 1247775"/>
                  <a:gd name="connsiteY1414" fmla="*/ 1207294 h 1857375"/>
                  <a:gd name="connsiteX1415" fmla="*/ 362426 w 1247775"/>
                  <a:gd name="connsiteY1415" fmla="*/ 1199674 h 1857375"/>
                  <a:gd name="connsiteX1416" fmla="*/ 343376 w 1247775"/>
                  <a:gd name="connsiteY1416" fmla="*/ 1212056 h 1857375"/>
                  <a:gd name="connsiteX1417" fmla="*/ 339566 w 1247775"/>
                  <a:gd name="connsiteY1417" fmla="*/ 1216819 h 1857375"/>
                  <a:gd name="connsiteX1418" fmla="*/ 316706 w 1247775"/>
                  <a:gd name="connsiteY1418" fmla="*/ 1233964 h 1857375"/>
                  <a:gd name="connsiteX1419" fmla="*/ 315754 w 1247775"/>
                  <a:gd name="connsiteY1419" fmla="*/ 1231106 h 1857375"/>
                  <a:gd name="connsiteX1420" fmla="*/ 315754 w 1247775"/>
                  <a:gd name="connsiteY1420" fmla="*/ 1229201 h 1857375"/>
                  <a:gd name="connsiteX1421" fmla="*/ 310991 w 1247775"/>
                  <a:gd name="connsiteY1421" fmla="*/ 1213961 h 1857375"/>
                  <a:gd name="connsiteX1422" fmla="*/ 331946 w 1247775"/>
                  <a:gd name="connsiteY1422" fmla="*/ 1186339 h 1857375"/>
                  <a:gd name="connsiteX1423" fmla="*/ 316706 w 1247775"/>
                  <a:gd name="connsiteY1423" fmla="*/ 1161574 h 1857375"/>
                  <a:gd name="connsiteX1424" fmla="*/ 316706 w 1247775"/>
                  <a:gd name="connsiteY1424" fmla="*/ 1160621 h 1857375"/>
                  <a:gd name="connsiteX1425" fmla="*/ 320516 w 1247775"/>
                  <a:gd name="connsiteY1425" fmla="*/ 1156811 h 1857375"/>
                  <a:gd name="connsiteX1426" fmla="*/ 323374 w 1247775"/>
                  <a:gd name="connsiteY1426" fmla="*/ 1157764 h 1857375"/>
                  <a:gd name="connsiteX1427" fmla="*/ 322421 w 1247775"/>
                  <a:gd name="connsiteY1427" fmla="*/ 1160621 h 1857375"/>
                  <a:gd name="connsiteX1428" fmla="*/ 328136 w 1247775"/>
                  <a:gd name="connsiteY1428" fmla="*/ 1166336 h 1857375"/>
                  <a:gd name="connsiteX1429" fmla="*/ 330041 w 1247775"/>
                  <a:gd name="connsiteY1429" fmla="*/ 1166336 h 1857375"/>
                  <a:gd name="connsiteX1430" fmla="*/ 335756 w 1247775"/>
                  <a:gd name="connsiteY1430" fmla="*/ 1168241 h 1857375"/>
                  <a:gd name="connsiteX1431" fmla="*/ 346234 w 1247775"/>
                  <a:gd name="connsiteY1431" fmla="*/ 1157764 h 1857375"/>
                  <a:gd name="connsiteX1432" fmla="*/ 345281 w 1247775"/>
                  <a:gd name="connsiteY1432" fmla="*/ 1153954 h 1857375"/>
                  <a:gd name="connsiteX1433" fmla="*/ 353854 w 1247775"/>
                  <a:gd name="connsiteY1433" fmla="*/ 1146334 h 1857375"/>
                  <a:gd name="connsiteX1434" fmla="*/ 366236 w 1247775"/>
                  <a:gd name="connsiteY1434" fmla="*/ 1151096 h 1857375"/>
                  <a:gd name="connsiteX1435" fmla="*/ 382429 w 1247775"/>
                  <a:gd name="connsiteY1435" fmla="*/ 1140619 h 1857375"/>
                  <a:gd name="connsiteX1436" fmla="*/ 386239 w 1247775"/>
                  <a:gd name="connsiteY1436" fmla="*/ 1142524 h 1857375"/>
                  <a:gd name="connsiteX1437" fmla="*/ 391001 w 1247775"/>
                  <a:gd name="connsiteY1437" fmla="*/ 1137761 h 1857375"/>
                  <a:gd name="connsiteX1438" fmla="*/ 386239 w 1247775"/>
                  <a:gd name="connsiteY1438" fmla="*/ 1132999 h 1857375"/>
                  <a:gd name="connsiteX1439" fmla="*/ 384334 w 1247775"/>
                  <a:gd name="connsiteY1439" fmla="*/ 1133951 h 1857375"/>
                  <a:gd name="connsiteX1440" fmla="*/ 384334 w 1247775"/>
                  <a:gd name="connsiteY1440" fmla="*/ 1133951 h 1857375"/>
                  <a:gd name="connsiteX1441" fmla="*/ 383381 w 1247775"/>
                  <a:gd name="connsiteY1441" fmla="*/ 1129189 h 1857375"/>
                  <a:gd name="connsiteX1442" fmla="*/ 385286 w 1247775"/>
                  <a:gd name="connsiteY1442" fmla="*/ 1122521 h 1857375"/>
                  <a:gd name="connsiteX1443" fmla="*/ 378619 w 1247775"/>
                  <a:gd name="connsiteY1443" fmla="*/ 1109186 h 1857375"/>
                  <a:gd name="connsiteX1444" fmla="*/ 388144 w 1247775"/>
                  <a:gd name="connsiteY1444" fmla="*/ 1101566 h 1857375"/>
                  <a:gd name="connsiteX1445" fmla="*/ 390049 w 1247775"/>
                  <a:gd name="connsiteY1445" fmla="*/ 1100614 h 1857375"/>
                  <a:gd name="connsiteX1446" fmla="*/ 411004 w 1247775"/>
                  <a:gd name="connsiteY1446" fmla="*/ 1113949 h 1857375"/>
                  <a:gd name="connsiteX1447" fmla="*/ 434816 w 1247775"/>
                  <a:gd name="connsiteY1447" fmla="*/ 1090136 h 1857375"/>
                  <a:gd name="connsiteX1448" fmla="*/ 433864 w 1247775"/>
                  <a:gd name="connsiteY1448" fmla="*/ 1083469 h 1857375"/>
                  <a:gd name="connsiteX1449" fmla="*/ 443389 w 1247775"/>
                  <a:gd name="connsiteY1449" fmla="*/ 1086326 h 1857375"/>
                  <a:gd name="connsiteX1450" fmla="*/ 442436 w 1247775"/>
                  <a:gd name="connsiteY1450" fmla="*/ 1090136 h 1857375"/>
                  <a:gd name="connsiteX1451" fmla="*/ 450056 w 1247775"/>
                  <a:gd name="connsiteY1451" fmla="*/ 1097756 h 1857375"/>
                  <a:gd name="connsiteX1452" fmla="*/ 457676 w 1247775"/>
                  <a:gd name="connsiteY1452" fmla="*/ 1090136 h 1857375"/>
                  <a:gd name="connsiteX1453" fmla="*/ 454819 w 1247775"/>
                  <a:gd name="connsiteY1453" fmla="*/ 1084421 h 1857375"/>
                  <a:gd name="connsiteX1454" fmla="*/ 466249 w 1247775"/>
                  <a:gd name="connsiteY1454" fmla="*/ 1073944 h 1857375"/>
                  <a:gd name="connsiteX1455" fmla="*/ 473869 w 1247775"/>
                  <a:gd name="connsiteY1455" fmla="*/ 1076801 h 1857375"/>
                  <a:gd name="connsiteX1456" fmla="*/ 479584 w 1247775"/>
                  <a:gd name="connsiteY1456" fmla="*/ 1074896 h 1857375"/>
                  <a:gd name="connsiteX1457" fmla="*/ 480536 w 1247775"/>
                  <a:gd name="connsiteY1457" fmla="*/ 1075849 h 1857375"/>
                  <a:gd name="connsiteX1458" fmla="*/ 491014 w 1247775"/>
                  <a:gd name="connsiteY1458" fmla="*/ 1085374 h 1857375"/>
                  <a:gd name="connsiteX1459" fmla="*/ 500539 w 1247775"/>
                  <a:gd name="connsiteY1459" fmla="*/ 1078706 h 1857375"/>
                  <a:gd name="connsiteX1460" fmla="*/ 505301 w 1247775"/>
                  <a:gd name="connsiteY1460" fmla="*/ 1077754 h 1857375"/>
                  <a:gd name="connsiteX1461" fmla="*/ 515779 w 1247775"/>
                  <a:gd name="connsiteY1461" fmla="*/ 1084421 h 1857375"/>
                  <a:gd name="connsiteX1462" fmla="*/ 518636 w 1247775"/>
                  <a:gd name="connsiteY1462" fmla="*/ 1083469 h 1857375"/>
                  <a:gd name="connsiteX1463" fmla="*/ 521494 w 1247775"/>
                  <a:gd name="connsiteY1463" fmla="*/ 1087279 h 1857375"/>
                  <a:gd name="connsiteX1464" fmla="*/ 521494 w 1247775"/>
                  <a:gd name="connsiteY1464" fmla="*/ 1090136 h 1857375"/>
                  <a:gd name="connsiteX1465" fmla="*/ 538639 w 1247775"/>
                  <a:gd name="connsiteY1465" fmla="*/ 1107281 h 1857375"/>
                  <a:gd name="connsiteX1466" fmla="*/ 549116 w 1247775"/>
                  <a:gd name="connsiteY1466" fmla="*/ 1103471 h 1857375"/>
                  <a:gd name="connsiteX1467" fmla="*/ 553879 w 1247775"/>
                  <a:gd name="connsiteY1467" fmla="*/ 1106329 h 1857375"/>
                  <a:gd name="connsiteX1468" fmla="*/ 563404 w 1247775"/>
                  <a:gd name="connsiteY1468" fmla="*/ 1113949 h 1857375"/>
                  <a:gd name="connsiteX1469" fmla="*/ 559594 w 1247775"/>
                  <a:gd name="connsiteY1469" fmla="*/ 1118711 h 1857375"/>
                  <a:gd name="connsiteX1470" fmla="*/ 557689 w 1247775"/>
                  <a:gd name="connsiteY1470" fmla="*/ 1118711 h 1857375"/>
                  <a:gd name="connsiteX1471" fmla="*/ 547211 w 1247775"/>
                  <a:gd name="connsiteY1471" fmla="*/ 1120616 h 1857375"/>
                  <a:gd name="connsiteX1472" fmla="*/ 542449 w 1247775"/>
                  <a:gd name="connsiteY1472" fmla="*/ 1118711 h 1857375"/>
                  <a:gd name="connsiteX1473" fmla="*/ 538639 w 1247775"/>
                  <a:gd name="connsiteY1473" fmla="*/ 1119664 h 1857375"/>
                  <a:gd name="connsiteX1474" fmla="*/ 518636 w 1247775"/>
                  <a:gd name="connsiteY1474" fmla="*/ 1104424 h 1857375"/>
                  <a:gd name="connsiteX1475" fmla="*/ 486251 w 1247775"/>
                  <a:gd name="connsiteY1475" fmla="*/ 1087279 h 1857375"/>
                  <a:gd name="connsiteX1476" fmla="*/ 455771 w 1247775"/>
                  <a:gd name="connsiteY1476" fmla="*/ 1106329 h 1857375"/>
                  <a:gd name="connsiteX1477" fmla="*/ 483394 w 1247775"/>
                  <a:gd name="connsiteY1477" fmla="*/ 1196816 h 1857375"/>
                  <a:gd name="connsiteX1478" fmla="*/ 469106 w 1247775"/>
                  <a:gd name="connsiteY1478" fmla="*/ 1192054 h 1857375"/>
                  <a:gd name="connsiteX1479" fmla="*/ 465296 w 1247775"/>
                  <a:gd name="connsiteY1479" fmla="*/ 1192054 h 1857375"/>
                  <a:gd name="connsiteX1480" fmla="*/ 462439 w 1247775"/>
                  <a:gd name="connsiteY1480" fmla="*/ 1189196 h 1857375"/>
                  <a:gd name="connsiteX1481" fmla="*/ 466249 w 1247775"/>
                  <a:gd name="connsiteY1481" fmla="*/ 1178719 h 1857375"/>
                  <a:gd name="connsiteX1482" fmla="*/ 462439 w 1247775"/>
                  <a:gd name="connsiteY1482" fmla="*/ 1167289 h 1857375"/>
                  <a:gd name="connsiteX1483" fmla="*/ 462439 w 1247775"/>
                  <a:gd name="connsiteY1483" fmla="*/ 1167289 h 1857375"/>
                  <a:gd name="connsiteX1484" fmla="*/ 475774 w 1247775"/>
                  <a:gd name="connsiteY1484" fmla="*/ 1170146 h 1857375"/>
                  <a:gd name="connsiteX1485" fmla="*/ 491014 w 1247775"/>
                  <a:gd name="connsiteY1485" fmla="*/ 1165384 h 1857375"/>
                  <a:gd name="connsiteX1486" fmla="*/ 502444 w 1247775"/>
                  <a:gd name="connsiteY1486" fmla="*/ 1162526 h 1857375"/>
                  <a:gd name="connsiteX1487" fmla="*/ 507206 w 1247775"/>
                  <a:gd name="connsiteY1487" fmla="*/ 1165384 h 1857375"/>
                  <a:gd name="connsiteX1488" fmla="*/ 513874 w 1247775"/>
                  <a:gd name="connsiteY1488" fmla="*/ 1158716 h 1857375"/>
                  <a:gd name="connsiteX1489" fmla="*/ 512921 w 1247775"/>
                  <a:gd name="connsiteY1489" fmla="*/ 1155859 h 1857375"/>
                  <a:gd name="connsiteX1490" fmla="*/ 517684 w 1247775"/>
                  <a:gd name="connsiteY1490" fmla="*/ 1150144 h 1857375"/>
                  <a:gd name="connsiteX1491" fmla="*/ 525304 w 1247775"/>
                  <a:gd name="connsiteY1491" fmla="*/ 1153001 h 1857375"/>
                  <a:gd name="connsiteX1492" fmla="*/ 528161 w 1247775"/>
                  <a:gd name="connsiteY1492" fmla="*/ 1152049 h 1857375"/>
                  <a:gd name="connsiteX1493" fmla="*/ 526256 w 1247775"/>
                  <a:gd name="connsiteY1493" fmla="*/ 1160621 h 1857375"/>
                  <a:gd name="connsiteX1494" fmla="*/ 526256 w 1247775"/>
                  <a:gd name="connsiteY1494" fmla="*/ 1161574 h 1857375"/>
                  <a:gd name="connsiteX1495" fmla="*/ 514826 w 1247775"/>
                  <a:gd name="connsiteY1495" fmla="*/ 1177766 h 1857375"/>
                  <a:gd name="connsiteX1496" fmla="*/ 507206 w 1247775"/>
                  <a:gd name="connsiteY1496" fmla="*/ 1174909 h 1857375"/>
                  <a:gd name="connsiteX1497" fmla="*/ 495776 w 1247775"/>
                  <a:gd name="connsiteY1497" fmla="*/ 1186339 h 1857375"/>
                  <a:gd name="connsiteX1498" fmla="*/ 497681 w 1247775"/>
                  <a:gd name="connsiteY1498" fmla="*/ 1192054 h 1857375"/>
                  <a:gd name="connsiteX1499" fmla="*/ 491966 w 1247775"/>
                  <a:gd name="connsiteY1499" fmla="*/ 1190149 h 1857375"/>
                  <a:gd name="connsiteX1500" fmla="*/ 483394 w 1247775"/>
                  <a:gd name="connsiteY1500" fmla="*/ 1196816 h 1857375"/>
                  <a:gd name="connsiteX1501" fmla="*/ 507206 w 1247775"/>
                  <a:gd name="connsiteY1501" fmla="*/ 1716881 h 1857375"/>
                  <a:gd name="connsiteX1502" fmla="*/ 506254 w 1247775"/>
                  <a:gd name="connsiteY1502" fmla="*/ 1714976 h 1857375"/>
                  <a:gd name="connsiteX1503" fmla="*/ 508159 w 1247775"/>
                  <a:gd name="connsiteY1503" fmla="*/ 1714976 h 1857375"/>
                  <a:gd name="connsiteX1504" fmla="*/ 510064 w 1247775"/>
                  <a:gd name="connsiteY1504" fmla="*/ 1714976 h 1857375"/>
                  <a:gd name="connsiteX1505" fmla="*/ 510064 w 1247775"/>
                  <a:gd name="connsiteY1505" fmla="*/ 1714976 h 1857375"/>
                  <a:gd name="connsiteX1506" fmla="*/ 507206 w 1247775"/>
                  <a:gd name="connsiteY1506" fmla="*/ 1716881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Lst>
                <a:rect l="l" t="t" r="r" b="b"/>
                <a:pathLst>
                  <a:path w="1247775" h="1857375">
                    <a:moveTo>
                      <a:pt x="1172051" y="974884"/>
                    </a:moveTo>
                    <a:cubicBezTo>
                      <a:pt x="1133951" y="944404"/>
                      <a:pt x="1065371" y="835819"/>
                      <a:pt x="1037749" y="787241"/>
                    </a:cubicBezTo>
                    <a:lnTo>
                      <a:pt x="1026319" y="764381"/>
                    </a:lnTo>
                    <a:cubicBezTo>
                      <a:pt x="1025366" y="760571"/>
                      <a:pt x="1024414" y="755809"/>
                      <a:pt x="1023461" y="751046"/>
                    </a:cubicBezTo>
                    <a:cubicBezTo>
                      <a:pt x="1024414" y="751046"/>
                      <a:pt x="1024414" y="750094"/>
                      <a:pt x="1024414" y="750094"/>
                    </a:cubicBezTo>
                    <a:cubicBezTo>
                      <a:pt x="1024414" y="748189"/>
                      <a:pt x="1025366" y="746284"/>
                      <a:pt x="1025366" y="744379"/>
                    </a:cubicBezTo>
                    <a:cubicBezTo>
                      <a:pt x="1025366" y="739616"/>
                      <a:pt x="1024414" y="735806"/>
                      <a:pt x="1022509" y="731996"/>
                    </a:cubicBezTo>
                    <a:cubicBezTo>
                      <a:pt x="1021556" y="691039"/>
                      <a:pt x="1032986" y="639604"/>
                      <a:pt x="1037749" y="609124"/>
                    </a:cubicBezTo>
                    <a:cubicBezTo>
                      <a:pt x="1041559" y="583406"/>
                      <a:pt x="1035844" y="532924"/>
                      <a:pt x="1025366" y="473869"/>
                    </a:cubicBezTo>
                    <a:cubicBezTo>
                      <a:pt x="1025366" y="473869"/>
                      <a:pt x="1025366" y="472916"/>
                      <a:pt x="1025366" y="472916"/>
                    </a:cubicBezTo>
                    <a:cubicBezTo>
                      <a:pt x="1025366" y="469106"/>
                      <a:pt x="1024414" y="466249"/>
                      <a:pt x="1023461" y="463391"/>
                    </a:cubicBezTo>
                    <a:cubicBezTo>
                      <a:pt x="1022509" y="459581"/>
                      <a:pt x="1021556" y="454819"/>
                      <a:pt x="1020604" y="450056"/>
                    </a:cubicBezTo>
                    <a:cubicBezTo>
                      <a:pt x="1021556" y="447199"/>
                      <a:pt x="1021556" y="445294"/>
                      <a:pt x="1021556" y="442436"/>
                    </a:cubicBezTo>
                    <a:cubicBezTo>
                      <a:pt x="1021556" y="435769"/>
                      <a:pt x="1018699" y="429101"/>
                      <a:pt x="1014889" y="424339"/>
                    </a:cubicBezTo>
                    <a:cubicBezTo>
                      <a:pt x="1010126" y="404336"/>
                      <a:pt x="1005364" y="383381"/>
                      <a:pt x="1000601" y="362426"/>
                    </a:cubicBezTo>
                    <a:cubicBezTo>
                      <a:pt x="999649" y="357664"/>
                      <a:pt x="997744" y="351949"/>
                      <a:pt x="996791" y="347186"/>
                    </a:cubicBezTo>
                    <a:cubicBezTo>
                      <a:pt x="996791" y="344329"/>
                      <a:pt x="995839" y="342424"/>
                      <a:pt x="994886" y="339566"/>
                    </a:cubicBezTo>
                    <a:cubicBezTo>
                      <a:pt x="967264" y="254794"/>
                      <a:pt x="902494" y="161449"/>
                      <a:pt x="892969" y="148114"/>
                    </a:cubicBezTo>
                    <a:cubicBezTo>
                      <a:pt x="892016" y="147161"/>
                      <a:pt x="892016" y="146209"/>
                      <a:pt x="891064" y="144304"/>
                    </a:cubicBezTo>
                    <a:cubicBezTo>
                      <a:pt x="891064" y="144304"/>
                      <a:pt x="891064" y="144304"/>
                      <a:pt x="891064" y="144304"/>
                    </a:cubicBezTo>
                    <a:cubicBezTo>
                      <a:pt x="890111" y="141446"/>
                      <a:pt x="888206" y="139541"/>
                      <a:pt x="886301" y="137636"/>
                    </a:cubicBezTo>
                    <a:cubicBezTo>
                      <a:pt x="884396" y="114776"/>
                      <a:pt x="865346" y="97631"/>
                      <a:pt x="842486" y="97631"/>
                    </a:cubicBezTo>
                    <a:cubicBezTo>
                      <a:pt x="834866" y="97631"/>
                      <a:pt x="828199" y="99536"/>
                      <a:pt x="821531" y="103346"/>
                    </a:cubicBezTo>
                    <a:cubicBezTo>
                      <a:pt x="820579" y="92869"/>
                      <a:pt x="812959" y="83344"/>
                      <a:pt x="803434" y="80486"/>
                    </a:cubicBezTo>
                    <a:cubicBezTo>
                      <a:pt x="799624" y="72866"/>
                      <a:pt x="792956" y="66199"/>
                      <a:pt x="784384" y="63341"/>
                    </a:cubicBezTo>
                    <a:cubicBezTo>
                      <a:pt x="779621" y="50006"/>
                      <a:pt x="766286" y="40481"/>
                      <a:pt x="751046" y="40481"/>
                    </a:cubicBezTo>
                    <a:cubicBezTo>
                      <a:pt x="737711" y="40481"/>
                      <a:pt x="726281" y="48101"/>
                      <a:pt x="719614" y="58579"/>
                    </a:cubicBezTo>
                    <a:cubicBezTo>
                      <a:pt x="715804" y="56674"/>
                      <a:pt x="712946" y="55721"/>
                      <a:pt x="708184" y="55721"/>
                    </a:cubicBezTo>
                    <a:cubicBezTo>
                      <a:pt x="707231" y="55721"/>
                      <a:pt x="705326" y="55721"/>
                      <a:pt x="704374" y="55721"/>
                    </a:cubicBezTo>
                    <a:cubicBezTo>
                      <a:pt x="703421" y="52864"/>
                      <a:pt x="700564" y="50006"/>
                      <a:pt x="698659" y="48101"/>
                    </a:cubicBezTo>
                    <a:cubicBezTo>
                      <a:pt x="701516" y="45244"/>
                      <a:pt x="703421" y="41434"/>
                      <a:pt x="703421" y="37624"/>
                    </a:cubicBezTo>
                    <a:cubicBezTo>
                      <a:pt x="703421" y="29051"/>
                      <a:pt x="696754" y="22384"/>
                      <a:pt x="688181" y="22384"/>
                    </a:cubicBezTo>
                    <a:cubicBezTo>
                      <a:pt x="685324" y="22384"/>
                      <a:pt x="681514" y="23336"/>
                      <a:pt x="679609" y="25241"/>
                    </a:cubicBezTo>
                    <a:cubicBezTo>
                      <a:pt x="676751" y="20479"/>
                      <a:pt x="672941" y="16669"/>
                      <a:pt x="667226" y="16669"/>
                    </a:cubicBezTo>
                    <a:cubicBezTo>
                      <a:pt x="667226" y="16669"/>
                      <a:pt x="667226" y="16669"/>
                      <a:pt x="667226" y="16669"/>
                    </a:cubicBezTo>
                    <a:cubicBezTo>
                      <a:pt x="665321" y="10954"/>
                      <a:pt x="659606" y="7144"/>
                      <a:pt x="652939" y="7144"/>
                    </a:cubicBezTo>
                    <a:cubicBezTo>
                      <a:pt x="644366" y="7144"/>
                      <a:pt x="637699" y="13811"/>
                      <a:pt x="637699" y="22384"/>
                    </a:cubicBezTo>
                    <a:cubicBezTo>
                      <a:pt x="637699" y="30956"/>
                      <a:pt x="644366" y="37624"/>
                      <a:pt x="652939" y="37624"/>
                    </a:cubicBezTo>
                    <a:cubicBezTo>
                      <a:pt x="654844" y="37624"/>
                      <a:pt x="656749" y="37624"/>
                      <a:pt x="658654" y="36671"/>
                    </a:cubicBezTo>
                    <a:cubicBezTo>
                      <a:pt x="660559" y="38576"/>
                      <a:pt x="663416" y="40481"/>
                      <a:pt x="667226" y="40481"/>
                    </a:cubicBezTo>
                    <a:cubicBezTo>
                      <a:pt x="669131" y="40481"/>
                      <a:pt x="670084" y="40481"/>
                      <a:pt x="671989" y="39529"/>
                    </a:cubicBezTo>
                    <a:cubicBezTo>
                      <a:pt x="671989" y="41434"/>
                      <a:pt x="672941" y="43339"/>
                      <a:pt x="673894" y="45244"/>
                    </a:cubicBezTo>
                    <a:cubicBezTo>
                      <a:pt x="671036" y="46196"/>
                      <a:pt x="669131" y="48101"/>
                      <a:pt x="667226" y="50006"/>
                    </a:cubicBezTo>
                    <a:cubicBezTo>
                      <a:pt x="659606" y="50959"/>
                      <a:pt x="652939" y="57626"/>
                      <a:pt x="652939" y="65246"/>
                    </a:cubicBezTo>
                    <a:cubicBezTo>
                      <a:pt x="652939" y="72866"/>
                      <a:pt x="657701" y="78581"/>
                      <a:pt x="664369" y="80486"/>
                    </a:cubicBezTo>
                    <a:cubicBezTo>
                      <a:pt x="665321" y="81439"/>
                      <a:pt x="666274" y="82391"/>
                      <a:pt x="666274" y="83344"/>
                    </a:cubicBezTo>
                    <a:cubicBezTo>
                      <a:pt x="663416" y="86201"/>
                      <a:pt x="661511" y="90011"/>
                      <a:pt x="661511" y="94774"/>
                    </a:cubicBezTo>
                    <a:cubicBezTo>
                      <a:pt x="661511" y="96679"/>
                      <a:pt x="661511" y="99536"/>
                      <a:pt x="662464" y="101441"/>
                    </a:cubicBezTo>
                    <a:cubicBezTo>
                      <a:pt x="662464" y="101441"/>
                      <a:pt x="661511" y="101441"/>
                      <a:pt x="661511" y="101441"/>
                    </a:cubicBezTo>
                    <a:cubicBezTo>
                      <a:pt x="650081" y="101441"/>
                      <a:pt x="640556" y="110966"/>
                      <a:pt x="640556" y="122396"/>
                    </a:cubicBezTo>
                    <a:cubicBezTo>
                      <a:pt x="640556" y="130016"/>
                      <a:pt x="644366" y="136684"/>
                      <a:pt x="651034" y="140494"/>
                    </a:cubicBezTo>
                    <a:cubicBezTo>
                      <a:pt x="650081" y="142399"/>
                      <a:pt x="649129" y="144304"/>
                      <a:pt x="649129" y="146209"/>
                    </a:cubicBezTo>
                    <a:cubicBezTo>
                      <a:pt x="649129" y="151924"/>
                      <a:pt x="653891" y="156686"/>
                      <a:pt x="659606" y="156686"/>
                    </a:cubicBezTo>
                    <a:cubicBezTo>
                      <a:pt x="665321" y="156686"/>
                      <a:pt x="670084" y="151924"/>
                      <a:pt x="670084" y="146209"/>
                    </a:cubicBezTo>
                    <a:cubicBezTo>
                      <a:pt x="670084" y="145256"/>
                      <a:pt x="670084" y="143351"/>
                      <a:pt x="669131" y="142399"/>
                    </a:cubicBezTo>
                    <a:cubicBezTo>
                      <a:pt x="670084" y="141446"/>
                      <a:pt x="671989" y="141446"/>
                      <a:pt x="672941" y="140494"/>
                    </a:cubicBezTo>
                    <a:cubicBezTo>
                      <a:pt x="672941" y="141446"/>
                      <a:pt x="671989" y="143351"/>
                      <a:pt x="671989" y="145256"/>
                    </a:cubicBezTo>
                    <a:cubicBezTo>
                      <a:pt x="671989" y="152876"/>
                      <a:pt x="677704" y="158591"/>
                      <a:pt x="685324" y="158591"/>
                    </a:cubicBezTo>
                    <a:cubicBezTo>
                      <a:pt x="692944" y="158591"/>
                      <a:pt x="698659" y="152876"/>
                      <a:pt x="698659" y="145256"/>
                    </a:cubicBezTo>
                    <a:cubicBezTo>
                      <a:pt x="698659" y="137636"/>
                      <a:pt x="692944" y="131921"/>
                      <a:pt x="685324" y="131921"/>
                    </a:cubicBezTo>
                    <a:cubicBezTo>
                      <a:pt x="683419" y="131921"/>
                      <a:pt x="681514" y="132874"/>
                      <a:pt x="679609" y="132874"/>
                    </a:cubicBezTo>
                    <a:cubicBezTo>
                      <a:pt x="680561" y="130016"/>
                      <a:pt x="681514" y="128111"/>
                      <a:pt x="681514" y="125254"/>
                    </a:cubicBezTo>
                    <a:cubicBezTo>
                      <a:pt x="681514" y="125254"/>
                      <a:pt x="682466" y="125254"/>
                      <a:pt x="682466" y="125254"/>
                    </a:cubicBezTo>
                    <a:cubicBezTo>
                      <a:pt x="691039" y="125254"/>
                      <a:pt x="698659" y="118586"/>
                      <a:pt x="699611" y="110014"/>
                    </a:cubicBezTo>
                    <a:cubicBezTo>
                      <a:pt x="701516" y="110966"/>
                      <a:pt x="704374" y="111919"/>
                      <a:pt x="706279" y="111919"/>
                    </a:cubicBezTo>
                    <a:cubicBezTo>
                      <a:pt x="706279" y="112871"/>
                      <a:pt x="706279" y="112871"/>
                      <a:pt x="706279" y="113824"/>
                    </a:cubicBezTo>
                    <a:cubicBezTo>
                      <a:pt x="706279" y="117634"/>
                      <a:pt x="709136" y="120491"/>
                      <a:pt x="711994" y="122396"/>
                    </a:cubicBezTo>
                    <a:cubicBezTo>
                      <a:pt x="712946" y="135731"/>
                      <a:pt x="724376" y="146209"/>
                      <a:pt x="738664" y="146209"/>
                    </a:cubicBezTo>
                    <a:cubicBezTo>
                      <a:pt x="749141" y="146209"/>
                      <a:pt x="758666" y="139541"/>
                      <a:pt x="763429" y="130969"/>
                    </a:cubicBezTo>
                    <a:cubicBezTo>
                      <a:pt x="765334" y="131921"/>
                      <a:pt x="767239" y="131921"/>
                      <a:pt x="770096" y="132874"/>
                    </a:cubicBezTo>
                    <a:cubicBezTo>
                      <a:pt x="772001" y="135731"/>
                      <a:pt x="774859" y="138589"/>
                      <a:pt x="778669" y="140494"/>
                    </a:cubicBezTo>
                    <a:cubicBezTo>
                      <a:pt x="776764" y="141446"/>
                      <a:pt x="774859" y="143351"/>
                      <a:pt x="773906" y="145256"/>
                    </a:cubicBezTo>
                    <a:cubicBezTo>
                      <a:pt x="772954" y="141446"/>
                      <a:pt x="770096" y="138589"/>
                      <a:pt x="765334" y="138589"/>
                    </a:cubicBezTo>
                    <a:cubicBezTo>
                      <a:pt x="760571" y="138589"/>
                      <a:pt x="756761" y="142399"/>
                      <a:pt x="756761" y="147161"/>
                    </a:cubicBezTo>
                    <a:cubicBezTo>
                      <a:pt x="756761" y="150971"/>
                      <a:pt x="758666" y="153829"/>
                      <a:pt x="761524" y="154781"/>
                    </a:cubicBezTo>
                    <a:cubicBezTo>
                      <a:pt x="759619" y="156686"/>
                      <a:pt x="757714" y="158591"/>
                      <a:pt x="757714" y="161449"/>
                    </a:cubicBezTo>
                    <a:cubicBezTo>
                      <a:pt x="757714" y="163354"/>
                      <a:pt x="758666" y="165259"/>
                      <a:pt x="759619" y="167164"/>
                    </a:cubicBezTo>
                    <a:cubicBezTo>
                      <a:pt x="759619" y="168116"/>
                      <a:pt x="759619" y="168116"/>
                      <a:pt x="759619" y="169069"/>
                    </a:cubicBezTo>
                    <a:cubicBezTo>
                      <a:pt x="755809" y="161449"/>
                      <a:pt x="748189" y="155734"/>
                      <a:pt x="738664" y="155734"/>
                    </a:cubicBezTo>
                    <a:cubicBezTo>
                      <a:pt x="737711" y="155734"/>
                      <a:pt x="736759" y="155734"/>
                      <a:pt x="735806" y="155734"/>
                    </a:cubicBezTo>
                    <a:cubicBezTo>
                      <a:pt x="733901" y="153829"/>
                      <a:pt x="731996" y="152876"/>
                      <a:pt x="729139" y="152876"/>
                    </a:cubicBezTo>
                    <a:cubicBezTo>
                      <a:pt x="724376" y="152876"/>
                      <a:pt x="719614" y="156686"/>
                      <a:pt x="719614" y="162401"/>
                    </a:cubicBezTo>
                    <a:cubicBezTo>
                      <a:pt x="719614" y="163354"/>
                      <a:pt x="719614" y="164306"/>
                      <a:pt x="720566" y="165259"/>
                    </a:cubicBezTo>
                    <a:cubicBezTo>
                      <a:pt x="718661" y="168116"/>
                      <a:pt x="716756" y="170974"/>
                      <a:pt x="716756" y="173831"/>
                    </a:cubicBezTo>
                    <a:cubicBezTo>
                      <a:pt x="714851" y="173831"/>
                      <a:pt x="713899" y="172879"/>
                      <a:pt x="711994" y="172879"/>
                    </a:cubicBezTo>
                    <a:cubicBezTo>
                      <a:pt x="704374" y="172879"/>
                      <a:pt x="697706" y="174784"/>
                      <a:pt x="691991" y="178594"/>
                    </a:cubicBezTo>
                    <a:cubicBezTo>
                      <a:pt x="688181" y="176689"/>
                      <a:pt x="684371" y="175736"/>
                      <a:pt x="680561" y="175736"/>
                    </a:cubicBezTo>
                    <a:cubicBezTo>
                      <a:pt x="678656" y="175736"/>
                      <a:pt x="675799" y="175736"/>
                      <a:pt x="673894" y="176689"/>
                    </a:cubicBezTo>
                    <a:cubicBezTo>
                      <a:pt x="674846" y="175736"/>
                      <a:pt x="675799" y="173831"/>
                      <a:pt x="675799" y="172879"/>
                    </a:cubicBezTo>
                    <a:cubicBezTo>
                      <a:pt x="675799" y="169069"/>
                      <a:pt x="671989" y="165259"/>
                      <a:pt x="668179" y="165259"/>
                    </a:cubicBezTo>
                    <a:cubicBezTo>
                      <a:pt x="664369" y="165259"/>
                      <a:pt x="660559" y="169069"/>
                      <a:pt x="660559" y="172879"/>
                    </a:cubicBezTo>
                    <a:cubicBezTo>
                      <a:pt x="660559" y="176689"/>
                      <a:pt x="663416" y="179546"/>
                      <a:pt x="667226" y="180499"/>
                    </a:cubicBezTo>
                    <a:cubicBezTo>
                      <a:pt x="661511" y="184309"/>
                      <a:pt x="657701" y="191929"/>
                      <a:pt x="657701" y="199549"/>
                    </a:cubicBezTo>
                    <a:cubicBezTo>
                      <a:pt x="657701" y="202406"/>
                      <a:pt x="658654" y="205264"/>
                      <a:pt x="659606" y="207169"/>
                    </a:cubicBezTo>
                    <a:cubicBezTo>
                      <a:pt x="657701" y="207169"/>
                      <a:pt x="655796" y="207169"/>
                      <a:pt x="654844" y="208121"/>
                    </a:cubicBezTo>
                    <a:cubicBezTo>
                      <a:pt x="652939" y="206216"/>
                      <a:pt x="651034" y="205264"/>
                      <a:pt x="648176" y="205264"/>
                    </a:cubicBezTo>
                    <a:cubicBezTo>
                      <a:pt x="643414" y="205264"/>
                      <a:pt x="639604" y="209074"/>
                      <a:pt x="639604" y="213836"/>
                    </a:cubicBezTo>
                    <a:cubicBezTo>
                      <a:pt x="639604" y="215741"/>
                      <a:pt x="640556" y="216694"/>
                      <a:pt x="640556" y="217646"/>
                    </a:cubicBezTo>
                    <a:cubicBezTo>
                      <a:pt x="637699" y="219551"/>
                      <a:pt x="635794" y="222409"/>
                      <a:pt x="634841" y="226219"/>
                    </a:cubicBezTo>
                    <a:cubicBezTo>
                      <a:pt x="632936" y="224314"/>
                      <a:pt x="630079" y="223361"/>
                      <a:pt x="627221" y="223361"/>
                    </a:cubicBezTo>
                    <a:cubicBezTo>
                      <a:pt x="626269" y="215741"/>
                      <a:pt x="621506" y="209074"/>
                      <a:pt x="613886" y="205264"/>
                    </a:cubicBezTo>
                    <a:cubicBezTo>
                      <a:pt x="617696" y="205264"/>
                      <a:pt x="620554" y="204311"/>
                      <a:pt x="623411" y="203359"/>
                    </a:cubicBezTo>
                    <a:cubicBezTo>
                      <a:pt x="625316" y="206216"/>
                      <a:pt x="629126" y="209074"/>
                      <a:pt x="632936" y="209074"/>
                    </a:cubicBezTo>
                    <a:cubicBezTo>
                      <a:pt x="639604" y="209074"/>
                      <a:pt x="644366" y="204311"/>
                      <a:pt x="644366" y="197644"/>
                    </a:cubicBezTo>
                    <a:cubicBezTo>
                      <a:pt x="644366" y="194786"/>
                      <a:pt x="643414" y="191929"/>
                      <a:pt x="640556" y="189071"/>
                    </a:cubicBezTo>
                    <a:cubicBezTo>
                      <a:pt x="644366" y="183356"/>
                      <a:pt x="646271" y="176689"/>
                      <a:pt x="646271" y="170021"/>
                    </a:cubicBezTo>
                    <a:cubicBezTo>
                      <a:pt x="646271" y="153829"/>
                      <a:pt x="634841" y="139541"/>
                      <a:pt x="619601" y="135731"/>
                    </a:cubicBezTo>
                    <a:cubicBezTo>
                      <a:pt x="617696" y="133826"/>
                      <a:pt x="615791" y="132874"/>
                      <a:pt x="612934" y="132874"/>
                    </a:cubicBezTo>
                    <a:cubicBezTo>
                      <a:pt x="611029" y="132874"/>
                      <a:pt x="609124" y="133826"/>
                      <a:pt x="607219" y="134779"/>
                    </a:cubicBezTo>
                    <a:cubicBezTo>
                      <a:pt x="605314" y="134779"/>
                      <a:pt x="602456" y="135731"/>
                      <a:pt x="600551" y="135731"/>
                    </a:cubicBezTo>
                    <a:cubicBezTo>
                      <a:pt x="601504" y="133826"/>
                      <a:pt x="601504" y="131921"/>
                      <a:pt x="601504" y="129064"/>
                    </a:cubicBezTo>
                    <a:cubicBezTo>
                      <a:pt x="603409" y="130016"/>
                      <a:pt x="605314" y="130969"/>
                      <a:pt x="607219" y="130969"/>
                    </a:cubicBezTo>
                    <a:cubicBezTo>
                      <a:pt x="611981" y="130969"/>
                      <a:pt x="616744" y="127159"/>
                      <a:pt x="616744" y="121444"/>
                    </a:cubicBezTo>
                    <a:cubicBezTo>
                      <a:pt x="616744" y="115729"/>
                      <a:pt x="612934" y="111919"/>
                      <a:pt x="607219" y="111919"/>
                    </a:cubicBezTo>
                    <a:cubicBezTo>
                      <a:pt x="604361" y="111919"/>
                      <a:pt x="601504" y="113824"/>
                      <a:pt x="599599" y="116681"/>
                    </a:cubicBezTo>
                    <a:cubicBezTo>
                      <a:pt x="597694" y="112871"/>
                      <a:pt x="594836" y="110014"/>
                      <a:pt x="591979" y="107156"/>
                    </a:cubicBezTo>
                    <a:cubicBezTo>
                      <a:pt x="593884" y="108109"/>
                      <a:pt x="596741" y="108109"/>
                      <a:pt x="598646" y="108109"/>
                    </a:cubicBezTo>
                    <a:cubicBezTo>
                      <a:pt x="612934" y="108109"/>
                      <a:pt x="624364" y="97631"/>
                      <a:pt x="626269" y="84296"/>
                    </a:cubicBezTo>
                    <a:cubicBezTo>
                      <a:pt x="628174" y="85249"/>
                      <a:pt x="629126" y="85249"/>
                      <a:pt x="631031" y="85249"/>
                    </a:cubicBezTo>
                    <a:cubicBezTo>
                      <a:pt x="638651" y="85249"/>
                      <a:pt x="644366" y="79534"/>
                      <a:pt x="644366" y="71914"/>
                    </a:cubicBezTo>
                    <a:cubicBezTo>
                      <a:pt x="644366" y="64294"/>
                      <a:pt x="638651" y="58579"/>
                      <a:pt x="631031" y="58579"/>
                    </a:cubicBezTo>
                    <a:cubicBezTo>
                      <a:pt x="626269" y="58579"/>
                      <a:pt x="622459" y="60484"/>
                      <a:pt x="620554" y="64294"/>
                    </a:cubicBezTo>
                    <a:cubicBezTo>
                      <a:pt x="615791" y="57626"/>
                      <a:pt x="607219" y="53816"/>
                      <a:pt x="598646" y="53816"/>
                    </a:cubicBezTo>
                    <a:cubicBezTo>
                      <a:pt x="591026" y="53816"/>
                      <a:pt x="584359" y="56674"/>
                      <a:pt x="578644" y="62389"/>
                    </a:cubicBezTo>
                    <a:cubicBezTo>
                      <a:pt x="578644" y="61436"/>
                      <a:pt x="578644" y="59531"/>
                      <a:pt x="578644" y="58579"/>
                    </a:cubicBezTo>
                    <a:cubicBezTo>
                      <a:pt x="578644" y="47149"/>
                      <a:pt x="569119" y="37624"/>
                      <a:pt x="557689" y="37624"/>
                    </a:cubicBezTo>
                    <a:cubicBezTo>
                      <a:pt x="546259" y="37624"/>
                      <a:pt x="536734" y="47149"/>
                      <a:pt x="536734" y="58579"/>
                    </a:cubicBezTo>
                    <a:cubicBezTo>
                      <a:pt x="536734" y="70009"/>
                      <a:pt x="546259" y="79534"/>
                      <a:pt x="557689" y="79534"/>
                    </a:cubicBezTo>
                    <a:cubicBezTo>
                      <a:pt x="562451" y="79534"/>
                      <a:pt x="567214" y="77629"/>
                      <a:pt x="571024" y="74771"/>
                    </a:cubicBezTo>
                    <a:cubicBezTo>
                      <a:pt x="570071" y="77629"/>
                      <a:pt x="570071" y="80486"/>
                      <a:pt x="570071" y="83344"/>
                    </a:cubicBezTo>
                    <a:cubicBezTo>
                      <a:pt x="570071" y="92869"/>
                      <a:pt x="574834" y="101441"/>
                      <a:pt x="582454" y="106204"/>
                    </a:cubicBezTo>
                    <a:cubicBezTo>
                      <a:pt x="580549" y="106204"/>
                      <a:pt x="579596" y="105251"/>
                      <a:pt x="577691" y="105251"/>
                    </a:cubicBezTo>
                    <a:cubicBezTo>
                      <a:pt x="570071" y="105251"/>
                      <a:pt x="563404" y="109061"/>
                      <a:pt x="559594" y="113824"/>
                    </a:cubicBezTo>
                    <a:cubicBezTo>
                      <a:pt x="555784" y="107156"/>
                      <a:pt x="549116" y="103346"/>
                      <a:pt x="541496" y="103346"/>
                    </a:cubicBezTo>
                    <a:cubicBezTo>
                      <a:pt x="530066" y="103346"/>
                      <a:pt x="519589" y="112871"/>
                      <a:pt x="519589" y="125254"/>
                    </a:cubicBezTo>
                    <a:cubicBezTo>
                      <a:pt x="519589" y="137636"/>
                      <a:pt x="529114" y="147161"/>
                      <a:pt x="541496" y="147161"/>
                    </a:cubicBezTo>
                    <a:cubicBezTo>
                      <a:pt x="547211" y="147161"/>
                      <a:pt x="552926" y="144304"/>
                      <a:pt x="556736" y="140494"/>
                    </a:cubicBezTo>
                    <a:cubicBezTo>
                      <a:pt x="560546" y="148114"/>
                      <a:pt x="569119" y="153829"/>
                      <a:pt x="578644" y="153829"/>
                    </a:cubicBezTo>
                    <a:cubicBezTo>
                      <a:pt x="579596" y="153829"/>
                      <a:pt x="580549" y="153829"/>
                      <a:pt x="581501" y="153829"/>
                    </a:cubicBezTo>
                    <a:cubicBezTo>
                      <a:pt x="578644" y="158591"/>
                      <a:pt x="576739" y="165259"/>
                      <a:pt x="576739" y="170974"/>
                    </a:cubicBezTo>
                    <a:cubicBezTo>
                      <a:pt x="576739" y="172879"/>
                      <a:pt x="576739" y="174784"/>
                      <a:pt x="577691" y="176689"/>
                    </a:cubicBezTo>
                    <a:cubicBezTo>
                      <a:pt x="571976" y="172879"/>
                      <a:pt x="565309" y="170974"/>
                      <a:pt x="557689" y="170974"/>
                    </a:cubicBezTo>
                    <a:cubicBezTo>
                      <a:pt x="545306" y="170974"/>
                      <a:pt x="533876" y="176689"/>
                      <a:pt x="526256" y="186214"/>
                    </a:cubicBezTo>
                    <a:cubicBezTo>
                      <a:pt x="523399" y="181451"/>
                      <a:pt x="518636" y="177641"/>
                      <a:pt x="512921" y="177641"/>
                    </a:cubicBezTo>
                    <a:cubicBezTo>
                      <a:pt x="504349" y="177641"/>
                      <a:pt x="497681" y="184309"/>
                      <a:pt x="497681" y="192881"/>
                    </a:cubicBezTo>
                    <a:cubicBezTo>
                      <a:pt x="497681" y="201454"/>
                      <a:pt x="504349" y="208121"/>
                      <a:pt x="512921" y="208121"/>
                    </a:cubicBezTo>
                    <a:cubicBezTo>
                      <a:pt x="514826" y="208121"/>
                      <a:pt x="516731" y="208121"/>
                      <a:pt x="518636" y="207169"/>
                    </a:cubicBezTo>
                    <a:cubicBezTo>
                      <a:pt x="518636" y="208121"/>
                      <a:pt x="518636" y="209074"/>
                      <a:pt x="518636" y="210026"/>
                    </a:cubicBezTo>
                    <a:cubicBezTo>
                      <a:pt x="518636" y="222409"/>
                      <a:pt x="524351" y="232886"/>
                      <a:pt x="532924" y="239554"/>
                    </a:cubicBezTo>
                    <a:cubicBezTo>
                      <a:pt x="531019" y="242411"/>
                      <a:pt x="530066" y="246221"/>
                      <a:pt x="530066" y="249079"/>
                    </a:cubicBezTo>
                    <a:cubicBezTo>
                      <a:pt x="530066" y="250031"/>
                      <a:pt x="530066" y="250031"/>
                      <a:pt x="530066" y="250984"/>
                    </a:cubicBezTo>
                    <a:cubicBezTo>
                      <a:pt x="523399" y="255746"/>
                      <a:pt x="517684" y="261461"/>
                      <a:pt x="514826" y="270034"/>
                    </a:cubicBezTo>
                    <a:cubicBezTo>
                      <a:pt x="508159" y="274796"/>
                      <a:pt x="503396" y="283369"/>
                      <a:pt x="503396" y="291941"/>
                    </a:cubicBezTo>
                    <a:cubicBezTo>
                      <a:pt x="503396" y="307181"/>
                      <a:pt x="515779" y="319564"/>
                      <a:pt x="531019" y="319564"/>
                    </a:cubicBezTo>
                    <a:cubicBezTo>
                      <a:pt x="534829" y="319564"/>
                      <a:pt x="537686" y="318611"/>
                      <a:pt x="540544" y="317659"/>
                    </a:cubicBezTo>
                    <a:cubicBezTo>
                      <a:pt x="543401" y="318611"/>
                      <a:pt x="546259" y="318611"/>
                      <a:pt x="549116" y="318611"/>
                    </a:cubicBezTo>
                    <a:cubicBezTo>
                      <a:pt x="564356" y="318611"/>
                      <a:pt x="577691" y="309086"/>
                      <a:pt x="582454" y="295751"/>
                    </a:cubicBezTo>
                    <a:cubicBezTo>
                      <a:pt x="583406" y="295751"/>
                      <a:pt x="583406" y="294799"/>
                      <a:pt x="584359" y="294799"/>
                    </a:cubicBezTo>
                    <a:cubicBezTo>
                      <a:pt x="584359" y="294799"/>
                      <a:pt x="585311" y="294799"/>
                      <a:pt x="585311" y="294799"/>
                    </a:cubicBezTo>
                    <a:cubicBezTo>
                      <a:pt x="587216" y="301466"/>
                      <a:pt x="591026" y="306229"/>
                      <a:pt x="596741" y="310991"/>
                    </a:cubicBezTo>
                    <a:cubicBezTo>
                      <a:pt x="596741" y="310991"/>
                      <a:pt x="596741" y="311944"/>
                      <a:pt x="596741" y="311944"/>
                    </a:cubicBezTo>
                    <a:cubicBezTo>
                      <a:pt x="596741" y="312896"/>
                      <a:pt x="596741" y="312896"/>
                      <a:pt x="596741" y="313849"/>
                    </a:cubicBezTo>
                    <a:cubicBezTo>
                      <a:pt x="595789" y="315754"/>
                      <a:pt x="595789" y="318611"/>
                      <a:pt x="595789" y="321469"/>
                    </a:cubicBezTo>
                    <a:cubicBezTo>
                      <a:pt x="595789" y="328136"/>
                      <a:pt x="598646" y="333851"/>
                      <a:pt x="603409" y="337661"/>
                    </a:cubicBezTo>
                    <a:cubicBezTo>
                      <a:pt x="603409" y="338614"/>
                      <a:pt x="603409" y="339566"/>
                      <a:pt x="603409" y="339566"/>
                    </a:cubicBezTo>
                    <a:cubicBezTo>
                      <a:pt x="603409" y="347186"/>
                      <a:pt x="608171" y="352901"/>
                      <a:pt x="614839" y="354806"/>
                    </a:cubicBezTo>
                    <a:cubicBezTo>
                      <a:pt x="612934" y="356711"/>
                      <a:pt x="611029" y="359569"/>
                      <a:pt x="611029" y="363379"/>
                    </a:cubicBezTo>
                    <a:cubicBezTo>
                      <a:pt x="604361" y="356711"/>
                      <a:pt x="595789" y="352901"/>
                      <a:pt x="586264" y="352901"/>
                    </a:cubicBezTo>
                    <a:cubicBezTo>
                      <a:pt x="567214" y="352901"/>
                      <a:pt x="551974" y="368141"/>
                      <a:pt x="551974" y="387191"/>
                    </a:cubicBezTo>
                    <a:cubicBezTo>
                      <a:pt x="551974" y="390049"/>
                      <a:pt x="551974" y="392906"/>
                      <a:pt x="552926" y="395764"/>
                    </a:cubicBezTo>
                    <a:cubicBezTo>
                      <a:pt x="550069" y="391001"/>
                      <a:pt x="546259" y="387191"/>
                      <a:pt x="541496" y="385286"/>
                    </a:cubicBezTo>
                    <a:cubicBezTo>
                      <a:pt x="539591" y="379571"/>
                      <a:pt x="533876" y="375761"/>
                      <a:pt x="527209" y="375761"/>
                    </a:cubicBezTo>
                    <a:cubicBezTo>
                      <a:pt x="518636" y="375761"/>
                      <a:pt x="511969" y="382429"/>
                      <a:pt x="511969" y="391001"/>
                    </a:cubicBezTo>
                    <a:cubicBezTo>
                      <a:pt x="511969" y="391954"/>
                      <a:pt x="511969" y="391954"/>
                      <a:pt x="511969" y="392906"/>
                    </a:cubicBezTo>
                    <a:cubicBezTo>
                      <a:pt x="508159" y="397669"/>
                      <a:pt x="506254" y="402431"/>
                      <a:pt x="506254" y="409099"/>
                    </a:cubicBezTo>
                    <a:cubicBezTo>
                      <a:pt x="506254" y="414814"/>
                      <a:pt x="508159" y="420529"/>
                      <a:pt x="511969" y="425291"/>
                    </a:cubicBezTo>
                    <a:cubicBezTo>
                      <a:pt x="511016" y="427196"/>
                      <a:pt x="511016" y="428149"/>
                      <a:pt x="511016" y="430054"/>
                    </a:cubicBezTo>
                    <a:cubicBezTo>
                      <a:pt x="511016" y="437674"/>
                      <a:pt x="516731" y="443389"/>
                      <a:pt x="524351" y="443389"/>
                    </a:cubicBezTo>
                    <a:cubicBezTo>
                      <a:pt x="530066" y="443389"/>
                      <a:pt x="535781" y="439579"/>
                      <a:pt x="537686" y="433864"/>
                    </a:cubicBezTo>
                    <a:cubicBezTo>
                      <a:pt x="537686" y="433864"/>
                      <a:pt x="537686" y="433864"/>
                      <a:pt x="537686" y="433864"/>
                    </a:cubicBezTo>
                    <a:cubicBezTo>
                      <a:pt x="537686" y="436721"/>
                      <a:pt x="538639" y="439579"/>
                      <a:pt x="539591" y="441484"/>
                    </a:cubicBezTo>
                    <a:cubicBezTo>
                      <a:pt x="535781" y="442436"/>
                      <a:pt x="531971" y="445294"/>
                      <a:pt x="531971" y="450056"/>
                    </a:cubicBezTo>
                    <a:cubicBezTo>
                      <a:pt x="531971" y="454819"/>
                      <a:pt x="535781" y="458629"/>
                      <a:pt x="540544" y="458629"/>
                    </a:cubicBezTo>
                    <a:cubicBezTo>
                      <a:pt x="545306" y="458629"/>
                      <a:pt x="549116" y="454819"/>
                      <a:pt x="549116" y="451009"/>
                    </a:cubicBezTo>
                    <a:cubicBezTo>
                      <a:pt x="551974" y="451961"/>
                      <a:pt x="554831" y="452914"/>
                      <a:pt x="557689" y="452914"/>
                    </a:cubicBezTo>
                    <a:cubicBezTo>
                      <a:pt x="559594" y="452914"/>
                      <a:pt x="561499" y="452914"/>
                      <a:pt x="563404" y="451961"/>
                    </a:cubicBezTo>
                    <a:cubicBezTo>
                      <a:pt x="563404" y="452914"/>
                      <a:pt x="564356" y="453866"/>
                      <a:pt x="565309" y="454819"/>
                    </a:cubicBezTo>
                    <a:cubicBezTo>
                      <a:pt x="562451" y="456724"/>
                      <a:pt x="560546" y="460534"/>
                      <a:pt x="560546" y="464344"/>
                    </a:cubicBezTo>
                    <a:cubicBezTo>
                      <a:pt x="560546" y="465296"/>
                      <a:pt x="560546" y="466249"/>
                      <a:pt x="560546" y="467201"/>
                    </a:cubicBezTo>
                    <a:cubicBezTo>
                      <a:pt x="555784" y="471964"/>
                      <a:pt x="551974" y="478631"/>
                      <a:pt x="551974" y="487204"/>
                    </a:cubicBezTo>
                    <a:cubicBezTo>
                      <a:pt x="551974" y="487204"/>
                      <a:pt x="551974" y="488156"/>
                      <a:pt x="551974" y="488156"/>
                    </a:cubicBezTo>
                    <a:cubicBezTo>
                      <a:pt x="549116" y="491014"/>
                      <a:pt x="548164" y="494824"/>
                      <a:pt x="548164" y="499586"/>
                    </a:cubicBezTo>
                    <a:cubicBezTo>
                      <a:pt x="548164" y="509111"/>
                      <a:pt x="555784" y="517684"/>
                      <a:pt x="566261" y="517684"/>
                    </a:cubicBezTo>
                    <a:cubicBezTo>
                      <a:pt x="569119" y="517684"/>
                      <a:pt x="571976" y="516731"/>
                      <a:pt x="573881" y="515779"/>
                    </a:cubicBezTo>
                    <a:cubicBezTo>
                      <a:pt x="571976" y="517684"/>
                      <a:pt x="571024" y="520541"/>
                      <a:pt x="571024" y="523399"/>
                    </a:cubicBezTo>
                    <a:cubicBezTo>
                      <a:pt x="571024" y="527209"/>
                      <a:pt x="572929" y="530066"/>
                      <a:pt x="574834" y="531971"/>
                    </a:cubicBezTo>
                    <a:cubicBezTo>
                      <a:pt x="574834" y="531971"/>
                      <a:pt x="574834" y="532924"/>
                      <a:pt x="574834" y="532924"/>
                    </a:cubicBezTo>
                    <a:cubicBezTo>
                      <a:pt x="574834" y="539591"/>
                      <a:pt x="580549" y="544354"/>
                      <a:pt x="586264" y="544354"/>
                    </a:cubicBezTo>
                    <a:cubicBezTo>
                      <a:pt x="591026" y="544354"/>
                      <a:pt x="594836" y="541496"/>
                      <a:pt x="596741" y="537686"/>
                    </a:cubicBezTo>
                    <a:cubicBezTo>
                      <a:pt x="597694" y="537686"/>
                      <a:pt x="597694" y="536734"/>
                      <a:pt x="598646" y="536734"/>
                    </a:cubicBezTo>
                    <a:cubicBezTo>
                      <a:pt x="602456" y="540544"/>
                      <a:pt x="607219" y="542449"/>
                      <a:pt x="611981" y="542449"/>
                    </a:cubicBezTo>
                    <a:cubicBezTo>
                      <a:pt x="622459" y="542449"/>
                      <a:pt x="631984" y="533876"/>
                      <a:pt x="631984" y="522446"/>
                    </a:cubicBezTo>
                    <a:cubicBezTo>
                      <a:pt x="635794" y="524351"/>
                      <a:pt x="639604" y="525304"/>
                      <a:pt x="643414" y="525304"/>
                    </a:cubicBezTo>
                    <a:cubicBezTo>
                      <a:pt x="636746" y="526256"/>
                      <a:pt x="632936" y="531971"/>
                      <a:pt x="632936" y="538639"/>
                    </a:cubicBezTo>
                    <a:cubicBezTo>
                      <a:pt x="632936" y="539591"/>
                      <a:pt x="632936" y="541496"/>
                      <a:pt x="633889" y="542449"/>
                    </a:cubicBezTo>
                    <a:cubicBezTo>
                      <a:pt x="629126" y="544354"/>
                      <a:pt x="626269" y="549116"/>
                      <a:pt x="626269" y="554831"/>
                    </a:cubicBezTo>
                    <a:cubicBezTo>
                      <a:pt x="626269" y="554831"/>
                      <a:pt x="626269" y="554831"/>
                      <a:pt x="626269" y="555784"/>
                    </a:cubicBezTo>
                    <a:cubicBezTo>
                      <a:pt x="624364" y="551021"/>
                      <a:pt x="619601" y="548164"/>
                      <a:pt x="614839" y="548164"/>
                    </a:cubicBezTo>
                    <a:cubicBezTo>
                      <a:pt x="608171" y="548164"/>
                      <a:pt x="602456" y="553879"/>
                      <a:pt x="602456" y="560546"/>
                    </a:cubicBezTo>
                    <a:cubicBezTo>
                      <a:pt x="602456" y="567214"/>
                      <a:pt x="608171" y="572929"/>
                      <a:pt x="614839" y="572929"/>
                    </a:cubicBezTo>
                    <a:cubicBezTo>
                      <a:pt x="621506" y="572929"/>
                      <a:pt x="627221" y="567214"/>
                      <a:pt x="627221" y="560546"/>
                    </a:cubicBezTo>
                    <a:cubicBezTo>
                      <a:pt x="627221" y="560546"/>
                      <a:pt x="627221" y="560546"/>
                      <a:pt x="627221" y="560546"/>
                    </a:cubicBezTo>
                    <a:cubicBezTo>
                      <a:pt x="628174" y="562451"/>
                      <a:pt x="629126" y="564356"/>
                      <a:pt x="631031" y="566261"/>
                    </a:cubicBezTo>
                    <a:cubicBezTo>
                      <a:pt x="629126" y="567214"/>
                      <a:pt x="628174" y="569119"/>
                      <a:pt x="628174" y="571024"/>
                    </a:cubicBezTo>
                    <a:cubicBezTo>
                      <a:pt x="628174" y="573881"/>
                      <a:pt x="631031" y="576739"/>
                      <a:pt x="633889" y="576739"/>
                    </a:cubicBezTo>
                    <a:cubicBezTo>
                      <a:pt x="636746" y="576739"/>
                      <a:pt x="639604" y="573881"/>
                      <a:pt x="639604" y="571024"/>
                    </a:cubicBezTo>
                    <a:cubicBezTo>
                      <a:pt x="639604" y="570071"/>
                      <a:pt x="639604" y="570071"/>
                      <a:pt x="639604" y="569119"/>
                    </a:cubicBezTo>
                    <a:cubicBezTo>
                      <a:pt x="639604" y="569119"/>
                      <a:pt x="640556" y="569119"/>
                      <a:pt x="640556" y="569119"/>
                    </a:cubicBezTo>
                    <a:cubicBezTo>
                      <a:pt x="642461" y="569119"/>
                      <a:pt x="644366" y="568166"/>
                      <a:pt x="646271" y="568166"/>
                    </a:cubicBezTo>
                    <a:cubicBezTo>
                      <a:pt x="647224" y="569119"/>
                      <a:pt x="647224" y="569119"/>
                      <a:pt x="648176" y="570071"/>
                    </a:cubicBezTo>
                    <a:cubicBezTo>
                      <a:pt x="647224" y="571024"/>
                      <a:pt x="647224" y="571976"/>
                      <a:pt x="647224" y="573881"/>
                    </a:cubicBezTo>
                    <a:cubicBezTo>
                      <a:pt x="647224" y="575786"/>
                      <a:pt x="648176" y="577691"/>
                      <a:pt x="650081" y="579596"/>
                    </a:cubicBezTo>
                    <a:cubicBezTo>
                      <a:pt x="646271" y="580549"/>
                      <a:pt x="642461" y="584359"/>
                      <a:pt x="642461" y="589121"/>
                    </a:cubicBezTo>
                    <a:cubicBezTo>
                      <a:pt x="642461" y="592931"/>
                      <a:pt x="644366" y="595789"/>
                      <a:pt x="648176" y="597694"/>
                    </a:cubicBezTo>
                    <a:cubicBezTo>
                      <a:pt x="649129" y="601504"/>
                      <a:pt x="651986" y="604361"/>
                      <a:pt x="656749" y="605314"/>
                    </a:cubicBezTo>
                    <a:lnTo>
                      <a:pt x="656749" y="608171"/>
                    </a:lnTo>
                    <a:cubicBezTo>
                      <a:pt x="654844" y="605314"/>
                      <a:pt x="651034" y="603409"/>
                      <a:pt x="647224" y="603409"/>
                    </a:cubicBezTo>
                    <a:cubicBezTo>
                      <a:pt x="640556" y="603409"/>
                      <a:pt x="635794" y="609124"/>
                      <a:pt x="635794" y="614839"/>
                    </a:cubicBezTo>
                    <a:cubicBezTo>
                      <a:pt x="635794" y="615791"/>
                      <a:pt x="635794" y="616744"/>
                      <a:pt x="636746" y="617696"/>
                    </a:cubicBezTo>
                    <a:cubicBezTo>
                      <a:pt x="635794" y="617696"/>
                      <a:pt x="634841" y="617696"/>
                      <a:pt x="634841" y="617696"/>
                    </a:cubicBezTo>
                    <a:cubicBezTo>
                      <a:pt x="627221" y="617696"/>
                      <a:pt x="620554" y="619601"/>
                      <a:pt x="614839" y="623411"/>
                    </a:cubicBezTo>
                    <a:cubicBezTo>
                      <a:pt x="614839" y="623411"/>
                      <a:pt x="614839" y="623411"/>
                      <a:pt x="613886" y="623411"/>
                    </a:cubicBezTo>
                    <a:cubicBezTo>
                      <a:pt x="611981" y="623411"/>
                      <a:pt x="610076" y="623411"/>
                      <a:pt x="609124" y="624364"/>
                    </a:cubicBezTo>
                    <a:cubicBezTo>
                      <a:pt x="609124" y="624364"/>
                      <a:pt x="609124" y="624364"/>
                      <a:pt x="609124" y="624364"/>
                    </a:cubicBezTo>
                    <a:cubicBezTo>
                      <a:pt x="609124" y="617696"/>
                      <a:pt x="603409" y="611981"/>
                      <a:pt x="596741" y="611981"/>
                    </a:cubicBezTo>
                    <a:cubicBezTo>
                      <a:pt x="592931" y="611981"/>
                      <a:pt x="589121" y="613886"/>
                      <a:pt x="587216" y="617696"/>
                    </a:cubicBezTo>
                    <a:cubicBezTo>
                      <a:pt x="582454" y="610076"/>
                      <a:pt x="573881" y="605314"/>
                      <a:pt x="564356" y="605314"/>
                    </a:cubicBezTo>
                    <a:cubicBezTo>
                      <a:pt x="554831" y="605314"/>
                      <a:pt x="547211" y="610076"/>
                      <a:pt x="542449" y="616744"/>
                    </a:cubicBezTo>
                    <a:cubicBezTo>
                      <a:pt x="541496" y="616744"/>
                      <a:pt x="541496" y="616744"/>
                      <a:pt x="540544" y="615791"/>
                    </a:cubicBezTo>
                    <a:cubicBezTo>
                      <a:pt x="539591" y="613886"/>
                      <a:pt x="537686" y="611029"/>
                      <a:pt x="536734" y="609124"/>
                    </a:cubicBezTo>
                    <a:cubicBezTo>
                      <a:pt x="546259" y="608171"/>
                      <a:pt x="553879" y="602456"/>
                      <a:pt x="556736" y="593884"/>
                    </a:cubicBezTo>
                    <a:cubicBezTo>
                      <a:pt x="560546" y="590074"/>
                      <a:pt x="563404" y="585311"/>
                      <a:pt x="563404" y="579596"/>
                    </a:cubicBezTo>
                    <a:cubicBezTo>
                      <a:pt x="563404" y="578644"/>
                      <a:pt x="563404" y="576739"/>
                      <a:pt x="563404" y="575786"/>
                    </a:cubicBezTo>
                    <a:cubicBezTo>
                      <a:pt x="563404" y="575786"/>
                      <a:pt x="564356" y="575786"/>
                      <a:pt x="564356" y="575786"/>
                    </a:cubicBezTo>
                    <a:cubicBezTo>
                      <a:pt x="567214" y="575786"/>
                      <a:pt x="570071" y="574834"/>
                      <a:pt x="572929" y="573881"/>
                    </a:cubicBezTo>
                    <a:cubicBezTo>
                      <a:pt x="571024" y="577691"/>
                      <a:pt x="569119" y="581501"/>
                      <a:pt x="569119" y="585311"/>
                    </a:cubicBezTo>
                    <a:cubicBezTo>
                      <a:pt x="569119" y="597694"/>
                      <a:pt x="578644" y="607219"/>
                      <a:pt x="591026" y="607219"/>
                    </a:cubicBezTo>
                    <a:cubicBezTo>
                      <a:pt x="603409" y="607219"/>
                      <a:pt x="612934" y="597694"/>
                      <a:pt x="612934" y="585311"/>
                    </a:cubicBezTo>
                    <a:cubicBezTo>
                      <a:pt x="612934" y="572929"/>
                      <a:pt x="603409" y="563404"/>
                      <a:pt x="591026" y="563404"/>
                    </a:cubicBezTo>
                    <a:cubicBezTo>
                      <a:pt x="586264" y="563404"/>
                      <a:pt x="582454" y="564356"/>
                      <a:pt x="579596" y="567214"/>
                    </a:cubicBezTo>
                    <a:cubicBezTo>
                      <a:pt x="580549" y="564356"/>
                      <a:pt x="581501" y="561499"/>
                      <a:pt x="581501" y="558641"/>
                    </a:cubicBezTo>
                    <a:cubicBezTo>
                      <a:pt x="581501" y="549116"/>
                      <a:pt x="573881" y="541496"/>
                      <a:pt x="564356" y="541496"/>
                    </a:cubicBezTo>
                    <a:cubicBezTo>
                      <a:pt x="554831" y="541496"/>
                      <a:pt x="547211" y="549116"/>
                      <a:pt x="547211" y="558641"/>
                    </a:cubicBezTo>
                    <a:cubicBezTo>
                      <a:pt x="547211" y="559594"/>
                      <a:pt x="547211" y="559594"/>
                      <a:pt x="547211" y="560546"/>
                    </a:cubicBezTo>
                    <a:cubicBezTo>
                      <a:pt x="546259" y="560546"/>
                      <a:pt x="545306" y="560546"/>
                      <a:pt x="543401" y="560546"/>
                    </a:cubicBezTo>
                    <a:cubicBezTo>
                      <a:pt x="537686" y="560546"/>
                      <a:pt x="531971" y="563404"/>
                      <a:pt x="528161" y="567214"/>
                    </a:cubicBezTo>
                    <a:cubicBezTo>
                      <a:pt x="527209" y="567214"/>
                      <a:pt x="527209" y="568166"/>
                      <a:pt x="526256" y="568166"/>
                    </a:cubicBezTo>
                    <a:cubicBezTo>
                      <a:pt x="526256" y="567214"/>
                      <a:pt x="526256" y="567214"/>
                      <a:pt x="526256" y="566261"/>
                    </a:cubicBezTo>
                    <a:cubicBezTo>
                      <a:pt x="526256" y="556736"/>
                      <a:pt x="518636" y="548164"/>
                      <a:pt x="508159" y="548164"/>
                    </a:cubicBezTo>
                    <a:cubicBezTo>
                      <a:pt x="498634" y="548164"/>
                      <a:pt x="490061" y="555784"/>
                      <a:pt x="490061" y="566261"/>
                    </a:cubicBezTo>
                    <a:cubicBezTo>
                      <a:pt x="490061" y="575786"/>
                      <a:pt x="497681" y="584359"/>
                      <a:pt x="508159" y="584359"/>
                    </a:cubicBezTo>
                    <a:cubicBezTo>
                      <a:pt x="510064" y="584359"/>
                      <a:pt x="511969" y="584359"/>
                      <a:pt x="513874" y="583406"/>
                    </a:cubicBezTo>
                    <a:cubicBezTo>
                      <a:pt x="513874" y="585311"/>
                      <a:pt x="512921" y="587216"/>
                      <a:pt x="512921" y="588169"/>
                    </a:cubicBezTo>
                    <a:cubicBezTo>
                      <a:pt x="512921" y="591979"/>
                      <a:pt x="513874" y="595789"/>
                      <a:pt x="515779" y="599599"/>
                    </a:cubicBezTo>
                    <a:cubicBezTo>
                      <a:pt x="514826" y="599599"/>
                      <a:pt x="512921" y="599599"/>
                      <a:pt x="511969" y="599599"/>
                    </a:cubicBezTo>
                    <a:cubicBezTo>
                      <a:pt x="510064" y="599599"/>
                      <a:pt x="508159" y="599599"/>
                      <a:pt x="506254" y="600551"/>
                    </a:cubicBezTo>
                    <a:cubicBezTo>
                      <a:pt x="504349" y="596741"/>
                      <a:pt x="501491" y="594836"/>
                      <a:pt x="497681" y="594836"/>
                    </a:cubicBezTo>
                    <a:cubicBezTo>
                      <a:pt x="492919" y="594836"/>
                      <a:pt x="490061" y="597694"/>
                      <a:pt x="489109" y="602456"/>
                    </a:cubicBezTo>
                    <a:cubicBezTo>
                      <a:pt x="488156" y="602456"/>
                      <a:pt x="487204" y="602456"/>
                      <a:pt x="487204" y="603409"/>
                    </a:cubicBezTo>
                    <a:cubicBezTo>
                      <a:pt x="483394" y="601504"/>
                      <a:pt x="479584" y="599599"/>
                      <a:pt x="475774" y="599599"/>
                    </a:cubicBezTo>
                    <a:cubicBezTo>
                      <a:pt x="464344" y="599599"/>
                      <a:pt x="454819" y="609124"/>
                      <a:pt x="454819" y="620554"/>
                    </a:cubicBezTo>
                    <a:cubicBezTo>
                      <a:pt x="454819" y="622459"/>
                      <a:pt x="454819" y="624364"/>
                      <a:pt x="455771" y="625316"/>
                    </a:cubicBezTo>
                    <a:cubicBezTo>
                      <a:pt x="452914" y="626269"/>
                      <a:pt x="450056" y="630079"/>
                      <a:pt x="450056" y="633889"/>
                    </a:cubicBezTo>
                    <a:cubicBezTo>
                      <a:pt x="450056" y="638651"/>
                      <a:pt x="453866" y="643414"/>
                      <a:pt x="459581" y="643414"/>
                    </a:cubicBezTo>
                    <a:cubicBezTo>
                      <a:pt x="459581" y="656749"/>
                      <a:pt x="471011" y="668179"/>
                      <a:pt x="484346" y="668179"/>
                    </a:cubicBezTo>
                    <a:cubicBezTo>
                      <a:pt x="490061" y="668179"/>
                      <a:pt x="494824" y="666274"/>
                      <a:pt x="498634" y="663416"/>
                    </a:cubicBezTo>
                    <a:cubicBezTo>
                      <a:pt x="500539" y="663416"/>
                      <a:pt x="501491" y="663416"/>
                      <a:pt x="503396" y="662464"/>
                    </a:cubicBezTo>
                    <a:cubicBezTo>
                      <a:pt x="505301" y="663416"/>
                      <a:pt x="508159" y="663416"/>
                      <a:pt x="511016" y="664369"/>
                    </a:cubicBezTo>
                    <a:cubicBezTo>
                      <a:pt x="511016" y="665321"/>
                      <a:pt x="511969" y="666274"/>
                      <a:pt x="511969" y="667226"/>
                    </a:cubicBezTo>
                    <a:cubicBezTo>
                      <a:pt x="511969" y="667226"/>
                      <a:pt x="511969" y="668179"/>
                      <a:pt x="511969" y="668179"/>
                    </a:cubicBezTo>
                    <a:cubicBezTo>
                      <a:pt x="511969" y="671989"/>
                      <a:pt x="512921" y="674846"/>
                      <a:pt x="513874" y="677704"/>
                    </a:cubicBezTo>
                    <a:cubicBezTo>
                      <a:pt x="512921" y="677704"/>
                      <a:pt x="512921" y="677704"/>
                      <a:pt x="511969" y="678656"/>
                    </a:cubicBezTo>
                    <a:cubicBezTo>
                      <a:pt x="509111" y="673894"/>
                      <a:pt x="504349" y="671036"/>
                      <a:pt x="498634" y="671036"/>
                    </a:cubicBezTo>
                    <a:cubicBezTo>
                      <a:pt x="493871" y="671036"/>
                      <a:pt x="490061" y="672941"/>
                      <a:pt x="487204" y="675799"/>
                    </a:cubicBezTo>
                    <a:cubicBezTo>
                      <a:pt x="485299" y="674846"/>
                      <a:pt x="483394" y="673894"/>
                      <a:pt x="481489" y="673894"/>
                    </a:cubicBezTo>
                    <a:cubicBezTo>
                      <a:pt x="474821" y="673894"/>
                      <a:pt x="470059" y="678656"/>
                      <a:pt x="470059" y="685324"/>
                    </a:cubicBezTo>
                    <a:cubicBezTo>
                      <a:pt x="470059" y="691991"/>
                      <a:pt x="474821" y="696754"/>
                      <a:pt x="481489" y="696754"/>
                    </a:cubicBezTo>
                    <a:cubicBezTo>
                      <a:pt x="482441" y="696754"/>
                      <a:pt x="483394" y="696754"/>
                      <a:pt x="484346" y="695801"/>
                    </a:cubicBezTo>
                    <a:cubicBezTo>
                      <a:pt x="485299" y="697706"/>
                      <a:pt x="486251" y="698659"/>
                      <a:pt x="488156" y="700564"/>
                    </a:cubicBezTo>
                    <a:cubicBezTo>
                      <a:pt x="487204" y="704374"/>
                      <a:pt x="486251" y="708184"/>
                      <a:pt x="486251" y="712946"/>
                    </a:cubicBezTo>
                    <a:cubicBezTo>
                      <a:pt x="486251" y="713899"/>
                      <a:pt x="486251" y="714851"/>
                      <a:pt x="486251" y="715804"/>
                    </a:cubicBezTo>
                    <a:cubicBezTo>
                      <a:pt x="480536" y="707231"/>
                      <a:pt x="471011" y="701516"/>
                      <a:pt x="460534" y="701516"/>
                    </a:cubicBezTo>
                    <a:cubicBezTo>
                      <a:pt x="450056" y="701516"/>
                      <a:pt x="441484" y="706279"/>
                      <a:pt x="435769" y="714851"/>
                    </a:cubicBezTo>
                    <a:cubicBezTo>
                      <a:pt x="432911" y="712946"/>
                      <a:pt x="429101" y="711994"/>
                      <a:pt x="426244" y="711041"/>
                    </a:cubicBezTo>
                    <a:cubicBezTo>
                      <a:pt x="429101" y="708184"/>
                      <a:pt x="431006" y="705326"/>
                      <a:pt x="432911" y="701516"/>
                    </a:cubicBezTo>
                    <a:cubicBezTo>
                      <a:pt x="435769" y="698659"/>
                      <a:pt x="437674" y="695801"/>
                      <a:pt x="437674" y="691039"/>
                    </a:cubicBezTo>
                    <a:cubicBezTo>
                      <a:pt x="437674" y="686276"/>
                      <a:pt x="434816" y="681514"/>
                      <a:pt x="431006" y="679609"/>
                    </a:cubicBezTo>
                    <a:cubicBezTo>
                      <a:pt x="426244" y="672941"/>
                      <a:pt x="418624" y="668179"/>
                      <a:pt x="410051" y="668179"/>
                    </a:cubicBezTo>
                    <a:cubicBezTo>
                      <a:pt x="408146" y="668179"/>
                      <a:pt x="406241" y="668179"/>
                      <a:pt x="404336" y="669131"/>
                    </a:cubicBezTo>
                    <a:cubicBezTo>
                      <a:pt x="403384" y="666274"/>
                      <a:pt x="402431" y="663416"/>
                      <a:pt x="401479" y="661511"/>
                    </a:cubicBezTo>
                    <a:cubicBezTo>
                      <a:pt x="404336" y="657701"/>
                      <a:pt x="407194" y="653891"/>
                      <a:pt x="409099" y="650081"/>
                    </a:cubicBezTo>
                    <a:cubicBezTo>
                      <a:pt x="410051" y="649129"/>
                      <a:pt x="410051" y="648176"/>
                      <a:pt x="410051" y="647224"/>
                    </a:cubicBezTo>
                    <a:cubicBezTo>
                      <a:pt x="410051" y="647224"/>
                      <a:pt x="410051" y="647224"/>
                      <a:pt x="410051" y="647224"/>
                    </a:cubicBezTo>
                    <a:cubicBezTo>
                      <a:pt x="411004" y="643414"/>
                      <a:pt x="411956" y="638651"/>
                      <a:pt x="411956" y="634841"/>
                    </a:cubicBezTo>
                    <a:cubicBezTo>
                      <a:pt x="411956" y="611981"/>
                      <a:pt x="392906" y="592931"/>
                      <a:pt x="370046" y="592931"/>
                    </a:cubicBezTo>
                    <a:cubicBezTo>
                      <a:pt x="366236" y="592931"/>
                      <a:pt x="363379" y="593884"/>
                      <a:pt x="360521" y="593884"/>
                    </a:cubicBezTo>
                    <a:cubicBezTo>
                      <a:pt x="361474" y="591979"/>
                      <a:pt x="362426" y="590074"/>
                      <a:pt x="362426" y="588169"/>
                    </a:cubicBezTo>
                    <a:cubicBezTo>
                      <a:pt x="362426" y="581501"/>
                      <a:pt x="356711" y="576739"/>
                      <a:pt x="350996" y="576739"/>
                    </a:cubicBezTo>
                    <a:cubicBezTo>
                      <a:pt x="347186" y="576739"/>
                      <a:pt x="344329" y="578644"/>
                      <a:pt x="342424" y="580549"/>
                    </a:cubicBezTo>
                    <a:cubicBezTo>
                      <a:pt x="340519" y="579596"/>
                      <a:pt x="338614" y="578644"/>
                      <a:pt x="335756" y="578644"/>
                    </a:cubicBezTo>
                    <a:cubicBezTo>
                      <a:pt x="329089" y="578644"/>
                      <a:pt x="324326" y="583406"/>
                      <a:pt x="324326" y="590074"/>
                    </a:cubicBezTo>
                    <a:cubicBezTo>
                      <a:pt x="324326" y="596741"/>
                      <a:pt x="329089" y="601504"/>
                      <a:pt x="335756" y="601504"/>
                    </a:cubicBezTo>
                    <a:cubicBezTo>
                      <a:pt x="339566" y="601504"/>
                      <a:pt x="342424" y="599599"/>
                      <a:pt x="344329" y="597694"/>
                    </a:cubicBezTo>
                    <a:cubicBezTo>
                      <a:pt x="345281" y="598646"/>
                      <a:pt x="346234" y="598646"/>
                      <a:pt x="348139" y="599599"/>
                    </a:cubicBezTo>
                    <a:cubicBezTo>
                      <a:pt x="331946" y="597694"/>
                      <a:pt x="324326" y="611029"/>
                      <a:pt x="324326" y="625316"/>
                    </a:cubicBezTo>
                    <a:cubicBezTo>
                      <a:pt x="324326" y="626269"/>
                      <a:pt x="324326" y="626269"/>
                      <a:pt x="324326" y="627221"/>
                    </a:cubicBezTo>
                    <a:cubicBezTo>
                      <a:pt x="321469" y="629126"/>
                      <a:pt x="318611" y="631031"/>
                      <a:pt x="316706" y="633889"/>
                    </a:cubicBezTo>
                    <a:cubicBezTo>
                      <a:pt x="316706" y="633889"/>
                      <a:pt x="316706" y="633889"/>
                      <a:pt x="316706" y="633889"/>
                    </a:cubicBezTo>
                    <a:cubicBezTo>
                      <a:pt x="316706" y="632936"/>
                      <a:pt x="316706" y="631984"/>
                      <a:pt x="316706" y="631031"/>
                    </a:cubicBezTo>
                    <a:cubicBezTo>
                      <a:pt x="316706" y="625316"/>
                      <a:pt x="313849" y="620554"/>
                      <a:pt x="310039" y="616744"/>
                    </a:cubicBezTo>
                    <a:cubicBezTo>
                      <a:pt x="310039" y="609124"/>
                      <a:pt x="303371" y="602456"/>
                      <a:pt x="294799" y="602456"/>
                    </a:cubicBezTo>
                    <a:cubicBezTo>
                      <a:pt x="286226" y="602456"/>
                      <a:pt x="279559" y="609124"/>
                      <a:pt x="279559" y="617696"/>
                    </a:cubicBezTo>
                    <a:cubicBezTo>
                      <a:pt x="279559" y="619601"/>
                      <a:pt x="280511" y="621506"/>
                      <a:pt x="280511" y="623411"/>
                    </a:cubicBezTo>
                    <a:cubicBezTo>
                      <a:pt x="279559" y="625316"/>
                      <a:pt x="278606" y="628174"/>
                      <a:pt x="278606" y="631031"/>
                    </a:cubicBezTo>
                    <a:cubicBezTo>
                      <a:pt x="278606" y="641509"/>
                      <a:pt x="287179" y="650081"/>
                      <a:pt x="297656" y="650081"/>
                    </a:cubicBezTo>
                    <a:cubicBezTo>
                      <a:pt x="302419" y="650081"/>
                      <a:pt x="306229" y="648176"/>
                      <a:pt x="310039" y="645319"/>
                    </a:cubicBezTo>
                    <a:cubicBezTo>
                      <a:pt x="310039" y="645319"/>
                      <a:pt x="310039" y="645319"/>
                      <a:pt x="310991" y="645319"/>
                    </a:cubicBezTo>
                    <a:cubicBezTo>
                      <a:pt x="310039" y="648176"/>
                      <a:pt x="310039" y="650081"/>
                      <a:pt x="310039" y="652939"/>
                    </a:cubicBezTo>
                    <a:cubicBezTo>
                      <a:pt x="310039" y="657701"/>
                      <a:pt x="310991" y="662464"/>
                      <a:pt x="312896" y="666274"/>
                    </a:cubicBezTo>
                    <a:cubicBezTo>
                      <a:pt x="310991" y="666274"/>
                      <a:pt x="310039" y="665321"/>
                      <a:pt x="308134" y="665321"/>
                    </a:cubicBezTo>
                    <a:cubicBezTo>
                      <a:pt x="306229" y="665321"/>
                      <a:pt x="305276" y="665321"/>
                      <a:pt x="304324" y="666274"/>
                    </a:cubicBezTo>
                    <a:cubicBezTo>
                      <a:pt x="304324" y="665321"/>
                      <a:pt x="304324" y="665321"/>
                      <a:pt x="304324" y="664369"/>
                    </a:cubicBezTo>
                    <a:cubicBezTo>
                      <a:pt x="304324" y="656749"/>
                      <a:pt x="297656" y="650081"/>
                      <a:pt x="290036" y="650081"/>
                    </a:cubicBezTo>
                    <a:cubicBezTo>
                      <a:pt x="282416" y="650081"/>
                      <a:pt x="275749" y="656749"/>
                      <a:pt x="275749" y="664369"/>
                    </a:cubicBezTo>
                    <a:cubicBezTo>
                      <a:pt x="275749" y="671989"/>
                      <a:pt x="282416" y="678656"/>
                      <a:pt x="290036" y="678656"/>
                    </a:cubicBezTo>
                    <a:cubicBezTo>
                      <a:pt x="289084" y="680561"/>
                      <a:pt x="289084" y="683419"/>
                      <a:pt x="289084" y="685324"/>
                    </a:cubicBezTo>
                    <a:cubicBezTo>
                      <a:pt x="289084" y="696754"/>
                      <a:pt x="297656" y="705326"/>
                      <a:pt x="309086" y="705326"/>
                    </a:cubicBezTo>
                    <a:cubicBezTo>
                      <a:pt x="320516" y="705326"/>
                      <a:pt x="329089" y="696754"/>
                      <a:pt x="329089" y="685324"/>
                    </a:cubicBezTo>
                    <a:cubicBezTo>
                      <a:pt x="329089" y="683419"/>
                      <a:pt x="329089" y="681514"/>
                      <a:pt x="328136" y="679609"/>
                    </a:cubicBezTo>
                    <a:cubicBezTo>
                      <a:pt x="330994" y="680561"/>
                      <a:pt x="333851" y="681514"/>
                      <a:pt x="337661" y="682466"/>
                    </a:cubicBezTo>
                    <a:cubicBezTo>
                      <a:pt x="338614" y="685324"/>
                      <a:pt x="340519" y="688181"/>
                      <a:pt x="342424" y="690086"/>
                    </a:cubicBezTo>
                    <a:cubicBezTo>
                      <a:pt x="342424" y="692944"/>
                      <a:pt x="343376" y="695801"/>
                      <a:pt x="345281" y="698659"/>
                    </a:cubicBezTo>
                    <a:cubicBezTo>
                      <a:pt x="345281" y="698659"/>
                      <a:pt x="344329" y="698659"/>
                      <a:pt x="344329" y="698659"/>
                    </a:cubicBezTo>
                    <a:cubicBezTo>
                      <a:pt x="335756" y="698659"/>
                      <a:pt x="329089" y="705326"/>
                      <a:pt x="329089" y="713899"/>
                    </a:cubicBezTo>
                    <a:cubicBezTo>
                      <a:pt x="329089" y="714851"/>
                      <a:pt x="329089" y="714851"/>
                      <a:pt x="329089" y="715804"/>
                    </a:cubicBezTo>
                    <a:cubicBezTo>
                      <a:pt x="328136" y="716756"/>
                      <a:pt x="328136" y="717709"/>
                      <a:pt x="327184" y="719614"/>
                    </a:cubicBezTo>
                    <a:cubicBezTo>
                      <a:pt x="324326" y="716756"/>
                      <a:pt x="320516" y="715804"/>
                      <a:pt x="316706" y="715804"/>
                    </a:cubicBezTo>
                    <a:cubicBezTo>
                      <a:pt x="308134" y="715804"/>
                      <a:pt x="300514" y="722471"/>
                      <a:pt x="300514" y="731996"/>
                    </a:cubicBezTo>
                    <a:cubicBezTo>
                      <a:pt x="300514" y="740569"/>
                      <a:pt x="307181" y="748189"/>
                      <a:pt x="316706" y="748189"/>
                    </a:cubicBezTo>
                    <a:cubicBezTo>
                      <a:pt x="321469" y="748189"/>
                      <a:pt x="325279" y="746284"/>
                      <a:pt x="328136" y="743426"/>
                    </a:cubicBezTo>
                    <a:cubicBezTo>
                      <a:pt x="330041" y="746284"/>
                      <a:pt x="331946" y="748189"/>
                      <a:pt x="333851" y="750094"/>
                    </a:cubicBezTo>
                    <a:cubicBezTo>
                      <a:pt x="333851" y="750094"/>
                      <a:pt x="333851" y="750094"/>
                      <a:pt x="333851" y="750094"/>
                    </a:cubicBezTo>
                    <a:cubicBezTo>
                      <a:pt x="328136" y="750094"/>
                      <a:pt x="324326" y="754856"/>
                      <a:pt x="324326" y="759619"/>
                    </a:cubicBezTo>
                    <a:cubicBezTo>
                      <a:pt x="324326" y="764381"/>
                      <a:pt x="329089" y="769144"/>
                      <a:pt x="333851" y="769144"/>
                    </a:cubicBezTo>
                    <a:cubicBezTo>
                      <a:pt x="336709" y="769144"/>
                      <a:pt x="339566" y="767239"/>
                      <a:pt x="341471" y="765334"/>
                    </a:cubicBezTo>
                    <a:cubicBezTo>
                      <a:pt x="340519" y="768191"/>
                      <a:pt x="339566" y="772001"/>
                      <a:pt x="339566" y="774859"/>
                    </a:cubicBezTo>
                    <a:cubicBezTo>
                      <a:pt x="339566" y="779621"/>
                      <a:pt x="340519" y="783431"/>
                      <a:pt x="342424" y="788194"/>
                    </a:cubicBezTo>
                    <a:cubicBezTo>
                      <a:pt x="338614" y="789146"/>
                      <a:pt x="334804" y="792004"/>
                      <a:pt x="332899" y="794861"/>
                    </a:cubicBezTo>
                    <a:cubicBezTo>
                      <a:pt x="332899" y="793909"/>
                      <a:pt x="332899" y="793909"/>
                      <a:pt x="332899" y="792956"/>
                    </a:cubicBezTo>
                    <a:cubicBezTo>
                      <a:pt x="332899" y="782479"/>
                      <a:pt x="324326" y="772954"/>
                      <a:pt x="313849" y="772954"/>
                    </a:cubicBezTo>
                    <a:cubicBezTo>
                      <a:pt x="312896" y="772001"/>
                      <a:pt x="310991" y="772001"/>
                      <a:pt x="309086" y="772001"/>
                    </a:cubicBezTo>
                    <a:cubicBezTo>
                      <a:pt x="305276" y="772001"/>
                      <a:pt x="301466" y="774859"/>
                      <a:pt x="299561" y="777716"/>
                    </a:cubicBezTo>
                    <a:cubicBezTo>
                      <a:pt x="294799" y="781526"/>
                      <a:pt x="292894" y="787241"/>
                      <a:pt x="292894" y="792956"/>
                    </a:cubicBezTo>
                    <a:cubicBezTo>
                      <a:pt x="292894" y="804386"/>
                      <a:pt x="302419" y="812959"/>
                      <a:pt x="312896" y="812959"/>
                    </a:cubicBezTo>
                    <a:cubicBezTo>
                      <a:pt x="318611" y="812959"/>
                      <a:pt x="324326" y="810101"/>
                      <a:pt x="328136" y="806291"/>
                    </a:cubicBezTo>
                    <a:cubicBezTo>
                      <a:pt x="328136" y="807244"/>
                      <a:pt x="328136" y="807244"/>
                      <a:pt x="328136" y="808196"/>
                    </a:cubicBezTo>
                    <a:cubicBezTo>
                      <a:pt x="328136" y="812959"/>
                      <a:pt x="330041" y="816769"/>
                      <a:pt x="331946" y="820579"/>
                    </a:cubicBezTo>
                    <a:cubicBezTo>
                      <a:pt x="321469" y="824389"/>
                      <a:pt x="314801" y="832961"/>
                      <a:pt x="314801" y="844391"/>
                    </a:cubicBezTo>
                    <a:cubicBezTo>
                      <a:pt x="314801" y="858679"/>
                      <a:pt x="326231" y="870109"/>
                      <a:pt x="340519" y="870109"/>
                    </a:cubicBezTo>
                    <a:cubicBezTo>
                      <a:pt x="344329" y="870109"/>
                      <a:pt x="348139" y="869156"/>
                      <a:pt x="351949" y="867251"/>
                    </a:cubicBezTo>
                    <a:cubicBezTo>
                      <a:pt x="352901" y="867251"/>
                      <a:pt x="352901" y="867251"/>
                      <a:pt x="353854" y="867251"/>
                    </a:cubicBezTo>
                    <a:cubicBezTo>
                      <a:pt x="353854" y="868204"/>
                      <a:pt x="352901" y="870109"/>
                      <a:pt x="352901" y="871061"/>
                    </a:cubicBezTo>
                    <a:cubicBezTo>
                      <a:pt x="352901" y="878681"/>
                      <a:pt x="359569" y="885349"/>
                      <a:pt x="367189" y="885349"/>
                    </a:cubicBezTo>
                    <a:cubicBezTo>
                      <a:pt x="367189" y="885349"/>
                      <a:pt x="368141" y="885349"/>
                      <a:pt x="368141" y="885349"/>
                    </a:cubicBezTo>
                    <a:cubicBezTo>
                      <a:pt x="369094" y="887254"/>
                      <a:pt x="370046" y="888206"/>
                      <a:pt x="371951" y="890111"/>
                    </a:cubicBezTo>
                    <a:cubicBezTo>
                      <a:pt x="371951" y="891064"/>
                      <a:pt x="372904" y="891064"/>
                      <a:pt x="372904" y="892016"/>
                    </a:cubicBezTo>
                    <a:cubicBezTo>
                      <a:pt x="370999" y="891064"/>
                      <a:pt x="369094" y="890111"/>
                      <a:pt x="367189" y="890111"/>
                    </a:cubicBezTo>
                    <a:cubicBezTo>
                      <a:pt x="362426" y="890111"/>
                      <a:pt x="358616" y="893921"/>
                      <a:pt x="358616" y="898684"/>
                    </a:cubicBezTo>
                    <a:cubicBezTo>
                      <a:pt x="358616" y="903446"/>
                      <a:pt x="362426" y="907256"/>
                      <a:pt x="367189" y="907256"/>
                    </a:cubicBezTo>
                    <a:cubicBezTo>
                      <a:pt x="371951" y="907256"/>
                      <a:pt x="375761" y="903446"/>
                      <a:pt x="375761" y="898684"/>
                    </a:cubicBezTo>
                    <a:cubicBezTo>
                      <a:pt x="375761" y="896779"/>
                      <a:pt x="374809" y="894874"/>
                      <a:pt x="373856" y="892969"/>
                    </a:cubicBezTo>
                    <a:cubicBezTo>
                      <a:pt x="376714" y="896779"/>
                      <a:pt x="381476" y="899636"/>
                      <a:pt x="386239" y="899636"/>
                    </a:cubicBezTo>
                    <a:cubicBezTo>
                      <a:pt x="386239" y="899636"/>
                      <a:pt x="386239" y="899636"/>
                      <a:pt x="386239" y="899636"/>
                    </a:cubicBezTo>
                    <a:cubicBezTo>
                      <a:pt x="391954" y="912019"/>
                      <a:pt x="404336" y="920591"/>
                      <a:pt x="417671" y="920591"/>
                    </a:cubicBezTo>
                    <a:cubicBezTo>
                      <a:pt x="417671" y="920591"/>
                      <a:pt x="417671" y="920591"/>
                      <a:pt x="417671" y="920591"/>
                    </a:cubicBezTo>
                    <a:cubicBezTo>
                      <a:pt x="418624" y="923449"/>
                      <a:pt x="421481" y="926306"/>
                      <a:pt x="425291" y="926306"/>
                    </a:cubicBezTo>
                    <a:cubicBezTo>
                      <a:pt x="428149" y="926306"/>
                      <a:pt x="430054" y="925354"/>
                      <a:pt x="431006" y="923449"/>
                    </a:cubicBezTo>
                    <a:cubicBezTo>
                      <a:pt x="432911" y="924401"/>
                      <a:pt x="433864" y="924401"/>
                      <a:pt x="435769" y="924401"/>
                    </a:cubicBezTo>
                    <a:cubicBezTo>
                      <a:pt x="440531" y="924401"/>
                      <a:pt x="445294" y="921544"/>
                      <a:pt x="447199" y="916781"/>
                    </a:cubicBezTo>
                    <a:cubicBezTo>
                      <a:pt x="448151" y="916781"/>
                      <a:pt x="449104" y="917734"/>
                      <a:pt x="450056" y="917734"/>
                    </a:cubicBezTo>
                    <a:cubicBezTo>
                      <a:pt x="450056" y="918686"/>
                      <a:pt x="449104" y="920591"/>
                      <a:pt x="449104" y="922496"/>
                    </a:cubicBezTo>
                    <a:cubicBezTo>
                      <a:pt x="449104" y="928211"/>
                      <a:pt x="451009" y="932974"/>
                      <a:pt x="454819" y="935831"/>
                    </a:cubicBezTo>
                    <a:cubicBezTo>
                      <a:pt x="454819" y="935831"/>
                      <a:pt x="454819" y="935831"/>
                      <a:pt x="454819" y="935831"/>
                    </a:cubicBezTo>
                    <a:cubicBezTo>
                      <a:pt x="452914" y="935831"/>
                      <a:pt x="451009" y="935831"/>
                      <a:pt x="449104" y="936784"/>
                    </a:cubicBezTo>
                    <a:cubicBezTo>
                      <a:pt x="446246" y="935831"/>
                      <a:pt x="442436" y="934879"/>
                      <a:pt x="438626" y="934879"/>
                    </a:cubicBezTo>
                    <a:cubicBezTo>
                      <a:pt x="430054" y="934879"/>
                      <a:pt x="422434" y="937736"/>
                      <a:pt x="415766" y="942499"/>
                    </a:cubicBezTo>
                    <a:cubicBezTo>
                      <a:pt x="415766" y="941546"/>
                      <a:pt x="415766" y="940594"/>
                      <a:pt x="415766" y="939641"/>
                    </a:cubicBezTo>
                    <a:cubicBezTo>
                      <a:pt x="415766" y="932021"/>
                      <a:pt x="410051" y="925354"/>
                      <a:pt x="401479" y="925354"/>
                    </a:cubicBezTo>
                    <a:cubicBezTo>
                      <a:pt x="393859" y="925354"/>
                      <a:pt x="387191" y="932021"/>
                      <a:pt x="387191" y="939641"/>
                    </a:cubicBezTo>
                    <a:cubicBezTo>
                      <a:pt x="387191" y="947261"/>
                      <a:pt x="393859" y="953929"/>
                      <a:pt x="401479" y="953929"/>
                    </a:cubicBezTo>
                    <a:cubicBezTo>
                      <a:pt x="402431" y="953929"/>
                      <a:pt x="403384" y="953929"/>
                      <a:pt x="405289" y="953929"/>
                    </a:cubicBezTo>
                    <a:cubicBezTo>
                      <a:pt x="401479" y="959644"/>
                      <a:pt x="399574" y="966311"/>
                      <a:pt x="399574" y="973931"/>
                    </a:cubicBezTo>
                    <a:cubicBezTo>
                      <a:pt x="397669" y="973931"/>
                      <a:pt x="395764" y="972979"/>
                      <a:pt x="392906" y="972979"/>
                    </a:cubicBezTo>
                    <a:cubicBezTo>
                      <a:pt x="374809" y="972979"/>
                      <a:pt x="359569" y="988219"/>
                      <a:pt x="359569" y="1006316"/>
                    </a:cubicBezTo>
                    <a:cubicBezTo>
                      <a:pt x="359569" y="1024414"/>
                      <a:pt x="374809" y="1039654"/>
                      <a:pt x="392906" y="1039654"/>
                    </a:cubicBezTo>
                    <a:cubicBezTo>
                      <a:pt x="396716" y="1039654"/>
                      <a:pt x="400526" y="1038701"/>
                      <a:pt x="404336" y="1037749"/>
                    </a:cubicBezTo>
                    <a:cubicBezTo>
                      <a:pt x="405289" y="1038701"/>
                      <a:pt x="407194" y="1038701"/>
                      <a:pt x="409099" y="1038701"/>
                    </a:cubicBezTo>
                    <a:cubicBezTo>
                      <a:pt x="414814" y="1038701"/>
                      <a:pt x="418624" y="1034891"/>
                      <a:pt x="418624" y="1029176"/>
                    </a:cubicBezTo>
                    <a:cubicBezTo>
                      <a:pt x="418624" y="1029176"/>
                      <a:pt x="418624" y="1028224"/>
                      <a:pt x="418624" y="1028224"/>
                    </a:cubicBezTo>
                    <a:cubicBezTo>
                      <a:pt x="419576" y="1027271"/>
                      <a:pt x="420529" y="1025366"/>
                      <a:pt x="421481" y="1024414"/>
                    </a:cubicBezTo>
                    <a:cubicBezTo>
                      <a:pt x="422434" y="1025366"/>
                      <a:pt x="423386" y="1025366"/>
                      <a:pt x="424339" y="1026319"/>
                    </a:cubicBezTo>
                    <a:cubicBezTo>
                      <a:pt x="426244" y="1030129"/>
                      <a:pt x="429101" y="1033939"/>
                      <a:pt x="432911" y="1035844"/>
                    </a:cubicBezTo>
                    <a:cubicBezTo>
                      <a:pt x="431006" y="1036796"/>
                      <a:pt x="429101" y="1039654"/>
                      <a:pt x="429101" y="1042511"/>
                    </a:cubicBezTo>
                    <a:cubicBezTo>
                      <a:pt x="429101" y="1046321"/>
                      <a:pt x="431959" y="1050131"/>
                      <a:pt x="436721" y="1050131"/>
                    </a:cubicBezTo>
                    <a:cubicBezTo>
                      <a:pt x="440531" y="1050131"/>
                      <a:pt x="444341" y="1047274"/>
                      <a:pt x="444341" y="1042511"/>
                    </a:cubicBezTo>
                    <a:cubicBezTo>
                      <a:pt x="444341" y="1040606"/>
                      <a:pt x="443389" y="1038701"/>
                      <a:pt x="442436" y="1037749"/>
                    </a:cubicBezTo>
                    <a:cubicBezTo>
                      <a:pt x="444341" y="1037749"/>
                      <a:pt x="446246" y="1036796"/>
                      <a:pt x="447199" y="1036796"/>
                    </a:cubicBezTo>
                    <a:cubicBezTo>
                      <a:pt x="449104" y="1038701"/>
                      <a:pt x="451009" y="1040606"/>
                      <a:pt x="452914" y="1042511"/>
                    </a:cubicBezTo>
                    <a:cubicBezTo>
                      <a:pt x="451009" y="1044416"/>
                      <a:pt x="449104" y="1046321"/>
                      <a:pt x="447199" y="1048226"/>
                    </a:cubicBezTo>
                    <a:cubicBezTo>
                      <a:pt x="447199" y="1048226"/>
                      <a:pt x="447199" y="1048226"/>
                      <a:pt x="447199" y="1048226"/>
                    </a:cubicBezTo>
                    <a:cubicBezTo>
                      <a:pt x="434816" y="1048226"/>
                      <a:pt x="424339" y="1058704"/>
                      <a:pt x="424339" y="1071086"/>
                    </a:cubicBezTo>
                    <a:cubicBezTo>
                      <a:pt x="424339" y="1072991"/>
                      <a:pt x="424339" y="1074896"/>
                      <a:pt x="425291" y="1076801"/>
                    </a:cubicBezTo>
                    <a:cubicBezTo>
                      <a:pt x="421481" y="1073944"/>
                      <a:pt x="416719" y="1072991"/>
                      <a:pt x="412909" y="1072991"/>
                    </a:cubicBezTo>
                    <a:cubicBezTo>
                      <a:pt x="399574" y="1072991"/>
                      <a:pt x="389096" y="1083469"/>
                      <a:pt x="389096" y="1096804"/>
                    </a:cubicBezTo>
                    <a:cubicBezTo>
                      <a:pt x="389096" y="1097756"/>
                      <a:pt x="389096" y="1097756"/>
                      <a:pt x="389096" y="1098709"/>
                    </a:cubicBezTo>
                    <a:cubicBezTo>
                      <a:pt x="389096" y="1098709"/>
                      <a:pt x="389096" y="1098709"/>
                      <a:pt x="389096" y="1098709"/>
                    </a:cubicBezTo>
                    <a:cubicBezTo>
                      <a:pt x="387191" y="1093946"/>
                      <a:pt x="382429" y="1091089"/>
                      <a:pt x="377666" y="1091089"/>
                    </a:cubicBezTo>
                    <a:cubicBezTo>
                      <a:pt x="375761" y="1091089"/>
                      <a:pt x="373856" y="1092041"/>
                      <a:pt x="371951" y="1092994"/>
                    </a:cubicBezTo>
                    <a:cubicBezTo>
                      <a:pt x="373856" y="1090136"/>
                      <a:pt x="374809" y="1086326"/>
                      <a:pt x="374809" y="1082516"/>
                    </a:cubicBezTo>
                    <a:cubicBezTo>
                      <a:pt x="374809" y="1078706"/>
                      <a:pt x="373856" y="1074896"/>
                      <a:pt x="371951" y="1072039"/>
                    </a:cubicBezTo>
                    <a:cubicBezTo>
                      <a:pt x="372904" y="1072039"/>
                      <a:pt x="374809" y="1072991"/>
                      <a:pt x="375761" y="1072991"/>
                    </a:cubicBezTo>
                    <a:cubicBezTo>
                      <a:pt x="382429" y="1072991"/>
                      <a:pt x="388144" y="1067276"/>
                      <a:pt x="388144" y="1060609"/>
                    </a:cubicBezTo>
                    <a:cubicBezTo>
                      <a:pt x="388144" y="1060609"/>
                      <a:pt x="388144" y="1060609"/>
                      <a:pt x="388144" y="1060609"/>
                    </a:cubicBezTo>
                    <a:cubicBezTo>
                      <a:pt x="389096" y="1058704"/>
                      <a:pt x="390049" y="1056799"/>
                      <a:pt x="390049" y="1054894"/>
                    </a:cubicBezTo>
                    <a:cubicBezTo>
                      <a:pt x="390049" y="1050131"/>
                      <a:pt x="386239" y="1046321"/>
                      <a:pt x="381476" y="1046321"/>
                    </a:cubicBezTo>
                    <a:cubicBezTo>
                      <a:pt x="379571" y="1046321"/>
                      <a:pt x="377666" y="1047274"/>
                      <a:pt x="375761" y="1048226"/>
                    </a:cubicBezTo>
                    <a:cubicBezTo>
                      <a:pt x="375761" y="1048226"/>
                      <a:pt x="375761" y="1048226"/>
                      <a:pt x="374809" y="1048226"/>
                    </a:cubicBezTo>
                    <a:cubicBezTo>
                      <a:pt x="368141" y="1048226"/>
                      <a:pt x="362426" y="1053941"/>
                      <a:pt x="362426" y="1060609"/>
                    </a:cubicBezTo>
                    <a:cubicBezTo>
                      <a:pt x="362426" y="1062514"/>
                      <a:pt x="362426" y="1063466"/>
                      <a:pt x="363379" y="1065371"/>
                    </a:cubicBezTo>
                    <a:cubicBezTo>
                      <a:pt x="360521" y="1063466"/>
                      <a:pt x="357664" y="1062514"/>
                      <a:pt x="353854" y="1062514"/>
                    </a:cubicBezTo>
                    <a:cubicBezTo>
                      <a:pt x="342424" y="1062514"/>
                      <a:pt x="333851" y="1072039"/>
                      <a:pt x="333851" y="1082516"/>
                    </a:cubicBezTo>
                    <a:cubicBezTo>
                      <a:pt x="333851" y="1087279"/>
                      <a:pt x="335756" y="1091089"/>
                      <a:pt x="338614" y="1094899"/>
                    </a:cubicBezTo>
                    <a:cubicBezTo>
                      <a:pt x="337661" y="1094899"/>
                      <a:pt x="337661" y="1094899"/>
                      <a:pt x="336709" y="1094899"/>
                    </a:cubicBezTo>
                    <a:cubicBezTo>
                      <a:pt x="330994" y="1094899"/>
                      <a:pt x="327184" y="1099661"/>
                      <a:pt x="327184" y="1104424"/>
                    </a:cubicBezTo>
                    <a:cubicBezTo>
                      <a:pt x="327184" y="1105376"/>
                      <a:pt x="327184" y="1106329"/>
                      <a:pt x="328136" y="1107281"/>
                    </a:cubicBezTo>
                    <a:cubicBezTo>
                      <a:pt x="327184" y="1107281"/>
                      <a:pt x="325279" y="1107281"/>
                      <a:pt x="324326" y="1108234"/>
                    </a:cubicBezTo>
                    <a:cubicBezTo>
                      <a:pt x="324326" y="1108234"/>
                      <a:pt x="324326" y="1108234"/>
                      <a:pt x="324326" y="1108234"/>
                    </a:cubicBezTo>
                    <a:cubicBezTo>
                      <a:pt x="324326" y="1108234"/>
                      <a:pt x="323374" y="1108234"/>
                      <a:pt x="323374" y="1108234"/>
                    </a:cubicBezTo>
                    <a:cubicBezTo>
                      <a:pt x="325279" y="1106329"/>
                      <a:pt x="326231" y="1103471"/>
                      <a:pt x="326231" y="1100614"/>
                    </a:cubicBezTo>
                    <a:cubicBezTo>
                      <a:pt x="326231" y="1092994"/>
                      <a:pt x="319564" y="1086326"/>
                      <a:pt x="311944" y="1086326"/>
                    </a:cubicBezTo>
                    <a:cubicBezTo>
                      <a:pt x="310039" y="1086326"/>
                      <a:pt x="308134" y="1086326"/>
                      <a:pt x="307181" y="1087279"/>
                    </a:cubicBezTo>
                    <a:cubicBezTo>
                      <a:pt x="309086" y="1085374"/>
                      <a:pt x="310039" y="1083469"/>
                      <a:pt x="310991" y="1080611"/>
                    </a:cubicBezTo>
                    <a:cubicBezTo>
                      <a:pt x="311944" y="1080611"/>
                      <a:pt x="311944" y="1080611"/>
                      <a:pt x="312896" y="1080611"/>
                    </a:cubicBezTo>
                    <a:cubicBezTo>
                      <a:pt x="330041" y="1080611"/>
                      <a:pt x="343376" y="1067276"/>
                      <a:pt x="343376" y="1050131"/>
                    </a:cubicBezTo>
                    <a:cubicBezTo>
                      <a:pt x="343376" y="1048226"/>
                      <a:pt x="343376" y="1046321"/>
                      <a:pt x="342424" y="1044416"/>
                    </a:cubicBezTo>
                    <a:cubicBezTo>
                      <a:pt x="347186" y="1042511"/>
                      <a:pt x="350996" y="1037749"/>
                      <a:pt x="350996" y="1032034"/>
                    </a:cubicBezTo>
                    <a:cubicBezTo>
                      <a:pt x="350996" y="1024414"/>
                      <a:pt x="345281" y="1018699"/>
                      <a:pt x="337661" y="1018699"/>
                    </a:cubicBezTo>
                    <a:cubicBezTo>
                      <a:pt x="333851" y="1018699"/>
                      <a:pt x="330041" y="1020604"/>
                      <a:pt x="327184" y="1023461"/>
                    </a:cubicBezTo>
                    <a:cubicBezTo>
                      <a:pt x="325279" y="1022509"/>
                      <a:pt x="324326" y="1021556"/>
                      <a:pt x="322421" y="1021556"/>
                    </a:cubicBezTo>
                    <a:cubicBezTo>
                      <a:pt x="322421" y="1021556"/>
                      <a:pt x="322421" y="1020604"/>
                      <a:pt x="322421" y="1020604"/>
                    </a:cubicBezTo>
                    <a:cubicBezTo>
                      <a:pt x="327184" y="1016794"/>
                      <a:pt x="330041" y="1012031"/>
                      <a:pt x="330041" y="1005364"/>
                    </a:cubicBezTo>
                    <a:cubicBezTo>
                      <a:pt x="330041" y="995839"/>
                      <a:pt x="322421" y="988219"/>
                      <a:pt x="312896" y="987266"/>
                    </a:cubicBezTo>
                    <a:cubicBezTo>
                      <a:pt x="314801" y="985361"/>
                      <a:pt x="316706" y="982504"/>
                      <a:pt x="317659" y="978694"/>
                    </a:cubicBezTo>
                    <a:cubicBezTo>
                      <a:pt x="321469" y="976789"/>
                      <a:pt x="325279" y="973931"/>
                      <a:pt x="328136" y="971074"/>
                    </a:cubicBezTo>
                    <a:cubicBezTo>
                      <a:pt x="332899" y="974884"/>
                      <a:pt x="338614" y="976789"/>
                      <a:pt x="345281" y="976789"/>
                    </a:cubicBezTo>
                    <a:cubicBezTo>
                      <a:pt x="361474" y="976789"/>
                      <a:pt x="374809" y="963454"/>
                      <a:pt x="374809" y="947261"/>
                    </a:cubicBezTo>
                    <a:cubicBezTo>
                      <a:pt x="374809" y="932974"/>
                      <a:pt x="364331" y="921544"/>
                      <a:pt x="350996" y="918686"/>
                    </a:cubicBezTo>
                    <a:cubicBezTo>
                      <a:pt x="350996" y="917734"/>
                      <a:pt x="350044" y="916781"/>
                      <a:pt x="350044" y="915829"/>
                    </a:cubicBezTo>
                    <a:cubicBezTo>
                      <a:pt x="354806" y="913924"/>
                      <a:pt x="357664" y="909161"/>
                      <a:pt x="357664" y="903446"/>
                    </a:cubicBezTo>
                    <a:cubicBezTo>
                      <a:pt x="357664" y="895826"/>
                      <a:pt x="351949" y="890111"/>
                      <a:pt x="344329" y="890111"/>
                    </a:cubicBezTo>
                    <a:cubicBezTo>
                      <a:pt x="336709" y="890111"/>
                      <a:pt x="330994" y="895826"/>
                      <a:pt x="330994" y="903446"/>
                    </a:cubicBezTo>
                    <a:cubicBezTo>
                      <a:pt x="330994" y="905351"/>
                      <a:pt x="330994" y="906304"/>
                      <a:pt x="331946" y="908209"/>
                    </a:cubicBezTo>
                    <a:cubicBezTo>
                      <a:pt x="327184" y="910114"/>
                      <a:pt x="324326" y="913924"/>
                      <a:pt x="323374" y="918686"/>
                    </a:cubicBezTo>
                    <a:cubicBezTo>
                      <a:pt x="317659" y="914876"/>
                      <a:pt x="310991" y="912971"/>
                      <a:pt x="304324" y="912971"/>
                    </a:cubicBezTo>
                    <a:cubicBezTo>
                      <a:pt x="295751" y="912971"/>
                      <a:pt x="287179" y="916781"/>
                      <a:pt x="281464" y="921544"/>
                    </a:cubicBezTo>
                    <a:cubicBezTo>
                      <a:pt x="281464" y="921544"/>
                      <a:pt x="281464" y="920591"/>
                      <a:pt x="281464" y="920591"/>
                    </a:cubicBezTo>
                    <a:cubicBezTo>
                      <a:pt x="281464" y="907256"/>
                      <a:pt x="270034" y="895826"/>
                      <a:pt x="256699" y="895826"/>
                    </a:cubicBezTo>
                    <a:cubicBezTo>
                      <a:pt x="254794" y="895826"/>
                      <a:pt x="252889" y="895826"/>
                      <a:pt x="251936" y="896779"/>
                    </a:cubicBezTo>
                    <a:cubicBezTo>
                      <a:pt x="250984" y="886301"/>
                      <a:pt x="244316" y="877729"/>
                      <a:pt x="234791" y="872966"/>
                    </a:cubicBezTo>
                    <a:cubicBezTo>
                      <a:pt x="234791" y="872966"/>
                      <a:pt x="234791" y="872966"/>
                      <a:pt x="234791" y="872966"/>
                    </a:cubicBezTo>
                    <a:cubicBezTo>
                      <a:pt x="244316" y="872966"/>
                      <a:pt x="250984" y="865346"/>
                      <a:pt x="250984" y="856774"/>
                    </a:cubicBezTo>
                    <a:cubicBezTo>
                      <a:pt x="250984" y="847249"/>
                      <a:pt x="243364" y="840581"/>
                      <a:pt x="234791" y="840581"/>
                    </a:cubicBezTo>
                    <a:cubicBezTo>
                      <a:pt x="226219" y="840581"/>
                      <a:pt x="218599" y="848201"/>
                      <a:pt x="218599" y="856774"/>
                    </a:cubicBezTo>
                    <a:cubicBezTo>
                      <a:pt x="218599" y="862489"/>
                      <a:pt x="222409" y="868204"/>
                      <a:pt x="227171" y="871061"/>
                    </a:cubicBezTo>
                    <a:cubicBezTo>
                      <a:pt x="226219" y="871061"/>
                      <a:pt x="224314" y="871061"/>
                      <a:pt x="223361" y="871061"/>
                    </a:cubicBezTo>
                    <a:cubicBezTo>
                      <a:pt x="221456" y="871061"/>
                      <a:pt x="218599" y="871061"/>
                      <a:pt x="216694" y="872014"/>
                    </a:cubicBezTo>
                    <a:cubicBezTo>
                      <a:pt x="215741" y="871061"/>
                      <a:pt x="214789" y="871061"/>
                      <a:pt x="213836" y="870109"/>
                    </a:cubicBezTo>
                    <a:cubicBezTo>
                      <a:pt x="211931" y="864394"/>
                      <a:pt x="207169" y="859631"/>
                      <a:pt x="200501" y="859631"/>
                    </a:cubicBezTo>
                    <a:cubicBezTo>
                      <a:pt x="199549" y="859631"/>
                      <a:pt x="197644" y="859631"/>
                      <a:pt x="196691" y="860584"/>
                    </a:cubicBezTo>
                    <a:cubicBezTo>
                      <a:pt x="196691" y="860584"/>
                      <a:pt x="196691" y="860584"/>
                      <a:pt x="196691" y="860584"/>
                    </a:cubicBezTo>
                    <a:cubicBezTo>
                      <a:pt x="196691" y="856774"/>
                      <a:pt x="195739" y="852964"/>
                      <a:pt x="194786" y="849154"/>
                    </a:cubicBezTo>
                    <a:cubicBezTo>
                      <a:pt x="196691" y="847249"/>
                      <a:pt x="197644" y="845344"/>
                      <a:pt x="198596" y="842486"/>
                    </a:cubicBezTo>
                    <a:cubicBezTo>
                      <a:pt x="201454" y="838676"/>
                      <a:pt x="203359" y="832961"/>
                      <a:pt x="203359" y="827246"/>
                    </a:cubicBezTo>
                    <a:cubicBezTo>
                      <a:pt x="203359" y="823436"/>
                      <a:pt x="202406" y="819626"/>
                      <a:pt x="200501" y="815816"/>
                    </a:cubicBezTo>
                    <a:cubicBezTo>
                      <a:pt x="202406" y="815816"/>
                      <a:pt x="203359" y="816769"/>
                      <a:pt x="205264" y="816769"/>
                    </a:cubicBezTo>
                    <a:cubicBezTo>
                      <a:pt x="216694" y="816769"/>
                      <a:pt x="226219" y="807244"/>
                      <a:pt x="226219" y="795814"/>
                    </a:cubicBezTo>
                    <a:cubicBezTo>
                      <a:pt x="226219" y="784384"/>
                      <a:pt x="216694" y="774859"/>
                      <a:pt x="205264" y="774859"/>
                    </a:cubicBezTo>
                    <a:cubicBezTo>
                      <a:pt x="193834" y="774859"/>
                      <a:pt x="184309" y="784384"/>
                      <a:pt x="184309" y="795814"/>
                    </a:cubicBezTo>
                    <a:cubicBezTo>
                      <a:pt x="184309" y="798671"/>
                      <a:pt x="185261" y="801529"/>
                      <a:pt x="186214" y="803434"/>
                    </a:cubicBezTo>
                    <a:cubicBezTo>
                      <a:pt x="183356" y="802481"/>
                      <a:pt x="180499" y="802481"/>
                      <a:pt x="177641" y="802481"/>
                    </a:cubicBezTo>
                    <a:cubicBezTo>
                      <a:pt x="170021" y="802481"/>
                      <a:pt x="162401" y="806291"/>
                      <a:pt x="157639" y="812006"/>
                    </a:cubicBezTo>
                    <a:cubicBezTo>
                      <a:pt x="153829" y="806291"/>
                      <a:pt x="147161" y="802481"/>
                      <a:pt x="140494" y="802481"/>
                    </a:cubicBezTo>
                    <a:cubicBezTo>
                      <a:pt x="136684" y="802481"/>
                      <a:pt x="133826" y="803434"/>
                      <a:pt x="130969" y="804386"/>
                    </a:cubicBezTo>
                    <a:cubicBezTo>
                      <a:pt x="130016" y="798671"/>
                      <a:pt x="126206" y="794861"/>
                      <a:pt x="120491" y="794861"/>
                    </a:cubicBezTo>
                    <a:cubicBezTo>
                      <a:pt x="116681" y="794861"/>
                      <a:pt x="112871" y="797719"/>
                      <a:pt x="110966" y="800576"/>
                    </a:cubicBezTo>
                    <a:cubicBezTo>
                      <a:pt x="103346" y="803434"/>
                      <a:pt x="98584" y="811054"/>
                      <a:pt x="98584" y="818674"/>
                    </a:cubicBezTo>
                    <a:cubicBezTo>
                      <a:pt x="98584" y="829151"/>
                      <a:pt x="107156" y="838676"/>
                      <a:pt x="118586" y="838676"/>
                    </a:cubicBezTo>
                    <a:cubicBezTo>
                      <a:pt x="121444" y="838676"/>
                      <a:pt x="124301" y="837724"/>
                      <a:pt x="126206" y="836771"/>
                    </a:cubicBezTo>
                    <a:cubicBezTo>
                      <a:pt x="130016" y="840581"/>
                      <a:pt x="134779" y="842486"/>
                      <a:pt x="140494" y="842486"/>
                    </a:cubicBezTo>
                    <a:cubicBezTo>
                      <a:pt x="143351" y="842486"/>
                      <a:pt x="146209" y="841534"/>
                      <a:pt x="148114" y="840581"/>
                    </a:cubicBezTo>
                    <a:cubicBezTo>
                      <a:pt x="144304" y="845344"/>
                      <a:pt x="141446" y="852011"/>
                      <a:pt x="141446" y="858679"/>
                    </a:cubicBezTo>
                    <a:cubicBezTo>
                      <a:pt x="141446" y="871061"/>
                      <a:pt x="150019" y="881539"/>
                      <a:pt x="161449" y="885349"/>
                    </a:cubicBezTo>
                    <a:cubicBezTo>
                      <a:pt x="156686" y="892969"/>
                      <a:pt x="153829" y="901541"/>
                      <a:pt x="153829" y="911066"/>
                    </a:cubicBezTo>
                    <a:cubicBezTo>
                      <a:pt x="153829" y="922496"/>
                      <a:pt x="158591" y="932974"/>
                      <a:pt x="165259" y="940594"/>
                    </a:cubicBezTo>
                    <a:cubicBezTo>
                      <a:pt x="159544" y="942499"/>
                      <a:pt x="154781" y="948214"/>
                      <a:pt x="154781" y="955834"/>
                    </a:cubicBezTo>
                    <a:cubicBezTo>
                      <a:pt x="154781" y="964406"/>
                      <a:pt x="161449" y="972026"/>
                      <a:pt x="170974" y="972026"/>
                    </a:cubicBezTo>
                    <a:cubicBezTo>
                      <a:pt x="179546" y="972026"/>
                      <a:pt x="186214" y="965359"/>
                      <a:pt x="187166" y="957739"/>
                    </a:cubicBezTo>
                    <a:cubicBezTo>
                      <a:pt x="187166" y="957739"/>
                      <a:pt x="188119" y="957739"/>
                      <a:pt x="188119" y="957739"/>
                    </a:cubicBezTo>
                    <a:cubicBezTo>
                      <a:pt x="190024" y="957739"/>
                      <a:pt x="191929" y="956786"/>
                      <a:pt x="192881" y="955834"/>
                    </a:cubicBezTo>
                    <a:cubicBezTo>
                      <a:pt x="194786" y="955834"/>
                      <a:pt x="196691" y="956786"/>
                      <a:pt x="199549" y="956786"/>
                    </a:cubicBezTo>
                    <a:cubicBezTo>
                      <a:pt x="204311" y="956786"/>
                      <a:pt x="208121" y="955834"/>
                      <a:pt x="211931" y="954881"/>
                    </a:cubicBezTo>
                    <a:cubicBezTo>
                      <a:pt x="211931" y="954881"/>
                      <a:pt x="211931" y="954881"/>
                      <a:pt x="211931" y="954881"/>
                    </a:cubicBezTo>
                    <a:cubicBezTo>
                      <a:pt x="218599" y="954881"/>
                      <a:pt x="224314" y="952024"/>
                      <a:pt x="228124" y="948214"/>
                    </a:cubicBezTo>
                    <a:cubicBezTo>
                      <a:pt x="230029" y="952024"/>
                      <a:pt x="233839" y="954881"/>
                      <a:pt x="237649" y="954881"/>
                    </a:cubicBezTo>
                    <a:cubicBezTo>
                      <a:pt x="239554" y="954881"/>
                      <a:pt x="240506" y="954881"/>
                      <a:pt x="241459" y="953929"/>
                    </a:cubicBezTo>
                    <a:cubicBezTo>
                      <a:pt x="245269" y="956786"/>
                      <a:pt x="249079" y="957739"/>
                      <a:pt x="254794" y="957739"/>
                    </a:cubicBezTo>
                    <a:cubicBezTo>
                      <a:pt x="259556" y="957739"/>
                      <a:pt x="263366" y="956786"/>
                      <a:pt x="267176" y="953929"/>
                    </a:cubicBezTo>
                    <a:cubicBezTo>
                      <a:pt x="268129" y="953929"/>
                      <a:pt x="268129" y="953929"/>
                      <a:pt x="269081" y="953929"/>
                    </a:cubicBezTo>
                    <a:cubicBezTo>
                      <a:pt x="270034" y="953929"/>
                      <a:pt x="271939" y="953929"/>
                      <a:pt x="272891" y="952976"/>
                    </a:cubicBezTo>
                    <a:cubicBezTo>
                      <a:pt x="273844" y="959644"/>
                      <a:pt x="276701" y="965359"/>
                      <a:pt x="281464" y="970121"/>
                    </a:cubicBezTo>
                    <a:cubicBezTo>
                      <a:pt x="280511" y="970121"/>
                      <a:pt x="278606" y="970121"/>
                      <a:pt x="277654" y="970121"/>
                    </a:cubicBezTo>
                    <a:cubicBezTo>
                      <a:pt x="276701" y="970121"/>
                      <a:pt x="276701" y="970121"/>
                      <a:pt x="275749" y="970121"/>
                    </a:cubicBezTo>
                    <a:cubicBezTo>
                      <a:pt x="275749" y="964406"/>
                      <a:pt x="270986" y="959644"/>
                      <a:pt x="265271" y="959644"/>
                    </a:cubicBezTo>
                    <a:cubicBezTo>
                      <a:pt x="259556" y="959644"/>
                      <a:pt x="254794" y="964406"/>
                      <a:pt x="254794" y="970121"/>
                    </a:cubicBezTo>
                    <a:cubicBezTo>
                      <a:pt x="254794" y="973931"/>
                      <a:pt x="256699" y="977741"/>
                      <a:pt x="260509" y="979646"/>
                    </a:cubicBezTo>
                    <a:cubicBezTo>
                      <a:pt x="259556" y="981551"/>
                      <a:pt x="258604" y="983456"/>
                      <a:pt x="257651" y="986314"/>
                    </a:cubicBezTo>
                    <a:cubicBezTo>
                      <a:pt x="254794" y="984409"/>
                      <a:pt x="250984" y="982504"/>
                      <a:pt x="247174" y="982504"/>
                    </a:cubicBezTo>
                    <a:cubicBezTo>
                      <a:pt x="246221" y="972979"/>
                      <a:pt x="239554" y="966311"/>
                      <a:pt x="230029" y="966311"/>
                    </a:cubicBezTo>
                    <a:cubicBezTo>
                      <a:pt x="220504" y="966311"/>
                      <a:pt x="212884" y="973931"/>
                      <a:pt x="212884" y="983456"/>
                    </a:cubicBezTo>
                    <a:cubicBezTo>
                      <a:pt x="212884" y="986314"/>
                      <a:pt x="213836" y="989171"/>
                      <a:pt x="215741" y="992029"/>
                    </a:cubicBezTo>
                    <a:cubicBezTo>
                      <a:pt x="210026" y="997744"/>
                      <a:pt x="206216" y="1006316"/>
                      <a:pt x="206216" y="1014889"/>
                    </a:cubicBezTo>
                    <a:cubicBezTo>
                      <a:pt x="206216" y="1017746"/>
                      <a:pt x="206216" y="1020604"/>
                      <a:pt x="207169" y="1022509"/>
                    </a:cubicBezTo>
                    <a:cubicBezTo>
                      <a:pt x="205264" y="1022509"/>
                      <a:pt x="203359" y="1021556"/>
                      <a:pt x="200501" y="1021556"/>
                    </a:cubicBezTo>
                    <a:cubicBezTo>
                      <a:pt x="198596" y="1021556"/>
                      <a:pt x="197644" y="1021556"/>
                      <a:pt x="195739" y="1022509"/>
                    </a:cubicBezTo>
                    <a:cubicBezTo>
                      <a:pt x="192881" y="1018699"/>
                      <a:pt x="188119" y="1015841"/>
                      <a:pt x="182404" y="1015841"/>
                    </a:cubicBezTo>
                    <a:cubicBezTo>
                      <a:pt x="172879" y="1015841"/>
                      <a:pt x="165259" y="1023461"/>
                      <a:pt x="165259" y="1032986"/>
                    </a:cubicBezTo>
                    <a:cubicBezTo>
                      <a:pt x="165259" y="1037749"/>
                      <a:pt x="167164" y="1042511"/>
                      <a:pt x="170974" y="1045369"/>
                    </a:cubicBezTo>
                    <a:cubicBezTo>
                      <a:pt x="170974" y="1047274"/>
                      <a:pt x="170021" y="1049179"/>
                      <a:pt x="170021" y="1051084"/>
                    </a:cubicBezTo>
                    <a:cubicBezTo>
                      <a:pt x="170021" y="1052989"/>
                      <a:pt x="170021" y="1055846"/>
                      <a:pt x="170974" y="1057751"/>
                    </a:cubicBezTo>
                    <a:cubicBezTo>
                      <a:pt x="167164" y="1061561"/>
                      <a:pt x="164306" y="1067276"/>
                      <a:pt x="164306" y="1073944"/>
                    </a:cubicBezTo>
                    <a:cubicBezTo>
                      <a:pt x="164306" y="1076801"/>
                      <a:pt x="165259" y="1079659"/>
                      <a:pt x="166211" y="1081564"/>
                    </a:cubicBezTo>
                    <a:cubicBezTo>
                      <a:pt x="165259" y="1081564"/>
                      <a:pt x="164306" y="1081564"/>
                      <a:pt x="162401" y="1081564"/>
                    </a:cubicBezTo>
                    <a:cubicBezTo>
                      <a:pt x="162401" y="1081564"/>
                      <a:pt x="162401" y="1080611"/>
                      <a:pt x="162401" y="1080611"/>
                    </a:cubicBezTo>
                    <a:cubicBezTo>
                      <a:pt x="162401" y="1078706"/>
                      <a:pt x="162401" y="1076801"/>
                      <a:pt x="161449" y="1074896"/>
                    </a:cubicBezTo>
                    <a:cubicBezTo>
                      <a:pt x="161449" y="1072991"/>
                      <a:pt x="162401" y="1072039"/>
                      <a:pt x="162401" y="1070134"/>
                    </a:cubicBezTo>
                    <a:cubicBezTo>
                      <a:pt x="162401" y="1061561"/>
                      <a:pt x="155734" y="1054894"/>
                      <a:pt x="147161" y="1054894"/>
                    </a:cubicBezTo>
                    <a:cubicBezTo>
                      <a:pt x="143351" y="1054894"/>
                      <a:pt x="140494" y="1055846"/>
                      <a:pt x="137636" y="1057751"/>
                    </a:cubicBezTo>
                    <a:cubicBezTo>
                      <a:pt x="126206" y="1058704"/>
                      <a:pt x="116681" y="1068229"/>
                      <a:pt x="116681" y="1080611"/>
                    </a:cubicBezTo>
                    <a:cubicBezTo>
                      <a:pt x="116681" y="1092041"/>
                      <a:pt x="125254" y="1101566"/>
                      <a:pt x="135731" y="1103471"/>
                    </a:cubicBezTo>
                    <a:cubicBezTo>
                      <a:pt x="133826" y="1107281"/>
                      <a:pt x="132874" y="1112044"/>
                      <a:pt x="132874" y="1115854"/>
                    </a:cubicBezTo>
                    <a:cubicBezTo>
                      <a:pt x="132874" y="1132046"/>
                      <a:pt x="143351" y="1144429"/>
                      <a:pt x="157639" y="1149191"/>
                    </a:cubicBezTo>
                    <a:cubicBezTo>
                      <a:pt x="155734" y="1149191"/>
                      <a:pt x="153829" y="1148239"/>
                      <a:pt x="151924" y="1148239"/>
                    </a:cubicBezTo>
                    <a:cubicBezTo>
                      <a:pt x="139541" y="1148239"/>
                      <a:pt x="128111" y="1155859"/>
                      <a:pt x="123349" y="1166336"/>
                    </a:cubicBezTo>
                    <a:cubicBezTo>
                      <a:pt x="118586" y="1160621"/>
                      <a:pt x="110966" y="1157764"/>
                      <a:pt x="102394" y="1157764"/>
                    </a:cubicBezTo>
                    <a:cubicBezTo>
                      <a:pt x="86201" y="1157764"/>
                      <a:pt x="73819" y="1170146"/>
                      <a:pt x="73819" y="1186339"/>
                    </a:cubicBezTo>
                    <a:cubicBezTo>
                      <a:pt x="73819" y="1195864"/>
                      <a:pt x="78581" y="1204436"/>
                      <a:pt x="85249" y="1209199"/>
                    </a:cubicBezTo>
                    <a:cubicBezTo>
                      <a:pt x="85249" y="1209199"/>
                      <a:pt x="85249" y="1209199"/>
                      <a:pt x="85249" y="1210151"/>
                    </a:cubicBezTo>
                    <a:cubicBezTo>
                      <a:pt x="85249" y="1216819"/>
                      <a:pt x="90011" y="1221581"/>
                      <a:pt x="96679" y="1222534"/>
                    </a:cubicBezTo>
                    <a:cubicBezTo>
                      <a:pt x="90011" y="1224439"/>
                      <a:pt x="84296" y="1230154"/>
                      <a:pt x="84296" y="1237774"/>
                    </a:cubicBezTo>
                    <a:cubicBezTo>
                      <a:pt x="84296" y="1246346"/>
                      <a:pt x="90964" y="1253966"/>
                      <a:pt x="100489" y="1253966"/>
                    </a:cubicBezTo>
                    <a:cubicBezTo>
                      <a:pt x="108109" y="1253966"/>
                      <a:pt x="113824" y="1248251"/>
                      <a:pt x="115729" y="1241584"/>
                    </a:cubicBezTo>
                    <a:cubicBezTo>
                      <a:pt x="119539" y="1250156"/>
                      <a:pt x="129064" y="1256824"/>
                      <a:pt x="139541" y="1256824"/>
                    </a:cubicBezTo>
                    <a:cubicBezTo>
                      <a:pt x="139541" y="1256824"/>
                      <a:pt x="140494" y="1256824"/>
                      <a:pt x="140494" y="1256824"/>
                    </a:cubicBezTo>
                    <a:cubicBezTo>
                      <a:pt x="140494" y="1256824"/>
                      <a:pt x="140494" y="1257776"/>
                      <a:pt x="140494" y="1257776"/>
                    </a:cubicBezTo>
                    <a:cubicBezTo>
                      <a:pt x="135731" y="1260634"/>
                      <a:pt x="131921" y="1266349"/>
                      <a:pt x="130016" y="1272064"/>
                    </a:cubicBezTo>
                    <a:cubicBezTo>
                      <a:pt x="124301" y="1269206"/>
                      <a:pt x="117634" y="1267301"/>
                      <a:pt x="110966" y="1267301"/>
                    </a:cubicBezTo>
                    <a:cubicBezTo>
                      <a:pt x="101441" y="1267301"/>
                      <a:pt x="91916" y="1271111"/>
                      <a:pt x="85249" y="1276826"/>
                    </a:cubicBezTo>
                    <a:cubicBezTo>
                      <a:pt x="83344" y="1274921"/>
                      <a:pt x="80486" y="1273969"/>
                      <a:pt x="77629" y="1273969"/>
                    </a:cubicBezTo>
                    <a:cubicBezTo>
                      <a:pt x="70009" y="1273969"/>
                      <a:pt x="64294" y="1279684"/>
                      <a:pt x="64294" y="1287304"/>
                    </a:cubicBezTo>
                    <a:cubicBezTo>
                      <a:pt x="64294" y="1288256"/>
                      <a:pt x="64294" y="1289209"/>
                      <a:pt x="64294" y="1290161"/>
                    </a:cubicBezTo>
                    <a:cubicBezTo>
                      <a:pt x="64294" y="1290161"/>
                      <a:pt x="64294" y="1290161"/>
                      <a:pt x="64294" y="1291114"/>
                    </a:cubicBezTo>
                    <a:cubicBezTo>
                      <a:pt x="62389" y="1291114"/>
                      <a:pt x="61436" y="1290161"/>
                      <a:pt x="59531" y="1290161"/>
                    </a:cubicBezTo>
                    <a:cubicBezTo>
                      <a:pt x="49054" y="1290161"/>
                      <a:pt x="40481" y="1298734"/>
                      <a:pt x="40481" y="1309211"/>
                    </a:cubicBezTo>
                    <a:cubicBezTo>
                      <a:pt x="40481" y="1319689"/>
                      <a:pt x="49054" y="1328261"/>
                      <a:pt x="59531" y="1328261"/>
                    </a:cubicBezTo>
                    <a:cubicBezTo>
                      <a:pt x="65246" y="1328261"/>
                      <a:pt x="70009" y="1326356"/>
                      <a:pt x="73819" y="1322546"/>
                    </a:cubicBezTo>
                    <a:cubicBezTo>
                      <a:pt x="79534" y="1337786"/>
                      <a:pt x="94774" y="1348264"/>
                      <a:pt x="111919" y="1348264"/>
                    </a:cubicBezTo>
                    <a:cubicBezTo>
                      <a:pt x="122396" y="1348264"/>
                      <a:pt x="131921" y="1344454"/>
                      <a:pt x="139541" y="1337786"/>
                    </a:cubicBezTo>
                    <a:cubicBezTo>
                      <a:pt x="137636" y="1339691"/>
                      <a:pt x="136684" y="1342549"/>
                      <a:pt x="136684" y="1345406"/>
                    </a:cubicBezTo>
                    <a:cubicBezTo>
                      <a:pt x="136684" y="1345406"/>
                      <a:pt x="136684" y="1345406"/>
                      <a:pt x="136684" y="1345406"/>
                    </a:cubicBezTo>
                    <a:cubicBezTo>
                      <a:pt x="125254" y="1350169"/>
                      <a:pt x="116681" y="1360646"/>
                      <a:pt x="116681" y="1373981"/>
                    </a:cubicBezTo>
                    <a:cubicBezTo>
                      <a:pt x="116681" y="1380649"/>
                      <a:pt x="119539" y="1387316"/>
                      <a:pt x="123349" y="1393031"/>
                    </a:cubicBezTo>
                    <a:cubicBezTo>
                      <a:pt x="120491" y="1391126"/>
                      <a:pt x="117634" y="1390174"/>
                      <a:pt x="113824" y="1390174"/>
                    </a:cubicBezTo>
                    <a:cubicBezTo>
                      <a:pt x="108109" y="1390174"/>
                      <a:pt x="102394" y="1393984"/>
                      <a:pt x="99536" y="1398746"/>
                    </a:cubicBezTo>
                    <a:cubicBezTo>
                      <a:pt x="99536" y="1398746"/>
                      <a:pt x="99536" y="1398746"/>
                      <a:pt x="98584" y="1398746"/>
                    </a:cubicBezTo>
                    <a:cubicBezTo>
                      <a:pt x="95726" y="1398746"/>
                      <a:pt x="92869" y="1399699"/>
                      <a:pt x="90964" y="1400651"/>
                    </a:cubicBezTo>
                    <a:cubicBezTo>
                      <a:pt x="83344" y="1391126"/>
                      <a:pt x="71914" y="1384459"/>
                      <a:pt x="59531" y="1384459"/>
                    </a:cubicBezTo>
                    <a:cubicBezTo>
                      <a:pt x="50006" y="1384459"/>
                      <a:pt x="40481" y="1388269"/>
                      <a:pt x="33814" y="1393984"/>
                    </a:cubicBezTo>
                    <a:cubicBezTo>
                      <a:pt x="33814" y="1393984"/>
                      <a:pt x="32861" y="1393984"/>
                      <a:pt x="32861" y="1393984"/>
                    </a:cubicBezTo>
                    <a:cubicBezTo>
                      <a:pt x="30004" y="1393984"/>
                      <a:pt x="27146" y="1396841"/>
                      <a:pt x="27146" y="1399699"/>
                    </a:cubicBezTo>
                    <a:cubicBezTo>
                      <a:pt x="27146" y="1400651"/>
                      <a:pt x="27146" y="1400651"/>
                      <a:pt x="27146" y="1400651"/>
                    </a:cubicBezTo>
                    <a:cubicBezTo>
                      <a:pt x="23336" y="1406366"/>
                      <a:pt x="20479" y="1413034"/>
                      <a:pt x="19526" y="1420654"/>
                    </a:cubicBezTo>
                    <a:cubicBezTo>
                      <a:pt x="11906" y="1423511"/>
                      <a:pt x="7144" y="1430179"/>
                      <a:pt x="7144" y="1437799"/>
                    </a:cubicBezTo>
                    <a:cubicBezTo>
                      <a:pt x="7144" y="1448276"/>
                      <a:pt x="15716" y="1456849"/>
                      <a:pt x="26194" y="1456849"/>
                    </a:cubicBezTo>
                    <a:cubicBezTo>
                      <a:pt x="29051" y="1456849"/>
                      <a:pt x="31909" y="1455896"/>
                      <a:pt x="34766" y="1454944"/>
                    </a:cubicBezTo>
                    <a:cubicBezTo>
                      <a:pt x="41434" y="1460659"/>
                      <a:pt x="50006" y="1463516"/>
                      <a:pt x="59531" y="1463516"/>
                    </a:cubicBezTo>
                    <a:cubicBezTo>
                      <a:pt x="79534" y="1463516"/>
                      <a:pt x="96679" y="1448276"/>
                      <a:pt x="98584" y="1429226"/>
                    </a:cubicBezTo>
                    <a:cubicBezTo>
                      <a:pt x="98584" y="1429226"/>
                      <a:pt x="98584" y="1429226"/>
                      <a:pt x="98584" y="1429226"/>
                    </a:cubicBezTo>
                    <a:cubicBezTo>
                      <a:pt x="103346" y="1429226"/>
                      <a:pt x="108109" y="1426369"/>
                      <a:pt x="110966" y="1422559"/>
                    </a:cubicBezTo>
                    <a:cubicBezTo>
                      <a:pt x="111919" y="1422559"/>
                      <a:pt x="112871" y="1422559"/>
                      <a:pt x="112871" y="1422559"/>
                    </a:cubicBezTo>
                    <a:cubicBezTo>
                      <a:pt x="122396" y="1422559"/>
                      <a:pt x="129064" y="1414939"/>
                      <a:pt x="129064" y="1406366"/>
                    </a:cubicBezTo>
                    <a:cubicBezTo>
                      <a:pt x="129064" y="1403509"/>
                      <a:pt x="128111" y="1399699"/>
                      <a:pt x="126206" y="1397794"/>
                    </a:cubicBezTo>
                    <a:cubicBezTo>
                      <a:pt x="131921" y="1402556"/>
                      <a:pt x="138589" y="1405414"/>
                      <a:pt x="146209" y="1405414"/>
                    </a:cubicBezTo>
                    <a:cubicBezTo>
                      <a:pt x="158591" y="1405414"/>
                      <a:pt x="169069" y="1398746"/>
                      <a:pt x="173831" y="1388269"/>
                    </a:cubicBezTo>
                    <a:cubicBezTo>
                      <a:pt x="174784" y="1388269"/>
                      <a:pt x="175736" y="1388269"/>
                      <a:pt x="176689" y="1388269"/>
                    </a:cubicBezTo>
                    <a:cubicBezTo>
                      <a:pt x="176689" y="1388269"/>
                      <a:pt x="177641" y="1388269"/>
                      <a:pt x="177641" y="1388269"/>
                    </a:cubicBezTo>
                    <a:cubicBezTo>
                      <a:pt x="184309" y="1401604"/>
                      <a:pt x="197644" y="1410176"/>
                      <a:pt x="212884" y="1410176"/>
                    </a:cubicBezTo>
                    <a:cubicBezTo>
                      <a:pt x="227171" y="1410176"/>
                      <a:pt x="239554" y="1402556"/>
                      <a:pt x="246221" y="1391126"/>
                    </a:cubicBezTo>
                    <a:cubicBezTo>
                      <a:pt x="246221" y="1391126"/>
                      <a:pt x="247174" y="1391126"/>
                      <a:pt x="247174" y="1391126"/>
                    </a:cubicBezTo>
                    <a:cubicBezTo>
                      <a:pt x="250984" y="1391126"/>
                      <a:pt x="253841" y="1388269"/>
                      <a:pt x="253841" y="1383506"/>
                    </a:cubicBezTo>
                    <a:cubicBezTo>
                      <a:pt x="253841" y="1380649"/>
                      <a:pt x="252889" y="1378744"/>
                      <a:pt x="250984" y="1377791"/>
                    </a:cubicBezTo>
                    <a:cubicBezTo>
                      <a:pt x="251936" y="1374934"/>
                      <a:pt x="251936" y="1373029"/>
                      <a:pt x="251936" y="1370171"/>
                    </a:cubicBezTo>
                    <a:cubicBezTo>
                      <a:pt x="251936" y="1348264"/>
                      <a:pt x="234791" y="1331119"/>
                      <a:pt x="212884" y="1331119"/>
                    </a:cubicBezTo>
                    <a:cubicBezTo>
                      <a:pt x="210979" y="1331119"/>
                      <a:pt x="208121" y="1331119"/>
                      <a:pt x="206216" y="1332071"/>
                    </a:cubicBezTo>
                    <a:cubicBezTo>
                      <a:pt x="204311" y="1331119"/>
                      <a:pt x="201454" y="1331119"/>
                      <a:pt x="199549" y="1331119"/>
                    </a:cubicBezTo>
                    <a:cubicBezTo>
                      <a:pt x="199549" y="1325404"/>
                      <a:pt x="194786" y="1320641"/>
                      <a:pt x="188119" y="1320641"/>
                    </a:cubicBezTo>
                    <a:cubicBezTo>
                      <a:pt x="181451" y="1320641"/>
                      <a:pt x="176689" y="1325404"/>
                      <a:pt x="176689" y="1332071"/>
                    </a:cubicBezTo>
                    <a:cubicBezTo>
                      <a:pt x="176689" y="1332071"/>
                      <a:pt x="176689" y="1333024"/>
                      <a:pt x="176689" y="1333024"/>
                    </a:cubicBezTo>
                    <a:cubicBezTo>
                      <a:pt x="172879" y="1331119"/>
                      <a:pt x="169069" y="1329214"/>
                      <a:pt x="165259" y="1329214"/>
                    </a:cubicBezTo>
                    <a:cubicBezTo>
                      <a:pt x="159544" y="1329214"/>
                      <a:pt x="154781" y="1331119"/>
                      <a:pt x="150019" y="1334929"/>
                    </a:cubicBezTo>
                    <a:cubicBezTo>
                      <a:pt x="149066" y="1334929"/>
                      <a:pt x="148114" y="1333976"/>
                      <a:pt x="147161" y="1333976"/>
                    </a:cubicBezTo>
                    <a:cubicBezTo>
                      <a:pt x="144304" y="1333976"/>
                      <a:pt x="141446" y="1334929"/>
                      <a:pt x="139541" y="1336834"/>
                    </a:cubicBezTo>
                    <a:cubicBezTo>
                      <a:pt x="147161" y="1329214"/>
                      <a:pt x="150971" y="1319689"/>
                      <a:pt x="150971" y="1308259"/>
                    </a:cubicBezTo>
                    <a:cubicBezTo>
                      <a:pt x="150971" y="1306354"/>
                      <a:pt x="150971" y="1305401"/>
                      <a:pt x="150019" y="1303496"/>
                    </a:cubicBezTo>
                    <a:cubicBezTo>
                      <a:pt x="150971" y="1303496"/>
                      <a:pt x="150971" y="1303496"/>
                      <a:pt x="151924" y="1303496"/>
                    </a:cubicBezTo>
                    <a:cubicBezTo>
                      <a:pt x="165259" y="1303496"/>
                      <a:pt x="176689" y="1293019"/>
                      <a:pt x="176689" y="1278731"/>
                    </a:cubicBezTo>
                    <a:cubicBezTo>
                      <a:pt x="176689" y="1266349"/>
                      <a:pt x="167164" y="1255871"/>
                      <a:pt x="153829" y="1254919"/>
                    </a:cubicBezTo>
                    <a:cubicBezTo>
                      <a:pt x="153829" y="1253966"/>
                      <a:pt x="153829" y="1253014"/>
                      <a:pt x="152876" y="1253014"/>
                    </a:cubicBezTo>
                    <a:cubicBezTo>
                      <a:pt x="154781" y="1252061"/>
                      <a:pt x="155734" y="1251109"/>
                      <a:pt x="156686" y="1249204"/>
                    </a:cubicBezTo>
                    <a:cubicBezTo>
                      <a:pt x="164306" y="1247299"/>
                      <a:pt x="170021" y="1240631"/>
                      <a:pt x="170021" y="1233011"/>
                    </a:cubicBezTo>
                    <a:cubicBezTo>
                      <a:pt x="170021" y="1230154"/>
                      <a:pt x="169069" y="1227296"/>
                      <a:pt x="168116" y="1224439"/>
                    </a:cubicBezTo>
                    <a:cubicBezTo>
                      <a:pt x="172879" y="1223486"/>
                      <a:pt x="176689" y="1219676"/>
                      <a:pt x="176689" y="1213961"/>
                    </a:cubicBezTo>
                    <a:cubicBezTo>
                      <a:pt x="176689" y="1209199"/>
                      <a:pt x="173831" y="1206341"/>
                      <a:pt x="170021" y="1204436"/>
                    </a:cubicBezTo>
                    <a:cubicBezTo>
                      <a:pt x="176689" y="1198721"/>
                      <a:pt x="180499" y="1190149"/>
                      <a:pt x="180499" y="1181576"/>
                    </a:cubicBezTo>
                    <a:cubicBezTo>
                      <a:pt x="180499" y="1167289"/>
                      <a:pt x="170974" y="1155859"/>
                      <a:pt x="158591" y="1152049"/>
                    </a:cubicBezTo>
                    <a:cubicBezTo>
                      <a:pt x="160496" y="1152049"/>
                      <a:pt x="162401" y="1153001"/>
                      <a:pt x="165259" y="1153001"/>
                    </a:cubicBezTo>
                    <a:cubicBezTo>
                      <a:pt x="166211" y="1153001"/>
                      <a:pt x="167164" y="1153001"/>
                      <a:pt x="169069" y="1153001"/>
                    </a:cubicBezTo>
                    <a:cubicBezTo>
                      <a:pt x="169069" y="1153001"/>
                      <a:pt x="169069" y="1153001"/>
                      <a:pt x="169069" y="1153001"/>
                    </a:cubicBezTo>
                    <a:cubicBezTo>
                      <a:pt x="169069" y="1157764"/>
                      <a:pt x="172879" y="1161574"/>
                      <a:pt x="177641" y="1161574"/>
                    </a:cubicBezTo>
                    <a:cubicBezTo>
                      <a:pt x="177641" y="1161574"/>
                      <a:pt x="177641" y="1161574"/>
                      <a:pt x="178594" y="1161574"/>
                    </a:cubicBezTo>
                    <a:cubicBezTo>
                      <a:pt x="178594" y="1161574"/>
                      <a:pt x="178594" y="1161574"/>
                      <a:pt x="178594" y="1162526"/>
                    </a:cubicBezTo>
                    <a:cubicBezTo>
                      <a:pt x="178594" y="1170146"/>
                      <a:pt x="182404" y="1176814"/>
                      <a:pt x="188119" y="1180624"/>
                    </a:cubicBezTo>
                    <a:cubicBezTo>
                      <a:pt x="186214" y="1184434"/>
                      <a:pt x="185261" y="1188244"/>
                      <a:pt x="185261" y="1193006"/>
                    </a:cubicBezTo>
                    <a:cubicBezTo>
                      <a:pt x="185261" y="1207294"/>
                      <a:pt x="195739" y="1219676"/>
                      <a:pt x="210026" y="1221581"/>
                    </a:cubicBezTo>
                    <a:cubicBezTo>
                      <a:pt x="207169" y="1222534"/>
                      <a:pt x="205264" y="1226344"/>
                      <a:pt x="205264" y="1229201"/>
                    </a:cubicBezTo>
                    <a:cubicBezTo>
                      <a:pt x="205264" y="1233964"/>
                      <a:pt x="209074" y="1237774"/>
                      <a:pt x="213836" y="1237774"/>
                    </a:cubicBezTo>
                    <a:cubicBezTo>
                      <a:pt x="218599" y="1237774"/>
                      <a:pt x="222409" y="1233964"/>
                      <a:pt x="222409" y="1229201"/>
                    </a:cubicBezTo>
                    <a:cubicBezTo>
                      <a:pt x="222409" y="1225391"/>
                      <a:pt x="220504" y="1222534"/>
                      <a:pt x="217646" y="1221581"/>
                    </a:cubicBezTo>
                    <a:cubicBezTo>
                      <a:pt x="218599" y="1221581"/>
                      <a:pt x="218599" y="1221581"/>
                      <a:pt x="219551" y="1221581"/>
                    </a:cubicBezTo>
                    <a:cubicBezTo>
                      <a:pt x="221456" y="1222534"/>
                      <a:pt x="223361" y="1223486"/>
                      <a:pt x="226219" y="1223486"/>
                    </a:cubicBezTo>
                    <a:cubicBezTo>
                      <a:pt x="233839" y="1223486"/>
                      <a:pt x="239554" y="1217771"/>
                      <a:pt x="239554" y="1210151"/>
                    </a:cubicBezTo>
                    <a:cubicBezTo>
                      <a:pt x="239554" y="1210151"/>
                      <a:pt x="239554" y="1209199"/>
                      <a:pt x="239554" y="1209199"/>
                    </a:cubicBezTo>
                    <a:cubicBezTo>
                      <a:pt x="242411" y="1205389"/>
                      <a:pt x="243364" y="1201579"/>
                      <a:pt x="244316" y="1196816"/>
                    </a:cubicBezTo>
                    <a:cubicBezTo>
                      <a:pt x="245269" y="1196816"/>
                      <a:pt x="245269" y="1196816"/>
                      <a:pt x="246221" y="1196816"/>
                    </a:cubicBezTo>
                    <a:cubicBezTo>
                      <a:pt x="250984" y="1196816"/>
                      <a:pt x="254794" y="1193006"/>
                      <a:pt x="254794" y="1188244"/>
                    </a:cubicBezTo>
                    <a:cubicBezTo>
                      <a:pt x="254794" y="1185386"/>
                      <a:pt x="252889" y="1183481"/>
                      <a:pt x="250984" y="1181576"/>
                    </a:cubicBezTo>
                    <a:cubicBezTo>
                      <a:pt x="255746" y="1180624"/>
                      <a:pt x="259556" y="1176814"/>
                      <a:pt x="259556" y="1172051"/>
                    </a:cubicBezTo>
                    <a:cubicBezTo>
                      <a:pt x="259556" y="1167289"/>
                      <a:pt x="256699" y="1164431"/>
                      <a:pt x="252889" y="1162526"/>
                    </a:cubicBezTo>
                    <a:cubicBezTo>
                      <a:pt x="254794" y="1159669"/>
                      <a:pt x="255746" y="1156811"/>
                      <a:pt x="255746" y="1153001"/>
                    </a:cubicBezTo>
                    <a:cubicBezTo>
                      <a:pt x="255746" y="1144429"/>
                      <a:pt x="249079" y="1136809"/>
                      <a:pt x="239554" y="1136809"/>
                    </a:cubicBezTo>
                    <a:cubicBezTo>
                      <a:pt x="230981" y="1136809"/>
                      <a:pt x="223361" y="1143476"/>
                      <a:pt x="223361" y="1153001"/>
                    </a:cubicBezTo>
                    <a:cubicBezTo>
                      <a:pt x="223361" y="1161574"/>
                      <a:pt x="230029" y="1169194"/>
                      <a:pt x="239554" y="1169194"/>
                    </a:cubicBezTo>
                    <a:cubicBezTo>
                      <a:pt x="239554" y="1169194"/>
                      <a:pt x="240506" y="1169194"/>
                      <a:pt x="240506" y="1169194"/>
                    </a:cubicBezTo>
                    <a:cubicBezTo>
                      <a:pt x="240506" y="1170146"/>
                      <a:pt x="239554" y="1171099"/>
                      <a:pt x="239554" y="1172051"/>
                    </a:cubicBezTo>
                    <a:cubicBezTo>
                      <a:pt x="239554" y="1175861"/>
                      <a:pt x="241459" y="1178719"/>
                      <a:pt x="244316" y="1180624"/>
                    </a:cubicBezTo>
                    <a:cubicBezTo>
                      <a:pt x="243364" y="1180624"/>
                      <a:pt x="242411" y="1180624"/>
                      <a:pt x="241459" y="1181576"/>
                    </a:cubicBezTo>
                    <a:cubicBezTo>
                      <a:pt x="237649" y="1173956"/>
                      <a:pt x="231934" y="1168241"/>
                      <a:pt x="223361" y="1165384"/>
                    </a:cubicBezTo>
                    <a:cubicBezTo>
                      <a:pt x="223361" y="1164431"/>
                      <a:pt x="223361" y="1163479"/>
                      <a:pt x="223361" y="1162526"/>
                    </a:cubicBezTo>
                    <a:cubicBezTo>
                      <a:pt x="223361" y="1150144"/>
                      <a:pt x="213836" y="1140619"/>
                      <a:pt x="201454" y="1140619"/>
                    </a:cubicBezTo>
                    <a:cubicBezTo>
                      <a:pt x="197644" y="1140619"/>
                      <a:pt x="193834" y="1141571"/>
                      <a:pt x="190976" y="1143476"/>
                    </a:cubicBezTo>
                    <a:cubicBezTo>
                      <a:pt x="196691" y="1136809"/>
                      <a:pt x="201454" y="1128236"/>
                      <a:pt x="201454" y="1118711"/>
                    </a:cubicBezTo>
                    <a:cubicBezTo>
                      <a:pt x="201454" y="1115854"/>
                      <a:pt x="201454" y="1113949"/>
                      <a:pt x="200501" y="1111091"/>
                    </a:cubicBezTo>
                    <a:cubicBezTo>
                      <a:pt x="203359" y="1111091"/>
                      <a:pt x="205264" y="1108234"/>
                      <a:pt x="205264" y="1105376"/>
                    </a:cubicBezTo>
                    <a:cubicBezTo>
                      <a:pt x="205264" y="1102519"/>
                      <a:pt x="202406" y="1099661"/>
                      <a:pt x="199549" y="1099661"/>
                    </a:cubicBezTo>
                    <a:cubicBezTo>
                      <a:pt x="198596" y="1099661"/>
                      <a:pt x="197644" y="1099661"/>
                      <a:pt x="196691" y="1100614"/>
                    </a:cubicBezTo>
                    <a:cubicBezTo>
                      <a:pt x="195739" y="1098709"/>
                      <a:pt x="194786" y="1097756"/>
                      <a:pt x="193834" y="1096804"/>
                    </a:cubicBezTo>
                    <a:cubicBezTo>
                      <a:pt x="200501" y="1093946"/>
                      <a:pt x="205264" y="1088231"/>
                      <a:pt x="207169" y="1081564"/>
                    </a:cubicBezTo>
                    <a:cubicBezTo>
                      <a:pt x="219551" y="1077754"/>
                      <a:pt x="228124" y="1066324"/>
                      <a:pt x="228124" y="1052989"/>
                    </a:cubicBezTo>
                    <a:cubicBezTo>
                      <a:pt x="228124" y="1051084"/>
                      <a:pt x="228124" y="1049179"/>
                      <a:pt x="227171" y="1048226"/>
                    </a:cubicBezTo>
                    <a:cubicBezTo>
                      <a:pt x="230029" y="1049179"/>
                      <a:pt x="232886" y="1050131"/>
                      <a:pt x="236696" y="1050131"/>
                    </a:cubicBezTo>
                    <a:cubicBezTo>
                      <a:pt x="245269" y="1050131"/>
                      <a:pt x="251936" y="1047274"/>
                      <a:pt x="257651" y="1042511"/>
                    </a:cubicBezTo>
                    <a:cubicBezTo>
                      <a:pt x="259556" y="1043464"/>
                      <a:pt x="261461" y="1043464"/>
                      <a:pt x="263366" y="1043464"/>
                    </a:cubicBezTo>
                    <a:cubicBezTo>
                      <a:pt x="273844" y="1043464"/>
                      <a:pt x="282416" y="1034891"/>
                      <a:pt x="282416" y="1024414"/>
                    </a:cubicBezTo>
                    <a:cubicBezTo>
                      <a:pt x="282416" y="1020604"/>
                      <a:pt x="281464" y="1016794"/>
                      <a:pt x="279559" y="1013936"/>
                    </a:cubicBezTo>
                    <a:cubicBezTo>
                      <a:pt x="287179" y="1012984"/>
                      <a:pt x="292894" y="1007269"/>
                      <a:pt x="295751" y="1000601"/>
                    </a:cubicBezTo>
                    <a:cubicBezTo>
                      <a:pt x="294799" y="1002506"/>
                      <a:pt x="294799" y="1004411"/>
                      <a:pt x="294799" y="1006316"/>
                    </a:cubicBezTo>
                    <a:cubicBezTo>
                      <a:pt x="294799" y="1007269"/>
                      <a:pt x="294799" y="1008221"/>
                      <a:pt x="294799" y="1009174"/>
                    </a:cubicBezTo>
                    <a:cubicBezTo>
                      <a:pt x="293846" y="1011079"/>
                      <a:pt x="293846" y="1012984"/>
                      <a:pt x="293846" y="1015841"/>
                    </a:cubicBezTo>
                    <a:cubicBezTo>
                      <a:pt x="293846" y="1019651"/>
                      <a:pt x="295751" y="1023461"/>
                      <a:pt x="297656" y="1026319"/>
                    </a:cubicBezTo>
                    <a:cubicBezTo>
                      <a:pt x="290036" y="1032034"/>
                      <a:pt x="284321" y="1040606"/>
                      <a:pt x="284321" y="1051084"/>
                    </a:cubicBezTo>
                    <a:cubicBezTo>
                      <a:pt x="284321" y="1052036"/>
                      <a:pt x="284321" y="1052036"/>
                      <a:pt x="284321" y="1052989"/>
                    </a:cubicBezTo>
                    <a:cubicBezTo>
                      <a:pt x="283369" y="1052036"/>
                      <a:pt x="281464" y="1052036"/>
                      <a:pt x="280511" y="1052036"/>
                    </a:cubicBezTo>
                    <a:cubicBezTo>
                      <a:pt x="273844" y="1052036"/>
                      <a:pt x="268129" y="1057751"/>
                      <a:pt x="268129" y="1064419"/>
                    </a:cubicBezTo>
                    <a:cubicBezTo>
                      <a:pt x="268129" y="1070134"/>
                      <a:pt x="271939" y="1074896"/>
                      <a:pt x="277654" y="1075849"/>
                    </a:cubicBezTo>
                    <a:cubicBezTo>
                      <a:pt x="277654" y="1075849"/>
                      <a:pt x="277654" y="1076801"/>
                      <a:pt x="277654" y="1076801"/>
                    </a:cubicBezTo>
                    <a:cubicBezTo>
                      <a:pt x="277654" y="1086326"/>
                      <a:pt x="285274" y="1094899"/>
                      <a:pt x="295751" y="1094899"/>
                    </a:cubicBezTo>
                    <a:cubicBezTo>
                      <a:pt x="298609" y="1094899"/>
                      <a:pt x="300514" y="1093946"/>
                      <a:pt x="303371" y="1092994"/>
                    </a:cubicBezTo>
                    <a:cubicBezTo>
                      <a:pt x="301466" y="1094899"/>
                      <a:pt x="300514" y="1097756"/>
                      <a:pt x="300514" y="1100614"/>
                    </a:cubicBezTo>
                    <a:cubicBezTo>
                      <a:pt x="300514" y="1104424"/>
                      <a:pt x="301466" y="1107281"/>
                      <a:pt x="304324" y="1110139"/>
                    </a:cubicBezTo>
                    <a:cubicBezTo>
                      <a:pt x="304324" y="1110139"/>
                      <a:pt x="303371" y="1110139"/>
                      <a:pt x="303371" y="1110139"/>
                    </a:cubicBezTo>
                    <a:cubicBezTo>
                      <a:pt x="285274" y="1110139"/>
                      <a:pt x="270986" y="1124426"/>
                      <a:pt x="270986" y="1142524"/>
                    </a:cubicBezTo>
                    <a:cubicBezTo>
                      <a:pt x="270986" y="1153954"/>
                      <a:pt x="276701" y="1163479"/>
                      <a:pt x="285274" y="1169194"/>
                    </a:cubicBezTo>
                    <a:cubicBezTo>
                      <a:pt x="286226" y="1171099"/>
                      <a:pt x="287179" y="1173004"/>
                      <a:pt x="288131" y="1174909"/>
                    </a:cubicBezTo>
                    <a:cubicBezTo>
                      <a:pt x="283369" y="1179671"/>
                      <a:pt x="280511" y="1187291"/>
                      <a:pt x="280511" y="1193959"/>
                    </a:cubicBezTo>
                    <a:cubicBezTo>
                      <a:pt x="272891" y="1194911"/>
                      <a:pt x="266224" y="1201579"/>
                      <a:pt x="266224" y="1210151"/>
                    </a:cubicBezTo>
                    <a:cubicBezTo>
                      <a:pt x="266224" y="1213009"/>
                      <a:pt x="267176" y="1216819"/>
                      <a:pt x="269081" y="1218724"/>
                    </a:cubicBezTo>
                    <a:cubicBezTo>
                      <a:pt x="265271" y="1217771"/>
                      <a:pt x="262414" y="1216819"/>
                      <a:pt x="258604" y="1216819"/>
                    </a:cubicBezTo>
                    <a:cubicBezTo>
                      <a:pt x="241459" y="1216819"/>
                      <a:pt x="227171" y="1231106"/>
                      <a:pt x="227171" y="1248251"/>
                    </a:cubicBezTo>
                    <a:cubicBezTo>
                      <a:pt x="227171" y="1265396"/>
                      <a:pt x="241459" y="1279684"/>
                      <a:pt x="258604" y="1279684"/>
                    </a:cubicBezTo>
                    <a:cubicBezTo>
                      <a:pt x="270034" y="1279684"/>
                      <a:pt x="279559" y="1273969"/>
                      <a:pt x="285274" y="1264444"/>
                    </a:cubicBezTo>
                    <a:cubicBezTo>
                      <a:pt x="288131" y="1265396"/>
                      <a:pt x="290989" y="1266349"/>
                      <a:pt x="293846" y="1266349"/>
                    </a:cubicBezTo>
                    <a:cubicBezTo>
                      <a:pt x="303371" y="1266349"/>
                      <a:pt x="311944" y="1261586"/>
                      <a:pt x="316706" y="1253966"/>
                    </a:cubicBezTo>
                    <a:cubicBezTo>
                      <a:pt x="318611" y="1253014"/>
                      <a:pt x="320516" y="1251109"/>
                      <a:pt x="321469" y="1249204"/>
                    </a:cubicBezTo>
                    <a:cubicBezTo>
                      <a:pt x="321469" y="1254919"/>
                      <a:pt x="323374" y="1259681"/>
                      <a:pt x="326231" y="1263491"/>
                    </a:cubicBezTo>
                    <a:cubicBezTo>
                      <a:pt x="326231" y="1263491"/>
                      <a:pt x="326231" y="1264444"/>
                      <a:pt x="326231" y="1264444"/>
                    </a:cubicBezTo>
                    <a:cubicBezTo>
                      <a:pt x="326231" y="1268254"/>
                      <a:pt x="327184" y="1272064"/>
                      <a:pt x="328136" y="1275874"/>
                    </a:cubicBezTo>
                    <a:cubicBezTo>
                      <a:pt x="325279" y="1278731"/>
                      <a:pt x="323374" y="1281589"/>
                      <a:pt x="322421" y="1285399"/>
                    </a:cubicBezTo>
                    <a:cubicBezTo>
                      <a:pt x="319564" y="1282541"/>
                      <a:pt x="315754" y="1280636"/>
                      <a:pt x="310991" y="1279684"/>
                    </a:cubicBezTo>
                    <a:cubicBezTo>
                      <a:pt x="310991" y="1275874"/>
                      <a:pt x="308134" y="1273016"/>
                      <a:pt x="304324" y="1273016"/>
                    </a:cubicBezTo>
                    <a:cubicBezTo>
                      <a:pt x="300514" y="1273016"/>
                      <a:pt x="297656" y="1275874"/>
                      <a:pt x="297656" y="1279684"/>
                    </a:cubicBezTo>
                    <a:cubicBezTo>
                      <a:pt x="297656" y="1281589"/>
                      <a:pt x="298609" y="1282541"/>
                      <a:pt x="299561" y="1284446"/>
                    </a:cubicBezTo>
                    <a:cubicBezTo>
                      <a:pt x="296704" y="1287304"/>
                      <a:pt x="294799" y="1292066"/>
                      <a:pt x="294799" y="1296829"/>
                    </a:cubicBezTo>
                    <a:cubicBezTo>
                      <a:pt x="294799" y="1300639"/>
                      <a:pt x="295751" y="1304449"/>
                      <a:pt x="298609" y="1307306"/>
                    </a:cubicBezTo>
                    <a:cubicBezTo>
                      <a:pt x="298609" y="1307306"/>
                      <a:pt x="298609" y="1307306"/>
                      <a:pt x="298609" y="1307306"/>
                    </a:cubicBezTo>
                    <a:cubicBezTo>
                      <a:pt x="298609" y="1312069"/>
                      <a:pt x="302419" y="1316831"/>
                      <a:pt x="308134" y="1316831"/>
                    </a:cubicBezTo>
                    <a:cubicBezTo>
                      <a:pt x="310991" y="1316831"/>
                      <a:pt x="312896" y="1315879"/>
                      <a:pt x="314801" y="1313974"/>
                    </a:cubicBezTo>
                    <a:cubicBezTo>
                      <a:pt x="320516" y="1313021"/>
                      <a:pt x="326231" y="1308259"/>
                      <a:pt x="328136" y="1302544"/>
                    </a:cubicBezTo>
                    <a:cubicBezTo>
                      <a:pt x="331946" y="1307306"/>
                      <a:pt x="336709" y="1310164"/>
                      <a:pt x="343376" y="1310164"/>
                    </a:cubicBezTo>
                    <a:cubicBezTo>
                      <a:pt x="347186" y="1310164"/>
                      <a:pt x="350996" y="1309211"/>
                      <a:pt x="353854" y="1306354"/>
                    </a:cubicBezTo>
                    <a:cubicBezTo>
                      <a:pt x="353854" y="1306354"/>
                      <a:pt x="353854" y="1307306"/>
                      <a:pt x="353854" y="1307306"/>
                    </a:cubicBezTo>
                    <a:cubicBezTo>
                      <a:pt x="353854" y="1315879"/>
                      <a:pt x="360521" y="1322546"/>
                      <a:pt x="369094" y="1322546"/>
                    </a:cubicBezTo>
                    <a:cubicBezTo>
                      <a:pt x="371951" y="1322546"/>
                      <a:pt x="373856" y="1321594"/>
                      <a:pt x="376714" y="1320641"/>
                    </a:cubicBezTo>
                    <a:cubicBezTo>
                      <a:pt x="378619" y="1322546"/>
                      <a:pt x="381476" y="1323499"/>
                      <a:pt x="384334" y="1323499"/>
                    </a:cubicBezTo>
                    <a:cubicBezTo>
                      <a:pt x="391001" y="1323499"/>
                      <a:pt x="396716" y="1317784"/>
                      <a:pt x="396716" y="1311116"/>
                    </a:cubicBezTo>
                    <a:cubicBezTo>
                      <a:pt x="396716" y="1310164"/>
                      <a:pt x="396716" y="1310164"/>
                      <a:pt x="396716" y="1309211"/>
                    </a:cubicBezTo>
                    <a:cubicBezTo>
                      <a:pt x="402431" y="1306354"/>
                      <a:pt x="406241" y="1300639"/>
                      <a:pt x="406241" y="1293971"/>
                    </a:cubicBezTo>
                    <a:cubicBezTo>
                      <a:pt x="406241" y="1287304"/>
                      <a:pt x="402431" y="1281589"/>
                      <a:pt x="397669" y="1278731"/>
                    </a:cubicBezTo>
                    <a:cubicBezTo>
                      <a:pt x="397669" y="1278731"/>
                      <a:pt x="397669" y="1278731"/>
                      <a:pt x="397669" y="1278731"/>
                    </a:cubicBezTo>
                    <a:cubicBezTo>
                      <a:pt x="399574" y="1279684"/>
                      <a:pt x="401479" y="1280636"/>
                      <a:pt x="404336" y="1280636"/>
                    </a:cubicBezTo>
                    <a:cubicBezTo>
                      <a:pt x="405289" y="1280636"/>
                      <a:pt x="407194" y="1280636"/>
                      <a:pt x="408146" y="1279684"/>
                    </a:cubicBezTo>
                    <a:cubicBezTo>
                      <a:pt x="411956" y="1283494"/>
                      <a:pt x="415766" y="1287304"/>
                      <a:pt x="421481" y="1288256"/>
                    </a:cubicBezTo>
                    <a:cubicBezTo>
                      <a:pt x="424339" y="1293971"/>
                      <a:pt x="431006" y="1296829"/>
                      <a:pt x="437674" y="1296829"/>
                    </a:cubicBezTo>
                    <a:cubicBezTo>
                      <a:pt x="448151" y="1296829"/>
                      <a:pt x="456724" y="1288256"/>
                      <a:pt x="456724" y="1277779"/>
                    </a:cubicBezTo>
                    <a:cubicBezTo>
                      <a:pt x="456724" y="1277779"/>
                      <a:pt x="456724" y="1276826"/>
                      <a:pt x="456724" y="1276826"/>
                    </a:cubicBezTo>
                    <a:cubicBezTo>
                      <a:pt x="460534" y="1279684"/>
                      <a:pt x="465296" y="1282541"/>
                      <a:pt x="471011" y="1284446"/>
                    </a:cubicBezTo>
                    <a:cubicBezTo>
                      <a:pt x="473869" y="1288256"/>
                      <a:pt x="479584" y="1291114"/>
                      <a:pt x="485299" y="1291114"/>
                    </a:cubicBezTo>
                    <a:cubicBezTo>
                      <a:pt x="491014" y="1291114"/>
                      <a:pt x="496729" y="1288256"/>
                      <a:pt x="499586" y="1283494"/>
                    </a:cubicBezTo>
                    <a:cubicBezTo>
                      <a:pt x="499586" y="1283494"/>
                      <a:pt x="500539" y="1284446"/>
                      <a:pt x="500539" y="1284446"/>
                    </a:cubicBezTo>
                    <a:cubicBezTo>
                      <a:pt x="499586" y="1285399"/>
                      <a:pt x="499586" y="1285399"/>
                      <a:pt x="498634" y="1286351"/>
                    </a:cubicBezTo>
                    <a:cubicBezTo>
                      <a:pt x="494824" y="1288256"/>
                      <a:pt x="491014" y="1293019"/>
                      <a:pt x="491014" y="1297781"/>
                    </a:cubicBezTo>
                    <a:cubicBezTo>
                      <a:pt x="486251" y="1301591"/>
                      <a:pt x="483394" y="1307306"/>
                      <a:pt x="483394" y="1313974"/>
                    </a:cubicBezTo>
                    <a:cubicBezTo>
                      <a:pt x="481489" y="1314926"/>
                      <a:pt x="478631" y="1315879"/>
                      <a:pt x="477679" y="1317784"/>
                    </a:cubicBezTo>
                    <a:cubicBezTo>
                      <a:pt x="475774" y="1316831"/>
                      <a:pt x="473869" y="1315879"/>
                      <a:pt x="471011" y="1315879"/>
                    </a:cubicBezTo>
                    <a:cubicBezTo>
                      <a:pt x="463391" y="1315879"/>
                      <a:pt x="457676" y="1321594"/>
                      <a:pt x="457676" y="1329214"/>
                    </a:cubicBezTo>
                    <a:cubicBezTo>
                      <a:pt x="457676" y="1336834"/>
                      <a:pt x="463391" y="1342549"/>
                      <a:pt x="471011" y="1342549"/>
                    </a:cubicBezTo>
                    <a:cubicBezTo>
                      <a:pt x="472916" y="1342549"/>
                      <a:pt x="473869" y="1342549"/>
                      <a:pt x="475774" y="1341596"/>
                    </a:cubicBezTo>
                    <a:cubicBezTo>
                      <a:pt x="475774" y="1341596"/>
                      <a:pt x="475774" y="1341596"/>
                      <a:pt x="475774" y="1341596"/>
                    </a:cubicBezTo>
                    <a:cubicBezTo>
                      <a:pt x="465296" y="1344454"/>
                      <a:pt x="456724" y="1352074"/>
                      <a:pt x="451961" y="1361599"/>
                    </a:cubicBezTo>
                    <a:cubicBezTo>
                      <a:pt x="450056" y="1359694"/>
                      <a:pt x="447199" y="1357789"/>
                      <a:pt x="444341" y="1356836"/>
                    </a:cubicBezTo>
                    <a:cubicBezTo>
                      <a:pt x="445294" y="1354931"/>
                      <a:pt x="446246" y="1352074"/>
                      <a:pt x="446246" y="1349216"/>
                    </a:cubicBezTo>
                    <a:cubicBezTo>
                      <a:pt x="446246" y="1339691"/>
                      <a:pt x="438626" y="1333024"/>
                      <a:pt x="430054" y="1333024"/>
                    </a:cubicBezTo>
                    <a:cubicBezTo>
                      <a:pt x="425291" y="1333024"/>
                      <a:pt x="421481" y="1334929"/>
                      <a:pt x="417671" y="1337786"/>
                    </a:cubicBezTo>
                    <a:cubicBezTo>
                      <a:pt x="415766" y="1334929"/>
                      <a:pt x="411956" y="1333024"/>
                      <a:pt x="408146" y="1333024"/>
                    </a:cubicBezTo>
                    <a:cubicBezTo>
                      <a:pt x="401479" y="1333024"/>
                      <a:pt x="395764" y="1338739"/>
                      <a:pt x="395764" y="1345406"/>
                    </a:cubicBezTo>
                    <a:cubicBezTo>
                      <a:pt x="395764" y="1350169"/>
                      <a:pt x="398621" y="1353979"/>
                      <a:pt x="401479" y="1355884"/>
                    </a:cubicBezTo>
                    <a:cubicBezTo>
                      <a:pt x="392906" y="1358741"/>
                      <a:pt x="386239" y="1366361"/>
                      <a:pt x="386239" y="1375886"/>
                    </a:cubicBezTo>
                    <a:cubicBezTo>
                      <a:pt x="386239" y="1376839"/>
                      <a:pt x="386239" y="1377791"/>
                      <a:pt x="386239" y="1379696"/>
                    </a:cubicBezTo>
                    <a:cubicBezTo>
                      <a:pt x="385286" y="1382554"/>
                      <a:pt x="385286" y="1384459"/>
                      <a:pt x="384334" y="1387316"/>
                    </a:cubicBezTo>
                    <a:cubicBezTo>
                      <a:pt x="382429" y="1389221"/>
                      <a:pt x="380524" y="1392079"/>
                      <a:pt x="379571" y="1394936"/>
                    </a:cubicBezTo>
                    <a:cubicBezTo>
                      <a:pt x="379571" y="1394936"/>
                      <a:pt x="378619" y="1394936"/>
                      <a:pt x="378619" y="1394936"/>
                    </a:cubicBezTo>
                    <a:cubicBezTo>
                      <a:pt x="378619" y="1394936"/>
                      <a:pt x="378619" y="1394936"/>
                      <a:pt x="378619" y="1394936"/>
                    </a:cubicBezTo>
                    <a:cubicBezTo>
                      <a:pt x="378619" y="1393031"/>
                      <a:pt x="379571" y="1391126"/>
                      <a:pt x="379571" y="1389221"/>
                    </a:cubicBezTo>
                    <a:cubicBezTo>
                      <a:pt x="379571" y="1388269"/>
                      <a:pt x="379571" y="1387316"/>
                      <a:pt x="379571" y="1386364"/>
                    </a:cubicBezTo>
                    <a:cubicBezTo>
                      <a:pt x="383381" y="1383506"/>
                      <a:pt x="386239" y="1379696"/>
                      <a:pt x="386239" y="1373981"/>
                    </a:cubicBezTo>
                    <a:cubicBezTo>
                      <a:pt x="386239" y="1366361"/>
                      <a:pt x="379571" y="1359694"/>
                      <a:pt x="371951" y="1359694"/>
                    </a:cubicBezTo>
                    <a:cubicBezTo>
                      <a:pt x="367189" y="1359694"/>
                      <a:pt x="363379" y="1361599"/>
                      <a:pt x="360521" y="1365409"/>
                    </a:cubicBezTo>
                    <a:cubicBezTo>
                      <a:pt x="358616" y="1364456"/>
                      <a:pt x="356711" y="1364456"/>
                      <a:pt x="354806" y="1364456"/>
                    </a:cubicBezTo>
                    <a:cubicBezTo>
                      <a:pt x="349091" y="1364456"/>
                      <a:pt x="343376" y="1366361"/>
                      <a:pt x="339566" y="1370171"/>
                    </a:cubicBezTo>
                    <a:cubicBezTo>
                      <a:pt x="337661" y="1367314"/>
                      <a:pt x="333851" y="1365409"/>
                      <a:pt x="330041" y="1365409"/>
                    </a:cubicBezTo>
                    <a:cubicBezTo>
                      <a:pt x="324326" y="1365409"/>
                      <a:pt x="320516" y="1369219"/>
                      <a:pt x="318611" y="1373981"/>
                    </a:cubicBezTo>
                    <a:cubicBezTo>
                      <a:pt x="316706" y="1374934"/>
                      <a:pt x="314801" y="1375886"/>
                      <a:pt x="313849" y="1377791"/>
                    </a:cubicBezTo>
                    <a:cubicBezTo>
                      <a:pt x="311944" y="1376839"/>
                      <a:pt x="310039" y="1376839"/>
                      <a:pt x="308134" y="1376839"/>
                    </a:cubicBezTo>
                    <a:cubicBezTo>
                      <a:pt x="301466" y="1376839"/>
                      <a:pt x="295751" y="1382554"/>
                      <a:pt x="295751" y="1389221"/>
                    </a:cubicBezTo>
                    <a:cubicBezTo>
                      <a:pt x="295751" y="1395889"/>
                      <a:pt x="301466" y="1401604"/>
                      <a:pt x="308134" y="1401604"/>
                    </a:cubicBezTo>
                    <a:cubicBezTo>
                      <a:pt x="314801" y="1401604"/>
                      <a:pt x="319564" y="1396841"/>
                      <a:pt x="320516" y="1390174"/>
                    </a:cubicBezTo>
                    <a:cubicBezTo>
                      <a:pt x="320516" y="1390174"/>
                      <a:pt x="320516" y="1390174"/>
                      <a:pt x="320516" y="1390174"/>
                    </a:cubicBezTo>
                    <a:cubicBezTo>
                      <a:pt x="322421" y="1390174"/>
                      <a:pt x="324326" y="1389221"/>
                      <a:pt x="325279" y="1388269"/>
                    </a:cubicBezTo>
                    <a:cubicBezTo>
                      <a:pt x="326231" y="1388269"/>
                      <a:pt x="328136" y="1389221"/>
                      <a:pt x="329089" y="1389221"/>
                    </a:cubicBezTo>
                    <a:cubicBezTo>
                      <a:pt x="329089" y="1389221"/>
                      <a:pt x="329089" y="1389221"/>
                      <a:pt x="329089" y="1390174"/>
                    </a:cubicBezTo>
                    <a:cubicBezTo>
                      <a:pt x="329089" y="1401604"/>
                      <a:pt x="336709" y="1411129"/>
                      <a:pt x="347186" y="1413986"/>
                    </a:cubicBezTo>
                    <a:cubicBezTo>
                      <a:pt x="347186" y="1414939"/>
                      <a:pt x="346234" y="1415891"/>
                      <a:pt x="346234" y="1417796"/>
                    </a:cubicBezTo>
                    <a:cubicBezTo>
                      <a:pt x="346234" y="1418749"/>
                      <a:pt x="346234" y="1419701"/>
                      <a:pt x="347186" y="1420654"/>
                    </a:cubicBezTo>
                    <a:cubicBezTo>
                      <a:pt x="345281" y="1424464"/>
                      <a:pt x="343376" y="1428274"/>
                      <a:pt x="343376" y="1433036"/>
                    </a:cubicBezTo>
                    <a:cubicBezTo>
                      <a:pt x="343376" y="1437799"/>
                      <a:pt x="344329" y="1442561"/>
                      <a:pt x="347186" y="1446371"/>
                    </a:cubicBezTo>
                    <a:cubicBezTo>
                      <a:pt x="339566" y="1447324"/>
                      <a:pt x="334804" y="1453991"/>
                      <a:pt x="334804" y="1461611"/>
                    </a:cubicBezTo>
                    <a:cubicBezTo>
                      <a:pt x="334804" y="1470184"/>
                      <a:pt x="341471" y="1476851"/>
                      <a:pt x="350044" y="1476851"/>
                    </a:cubicBezTo>
                    <a:cubicBezTo>
                      <a:pt x="353854" y="1476851"/>
                      <a:pt x="356711" y="1475899"/>
                      <a:pt x="359569" y="1473994"/>
                    </a:cubicBezTo>
                    <a:cubicBezTo>
                      <a:pt x="363379" y="1480661"/>
                      <a:pt x="370046" y="1484471"/>
                      <a:pt x="377666" y="1486376"/>
                    </a:cubicBezTo>
                    <a:cubicBezTo>
                      <a:pt x="379571" y="1490186"/>
                      <a:pt x="383381" y="1492091"/>
                      <a:pt x="388144" y="1492091"/>
                    </a:cubicBezTo>
                    <a:cubicBezTo>
                      <a:pt x="394811" y="1492091"/>
                      <a:pt x="400526" y="1486376"/>
                      <a:pt x="400526" y="1479709"/>
                    </a:cubicBezTo>
                    <a:cubicBezTo>
                      <a:pt x="400526" y="1478756"/>
                      <a:pt x="400526" y="1478756"/>
                      <a:pt x="400526" y="1478756"/>
                    </a:cubicBezTo>
                    <a:cubicBezTo>
                      <a:pt x="405289" y="1473994"/>
                      <a:pt x="408146" y="1468279"/>
                      <a:pt x="408146" y="1460659"/>
                    </a:cubicBezTo>
                    <a:cubicBezTo>
                      <a:pt x="408146" y="1451134"/>
                      <a:pt x="403384" y="1443514"/>
                      <a:pt x="396716" y="1438751"/>
                    </a:cubicBezTo>
                    <a:cubicBezTo>
                      <a:pt x="396716" y="1436846"/>
                      <a:pt x="397669" y="1435894"/>
                      <a:pt x="397669" y="1433989"/>
                    </a:cubicBezTo>
                    <a:cubicBezTo>
                      <a:pt x="397669" y="1431131"/>
                      <a:pt x="396716" y="1428274"/>
                      <a:pt x="395764" y="1425416"/>
                    </a:cubicBezTo>
                    <a:cubicBezTo>
                      <a:pt x="396716" y="1424464"/>
                      <a:pt x="396716" y="1422559"/>
                      <a:pt x="396716" y="1420654"/>
                    </a:cubicBezTo>
                    <a:cubicBezTo>
                      <a:pt x="396716" y="1420654"/>
                      <a:pt x="396716" y="1420654"/>
                      <a:pt x="396716" y="1420654"/>
                    </a:cubicBezTo>
                    <a:cubicBezTo>
                      <a:pt x="397669" y="1421606"/>
                      <a:pt x="398621" y="1422559"/>
                      <a:pt x="399574" y="1423511"/>
                    </a:cubicBezTo>
                    <a:cubicBezTo>
                      <a:pt x="397669" y="1425416"/>
                      <a:pt x="395764" y="1428274"/>
                      <a:pt x="395764" y="1431131"/>
                    </a:cubicBezTo>
                    <a:cubicBezTo>
                      <a:pt x="395764" y="1436846"/>
                      <a:pt x="400526" y="1441609"/>
                      <a:pt x="406241" y="1441609"/>
                    </a:cubicBezTo>
                    <a:cubicBezTo>
                      <a:pt x="411956" y="1441609"/>
                      <a:pt x="415766" y="1437799"/>
                      <a:pt x="416719" y="1432084"/>
                    </a:cubicBezTo>
                    <a:cubicBezTo>
                      <a:pt x="418624" y="1432084"/>
                      <a:pt x="420529" y="1433036"/>
                      <a:pt x="422434" y="1433036"/>
                    </a:cubicBezTo>
                    <a:cubicBezTo>
                      <a:pt x="421481" y="1434941"/>
                      <a:pt x="420529" y="1437799"/>
                      <a:pt x="420529" y="1440656"/>
                    </a:cubicBezTo>
                    <a:cubicBezTo>
                      <a:pt x="420529" y="1446371"/>
                      <a:pt x="423386" y="1451134"/>
                      <a:pt x="427196" y="1454944"/>
                    </a:cubicBezTo>
                    <a:cubicBezTo>
                      <a:pt x="421481" y="1457801"/>
                      <a:pt x="417671" y="1463516"/>
                      <a:pt x="417671" y="1471136"/>
                    </a:cubicBezTo>
                    <a:cubicBezTo>
                      <a:pt x="417671" y="1473994"/>
                      <a:pt x="418624" y="1476851"/>
                      <a:pt x="419576" y="1478756"/>
                    </a:cubicBezTo>
                    <a:cubicBezTo>
                      <a:pt x="413861" y="1478756"/>
                      <a:pt x="408146" y="1483519"/>
                      <a:pt x="408146" y="1490186"/>
                    </a:cubicBezTo>
                    <a:cubicBezTo>
                      <a:pt x="408146" y="1493044"/>
                      <a:pt x="410051" y="1496854"/>
                      <a:pt x="411956" y="1498759"/>
                    </a:cubicBezTo>
                    <a:cubicBezTo>
                      <a:pt x="411004" y="1499711"/>
                      <a:pt x="411004" y="1500664"/>
                      <a:pt x="411004" y="1502569"/>
                    </a:cubicBezTo>
                    <a:cubicBezTo>
                      <a:pt x="409099" y="1501616"/>
                      <a:pt x="407194" y="1500664"/>
                      <a:pt x="404336" y="1500664"/>
                    </a:cubicBezTo>
                    <a:cubicBezTo>
                      <a:pt x="398621" y="1500664"/>
                      <a:pt x="393859" y="1505426"/>
                      <a:pt x="393859" y="1511141"/>
                    </a:cubicBezTo>
                    <a:cubicBezTo>
                      <a:pt x="393859" y="1514951"/>
                      <a:pt x="395764" y="1517809"/>
                      <a:pt x="399574" y="1519714"/>
                    </a:cubicBezTo>
                    <a:cubicBezTo>
                      <a:pt x="392906" y="1521619"/>
                      <a:pt x="387191" y="1528286"/>
                      <a:pt x="387191" y="1535906"/>
                    </a:cubicBezTo>
                    <a:cubicBezTo>
                      <a:pt x="387191" y="1538764"/>
                      <a:pt x="388144" y="1541621"/>
                      <a:pt x="389096" y="1544479"/>
                    </a:cubicBezTo>
                    <a:cubicBezTo>
                      <a:pt x="387191" y="1544479"/>
                      <a:pt x="386239" y="1544479"/>
                      <a:pt x="384334" y="1545431"/>
                    </a:cubicBezTo>
                    <a:cubicBezTo>
                      <a:pt x="383381" y="1536859"/>
                      <a:pt x="375761" y="1530191"/>
                      <a:pt x="367189" y="1530191"/>
                    </a:cubicBezTo>
                    <a:cubicBezTo>
                      <a:pt x="357664" y="1530191"/>
                      <a:pt x="350044" y="1537811"/>
                      <a:pt x="350044" y="1547336"/>
                    </a:cubicBezTo>
                    <a:cubicBezTo>
                      <a:pt x="350044" y="1554956"/>
                      <a:pt x="354806" y="1560671"/>
                      <a:pt x="361474" y="1563529"/>
                    </a:cubicBezTo>
                    <a:cubicBezTo>
                      <a:pt x="360521" y="1565434"/>
                      <a:pt x="359569" y="1566386"/>
                      <a:pt x="359569" y="1568291"/>
                    </a:cubicBezTo>
                    <a:cubicBezTo>
                      <a:pt x="357664" y="1566386"/>
                      <a:pt x="355759" y="1565434"/>
                      <a:pt x="352901" y="1565434"/>
                    </a:cubicBezTo>
                    <a:cubicBezTo>
                      <a:pt x="348139" y="1565434"/>
                      <a:pt x="344329" y="1569244"/>
                      <a:pt x="344329" y="1574006"/>
                    </a:cubicBezTo>
                    <a:cubicBezTo>
                      <a:pt x="344329" y="1575911"/>
                      <a:pt x="345281" y="1577816"/>
                      <a:pt x="346234" y="1578769"/>
                    </a:cubicBezTo>
                    <a:cubicBezTo>
                      <a:pt x="341471" y="1582579"/>
                      <a:pt x="338614" y="1588294"/>
                      <a:pt x="338614" y="1594961"/>
                    </a:cubicBezTo>
                    <a:cubicBezTo>
                      <a:pt x="338614" y="1605439"/>
                      <a:pt x="347186" y="1614964"/>
                      <a:pt x="357664" y="1615916"/>
                    </a:cubicBezTo>
                    <a:cubicBezTo>
                      <a:pt x="358616" y="1617821"/>
                      <a:pt x="359569" y="1619726"/>
                      <a:pt x="361474" y="1620679"/>
                    </a:cubicBezTo>
                    <a:cubicBezTo>
                      <a:pt x="364331" y="1628299"/>
                      <a:pt x="369094" y="1634014"/>
                      <a:pt x="375761" y="1637824"/>
                    </a:cubicBezTo>
                    <a:cubicBezTo>
                      <a:pt x="375761" y="1638776"/>
                      <a:pt x="376714" y="1639729"/>
                      <a:pt x="376714" y="1640681"/>
                    </a:cubicBezTo>
                    <a:cubicBezTo>
                      <a:pt x="367189" y="1644491"/>
                      <a:pt x="358616" y="1653064"/>
                      <a:pt x="355759" y="1662589"/>
                    </a:cubicBezTo>
                    <a:cubicBezTo>
                      <a:pt x="353854" y="1660684"/>
                      <a:pt x="350996" y="1658779"/>
                      <a:pt x="347186" y="1657826"/>
                    </a:cubicBezTo>
                    <a:cubicBezTo>
                      <a:pt x="353854" y="1654016"/>
                      <a:pt x="358616" y="1646396"/>
                      <a:pt x="358616" y="1637824"/>
                    </a:cubicBezTo>
                    <a:cubicBezTo>
                      <a:pt x="358616" y="1627346"/>
                      <a:pt x="350996" y="1617821"/>
                      <a:pt x="341471" y="1614964"/>
                    </a:cubicBezTo>
                    <a:cubicBezTo>
                      <a:pt x="340519" y="1603534"/>
                      <a:pt x="333851" y="1594009"/>
                      <a:pt x="324326" y="1589246"/>
                    </a:cubicBezTo>
                    <a:cubicBezTo>
                      <a:pt x="323374" y="1586389"/>
                      <a:pt x="322421" y="1582579"/>
                      <a:pt x="321469" y="1579721"/>
                    </a:cubicBezTo>
                    <a:cubicBezTo>
                      <a:pt x="321469" y="1578769"/>
                      <a:pt x="322421" y="1577816"/>
                      <a:pt x="322421" y="1575911"/>
                    </a:cubicBezTo>
                    <a:cubicBezTo>
                      <a:pt x="322421" y="1569244"/>
                      <a:pt x="316706" y="1562576"/>
                      <a:pt x="309086" y="1562576"/>
                    </a:cubicBezTo>
                    <a:cubicBezTo>
                      <a:pt x="308134" y="1562576"/>
                      <a:pt x="307181" y="1562576"/>
                      <a:pt x="306229" y="1562576"/>
                    </a:cubicBezTo>
                    <a:cubicBezTo>
                      <a:pt x="306229" y="1561624"/>
                      <a:pt x="306229" y="1559719"/>
                      <a:pt x="306229" y="1558766"/>
                    </a:cubicBezTo>
                    <a:cubicBezTo>
                      <a:pt x="306229" y="1556861"/>
                      <a:pt x="306229" y="1554004"/>
                      <a:pt x="305276" y="1552099"/>
                    </a:cubicBezTo>
                    <a:cubicBezTo>
                      <a:pt x="306229" y="1551146"/>
                      <a:pt x="307181" y="1551146"/>
                      <a:pt x="308134" y="1550194"/>
                    </a:cubicBezTo>
                    <a:cubicBezTo>
                      <a:pt x="310039" y="1553051"/>
                      <a:pt x="312896" y="1554956"/>
                      <a:pt x="316706" y="1554956"/>
                    </a:cubicBezTo>
                    <a:cubicBezTo>
                      <a:pt x="316706" y="1554956"/>
                      <a:pt x="316706" y="1554956"/>
                      <a:pt x="317659" y="1554956"/>
                    </a:cubicBezTo>
                    <a:cubicBezTo>
                      <a:pt x="316706" y="1555909"/>
                      <a:pt x="316706" y="1557814"/>
                      <a:pt x="316706" y="1558766"/>
                    </a:cubicBezTo>
                    <a:cubicBezTo>
                      <a:pt x="316706" y="1564481"/>
                      <a:pt x="321469" y="1569244"/>
                      <a:pt x="327184" y="1569244"/>
                    </a:cubicBezTo>
                    <a:cubicBezTo>
                      <a:pt x="332899" y="1569244"/>
                      <a:pt x="337661" y="1564481"/>
                      <a:pt x="337661" y="1558766"/>
                    </a:cubicBezTo>
                    <a:cubicBezTo>
                      <a:pt x="337661" y="1553051"/>
                      <a:pt x="332899" y="1548289"/>
                      <a:pt x="327184" y="1548289"/>
                    </a:cubicBezTo>
                    <a:cubicBezTo>
                      <a:pt x="327184" y="1548289"/>
                      <a:pt x="327184" y="1548289"/>
                      <a:pt x="326231" y="1548289"/>
                    </a:cubicBezTo>
                    <a:cubicBezTo>
                      <a:pt x="326231" y="1547336"/>
                      <a:pt x="327184" y="1545431"/>
                      <a:pt x="327184" y="1544479"/>
                    </a:cubicBezTo>
                    <a:cubicBezTo>
                      <a:pt x="327184" y="1538764"/>
                      <a:pt x="322421" y="1534001"/>
                      <a:pt x="316706" y="1534001"/>
                    </a:cubicBezTo>
                    <a:cubicBezTo>
                      <a:pt x="315754" y="1534001"/>
                      <a:pt x="314801" y="1534001"/>
                      <a:pt x="313849" y="1534954"/>
                    </a:cubicBezTo>
                    <a:cubicBezTo>
                      <a:pt x="313849" y="1534001"/>
                      <a:pt x="313849" y="1533049"/>
                      <a:pt x="312896" y="1533049"/>
                    </a:cubicBezTo>
                    <a:cubicBezTo>
                      <a:pt x="326231" y="1530191"/>
                      <a:pt x="335756" y="1518761"/>
                      <a:pt x="335756" y="1505426"/>
                    </a:cubicBezTo>
                    <a:cubicBezTo>
                      <a:pt x="335756" y="1500664"/>
                      <a:pt x="334804" y="1495901"/>
                      <a:pt x="331946" y="1492091"/>
                    </a:cubicBezTo>
                    <a:cubicBezTo>
                      <a:pt x="331946" y="1491139"/>
                      <a:pt x="332899" y="1490186"/>
                      <a:pt x="332899" y="1488281"/>
                    </a:cubicBezTo>
                    <a:cubicBezTo>
                      <a:pt x="332899" y="1483519"/>
                      <a:pt x="329089" y="1479709"/>
                      <a:pt x="324326" y="1479709"/>
                    </a:cubicBezTo>
                    <a:cubicBezTo>
                      <a:pt x="323374" y="1479709"/>
                      <a:pt x="321469" y="1479709"/>
                      <a:pt x="320516" y="1480661"/>
                    </a:cubicBezTo>
                    <a:cubicBezTo>
                      <a:pt x="316706" y="1478756"/>
                      <a:pt x="312896" y="1477804"/>
                      <a:pt x="308134" y="1477804"/>
                    </a:cubicBezTo>
                    <a:cubicBezTo>
                      <a:pt x="297656" y="1477804"/>
                      <a:pt x="288131" y="1483519"/>
                      <a:pt x="283369" y="1492091"/>
                    </a:cubicBezTo>
                    <a:cubicBezTo>
                      <a:pt x="282416" y="1492091"/>
                      <a:pt x="280511" y="1491139"/>
                      <a:pt x="279559" y="1491139"/>
                    </a:cubicBezTo>
                    <a:cubicBezTo>
                      <a:pt x="272891" y="1491139"/>
                      <a:pt x="267176" y="1494949"/>
                      <a:pt x="265271" y="1500664"/>
                    </a:cubicBezTo>
                    <a:cubicBezTo>
                      <a:pt x="262414" y="1502569"/>
                      <a:pt x="260509" y="1505426"/>
                      <a:pt x="258604" y="1508284"/>
                    </a:cubicBezTo>
                    <a:cubicBezTo>
                      <a:pt x="255746" y="1507331"/>
                      <a:pt x="252889" y="1506379"/>
                      <a:pt x="250031" y="1506379"/>
                    </a:cubicBezTo>
                    <a:cubicBezTo>
                      <a:pt x="239554" y="1506379"/>
                      <a:pt x="231934" y="1514951"/>
                      <a:pt x="231934" y="1524476"/>
                    </a:cubicBezTo>
                    <a:cubicBezTo>
                      <a:pt x="231934" y="1532096"/>
                      <a:pt x="236696" y="1538764"/>
                      <a:pt x="243364" y="1541621"/>
                    </a:cubicBezTo>
                    <a:cubicBezTo>
                      <a:pt x="243364" y="1542574"/>
                      <a:pt x="242411" y="1542574"/>
                      <a:pt x="242411" y="1543526"/>
                    </a:cubicBezTo>
                    <a:cubicBezTo>
                      <a:pt x="241459" y="1543526"/>
                      <a:pt x="240506" y="1543526"/>
                      <a:pt x="239554" y="1543526"/>
                    </a:cubicBezTo>
                    <a:cubicBezTo>
                      <a:pt x="233839" y="1543526"/>
                      <a:pt x="229076" y="1545431"/>
                      <a:pt x="225266" y="1548289"/>
                    </a:cubicBezTo>
                    <a:cubicBezTo>
                      <a:pt x="220504" y="1545431"/>
                      <a:pt x="215741" y="1544479"/>
                      <a:pt x="210026" y="1544479"/>
                    </a:cubicBezTo>
                    <a:cubicBezTo>
                      <a:pt x="202406" y="1544479"/>
                      <a:pt x="194786" y="1547336"/>
                      <a:pt x="189071" y="1553051"/>
                    </a:cubicBezTo>
                    <a:cubicBezTo>
                      <a:pt x="185261" y="1547336"/>
                      <a:pt x="178594" y="1543526"/>
                      <a:pt x="170974" y="1543526"/>
                    </a:cubicBezTo>
                    <a:cubicBezTo>
                      <a:pt x="168116" y="1543526"/>
                      <a:pt x="165259" y="1544479"/>
                      <a:pt x="162401" y="1545431"/>
                    </a:cubicBezTo>
                    <a:cubicBezTo>
                      <a:pt x="161449" y="1541621"/>
                      <a:pt x="157639" y="1537811"/>
                      <a:pt x="152876" y="1537811"/>
                    </a:cubicBezTo>
                    <a:cubicBezTo>
                      <a:pt x="147161" y="1537811"/>
                      <a:pt x="143351" y="1542574"/>
                      <a:pt x="143351" y="1547336"/>
                    </a:cubicBezTo>
                    <a:cubicBezTo>
                      <a:pt x="143351" y="1552099"/>
                      <a:pt x="146209" y="1555909"/>
                      <a:pt x="150971" y="1556861"/>
                    </a:cubicBezTo>
                    <a:cubicBezTo>
                      <a:pt x="150019" y="1559719"/>
                      <a:pt x="149066" y="1562576"/>
                      <a:pt x="149066" y="1566386"/>
                    </a:cubicBezTo>
                    <a:cubicBezTo>
                      <a:pt x="149066" y="1572101"/>
                      <a:pt x="150971" y="1576864"/>
                      <a:pt x="153829" y="1580674"/>
                    </a:cubicBezTo>
                    <a:cubicBezTo>
                      <a:pt x="148114" y="1581626"/>
                      <a:pt x="143351" y="1586389"/>
                      <a:pt x="143351" y="1593056"/>
                    </a:cubicBezTo>
                    <a:cubicBezTo>
                      <a:pt x="143351" y="1599724"/>
                      <a:pt x="149066" y="1605439"/>
                      <a:pt x="155734" y="1605439"/>
                    </a:cubicBezTo>
                    <a:cubicBezTo>
                      <a:pt x="162401" y="1605439"/>
                      <a:pt x="168116" y="1599724"/>
                      <a:pt x="168116" y="1593056"/>
                    </a:cubicBezTo>
                    <a:cubicBezTo>
                      <a:pt x="168116" y="1592104"/>
                      <a:pt x="168116" y="1590199"/>
                      <a:pt x="167164" y="1589246"/>
                    </a:cubicBezTo>
                    <a:cubicBezTo>
                      <a:pt x="168116" y="1589246"/>
                      <a:pt x="170021" y="1589246"/>
                      <a:pt x="170974" y="1589246"/>
                    </a:cubicBezTo>
                    <a:cubicBezTo>
                      <a:pt x="174784" y="1589246"/>
                      <a:pt x="178594" y="1588294"/>
                      <a:pt x="182404" y="1586389"/>
                    </a:cubicBezTo>
                    <a:cubicBezTo>
                      <a:pt x="183356" y="1587341"/>
                      <a:pt x="183356" y="1588294"/>
                      <a:pt x="184309" y="1589246"/>
                    </a:cubicBezTo>
                    <a:cubicBezTo>
                      <a:pt x="183356" y="1592104"/>
                      <a:pt x="183356" y="1594961"/>
                      <a:pt x="183356" y="1597819"/>
                    </a:cubicBezTo>
                    <a:cubicBezTo>
                      <a:pt x="183356" y="1607344"/>
                      <a:pt x="188119" y="1615916"/>
                      <a:pt x="195739" y="1620679"/>
                    </a:cubicBezTo>
                    <a:cubicBezTo>
                      <a:pt x="195739" y="1620679"/>
                      <a:pt x="195739" y="1620679"/>
                      <a:pt x="195739" y="1620679"/>
                    </a:cubicBezTo>
                    <a:cubicBezTo>
                      <a:pt x="195739" y="1623536"/>
                      <a:pt x="198596" y="1626394"/>
                      <a:pt x="201454" y="1626394"/>
                    </a:cubicBezTo>
                    <a:cubicBezTo>
                      <a:pt x="203359" y="1626394"/>
                      <a:pt x="204311" y="1625441"/>
                      <a:pt x="206216" y="1624489"/>
                    </a:cubicBezTo>
                    <a:cubicBezTo>
                      <a:pt x="207169" y="1624489"/>
                      <a:pt x="209074" y="1624489"/>
                      <a:pt x="210026" y="1624489"/>
                    </a:cubicBezTo>
                    <a:cubicBezTo>
                      <a:pt x="223361" y="1624489"/>
                      <a:pt x="234791" y="1614011"/>
                      <a:pt x="236696" y="1600676"/>
                    </a:cubicBezTo>
                    <a:cubicBezTo>
                      <a:pt x="240506" y="1602581"/>
                      <a:pt x="244316" y="1604486"/>
                      <a:pt x="249079" y="1604486"/>
                    </a:cubicBezTo>
                    <a:cubicBezTo>
                      <a:pt x="248126" y="1607344"/>
                      <a:pt x="247174" y="1611154"/>
                      <a:pt x="247174" y="1614011"/>
                    </a:cubicBezTo>
                    <a:cubicBezTo>
                      <a:pt x="247174" y="1615916"/>
                      <a:pt x="247174" y="1617821"/>
                      <a:pt x="248126" y="1619726"/>
                    </a:cubicBezTo>
                    <a:cubicBezTo>
                      <a:pt x="248126" y="1619726"/>
                      <a:pt x="248126" y="1619726"/>
                      <a:pt x="247174" y="1619726"/>
                    </a:cubicBezTo>
                    <a:cubicBezTo>
                      <a:pt x="239554" y="1619726"/>
                      <a:pt x="233839" y="1625441"/>
                      <a:pt x="233839" y="1633061"/>
                    </a:cubicBezTo>
                    <a:cubicBezTo>
                      <a:pt x="233839" y="1639729"/>
                      <a:pt x="239554" y="1645444"/>
                      <a:pt x="246221" y="1646396"/>
                    </a:cubicBezTo>
                    <a:cubicBezTo>
                      <a:pt x="246221" y="1653064"/>
                      <a:pt x="251936" y="1657826"/>
                      <a:pt x="258604" y="1657826"/>
                    </a:cubicBezTo>
                    <a:cubicBezTo>
                      <a:pt x="265271" y="1657826"/>
                      <a:pt x="270986" y="1652111"/>
                      <a:pt x="270986" y="1645444"/>
                    </a:cubicBezTo>
                    <a:cubicBezTo>
                      <a:pt x="270986" y="1642586"/>
                      <a:pt x="270034" y="1640681"/>
                      <a:pt x="268129" y="1637824"/>
                    </a:cubicBezTo>
                    <a:cubicBezTo>
                      <a:pt x="269081" y="1637824"/>
                      <a:pt x="270034" y="1637824"/>
                      <a:pt x="270034" y="1637824"/>
                    </a:cubicBezTo>
                    <a:cubicBezTo>
                      <a:pt x="273844" y="1637824"/>
                      <a:pt x="277654" y="1636871"/>
                      <a:pt x="281464" y="1634966"/>
                    </a:cubicBezTo>
                    <a:cubicBezTo>
                      <a:pt x="284321" y="1638776"/>
                      <a:pt x="288131" y="1641634"/>
                      <a:pt x="291941" y="1644491"/>
                    </a:cubicBezTo>
                    <a:cubicBezTo>
                      <a:pt x="290989" y="1646396"/>
                      <a:pt x="290036" y="1648301"/>
                      <a:pt x="290036" y="1651159"/>
                    </a:cubicBezTo>
                    <a:cubicBezTo>
                      <a:pt x="290036" y="1658779"/>
                      <a:pt x="295751" y="1664494"/>
                      <a:pt x="303371" y="1664494"/>
                    </a:cubicBezTo>
                    <a:cubicBezTo>
                      <a:pt x="307181" y="1664494"/>
                      <a:pt x="310991" y="1662589"/>
                      <a:pt x="312896" y="1660684"/>
                    </a:cubicBezTo>
                    <a:cubicBezTo>
                      <a:pt x="312896" y="1661636"/>
                      <a:pt x="311944" y="1663541"/>
                      <a:pt x="311944" y="1664494"/>
                    </a:cubicBezTo>
                    <a:cubicBezTo>
                      <a:pt x="311944" y="1671161"/>
                      <a:pt x="317659" y="1676876"/>
                      <a:pt x="324326" y="1676876"/>
                    </a:cubicBezTo>
                    <a:cubicBezTo>
                      <a:pt x="326231" y="1676876"/>
                      <a:pt x="328136" y="1675924"/>
                      <a:pt x="330041" y="1675924"/>
                    </a:cubicBezTo>
                    <a:cubicBezTo>
                      <a:pt x="331946" y="1680686"/>
                      <a:pt x="336709" y="1683544"/>
                      <a:pt x="342424" y="1683544"/>
                    </a:cubicBezTo>
                    <a:cubicBezTo>
                      <a:pt x="346234" y="1683544"/>
                      <a:pt x="349091" y="1681639"/>
                      <a:pt x="351949" y="1679734"/>
                    </a:cubicBezTo>
                    <a:cubicBezTo>
                      <a:pt x="353854" y="1685449"/>
                      <a:pt x="356711" y="1691164"/>
                      <a:pt x="360521" y="1694974"/>
                    </a:cubicBezTo>
                    <a:cubicBezTo>
                      <a:pt x="359569" y="1694974"/>
                      <a:pt x="359569" y="1694974"/>
                      <a:pt x="358616" y="1694974"/>
                    </a:cubicBezTo>
                    <a:cubicBezTo>
                      <a:pt x="352901" y="1694974"/>
                      <a:pt x="348139" y="1699736"/>
                      <a:pt x="348139" y="1705451"/>
                    </a:cubicBezTo>
                    <a:cubicBezTo>
                      <a:pt x="348139" y="1710214"/>
                      <a:pt x="350996" y="1713071"/>
                      <a:pt x="354806" y="1714976"/>
                    </a:cubicBezTo>
                    <a:cubicBezTo>
                      <a:pt x="349091" y="1716881"/>
                      <a:pt x="345281" y="1722596"/>
                      <a:pt x="345281" y="1729264"/>
                    </a:cubicBezTo>
                    <a:cubicBezTo>
                      <a:pt x="345281" y="1737836"/>
                      <a:pt x="351949" y="1744504"/>
                      <a:pt x="360521" y="1744504"/>
                    </a:cubicBezTo>
                    <a:cubicBezTo>
                      <a:pt x="369094" y="1744504"/>
                      <a:pt x="375761" y="1737836"/>
                      <a:pt x="375761" y="1729264"/>
                    </a:cubicBezTo>
                    <a:cubicBezTo>
                      <a:pt x="375761" y="1721644"/>
                      <a:pt x="370046" y="1715929"/>
                      <a:pt x="363379" y="1714024"/>
                    </a:cubicBezTo>
                    <a:cubicBezTo>
                      <a:pt x="366236" y="1712119"/>
                      <a:pt x="368141" y="1709261"/>
                      <a:pt x="368141" y="1705451"/>
                    </a:cubicBezTo>
                    <a:cubicBezTo>
                      <a:pt x="368141" y="1704499"/>
                      <a:pt x="368141" y="1702594"/>
                      <a:pt x="367189" y="1701641"/>
                    </a:cubicBezTo>
                    <a:cubicBezTo>
                      <a:pt x="369094" y="1702594"/>
                      <a:pt x="371951" y="1704499"/>
                      <a:pt x="374809" y="1704499"/>
                    </a:cubicBezTo>
                    <a:cubicBezTo>
                      <a:pt x="376714" y="1706404"/>
                      <a:pt x="378619" y="1707356"/>
                      <a:pt x="381476" y="1707356"/>
                    </a:cubicBezTo>
                    <a:cubicBezTo>
                      <a:pt x="382429" y="1707356"/>
                      <a:pt x="384334" y="1707356"/>
                      <a:pt x="385286" y="1706404"/>
                    </a:cubicBezTo>
                    <a:cubicBezTo>
                      <a:pt x="385286" y="1706404"/>
                      <a:pt x="385286" y="1706404"/>
                      <a:pt x="386239" y="1706404"/>
                    </a:cubicBezTo>
                    <a:cubicBezTo>
                      <a:pt x="399574" y="1706404"/>
                      <a:pt x="411004" y="1698784"/>
                      <a:pt x="416719" y="1688306"/>
                    </a:cubicBezTo>
                    <a:cubicBezTo>
                      <a:pt x="419576" y="1687354"/>
                      <a:pt x="421481" y="1685449"/>
                      <a:pt x="421481" y="1681639"/>
                    </a:cubicBezTo>
                    <a:cubicBezTo>
                      <a:pt x="421481" y="1680686"/>
                      <a:pt x="421481" y="1679734"/>
                      <a:pt x="420529" y="1678781"/>
                    </a:cubicBezTo>
                    <a:cubicBezTo>
                      <a:pt x="420529" y="1677829"/>
                      <a:pt x="420529" y="1676876"/>
                      <a:pt x="420529" y="1675924"/>
                    </a:cubicBezTo>
                    <a:cubicBezTo>
                      <a:pt x="424339" y="1677829"/>
                      <a:pt x="429101" y="1678781"/>
                      <a:pt x="433864" y="1679734"/>
                    </a:cubicBezTo>
                    <a:cubicBezTo>
                      <a:pt x="434816" y="1681639"/>
                      <a:pt x="435769" y="1684496"/>
                      <a:pt x="436721" y="1686401"/>
                    </a:cubicBezTo>
                    <a:cubicBezTo>
                      <a:pt x="427196" y="1688306"/>
                      <a:pt x="419576" y="1694021"/>
                      <a:pt x="415766" y="1702594"/>
                    </a:cubicBezTo>
                    <a:cubicBezTo>
                      <a:pt x="415766" y="1702594"/>
                      <a:pt x="414814" y="1702594"/>
                      <a:pt x="414814" y="1702594"/>
                    </a:cubicBezTo>
                    <a:cubicBezTo>
                      <a:pt x="411956" y="1702594"/>
                      <a:pt x="409099" y="1705451"/>
                      <a:pt x="409099" y="1708309"/>
                    </a:cubicBezTo>
                    <a:cubicBezTo>
                      <a:pt x="409099" y="1709261"/>
                      <a:pt x="409099" y="1710214"/>
                      <a:pt x="409099" y="1710214"/>
                    </a:cubicBezTo>
                    <a:cubicBezTo>
                      <a:pt x="408146" y="1710214"/>
                      <a:pt x="408146" y="1711166"/>
                      <a:pt x="407194" y="1711166"/>
                    </a:cubicBezTo>
                    <a:cubicBezTo>
                      <a:pt x="406241" y="1707356"/>
                      <a:pt x="403384" y="1705451"/>
                      <a:pt x="399574" y="1705451"/>
                    </a:cubicBezTo>
                    <a:cubicBezTo>
                      <a:pt x="394811" y="1705451"/>
                      <a:pt x="391954" y="1709261"/>
                      <a:pt x="391954" y="1713071"/>
                    </a:cubicBezTo>
                    <a:cubicBezTo>
                      <a:pt x="391954" y="1717834"/>
                      <a:pt x="395764" y="1720691"/>
                      <a:pt x="399574" y="1720691"/>
                    </a:cubicBezTo>
                    <a:cubicBezTo>
                      <a:pt x="399574" y="1720691"/>
                      <a:pt x="400526" y="1720691"/>
                      <a:pt x="400526" y="1720691"/>
                    </a:cubicBezTo>
                    <a:cubicBezTo>
                      <a:pt x="400526" y="1721644"/>
                      <a:pt x="400526" y="1723549"/>
                      <a:pt x="400526" y="1724501"/>
                    </a:cubicBezTo>
                    <a:cubicBezTo>
                      <a:pt x="400526" y="1726406"/>
                      <a:pt x="400526" y="1728311"/>
                      <a:pt x="401479" y="1729264"/>
                    </a:cubicBezTo>
                    <a:cubicBezTo>
                      <a:pt x="396716" y="1732121"/>
                      <a:pt x="392906" y="1737836"/>
                      <a:pt x="392906" y="1743551"/>
                    </a:cubicBezTo>
                    <a:cubicBezTo>
                      <a:pt x="392906" y="1746409"/>
                      <a:pt x="393859" y="1749266"/>
                      <a:pt x="394811" y="1752124"/>
                    </a:cubicBezTo>
                    <a:cubicBezTo>
                      <a:pt x="390049" y="1753076"/>
                      <a:pt x="385286" y="1754029"/>
                      <a:pt x="380524" y="1756886"/>
                    </a:cubicBezTo>
                    <a:cubicBezTo>
                      <a:pt x="376714" y="1754029"/>
                      <a:pt x="371951" y="1751171"/>
                      <a:pt x="367189" y="1751171"/>
                    </a:cubicBezTo>
                    <a:cubicBezTo>
                      <a:pt x="357664" y="1751171"/>
                      <a:pt x="350044" y="1757839"/>
                      <a:pt x="348139" y="1766411"/>
                    </a:cubicBezTo>
                    <a:cubicBezTo>
                      <a:pt x="348139" y="1766411"/>
                      <a:pt x="347186" y="1767364"/>
                      <a:pt x="347186" y="1767364"/>
                    </a:cubicBezTo>
                    <a:cubicBezTo>
                      <a:pt x="348139" y="1765459"/>
                      <a:pt x="348139" y="1763554"/>
                      <a:pt x="348139" y="1761649"/>
                    </a:cubicBezTo>
                    <a:cubicBezTo>
                      <a:pt x="348139" y="1754029"/>
                      <a:pt x="341471" y="1747361"/>
                      <a:pt x="333851" y="1747361"/>
                    </a:cubicBezTo>
                    <a:cubicBezTo>
                      <a:pt x="330041" y="1747361"/>
                      <a:pt x="327184" y="1749266"/>
                      <a:pt x="324326" y="1751171"/>
                    </a:cubicBezTo>
                    <a:cubicBezTo>
                      <a:pt x="318611" y="1742599"/>
                      <a:pt x="309086" y="1736884"/>
                      <a:pt x="298609" y="1736884"/>
                    </a:cubicBezTo>
                    <a:cubicBezTo>
                      <a:pt x="282416" y="1736884"/>
                      <a:pt x="269081" y="1750219"/>
                      <a:pt x="268129" y="1766411"/>
                    </a:cubicBezTo>
                    <a:cubicBezTo>
                      <a:pt x="266224" y="1766411"/>
                      <a:pt x="264319" y="1767364"/>
                      <a:pt x="263366" y="1767364"/>
                    </a:cubicBezTo>
                    <a:cubicBezTo>
                      <a:pt x="264319" y="1764506"/>
                      <a:pt x="265271" y="1761649"/>
                      <a:pt x="265271" y="1758791"/>
                    </a:cubicBezTo>
                    <a:cubicBezTo>
                      <a:pt x="265271" y="1744504"/>
                      <a:pt x="252889" y="1732121"/>
                      <a:pt x="238601" y="1732121"/>
                    </a:cubicBezTo>
                    <a:cubicBezTo>
                      <a:pt x="224314" y="1732121"/>
                      <a:pt x="211931" y="1744504"/>
                      <a:pt x="211931" y="1758791"/>
                    </a:cubicBezTo>
                    <a:cubicBezTo>
                      <a:pt x="211931" y="1760696"/>
                      <a:pt x="211931" y="1762601"/>
                      <a:pt x="212884" y="1764506"/>
                    </a:cubicBezTo>
                    <a:cubicBezTo>
                      <a:pt x="212884" y="1764506"/>
                      <a:pt x="212884" y="1765459"/>
                      <a:pt x="212884" y="1765459"/>
                    </a:cubicBezTo>
                    <a:cubicBezTo>
                      <a:pt x="212884" y="1768316"/>
                      <a:pt x="213836" y="1771174"/>
                      <a:pt x="214789" y="1773079"/>
                    </a:cubicBezTo>
                    <a:cubicBezTo>
                      <a:pt x="210026" y="1774031"/>
                      <a:pt x="207169" y="1777841"/>
                      <a:pt x="207169" y="1781651"/>
                    </a:cubicBezTo>
                    <a:cubicBezTo>
                      <a:pt x="207169" y="1782604"/>
                      <a:pt x="207169" y="1783556"/>
                      <a:pt x="208121" y="1784509"/>
                    </a:cubicBezTo>
                    <a:cubicBezTo>
                      <a:pt x="201454" y="1791176"/>
                      <a:pt x="196691" y="1799749"/>
                      <a:pt x="195739" y="1810226"/>
                    </a:cubicBezTo>
                    <a:cubicBezTo>
                      <a:pt x="194786" y="1830229"/>
                      <a:pt x="210026" y="1846421"/>
                      <a:pt x="230029" y="1847374"/>
                    </a:cubicBezTo>
                    <a:cubicBezTo>
                      <a:pt x="242411" y="1848326"/>
                      <a:pt x="253841" y="1841659"/>
                      <a:pt x="260509" y="1832134"/>
                    </a:cubicBezTo>
                    <a:cubicBezTo>
                      <a:pt x="260509" y="1833086"/>
                      <a:pt x="260509" y="1834039"/>
                      <a:pt x="260509" y="1834991"/>
                    </a:cubicBezTo>
                    <a:cubicBezTo>
                      <a:pt x="260509" y="1836896"/>
                      <a:pt x="260509" y="1837849"/>
                      <a:pt x="261461" y="1839754"/>
                    </a:cubicBezTo>
                    <a:cubicBezTo>
                      <a:pt x="259556" y="1840706"/>
                      <a:pt x="257651" y="1842611"/>
                      <a:pt x="257651" y="1844516"/>
                    </a:cubicBezTo>
                    <a:cubicBezTo>
                      <a:pt x="257651" y="1847374"/>
                      <a:pt x="260509" y="1850231"/>
                      <a:pt x="263366" y="1850231"/>
                    </a:cubicBezTo>
                    <a:cubicBezTo>
                      <a:pt x="265271" y="1850231"/>
                      <a:pt x="266224" y="1849279"/>
                      <a:pt x="267176" y="1848326"/>
                    </a:cubicBezTo>
                    <a:cubicBezTo>
                      <a:pt x="268129" y="1849279"/>
                      <a:pt x="270034" y="1850231"/>
                      <a:pt x="270986" y="1850231"/>
                    </a:cubicBezTo>
                    <a:cubicBezTo>
                      <a:pt x="272891" y="1853089"/>
                      <a:pt x="275749" y="1855946"/>
                      <a:pt x="279559" y="1855946"/>
                    </a:cubicBezTo>
                    <a:cubicBezTo>
                      <a:pt x="283369" y="1855946"/>
                      <a:pt x="286226" y="1854041"/>
                      <a:pt x="288131" y="1850231"/>
                    </a:cubicBezTo>
                    <a:cubicBezTo>
                      <a:pt x="291941" y="1852136"/>
                      <a:pt x="295751" y="1854041"/>
                      <a:pt x="300514" y="1854041"/>
                    </a:cubicBezTo>
                    <a:cubicBezTo>
                      <a:pt x="304324" y="1854041"/>
                      <a:pt x="307181" y="1853089"/>
                      <a:pt x="310039" y="1852136"/>
                    </a:cubicBezTo>
                    <a:cubicBezTo>
                      <a:pt x="319564" y="1851184"/>
                      <a:pt x="327184" y="1843564"/>
                      <a:pt x="329089" y="1834039"/>
                    </a:cubicBezTo>
                    <a:cubicBezTo>
                      <a:pt x="330994" y="1832134"/>
                      <a:pt x="332899" y="1830229"/>
                      <a:pt x="334804" y="1828324"/>
                    </a:cubicBezTo>
                    <a:cubicBezTo>
                      <a:pt x="335756" y="1828324"/>
                      <a:pt x="336709" y="1828324"/>
                      <a:pt x="337661" y="1828324"/>
                    </a:cubicBezTo>
                    <a:cubicBezTo>
                      <a:pt x="345281" y="1828324"/>
                      <a:pt x="351949" y="1824514"/>
                      <a:pt x="356711" y="1817846"/>
                    </a:cubicBezTo>
                    <a:cubicBezTo>
                      <a:pt x="360521" y="1818799"/>
                      <a:pt x="364331" y="1819751"/>
                      <a:pt x="368141" y="1819751"/>
                    </a:cubicBezTo>
                    <a:cubicBezTo>
                      <a:pt x="371951" y="1819751"/>
                      <a:pt x="376714" y="1818799"/>
                      <a:pt x="380524" y="1817846"/>
                    </a:cubicBezTo>
                    <a:cubicBezTo>
                      <a:pt x="386239" y="1821656"/>
                      <a:pt x="392906" y="1823561"/>
                      <a:pt x="400526" y="1823561"/>
                    </a:cubicBezTo>
                    <a:cubicBezTo>
                      <a:pt x="421481" y="1823561"/>
                      <a:pt x="437674" y="1806416"/>
                      <a:pt x="437674" y="1786414"/>
                    </a:cubicBezTo>
                    <a:cubicBezTo>
                      <a:pt x="437674" y="1786414"/>
                      <a:pt x="437674" y="1786414"/>
                      <a:pt x="437674" y="1786414"/>
                    </a:cubicBezTo>
                    <a:cubicBezTo>
                      <a:pt x="438626" y="1786414"/>
                      <a:pt x="440531" y="1786414"/>
                      <a:pt x="441484" y="1786414"/>
                    </a:cubicBezTo>
                    <a:cubicBezTo>
                      <a:pt x="446246" y="1786414"/>
                      <a:pt x="451009" y="1785461"/>
                      <a:pt x="454819" y="1782604"/>
                    </a:cubicBezTo>
                    <a:cubicBezTo>
                      <a:pt x="456724" y="1783556"/>
                      <a:pt x="459581" y="1784509"/>
                      <a:pt x="461486" y="1784509"/>
                    </a:cubicBezTo>
                    <a:cubicBezTo>
                      <a:pt x="469106" y="1784509"/>
                      <a:pt x="475774" y="1777841"/>
                      <a:pt x="475774" y="1770221"/>
                    </a:cubicBezTo>
                    <a:cubicBezTo>
                      <a:pt x="475774" y="1767364"/>
                      <a:pt x="474821" y="1764506"/>
                      <a:pt x="472916" y="1762601"/>
                    </a:cubicBezTo>
                    <a:cubicBezTo>
                      <a:pt x="478631" y="1760696"/>
                      <a:pt x="484346" y="1757839"/>
                      <a:pt x="488156" y="1753076"/>
                    </a:cubicBezTo>
                    <a:cubicBezTo>
                      <a:pt x="490061" y="1752124"/>
                      <a:pt x="491966" y="1751171"/>
                      <a:pt x="493871" y="1750219"/>
                    </a:cubicBezTo>
                    <a:cubicBezTo>
                      <a:pt x="493871" y="1750219"/>
                      <a:pt x="493871" y="1750219"/>
                      <a:pt x="493871" y="1751171"/>
                    </a:cubicBezTo>
                    <a:cubicBezTo>
                      <a:pt x="493871" y="1768316"/>
                      <a:pt x="508159" y="1782604"/>
                      <a:pt x="525304" y="1782604"/>
                    </a:cubicBezTo>
                    <a:cubicBezTo>
                      <a:pt x="528161" y="1782604"/>
                      <a:pt x="531019" y="1781651"/>
                      <a:pt x="533876" y="1780699"/>
                    </a:cubicBezTo>
                    <a:cubicBezTo>
                      <a:pt x="538639" y="1783556"/>
                      <a:pt x="543401" y="1785461"/>
                      <a:pt x="550069" y="1785461"/>
                    </a:cubicBezTo>
                    <a:cubicBezTo>
                      <a:pt x="556736" y="1785461"/>
                      <a:pt x="562451" y="1783556"/>
                      <a:pt x="567214" y="1779746"/>
                    </a:cubicBezTo>
                    <a:cubicBezTo>
                      <a:pt x="570071" y="1780699"/>
                      <a:pt x="572929" y="1780699"/>
                      <a:pt x="575786" y="1780699"/>
                    </a:cubicBezTo>
                    <a:cubicBezTo>
                      <a:pt x="586264" y="1780699"/>
                      <a:pt x="595789" y="1775936"/>
                      <a:pt x="601504" y="1769269"/>
                    </a:cubicBezTo>
                    <a:cubicBezTo>
                      <a:pt x="602456" y="1769269"/>
                      <a:pt x="603409" y="1769269"/>
                      <a:pt x="604361" y="1769269"/>
                    </a:cubicBezTo>
                    <a:cubicBezTo>
                      <a:pt x="608171" y="1769269"/>
                      <a:pt x="611981" y="1768316"/>
                      <a:pt x="615791" y="1767364"/>
                    </a:cubicBezTo>
                    <a:cubicBezTo>
                      <a:pt x="621506" y="1780699"/>
                      <a:pt x="635794" y="1791176"/>
                      <a:pt x="651034" y="1791176"/>
                    </a:cubicBezTo>
                    <a:cubicBezTo>
                      <a:pt x="652939" y="1791176"/>
                      <a:pt x="653891" y="1791176"/>
                      <a:pt x="655796" y="1791176"/>
                    </a:cubicBezTo>
                    <a:cubicBezTo>
                      <a:pt x="673894" y="1794034"/>
                      <a:pt x="691039" y="1797844"/>
                      <a:pt x="705326" y="1800701"/>
                    </a:cubicBezTo>
                    <a:cubicBezTo>
                      <a:pt x="758666" y="1812131"/>
                      <a:pt x="911066" y="1835944"/>
                      <a:pt x="1004411" y="1796891"/>
                    </a:cubicBezTo>
                    <a:cubicBezTo>
                      <a:pt x="1106329" y="1754029"/>
                      <a:pt x="1104424" y="1693069"/>
                      <a:pt x="1087279" y="1637824"/>
                    </a:cubicBezTo>
                    <a:cubicBezTo>
                      <a:pt x="1072039" y="1586389"/>
                      <a:pt x="1057751" y="1581626"/>
                      <a:pt x="1076801" y="1550194"/>
                    </a:cubicBezTo>
                    <a:cubicBezTo>
                      <a:pt x="1088231" y="1533049"/>
                      <a:pt x="1138714" y="1535906"/>
                      <a:pt x="1153001" y="1512094"/>
                    </a:cubicBezTo>
                    <a:cubicBezTo>
                      <a:pt x="1167289" y="1488281"/>
                      <a:pt x="1159669" y="1456849"/>
                      <a:pt x="1149191" y="1437799"/>
                    </a:cubicBezTo>
                    <a:cubicBezTo>
                      <a:pt x="1138714" y="1418749"/>
                      <a:pt x="1079659" y="1413986"/>
                      <a:pt x="1078706" y="1408271"/>
                    </a:cubicBezTo>
                    <a:cubicBezTo>
                      <a:pt x="1077754" y="1402556"/>
                      <a:pt x="1132999" y="1377791"/>
                      <a:pt x="1161574" y="1366361"/>
                    </a:cubicBezTo>
                    <a:cubicBezTo>
                      <a:pt x="1198721" y="1351121"/>
                      <a:pt x="1194911" y="1305401"/>
                      <a:pt x="1186339" y="1283494"/>
                    </a:cubicBezTo>
                    <a:cubicBezTo>
                      <a:pt x="1177766" y="1261586"/>
                      <a:pt x="1153954" y="1255871"/>
                      <a:pt x="1138714" y="1235869"/>
                    </a:cubicBezTo>
                    <a:cubicBezTo>
                      <a:pt x="1123474" y="1215866"/>
                      <a:pt x="1137761" y="1171099"/>
                      <a:pt x="1159669" y="1165384"/>
                    </a:cubicBezTo>
                    <a:cubicBezTo>
                      <a:pt x="1181576" y="1159669"/>
                      <a:pt x="1219676" y="1142524"/>
                      <a:pt x="1240631" y="1103471"/>
                    </a:cubicBezTo>
                    <a:cubicBezTo>
                      <a:pt x="1254919" y="1067276"/>
                      <a:pt x="1213961" y="1007269"/>
                      <a:pt x="1172051" y="974884"/>
                    </a:cubicBezTo>
                    <a:close/>
                    <a:moveTo>
                      <a:pt x="584359" y="250984"/>
                    </a:moveTo>
                    <a:cubicBezTo>
                      <a:pt x="583406" y="251936"/>
                      <a:pt x="582454" y="251936"/>
                      <a:pt x="581501" y="252889"/>
                    </a:cubicBezTo>
                    <a:cubicBezTo>
                      <a:pt x="578644" y="250984"/>
                      <a:pt x="575786" y="250031"/>
                      <a:pt x="572929" y="250031"/>
                    </a:cubicBezTo>
                    <a:cubicBezTo>
                      <a:pt x="572929" y="250031"/>
                      <a:pt x="572929" y="250031"/>
                      <a:pt x="571976" y="250031"/>
                    </a:cubicBezTo>
                    <a:cubicBezTo>
                      <a:pt x="571024" y="250031"/>
                      <a:pt x="571024" y="249079"/>
                      <a:pt x="570071" y="249079"/>
                    </a:cubicBezTo>
                    <a:cubicBezTo>
                      <a:pt x="570071" y="248126"/>
                      <a:pt x="570071" y="247174"/>
                      <a:pt x="570071" y="246221"/>
                    </a:cubicBezTo>
                    <a:cubicBezTo>
                      <a:pt x="570071" y="245269"/>
                      <a:pt x="570071" y="244316"/>
                      <a:pt x="570071" y="243364"/>
                    </a:cubicBezTo>
                    <a:cubicBezTo>
                      <a:pt x="575786" y="241459"/>
                      <a:pt x="580549" y="238601"/>
                      <a:pt x="585311" y="234791"/>
                    </a:cubicBezTo>
                    <a:cubicBezTo>
                      <a:pt x="587216" y="238601"/>
                      <a:pt x="591026" y="242411"/>
                      <a:pt x="595789" y="244316"/>
                    </a:cubicBezTo>
                    <a:cubicBezTo>
                      <a:pt x="590074" y="244316"/>
                      <a:pt x="586264" y="247174"/>
                      <a:pt x="584359" y="250984"/>
                    </a:cubicBezTo>
                    <a:close/>
                    <a:moveTo>
                      <a:pt x="596741" y="201454"/>
                    </a:moveTo>
                    <a:cubicBezTo>
                      <a:pt x="596741" y="200501"/>
                      <a:pt x="596741" y="199549"/>
                      <a:pt x="596741" y="198596"/>
                    </a:cubicBezTo>
                    <a:cubicBezTo>
                      <a:pt x="597694" y="198596"/>
                      <a:pt x="598646" y="199549"/>
                      <a:pt x="598646" y="199549"/>
                    </a:cubicBezTo>
                    <a:cubicBezTo>
                      <a:pt x="597694" y="200501"/>
                      <a:pt x="597694" y="200501"/>
                      <a:pt x="596741" y="201454"/>
                    </a:cubicBezTo>
                    <a:close/>
                    <a:moveTo>
                      <a:pt x="606266" y="250031"/>
                    </a:moveTo>
                    <a:cubicBezTo>
                      <a:pt x="605314" y="248126"/>
                      <a:pt x="603409" y="247174"/>
                      <a:pt x="602456" y="245269"/>
                    </a:cubicBezTo>
                    <a:cubicBezTo>
                      <a:pt x="603409" y="245269"/>
                      <a:pt x="604361" y="245269"/>
                      <a:pt x="605314" y="245269"/>
                    </a:cubicBezTo>
                    <a:cubicBezTo>
                      <a:pt x="606266" y="245269"/>
                      <a:pt x="608171" y="245269"/>
                      <a:pt x="609124" y="245269"/>
                    </a:cubicBezTo>
                    <a:cubicBezTo>
                      <a:pt x="607219" y="247174"/>
                      <a:pt x="607219" y="248126"/>
                      <a:pt x="606266" y="250031"/>
                    </a:cubicBezTo>
                    <a:close/>
                    <a:moveTo>
                      <a:pt x="557689" y="407194"/>
                    </a:moveTo>
                    <a:cubicBezTo>
                      <a:pt x="556736" y="407194"/>
                      <a:pt x="556736" y="407194"/>
                      <a:pt x="555784" y="407194"/>
                    </a:cubicBezTo>
                    <a:cubicBezTo>
                      <a:pt x="555784" y="406241"/>
                      <a:pt x="555784" y="406241"/>
                      <a:pt x="555784" y="405289"/>
                    </a:cubicBezTo>
                    <a:cubicBezTo>
                      <a:pt x="555784" y="403384"/>
                      <a:pt x="555784" y="402431"/>
                      <a:pt x="554831" y="400526"/>
                    </a:cubicBezTo>
                    <a:cubicBezTo>
                      <a:pt x="555784" y="403384"/>
                      <a:pt x="557689" y="405289"/>
                      <a:pt x="559594" y="407194"/>
                    </a:cubicBezTo>
                    <a:cubicBezTo>
                      <a:pt x="560546" y="407194"/>
                      <a:pt x="559594" y="407194"/>
                      <a:pt x="557689" y="407194"/>
                    </a:cubicBezTo>
                    <a:close/>
                    <a:moveTo>
                      <a:pt x="637699" y="305276"/>
                    </a:moveTo>
                    <a:cubicBezTo>
                      <a:pt x="638651" y="307181"/>
                      <a:pt x="640556" y="308134"/>
                      <a:pt x="641509" y="309086"/>
                    </a:cubicBezTo>
                    <a:cubicBezTo>
                      <a:pt x="640556" y="309086"/>
                      <a:pt x="639604" y="310039"/>
                      <a:pt x="638651" y="310039"/>
                    </a:cubicBezTo>
                    <a:cubicBezTo>
                      <a:pt x="637699" y="308134"/>
                      <a:pt x="637699" y="307181"/>
                      <a:pt x="636746" y="306229"/>
                    </a:cubicBezTo>
                    <a:cubicBezTo>
                      <a:pt x="636746" y="305276"/>
                      <a:pt x="637699" y="305276"/>
                      <a:pt x="637699" y="305276"/>
                    </a:cubicBezTo>
                    <a:close/>
                    <a:moveTo>
                      <a:pt x="591979" y="417671"/>
                    </a:moveTo>
                    <a:cubicBezTo>
                      <a:pt x="598646" y="416719"/>
                      <a:pt x="604361" y="413861"/>
                      <a:pt x="609124" y="409099"/>
                    </a:cubicBezTo>
                    <a:cubicBezTo>
                      <a:pt x="607219" y="411956"/>
                      <a:pt x="606266" y="415766"/>
                      <a:pt x="606266" y="418624"/>
                    </a:cubicBezTo>
                    <a:cubicBezTo>
                      <a:pt x="606266" y="418624"/>
                      <a:pt x="606266" y="418624"/>
                      <a:pt x="606266" y="418624"/>
                    </a:cubicBezTo>
                    <a:cubicBezTo>
                      <a:pt x="603409" y="419576"/>
                      <a:pt x="600551" y="422434"/>
                      <a:pt x="598646" y="426244"/>
                    </a:cubicBezTo>
                    <a:cubicBezTo>
                      <a:pt x="596741" y="423386"/>
                      <a:pt x="593884" y="421481"/>
                      <a:pt x="591026" y="420529"/>
                    </a:cubicBezTo>
                    <a:cubicBezTo>
                      <a:pt x="591979" y="419576"/>
                      <a:pt x="591979" y="418624"/>
                      <a:pt x="591979" y="417671"/>
                    </a:cubicBezTo>
                    <a:close/>
                    <a:moveTo>
                      <a:pt x="594836" y="511016"/>
                    </a:moveTo>
                    <a:cubicBezTo>
                      <a:pt x="593884" y="511016"/>
                      <a:pt x="592931" y="510064"/>
                      <a:pt x="591979" y="510064"/>
                    </a:cubicBezTo>
                    <a:cubicBezTo>
                      <a:pt x="591026" y="510064"/>
                      <a:pt x="590074" y="510064"/>
                      <a:pt x="590074" y="510064"/>
                    </a:cubicBezTo>
                    <a:cubicBezTo>
                      <a:pt x="589121" y="509111"/>
                      <a:pt x="588169" y="509111"/>
                      <a:pt x="587216" y="508159"/>
                    </a:cubicBezTo>
                    <a:cubicBezTo>
                      <a:pt x="591026" y="507206"/>
                      <a:pt x="593884" y="505301"/>
                      <a:pt x="597694" y="503396"/>
                    </a:cubicBezTo>
                    <a:cubicBezTo>
                      <a:pt x="597694" y="504349"/>
                      <a:pt x="597694" y="505301"/>
                      <a:pt x="598646" y="505301"/>
                    </a:cubicBezTo>
                    <a:cubicBezTo>
                      <a:pt x="595789" y="507206"/>
                      <a:pt x="594836" y="509111"/>
                      <a:pt x="594836" y="511016"/>
                    </a:cubicBezTo>
                    <a:close/>
                    <a:moveTo>
                      <a:pt x="633889" y="447199"/>
                    </a:moveTo>
                    <a:cubicBezTo>
                      <a:pt x="630079" y="451009"/>
                      <a:pt x="628174" y="455771"/>
                      <a:pt x="627221" y="461486"/>
                    </a:cubicBezTo>
                    <a:cubicBezTo>
                      <a:pt x="627221" y="461486"/>
                      <a:pt x="626269" y="461486"/>
                      <a:pt x="626269" y="461486"/>
                    </a:cubicBezTo>
                    <a:cubicBezTo>
                      <a:pt x="615791" y="461486"/>
                      <a:pt x="608171" y="470059"/>
                      <a:pt x="608171" y="479584"/>
                    </a:cubicBezTo>
                    <a:cubicBezTo>
                      <a:pt x="608171" y="481489"/>
                      <a:pt x="608171" y="482441"/>
                      <a:pt x="609124" y="484346"/>
                    </a:cubicBezTo>
                    <a:cubicBezTo>
                      <a:pt x="609124" y="484346"/>
                      <a:pt x="608171" y="484346"/>
                      <a:pt x="608171" y="485299"/>
                    </a:cubicBezTo>
                    <a:cubicBezTo>
                      <a:pt x="608171" y="484346"/>
                      <a:pt x="608171" y="484346"/>
                      <a:pt x="608171" y="483394"/>
                    </a:cubicBezTo>
                    <a:cubicBezTo>
                      <a:pt x="608171" y="472916"/>
                      <a:pt x="602456" y="464344"/>
                      <a:pt x="593884" y="459581"/>
                    </a:cubicBezTo>
                    <a:cubicBezTo>
                      <a:pt x="600551" y="456724"/>
                      <a:pt x="604361" y="451009"/>
                      <a:pt x="606266" y="444341"/>
                    </a:cubicBezTo>
                    <a:cubicBezTo>
                      <a:pt x="608171" y="446246"/>
                      <a:pt x="611029" y="447199"/>
                      <a:pt x="614839" y="447199"/>
                    </a:cubicBezTo>
                    <a:cubicBezTo>
                      <a:pt x="619601" y="447199"/>
                      <a:pt x="624364" y="444341"/>
                      <a:pt x="626269" y="440531"/>
                    </a:cubicBezTo>
                    <a:cubicBezTo>
                      <a:pt x="627221" y="440531"/>
                      <a:pt x="629126" y="440531"/>
                      <a:pt x="630079" y="440531"/>
                    </a:cubicBezTo>
                    <a:cubicBezTo>
                      <a:pt x="631031" y="440531"/>
                      <a:pt x="631031" y="440531"/>
                      <a:pt x="631984" y="440531"/>
                    </a:cubicBezTo>
                    <a:cubicBezTo>
                      <a:pt x="632936" y="442436"/>
                      <a:pt x="634841" y="443389"/>
                      <a:pt x="636746" y="444341"/>
                    </a:cubicBezTo>
                    <a:cubicBezTo>
                      <a:pt x="633889" y="445294"/>
                      <a:pt x="633889" y="446246"/>
                      <a:pt x="633889" y="447199"/>
                    </a:cubicBezTo>
                    <a:cubicBezTo>
                      <a:pt x="633889" y="447199"/>
                      <a:pt x="633889" y="447199"/>
                      <a:pt x="633889" y="447199"/>
                    </a:cubicBezTo>
                    <a:close/>
                    <a:moveTo>
                      <a:pt x="639604" y="402431"/>
                    </a:moveTo>
                    <a:cubicBezTo>
                      <a:pt x="636746" y="400526"/>
                      <a:pt x="634841" y="399574"/>
                      <a:pt x="631031" y="399574"/>
                    </a:cubicBezTo>
                    <a:cubicBezTo>
                      <a:pt x="631031" y="395764"/>
                      <a:pt x="628174" y="392906"/>
                      <a:pt x="625316" y="391001"/>
                    </a:cubicBezTo>
                    <a:cubicBezTo>
                      <a:pt x="625316" y="390049"/>
                      <a:pt x="626269" y="389096"/>
                      <a:pt x="626269" y="388144"/>
                    </a:cubicBezTo>
                    <a:cubicBezTo>
                      <a:pt x="626269" y="385286"/>
                      <a:pt x="623411" y="382429"/>
                      <a:pt x="620554" y="382429"/>
                    </a:cubicBezTo>
                    <a:cubicBezTo>
                      <a:pt x="620554" y="379571"/>
                      <a:pt x="619601" y="376714"/>
                      <a:pt x="619601" y="374809"/>
                    </a:cubicBezTo>
                    <a:cubicBezTo>
                      <a:pt x="621506" y="375761"/>
                      <a:pt x="623411" y="375761"/>
                      <a:pt x="625316" y="375761"/>
                    </a:cubicBezTo>
                    <a:cubicBezTo>
                      <a:pt x="627221" y="375761"/>
                      <a:pt x="629126" y="374809"/>
                      <a:pt x="631031" y="373856"/>
                    </a:cubicBezTo>
                    <a:cubicBezTo>
                      <a:pt x="632936" y="377666"/>
                      <a:pt x="637699" y="380524"/>
                      <a:pt x="642461" y="380524"/>
                    </a:cubicBezTo>
                    <a:cubicBezTo>
                      <a:pt x="642461" y="385286"/>
                      <a:pt x="644366" y="390049"/>
                      <a:pt x="647224" y="394811"/>
                    </a:cubicBezTo>
                    <a:cubicBezTo>
                      <a:pt x="643414" y="396716"/>
                      <a:pt x="641509" y="399574"/>
                      <a:pt x="639604" y="402431"/>
                    </a:cubicBezTo>
                    <a:close/>
                    <a:moveTo>
                      <a:pt x="343376" y="758666"/>
                    </a:moveTo>
                    <a:cubicBezTo>
                      <a:pt x="343376" y="757714"/>
                      <a:pt x="343376" y="757714"/>
                      <a:pt x="343376" y="758666"/>
                    </a:cubicBezTo>
                    <a:cubicBezTo>
                      <a:pt x="343376" y="755809"/>
                      <a:pt x="342424" y="753904"/>
                      <a:pt x="341471" y="751999"/>
                    </a:cubicBezTo>
                    <a:cubicBezTo>
                      <a:pt x="343376" y="752951"/>
                      <a:pt x="345281" y="752951"/>
                      <a:pt x="346234" y="752951"/>
                    </a:cubicBezTo>
                    <a:cubicBezTo>
                      <a:pt x="345281" y="754856"/>
                      <a:pt x="344329" y="756761"/>
                      <a:pt x="343376" y="758666"/>
                    </a:cubicBezTo>
                    <a:close/>
                    <a:moveTo>
                      <a:pt x="109061" y="1225391"/>
                    </a:moveTo>
                    <a:cubicBezTo>
                      <a:pt x="106204" y="1221581"/>
                      <a:pt x="101441" y="1218724"/>
                      <a:pt x="95726" y="1217771"/>
                    </a:cubicBezTo>
                    <a:cubicBezTo>
                      <a:pt x="99536" y="1216819"/>
                      <a:pt x="103346" y="1213961"/>
                      <a:pt x="104299" y="1210151"/>
                    </a:cubicBezTo>
                    <a:cubicBezTo>
                      <a:pt x="111919" y="1208246"/>
                      <a:pt x="118586" y="1202531"/>
                      <a:pt x="122396" y="1195864"/>
                    </a:cubicBezTo>
                    <a:cubicBezTo>
                      <a:pt x="124301" y="1197769"/>
                      <a:pt x="126206" y="1199674"/>
                      <a:pt x="129064" y="1201579"/>
                    </a:cubicBezTo>
                    <a:cubicBezTo>
                      <a:pt x="118586" y="1204436"/>
                      <a:pt x="110014" y="1213961"/>
                      <a:pt x="109061" y="1225391"/>
                    </a:cubicBezTo>
                    <a:close/>
                    <a:moveTo>
                      <a:pt x="151924" y="1208246"/>
                    </a:moveTo>
                    <a:cubicBezTo>
                      <a:pt x="150971" y="1207294"/>
                      <a:pt x="150971" y="1207294"/>
                      <a:pt x="150019" y="1206341"/>
                    </a:cubicBezTo>
                    <a:cubicBezTo>
                      <a:pt x="150971" y="1206341"/>
                      <a:pt x="151924" y="1206341"/>
                      <a:pt x="151924" y="1206341"/>
                    </a:cubicBezTo>
                    <a:cubicBezTo>
                      <a:pt x="152876" y="1207294"/>
                      <a:pt x="151924" y="1208246"/>
                      <a:pt x="151924" y="1208246"/>
                    </a:cubicBezTo>
                    <a:close/>
                    <a:moveTo>
                      <a:pt x="290989" y="992981"/>
                    </a:moveTo>
                    <a:cubicBezTo>
                      <a:pt x="291941" y="991076"/>
                      <a:pt x="291941" y="989171"/>
                      <a:pt x="291941" y="986314"/>
                    </a:cubicBezTo>
                    <a:cubicBezTo>
                      <a:pt x="291941" y="986314"/>
                      <a:pt x="291941" y="986314"/>
                      <a:pt x="291941" y="986314"/>
                    </a:cubicBezTo>
                    <a:cubicBezTo>
                      <a:pt x="292894" y="986314"/>
                      <a:pt x="293846" y="987266"/>
                      <a:pt x="294799" y="987266"/>
                    </a:cubicBezTo>
                    <a:cubicBezTo>
                      <a:pt x="293846" y="989171"/>
                      <a:pt x="291941" y="991076"/>
                      <a:pt x="290989" y="992981"/>
                    </a:cubicBezTo>
                    <a:close/>
                    <a:moveTo>
                      <a:pt x="309086" y="1652111"/>
                    </a:moveTo>
                    <a:cubicBezTo>
                      <a:pt x="309086" y="1651159"/>
                      <a:pt x="309086" y="1650206"/>
                      <a:pt x="310039" y="1649254"/>
                    </a:cubicBezTo>
                    <a:cubicBezTo>
                      <a:pt x="310039" y="1649254"/>
                      <a:pt x="310991" y="1650206"/>
                      <a:pt x="310991" y="1650206"/>
                    </a:cubicBezTo>
                    <a:cubicBezTo>
                      <a:pt x="310991" y="1651159"/>
                      <a:pt x="310039" y="1651159"/>
                      <a:pt x="309086" y="1652111"/>
                    </a:cubicBezTo>
                    <a:close/>
                    <a:moveTo>
                      <a:pt x="259556" y="1822609"/>
                    </a:moveTo>
                    <a:cubicBezTo>
                      <a:pt x="260509" y="1820704"/>
                      <a:pt x="260509" y="1818799"/>
                      <a:pt x="261461" y="1816894"/>
                    </a:cubicBezTo>
                    <a:cubicBezTo>
                      <a:pt x="262414" y="1816894"/>
                      <a:pt x="264319" y="1816894"/>
                      <a:pt x="265271" y="1816894"/>
                    </a:cubicBezTo>
                    <a:cubicBezTo>
                      <a:pt x="265271" y="1817846"/>
                      <a:pt x="266224" y="1817846"/>
                      <a:pt x="266224" y="1817846"/>
                    </a:cubicBezTo>
                    <a:cubicBezTo>
                      <a:pt x="263366" y="1819751"/>
                      <a:pt x="261461" y="1820704"/>
                      <a:pt x="259556" y="1822609"/>
                    </a:cubicBezTo>
                    <a:close/>
                    <a:moveTo>
                      <a:pt x="330994" y="1783556"/>
                    </a:moveTo>
                    <a:cubicBezTo>
                      <a:pt x="330041" y="1783556"/>
                      <a:pt x="330041" y="1783556"/>
                      <a:pt x="329089" y="1783556"/>
                    </a:cubicBezTo>
                    <a:cubicBezTo>
                      <a:pt x="328136" y="1782604"/>
                      <a:pt x="327184" y="1781651"/>
                      <a:pt x="326231" y="1781651"/>
                    </a:cubicBezTo>
                    <a:cubicBezTo>
                      <a:pt x="324326" y="1779746"/>
                      <a:pt x="323374" y="1778794"/>
                      <a:pt x="321469" y="1777841"/>
                    </a:cubicBezTo>
                    <a:cubicBezTo>
                      <a:pt x="322421" y="1775936"/>
                      <a:pt x="322421" y="1774031"/>
                      <a:pt x="323374" y="1772126"/>
                    </a:cubicBezTo>
                    <a:cubicBezTo>
                      <a:pt x="325279" y="1773079"/>
                      <a:pt x="327184" y="1773079"/>
                      <a:pt x="329089" y="1773079"/>
                    </a:cubicBezTo>
                    <a:cubicBezTo>
                      <a:pt x="331946" y="1773079"/>
                      <a:pt x="333851" y="1772126"/>
                      <a:pt x="335756" y="1771174"/>
                    </a:cubicBezTo>
                    <a:cubicBezTo>
                      <a:pt x="333851" y="1774984"/>
                      <a:pt x="331946" y="1778794"/>
                      <a:pt x="330994" y="1783556"/>
                    </a:cubicBezTo>
                    <a:close/>
                    <a:moveTo>
                      <a:pt x="442436" y="1450181"/>
                    </a:moveTo>
                    <a:cubicBezTo>
                      <a:pt x="444341" y="1453991"/>
                      <a:pt x="447199" y="1456849"/>
                      <a:pt x="451009" y="1458754"/>
                    </a:cubicBezTo>
                    <a:cubicBezTo>
                      <a:pt x="448151" y="1460659"/>
                      <a:pt x="446246" y="1462564"/>
                      <a:pt x="444341" y="1465421"/>
                    </a:cubicBezTo>
                    <a:cubicBezTo>
                      <a:pt x="443389" y="1461611"/>
                      <a:pt x="440531" y="1457801"/>
                      <a:pt x="437674" y="1454944"/>
                    </a:cubicBezTo>
                    <a:cubicBezTo>
                      <a:pt x="438626" y="1453039"/>
                      <a:pt x="440531" y="1452086"/>
                      <a:pt x="442436" y="1450181"/>
                    </a:cubicBezTo>
                    <a:close/>
                    <a:moveTo>
                      <a:pt x="426244" y="1592104"/>
                    </a:moveTo>
                    <a:cubicBezTo>
                      <a:pt x="425291" y="1589246"/>
                      <a:pt x="423386" y="1587341"/>
                      <a:pt x="420529" y="1587341"/>
                    </a:cubicBezTo>
                    <a:cubicBezTo>
                      <a:pt x="420529" y="1587341"/>
                      <a:pt x="419576" y="1587341"/>
                      <a:pt x="419576" y="1587341"/>
                    </a:cubicBezTo>
                    <a:cubicBezTo>
                      <a:pt x="420529" y="1584484"/>
                      <a:pt x="421481" y="1580674"/>
                      <a:pt x="421481" y="1576864"/>
                    </a:cubicBezTo>
                    <a:cubicBezTo>
                      <a:pt x="421481" y="1575911"/>
                      <a:pt x="421481" y="1575911"/>
                      <a:pt x="421481" y="1574959"/>
                    </a:cubicBezTo>
                    <a:cubicBezTo>
                      <a:pt x="421481" y="1574959"/>
                      <a:pt x="422434" y="1574959"/>
                      <a:pt x="422434" y="1574959"/>
                    </a:cubicBezTo>
                    <a:cubicBezTo>
                      <a:pt x="423386" y="1575911"/>
                      <a:pt x="425291" y="1576864"/>
                      <a:pt x="426244" y="1577816"/>
                    </a:cubicBezTo>
                    <a:cubicBezTo>
                      <a:pt x="426244" y="1578769"/>
                      <a:pt x="426244" y="1579721"/>
                      <a:pt x="426244" y="1580674"/>
                    </a:cubicBezTo>
                    <a:cubicBezTo>
                      <a:pt x="426244" y="1585436"/>
                      <a:pt x="427196" y="1589246"/>
                      <a:pt x="430054" y="1593056"/>
                    </a:cubicBezTo>
                    <a:cubicBezTo>
                      <a:pt x="428149" y="1592104"/>
                      <a:pt x="427196" y="1592104"/>
                      <a:pt x="426244" y="1592104"/>
                    </a:cubicBezTo>
                    <a:close/>
                    <a:moveTo>
                      <a:pt x="431959" y="1518761"/>
                    </a:moveTo>
                    <a:cubicBezTo>
                      <a:pt x="430054" y="1517809"/>
                      <a:pt x="427196" y="1517809"/>
                      <a:pt x="425291" y="1517809"/>
                    </a:cubicBezTo>
                    <a:cubicBezTo>
                      <a:pt x="422434" y="1517809"/>
                      <a:pt x="418624" y="1518761"/>
                      <a:pt x="415766" y="1519714"/>
                    </a:cubicBezTo>
                    <a:cubicBezTo>
                      <a:pt x="415766" y="1518761"/>
                      <a:pt x="416719" y="1517809"/>
                      <a:pt x="416719" y="1515904"/>
                    </a:cubicBezTo>
                    <a:cubicBezTo>
                      <a:pt x="416719" y="1513046"/>
                      <a:pt x="415766" y="1510189"/>
                      <a:pt x="413861" y="1508284"/>
                    </a:cubicBezTo>
                    <a:cubicBezTo>
                      <a:pt x="417671" y="1507331"/>
                      <a:pt x="419576" y="1503521"/>
                      <a:pt x="419576" y="1499711"/>
                    </a:cubicBezTo>
                    <a:cubicBezTo>
                      <a:pt x="419576" y="1497806"/>
                      <a:pt x="418624" y="1496854"/>
                      <a:pt x="418624" y="1494949"/>
                    </a:cubicBezTo>
                    <a:cubicBezTo>
                      <a:pt x="420529" y="1493044"/>
                      <a:pt x="422434" y="1490186"/>
                      <a:pt x="422434" y="1486376"/>
                    </a:cubicBezTo>
                    <a:cubicBezTo>
                      <a:pt x="422434" y="1485424"/>
                      <a:pt x="422434" y="1485424"/>
                      <a:pt x="422434" y="1484471"/>
                    </a:cubicBezTo>
                    <a:cubicBezTo>
                      <a:pt x="422434" y="1484471"/>
                      <a:pt x="422434" y="1484471"/>
                      <a:pt x="422434" y="1484471"/>
                    </a:cubicBezTo>
                    <a:cubicBezTo>
                      <a:pt x="424339" y="1488281"/>
                      <a:pt x="428149" y="1491139"/>
                      <a:pt x="431959" y="1491139"/>
                    </a:cubicBezTo>
                    <a:cubicBezTo>
                      <a:pt x="432911" y="1491139"/>
                      <a:pt x="434816" y="1491139"/>
                      <a:pt x="435769" y="1490186"/>
                    </a:cubicBezTo>
                    <a:cubicBezTo>
                      <a:pt x="435769" y="1491139"/>
                      <a:pt x="436721" y="1492091"/>
                      <a:pt x="436721" y="1493044"/>
                    </a:cubicBezTo>
                    <a:cubicBezTo>
                      <a:pt x="432911" y="1495901"/>
                      <a:pt x="430054" y="1499711"/>
                      <a:pt x="430054" y="1505426"/>
                    </a:cubicBezTo>
                    <a:cubicBezTo>
                      <a:pt x="430054" y="1509236"/>
                      <a:pt x="431959" y="1513046"/>
                      <a:pt x="434816" y="1515904"/>
                    </a:cubicBezTo>
                    <a:cubicBezTo>
                      <a:pt x="432911" y="1518761"/>
                      <a:pt x="431959" y="1518761"/>
                      <a:pt x="431959" y="1518761"/>
                    </a:cubicBezTo>
                    <a:close/>
                    <a:moveTo>
                      <a:pt x="445294" y="1609249"/>
                    </a:moveTo>
                    <a:cubicBezTo>
                      <a:pt x="442436" y="1606391"/>
                      <a:pt x="439579" y="1604486"/>
                      <a:pt x="435769" y="1603534"/>
                    </a:cubicBezTo>
                    <a:cubicBezTo>
                      <a:pt x="435769" y="1603534"/>
                      <a:pt x="435769" y="1603534"/>
                      <a:pt x="435769" y="1603534"/>
                    </a:cubicBezTo>
                    <a:cubicBezTo>
                      <a:pt x="435769" y="1601629"/>
                      <a:pt x="435769" y="1600676"/>
                      <a:pt x="434816" y="1598771"/>
                    </a:cubicBezTo>
                    <a:cubicBezTo>
                      <a:pt x="438626" y="1601629"/>
                      <a:pt x="443389" y="1603534"/>
                      <a:pt x="449104" y="1603534"/>
                    </a:cubicBezTo>
                    <a:cubicBezTo>
                      <a:pt x="449104" y="1603534"/>
                      <a:pt x="449104" y="1603534"/>
                      <a:pt x="450056" y="1603534"/>
                    </a:cubicBezTo>
                    <a:cubicBezTo>
                      <a:pt x="451009" y="1604486"/>
                      <a:pt x="451009" y="1605439"/>
                      <a:pt x="451961" y="1606391"/>
                    </a:cubicBezTo>
                    <a:cubicBezTo>
                      <a:pt x="449104" y="1607344"/>
                      <a:pt x="447199" y="1608296"/>
                      <a:pt x="445294" y="1609249"/>
                    </a:cubicBezTo>
                    <a:close/>
                    <a:moveTo>
                      <a:pt x="452914" y="1518761"/>
                    </a:moveTo>
                    <a:cubicBezTo>
                      <a:pt x="452914" y="1518761"/>
                      <a:pt x="451961" y="1517809"/>
                      <a:pt x="451961" y="1517809"/>
                    </a:cubicBezTo>
                    <a:cubicBezTo>
                      <a:pt x="451961" y="1517809"/>
                      <a:pt x="452914" y="1516856"/>
                      <a:pt x="452914" y="1516856"/>
                    </a:cubicBezTo>
                    <a:cubicBezTo>
                      <a:pt x="453866" y="1516856"/>
                      <a:pt x="453866" y="1517809"/>
                      <a:pt x="454819" y="1517809"/>
                    </a:cubicBezTo>
                    <a:cubicBezTo>
                      <a:pt x="452914" y="1518761"/>
                      <a:pt x="452914" y="1518761"/>
                      <a:pt x="452914" y="1518761"/>
                    </a:cubicBezTo>
                    <a:close/>
                    <a:moveTo>
                      <a:pt x="666274" y="511969"/>
                    </a:moveTo>
                    <a:cubicBezTo>
                      <a:pt x="667226" y="511016"/>
                      <a:pt x="667226" y="510064"/>
                      <a:pt x="668179" y="509111"/>
                    </a:cubicBezTo>
                    <a:lnTo>
                      <a:pt x="668179" y="511969"/>
                    </a:lnTo>
                    <a:cubicBezTo>
                      <a:pt x="667226" y="511969"/>
                      <a:pt x="666274" y="511969"/>
                      <a:pt x="666274" y="511969"/>
                    </a:cubicBezTo>
                    <a:close/>
                    <a:moveTo>
                      <a:pt x="657701" y="574834"/>
                    </a:moveTo>
                    <a:cubicBezTo>
                      <a:pt x="658654" y="574834"/>
                      <a:pt x="659606" y="573881"/>
                      <a:pt x="659606" y="572929"/>
                    </a:cubicBezTo>
                    <a:lnTo>
                      <a:pt x="659606" y="575786"/>
                    </a:lnTo>
                    <a:cubicBezTo>
                      <a:pt x="658654" y="575786"/>
                      <a:pt x="658654" y="575786"/>
                      <a:pt x="657701" y="574834"/>
                    </a:cubicBezTo>
                    <a:close/>
                    <a:moveTo>
                      <a:pt x="502444" y="1197769"/>
                    </a:moveTo>
                    <a:cubicBezTo>
                      <a:pt x="504349" y="1198721"/>
                      <a:pt x="505301" y="1198721"/>
                      <a:pt x="507206" y="1198721"/>
                    </a:cubicBezTo>
                    <a:cubicBezTo>
                      <a:pt x="509111" y="1198721"/>
                      <a:pt x="510064" y="1198721"/>
                      <a:pt x="511969" y="1197769"/>
                    </a:cubicBezTo>
                    <a:cubicBezTo>
                      <a:pt x="512921" y="1210151"/>
                      <a:pt x="519589" y="1220629"/>
                      <a:pt x="529114" y="1227296"/>
                    </a:cubicBezTo>
                    <a:cubicBezTo>
                      <a:pt x="528161" y="1228249"/>
                      <a:pt x="527209" y="1229201"/>
                      <a:pt x="526256" y="1230154"/>
                    </a:cubicBezTo>
                    <a:cubicBezTo>
                      <a:pt x="525304" y="1230154"/>
                      <a:pt x="525304" y="1230154"/>
                      <a:pt x="524351" y="1230154"/>
                    </a:cubicBezTo>
                    <a:cubicBezTo>
                      <a:pt x="519589" y="1224439"/>
                      <a:pt x="511969" y="1220629"/>
                      <a:pt x="504349" y="1220629"/>
                    </a:cubicBezTo>
                    <a:cubicBezTo>
                      <a:pt x="504349" y="1220629"/>
                      <a:pt x="504349" y="1220629"/>
                      <a:pt x="503396" y="1220629"/>
                    </a:cubicBezTo>
                    <a:cubicBezTo>
                      <a:pt x="501491" y="1217771"/>
                      <a:pt x="499586" y="1215866"/>
                      <a:pt x="497681" y="1213961"/>
                    </a:cubicBezTo>
                    <a:cubicBezTo>
                      <a:pt x="501491" y="1212056"/>
                      <a:pt x="504349" y="1208246"/>
                      <a:pt x="504349" y="1203484"/>
                    </a:cubicBezTo>
                    <a:cubicBezTo>
                      <a:pt x="504349" y="1201579"/>
                      <a:pt x="503396" y="1199674"/>
                      <a:pt x="502444" y="1197769"/>
                    </a:cubicBezTo>
                    <a:close/>
                    <a:moveTo>
                      <a:pt x="574834" y="1231106"/>
                    </a:moveTo>
                    <a:cubicBezTo>
                      <a:pt x="574834" y="1231106"/>
                      <a:pt x="574834" y="1230154"/>
                      <a:pt x="574834" y="1231106"/>
                    </a:cubicBezTo>
                    <a:cubicBezTo>
                      <a:pt x="576739" y="1229201"/>
                      <a:pt x="578644" y="1228249"/>
                      <a:pt x="579596" y="1226344"/>
                    </a:cubicBezTo>
                    <a:lnTo>
                      <a:pt x="579596" y="1229201"/>
                    </a:lnTo>
                    <a:cubicBezTo>
                      <a:pt x="577691" y="1230154"/>
                      <a:pt x="575786" y="1230154"/>
                      <a:pt x="574834" y="1231106"/>
                    </a:cubicBezTo>
                    <a:close/>
                    <a:moveTo>
                      <a:pt x="516731" y="1371124"/>
                    </a:moveTo>
                    <a:cubicBezTo>
                      <a:pt x="517684" y="1371124"/>
                      <a:pt x="517684" y="1371124"/>
                      <a:pt x="518636" y="1371124"/>
                    </a:cubicBezTo>
                    <a:cubicBezTo>
                      <a:pt x="517684" y="1372076"/>
                      <a:pt x="517684" y="1372076"/>
                      <a:pt x="516731" y="1373029"/>
                    </a:cubicBezTo>
                    <a:cubicBezTo>
                      <a:pt x="516731" y="1372076"/>
                      <a:pt x="516731" y="1371124"/>
                      <a:pt x="516731" y="1371124"/>
                    </a:cubicBezTo>
                    <a:close/>
                    <a:moveTo>
                      <a:pt x="615791" y="838676"/>
                    </a:moveTo>
                    <a:cubicBezTo>
                      <a:pt x="618649" y="842486"/>
                      <a:pt x="622459" y="844391"/>
                      <a:pt x="627221" y="845344"/>
                    </a:cubicBezTo>
                    <a:lnTo>
                      <a:pt x="627221" y="847249"/>
                    </a:lnTo>
                    <a:cubicBezTo>
                      <a:pt x="627221" y="848201"/>
                      <a:pt x="626269" y="848201"/>
                      <a:pt x="626269" y="849154"/>
                    </a:cubicBezTo>
                    <a:cubicBezTo>
                      <a:pt x="624364" y="849154"/>
                      <a:pt x="622459" y="848201"/>
                      <a:pt x="620554" y="848201"/>
                    </a:cubicBezTo>
                    <a:cubicBezTo>
                      <a:pt x="616744" y="848201"/>
                      <a:pt x="613886" y="849154"/>
                      <a:pt x="610076" y="849154"/>
                    </a:cubicBezTo>
                    <a:cubicBezTo>
                      <a:pt x="610076" y="848201"/>
                      <a:pt x="610076" y="847249"/>
                      <a:pt x="610076" y="847249"/>
                    </a:cubicBezTo>
                    <a:cubicBezTo>
                      <a:pt x="610076" y="845344"/>
                      <a:pt x="610076" y="844391"/>
                      <a:pt x="609124" y="842486"/>
                    </a:cubicBezTo>
                    <a:cubicBezTo>
                      <a:pt x="611029" y="842486"/>
                      <a:pt x="613886" y="840581"/>
                      <a:pt x="615791" y="838676"/>
                    </a:cubicBezTo>
                    <a:close/>
                    <a:moveTo>
                      <a:pt x="571024" y="938689"/>
                    </a:moveTo>
                    <a:cubicBezTo>
                      <a:pt x="572929" y="941546"/>
                      <a:pt x="574834" y="942499"/>
                      <a:pt x="577691" y="943451"/>
                    </a:cubicBezTo>
                    <a:cubicBezTo>
                      <a:pt x="576739" y="944404"/>
                      <a:pt x="575786" y="945356"/>
                      <a:pt x="575786" y="946309"/>
                    </a:cubicBezTo>
                    <a:cubicBezTo>
                      <a:pt x="573881" y="943451"/>
                      <a:pt x="571976" y="940594"/>
                      <a:pt x="571024" y="938689"/>
                    </a:cubicBezTo>
                    <a:cubicBezTo>
                      <a:pt x="570071" y="938689"/>
                      <a:pt x="571024" y="938689"/>
                      <a:pt x="571024" y="938689"/>
                    </a:cubicBezTo>
                    <a:close/>
                    <a:moveTo>
                      <a:pt x="552926" y="718661"/>
                    </a:moveTo>
                    <a:cubicBezTo>
                      <a:pt x="558641" y="717709"/>
                      <a:pt x="562451" y="714851"/>
                      <a:pt x="566261" y="710089"/>
                    </a:cubicBezTo>
                    <a:cubicBezTo>
                      <a:pt x="567214" y="710089"/>
                      <a:pt x="567214" y="710089"/>
                      <a:pt x="568166" y="711041"/>
                    </a:cubicBezTo>
                    <a:cubicBezTo>
                      <a:pt x="567214" y="713899"/>
                      <a:pt x="567214" y="716756"/>
                      <a:pt x="567214" y="719614"/>
                    </a:cubicBezTo>
                    <a:cubicBezTo>
                      <a:pt x="567214" y="720566"/>
                      <a:pt x="567214" y="721519"/>
                      <a:pt x="567214" y="723424"/>
                    </a:cubicBezTo>
                    <a:cubicBezTo>
                      <a:pt x="566261" y="723424"/>
                      <a:pt x="565309" y="723424"/>
                      <a:pt x="565309" y="724376"/>
                    </a:cubicBezTo>
                    <a:cubicBezTo>
                      <a:pt x="561499" y="722471"/>
                      <a:pt x="557689" y="720566"/>
                      <a:pt x="552926" y="720566"/>
                    </a:cubicBezTo>
                    <a:cubicBezTo>
                      <a:pt x="552926" y="719614"/>
                      <a:pt x="552926" y="718661"/>
                      <a:pt x="552926" y="718661"/>
                    </a:cubicBezTo>
                    <a:close/>
                    <a:moveTo>
                      <a:pt x="553879" y="816769"/>
                    </a:moveTo>
                    <a:cubicBezTo>
                      <a:pt x="556736" y="812959"/>
                      <a:pt x="558641" y="809149"/>
                      <a:pt x="559594" y="804386"/>
                    </a:cubicBezTo>
                    <a:cubicBezTo>
                      <a:pt x="560546" y="804386"/>
                      <a:pt x="560546" y="804386"/>
                      <a:pt x="561499" y="804386"/>
                    </a:cubicBezTo>
                    <a:cubicBezTo>
                      <a:pt x="563404" y="806291"/>
                      <a:pt x="566261" y="807244"/>
                      <a:pt x="569119" y="808196"/>
                    </a:cubicBezTo>
                    <a:cubicBezTo>
                      <a:pt x="568166" y="810101"/>
                      <a:pt x="568166" y="812006"/>
                      <a:pt x="568166" y="813911"/>
                    </a:cubicBezTo>
                    <a:cubicBezTo>
                      <a:pt x="565309" y="815816"/>
                      <a:pt x="563404" y="818674"/>
                      <a:pt x="563404" y="822484"/>
                    </a:cubicBezTo>
                    <a:cubicBezTo>
                      <a:pt x="563404" y="823436"/>
                      <a:pt x="563404" y="823436"/>
                      <a:pt x="563404" y="824389"/>
                    </a:cubicBezTo>
                    <a:cubicBezTo>
                      <a:pt x="558641" y="824389"/>
                      <a:pt x="553879" y="825341"/>
                      <a:pt x="550069" y="828199"/>
                    </a:cubicBezTo>
                    <a:cubicBezTo>
                      <a:pt x="552926" y="824389"/>
                      <a:pt x="553879" y="820579"/>
                      <a:pt x="553879" y="816769"/>
                    </a:cubicBezTo>
                    <a:close/>
                    <a:moveTo>
                      <a:pt x="547211" y="968216"/>
                    </a:moveTo>
                    <a:cubicBezTo>
                      <a:pt x="547211" y="969169"/>
                      <a:pt x="547211" y="969169"/>
                      <a:pt x="547211" y="970121"/>
                    </a:cubicBezTo>
                    <a:cubicBezTo>
                      <a:pt x="547211" y="972979"/>
                      <a:pt x="550069" y="975836"/>
                      <a:pt x="552926" y="975836"/>
                    </a:cubicBezTo>
                    <a:cubicBezTo>
                      <a:pt x="555784" y="975836"/>
                      <a:pt x="557689" y="973931"/>
                      <a:pt x="558641" y="972026"/>
                    </a:cubicBezTo>
                    <a:cubicBezTo>
                      <a:pt x="558641" y="972026"/>
                      <a:pt x="558641" y="972026"/>
                      <a:pt x="558641" y="972026"/>
                    </a:cubicBezTo>
                    <a:cubicBezTo>
                      <a:pt x="560546" y="972026"/>
                      <a:pt x="561499" y="972026"/>
                      <a:pt x="563404" y="971074"/>
                    </a:cubicBezTo>
                    <a:cubicBezTo>
                      <a:pt x="563404" y="972026"/>
                      <a:pt x="562451" y="972979"/>
                      <a:pt x="562451" y="973931"/>
                    </a:cubicBezTo>
                    <a:cubicBezTo>
                      <a:pt x="562451" y="976789"/>
                      <a:pt x="564356" y="979646"/>
                      <a:pt x="567214" y="980599"/>
                    </a:cubicBezTo>
                    <a:cubicBezTo>
                      <a:pt x="568166" y="984409"/>
                      <a:pt x="569119" y="988219"/>
                      <a:pt x="571024" y="991076"/>
                    </a:cubicBezTo>
                    <a:cubicBezTo>
                      <a:pt x="570071" y="991076"/>
                      <a:pt x="568166" y="992029"/>
                      <a:pt x="567214" y="992029"/>
                    </a:cubicBezTo>
                    <a:cubicBezTo>
                      <a:pt x="565309" y="990124"/>
                      <a:pt x="562451" y="989171"/>
                      <a:pt x="559594" y="989171"/>
                    </a:cubicBezTo>
                    <a:cubicBezTo>
                      <a:pt x="553879" y="989171"/>
                      <a:pt x="550069" y="992981"/>
                      <a:pt x="548164" y="996791"/>
                    </a:cubicBezTo>
                    <a:cubicBezTo>
                      <a:pt x="547211" y="997744"/>
                      <a:pt x="546259" y="999649"/>
                      <a:pt x="545306" y="1001554"/>
                    </a:cubicBezTo>
                    <a:cubicBezTo>
                      <a:pt x="543401" y="998696"/>
                      <a:pt x="539591" y="995839"/>
                      <a:pt x="536734" y="994886"/>
                    </a:cubicBezTo>
                    <a:cubicBezTo>
                      <a:pt x="536734" y="993934"/>
                      <a:pt x="537686" y="992981"/>
                      <a:pt x="537686" y="992029"/>
                    </a:cubicBezTo>
                    <a:cubicBezTo>
                      <a:pt x="537686" y="988219"/>
                      <a:pt x="534829" y="985361"/>
                      <a:pt x="531019" y="985361"/>
                    </a:cubicBezTo>
                    <a:cubicBezTo>
                      <a:pt x="527209" y="985361"/>
                      <a:pt x="524351" y="988219"/>
                      <a:pt x="524351" y="992029"/>
                    </a:cubicBezTo>
                    <a:cubicBezTo>
                      <a:pt x="524351" y="992981"/>
                      <a:pt x="524351" y="992981"/>
                      <a:pt x="524351" y="993934"/>
                    </a:cubicBezTo>
                    <a:cubicBezTo>
                      <a:pt x="518636" y="995839"/>
                      <a:pt x="513874" y="999649"/>
                      <a:pt x="511016" y="1004411"/>
                    </a:cubicBezTo>
                    <a:cubicBezTo>
                      <a:pt x="509111" y="1002506"/>
                      <a:pt x="507206" y="1000601"/>
                      <a:pt x="504349" y="1000601"/>
                    </a:cubicBezTo>
                    <a:cubicBezTo>
                      <a:pt x="504349" y="1000601"/>
                      <a:pt x="504349" y="1000601"/>
                      <a:pt x="503396" y="1000601"/>
                    </a:cubicBezTo>
                    <a:cubicBezTo>
                      <a:pt x="503396" y="998696"/>
                      <a:pt x="502444" y="996791"/>
                      <a:pt x="501491" y="995839"/>
                    </a:cubicBezTo>
                    <a:cubicBezTo>
                      <a:pt x="501491" y="995839"/>
                      <a:pt x="501491" y="995839"/>
                      <a:pt x="502444" y="995839"/>
                    </a:cubicBezTo>
                    <a:cubicBezTo>
                      <a:pt x="514826" y="995839"/>
                      <a:pt x="524351" y="986314"/>
                      <a:pt x="524351" y="973931"/>
                    </a:cubicBezTo>
                    <a:cubicBezTo>
                      <a:pt x="524351" y="973931"/>
                      <a:pt x="524351" y="972979"/>
                      <a:pt x="524351" y="972979"/>
                    </a:cubicBezTo>
                    <a:cubicBezTo>
                      <a:pt x="525304" y="973931"/>
                      <a:pt x="527209" y="973931"/>
                      <a:pt x="529114" y="973931"/>
                    </a:cubicBezTo>
                    <a:cubicBezTo>
                      <a:pt x="535781" y="973931"/>
                      <a:pt x="541496" y="968216"/>
                      <a:pt x="541496" y="961549"/>
                    </a:cubicBezTo>
                    <a:cubicBezTo>
                      <a:pt x="541496" y="954881"/>
                      <a:pt x="535781" y="949166"/>
                      <a:pt x="529114" y="949166"/>
                    </a:cubicBezTo>
                    <a:cubicBezTo>
                      <a:pt x="525304" y="949166"/>
                      <a:pt x="521494" y="951071"/>
                      <a:pt x="519589" y="954881"/>
                    </a:cubicBezTo>
                    <a:cubicBezTo>
                      <a:pt x="519589" y="953929"/>
                      <a:pt x="520541" y="952024"/>
                      <a:pt x="520541" y="951071"/>
                    </a:cubicBezTo>
                    <a:cubicBezTo>
                      <a:pt x="520541" y="940594"/>
                      <a:pt x="511969" y="931069"/>
                      <a:pt x="500539" y="931069"/>
                    </a:cubicBezTo>
                    <a:cubicBezTo>
                      <a:pt x="497681" y="931069"/>
                      <a:pt x="495776" y="932021"/>
                      <a:pt x="492919" y="932974"/>
                    </a:cubicBezTo>
                    <a:cubicBezTo>
                      <a:pt x="491966" y="929164"/>
                      <a:pt x="488156" y="926306"/>
                      <a:pt x="484346" y="925354"/>
                    </a:cubicBezTo>
                    <a:cubicBezTo>
                      <a:pt x="485299" y="923449"/>
                      <a:pt x="486251" y="920591"/>
                      <a:pt x="486251" y="917734"/>
                    </a:cubicBezTo>
                    <a:cubicBezTo>
                      <a:pt x="486251" y="915829"/>
                      <a:pt x="486251" y="914876"/>
                      <a:pt x="485299" y="912971"/>
                    </a:cubicBezTo>
                    <a:cubicBezTo>
                      <a:pt x="487204" y="911066"/>
                      <a:pt x="488156" y="909161"/>
                      <a:pt x="488156" y="906304"/>
                    </a:cubicBezTo>
                    <a:cubicBezTo>
                      <a:pt x="488156" y="904399"/>
                      <a:pt x="487204" y="903446"/>
                      <a:pt x="486251" y="901541"/>
                    </a:cubicBezTo>
                    <a:cubicBezTo>
                      <a:pt x="489109" y="899636"/>
                      <a:pt x="491014" y="896779"/>
                      <a:pt x="492919" y="893921"/>
                    </a:cubicBezTo>
                    <a:cubicBezTo>
                      <a:pt x="495776" y="899636"/>
                      <a:pt x="500539" y="904399"/>
                      <a:pt x="505301" y="907256"/>
                    </a:cubicBezTo>
                    <a:cubicBezTo>
                      <a:pt x="505301" y="907256"/>
                      <a:pt x="505301" y="907256"/>
                      <a:pt x="505301" y="907256"/>
                    </a:cubicBezTo>
                    <a:cubicBezTo>
                      <a:pt x="505301" y="921544"/>
                      <a:pt x="512921" y="934879"/>
                      <a:pt x="525304" y="941546"/>
                    </a:cubicBezTo>
                    <a:cubicBezTo>
                      <a:pt x="528161" y="945356"/>
                      <a:pt x="532924" y="947261"/>
                      <a:pt x="537686" y="947261"/>
                    </a:cubicBezTo>
                    <a:cubicBezTo>
                      <a:pt x="537686" y="947261"/>
                      <a:pt x="538639" y="947261"/>
                      <a:pt x="538639" y="947261"/>
                    </a:cubicBezTo>
                    <a:cubicBezTo>
                      <a:pt x="538639" y="947261"/>
                      <a:pt x="539591" y="947261"/>
                      <a:pt x="539591" y="948214"/>
                    </a:cubicBezTo>
                    <a:cubicBezTo>
                      <a:pt x="539591" y="949166"/>
                      <a:pt x="539591" y="951071"/>
                      <a:pt x="539591" y="952024"/>
                    </a:cubicBezTo>
                    <a:cubicBezTo>
                      <a:pt x="539591" y="959644"/>
                      <a:pt x="542449" y="964406"/>
                      <a:pt x="547211" y="968216"/>
                    </a:cubicBezTo>
                    <a:close/>
                    <a:moveTo>
                      <a:pt x="549116" y="1032986"/>
                    </a:moveTo>
                    <a:cubicBezTo>
                      <a:pt x="543401" y="1036796"/>
                      <a:pt x="539591" y="1041559"/>
                      <a:pt x="536734" y="1048226"/>
                    </a:cubicBezTo>
                    <a:cubicBezTo>
                      <a:pt x="535781" y="1048226"/>
                      <a:pt x="534829" y="1048226"/>
                      <a:pt x="532924" y="1048226"/>
                    </a:cubicBezTo>
                    <a:cubicBezTo>
                      <a:pt x="531971" y="1048226"/>
                      <a:pt x="531971" y="1048226"/>
                      <a:pt x="531019" y="1048226"/>
                    </a:cubicBezTo>
                    <a:cubicBezTo>
                      <a:pt x="531019" y="1048226"/>
                      <a:pt x="531019" y="1048226"/>
                      <a:pt x="531019" y="1047274"/>
                    </a:cubicBezTo>
                    <a:cubicBezTo>
                      <a:pt x="533876" y="1044416"/>
                      <a:pt x="535781" y="1041559"/>
                      <a:pt x="535781" y="1036796"/>
                    </a:cubicBezTo>
                    <a:cubicBezTo>
                      <a:pt x="535781" y="1035844"/>
                      <a:pt x="535781" y="1034891"/>
                      <a:pt x="534829" y="1032986"/>
                    </a:cubicBezTo>
                    <a:cubicBezTo>
                      <a:pt x="540544" y="1031081"/>
                      <a:pt x="545306" y="1025366"/>
                      <a:pt x="547211" y="1018699"/>
                    </a:cubicBezTo>
                    <a:cubicBezTo>
                      <a:pt x="547211" y="1018699"/>
                      <a:pt x="548164" y="1019651"/>
                      <a:pt x="548164" y="1019651"/>
                    </a:cubicBezTo>
                    <a:cubicBezTo>
                      <a:pt x="547211" y="1021556"/>
                      <a:pt x="547211" y="1024414"/>
                      <a:pt x="547211" y="1026319"/>
                    </a:cubicBezTo>
                    <a:cubicBezTo>
                      <a:pt x="548164" y="1029176"/>
                      <a:pt x="548164" y="1031081"/>
                      <a:pt x="549116" y="1032986"/>
                    </a:cubicBezTo>
                    <a:close/>
                    <a:moveTo>
                      <a:pt x="506254" y="814864"/>
                    </a:moveTo>
                    <a:cubicBezTo>
                      <a:pt x="503396" y="813911"/>
                      <a:pt x="500539" y="812959"/>
                      <a:pt x="497681" y="812959"/>
                    </a:cubicBezTo>
                    <a:cubicBezTo>
                      <a:pt x="497681" y="812959"/>
                      <a:pt x="497681" y="812959"/>
                      <a:pt x="497681" y="812959"/>
                    </a:cubicBezTo>
                    <a:cubicBezTo>
                      <a:pt x="501491" y="812006"/>
                      <a:pt x="504349" y="809149"/>
                      <a:pt x="507206" y="806291"/>
                    </a:cubicBezTo>
                    <a:cubicBezTo>
                      <a:pt x="508159" y="806291"/>
                      <a:pt x="508159" y="805339"/>
                      <a:pt x="509111" y="805339"/>
                    </a:cubicBezTo>
                    <a:cubicBezTo>
                      <a:pt x="509111" y="805339"/>
                      <a:pt x="509111" y="805339"/>
                      <a:pt x="509111" y="806291"/>
                    </a:cubicBezTo>
                    <a:cubicBezTo>
                      <a:pt x="507206" y="808196"/>
                      <a:pt x="506254" y="810101"/>
                      <a:pt x="506254" y="812959"/>
                    </a:cubicBezTo>
                    <a:cubicBezTo>
                      <a:pt x="506254" y="812959"/>
                      <a:pt x="506254" y="813911"/>
                      <a:pt x="506254" y="814864"/>
                    </a:cubicBezTo>
                    <a:close/>
                    <a:moveTo>
                      <a:pt x="521494" y="822484"/>
                    </a:moveTo>
                    <a:cubicBezTo>
                      <a:pt x="524351" y="828199"/>
                      <a:pt x="530066" y="832961"/>
                      <a:pt x="536734" y="832961"/>
                    </a:cubicBezTo>
                    <a:cubicBezTo>
                      <a:pt x="538639" y="832961"/>
                      <a:pt x="541496" y="832961"/>
                      <a:pt x="543401" y="832009"/>
                    </a:cubicBezTo>
                    <a:cubicBezTo>
                      <a:pt x="540544" y="834866"/>
                      <a:pt x="538639" y="838676"/>
                      <a:pt x="536734" y="842486"/>
                    </a:cubicBezTo>
                    <a:cubicBezTo>
                      <a:pt x="535781" y="842486"/>
                      <a:pt x="534829" y="842486"/>
                      <a:pt x="533876" y="842486"/>
                    </a:cubicBezTo>
                    <a:cubicBezTo>
                      <a:pt x="526256" y="842486"/>
                      <a:pt x="519589" y="848201"/>
                      <a:pt x="517684" y="854869"/>
                    </a:cubicBezTo>
                    <a:cubicBezTo>
                      <a:pt x="517684" y="854869"/>
                      <a:pt x="517684" y="854869"/>
                      <a:pt x="517684" y="854869"/>
                    </a:cubicBezTo>
                    <a:cubicBezTo>
                      <a:pt x="516731" y="854869"/>
                      <a:pt x="516731" y="854869"/>
                      <a:pt x="515779" y="854869"/>
                    </a:cubicBezTo>
                    <a:cubicBezTo>
                      <a:pt x="519589" y="850106"/>
                      <a:pt x="522446" y="844391"/>
                      <a:pt x="522446" y="838676"/>
                    </a:cubicBezTo>
                    <a:cubicBezTo>
                      <a:pt x="522446" y="832009"/>
                      <a:pt x="519589" y="825341"/>
                      <a:pt x="514826" y="820579"/>
                    </a:cubicBezTo>
                    <a:cubicBezTo>
                      <a:pt x="515779" y="820579"/>
                      <a:pt x="516731" y="820579"/>
                      <a:pt x="516731" y="819626"/>
                    </a:cubicBezTo>
                    <a:cubicBezTo>
                      <a:pt x="518636" y="820579"/>
                      <a:pt x="519589" y="821531"/>
                      <a:pt x="521494" y="822484"/>
                    </a:cubicBezTo>
                    <a:close/>
                    <a:moveTo>
                      <a:pt x="487204" y="723424"/>
                    </a:moveTo>
                    <a:cubicBezTo>
                      <a:pt x="488156" y="725329"/>
                      <a:pt x="489109" y="726281"/>
                      <a:pt x="490061" y="728186"/>
                    </a:cubicBezTo>
                    <a:cubicBezTo>
                      <a:pt x="489109" y="729139"/>
                      <a:pt x="487204" y="730091"/>
                      <a:pt x="486251" y="731996"/>
                    </a:cubicBezTo>
                    <a:cubicBezTo>
                      <a:pt x="487204" y="729139"/>
                      <a:pt x="487204" y="727234"/>
                      <a:pt x="487204" y="723424"/>
                    </a:cubicBezTo>
                    <a:cubicBezTo>
                      <a:pt x="487204" y="724376"/>
                      <a:pt x="487204" y="723424"/>
                      <a:pt x="487204" y="723424"/>
                    </a:cubicBezTo>
                    <a:close/>
                    <a:moveTo>
                      <a:pt x="362426" y="708184"/>
                    </a:moveTo>
                    <a:cubicBezTo>
                      <a:pt x="370999" y="708184"/>
                      <a:pt x="377666" y="703421"/>
                      <a:pt x="380524" y="695801"/>
                    </a:cubicBezTo>
                    <a:cubicBezTo>
                      <a:pt x="381476" y="695801"/>
                      <a:pt x="382429" y="694849"/>
                      <a:pt x="383381" y="694849"/>
                    </a:cubicBezTo>
                    <a:cubicBezTo>
                      <a:pt x="385286" y="699611"/>
                      <a:pt x="389096" y="702469"/>
                      <a:pt x="392906" y="705326"/>
                    </a:cubicBezTo>
                    <a:cubicBezTo>
                      <a:pt x="383381" y="710089"/>
                      <a:pt x="376714" y="716756"/>
                      <a:pt x="371951" y="726281"/>
                    </a:cubicBezTo>
                    <a:cubicBezTo>
                      <a:pt x="370999" y="718661"/>
                      <a:pt x="366236" y="711994"/>
                      <a:pt x="360521" y="708184"/>
                    </a:cubicBezTo>
                    <a:cubicBezTo>
                      <a:pt x="361474" y="708184"/>
                      <a:pt x="361474" y="708184"/>
                      <a:pt x="362426" y="708184"/>
                    </a:cubicBezTo>
                    <a:close/>
                    <a:moveTo>
                      <a:pt x="453866" y="781526"/>
                    </a:moveTo>
                    <a:cubicBezTo>
                      <a:pt x="448151" y="781526"/>
                      <a:pt x="443389" y="786289"/>
                      <a:pt x="443389" y="791051"/>
                    </a:cubicBezTo>
                    <a:cubicBezTo>
                      <a:pt x="443389" y="795814"/>
                      <a:pt x="446246" y="798671"/>
                      <a:pt x="450056" y="800576"/>
                    </a:cubicBezTo>
                    <a:cubicBezTo>
                      <a:pt x="445294" y="802481"/>
                      <a:pt x="441484" y="805339"/>
                      <a:pt x="438626" y="809149"/>
                    </a:cubicBezTo>
                    <a:cubicBezTo>
                      <a:pt x="428149" y="810101"/>
                      <a:pt x="419576" y="818674"/>
                      <a:pt x="419576" y="830104"/>
                    </a:cubicBezTo>
                    <a:cubicBezTo>
                      <a:pt x="419576" y="835819"/>
                      <a:pt x="421481" y="840581"/>
                      <a:pt x="425291" y="844391"/>
                    </a:cubicBezTo>
                    <a:cubicBezTo>
                      <a:pt x="424339" y="845344"/>
                      <a:pt x="424339" y="845344"/>
                      <a:pt x="423386" y="846296"/>
                    </a:cubicBezTo>
                    <a:cubicBezTo>
                      <a:pt x="418624" y="839629"/>
                      <a:pt x="411956" y="833914"/>
                      <a:pt x="404336" y="832009"/>
                    </a:cubicBezTo>
                    <a:cubicBezTo>
                      <a:pt x="401479" y="830104"/>
                      <a:pt x="398621" y="828199"/>
                      <a:pt x="394811" y="828199"/>
                    </a:cubicBezTo>
                    <a:cubicBezTo>
                      <a:pt x="391954" y="828199"/>
                      <a:pt x="389096" y="829151"/>
                      <a:pt x="386239" y="831056"/>
                    </a:cubicBezTo>
                    <a:cubicBezTo>
                      <a:pt x="378619" y="832961"/>
                      <a:pt x="372904" y="836771"/>
                      <a:pt x="368141" y="842486"/>
                    </a:cubicBezTo>
                    <a:cubicBezTo>
                      <a:pt x="367189" y="840581"/>
                      <a:pt x="365284" y="838676"/>
                      <a:pt x="363379" y="837724"/>
                    </a:cubicBezTo>
                    <a:cubicBezTo>
                      <a:pt x="362426" y="832961"/>
                      <a:pt x="360521" y="829151"/>
                      <a:pt x="357664" y="826294"/>
                    </a:cubicBezTo>
                    <a:cubicBezTo>
                      <a:pt x="365284" y="822484"/>
                      <a:pt x="370046" y="815816"/>
                      <a:pt x="370046" y="807244"/>
                    </a:cubicBezTo>
                    <a:cubicBezTo>
                      <a:pt x="370999" y="807244"/>
                      <a:pt x="371951" y="807244"/>
                      <a:pt x="372904" y="807244"/>
                    </a:cubicBezTo>
                    <a:cubicBezTo>
                      <a:pt x="378619" y="807244"/>
                      <a:pt x="383381" y="806291"/>
                      <a:pt x="388144" y="803434"/>
                    </a:cubicBezTo>
                    <a:cubicBezTo>
                      <a:pt x="386239" y="805339"/>
                      <a:pt x="385286" y="808196"/>
                      <a:pt x="385286" y="811054"/>
                    </a:cubicBezTo>
                    <a:cubicBezTo>
                      <a:pt x="385286" y="817721"/>
                      <a:pt x="391001" y="823436"/>
                      <a:pt x="397669" y="823436"/>
                    </a:cubicBezTo>
                    <a:cubicBezTo>
                      <a:pt x="404336" y="823436"/>
                      <a:pt x="410051" y="817721"/>
                      <a:pt x="410051" y="811054"/>
                    </a:cubicBezTo>
                    <a:cubicBezTo>
                      <a:pt x="410051" y="804386"/>
                      <a:pt x="404336" y="798671"/>
                      <a:pt x="397669" y="798671"/>
                    </a:cubicBezTo>
                    <a:cubicBezTo>
                      <a:pt x="396716" y="798671"/>
                      <a:pt x="395764" y="798671"/>
                      <a:pt x="394811" y="799624"/>
                    </a:cubicBezTo>
                    <a:cubicBezTo>
                      <a:pt x="395764" y="798671"/>
                      <a:pt x="396716" y="797719"/>
                      <a:pt x="398621" y="795814"/>
                    </a:cubicBezTo>
                    <a:cubicBezTo>
                      <a:pt x="406241" y="795814"/>
                      <a:pt x="412909" y="792004"/>
                      <a:pt x="416719" y="787241"/>
                    </a:cubicBezTo>
                    <a:cubicBezTo>
                      <a:pt x="419576" y="788194"/>
                      <a:pt x="421481" y="788194"/>
                      <a:pt x="424339" y="788194"/>
                    </a:cubicBezTo>
                    <a:cubicBezTo>
                      <a:pt x="441484" y="788194"/>
                      <a:pt x="454819" y="775811"/>
                      <a:pt x="456724" y="759619"/>
                    </a:cubicBezTo>
                    <a:cubicBezTo>
                      <a:pt x="457676" y="759619"/>
                      <a:pt x="459581" y="759619"/>
                      <a:pt x="460534" y="759619"/>
                    </a:cubicBezTo>
                    <a:cubicBezTo>
                      <a:pt x="471011" y="759619"/>
                      <a:pt x="479584" y="752951"/>
                      <a:pt x="482441" y="743426"/>
                    </a:cubicBezTo>
                    <a:cubicBezTo>
                      <a:pt x="483394" y="751999"/>
                      <a:pt x="490061" y="757714"/>
                      <a:pt x="498634" y="757714"/>
                    </a:cubicBezTo>
                    <a:cubicBezTo>
                      <a:pt x="507206" y="757714"/>
                      <a:pt x="513874" y="751046"/>
                      <a:pt x="514826" y="742474"/>
                    </a:cubicBezTo>
                    <a:cubicBezTo>
                      <a:pt x="514826" y="742474"/>
                      <a:pt x="515779" y="742474"/>
                      <a:pt x="515779" y="742474"/>
                    </a:cubicBezTo>
                    <a:cubicBezTo>
                      <a:pt x="514826" y="745331"/>
                      <a:pt x="513874" y="749141"/>
                      <a:pt x="513874" y="751999"/>
                    </a:cubicBezTo>
                    <a:cubicBezTo>
                      <a:pt x="513874" y="752951"/>
                      <a:pt x="513874" y="753904"/>
                      <a:pt x="513874" y="755809"/>
                    </a:cubicBezTo>
                    <a:cubicBezTo>
                      <a:pt x="511016" y="759619"/>
                      <a:pt x="509111" y="763429"/>
                      <a:pt x="509111" y="768191"/>
                    </a:cubicBezTo>
                    <a:cubicBezTo>
                      <a:pt x="509111" y="773906"/>
                      <a:pt x="511016" y="778669"/>
                      <a:pt x="514826" y="781526"/>
                    </a:cubicBezTo>
                    <a:cubicBezTo>
                      <a:pt x="512921" y="783431"/>
                      <a:pt x="511016" y="785336"/>
                      <a:pt x="510064" y="788194"/>
                    </a:cubicBezTo>
                    <a:cubicBezTo>
                      <a:pt x="508159" y="785336"/>
                      <a:pt x="505301" y="783431"/>
                      <a:pt x="501491" y="783431"/>
                    </a:cubicBezTo>
                    <a:cubicBezTo>
                      <a:pt x="498634" y="781526"/>
                      <a:pt x="495776" y="780574"/>
                      <a:pt x="491966" y="780574"/>
                    </a:cubicBezTo>
                    <a:cubicBezTo>
                      <a:pt x="491014" y="780574"/>
                      <a:pt x="490061" y="780574"/>
                      <a:pt x="490061" y="780574"/>
                    </a:cubicBezTo>
                    <a:cubicBezTo>
                      <a:pt x="490061" y="780574"/>
                      <a:pt x="490061" y="779621"/>
                      <a:pt x="490061" y="779621"/>
                    </a:cubicBezTo>
                    <a:cubicBezTo>
                      <a:pt x="490061" y="772954"/>
                      <a:pt x="484346" y="767239"/>
                      <a:pt x="477679" y="767239"/>
                    </a:cubicBezTo>
                    <a:cubicBezTo>
                      <a:pt x="471011" y="767239"/>
                      <a:pt x="465296" y="772954"/>
                      <a:pt x="465296" y="779621"/>
                    </a:cubicBezTo>
                    <a:cubicBezTo>
                      <a:pt x="465296" y="784384"/>
                      <a:pt x="468154" y="787241"/>
                      <a:pt x="471011" y="790099"/>
                    </a:cubicBezTo>
                    <a:cubicBezTo>
                      <a:pt x="465296" y="792004"/>
                      <a:pt x="461486" y="794861"/>
                      <a:pt x="458629" y="799624"/>
                    </a:cubicBezTo>
                    <a:cubicBezTo>
                      <a:pt x="458629" y="799624"/>
                      <a:pt x="457676" y="799624"/>
                      <a:pt x="457676" y="799624"/>
                    </a:cubicBezTo>
                    <a:cubicBezTo>
                      <a:pt x="460534" y="797719"/>
                      <a:pt x="462439" y="794861"/>
                      <a:pt x="462439" y="791051"/>
                    </a:cubicBezTo>
                    <a:cubicBezTo>
                      <a:pt x="463391" y="786289"/>
                      <a:pt x="459581" y="781526"/>
                      <a:pt x="453866" y="781526"/>
                    </a:cubicBezTo>
                    <a:close/>
                    <a:moveTo>
                      <a:pt x="481489" y="946309"/>
                    </a:moveTo>
                    <a:cubicBezTo>
                      <a:pt x="480536" y="948214"/>
                      <a:pt x="480536" y="950119"/>
                      <a:pt x="480536" y="951071"/>
                    </a:cubicBezTo>
                    <a:cubicBezTo>
                      <a:pt x="478631" y="945356"/>
                      <a:pt x="474821" y="940594"/>
                      <a:pt x="470059" y="936784"/>
                    </a:cubicBezTo>
                    <a:cubicBezTo>
                      <a:pt x="471011" y="936784"/>
                      <a:pt x="472916" y="935831"/>
                      <a:pt x="473869" y="935831"/>
                    </a:cubicBezTo>
                    <a:cubicBezTo>
                      <a:pt x="473869" y="935831"/>
                      <a:pt x="473869" y="935831"/>
                      <a:pt x="473869" y="935831"/>
                    </a:cubicBezTo>
                    <a:cubicBezTo>
                      <a:pt x="472916" y="941546"/>
                      <a:pt x="476726" y="945356"/>
                      <a:pt x="481489" y="946309"/>
                    </a:cubicBezTo>
                    <a:close/>
                    <a:moveTo>
                      <a:pt x="345281" y="1095851"/>
                    </a:moveTo>
                    <a:cubicBezTo>
                      <a:pt x="345281" y="1095851"/>
                      <a:pt x="345281" y="1095851"/>
                      <a:pt x="345281" y="1095851"/>
                    </a:cubicBezTo>
                    <a:cubicBezTo>
                      <a:pt x="345281" y="1095851"/>
                      <a:pt x="345281" y="1095851"/>
                      <a:pt x="345281" y="1095851"/>
                    </a:cubicBezTo>
                    <a:cubicBezTo>
                      <a:pt x="345281" y="1095851"/>
                      <a:pt x="345281" y="1095851"/>
                      <a:pt x="345281" y="1095851"/>
                    </a:cubicBezTo>
                    <a:close/>
                    <a:moveTo>
                      <a:pt x="423386" y="1187291"/>
                    </a:moveTo>
                    <a:cubicBezTo>
                      <a:pt x="422434" y="1187291"/>
                      <a:pt x="421481" y="1187291"/>
                      <a:pt x="421481" y="1188244"/>
                    </a:cubicBezTo>
                    <a:cubicBezTo>
                      <a:pt x="422434" y="1186339"/>
                      <a:pt x="423386" y="1183481"/>
                      <a:pt x="423386" y="1181576"/>
                    </a:cubicBezTo>
                    <a:cubicBezTo>
                      <a:pt x="424339" y="1181576"/>
                      <a:pt x="425291" y="1182529"/>
                      <a:pt x="426244" y="1182529"/>
                    </a:cubicBezTo>
                    <a:cubicBezTo>
                      <a:pt x="427196" y="1183481"/>
                      <a:pt x="428149" y="1184434"/>
                      <a:pt x="430054" y="1185386"/>
                    </a:cubicBezTo>
                    <a:cubicBezTo>
                      <a:pt x="427196" y="1185386"/>
                      <a:pt x="425291" y="1186339"/>
                      <a:pt x="423386" y="1187291"/>
                    </a:cubicBezTo>
                    <a:close/>
                    <a:moveTo>
                      <a:pt x="432911" y="1183481"/>
                    </a:moveTo>
                    <a:cubicBezTo>
                      <a:pt x="432911" y="1183481"/>
                      <a:pt x="432911" y="1183481"/>
                      <a:pt x="432911" y="1183481"/>
                    </a:cubicBezTo>
                    <a:cubicBezTo>
                      <a:pt x="433864" y="1183481"/>
                      <a:pt x="433864" y="1183481"/>
                      <a:pt x="432911" y="1183481"/>
                    </a:cubicBezTo>
                    <a:cubicBezTo>
                      <a:pt x="433864" y="1183481"/>
                      <a:pt x="432911" y="1183481"/>
                      <a:pt x="432911" y="1183481"/>
                    </a:cubicBezTo>
                    <a:close/>
                    <a:moveTo>
                      <a:pt x="455771" y="1106329"/>
                    </a:moveTo>
                    <a:cubicBezTo>
                      <a:pt x="450056" y="1108234"/>
                      <a:pt x="445294" y="1112044"/>
                      <a:pt x="443389" y="1117759"/>
                    </a:cubicBezTo>
                    <a:cubicBezTo>
                      <a:pt x="440531" y="1116806"/>
                      <a:pt x="437674" y="1115854"/>
                      <a:pt x="433864" y="1115854"/>
                    </a:cubicBezTo>
                    <a:cubicBezTo>
                      <a:pt x="415766" y="1115854"/>
                      <a:pt x="400526" y="1131094"/>
                      <a:pt x="400526" y="1149191"/>
                    </a:cubicBezTo>
                    <a:cubicBezTo>
                      <a:pt x="400526" y="1153954"/>
                      <a:pt x="401479" y="1158716"/>
                      <a:pt x="403384" y="1162526"/>
                    </a:cubicBezTo>
                    <a:cubicBezTo>
                      <a:pt x="393859" y="1163479"/>
                      <a:pt x="387191" y="1171099"/>
                      <a:pt x="387191" y="1179671"/>
                    </a:cubicBezTo>
                    <a:cubicBezTo>
                      <a:pt x="387191" y="1185386"/>
                      <a:pt x="390049" y="1191101"/>
                      <a:pt x="394811" y="1193959"/>
                    </a:cubicBezTo>
                    <a:cubicBezTo>
                      <a:pt x="391001" y="1196816"/>
                      <a:pt x="389096" y="1201579"/>
                      <a:pt x="389096" y="1206341"/>
                    </a:cubicBezTo>
                    <a:cubicBezTo>
                      <a:pt x="389096" y="1213009"/>
                      <a:pt x="392906" y="1218724"/>
                      <a:pt x="399574" y="1221581"/>
                    </a:cubicBezTo>
                    <a:cubicBezTo>
                      <a:pt x="400526" y="1226344"/>
                      <a:pt x="404336" y="1230154"/>
                      <a:pt x="409099" y="1231106"/>
                    </a:cubicBezTo>
                    <a:cubicBezTo>
                      <a:pt x="401479" y="1234916"/>
                      <a:pt x="394811" y="1241584"/>
                      <a:pt x="392906" y="1250156"/>
                    </a:cubicBezTo>
                    <a:cubicBezTo>
                      <a:pt x="391954" y="1250156"/>
                      <a:pt x="391001" y="1250156"/>
                      <a:pt x="390049" y="1251109"/>
                    </a:cubicBezTo>
                    <a:cubicBezTo>
                      <a:pt x="390049" y="1249204"/>
                      <a:pt x="389096" y="1247299"/>
                      <a:pt x="388144" y="1245394"/>
                    </a:cubicBezTo>
                    <a:cubicBezTo>
                      <a:pt x="389096" y="1244441"/>
                      <a:pt x="389096" y="1243489"/>
                      <a:pt x="390049" y="1241584"/>
                    </a:cubicBezTo>
                    <a:cubicBezTo>
                      <a:pt x="393859" y="1239679"/>
                      <a:pt x="396716" y="1234916"/>
                      <a:pt x="396716" y="1230154"/>
                    </a:cubicBezTo>
                    <a:cubicBezTo>
                      <a:pt x="396716" y="1224439"/>
                      <a:pt x="392906" y="1219676"/>
                      <a:pt x="388144" y="1217771"/>
                    </a:cubicBezTo>
                    <a:cubicBezTo>
                      <a:pt x="386239" y="1213961"/>
                      <a:pt x="382429" y="1210151"/>
                      <a:pt x="378619" y="1207294"/>
                    </a:cubicBezTo>
                    <a:cubicBezTo>
                      <a:pt x="374809" y="1202531"/>
                      <a:pt x="369094" y="1199674"/>
                      <a:pt x="362426" y="1199674"/>
                    </a:cubicBezTo>
                    <a:cubicBezTo>
                      <a:pt x="353854" y="1199674"/>
                      <a:pt x="346234" y="1204436"/>
                      <a:pt x="343376" y="1212056"/>
                    </a:cubicBezTo>
                    <a:cubicBezTo>
                      <a:pt x="342424" y="1213961"/>
                      <a:pt x="340519" y="1214914"/>
                      <a:pt x="339566" y="1216819"/>
                    </a:cubicBezTo>
                    <a:cubicBezTo>
                      <a:pt x="329089" y="1216819"/>
                      <a:pt x="319564" y="1224439"/>
                      <a:pt x="316706" y="1233964"/>
                    </a:cubicBezTo>
                    <a:cubicBezTo>
                      <a:pt x="316706" y="1233011"/>
                      <a:pt x="316706" y="1232059"/>
                      <a:pt x="315754" y="1231106"/>
                    </a:cubicBezTo>
                    <a:cubicBezTo>
                      <a:pt x="315754" y="1230154"/>
                      <a:pt x="315754" y="1230154"/>
                      <a:pt x="315754" y="1229201"/>
                    </a:cubicBezTo>
                    <a:cubicBezTo>
                      <a:pt x="315754" y="1223486"/>
                      <a:pt x="313849" y="1217771"/>
                      <a:pt x="310991" y="1213961"/>
                    </a:cubicBezTo>
                    <a:cubicBezTo>
                      <a:pt x="322421" y="1210151"/>
                      <a:pt x="331946" y="1199674"/>
                      <a:pt x="331946" y="1186339"/>
                    </a:cubicBezTo>
                    <a:cubicBezTo>
                      <a:pt x="331946" y="1174909"/>
                      <a:pt x="325279" y="1166336"/>
                      <a:pt x="316706" y="1161574"/>
                    </a:cubicBezTo>
                    <a:cubicBezTo>
                      <a:pt x="316706" y="1161574"/>
                      <a:pt x="316706" y="1160621"/>
                      <a:pt x="316706" y="1160621"/>
                    </a:cubicBezTo>
                    <a:cubicBezTo>
                      <a:pt x="318611" y="1159669"/>
                      <a:pt x="319564" y="1158716"/>
                      <a:pt x="320516" y="1156811"/>
                    </a:cubicBezTo>
                    <a:cubicBezTo>
                      <a:pt x="321469" y="1156811"/>
                      <a:pt x="322421" y="1157764"/>
                      <a:pt x="323374" y="1157764"/>
                    </a:cubicBezTo>
                    <a:cubicBezTo>
                      <a:pt x="322421" y="1158716"/>
                      <a:pt x="322421" y="1159669"/>
                      <a:pt x="322421" y="1160621"/>
                    </a:cubicBezTo>
                    <a:cubicBezTo>
                      <a:pt x="322421" y="1163479"/>
                      <a:pt x="325279" y="1166336"/>
                      <a:pt x="328136" y="1166336"/>
                    </a:cubicBezTo>
                    <a:cubicBezTo>
                      <a:pt x="329089" y="1166336"/>
                      <a:pt x="330041" y="1166336"/>
                      <a:pt x="330041" y="1166336"/>
                    </a:cubicBezTo>
                    <a:cubicBezTo>
                      <a:pt x="331946" y="1167289"/>
                      <a:pt x="333851" y="1168241"/>
                      <a:pt x="335756" y="1168241"/>
                    </a:cubicBezTo>
                    <a:cubicBezTo>
                      <a:pt x="341471" y="1168241"/>
                      <a:pt x="346234" y="1163479"/>
                      <a:pt x="346234" y="1157764"/>
                    </a:cubicBezTo>
                    <a:cubicBezTo>
                      <a:pt x="346234" y="1156811"/>
                      <a:pt x="346234" y="1154906"/>
                      <a:pt x="345281" y="1153954"/>
                    </a:cubicBezTo>
                    <a:cubicBezTo>
                      <a:pt x="348139" y="1152049"/>
                      <a:pt x="350996" y="1149191"/>
                      <a:pt x="353854" y="1146334"/>
                    </a:cubicBezTo>
                    <a:cubicBezTo>
                      <a:pt x="356711" y="1149191"/>
                      <a:pt x="361474" y="1151096"/>
                      <a:pt x="366236" y="1151096"/>
                    </a:cubicBezTo>
                    <a:cubicBezTo>
                      <a:pt x="373856" y="1151096"/>
                      <a:pt x="380524" y="1146334"/>
                      <a:pt x="382429" y="1140619"/>
                    </a:cubicBezTo>
                    <a:cubicBezTo>
                      <a:pt x="383381" y="1141571"/>
                      <a:pt x="384334" y="1142524"/>
                      <a:pt x="386239" y="1142524"/>
                    </a:cubicBezTo>
                    <a:cubicBezTo>
                      <a:pt x="389096" y="1142524"/>
                      <a:pt x="391001" y="1140619"/>
                      <a:pt x="391001" y="1137761"/>
                    </a:cubicBezTo>
                    <a:cubicBezTo>
                      <a:pt x="391001" y="1134904"/>
                      <a:pt x="389096" y="1132999"/>
                      <a:pt x="386239" y="1132999"/>
                    </a:cubicBezTo>
                    <a:cubicBezTo>
                      <a:pt x="385286" y="1132999"/>
                      <a:pt x="384334" y="1132999"/>
                      <a:pt x="384334" y="1133951"/>
                    </a:cubicBezTo>
                    <a:cubicBezTo>
                      <a:pt x="384334" y="1133951"/>
                      <a:pt x="384334" y="1133951"/>
                      <a:pt x="384334" y="1133951"/>
                    </a:cubicBezTo>
                    <a:cubicBezTo>
                      <a:pt x="384334" y="1132046"/>
                      <a:pt x="384334" y="1130141"/>
                      <a:pt x="383381" y="1129189"/>
                    </a:cubicBezTo>
                    <a:cubicBezTo>
                      <a:pt x="384334" y="1127284"/>
                      <a:pt x="385286" y="1124426"/>
                      <a:pt x="385286" y="1122521"/>
                    </a:cubicBezTo>
                    <a:cubicBezTo>
                      <a:pt x="385286" y="1116806"/>
                      <a:pt x="382429" y="1112044"/>
                      <a:pt x="378619" y="1109186"/>
                    </a:cubicBezTo>
                    <a:cubicBezTo>
                      <a:pt x="382429" y="1108234"/>
                      <a:pt x="386239" y="1105376"/>
                      <a:pt x="388144" y="1101566"/>
                    </a:cubicBezTo>
                    <a:cubicBezTo>
                      <a:pt x="389096" y="1101566"/>
                      <a:pt x="390049" y="1101566"/>
                      <a:pt x="390049" y="1100614"/>
                    </a:cubicBezTo>
                    <a:cubicBezTo>
                      <a:pt x="393859" y="1108234"/>
                      <a:pt x="402431" y="1113949"/>
                      <a:pt x="411004" y="1113949"/>
                    </a:cubicBezTo>
                    <a:cubicBezTo>
                      <a:pt x="424339" y="1113949"/>
                      <a:pt x="434816" y="1103471"/>
                      <a:pt x="434816" y="1090136"/>
                    </a:cubicBezTo>
                    <a:cubicBezTo>
                      <a:pt x="434816" y="1087279"/>
                      <a:pt x="433864" y="1085374"/>
                      <a:pt x="433864" y="1083469"/>
                    </a:cubicBezTo>
                    <a:cubicBezTo>
                      <a:pt x="436721" y="1085374"/>
                      <a:pt x="439579" y="1086326"/>
                      <a:pt x="443389" y="1086326"/>
                    </a:cubicBezTo>
                    <a:cubicBezTo>
                      <a:pt x="442436" y="1087279"/>
                      <a:pt x="442436" y="1089184"/>
                      <a:pt x="442436" y="1090136"/>
                    </a:cubicBezTo>
                    <a:cubicBezTo>
                      <a:pt x="442436" y="1093946"/>
                      <a:pt x="446246" y="1097756"/>
                      <a:pt x="450056" y="1097756"/>
                    </a:cubicBezTo>
                    <a:cubicBezTo>
                      <a:pt x="453866" y="1097756"/>
                      <a:pt x="457676" y="1093946"/>
                      <a:pt x="457676" y="1090136"/>
                    </a:cubicBezTo>
                    <a:cubicBezTo>
                      <a:pt x="457676" y="1088231"/>
                      <a:pt x="456724" y="1086326"/>
                      <a:pt x="454819" y="1084421"/>
                    </a:cubicBezTo>
                    <a:cubicBezTo>
                      <a:pt x="459581" y="1082516"/>
                      <a:pt x="463391" y="1078706"/>
                      <a:pt x="466249" y="1073944"/>
                    </a:cubicBezTo>
                    <a:cubicBezTo>
                      <a:pt x="468154" y="1075849"/>
                      <a:pt x="471011" y="1076801"/>
                      <a:pt x="473869" y="1076801"/>
                    </a:cubicBezTo>
                    <a:cubicBezTo>
                      <a:pt x="475774" y="1076801"/>
                      <a:pt x="477679" y="1075849"/>
                      <a:pt x="479584" y="1074896"/>
                    </a:cubicBezTo>
                    <a:cubicBezTo>
                      <a:pt x="479584" y="1074896"/>
                      <a:pt x="480536" y="1074896"/>
                      <a:pt x="480536" y="1075849"/>
                    </a:cubicBezTo>
                    <a:cubicBezTo>
                      <a:pt x="481489" y="1081564"/>
                      <a:pt x="485299" y="1085374"/>
                      <a:pt x="491014" y="1085374"/>
                    </a:cubicBezTo>
                    <a:cubicBezTo>
                      <a:pt x="495776" y="1085374"/>
                      <a:pt x="498634" y="1082516"/>
                      <a:pt x="500539" y="1078706"/>
                    </a:cubicBezTo>
                    <a:cubicBezTo>
                      <a:pt x="502444" y="1078706"/>
                      <a:pt x="504349" y="1077754"/>
                      <a:pt x="505301" y="1077754"/>
                    </a:cubicBezTo>
                    <a:cubicBezTo>
                      <a:pt x="507206" y="1081564"/>
                      <a:pt x="511016" y="1084421"/>
                      <a:pt x="515779" y="1084421"/>
                    </a:cubicBezTo>
                    <a:cubicBezTo>
                      <a:pt x="516731" y="1084421"/>
                      <a:pt x="517684" y="1084421"/>
                      <a:pt x="518636" y="1083469"/>
                    </a:cubicBezTo>
                    <a:cubicBezTo>
                      <a:pt x="519589" y="1084421"/>
                      <a:pt x="520541" y="1085374"/>
                      <a:pt x="521494" y="1087279"/>
                    </a:cubicBezTo>
                    <a:cubicBezTo>
                      <a:pt x="521494" y="1088231"/>
                      <a:pt x="521494" y="1089184"/>
                      <a:pt x="521494" y="1090136"/>
                    </a:cubicBezTo>
                    <a:cubicBezTo>
                      <a:pt x="521494" y="1099661"/>
                      <a:pt x="529114" y="1107281"/>
                      <a:pt x="538639" y="1107281"/>
                    </a:cubicBezTo>
                    <a:cubicBezTo>
                      <a:pt x="542449" y="1107281"/>
                      <a:pt x="546259" y="1105376"/>
                      <a:pt x="549116" y="1103471"/>
                    </a:cubicBezTo>
                    <a:cubicBezTo>
                      <a:pt x="550069" y="1104424"/>
                      <a:pt x="551974" y="1105376"/>
                      <a:pt x="553879" y="1106329"/>
                    </a:cubicBezTo>
                    <a:cubicBezTo>
                      <a:pt x="555784" y="1110139"/>
                      <a:pt x="559594" y="1112996"/>
                      <a:pt x="563404" y="1113949"/>
                    </a:cubicBezTo>
                    <a:cubicBezTo>
                      <a:pt x="561499" y="1114901"/>
                      <a:pt x="560546" y="1116806"/>
                      <a:pt x="559594" y="1118711"/>
                    </a:cubicBezTo>
                    <a:cubicBezTo>
                      <a:pt x="558641" y="1118711"/>
                      <a:pt x="557689" y="1118711"/>
                      <a:pt x="557689" y="1118711"/>
                    </a:cubicBezTo>
                    <a:cubicBezTo>
                      <a:pt x="553879" y="1118711"/>
                      <a:pt x="550069" y="1119664"/>
                      <a:pt x="547211" y="1120616"/>
                    </a:cubicBezTo>
                    <a:cubicBezTo>
                      <a:pt x="546259" y="1119664"/>
                      <a:pt x="544354" y="1118711"/>
                      <a:pt x="542449" y="1118711"/>
                    </a:cubicBezTo>
                    <a:cubicBezTo>
                      <a:pt x="541496" y="1118711"/>
                      <a:pt x="539591" y="1119664"/>
                      <a:pt x="538639" y="1119664"/>
                    </a:cubicBezTo>
                    <a:cubicBezTo>
                      <a:pt x="535781" y="1111091"/>
                      <a:pt x="528161" y="1104424"/>
                      <a:pt x="518636" y="1104424"/>
                    </a:cubicBezTo>
                    <a:cubicBezTo>
                      <a:pt x="511969" y="1093946"/>
                      <a:pt x="499586" y="1087279"/>
                      <a:pt x="486251" y="1087279"/>
                    </a:cubicBezTo>
                    <a:cubicBezTo>
                      <a:pt x="473869" y="1090136"/>
                      <a:pt x="462439" y="1096804"/>
                      <a:pt x="455771" y="1106329"/>
                    </a:cubicBezTo>
                    <a:close/>
                    <a:moveTo>
                      <a:pt x="483394" y="1196816"/>
                    </a:moveTo>
                    <a:cubicBezTo>
                      <a:pt x="479584" y="1193959"/>
                      <a:pt x="473869" y="1192054"/>
                      <a:pt x="469106" y="1192054"/>
                    </a:cubicBezTo>
                    <a:cubicBezTo>
                      <a:pt x="468154" y="1192054"/>
                      <a:pt x="466249" y="1192054"/>
                      <a:pt x="465296" y="1192054"/>
                    </a:cubicBezTo>
                    <a:cubicBezTo>
                      <a:pt x="464344" y="1191101"/>
                      <a:pt x="463391" y="1190149"/>
                      <a:pt x="462439" y="1189196"/>
                    </a:cubicBezTo>
                    <a:cubicBezTo>
                      <a:pt x="465296" y="1186339"/>
                      <a:pt x="466249" y="1182529"/>
                      <a:pt x="466249" y="1178719"/>
                    </a:cubicBezTo>
                    <a:cubicBezTo>
                      <a:pt x="466249" y="1174909"/>
                      <a:pt x="464344" y="1171099"/>
                      <a:pt x="462439" y="1167289"/>
                    </a:cubicBezTo>
                    <a:cubicBezTo>
                      <a:pt x="462439" y="1167289"/>
                      <a:pt x="462439" y="1167289"/>
                      <a:pt x="462439" y="1167289"/>
                    </a:cubicBezTo>
                    <a:cubicBezTo>
                      <a:pt x="466249" y="1169194"/>
                      <a:pt x="471011" y="1170146"/>
                      <a:pt x="475774" y="1170146"/>
                    </a:cubicBezTo>
                    <a:cubicBezTo>
                      <a:pt x="481489" y="1170146"/>
                      <a:pt x="486251" y="1168241"/>
                      <a:pt x="491014" y="1165384"/>
                    </a:cubicBezTo>
                    <a:cubicBezTo>
                      <a:pt x="494824" y="1165384"/>
                      <a:pt x="498634" y="1164431"/>
                      <a:pt x="502444" y="1162526"/>
                    </a:cubicBezTo>
                    <a:cubicBezTo>
                      <a:pt x="503396" y="1164431"/>
                      <a:pt x="505301" y="1165384"/>
                      <a:pt x="507206" y="1165384"/>
                    </a:cubicBezTo>
                    <a:cubicBezTo>
                      <a:pt x="511016" y="1165384"/>
                      <a:pt x="513874" y="1162526"/>
                      <a:pt x="513874" y="1158716"/>
                    </a:cubicBezTo>
                    <a:cubicBezTo>
                      <a:pt x="513874" y="1157764"/>
                      <a:pt x="513874" y="1156811"/>
                      <a:pt x="512921" y="1155859"/>
                    </a:cubicBezTo>
                    <a:cubicBezTo>
                      <a:pt x="514826" y="1153954"/>
                      <a:pt x="516731" y="1152049"/>
                      <a:pt x="517684" y="1150144"/>
                    </a:cubicBezTo>
                    <a:cubicBezTo>
                      <a:pt x="519589" y="1152049"/>
                      <a:pt x="522446" y="1153001"/>
                      <a:pt x="525304" y="1153001"/>
                    </a:cubicBezTo>
                    <a:cubicBezTo>
                      <a:pt x="526256" y="1153001"/>
                      <a:pt x="527209" y="1153001"/>
                      <a:pt x="528161" y="1152049"/>
                    </a:cubicBezTo>
                    <a:cubicBezTo>
                      <a:pt x="527209" y="1154906"/>
                      <a:pt x="526256" y="1157764"/>
                      <a:pt x="526256" y="1160621"/>
                    </a:cubicBezTo>
                    <a:cubicBezTo>
                      <a:pt x="526256" y="1160621"/>
                      <a:pt x="526256" y="1161574"/>
                      <a:pt x="526256" y="1161574"/>
                    </a:cubicBezTo>
                    <a:cubicBezTo>
                      <a:pt x="521494" y="1166336"/>
                      <a:pt x="517684" y="1171099"/>
                      <a:pt x="514826" y="1177766"/>
                    </a:cubicBezTo>
                    <a:cubicBezTo>
                      <a:pt x="512921" y="1175861"/>
                      <a:pt x="510064" y="1174909"/>
                      <a:pt x="507206" y="1174909"/>
                    </a:cubicBezTo>
                    <a:cubicBezTo>
                      <a:pt x="500539" y="1174909"/>
                      <a:pt x="495776" y="1179671"/>
                      <a:pt x="495776" y="1186339"/>
                    </a:cubicBezTo>
                    <a:cubicBezTo>
                      <a:pt x="495776" y="1188244"/>
                      <a:pt x="496729" y="1190149"/>
                      <a:pt x="497681" y="1192054"/>
                    </a:cubicBezTo>
                    <a:cubicBezTo>
                      <a:pt x="495776" y="1191101"/>
                      <a:pt x="493871" y="1190149"/>
                      <a:pt x="491966" y="1190149"/>
                    </a:cubicBezTo>
                    <a:cubicBezTo>
                      <a:pt x="489109" y="1192054"/>
                      <a:pt x="485299" y="1193959"/>
                      <a:pt x="483394" y="1196816"/>
                    </a:cubicBezTo>
                    <a:close/>
                    <a:moveTo>
                      <a:pt x="507206" y="1716881"/>
                    </a:moveTo>
                    <a:cubicBezTo>
                      <a:pt x="507206" y="1715929"/>
                      <a:pt x="506254" y="1715929"/>
                      <a:pt x="506254" y="1714976"/>
                    </a:cubicBezTo>
                    <a:cubicBezTo>
                      <a:pt x="507206" y="1714976"/>
                      <a:pt x="507206" y="1714976"/>
                      <a:pt x="508159" y="1714976"/>
                    </a:cubicBezTo>
                    <a:cubicBezTo>
                      <a:pt x="509111" y="1714976"/>
                      <a:pt x="509111" y="1714976"/>
                      <a:pt x="510064" y="1714976"/>
                    </a:cubicBezTo>
                    <a:cubicBezTo>
                      <a:pt x="510064" y="1714976"/>
                      <a:pt x="510064" y="1714976"/>
                      <a:pt x="510064" y="1714976"/>
                    </a:cubicBezTo>
                    <a:cubicBezTo>
                      <a:pt x="508159" y="1714976"/>
                      <a:pt x="507206" y="1715929"/>
                      <a:pt x="507206" y="1716881"/>
                    </a:cubicBezTo>
                    <a:close/>
                  </a:path>
                </a:pathLst>
              </a:custGeom>
              <a:grpFill/>
              <a:ln w="9525" cap="flat">
                <a:noFill/>
                <a:prstDash val="solid"/>
                <a:miter/>
              </a:ln>
            </p:spPr>
            <p:txBody>
              <a:bodyPr rtlCol="0" anchor="ctr"/>
              <a:lstStyle/>
              <a:p>
                <a:endParaRPr lang="en-US"/>
              </a:p>
            </p:txBody>
          </p:sp>
        </p:grpSp>
      </p:grpSp>
      <p:sp>
        <p:nvSpPr>
          <p:cNvPr id="250" name="Graphic 4">
            <a:extLst>
              <a:ext uri="{FF2B5EF4-FFF2-40B4-BE49-F238E27FC236}">
                <a16:creationId xmlns:a16="http://schemas.microsoft.com/office/drawing/2014/main" id="{73113D8E-C25E-2547-8CE6-1D9C2D00CB41}"/>
              </a:ext>
            </a:extLst>
          </p:cNvPr>
          <p:cNvSpPr>
            <a:spLocks noChangeAspect="1"/>
          </p:cNvSpPr>
          <p:nvPr/>
        </p:nvSpPr>
        <p:spPr>
          <a:xfrm rot="19505365">
            <a:off x="2735544" y="3538130"/>
            <a:ext cx="780720" cy="765105"/>
          </a:xfrm>
          <a:custGeom>
            <a:avLst/>
            <a:gdLst>
              <a:gd name="connsiteX0" fmla="*/ 462439 w 476250"/>
              <a:gd name="connsiteY0" fmla="*/ 160496 h 466725"/>
              <a:gd name="connsiteX1" fmla="*/ 469106 w 476250"/>
              <a:gd name="connsiteY1" fmla="*/ 153829 h 466725"/>
              <a:gd name="connsiteX2" fmla="*/ 469106 w 476250"/>
              <a:gd name="connsiteY2" fmla="*/ 149066 h 466725"/>
              <a:gd name="connsiteX3" fmla="*/ 462439 w 476250"/>
              <a:gd name="connsiteY3" fmla="*/ 142399 h 466725"/>
              <a:gd name="connsiteX4" fmla="*/ 415766 w 476250"/>
              <a:gd name="connsiteY4" fmla="*/ 142399 h 466725"/>
              <a:gd name="connsiteX5" fmla="*/ 415766 w 476250"/>
              <a:gd name="connsiteY5" fmla="*/ 93821 h 466725"/>
              <a:gd name="connsiteX6" fmla="*/ 391954 w 476250"/>
              <a:gd name="connsiteY6" fmla="*/ 70009 h 466725"/>
              <a:gd name="connsiteX7" fmla="*/ 333851 w 476250"/>
              <a:gd name="connsiteY7" fmla="*/ 70009 h 466725"/>
              <a:gd name="connsiteX8" fmla="*/ 333851 w 476250"/>
              <a:gd name="connsiteY8" fmla="*/ 13811 h 466725"/>
              <a:gd name="connsiteX9" fmla="*/ 327184 w 476250"/>
              <a:gd name="connsiteY9" fmla="*/ 7144 h 466725"/>
              <a:gd name="connsiteX10" fmla="*/ 322421 w 476250"/>
              <a:gd name="connsiteY10" fmla="*/ 7144 h 466725"/>
              <a:gd name="connsiteX11" fmla="*/ 315754 w 476250"/>
              <a:gd name="connsiteY11" fmla="*/ 13811 h 466725"/>
              <a:gd name="connsiteX12" fmla="*/ 315754 w 476250"/>
              <a:gd name="connsiteY12" fmla="*/ 70009 h 466725"/>
              <a:gd name="connsiteX13" fmla="*/ 290989 w 476250"/>
              <a:gd name="connsiteY13" fmla="*/ 70009 h 466725"/>
              <a:gd name="connsiteX14" fmla="*/ 290989 w 476250"/>
              <a:gd name="connsiteY14" fmla="*/ 13811 h 466725"/>
              <a:gd name="connsiteX15" fmla="*/ 283369 w 476250"/>
              <a:gd name="connsiteY15" fmla="*/ 7144 h 466725"/>
              <a:gd name="connsiteX16" fmla="*/ 278606 w 476250"/>
              <a:gd name="connsiteY16" fmla="*/ 7144 h 466725"/>
              <a:gd name="connsiteX17" fmla="*/ 271939 w 476250"/>
              <a:gd name="connsiteY17" fmla="*/ 13811 h 466725"/>
              <a:gd name="connsiteX18" fmla="*/ 271939 w 476250"/>
              <a:gd name="connsiteY18" fmla="*/ 70009 h 466725"/>
              <a:gd name="connsiteX19" fmla="*/ 247174 w 476250"/>
              <a:gd name="connsiteY19" fmla="*/ 70009 h 466725"/>
              <a:gd name="connsiteX20" fmla="*/ 247174 w 476250"/>
              <a:gd name="connsiteY20" fmla="*/ 13811 h 466725"/>
              <a:gd name="connsiteX21" fmla="*/ 240506 w 476250"/>
              <a:gd name="connsiteY21" fmla="*/ 7144 h 466725"/>
              <a:gd name="connsiteX22" fmla="*/ 235744 w 476250"/>
              <a:gd name="connsiteY22" fmla="*/ 7144 h 466725"/>
              <a:gd name="connsiteX23" fmla="*/ 229076 w 476250"/>
              <a:gd name="connsiteY23" fmla="*/ 13811 h 466725"/>
              <a:gd name="connsiteX24" fmla="*/ 229076 w 476250"/>
              <a:gd name="connsiteY24" fmla="*/ 70009 h 466725"/>
              <a:gd name="connsiteX25" fmla="*/ 204311 w 476250"/>
              <a:gd name="connsiteY25" fmla="*/ 70009 h 466725"/>
              <a:gd name="connsiteX26" fmla="*/ 204311 w 476250"/>
              <a:gd name="connsiteY26" fmla="*/ 13811 h 466725"/>
              <a:gd name="connsiteX27" fmla="*/ 197644 w 476250"/>
              <a:gd name="connsiteY27" fmla="*/ 7144 h 466725"/>
              <a:gd name="connsiteX28" fmla="*/ 192881 w 476250"/>
              <a:gd name="connsiteY28" fmla="*/ 7144 h 466725"/>
              <a:gd name="connsiteX29" fmla="*/ 186214 w 476250"/>
              <a:gd name="connsiteY29" fmla="*/ 13811 h 466725"/>
              <a:gd name="connsiteX30" fmla="*/ 186214 w 476250"/>
              <a:gd name="connsiteY30" fmla="*/ 70009 h 466725"/>
              <a:gd name="connsiteX31" fmla="*/ 161449 w 476250"/>
              <a:gd name="connsiteY31" fmla="*/ 70009 h 466725"/>
              <a:gd name="connsiteX32" fmla="*/ 161449 w 476250"/>
              <a:gd name="connsiteY32" fmla="*/ 13811 h 466725"/>
              <a:gd name="connsiteX33" fmla="*/ 154781 w 476250"/>
              <a:gd name="connsiteY33" fmla="*/ 7144 h 466725"/>
              <a:gd name="connsiteX34" fmla="*/ 150019 w 476250"/>
              <a:gd name="connsiteY34" fmla="*/ 7144 h 466725"/>
              <a:gd name="connsiteX35" fmla="*/ 143351 w 476250"/>
              <a:gd name="connsiteY35" fmla="*/ 13811 h 466725"/>
              <a:gd name="connsiteX36" fmla="*/ 143351 w 476250"/>
              <a:gd name="connsiteY36" fmla="*/ 70009 h 466725"/>
              <a:gd name="connsiteX37" fmla="*/ 88106 w 476250"/>
              <a:gd name="connsiteY37" fmla="*/ 70009 h 466725"/>
              <a:gd name="connsiteX38" fmla="*/ 64294 w 476250"/>
              <a:gd name="connsiteY38" fmla="*/ 93821 h 466725"/>
              <a:gd name="connsiteX39" fmla="*/ 64294 w 476250"/>
              <a:gd name="connsiteY39" fmla="*/ 142399 h 466725"/>
              <a:gd name="connsiteX40" fmla="*/ 13811 w 476250"/>
              <a:gd name="connsiteY40" fmla="*/ 142399 h 466725"/>
              <a:gd name="connsiteX41" fmla="*/ 7144 w 476250"/>
              <a:gd name="connsiteY41" fmla="*/ 149066 h 466725"/>
              <a:gd name="connsiteX42" fmla="*/ 7144 w 476250"/>
              <a:gd name="connsiteY42" fmla="*/ 153829 h 466725"/>
              <a:gd name="connsiteX43" fmla="*/ 13811 w 476250"/>
              <a:gd name="connsiteY43" fmla="*/ 160496 h 466725"/>
              <a:gd name="connsiteX44" fmla="*/ 64294 w 476250"/>
              <a:gd name="connsiteY44" fmla="*/ 160496 h 466725"/>
              <a:gd name="connsiteX45" fmla="*/ 64294 w 476250"/>
              <a:gd name="connsiteY45" fmla="*/ 185261 h 466725"/>
              <a:gd name="connsiteX46" fmla="*/ 13811 w 476250"/>
              <a:gd name="connsiteY46" fmla="*/ 185261 h 466725"/>
              <a:gd name="connsiteX47" fmla="*/ 7144 w 476250"/>
              <a:gd name="connsiteY47" fmla="*/ 191929 h 466725"/>
              <a:gd name="connsiteX48" fmla="*/ 7144 w 476250"/>
              <a:gd name="connsiteY48" fmla="*/ 196691 h 466725"/>
              <a:gd name="connsiteX49" fmla="*/ 13811 w 476250"/>
              <a:gd name="connsiteY49" fmla="*/ 203359 h 466725"/>
              <a:gd name="connsiteX50" fmla="*/ 64294 w 476250"/>
              <a:gd name="connsiteY50" fmla="*/ 203359 h 466725"/>
              <a:gd name="connsiteX51" fmla="*/ 64294 w 476250"/>
              <a:gd name="connsiteY51" fmla="*/ 228124 h 466725"/>
              <a:gd name="connsiteX52" fmla="*/ 13811 w 476250"/>
              <a:gd name="connsiteY52" fmla="*/ 228124 h 466725"/>
              <a:gd name="connsiteX53" fmla="*/ 7144 w 476250"/>
              <a:gd name="connsiteY53" fmla="*/ 235744 h 466725"/>
              <a:gd name="connsiteX54" fmla="*/ 7144 w 476250"/>
              <a:gd name="connsiteY54" fmla="*/ 240506 h 466725"/>
              <a:gd name="connsiteX55" fmla="*/ 13811 w 476250"/>
              <a:gd name="connsiteY55" fmla="*/ 247174 h 466725"/>
              <a:gd name="connsiteX56" fmla="*/ 64294 w 476250"/>
              <a:gd name="connsiteY56" fmla="*/ 247174 h 466725"/>
              <a:gd name="connsiteX57" fmla="*/ 64294 w 476250"/>
              <a:gd name="connsiteY57" fmla="*/ 271939 h 466725"/>
              <a:gd name="connsiteX58" fmla="*/ 13811 w 476250"/>
              <a:gd name="connsiteY58" fmla="*/ 271939 h 466725"/>
              <a:gd name="connsiteX59" fmla="*/ 7144 w 476250"/>
              <a:gd name="connsiteY59" fmla="*/ 278606 h 466725"/>
              <a:gd name="connsiteX60" fmla="*/ 7144 w 476250"/>
              <a:gd name="connsiteY60" fmla="*/ 283369 h 466725"/>
              <a:gd name="connsiteX61" fmla="*/ 13811 w 476250"/>
              <a:gd name="connsiteY61" fmla="*/ 290036 h 466725"/>
              <a:gd name="connsiteX62" fmla="*/ 64294 w 476250"/>
              <a:gd name="connsiteY62" fmla="*/ 290036 h 466725"/>
              <a:gd name="connsiteX63" fmla="*/ 64294 w 476250"/>
              <a:gd name="connsiteY63" fmla="*/ 314801 h 466725"/>
              <a:gd name="connsiteX64" fmla="*/ 13811 w 476250"/>
              <a:gd name="connsiteY64" fmla="*/ 314801 h 466725"/>
              <a:gd name="connsiteX65" fmla="*/ 7144 w 476250"/>
              <a:gd name="connsiteY65" fmla="*/ 321469 h 466725"/>
              <a:gd name="connsiteX66" fmla="*/ 7144 w 476250"/>
              <a:gd name="connsiteY66" fmla="*/ 326231 h 466725"/>
              <a:gd name="connsiteX67" fmla="*/ 13811 w 476250"/>
              <a:gd name="connsiteY67" fmla="*/ 332899 h 466725"/>
              <a:gd name="connsiteX68" fmla="*/ 64294 w 476250"/>
              <a:gd name="connsiteY68" fmla="*/ 332899 h 466725"/>
              <a:gd name="connsiteX69" fmla="*/ 64294 w 476250"/>
              <a:gd name="connsiteY69" fmla="*/ 380524 h 466725"/>
              <a:gd name="connsiteX70" fmla="*/ 88106 w 476250"/>
              <a:gd name="connsiteY70" fmla="*/ 404336 h 466725"/>
              <a:gd name="connsiteX71" fmla="*/ 142399 w 476250"/>
              <a:gd name="connsiteY71" fmla="*/ 404336 h 466725"/>
              <a:gd name="connsiteX72" fmla="*/ 142399 w 476250"/>
              <a:gd name="connsiteY72" fmla="*/ 461486 h 466725"/>
              <a:gd name="connsiteX73" fmla="*/ 149066 w 476250"/>
              <a:gd name="connsiteY73" fmla="*/ 468154 h 466725"/>
              <a:gd name="connsiteX74" fmla="*/ 153829 w 476250"/>
              <a:gd name="connsiteY74" fmla="*/ 468154 h 466725"/>
              <a:gd name="connsiteX75" fmla="*/ 160496 w 476250"/>
              <a:gd name="connsiteY75" fmla="*/ 461486 h 466725"/>
              <a:gd name="connsiteX76" fmla="*/ 160496 w 476250"/>
              <a:gd name="connsiteY76" fmla="*/ 404336 h 466725"/>
              <a:gd name="connsiteX77" fmla="*/ 185261 w 476250"/>
              <a:gd name="connsiteY77" fmla="*/ 404336 h 466725"/>
              <a:gd name="connsiteX78" fmla="*/ 185261 w 476250"/>
              <a:gd name="connsiteY78" fmla="*/ 461486 h 466725"/>
              <a:gd name="connsiteX79" fmla="*/ 191929 w 476250"/>
              <a:gd name="connsiteY79" fmla="*/ 468154 h 466725"/>
              <a:gd name="connsiteX80" fmla="*/ 196691 w 476250"/>
              <a:gd name="connsiteY80" fmla="*/ 468154 h 466725"/>
              <a:gd name="connsiteX81" fmla="*/ 203359 w 476250"/>
              <a:gd name="connsiteY81" fmla="*/ 461486 h 466725"/>
              <a:gd name="connsiteX82" fmla="*/ 203359 w 476250"/>
              <a:gd name="connsiteY82" fmla="*/ 404336 h 466725"/>
              <a:gd name="connsiteX83" fmla="*/ 228124 w 476250"/>
              <a:gd name="connsiteY83" fmla="*/ 404336 h 466725"/>
              <a:gd name="connsiteX84" fmla="*/ 228124 w 476250"/>
              <a:gd name="connsiteY84" fmla="*/ 461486 h 466725"/>
              <a:gd name="connsiteX85" fmla="*/ 234791 w 476250"/>
              <a:gd name="connsiteY85" fmla="*/ 468154 h 466725"/>
              <a:gd name="connsiteX86" fmla="*/ 239554 w 476250"/>
              <a:gd name="connsiteY86" fmla="*/ 468154 h 466725"/>
              <a:gd name="connsiteX87" fmla="*/ 246221 w 476250"/>
              <a:gd name="connsiteY87" fmla="*/ 461486 h 466725"/>
              <a:gd name="connsiteX88" fmla="*/ 246221 w 476250"/>
              <a:gd name="connsiteY88" fmla="*/ 404336 h 466725"/>
              <a:gd name="connsiteX89" fmla="*/ 270986 w 476250"/>
              <a:gd name="connsiteY89" fmla="*/ 404336 h 466725"/>
              <a:gd name="connsiteX90" fmla="*/ 270986 w 476250"/>
              <a:gd name="connsiteY90" fmla="*/ 461486 h 466725"/>
              <a:gd name="connsiteX91" fmla="*/ 277654 w 476250"/>
              <a:gd name="connsiteY91" fmla="*/ 468154 h 466725"/>
              <a:gd name="connsiteX92" fmla="*/ 283369 w 476250"/>
              <a:gd name="connsiteY92" fmla="*/ 468154 h 466725"/>
              <a:gd name="connsiteX93" fmla="*/ 290036 w 476250"/>
              <a:gd name="connsiteY93" fmla="*/ 461486 h 466725"/>
              <a:gd name="connsiteX94" fmla="*/ 290036 w 476250"/>
              <a:gd name="connsiteY94" fmla="*/ 404336 h 466725"/>
              <a:gd name="connsiteX95" fmla="*/ 314801 w 476250"/>
              <a:gd name="connsiteY95" fmla="*/ 404336 h 466725"/>
              <a:gd name="connsiteX96" fmla="*/ 314801 w 476250"/>
              <a:gd name="connsiteY96" fmla="*/ 461486 h 466725"/>
              <a:gd name="connsiteX97" fmla="*/ 321469 w 476250"/>
              <a:gd name="connsiteY97" fmla="*/ 468154 h 466725"/>
              <a:gd name="connsiteX98" fmla="*/ 326231 w 476250"/>
              <a:gd name="connsiteY98" fmla="*/ 468154 h 466725"/>
              <a:gd name="connsiteX99" fmla="*/ 332899 w 476250"/>
              <a:gd name="connsiteY99" fmla="*/ 461486 h 466725"/>
              <a:gd name="connsiteX100" fmla="*/ 332899 w 476250"/>
              <a:gd name="connsiteY100" fmla="*/ 404336 h 466725"/>
              <a:gd name="connsiteX101" fmla="*/ 391001 w 476250"/>
              <a:gd name="connsiteY101" fmla="*/ 404336 h 466725"/>
              <a:gd name="connsiteX102" fmla="*/ 414814 w 476250"/>
              <a:gd name="connsiteY102" fmla="*/ 380524 h 466725"/>
              <a:gd name="connsiteX103" fmla="*/ 414814 w 476250"/>
              <a:gd name="connsiteY103" fmla="*/ 332899 h 466725"/>
              <a:gd name="connsiteX104" fmla="*/ 461486 w 476250"/>
              <a:gd name="connsiteY104" fmla="*/ 332899 h 466725"/>
              <a:gd name="connsiteX105" fmla="*/ 468154 w 476250"/>
              <a:gd name="connsiteY105" fmla="*/ 326231 h 466725"/>
              <a:gd name="connsiteX106" fmla="*/ 468154 w 476250"/>
              <a:gd name="connsiteY106" fmla="*/ 321469 h 466725"/>
              <a:gd name="connsiteX107" fmla="*/ 461486 w 476250"/>
              <a:gd name="connsiteY107" fmla="*/ 314801 h 466725"/>
              <a:gd name="connsiteX108" fmla="*/ 414814 w 476250"/>
              <a:gd name="connsiteY108" fmla="*/ 314801 h 466725"/>
              <a:gd name="connsiteX109" fmla="*/ 414814 w 476250"/>
              <a:gd name="connsiteY109" fmla="*/ 290036 h 466725"/>
              <a:gd name="connsiteX110" fmla="*/ 461486 w 476250"/>
              <a:gd name="connsiteY110" fmla="*/ 290036 h 466725"/>
              <a:gd name="connsiteX111" fmla="*/ 468154 w 476250"/>
              <a:gd name="connsiteY111" fmla="*/ 283369 h 466725"/>
              <a:gd name="connsiteX112" fmla="*/ 468154 w 476250"/>
              <a:gd name="connsiteY112" fmla="*/ 278606 h 466725"/>
              <a:gd name="connsiteX113" fmla="*/ 461486 w 476250"/>
              <a:gd name="connsiteY113" fmla="*/ 271939 h 466725"/>
              <a:gd name="connsiteX114" fmla="*/ 414814 w 476250"/>
              <a:gd name="connsiteY114" fmla="*/ 271939 h 466725"/>
              <a:gd name="connsiteX115" fmla="*/ 414814 w 476250"/>
              <a:gd name="connsiteY115" fmla="*/ 247174 h 466725"/>
              <a:gd name="connsiteX116" fmla="*/ 461486 w 476250"/>
              <a:gd name="connsiteY116" fmla="*/ 247174 h 466725"/>
              <a:gd name="connsiteX117" fmla="*/ 468154 w 476250"/>
              <a:gd name="connsiteY117" fmla="*/ 240506 h 466725"/>
              <a:gd name="connsiteX118" fmla="*/ 468154 w 476250"/>
              <a:gd name="connsiteY118" fmla="*/ 235744 h 466725"/>
              <a:gd name="connsiteX119" fmla="*/ 461486 w 476250"/>
              <a:gd name="connsiteY119" fmla="*/ 229076 h 466725"/>
              <a:gd name="connsiteX120" fmla="*/ 414814 w 476250"/>
              <a:gd name="connsiteY120" fmla="*/ 229076 h 466725"/>
              <a:gd name="connsiteX121" fmla="*/ 414814 w 476250"/>
              <a:gd name="connsiteY121" fmla="*/ 204311 h 466725"/>
              <a:gd name="connsiteX122" fmla="*/ 461486 w 476250"/>
              <a:gd name="connsiteY122" fmla="*/ 204311 h 466725"/>
              <a:gd name="connsiteX123" fmla="*/ 468154 w 476250"/>
              <a:gd name="connsiteY123" fmla="*/ 197644 h 466725"/>
              <a:gd name="connsiteX124" fmla="*/ 468154 w 476250"/>
              <a:gd name="connsiteY124" fmla="*/ 192881 h 466725"/>
              <a:gd name="connsiteX125" fmla="*/ 461486 w 476250"/>
              <a:gd name="connsiteY125" fmla="*/ 186214 h 466725"/>
              <a:gd name="connsiteX126" fmla="*/ 414814 w 476250"/>
              <a:gd name="connsiteY126" fmla="*/ 186214 h 466725"/>
              <a:gd name="connsiteX127" fmla="*/ 414814 w 476250"/>
              <a:gd name="connsiteY127" fmla="*/ 161449 h 466725"/>
              <a:gd name="connsiteX128" fmla="*/ 462439 w 476250"/>
              <a:gd name="connsiteY128" fmla="*/ 16144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76250" h="466725">
                <a:moveTo>
                  <a:pt x="462439" y="160496"/>
                </a:moveTo>
                <a:cubicBezTo>
                  <a:pt x="466249" y="160496"/>
                  <a:pt x="469106" y="157639"/>
                  <a:pt x="469106" y="153829"/>
                </a:cubicBezTo>
                <a:lnTo>
                  <a:pt x="469106" y="149066"/>
                </a:lnTo>
                <a:cubicBezTo>
                  <a:pt x="469106" y="145256"/>
                  <a:pt x="466249" y="142399"/>
                  <a:pt x="462439" y="142399"/>
                </a:cubicBezTo>
                <a:lnTo>
                  <a:pt x="415766" y="142399"/>
                </a:lnTo>
                <a:lnTo>
                  <a:pt x="415766" y="93821"/>
                </a:lnTo>
                <a:cubicBezTo>
                  <a:pt x="415766" y="80486"/>
                  <a:pt x="405289" y="70009"/>
                  <a:pt x="391954" y="70009"/>
                </a:cubicBezTo>
                <a:lnTo>
                  <a:pt x="333851" y="70009"/>
                </a:lnTo>
                <a:lnTo>
                  <a:pt x="333851" y="13811"/>
                </a:lnTo>
                <a:cubicBezTo>
                  <a:pt x="333851" y="10001"/>
                  <a:pt x="330994" y="7144"/>
                  <a:pt x="327184" y="7144"/>
                </a:cubicBezTo>
                <a:lnTo>
                  <a:pt x="322421" y="7144"/>
                </a:lnTo>
                <a:cubicBezTo>
                  <a:pt x="318611" y="7144"/>
                  <a:pt x="315754" y="10001"/>
                  <a:pt x="315754" y="13811"/>
                </a:cubicBezTo>
                <a:lnTo>
                  <a:pt x="315754" y="70009"/>
                </a:lnTo>
                <a:lnTo>
                  <a:pt x="290989" y="70009"/>
                </a:lnTo>
                <a:lnTo>
                  <a:pt x="290989" y="13811"/>
                </a:lnTo>
                <a:cubicBezTo>
                  <a:pt x="290989" y="10001"/>
                  <a:pt x="287179" y="7144"/>
                  <a:pt x="283369" y="7144"/>
                </a:cubicBezTo>
                <a:lnTo>
                  <a:pt x="278606" y="7144"/>
                </a:lnTo>
                <a:cubicBezTo>
                  <a:pt x="274796" y="7144"/>
                  <a:pt x="271939" y="10001"/>
                  <a:pt x="271939" y="13811"/>
                </a:cubicBezTo>
                <a:lnTo>
                  <a:pt x="271939" y="70009"/>
                </a:lnTo>
                <a:lnTo>
                  <a:pt x="247174" y="70009"/>
                </a:lnTo>
                <a:lnTo>
                  <a:pt x="247174" y="13811"/>
                </a:lnTo>
                <a:cubicBezTo>
                  <a:pt x="247174" y="10001"/>
                  <a:pt x="244316" y="7144"/>
                  <a:pt x="240506" y="7144"/>
                </a:cubicBezTo>
                <a:lnTo>
                  <a:pt x="235744" y="7144"/>
                </a:lnTo>
                <a:cubicBezTo>
                  <a:pt x="231934" y="7144"/>
                  <a:pt x="229076" y="10001"/>
                  <a:pt x="229076" y="13811"/>
                </a:cubicBezTo>
                <a:lnTo>
                  <a:pt x="229076" y="70009"/>
                </a:lnTo>
                <a:lnTo>
                  <a:pt x="204311" y="70009"/>
                </a:lnTo>
                <a:lnTo>
                  <a:pt x="204311" y="13811"/>
                </a:lnTo>
                <a:cubicBezTo>
                  <a:pt x="204311" y="10001"/>
                  <a:pt x="201454" y="7144"/>
                  <a:pt x="197644" y="7144"/>
                </a:cubicBezTo>
                <a:lnTo>
                  <a:pt x="192881" y="7144"/>
                </a:lnTo>
                <a:cubicBezTo>
                  <a:pt x="189071" y="7144"/>
                  <a:pt x="186214" y="10001"/>
                  <a:pt x="186214" y="13811"/>
                </a:cubicBezTo>
                <a:lnTo>
                  <a:pt x="186214" y="70009"/>
                </a:lnTo>
                <a:lnTo>
                  <a:pt x="161449" y="70009"/>
                </a:lnTo>
                <a:lnTo>
                  <a:pt x="161449" y="13811"/>
                </a:lnTo>
                <a:cubicBezTo>
                  <a:pt x="161449" y="10001"/>
                  <a:pt x="158591" y="7144"/>
                  <a:pt x="154781" y="7144"/>
                </a:cubicBezTo>
                <a:lnTo>
                  <a:pt x="150019" y="7144"/>
                </a:lnTo>
                <a:cubicBezTo>
                  <a:pt x="146209" y="7144"/>
                  <a:pt x="143351" y="10001"/>
                  <a:pt x="143351" y="13811"/>
                </a:cubicBezTo>
                <a:lnTo>
                  <a:pt x="143351" y="70009"/>
                </a:lnTo>
                <a:lnTo>
                  <a:pt x="88106" y="70009"/>
                </a:lnTo>
                <a:cubicBezTo>
                  <a:pt x="74771" y="70009"/>
                  <a:pt x="64294" y="81439"/>
                  <a:pt x="64294" y="93821"/>
                </a:cubicBezTo>
                <a:lnTo>
                  <a:pt x="64294" y="142399"/>
                </a:lnTo>
                <a:lnTo>
                  <a:pt x="13811" y="142399"/>
                </a:lnTo>
                <a:cubicBezTo>
                  <a:pt x="10001" y="142399"/>
                  <a:pt x="7144" y="145256"/>
                  <a:pt x="7144" y="149066"/>
                </a:cubicBezTo>
                <a:lnTo>
                  <a:pt x="7144" y="153829"/>
                </a:lnTo>
                <a:cubicBezTo>
                  <a:pt x="7144" y="157639"/>
                  <a:pt x="10001" y="160496"/>
                  <a:pt x="13811" y="160496"/>
                </a:cubicBezTo>
                <a:lnTo>
                  <a:pt x="64294" y="160496"/>
                </a:lnTo>
                <a:lnTo>
                  <a:pt x="64294" y="185261"/>
                </a:lnTo>
                <a:lnTo>
                  <a:pt x="13811" y="185261"/>
                </a:lnTo>
                <a:cubicBezTo>
                  <a:pt x="10001" y="185261"/>
                  <a:pt x="7144" y="188119"/>
                  <a:pt x="7144" y="191929"/>
                </a:cubicBezTo>
                <a:lnTo>
                  <a:pt x="7144" y="196691"/>
                </a:lnTo>
                <a:cubicBezTo>
                  <a:pt x="7144" y="200501"/>
                  <a:pt x="10001" y="203359"/>
                  <a:pt x="13811" y="203359"/>
                </a:cubicBezTo>
                <a:lnTo>
                  <a:pt x="64294" y="203359"/>
                </a:lnTo>
                <a:lnTo>
                  <a:pt x="64294" y="228124"/>
                </a:lnTo>
                <a:lnTo>
                  <a:pt x="13811" y="228124"/>
                </a:lnTo>
                <a:cubicBezTo>
                  <a:pt x="10001" y="229076"/>
                  <a:pt x="7144" y="231934"/>
                  <a:pt x="7144" y="235744"/>
                </a:cubicBezTo>
                <a:lnTo>
                  <a:pt x="7144" y="240506"/>
                </a:lnTo>
                <a:cubicBezTo>
                  <a:pt x="7144" y="244316"/>
                  <a:pt x="10001" y="247174"/>
                  <a:pt x="13811" y="247174"/>
                </a:cubicBezTo>
                <a:lnTo>
                  <a:pt x="64294" y="247174"/>
                </a:lnTo>
                <a:lnTo>
                  <a:pt x="64294" y="271939"/>
                </a:lnTo>
                <a:lnTo>
                  <a:pt x="13811" y="271939"/>
                </a:lnTo>
                <a:cubicBezTo>
                  <a:pt x="10001" y="271939"/>
                  <a:pt x="7144" y="274796"/>
                  <a:pt x="7144" y="278606"/>
                </a:cubicBezTo>
                <a:lnTo>
                  <a:pt x="7144" y="283369"/>
                </a:lnTo>
                <a:cubicBezTo>
                  <a:pt x="7144" y="287179"/>
                  <a:pt x="10001" y="290036"/>
                  <a:pt x="13811" y="290036"/>
                </a:cubicBezTo>
                <a:lnTo>
                  <a:pt x="64294" y="290036"/>
                </a:lnTo>
                <a:lnTo>
                  <a:pt x="64294" y="314801"/>
                </a:lnTo>
                <a:lnTo>
                  <a:pt x="13811" y="314801"/>
                </a:lnTo>
                <a:cubicBezTo>
                  <a:pt x="10001" y="314801"/>
                  <a:pt x="7144" y="317659"/>
                  <a:pt x="7144" y="321469"/>
                </a:cubicBezTo>
                <a:lnTo>
                  <a:pt x="7144" y="326231"/>
                </a:lnTo>
                <a:cubicBezTo>
                  <a:pt x="7144" y="330041"/>
                  <a:pt x="10001" y="332899"/>
                  <a:pt x="13811" y="332899"/>
                </a:cubicBezTo>
                <a:lnTo>
                  <a:pt x="64294" y="332899"/>
                </a:lnTo>
                <a:lnTo>
                  <a:pt x="64294" y="380524"/>
                </a:lnTo>
                <a:cubicBezTo>
                  <a:pt x="64294" y="393859"/>
                  <a:pt x="74771" y="404336"/>
                  <a:pt x="88106" y="404336"/>
                </a:cubicBezTo>
                <a:lnTo>
                  <a:pt x="142399" y="404336"/>
                </a:lnTo>
                <a:lnTo>
                  <a:pt x="142399" y="461486"/>
                </a:lnTo>
                <a:cubicBezTo>
                  <a:pt x="142399" y="465296"/>
                  <a:pt x="145256" y="468154"/>
                  <a:pt x="149066" y="468154"/>
                </a:cubicBezTo>
                <a:lnTo>
                  <a:pt x="153829" y="468154"/>
                </a:lnTo>
                <a:cubicBezTo>
                  <a:pt x="157639" y="468154"/>
                  <a:pt x="160496" y="465296"/>
                  <a:pt x="160496" y="461486"/>
                </a:cubicBezTo>
                <a:lnTo>
                  <a:pt x="160496" y="404336"/>
                </a:lnTo>
                <a:lnTo>
                  <a:pt x="185261" y="404336"/>
                </a:lnTo>
                <a:lnTo>
                  <a:pt x="185261" y="461486"/>
                </a:lnTo>
                <a:cubicBezTo>
                  <a:pt x="185261" y="465296"/>
                  <a:pt x="188119" y="468154"/>
                  <a:pt x="191929" y="468154"/>
                </a:cubicBezTo>
                <a:lnTo>
                  <a:pt x="196691" y="468154"/>
                </a:lnTo>
                <a:cubicBezTo>
                  <a:pt x="200501" y="468154"/>
                  <a:pt x="203359" y="465296"/>
                  <a:pt x="203359" y="461486"/>
                </a:cubicBezTo>
                <a:lnTo>
                  <a:pt x="203359" y="404336"/>
                </a:lnTo>
                <a:lnTo>
                  <a:pt x="228124" y="404336"/>
                </a:lnTo>
                <a:lnTo>
                  <a:pt x="228124" y="461486"/>
                </a:lnTo>
                <a:cubicBezTo>
                  <a:pt x="228124" y="465296"/>
                  <a:pt x="230981" y="468154"/>
                  <a:pt x="234791" y="468154"/>
                </a:cubicBezTo>
                <a:lnTo>
                  <a:pt x="239554" y="468154"/>
                </a:lnTo>
                <a:cubicBezTo>
                  <a:pt x="243364" y="468154"/>
                  <a:pt x="246221" y="465296"/>
                  <a:pt x="246221" y="461486"/>
                </a:cubicBezTo>
                <a:lnTo>
                  <a:pt x="246221" y="404336"/>
                </a:lnTo>
                <a:lnTo>
                  <a:pt x="270986" y="404336"/>
                </a:lnTo>
                <a:lnTo>
                  <a:pt x="270986" y="461486"/>
                </a:lnTo>
                <a:cubicBezTo>
                  <a:pt x="270986" y="465296"/>
                  <a:pt x="273844" y="468154"/>
                  <a:pt x="277654" y="468154"/>
                </a:cubicBezTo>
                <a:lnTo>
                  <a:pt x="283369" y="468154"/>
                </a:lnTo>
                <a:cubicBezTo>
                  <a:pt x="287179" y="468154"/>
                  <a:pt x="290036" y="465296"/>
                  <a:pt x="290036" y="461486"/>
                </a:cubicBezTo>
                <a:lnTo>
                  <a:pt x="290036" y="404336"/>
                </a:lnTo>
                <a:lnTo>
                  <a:pt x="314801" y="404336"/>
                </a:lnTo>
                <a:lnTo>
                  <a:pt x="314801" y="461486"/>
                </a:lnTo>
                <a:cubicBezTo>
                  <a:pt x="314801" y="465296"/>
                  <a:pt x="317659" y="468154"/>
                  <a:pt x="321469" y="468154"/>
                </a:cubicBezTo>
                <a:lnTo>
                  <a:pt x="326231" y="468154"/>
                </a:lnTo>
                <a:cubicBezTo>
                  <a:pt x="330041" y="468154"/>
                  <a:pt x="332899" y="465296"/>
                  <a:pt x="332899" y="461486"/>
                </a:cubicBezTo>
                <a:lnTo>
                  <a:pt x="332899" y="404336"/>
                </a:lnTo>
                <a:lnTo>
                  <a:pt x="391001" y="404336"/>
                </a:lnTo>
                <a:cubicBezTo>
                  <a:pt x="404336" y="404336"/>
                  <a:pt x="414814" y="393859"/>
                  <a:pt x="414814" y="380524"/>
                </a:cubicBezTo>
                <a:lnTo>
                  <a:pt x="414814" y="332899"/>
                </a:lnTo>
                <a:lnTo>
                  <a:pt x="461486" y="332899"/>
                </a:lnTo>
                <a:cubicBezTo>
                  <a:pt x="465296" y="332899"/>
                  <a:pt x="468154" y="330041"/>
                  <a:pt x="468154" y="326231"/>
                </a:cubicBezTo>
                <a:lnTo>
                  <a:pt x="468154" y="321469"/>
                </a:lnTo>
                <a:cubicBezTo>
                  <a:pt x="468154" y="317659"/>
                  <a:pt x="465296" y="314801"/>
                  <a:pt x="461486" y="314801"/>
                </a:cubicBezTo>
                <a:lnTo>
                  <a:pt x="414814" y="314801"/>
                </a:lnTo>
                <a:lnTo>
                  <a:pt x="414814" y="290036"/>
                </a:lnTo>
                <a:lnTo>
                  <a:pt x="461486" y="290036"/>
                </a:lnTo>
                <a:cubicBezTo>
                  <a:pt x="465296" y="290036"/>
                  <a:pt x="468154" y="287179"/>
                  <a:pt x="468154" y="283369"/>
                </a:cubicBezTo>
                <a:lnTo>
                  <a:pt x="468154" y="278606"/>
                </a:lnTo>
                <a:cubicBezTo>
                  <a:pt x="468154" y="274796"/>
                  <a:pt x="465296" y="271939"/>
                  <a:pt x="461486" y="271939"/>
                </a:cubicBezTo>
                <a:lnTo>
                  <a:pt x="414814" y="271939"/>
                </a:lnTo>
                <a:lnTo>
                  <a:pt x="414814" y="247174"/>
                </a:lnTo>
                <a:lnTo>
                  <a:pt x="461486" y="247174"/>
                </a:lnTo>
                <a:cubicBezTo>
                  <a:pt x="465296" y="247174"/>
                  <a:pt x="468154" y="244316"/>
                  <a:pt x="468154" y="240506"/>
                </a:cubicBezTo>
                <a:lnTo>
                  <a:pt x="468154" y="235744"/>
                </a:lnTo>
                <a:cubicBezTo>
                  <a:pt x="468154" y="231934"/>
                  <a:pt x="465296" y="229076"/>
                  <a:pt x="461486" y="229076"/>
                </a:cubicBezTo>
                <a:lnTo>
                  <a:pt x="414814" y="229076"/>
                </a:lnTo>
                <a:lnTo>
                  <a:pt x="414814" y="204311"/>
                </a:lnTo>
                <a:lnTo>
                  <a:pt x="461486" y="204311"/>
                </a:lnTo>
                <a:cubicBezTo>
                  <a:pt x="465296" y="204311"/>
                  <a:pt x="468154" y="201454"/>
                  <a:pt x="468154" y="197644"/>
                </a:cubicBezTo>
                <a:lnTo>
                  <a:pt x="468154" y="192881"/>
                </a:lnTo>
                <a:cubicBezTo>
                  <a:pt x="468154" y="189071"/>
                  <a:pt x="465296" y="186214"/>
                  <a:pt x="461486" y="186214"/>
                </a:cubicBezTo>
                <a:lnTo>
                  <a:pt x="414814" y="186214"/>
                </a:lnTo>
                <a:lnTo>
                  <a:pt x="414814" y="161449"/>
                </a:lnTo>
                <a:lnTo>
                  <a:pt x="462439" y="161449"/>
                </a:lnTo>
                <a:close/>
              </a:path>
            </a:pathLst>
          </a:custGeom>
          <a:solidFill>
            <a:srgbClr val="004149">
              <a:alpha val="18000"/>
            </a:srgbClr>
          </a:solidFill>
          <a:ln w="9525" cap="flat">
            <a:noFill/>
            <a:prstDash val="solid"/>
            <a:miter/>
          </a:ln>
        </p:spPr>
        <p:txBody>
          <a:bodyPr rtlCol="0" anchor="ctr"/>
          <a:lstStyle/>
          <a:p>
            <a:endParaRPr lang="en-US"/>
          </a:p>
        </p:txBody>
      </p:sp>
      <p:grpSp>
        <p:nvGrpSpPr>
          <p:cNvPr id="251" name="Graphic 421">
            <a:extLst>
              <a:ext uri="{FF2B5EF4-FFF2-40B4-BE49-F238E27FC236}">
                <a16:creationId xmlns:a16="http://schemas.microsoft.com/office/drawing/2014/main" id="{2E3C1388-82F4-B849-9041-7F4684A43365}"/>
              </a:ext>
            </a:extLst>
          </p:cNvPr>
          <p:cNvGrpSpPr>
            <a:grpSpLocks noChangeAspect="1"/>
          </p:cNvGrpSpPr>
          <p:nvPr/>
        </p:nvGrpSpPr>
        <p:grpSpPr>
          <a:xfrm flipH="1">
            <a:off x="10096500" y="1848853"/>
            <a:ext cx="1498459" cy="2945373"/>
            <a:chOff x="4351496" y="0"/>
            <a:chExt cx="3489008" cy="6858000"/>
          </a:xfrm>
          <a:solidFill>
            <a:srgbClr val="004149"/>
          </a:solidFill>
        </p:grpSpPr>
        <p:sp>
          <p:nvSpPr>
            <p:cNvPr id="252" name="Freeform: Shape 29">
              <a:extLst>
                <a:ext uri="{FF2B5EF4-FFF2-40B4-BE49-F238E27FC236}">
                  <a16:creationId xmlns:a16="http://schemas.microsoft.com/office/drawing/2014/main" id="{4477A1BE-8D25-4349-84A6-8318C5A6F1D4}"/>
                </a:ext>
              </a:extLst>
            </p:cNvPr>
            <p:cNvSpPr/>
            <p:nvPr/>
          </p:nvSpPr>
          <p:spPr>
            <a:xfrm>
              <a:off x="7175064" y="2830854"/>
              <a:ext cx="227171" cy="124301"/>
            </a:xfrm>
            <a:custGeom>
              <a:avLst/>
              <a:gdLst>
                <a:gd name="connsiteX0" fmla="*/ 127516 w 227171"/>
                <a:gd name="connsiteY0" fmla="*/ 32790 h 124301"/>
                <a:gd name="connsiteX1" fmla="*/ 124087 w 227171"/>
                <a:gd name="connsiteY1" fmla="*/ 37505 h 124301"/>
                <a:gd name="connsiteX2" fmla="*/ 118515 w 227171"/>
                <a:gd name="connsiteY2" fmla="*/ 36647 h 124301"/>
                <a:gd name="connsiteX3" fmla="*/ 79081 w 227171"/>
                <a:gd name="connsiteY3" fmla="*/ 32361 h 124301"/>
                <a:gd name="connsiteX4" fmla="*/ 3215 w 227171"/>
                <a:gd name="connsiteY4" fmla="*/ 93226 h 124301"/>
                <a:gd name="connsiteX5" fmla="*/ 27218 w 227171"/>
                <a:gd name="connsiteY5" fmla="*/ 121944 h 124301"/>
                <a:gd name="connsiteX6" fmla="*/ 114657 w 227171"/>
                <a:gd name="connsiteY6" fmla="*/ 51221 h 124301"/>
                <a:gd name="connsiteX7" fmla="*/ 120229 w 227171"/>
                <a:gd name="connsiteY7" fmla="*/ 52935 h 124301"/>
                <a:gd name="connsiteX8" fmla="*/ 120229 w 227171"/>
                <a:gd name="connsiteY8" fmla="*/ 52935 h 124301"/>
                <a:gd name="connsiteX9" fmla="*/ 179379 w 227171"/>
                <a:gd name="connsiteY9" fmla="*/ 76081 h 124301"/>
                <a:gd name="connsiteX10" fmla="*/ 223957 w 227171"/>
                <a:gd name="connsiteY10" fmla="*/ 40934 h 124301"/>
                <a:gd name="connsiteX11" fmla="*/ 207240 w 227171"/>
                <a:gd name="connsiteY11" fmla="*/ 5358 h 124301"/>
                <a:gd name="connsiteX12" fmla="*/ 206383 w 227171"/>
                <a:gd name="connsiteY12" fmla="*/ 6215 h 124301"/>
                <a:gd name="connsiteX13" fmla="*/ 149376 w 227171"/>
                <a:gd name="connsiteY13" fmla="*/ 3215 h 124301"/>
                <a:gd name="connsiteX14" fmla="*/ 127516 w 227171"/>
                <a:gd name="connsiteY14" fmla="*/ 32790 h 12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171" h="124301">
                  <a:moveTo>
                    <a:pt x="127516" y="32790"/>
                  </a:moveTo>
                  <a:lnTo>
                    <a:pt x="124087" y="37505"/>
                  </a:lnTo>
                  <a:lnTo>
                    <a:pt x="118515" y="36647"/>
                  </a:lnTo>
                  <a:lnTo>
                    <a:pt x="79081" y="32361"/>
                  </a:lnTo>
                  <a:lnTo>
                    <a:pt x="3215" y="93226"/>
                  </a:lnTo>
                  <a:cubicBezTo>
                    <a:pt x="11359" y="102656"/>
                    <a:pt x="19502" y="112514"/>
                    <a:pt x="27218" y="121944"/>
                  </a:cubicBezTo>
                  <a:lnTo>
                    <a:pt x="114657" y="51221"/>
                  </a:lnTo>
                  <a:lnTo>
                    <a:pt x="120229" y="52935"/>
                  </a:lnTo>
                  <a:lnTo>
                    <a:pt x="120229" y="52935"/>
                  </a:lnTo>
                  <a:lnTo>
                    <a:pt x="179379" y="76081"/>
                  </a:lnTo>
                  <a:lnTo>
                    <a:pt x="223957" y="40934"/>
                  </a:lnTo>
                  <a:cubicBezTo>
                    <a:pt x="218385" y="28932"/>
                    <a:pt x="212812" y="17359"/>
                    <a:pt x="207240" y="5358"/>
                  </a:cubicBezTo>
                  <a:cubicBezTo>
                    <a:pt x="206812" y="5786"/>
                    <a:pt x="206812" y="5786"/>
                    <a:pt x="206383" y="6215"/>
                  </a:cubicBezTo>
                  <a:cubicBezTo>
                    <a:pt x="189238" y="19931"/>
                    <a:pt x="164806" y="18645"/>
                    <a:pt x="149376" y="3215"/>
                  </a:cubicBezTo>
                  <a:lnTo>
                    <a:pt x="127516" y="32790"/>
                  </a:lnTo>
                  <a:close/>
                </a:path>
              </a:pathLst>
            </a:custGeom>
            <a:grpFill/>
            <a:ln w="9525" cap="flat">
              <a:noFill/>
              <a:prstDash val="solid"/>
              <a:miter/>
            </a:ln>
          </p:spPr>
          <p:txBody>
            <a:bodyPr rtlCol="0" anchor="ctr"/>
            <a:lstStyle/>
            <a:p>
              <a:endParaRPr lang="en-US"/>
            </a:p>
          </p:txBody>
        </p:sp>
        <p:sp>
          <p:nvSpPr>
            <p:cNvPr id="253" name="Freeform: Shape 30">
              <a:extLst>
                <a:ext uri="{FF2B5EF4-FFF2-40B4-BE49-F238E27FC236}">
                  <a16:creationId xmlns:a16="http://schemas.microsoft.com/office/drawing/2014/main" id="{010831E5-419E-1948-B9D7-09D0F631C73D}"/>
                </a:ext>
              </a:extLst>
            </p:cNvPr>
            <p:cNvSpPr/>
            <p:nvPr/>
          </p:nvSpPr>
          <p:spPr>
            <a:xfrm>
              <a:off x="7212354" y="2887004"/>
              <a:ext cx="210026" cy="128588"/>
            </a:xfrm>
            <a:custGeom>
              <a:avLst/>
              <a:gdLst>
                <a:gd name="connsiteX0" fmla="*/ 140803 w 210026"/>
                <a:gd name="connsiteY0" fmla="*/ 40934 h 128587"/>
                <a:gd name="connsiteX1" fmla="*/ 81653 w 210026"/>
                <a:gd name="connsiteY1" fmla="*/ 17788 h 128587"/>
                <a:gd name="connsiteX2" fmla="*/ 3215 w 210026"/>
                <a:gd name="connsiteY2" fmla="*/ 81224 h 128587"/>
                <a:gd name="connsiteX3" fmla="*/ 39219 w 210026"/>
                <a:gd name="connsiteY3" fmla="*/ 126230 h 128587"/>
                <a:gd name="connsiteX4" fmla="*/ 88940 w 210026"/>
                <a:gd name="connsiteY4" fmla="*/ 86368 h 128587"/>
                <a:gd name="connsiteX5" fmla="*/ 93226 w 210026"/>
                <a:gd name="connsiteY5" fmla="*/ 86368 h 128587"/>
                <a:gd name="connsiteX6" fmla="*/ 141661 w 210026"/>
                <a:gd name="connsiteY6" fmla="*/ 91940 h 128587"/>
                <a:gd name="connsiteX7" fmla="*/ 210669 w 210026"/>
                <a:gd name="connsiteY7" fmla="*/ 36219 h 128587"/>
                <a:gd name="connsiteX8" fmla="*/ 195667 w 210026"/>
                <a:gd name="connsiteY8" fmla="*/ 3215 h 128587"/>
                <a:gd name="connsiteX9" fmla="*/ 146804 w 210026"/>
                <a:gd name="connsiteY9" fmla="*/ 42648 h 128587"/>
                <a:gd name="connsiteX10" fmla="*/ 140803 w 210026"/>
                <a:gd name="connsiteY10" fmla="*/ 40934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026" h="128587">
                  <a:moveTo>
                    <a:pt x="140803" y="40934"/>
                  </a:moveTo>
                  <a:lnTo>
                    <a:pt x="81653" y="17788"/>
                  </a:lnTo>
                  <a:lnTo>
                    <a:pt x="3215" y="81224"/>
                  </a:lnTo>
                  <a:cubicBezTo>
                    <a:pt x="15216" y="95798"/>
                    <a:pt x="28075" y="110371"/>
                    <a:pt x="39219" y="126230"/>
                  </a:cubicBezTo>
                  <a:lnTo>
                    <a:pt x="88940" y="86368"/>
                  </a:lnTo>
                  <a:lnTo>
                    <a:pt x="93226" y="86368"/>
                  </a:lnTo>
                  <a:lnTo>
                    <a:pt x="141661" y="91940"/>
                  </a:lnTo>
                  <a:lnTo>
                    <a:pt x="210669" y="36219"/>
                  </a:lnTo>
                  <a:cubicBezTo>
                    <a:pt x="205526" y="25075"/>
                    <a:pt x="200382" y="14359"/>
                    <a:pt x="195667" y="3215"/>
                  </a:cubicBezTo>
                  <a:lnTo>
                    <a:pt x="146804" y="42648"/>
                  </a:lnTo>
                  <a:lnTo>
                    <a:pt x="140803" y="40934"/>
                  </a:lnTo>
                  <a:close/>
                </a:path>
              </a:pathLst>
            </a:custGeom>
            <a:grpFill/>
            <a:ln w="9525" cap="flat">
              <a:noFill/>
              <a:prstDash val="solid"/>
              <a:miter/>
            </a:ln>
          </p:spPr>
          <p:txBody>
            <a:bodyPr rtlCol="0" anchor="ctr"/>
            <a:lstStyle/>
            <a:p>
              <a:endParaRPr lang="en-US"/>
            </a:p>
          </p:txBody>
        </p:sp>
        <p:sp>
          <p:nvSpPr>
            <p:cNvPr id="254" name="Freeform: Shape 31">
              <a:extLst>
                <a:ext uri="{FF2B5EF4-FFF2-40B4-BE49-F238E27FC236}">
                  <a16:creationId xmlns:a16="http://schemas.microsoft.com/office/drawing/2014/main" id="{FCA6B7C6-E985-5D44-A4A7-9735C72E836F}"/>
                </a:ext>
              </a:extLst>
            </p:cNvPr>
            <p:cNvSpPr/>
            <p:nvPr/>
          </p:nvSpPr>
          <p:spPr>
            <a:xfrm>
              <a:off x="6676144" y="3952137"/>
              <a:ext cx="98584" cy="334328"/>
            </a:xfrm>
            <a:custGeom>
              <a:avLst/>
              <a:gdLst>
                <a:gd name="connsiteX0" fmla="*/ 34076 w 98583"/>
                <a:gd name="connsiteY0" fmla="*/ 331970 h 334327"/>
                <a:gd name="connsiteX1" fmla="*/ 34076 w 98583"/>
                <a:gd name="connsiteY1" fmla="*/ 107371 h 334327"/>
                <a:gd name="connsiteX2" fmla="*/ 34076 w 98583"/>
                <a:gd name="connsiteY2" fmla="*/ 103084 h 334327"/>
                <a:gd name="connsiteX3" fmla="*/ 98798 w 98583"/>
                <a:gd name="connsiteY3" fmla="*/ 38362 h 334327"/>
                <a:gd name="connsiteX4" fmla="*/ 89368 w 98583"/>
                <a:gd name="connsiteY4" fmla="*/ 3215 h 334327"/>
                <a:gd name="connsiteX5" fmla="*/ 3215 w 98583"/>
                <a:gd name="connsiteY5" fmla="*/ 89368 h 334327"/>
                <a:gd name="connsiteX6" fmla="*/ 3215 w 98583"/>
                <a:gd name="connsiteY6" fmla="*/ 319969 h 334327"/>
                <a:gd name="connsiteX7" fmla="*/ 34076 w 98583"/>
                <a:gd name="connsiteY7" fmla="*/ 331970 h 33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83" h="334327">
                  <a:moveTo>
                    <a:pt x="34076" y="331970"/>
                  </a:moveTo>
                  <a:lnTo>
                    <a:pt x="34076" y="107371"/>
                  </a:lnTo>
                  <a:lnTo>
                    <a:pt x="34076" y="103084"/>
                  </a:lnTo>
                  <a:lnTo>
                    <a:pt x="98798" y="38362"/>
                  </a:lnTo>
                  <a:cubicBezTo>
                    <a:pt x="95798" y="26789"/>
                    <a:pt x="92369" y="14788"/>
                    <a:pt x="89368" y="3215"/>
                  </a:cubicBezTo>
                  <a:lnTo>
                    <a:pt x="3215" y="89368"/>
                  </a:lnTo>
                  <a:lnTo>
                    <a:pt x="3215" y="319969"/>
                  </a:lnTo>
                  <a:cubicBezTo>
                    <a:pt x="13502" y="323826"/>
                    <a:pt x="23789" y="328112"/>
                    <a:pt x="34076" y="331970"/>
                  </a:cubicBezTo>
                  <a:close/>
                </a:path>
              </a:pathLst>
            </a:custGeom>
            <a:grpFill/>
            <a:ln w="9525" cap="flat">
              <a:noFill/>
              <a:prstDash val="solid"/>
              <a:miter/>
            </a:ln>
          </p:spPr>
          <p:txBody>
            <a:bodyPr rtlCol="0" anchor="ctr"/>
            <a:lstStyle/>
            <a:p>
              <a:endParaRPr lang="en-US"/>
            </a:p>
          </p:txBody>
        </p:sp>
        <p:sp>
          <p:nvSpPr>
            <p:cNvPr id="255" name="Freeform: Shape 32">
              <a:extLst>
                <a:ext uri="{FF2B5EF4-FFF2-40B4-BE49-F238E27FC236}">
                  <a16:creationId xmlns:a16="http://schemas.microsoft.com/office/drawing/2014/main" id="{D8BAA9DC-10AE-9F4F-93AA-C37D53EF4CA7}"/>
                </a:ext>
              </a:extLst>
            </p:cNvPr>
            <p:cNvSpPr/>
            <p:nvPr/>
          </p:nvSpPr>
          <p:spPr>
            <a:xfrm>
              <a:off x="7238500" y="5847945"/>
              <a:ext cx="55721" cy="197168"/>
            </a:xfrm>
            <a:custGeom>
              <a:avLst/>
              <a:gdLst>
                <a:gd name="connsiteX0" fmla="*/ 3215 w 55721"/>
                <a:gd name="connsiteY0" fmla="*/ 3215 h 197167"/>
                <a:gd name="connsiteX1" fmla="*/ 34933 w 55721"/>
                <a:gd name="connsiteY1" fmla="*/ 184952 h 197167"/>
                <a:gd name="connsiteX2" fmla="*/ 34933 w 55721"/>
                <a:gd name="connsiteY2" fmla="*/ 184952 h 197167"/>
                <a:gd name="connsiteX3" fmla="*/ 53364 w 55721"/>
                <a:gd name="connsiteY3" fmla="*/ 197811 h 197167"/>
                <a:gd name="connsiteX4" fmla="*/ 17359 w 55721"/>
                <a:gd name="connsiteY4" fmla="*/ 64080 h 197167"/>
                <a:gd name="connsiteX5" fmla="*/ 3215 w 55721"/>
                <a:gd name="connsiteY5" fmla="*/ 3215 h 19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21" h="197167">
                  <a:moveTo>
                    <a:pt x="3215" y="3215"/>
                  </a:moveTo>
                  <a:lnTo>
                    <a:pt x="34933" y="184952"/>
                  </a:lnTo>
                  <a:lnTo>
                    <a:pt x="34933" y="184952"/>
                  </a:lnTo>
                  <a:lnTo>
                    <a:pt x="53364" y="197811"/>
                  </a:lnTo>
                  <a:cubicBezTo>
                    <a:pt x="40934" y="153233"/>
                    <a:pt x="27646" y="109085"/>
                    <a:pt x="17359" y="64080"/>
                  </a:cubicBezTo>
                  <a:cubicBezTo>
                    <a:pt x="12216" y="43934"/>
                    <a:pt x="7930" y="23789"/>
                    <a:pt x="3215" y="3215"/>
                  </a:cubicBezTo>
                  <a:close/>
                </a:path>
              </a:pathLst>
            </a:custGeom>
            <a:grpFill/>
            <a:ln w="9525" cap="flat">
              <a:noFill/>
              <a:prstDash val="solid"/>
              <a:miter/>
            </a:ln>
          </p:spPr>
          <p:txBody>
            <a:bodyPr rtlCol="0" anchor="ctr"/>
            <a:lstStyle/>
            <a:p>
              <a:endParaRPr lang="en-US"/>
            </a:p>
          </p:txBody>
        </p:sp>
        <p:sp>
          <p:nvSpPr>
            <p:cNvPr id="256" name="Freeform: Shape 33">
              <a:extLst>
                <a:ext uri="{FF2B5EF4-FFF2-40B4-BE49-F238E27FC236}">
                  <a16:creationId xmlns:a16="http://schemas.microsoft.com/office/drawing/2014/main" id="{75D0F814-2426-C24E-AF35-E4DF31D2A7D6}"/>
                </a:ext>
              </a:extLst>
            </p:cNvPr>
            <p:cNvSpPr/>
            <p:nvPr/>
          </p:nvSpPr>
          <p:spPr>
            <a:xfrm>
              <a:off x="7258645" y="2938439"/>
              <a:ext cx="180023" cy="115729"/>
            </a:xfrm>
            <a:custGeom>
              <a:avLst/>
              <a:gdLst>
                <a:gd name="connsiteX0" fmla="*/ 97512 w 180022"/>
                <a:gd name="connsiteY0" fmla="*/ 60222 h 115728"/>
                <a:gd name="connsiteX1" fmla="*/ 48649 w 180022"/>
                <a:gd name="connsiteY1" fmla="*/ 55078 h 115728"/>
                <a:gd name="connsiteX2" fmla="*/ 3215 w 180022"/>
                <a:gd name="connsiteY2" fmla="*/ 91512 h 115728"/>
                <a:gd name="connsiteX3" fmla="*/ 9644 w 180022"/>
                <a:gd name="connsiteY3" fmla="*/ 104799 h 115728"/>
                <a:gd name="connsiteX4" fmla="*/ 12216 w 180022"/>
                <a:gd name="connsiteY4" fmla="*/ 115514 h 115728"/>
                <a:gd name="connsiteX5" fmla="*/ 21217 w 180022"/>
                <a:gd name="connsiteY5" fmla="*/ 108228 h 115728"/>
                <a:gd name="connsiteX6" fmla="*/ 25074 w 180022"/>
                <a:gd name="connsiteY6" fmla="*/ 108657 h 115728"/>
                <a:gd name="connsiteX7" fmla="*/ 25074 w 180022"/>
                <a:gd name="connsiteY7" fmla="*/ 108657 h 115728"/>
                <a:gd name="connsiteX8" fmla="*/ 63222 w 180022"/>
                <a:gd name="connsiteY8" fmla="*/ 112943 h 115728"/>
                <a:gd name="connsiteX9" fmla="*/ 179808 w 180022"/>
                <a:gd name="connsiteY9" fmla="*/ 19074 h 115728"/>
                <a:gd name="connsiteX10" fmla="*/ 172522 w 180022"/>
                <a:gd name="connsiteY10" fmla="*/ 3215 h 115728"/>
                <a:gd name="connsiteX11" fmla="*/ 100941 w 180022"/>
                <a:gd name="connsiteY11" fmla="*/ 61079 h 115728"/>
                <a:gd name="connsiteX12" fmla="*/ 97512 w 180022"/>
                <a:gd name="connsiteY12" fmla="*/ 60222 h 11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022" h="115728">
                  <a:moveTo>
                    <a:pt x="97512" y="60222"/>
                  </a:moveTo>
                  <a:lnTo>
                    <a:pt x="48649" y="55078"/>
                  </a:lnTo>
                  <a:lnTo>
                    <a:pt x="3215" y="91512"/>
                  </a:lnTo>
                  <a:cubicBezTo>
                    <a:pt x="5786" y="95798"/>
                    <a:pt x="7929" y="100084"/>
                    <a:pt x="9644" y="104799"/>
                  </a:cubicBezTo>
                  <a:cubicBezTo>
                    <a:pt x="11359" y="108228"/>
                    <a:pt x="12216" y="112086"/>
                    <a:pt x="12216" y="115514"/>
                  </a:cubicBezTo>
                  <a:lnTo>
                    <a:pt x="21217" y="108228"/>
                  </a:lnTo>
                  <a:lnTo>
                    <a:pt x="25074" y="108657"/>
                  </a:lnTo>
                  <a:lnTo>
                    <a:pt x="25074" y="108657"/>
                  </a:lnTo>
                  <a:lnTo>
                    <a:pt x="63222" y="112943"/>
                  </a:lnTo>
                  <a:lnTo>
                    <a:pt x="179808" y="19074"/>
                  </a:lnTo>
                  <a:cubicBezTo>
                    <a:pt x="177236" y="13930"/>
                    <a:pt x="174665" y="8358"/>
                    <a:pt x="172522" y="3215"/>
                  </a:cubicBezTo>
                  <a:lnTo>
                    <a:pt x="100941" y="61079"/>
                  </a:lnTo>
                  <a:lnTo>
                    <a:pt x="97512" y="60222"/>
                  </a:lnTo>
                  <a:close/>
                </a:path>
              </a:pathLst>
            </a:custGeom>
            <a:grpFill/>
            <a:ln w="9525" cap="flat">
              <a:noFill/>
              <a:prstDash val="solid"/>
              <a:miter/>
            </a:ln>
          </p:spPr>
          <p:txBody>
            <a:bodyPr rtlCol="0" anchor="ctr"/>
            <a:lstStyle/>
            <a:p>
              <a:endParaRPr lang="en-US"/>
            </a:p>
          </p:txBody>
        </p:sp>
        <p:sp>
          <p:nvSpPr>
            <p:cNvPr id="257" name="Freeform: Shape 34">
              <a:extLst>
                <a:ext uri="{FF2B5EF4-FFF2-40B4-BE49-F238E27FC236}">
                  <a16:creationId xmlns:a16="http://schemas.microsoft.com/office/drawing/2014/main" id="{7AD29641-622C-1E44-8112-51A8229F3689}"/>
                </a:ext>
              </a:extLst>
            </p:cNvPr>
            <p:cNvSpPr/>
            <p:nvPr/>
          </p:nvSpPr>
          <p:spPr>
            <a:xfrm>
              <a:off x="7200699" y="3407783"/>
              <a:ext cx="21431" cy="42863"/>
            </a:xfrm>
            <a:custGeom>
              <a:avLst/>
              <a:gdLst>
                <a:gd name="connsiteX0" fmla="*/ 3297 w 21431"/>
                <a:gd name="connsiteY0" fmla="*/ 11359 h 42862"/>
                <a:gd name="connsiteX1" fmla="*/ 6297 w 21431"/>
                <a:gd name="connsiteY1" fmla="*/ 40505 h 42862"/>
                <a:gd name="connsiteX2" fmla="*/ 19584 w 21431"/>
                <a:gd name="connsiteY2" fmla="*/ 27218 h 42862"/>
                <a:gd name="connsiteX3" fmla="*/ 13155 w 21431"/>
                <a:gd name="connsiteY3" fmla="*/ 3215 h 42862"/>
                <a:gd name="connsiteX4" fmla="*/ 3297 w 21431"/>
                <a:gd name="connsiteY4" fmla="*/ 11359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1" h="42862">
                  <a:moveTo>
                    <a:pt x="3297" y="11359"/>
                  </a:moveTo>
                  <a:cubicBezTo>
                    <a:pt x="2868" y="21217"/>
                    <a:pt x="4154" y="31075"/>
                    <a:pt x="6297" y="40505"/>
                  </a:cubicBezTo>
                  <a:lnTo>
                    <a:pt x="19584" y="27218"/>
                  </a:lnTo>
                  <a:lnTo>
                    <a:pt x="13155" y="3215"/>
                  </a:lnTo>
                  <a:lnTo>
                    <a:pt x="3297" y="11359"/>
                  </a:lnTo>
                  <a:close/>
                </a:path>
              </a:pathLst>
            </a:custGeom>
            <a:grpFill/>
            <a:ln w="9525" cap="flat">
              <a:noFill/>
              <a:prstDash val="solid"/>
              <a:miter/>
            </a:ln>
          </p:spPr>
          <p:txBody>
            <a:bodyPr rtlCol="0" anchor="ctr"/>
            <a:lstStyle/>
            <a:p>
              <a:endParaRPr lang="en-US"/>
            </a:p>
          </p:txBody>
        </p:sp>
        <p:sp>
          <p:nvSpPr>
            <p:cNvPr id="258" name="Freeform: Shape 35">
              <a:extLst>
                <a:ext uri="{FF2B5EF4-FFF2-40B4-BE49-F238E27FC236}">
                  <a16:creationId xmlns:a16="http://schemas.microsoft.com/office/drawing/2014/main" id="{9716B2EC-AAB2-764E-9521-ADAA4954A89A}"/>
                </a:ext>
              </a:extLst>
            </p:cNvPr>
            <p:cNvSpPr/>
            <p:nvPr/>
          </p:nvSpPr>
          <p:spPr>
            <a:xfrm>
              <a:off x="7208068" y="3045595"/>
              <a:ext cx="300038" cy="458629"/>
            </a:xfrm>
            <a:custGeom>
              <a:avLst/>
              <a:gdLst>
                <a:gd name="connsiteX0" fmla="*/ 127944 w 300037"/>
                <a:gd name="connsiteY0" fmla="*/ 163092 h 458628"/>
                <a:gd name="connsiteX1" fmla="*/ 127087 w 300037"/>
                <a:gd name="connsiteY1" fmla="*/ 165235 h 458628"/>
                <a:gd name="connsiteX2" fmla="*/ 22931 w 300037"/>
                <a:gd name="connsiteY2" fmla="*/ 249246 h 458628"/>
                <a:gd name="connsiteX3" fmla="*/ 8787 w 300037"/>
                <a:gd name="connsiteY3" fmla="*/ 308396 h 458628"/>
                <a:gd name="connsiteX4" fmla="*/ 10930 w 300037"/>
                <a:gd name="connsiteY4" fmla="*/ 310539 h 458628"/>
                <a:gd name="connsiteX5" fmla="*/ 11358 w 300037"/>
                <a:gd name="connsiteY5" fmla="*/ 313111 h 458628"/>
                <a:gd name="connsiteX6" fmla="*/ 16073 w 300037"/>
                <a:gd name="connsiteY6" fmla="*/ 331542 h 458628"/>
                <a:gd name="connsiteX7" fmla="*/ 202525 w 300037"/>
                <a:gd name="connsiteY7" fmla="*/ 181523 h 458628"/>
                <a:gd name="connsiteX8" fmla="*/ 185380 w 300037"/>
                <a:gd name="connsiteY8" fmla="*/ 169093 h 458628"/>
                <a:gd name="connsiteX9" fmla="*/ 192238 w 300037"/>
                <a:gd name="connsiteY9" fmla="*/ 108657 h 458628"/>
                <a:gd name="connsiteX10" fmla="*/ 252675 w 300037"/>
                <a:gd name="connsiteY10" fmla="*/ 115086 h 458628"/>
                <a:gd name="connsiteX11" fmla="*/ 246245 w 300037"/>
                <a:gd name="connsiteY11" fmla="*/ 175522 h 458628"/>
                <a:gd name="connsiteX12" fmla="*/ 231243 w 300037"/>
                <a:gd name="connsiteY12" fmla="*/ 183237 h 458628"/>
                <a:gd name="connsiteX13" fmla="*/ 229100 w 300037"/>
                <a:gd name="connsiteY13" fmla="*/ 185380 h 458628"/>
                <a:gd name="connsiteX14" fmla="*/ 21646 w 300037"/>
                <a:gd name="connsiteY14" fmla="*/ 352544 h 458628"/>
                <a:gd name="connsiteX15" fmla="*/ 31933 w 300037"/>
                <a:gd name="connsiteY15" fmla="*/ 390263 h 458628"/>
                <a:gd name="connsiteX16" fmla="*/ 33218 w 300037"/>
                <a:gd name="connsiteY16" fmla="*/ 395407 h 458628"/>
                <a:gd name="connsiteX17" fmla="*/ 3215 w 300037"/>
                <a:gd name="connsiteY17" fmla="*/ 425410 h 458628"/>
                <a:gd name="connsiteX18" fmla="*/ 7072 w 300037"/>
                <a:gd name="connsiteY18" fmla="*/ 439984 h 458628"/>
                <a:gd name="connsiteX19" fmla="*/ 36647 w 300037"/>
                <a:gd name="connsiteY19" fmla="*/ 458415 h 458628"/>
                <a:gd name="connsiteX20" fmla="*/ 67508 w 300037"/>
                <a:gd name="connsiteY20" fmla="*/ 445127 h 458628"/>
                <a:gd name="connsiteX21" fmla="*/ 124087 w 300037"/>
                <a:gd name="connsiteY21" fmla="*/ 291679 h 458628"/>
                <a:gd name="connsiteX22" fmla="*/ 140375 w 300037"/>
                <a:gd name="connsiteY22" fmla="*/ 273677 h 458628"/>
                <a:gd name="connsiteX23" fmla="*/ 209812 w 300037"/>
                <a:gd name="connsiteY23" fmla="*/ 279678 h 458628"/>
                <a:gd name="connsiteX24" fmla="*/ 220956 w 300037"/>
                <a:gd name="connsiteY24" fmla="*/ 286965 h 458628"/>
                <a:gd name="connsiteX25" fmla="*/ 234243 w 300037"/>
                <a:gd name="connsiteY25" fmla="*/ 357688 h 458628"/>
                <a:gd name="connsiteX26" fmla="*/ 234243 w 300037"/>
                <a:gd name="connsiteY26" fmla="*/ 360688 h 458628"/>
                <a:gd name="connsiteX27" fmla="*/ 271105 w 300037"/>
                <a:gd name="connsiteY27" fmla="*/ 330684 h 458628"/>
                <a:gd name="connsiteX28" fmla="*/ 299823 w 300037"/>
                <a:gd name="connsiteY28" fmla="*/ 63222 h 458628"/>
                <a:gd name="connsiteX29" fmla="*/ 299823 w 300037"/>
                <a:gd name="connsiteY29" fmla="*/ 63222 h 458628"/>
                <a:gd name="connsiteX30" fmla="*/ 271963 w 300037"/>
                <a:gd name="connsiteY30" fmla="*/ 3215 h 458628"/>
                <a:gd name="connsiteX31" fmla="*/ 152376 w 300037"/>
                <a:gd name="connsiteY31" fmla="*/ 100513 h 458628"/>
                <a:gd name="connsiteX32" fmla="*/ 127944 w 300037"/>
                <a:gd name="connsiteY32" fmla="*/ 163092 h 45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0037" h="458628">
                  <a:moveTo>
                    <a:pt x="127944" y="163092"/>
                  </a:moveTo>
                  <a:lnTo>
                    <a:pt x="127087" y="165235"/>
                  </a:lnTo>
                  <a:lnTo>
                    <a:pt x="22931" y="249246"/>
                  </a:lnTo>
                  <a:cubicBezTo>
                    <a:pt x="18645" y="268962"/>
                    <a:pt x="13930" y="288679"/>
                    <a:pt x="8787" y="308396"/>
                  </a:cubicBezTo>
                  <a:lnTo>
                    <a:pt x="10930" y="310539"/>
                  </a:lnTo>
                  <a:lnTo>
                    <a:pt x="11358" y="313111"/>
                  </a:lnTo>
                  <a:lnTo>
                    <a:pt x="16073" y="331542"/>
                  </a:lnTo>
                  <a:lnTo>
                    <a:pt x="202525" y="181523"/>
                  </a:lnTo>
                  <a:cubicBezTo>
                    <a:pt x="196096" y="178951"/>
                    <a:pt x="190095" y="174665"/>
                    <a:pt x="185380" y="169093"/>
                  </a:cubicBezTo>
                  <a:cubicBezTo>
                    <a:pt x="170378" y="150662"/>
                    <a:pt x="173807" y="123658"/>
                    <a:pt x="192238" y="108657"/>
                  </a:cubicBezTo>
                  <a:cubicBezTo>
                    <a:pt x="210669" y="93655"/>
                    <a:pt x="237673" y="96655"/>
                    <a:pt x="252675" y="115086"/>
                  </a:cubicBezTo>
                  <a:cubicBezTo>
                    <a:pt x="267676" y="133517"/>
                    <a:pt x="264676" y="160520"/>
                    <a:pt x="246245" y="175522"/>
                  </a:cubicBezTo>
                  <a:cubicBezTo>
                    <a:pt x="241530" y="179380"/>
                    <a:pt x="236387" y="181523"/>
                    <a:pt x="231243" y="183237"/>
                  </a:cubicBezTo>
                  <a:cubicBezTo>
                    <a:pt x="230814" y="184094"/>
                    <a:pt x="229957" y="184523"/>
                    <a:pt x="229100" y="185380"/>
                  </a:cubicBezTo>
                  <a:lnTo>
                    <a:pt x="21646" y="352544"/>
                  </a:lnTo>
                  <a:lnTo>
                    <a:pt x="31933" y="390263"/>
                  </a:lnTo>
                  <a:lnTo>
                    <a:pt x="33218" y="395407"/>
                  </a:lnTo>
                  <a:lnTo>
                    <a:pt x="3215" y="425410"/>
                  </a:lnTo>
                  <a:cubicBezTo>
                    <a:pt x="4501" y="430125"/>
                    <a:pt x="5786" y="435269"/>
                    <a:pt x="7072" y="439984"/>
                  </a:cubicBezTo>
                  <a:cubicBezTo>
                    <a:pt x="9644" y="453700"/>
                    <a:pt x="25074" y="456700"/>
                    <a:pt x="36647" y="458415"/>
                  </a:cubicBezTo>
                  <a:cubicBezTo>
                    <a:pt x="48220" y="460129"/>
                    <a:pt x="63651" y="457986"/>
                    <a:pt x="67508" y="445127"/>
                  </a:cubicBezTo>
                  <a:cubicBezTo>
                    <a:pt x="88940" y="394978"/>
                    <a:pt x="101798" y="341828"/>
                    <a:pt x="124087" y="291679"/>
                  </a:cubicBezTo>
                  <a:cubicBezTo>
                    <a:pt x="127516" y="284393"/>
                    <a:pt x="131373" y="274963"/>
                    <a:pt x="140375" y="273677"/>
                  </a:cubicBezTo>
                  <a:cubicBezTo>
                    <a:pt x="163949" y="267676"/>
                    <a:pt x="186238" y="280964"/>
                    <a:pt x="209812" y="279678"/>
                  </a:cubicBezTo>
                  <a:cubicBezTo>
                    <a:pt x="214955" y="278821"/>
                    <a:pt x="220099" y="281821"/>
                    <a:pt x="220956" y="286965"/>
                  </a:cubicBezTo>
                  <a:cubicBezTo>
                    <a:pt x="228243" y="309682"/>
                    <a:pt x="232529" y="333685"/>
                    <a:pt x="234243" y="357688"/>
                  </a:cubicBezTo>
                  <a:cubicBezTo>
                    <a:pt x="234243" y="358545"/>
                    <a:pt x="234243" y="359831"/>
                    <a:pt x="234243" y="360688"/>
                  </a:cubicBezTo>
                  <a:lnTo>
                    <a:pt x="271105" y="330684"/>
                  </a:lnTo>
                  <a:lnTo>
                    <a:pt x="299823" y="63222"/>
                  </a:lnTo>
                  <a:lnTo>
                    <a:pt x="299823" y="63222"/>
                  </a:lnTo>
                  <a:cubicBezTo>
                    <a:pt x="290393" y="43077"/>
                    <a:pt x="281392" y="22932"/>
                    <a:pt x="271963" y="3215"/>
                  </a:cubicBezTo>
                  <a:lnTo>
                    <a:pt x="152376" y="100513"/>
                  </a:lnTo>
                  <a:lnTo>
                    <a:pt x="127944" y="163092"/>
                  </a:lnTo>
                  <a:close/>
                </a:path>
              </a:pathLst>
            </a:custGeom>
            <a:grpFill/>
            <a:ln w="9525" cap="flat">
              <a:noFill/>
              <a:prstDash val="solid"/>
              <a:miter/>
            </a:ln>
          </p:spPr>
          <p:txBody>
            <a:bodyPr rtlCol="0" anchor="ctr"/>
            <a:lstStyle/>
            <a:p>
              <a:endParaRPr lang="en-US"/>
            </a:p>
          </p:txBody>
        </p:sp>
        <p:sp>
          <p:nvSpPr>
            <p:cNvPr id="259" name="Freeform: Shape 36">
              <a:extLst>
                <a:ext uri="{FF2B5EF4-FFF2-40B4-BE49-F238E27FC236}">
                  <a16:creationId xmlns:a16="http://schemas.microsoft.com/office/drawing/2014/main" id="{53359E5F-1752-0746-B1F5-8E630C1621D6}"/>
                </a:ext>
              </a:extLst>
            </p:cNvPr>
            <p:cNvSpPr/>
            <p:nvPr/>
          </p:nvSpPr>
          <p:spPr>
            <a:xfrm>
              <a:off x="6726722" y="4008715"/>
              <a:ext cx="60008" cy="287179"/>
            </a:xfrm>
            <a:custGeom>
              <a:avLst/>
              <a:gdLst>
                <a:gd name="connsiteX0" fmla="*/ 54221 w 60007"/>
                <a:gd name="connsiteY0" fmla="*/ 3215 h 287178"/>
                <a:gd name="connsiteX1" fmla="*/ 3215 w 60007"/>
                <a:gd name="connsiteY1" fmla="*/ 54221 h 287178"/>
                <a:gd name="connsiteX2" fmla="*/ 3215 w 60007"/>
                <a:gd name="connsiteY2" fmla="*/ 282678 h 287178"/>
                <a:gd name="connsiteX3" fmla="*/ 12216 w 60007"/>
                <a:gd name="connsiteY3" fmla="*/ 286107 h 287178"/>
                <a:gd name="connsiteX4" fmla="*/ 12216 w 60007"/>
                <a:gd name="connsiteY4" fmla="*/ 65794 h 287178"/>
                <a:gd name="connsiteX5" fmla="*/ 11787 w 60007"/>
                <a:gd name="connsiteY5" fmla="*/ 61508 h 287178"/>
                <a:gd name="connsiteX6" fmla="*/ 57650 w 60007"/>
                <a:gd name="connsiteY6" fmla="*/ 15645 h 287178"/>
                <a:gd name="connsiteX7" fmla="*/ 54221 w 60007"/>
                <a:gd name="connsiteY7" fmla="*/ 3215 h 28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07" h="287178">
                  <a:moveTo>
                    <a:pt x="54221" y="3215"/>
                  </a:moveTo>
                  <a:lnTo>
                    <a:pt x="3215" y="54221"/>
                  </a:lnTo>
                  <a:lnTo>
                    <a:pt x="3215" y="282678"/>
                  </a:lnTo>
                  <a:cubicBezTo>
                    <a:pt x="6215" y="283964"/>
                    <a:pt x="9215" y="284821"/>
                    <a:pt x="12216" y="286107"/>
                  </a:cubicBezTo>
                  <a:lnTo>
                    <a:pt x="12216" y="65794"/>
                  </a:lnTo>
                  <a:lnTo>
                    <a:pt x="11787" y="61508"/>
                  </a:lnTo>
                  <a:lnTo>
                    <a:pt x="57650" y="15645"/>
                  </a:lnTo>
                  <a:cubicBezTo>
                    <a:pt x="56364" y="11787"/>
                    <a:pt x="55078" y="7501"/>
                    <a:pt x="54221" y="3215"/>
                  </a:cubicBezTo>
                  <a:close/>
                </a:path>
              </a:pathLst>
            </a:custGeom>
            <a:grpFill/>
            <a:ln w="9525" cap="flat">
              <a:noFill/>
              <a:prstDash val="solid"/>
              <a:miter/>
            </a:ln>
          </p:spPr>
          <p:txBody>
            <a:bodyPr rtlCol="0" anchor="ctr"/>
            <a:lstStyle/>
            <a:p>
              <a:endParaRPr lang="en-US"/>
            </a:p>
          </p:txBody>
        </p:sp>
        <p:sp>
          <p:nvSpPr>
            <p:cNvPr id="260" name="Freeform: Shape 37">
              <a:extLst>
                <a:ext uri="{FF2B5EF4-FFF2-40B4-BE49-F238E27FC236}">
                  <a16:creationId xmlns:a16="http://schemas.microsoft.com/office/drawing/2014/main" id="{413AAA69-7EA3-9E4B-8FDD-B95CA5070F9D}"/>
                </a:ext>
              </a:extLst>
            </p:cNvPr>
            <p:cNvSpPr/>
            <p:nvPr/>
          </p:nvSpPr>
          <p:spPr>
            <a:xfrm>
              <a:off x="6777728" y="4008715"/>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261" name="Freeform: Shape 38">
              <a:extLst>
                <a:ext uri="{FF2B5EF4-FFF2-40B4-BE49-F238E27FC236}">
                  <a16:creationId xmlns:a16="http://schemas.microsoft.com/office/drawing/2014/main" id="{C53E6954-F57B-A94A-A52B-4D6E1A6AE0AE}"/>
                </a:ext>
              </a:extLst>
            </p:cNvPr>
            <p:cNvSpPr/>
            <p:nvPr/>
          </p:nvSpPr>
          <p:spPr>
            <a:xfrm>
              <a:off x="7228642" y="3014305"/>
              <a:ext cx="244316" cy="252889"/>
            </a:xfrm>
            <a:custGeom>
              <a:avLst/>
              <a:gdLst>
                <a:gd name="connsiteX0" fmla="*/ 3215 w 244316"/>
                <a:gd name="connsiteY0" fmla="*/ 192667 h 252888"/>
                <a:gd name="connsiteX1" fmla="*/ 7501 w 244316"/>
                <a:gd name="connsiteY1" fmla="*/ 251389 h 252888"/>
                <a:gd name="connsiteX2" fmla="*/ 89797 w 244316"/>
                <a:gd name="connsiteY2" fmla="*/ 184952 h 252888"/>
                <a:gd name="connsiteX3" fmla="*/ 89797 w 244316"/>
                <a:gd name="connsiteY3" fmla="*/ 184952 h 252888"/>
                <a:gd name="connsiteX4" fmla="*/ 114229 w 244316"/>
                <a:gd name="connsiteY4" fmla="*/ 122372 h 252888"/>
                <a:gd name="connsiteX5" fmla="*/ 115086 w 244316"/>
                <a:gd name="connsiteY5" fmla="*/ 119801 h 252888"/>
                <a:gd name="connsiteX6" fmla="*/ 243673 w 244316"/>
                <a:gd name="connsiteY6" fmla="*/ 16073 h 252888"/>
                <a:gd name="connsiteX7" fmla="*/ 237673 w 244316"/>
                <a:gd name="connsiteY7" fmla="*/ 3215 h 252888"/>
                <a:gd name="connsiteX8" fmla="*/ 211526 w 244316"/>
                <a:gd name="connsiteY8" fmla="*/ 24217 h 252888"/>
                <a:gd name="connsiteX9" fmla="*/ 3215 w 244316"/>
                <a:gd name="connsiteY9" fmla="*/ 192667 h 25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316" h="252888">
                  <a:moveTo>
                    <a:pt x="3215" y="192667"/>
                  </a:moveTo>
                  <a:cubicBezTo>
                    <a:pt x="4072" y="212384"/>
                    <a:pt x="9216" y="232101"/>
                    <a:pt x="7501" y="251389"/>
                  </a:cubicBezTo>
                  <a:lnTo>
                    <a:pt x="89797" y="184952"/>
                  </a:lnTo>
                  <a:lnTo>
                    <a:pt x="89797" y="184952"/>
                  </a:lnTo>
                  <a:lnTo>
                    <a:pt x="114229" y="122372"/>
                  </a:lnTo>
                  <a:lnTo>
                    <a:pt x="115086" y="119801"/>
                  </a:lnTo>
                  <a:lnTo>
                    <a:pt x="243673" y="16073"/>
                  </a:lnTo>
                  <a:cubicBezTo>
                    <a:pt x="241530" y="11787"/>
                    <a:pt x="239816" y="7501"/>
                    <a:pt x="237673" y="3215"/>
                  </a:cubicBezTo>
                  <a:cubicBezTo>
                    <a:pt x="229529" y="9644"/>
                    <a:pt x="220528" y="16931"/>
                    <a:pt x="211526" y="24217"/>
                  </a:cubicBezTo>
                  <a:cubicBezTo>
                    <a:pt x="152805" y="70937"/>
                    <a:pt x="78224" y="131802"/>
                    <a:pt x="3215" y="192667"/>
                  </a:cubicBezTo>
                  <a:close/>
                </a:path>
              </a:pathLst>
            </a:custGeom>
            <a:grpFill/>
            <a:ln w="9525" cap="flat">
              <a:noFill/>
              <a:prstDash val="solid"/>
              <a:miter/>
            </a:ln>
          </p:spPr>
          <p:txBody>
            <a:bodyPr rtlCol="0" anchor="ctr"/>
            <a:lstStyle/>
            <a:p>
              <a:endParaRPr lang="en-US"/>
            </a:p>
          </p:txBody>
        </p:sp>
        <p:sp>
          <p:nvSpPr>
            <p:cNvPr id="262" name="Freeform: Shape 39">
              <a:extLst>
                <a:ext uri="{FF2B5EF4-FFF2-40B4-BE49-F238E27FC236}">
                  <a16:creationId xmlns:a16="http://schemas.microsoft.com/office/drawing/2014/main" id="{C0308F37-1DD7-EA4A-9A3C-2A1D40F4ABE4}"/>
                </a:ext>
              </a:extLst>
            </p:cNvPr>
            <p:cNvSpPr/>
            <p:nvPr/>
          </p:nvSpPr>
          <p:spPr>
            <a:xfrm>
              <a:off x="6984325" y="2508528"/>
              <a:ext cx="265748" cy="257175"/>
            </a:xfrm>
            <a:custGeom>
              <a:avLst/>
              <a:gdLst>
                <a:gd name="connsiteX0" fmla="*/ 49506 w 265747"/>
                <a:gd name="connsiteY0" fmla="*/ 254389 h 257175"/>
                <a:gd name="connsiteX1" fmla="*/ 64937 w 265747"/>
                <a:gd name="connsiteY1" fmla="*/ 241959 h 257175"/>
                <a:gd name="connsiteX2" fmla="*/ 94512 w 265747"/>
                <a:gd name="connsiteY2" fmla="*/ 165664 h 257175"/>
                <a:gd name="connsiteX3" fmla="*/ 94512 w 265747"/>
                <a:gd name="connsiteY3" fmla="*/ 165664 h 257175"/>
                <a:gd name="connsiteX4" fmla="*/ 96226 w 265747"/>
                <a:gd name="connsiteY4" fmla="*/ 160520 h 257175"/>
                <a:gd name="connsiteX5" fmla="*/ 262533 w 265747"/>
                <a:gd name="connsiteY5" fmla="*/ 26361 h 257175"/>
                <a:gd name="connsiteX6" fmla="*/ 251817 w 265747"/>
                <a:gd name="connsiteY6" fmla="*/ 3215 h 257175"/>
                <a:gd name="connsiteX7" fmla="*/ 3215 w 265747"/>
                <a:gd name="connsiteY7" fmla="*/ 203811 h 257175"/>
                <a:gd name="connsiteX8" fmla="*/ 49506 w 265747"/>
                <a:gd name="connsiteY8" fmla="*/ 25438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747" h="257175">
                  <a:moveTo>
                    <a:pt x="49506" y="254389"/>
                  </a:moveTo>
                  <a:lnTo>
                    <a:pt x="64937" y="241959"/>
                  </a:lnTo>
                  <a:lnTo>
                    <a:pt x="94512" y="165664"/>
                  </a:lnTo>
                  <a:lnTo>
                    <a:pt x="94512" y="165664"/>
                  </a:lnTo>
                  <a:lnTo>
                    <a:pt x="96226" y="160520"/>
                  </a:lnTo>
                  <a:lnTo>
                    <a:pt x="262533" y="26361"/>
                  </a:lnTo>
                  <a:cubicBezTo>
                    <a:pt x="259104" y="18645"/>
                    <a:pt x="255675" y="10930"/>
                    <a:pt x="251817" y="3215"/>
                  </a:cubicBezTo>
                  <a:lnTo>
                    <a:pt x="3215" y="203811"/>
                  </a:lnTo>
                  <a:cubicBezTo>
                    <a:pt x="19074" y="220956"/>
                    <a:pt x="34076" y="237673"/>
                    <a:pt x="49506" y="254389"/>
                  </a:cubicBezTo>
                  <a:close/>
                </a:path>
              </a:pathLst>
            </a:custGeom>
            <a:grpFill/>
            <a:ln w="9525" cap="flat">
              <a:noFill/>
              <a:prstDash val="solid"/>
              <a:miter/>
            </a:ln>
          </p:spPr>
          <p:txBody>
            <a:bodyPr rtlCol="0" anchor="ctr"/>
            <a:lstStyle/>
            <a:p>
              <a:endParaRPr lang="en-US"/>
            </a:p>
          </p:txBody>
        </p:sp>
        <p:sp>
          <p:nvSpPr>
            <p:cNvPr id="263" name="Freeform: Shape 40">
              <a:extLst>
                <a:ext uri="{FF2B5EF4-FFF2-40B4-BE49-F238E27FC236}">
                  <a16:creationId xmlns:a16="http://schemas.microsoft.com/office/drawing/2014/main" id="{B0C83633-DBF8-7347-944B-6B540E1B68DF}"/>
                </a:ext>
              </a:extLst>
            </p:cNvPr>
            <p:cNvSpPr/>
            <p:nvPr/>
          </p:nvSpPr>
          <p:spPr>
            <a:xfrm>
              <a:off x="6799588" y="2266355"/>
              <a:ext cx="342900" cy="342900"/>
            </a:xfrm>
            <a:custGeom>
              <a:avLst/>
              <a:gdLst>
                <a:gd name="connsiteX0" fmla="*/ 25932 w 342900"/>
                <a:gd name="connsiteY0" fmla="*/ 265962 h 342900"/>
                <a:gd name="connsiteX1" fmla="*/ 190524 w 342900"/>
                <a:gd name="connsiteY1" fmla="*/ 133088 h 342900"/>
                <a:gd name="connsiteX2" fmla="*/ 193953 w 342900"/>
                <a:gd name="connsiteY2" fmla="*/ 130516 h 342900"/>
                <a:gd name="connsiteX3" fmla="*/ 209383 w 342900"/>
                <a:gd name="connsiteY3" fmla="*/ 102656 h 342900"/>
                <a:gd name="connsiteX4" fmla="*/ 269819 w 342900"/>
                <a:gd name="connsiteY4" fmla="*/ 109085 h 342900"/>
                <a:gd name="connsiteX5" fmla="*/ 263390 w 342900"/>
                <a:gd name="connsiteY5" fmla="*/ 169521 h 342900"/>
                <a:gd name="connsiteX6" fmla="*/ 228243 w 342900"/>
                <a:gd name="connsiteY6" fmla="*/ 178094 h 342900"/>
                <a:gd name="connsiteX7" fmla="*/ 227386 w 342900"/>
                <a:gd name="connsiteY7" fmla="*/ 178951 h 342900"/>
                <a:gd name="connsiteX8" fmla="*/ 64508 w 342900"/>
                <a:gd name="connsiteY8" fmla="*/ 310110 h 342900"/>
                <a:gd name="connsiteX9" fmla="*/ 92797 w 342900"/>
                <a:gd name="connsiteY9" fmla="*/ 341400 h 342900"/>
                <a:gd name="connsiteX10" fmla="*/ 333256 w 342900"/>
                <a:gd name="connsiteY10" fmla="*/ 147661 h 342900"/>
                <a:gd name="connsiteX11" fmla="*/ 341400 w 342900"/>
                <a:gd name="connsiteY11" fmla="*/ 73509 h 342900"/>
                <a:gd name="connsiteX12" fmla="*/ 341400 w 342900"/>
                <a:gd name="connsiteY12" fmla="*/ 73509 h 342900"/>
                <a:gd name="connsiteX13" fmla="*/ 319968 w 342900"/>
                <a:gd name="connsiteY13" fmla="*/ 39219 h 342900"/>
                <a:gd name="connsiteX14" fmla="*/ 295537 w 342900"/>
                <a:gd name="connsiteY14" fmla="*/ 3215 h 342900"/>
                <a:gd name="connsiteX15" fmla="*/ 3215 w 342900"/>
                <a:gd name="connsiteY15" fmla="*/ 238958 h 342900"/>
                <a:gd name="connsiteX16" fmla="*/ 25932 w 342900"/>
                <a:gd name="connsiteY16" fmla="*/ 265962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2900" h="342900">
                  <a:moveTo>
                    <a:pt x="25932" y="265962"/>
                  </a:moveTo>
                  <a:lnTo>
                    <a:pt x="190524" y="133088"/>
                  </a:lnTo>
                  <a:cubicBezTo>
                    <a:pt x="191810" y="132231"/>
                    <a:pt x="192667" y="131374"/>
                    <a:pt x="193953" y="130516"/>
                  </a:cubicBezTo>
                  <a:cubicBezTo>
                    <a:pt x="195239" y="119801"/>
                    <a:pt x="200382" y="109942"/>
                    <a:pt x="209383" y="102656"/>
                  </a:cubicBezTo>
                  <a:cubicBezTo>
                    <a:pt x="227814" y="87654"/>
                    <a:pt x="254817" y="90654"/>
                    <a:pt x="269819" y="109085"/>
                  </a:cubicBezTo>
                  <a:cubicBezTo>
                    <a:pt x="284821" y="127516"/>
                    <a:pt x="281821" y="154519"/>
                    <a:pt x="263390" y="169521"/>
                  </a:cubicBezTo>
                  <a:cubicBezTo>
                    <a:pt x="253103" y="177665"/>
                    <a:pt x="240244" y="180237"/>
                    <a:pt x="228243" y="178094"/>
                  </a:cubicBezTo>
                  <a:cubicBezTo>
                    <a:pt x="227814" y="178522"/>
                    <a:pt x="227814" y="178522"/>
                    <a:pt x="227386" y="178951"/>
                  </a:cubicBezTo>
                  <a:lnTo>
                    <a:pt x="64508" y="310110"/>
                  </a:lnTo>
                  <a:cubicBezTo>
                    <a:pt x="73938" y="320826"/>
                    <a:pt x="83367" y="331113"/>
                    <a:pt x="92797" y="341400"/>
                  </a:cubicBezTo>
                  <a:lnTo>
                    <a:pt x="333256" y="147661"/>
                  </a:lnTo>
                  <a:lnTo>
                    <a:pt x="341400" y="73509"/>
                  </a:lnTo>
                  <a:lnTo>
                    <a:pt x="341400" y="73509"/>
                  </a:lnTo>
                  <a:cubicBezTo>
                    <a:pt x="334113" y="61936"/>
                    <a:pt x="327255" y="50363"/>
                    <a:pt x="319968" y="39219"/>
                  </a:cubicBezTo>
                  <a:cubicBezTo>
                    <a:pt x="312253" y="26789"/>
                    <a:pt x="304109" y="14788"/>
                    <a:pt x="295537" y="3215"/>
                  </a:cubicBezTo>
                  <a:lnTo>
                    <a:pt x="3215" y="238958"/>
                  </a:lnTo>
                  <a:cubicBezTo>
                    <a:pt x="10501" y="247959"/>
                    <a:pt x="18217" y="256961"/>
                    <a:pt x="25932" y="265962"/>
                  </a:cubicBezTo>
                  <a:close/>
                </a:path>
              </a:pathLst>
            </a:custGeom>
            <a:grpFill/>
            <a:ln w="9525" cap="flat">
              <a:noFill/>
              <a:prstDash val="solid"/>
              <a:miter/>
            </a:ln>
          </p:spPr>
          <p:txBody>
            <a:bodyPr rtlCol="0" anchor="ctr"/>
            <a:lstStyle/>
            <a:p>
              <a:endParaRPr lang="en-US"/>
            </a:p>
          </p:txBody>
        </p:sp>
        <p:sp>
          <p:nvSpPr>
            <p:cNvPr id="264" name="Freeform: Shape 41">
              <a:extLst>
                <a:ext uri="{FF2B5EF4-FFF2-40B4-BE49-F238E27FC236}">
                  <a16:creationId xmlns:a16="http://schemas.microsoft.com/office/drawing/2014/main" id="{3F9082A7-AB45-9542-BBB5-1A584C0E9DF0}"/>
                </a:ext>
              </a:extLst>
            </p:cNvPr>
            <p:cNvSpPr/>
            <p:nvPr/>
          </p:nvSpPr>
          <p:spPr>
            <a:xfrm>
              <a:off x="7057620" y="2570678"/>
              <a:ext cx="261461" cy="295751"/>
            </a:xfrm>
            <a:custGeom>
              <a:avLst/>
              <a:gdLst>
                <a:gd name="connsiteX0" fmla="*/ 26361 w 261461"/>
                <a:gd name="connsiteY0" fmla="*/ 198668 h 295751"/>
                <a:gd name="connsiteX1" fmla="*/ 24646 w 261461"/>
                <a:gd name="connsiteY1" fmla="*/ 203811 h 295751"/>
                <a:gd name="connsiteX2" fmla="*/ 3215 w 261461"/>
                <a:gd name="connsiteY2" fmla="*/ 221385 h 295751"/>
                <a:gd name="connsiteX3" fmla="*/ 32790 w 261461"/>
                <a:gd name="connsiteY3" fmla="*/ 253960 h 295751"/>
                <a:gd name="connsiteX4" fmla="*/ 112086 w 261461"/>
                <a:gd name="connsiteY4" fmla="*/ 190095 h 295751"/>
                <a:gd name="connsiteX5" fmla="*/ 131374 w 261461"/>
                <a:gd name="connsiteY5" fmla="*/ 139946 h 295751"/>
                <a:gd name="connsiteX6" fmla="*/ 132660 w 261461"/>
                <a:gd name="connsiteY6" fmla="*/ 137374 h 295751"/>
                <a:gd name="connsiteX7" fmla="*/ 156663 w 261461"/>
                <a:gd name="connsiteY7" fmla="*/ 118086 h 295751"/>
                <a:gd name="connsiteX8" fmla="*/ 163521 w 261461"/>
                <a:gd name="connsiteY8" fmla="*/ 58936 h 295751"/>
                <a:gd name="connsiteX9" fmla="*/ 223957 w 261461"/>
                <a:gd name="connsiteY9" fmla="*/ 65794 h 295751"/>
                <a:gd name="connsiteX10" fmla="*/ 217527 w 261461"/>
                <a:gd name="connsiteY10" fmla="*/ 126230 h 295751"/>
                <a:gd name="connsiteX11" fmla="*/ 171665 w 261461"/>
                <a:gd name="connsiteY11" fmla="*/ 131374 h 295751"/>
                <a:gd name="connsiteX12" fmla="*/ 148519 w 261461"/>
                <a:gd name="connsiteY12" fmla="*/ 150233 h 295751"/>
                <a:gd name="connsiteX13" fmla="*/ 129231 w 261461"/>
                <a:gd name="connsiteY13" fmla="*/ 200382 h 295751"/>
                <a:gd name="connsiteX14" fmla="*/ 128373 w 261461"/>
                <a:gd name="connsiteY14" fmla="*/ 202525 h 295751"/>
                <a:gd name="connsiteX15" fmla="*/ 46077 w 261461"/>
                <a:gd name="connsiteY15" fmla="*/ 268962 h 295751"/>
                <a:gd name="connsiteX16" fmla="*/ 69223 w 261461"/>
                <a:gd name="connsiteY16" fmla="*/ 294680 h 295751"/>
                <a:gd name="connsiteX17" fmla="*/ 259961 w 261461"/>
                <a:gd name="connsiteY17" fmla="*/ 141232 h 295751"/>
                <a:gd name="connsiteX18" fmla="*/ 247102 w 261461"/>
                <a:gd name="connsiteY18" fmla="*/ 112086 h 295751"/>
                <a:gd name="connsiteX19" fmla="*/ 247102 w 261461"/>
                <a:gd name="connsiteY19" fmla="*/ 112086 h 295751"/>
                <a:gd name="connsiteX20" fmla="*/ 205526 w 261461"/>
                <a:gd name="connsiteY20" fmla="*/ 3215 h 295751"/>
                <a:gd name="connsiteX21" fmla="*/ 56364 w 261461"/>
                <a:gd name="connsiteY21" fmla="*/ 123658 h 295751"/>
                <a:gd name="connsiteX22" fmla="*/ 26361 w 261461"/>
                <a:gd name="connsiteY22" fmla="*/ 198668 h 29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1461" h="295751">
                  <a:moveTo>
                    <a:pt x="26361" y="198668"/>
                  </a:moveTo>
                  <a:lnTo>
                    <a:pt x="24646" y="203811"/>
                  </a:lnTo>
                  <a:lnTo>
                    <a:pt x="3215" y="221385"/>
                  </a:lnTo>
                  <a:cubicBezTo>
                    <a:pt x="13073" y="232101"/>
                    <a:pt x="22932" y="243245"/>
                    <a:pt x="32790" y="253960"/>
                  </a:cubicBezTo>
                  <a:lnTo>
                    <a:pt x="112086" y="190095"/>
                  </a:lnTo>
                  <a:lnTo>
                    <a:pt x="131374" y="139946"/>
                  </a:lnTo>
                  <a:lnTo>
                    <a:pt x="132660" y="137374"/>
                  </a:lnTo>
                  <a:lnTo>
                    <a:pt x="156663" y="118086"/>
                  </a:lnTo>
                  <a:cubicBezTo>
                    <a:pt x="142947" y="99655"/>
                    <a:pt x="145518" y="73509"/>
                    <a:pt x="163521" y="58936"/>
                  </a:cubicBezTo>
                  <a:cubicBezTo>
                    <a:pt x="181951" y="43934"/>
                    <a:pt x="209384" y="47363"/>
                    <a:pt x="223957" y="65794"/>
                  </a:cubicBezTo>
                  <a:cubicBezTo>
                    <a:pt x="238958" y="84225"/>
                    <a:pt x="235958" y="111228"/>
                    <a:pt x="217527" y="126230"/>
                  </a:cubicBezTo>
                  <a:cubicBezTo>
                    <a:pt x="204240" y="136946"/>
                    <a:pt x="186238" y="138232"/>
                    <a:pt x="171665" y="131374"/>
                  </a:cubicBezTo>
                  <a:lnTo>
                    <a:pt x="148519" y="150233"/>
                  </a:lnTo>
                  <a:lnTo>
                    <a:pt x="129231" y="200382"/>
                  </a:lnTo>
                  <a:lnTo>
                    <a:pt x="128373" y="202525"/>
                  </a:lnTo>
                  <a:lnTo>
                    <a:pt x="46077" y="268962"/>
                  </a:lnTo>
                  <a:cubicBezTo>
                    <a:pt x="53793" y="277535"/>
                    <a:pt x="61508" y="286107"/>
                    <a:pt x="69223" y="294680"/>
                  </a:cubicBezTo>
                  <a:lnTo>
                    <a:pt x="259961" y="141232"/>
                  </a:lnTo>
                  <a:cubicBezTo>
                    <a:pt x="255246" y="131802"/>
                    <a:pt x="250960" y="121944"/>
                    <a:pt x="247102" y="112086"/>
                  </a:cubicBezTo>
                  <a:lnTo>
                    <a:pt x="247102" y="112086"/>
                  </a:lnTo>
                  <a:cubicBezTo>
                    <a:pt x="232958" y="75652"/>
                    <a:pt x="220099" y="39219"/>
                    <a:pt x="205526" y="3215"/>
                  </a:cubicBezTo>
                  <a:lnTo>
                    <a:pt x="56364" y="123658"/>
                  </a:lnTo>
                  <a:lnTo>
                    <a:pt x="26361" y="198668"/>
                  </a:lnTo>
                  <a:close/>
                </a:path>
              </a:pathLst>
            </a:custGeom>
            <a:grpFill/>
            <a:ln w="9525" cap="flat">
              <a:noFill/>
              <a:prstDash val="solid"/>
              <a:miter/>
            </a:ln>
          </p:spPr>
          <p:txBody>
            <a:bodyPr rtlCol="0" anchor="ctr"/>
            <a:lstStyle/>
            <a:p>
              <a:endParaRPr lang="en-US"/>
            </a:p>
          </p:txBody>
        </p:sp>
        <p:sp>
          <p:nvSpPr>
            <p:cNvPr id="265" name="Freeform: Shape 42">
              <a:extLst>
                <a:ext uri="{FF2B5EF4-FFF2-40B4-BE49-F238E27FC236}">
                  <a16:creationId xmlns:a16="http://schemas.microsoft.com/office/drawing/2014/main" id="{BC744C85-FE1D-4B45-814E-7F7495A73E0B}"/>
                </a:ext>
              </a:extLst>
            </p:cNvPr>
            <p:cNvSpPr/>
            <p:nvPr/>
          </p:nvSpPr>
          <p:spPr>
            <a:xfrm>
              <a:off x="6592562" y="3826121"/>
              <a:ext cx="154305" cy="424339"/>
            </a:xfrm>
            <a:custGeom>
              <a:avLst/>
              <a:gdLst>
                <a:gd name="connsiteX0" fmla="*/ 136088 w 154305"/>
                <a:gd name="connsiteY0" fmla="*/ 8358 h 424338"/>
                <a:gd name="connsiteX1" fmla="*/ 136088 w 154305"/>
                <a:gd name="connsiteY1" fmla="*/ 8358 h 424338"/>
                <a:gd name="connsiteX2" fmla="*/ 134374 w 154305"/>
                <a:gd name="connsiteY2" fmla="*/ 3215 h 424338"/>
                <a:gd name="connsiteX3" fmla="*/ 3215 w 154305"/>
                <a:gd name="connsiteY3" fmla="*/ 134374 h 424338"/>
                <a:gd name="connsiteX4" fmla="*/ 3215 w 154305"/>
                <a:gd name="connsiteY4" fmla="*/ 409980 h 424338"/>
                <a:gd name="connsiteX5" fmla="*/ 28504 w 154305"/>
                <a:gd name="connsiteY5" fmla="*/ 421553 h 424338"/>
                <a:gd name="connsiteX6" fmla="*/ 28504 w 154305"/>
                <a:gd name="connsiteY6" fmla="*/ 193524 h 424338"/>
                <a:gd name="connsiteX7" fmla="*/ 28504 w 154305"/>
                <a:gd name="connsiteY7" fmla="*/ 189667 h 424338"/>
                <a:gd name="connsiteX8" fmla="*/ 153662 w 154305"/>
                <a:gd name="connsiteY8" fmla="*/ 64508 h 424338"/>
                <a:gd name="connsiteX9" fmla="*/ 136088 w 154305"/>
                <a:gd name="connsiteY9" fmla="*/ 8358 h 42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305" h="424338">
                  <a:moveTo>
                    <a:pt x="136088" y="8358"/>
                  </a:moveTo>
                  <a:lnTo>
                    <a:pt x="136088" y="8358"/>
                  </a:lnTo>
                  <a:cubicBezTo>
                    <a:pt x="135660" y="6644"/>
                    <a:pt x="134803" y="4929"/>
                    <a:pt x="134374" y="3215"/>
                  </a:cubicBezTo>
                  <a:lnTo>
                    <a:pt x="3215" y="134374"/>
                  </a:lnTo>
                  <a:lnTo>
                    <a:pt x="3215" y="409980"/>
                  </a:lnTo>
                  <a:cubicBezTo>
                    <a:pt x="11787" y="413837"/>
                    <a:pt x="20360" y="417695"/>
                    <a:pt x="28504" y="421553"/>
                  </a:cubicBezTo>
                  <a:lnTo>
                    <a:pt x="28504" y="193524"/>
                  </a:lnTo>
                  <a:lnTo>
                    <a:pt x="28504" y="189667"/>
                  </a:lnTo>
                  <a:lnTo>
                    <a:pt x="153662" y="64508"/>
                  </a:lnTo>
                  <a:cubicBezTo>
                    <a:pt x="148090" y="45220"/>
                    <a:pt x="142089" y="26789"/>
                    <a:pt x="136088" y="8358"/>
                  </a:cubicBezTo>
                  <a:close/>
                </a:path>
              </a:pathLst>
            </a:custGeom>
            <a:grpFill/>
            <a:ln w="9525" cap="flat">
              <a:noFill/>
              <a:prstDash val="solid"/>
              <a:miter/>
            </a:ln>
          </p:spPr>
          <p:txBody>
            <a:bodyPr rtlCol="0" anchor="ctr"/>
            <a:lstStyle/>
            <a:p>
              <a:endParaRPr lang="en-US"/>
            </a:p>
          </p:txBody>
        </p:sp>
        <p:sp>
          <p:nvSpPr>
            <p:cNvPr id="266" name="Freeform: Shape 43">
              <a:extLst>
                <a:ext uri="{FF2B5EF4-FFF2-40B4-BE49-F238E27FC236}">
                  <a16:creationId xmlns:a16="http://schemas.microsoft.com/office/drawing/2014/main" id="{33F12356-CDB7-A844-AD43-96C61CE09B57}"/>
                </a:ext>
              </a:extLst>
            </p:cNvPr>
            <p:cNvSpPr/>
            <p:nvPr/>
          </p:nvSpPr>
          <p:spPr>
            <a:xfrm>
              <a:off x="6637139" y="3908417"/>
              <a:ext cx="124301" cy="355759"/>
            </a:xfrm>
            <a:custGeom>
              <a:avLst/>
              <a:gdLst>
                <a:gd name="connsiteX0" fmla="*/ 115515 w 124301"/>
                <a:gd name="connsiteY0" fmla="*/ 3215 h 355758"/>
                <a:gd name="connsiteX1" fmla="*/ 115515 w 124301"/>
                <a:gd name="connsiteY1" fmla="*/ 3215 h 355758"/>
                <a:gd name="connsiteX2" fmla="*/ 3215 w 124301"/>
                <a:gd name="connsiteY2" fmla="*/ 115514 h 355758"/>
                <a:gd name="connsiteX3" fmla="*/ 3215 w 124301"/>
                <a:gd name="connsiteY3" fmla="*/ 347401 h 355758"/>
                <a:gd name="connsiteX4" fmla="*/ 22503 w 124301"/>
                <a:gd name="connsiteY4" fmla="*/ 355545 h 355758"/>
                <a:gd name="connsiteX5" fmla="*/ 22503 w 124301"/>
                <a:gd name="connsiteY5" fmla="*/ 129231 h 355758"/>
                <a:gd name="connsiteX6" fmla="*/ 22074 w 124301"/>
                <a:gd name="connsiteY6" fmla="*/ 125373 h 355758"/>
                <a:gd name="connsiteX7" fmla="*/ 121944 w 124301"/>
                <a:gd name="connsiteY7" fmla="*/ 25503 h 355758"/>
                <a:gd name="connsiteX8" fmla="*/ 115515 w 124301"/>
                <a:gd name="connsiteY8" fmla="*/ 3215 h 35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01" h="355758">
                  <a:moveTo>
                    <a:pt x="115515" y="3215"/>
                  </a:moveTo>
                  <a:lnTo>
                    <a:pt x="115515" y="3215"/>
                  </a:lnTo>
                  <a:lnTo>
                    <a:pt x="3215" y="115514"/>
                  </a:lnTo>
                  <a:lnTo>
                    <a:pt x="3215" y="347401"/>
                  </a:lnTo>
                  <a:cubicBezTo>
                    <a:pt x="9644" y="349972"/>
                    <a:pt x="16073" y="352973"/>
                    <a:pt x="22503" y="355545"/>
                  </a:cubicBezTo>
                  <a:lnTo>
                    <a:pt x="22503" y="129231"/>
                  </a:lnTo>
                  <a:lnTo>
                    <a:pt x="22074" y="125373"/>
                  </a:lnTo>
                  <a:lnTo>
                    <a:pt x="121944" y="25503"/>
                  </a:lnTo>
                  <a:cubicBezTo>
                    <a:pt x="120229" y="17788"/>
                    <a:pt x="118086" y="10501"/>
                    <a:pt x="115515" y="3215"/>
                  </a:cubicBezTo>
                  <a:close/>
                </a:path>
              </a:pathLst>
            </a:custGeom>
            <a:grpFill/>
            <a:ln w="9525" cap="flat">
              <a:noFill/>
              <a:prstDash val="solid"/>
              <a:miter/>
            </a:ln>
          </p:spPr>
          <p:txBody>
            <a:bodyPr rtlCol="0" anchor="ctr"/>
            <a:lstStyle/>
            <a:p>
              <a:endParaRPr lang="en-US"/>
            </a:p>
          </p:txBody>
        </p:sp>
        <p:sp>
          <p:nvSpPr>
            <p:cNvPr id="267" name="Freeform: Shape 44">
              <a:extLst>
                <a:ext uri="{FF2B5EF4-FFF2-40B4-BE49-F238E27FC236}">
                  <a16:creationId xmlns:a16="http://schemas.microsoft.com/office/drawing/2014/main" id="{0BA3790F-D213-1444-9DD7-475940E4D2B4}"/>
                </a:ext>
              </a:extLst>
            </p:cNvPr>
            <p:cNvSpPr/>
            <p:nvPr/>
          </p:nvSpPr>
          <p:spPr>
            <a:xfrm>
              <a:off x="6496122" y="3624667"/>
              <a:ext cx="175736" cy="587216"/>
            </a:xfrm>
            <a:custGeom>
              <a:avLst/>
              <a:gdLst>
                <a:gd name="connsiteX0" fmla="*/ 172093 w 175736"/>
                <a:gd name="connsiteY0" fmla="*/ 47792 h 587216"/>
                <a:gd name="connsiteX1" fmla="*/ 172521 w 175736"/>
                <a:gd name="connsiteY1" fmla="*/ 43505 h 587216"/>
                <a:gd name="connsiteX2" fmla="*/ 172950 w 175736"/>
                <a:gd name="connsiteY2" fmla="*/ 43077 h 587216"/>
                <a:gd name="connsiteX3" fmla="*/ 156663 w 175736"/>
                <a:gd name="connsiteY3" fmla="*/ 3215 h 587216"/>
                <a:gd name="connsiteX4" fmla="*/ 122373 w 175736"/>
                <a:gd name="connsiteY4" fmla="*/ 37505 h 587216"/>
                <a:gd name="connsiteX5" fmla="*/ 122373 w 175736"/>
                <a:gd name="connsiteY5" fmla="*/ 178522 h 587216"/>
                <a:gd name="connsiteX6" fmla="*/ 122373 w 175736"/>
                <a:gd name="connsiteY6" fmla="*/ 182808 h 587216"/>
                <a:gd name="connsiteX7" fmla="*/ 3215 w 175736"/>
                <a:gd name="connsiteY7" fmla="*/ 301966 h 587216"/>
                <a:gd name="connsiteX8" fmla="*/ 3215 w 175736"/>
                <a:gd name="connsiteY8" fmla="*/ 565571 h 587216"/>
                <a:gd name="connsiteX9" fmla="*/ 42648 w 175736"/>
                <a:gd name="connsiteY9" fmla="*/ 584430 h 587216"/>
                <a:gd name="connsiteX10" fmla="*/ 42648 w 175736"/>
                <a:gd name="connsiteY10" fmla="*/ 328541 h 587216"/>
                <a:gd name="connsiteX11" fmla="*/ 42648 w 175736"/>
                <a:gd name="connsiteY11" fmla="*/ 324255 h 587216"/>
                <a:gd name="connsiteX12" fmla="*/ 172521 w 175736"/>
                <a:gd name="connsiteY12" fmla="*/ 194381 h 587216"/>
                <a:gd name="connsiteX13" fmla="*/ 172093 w 175736"/>
                <a:gd name="connsiteY13" fmla="*/ 47792 h 58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736" h="587216">
                  <a:moveTo>
                    <a:pt x="172093" y="47792"/>
                  </a:moveTo>
                  <a:lnTo>
                    <a:pt x="172521" y="43505"/>
                  </a:lnTo>
                  <a:lnTo>
                    <a:pt x="172950" y="43077"/>
                  </a:lnTo>
                  <a:cubicBezTo>
                    <a:pt x="167807" y="29789"/>
                    <a:pt x="162235" y="16502"/>
                    <a:pt x="156663" y="3215"/>
                  </a:cubicBezTo>
                  <a:lnTo>
                    <a:pt x="122373" y="37505"/>
                  </a:lnTo>
                  <a:lnTo>
                    <a:pt x="122373" y="178522"/>
                  </a:lnTo>
                  <a:lnTo>
                    <a:pt x="122373" y="182808"/>
                  </a:lnTo>
                  <a:lnTo>
                    <a:pt x="3215" y="301966"/>
                  </a:lnTo>
                  <a:lnTo>
                    <a:pt x="3215" y="565571"/>
                  </a:lnTo>
                  <a:cubicBezTo>
                    <a:pt x="16073" y="572000"/>
                    <a:pt x="29361" y="578429"/>
                    <a:pt x="42648" y="584430"/>
                  </a:cubicBezTo>
                  <a:lnTo>
                    <a:pt x="42648" y="328541"/>
                  </a:lnTo>
                  <a:lnTo>
                    <a:pt x="42648" y="324255"/>
                  </a:lnTo>
                  <a:lnTo>
                    <a:pt x="172521" y="194381"/>
                  </a:lnTo>
                  <a:lnTo>
                    <a:pt x="172093" y="47792"/>
                  </a:lnTo>
                  <a:close/>
                </a:path>
              </a:pathLst>
            </a:custGeom>
            <a:grpFill/>
            <a:ln w="9525" cap="flat">
              <a:noFill/>
              <a:prstDash val="solid"/>
              <a:miter/>
            </a:ln>
          </p:spPr>
          <p:txBody>
            <a:bodyPr rtlCol="0" anchor="ctr"/>
            <a:lstStyle/>
            <a:p>
              <a:endParaRPr lang="en-US"/>
            </a:p>
          </p:txBody>
        </p:sp>
        <p:sp>
          <p:nvSpPr>
            <p:cNvPr id="268" name="Freeform: Shape 45">
              <a:extLst>
                <a:ext uri="{FF2B5EF4-FFF2-40B4-BE49-F238E27FC236}">
                  <a16:creationId xmlns:a16="http://schemas.microsoft.com/office/drawing/2014/main" id="{013990B4-AC56-0141-9661-76A4F0D50A03}"/>
                </a:ext>
              </a:extLst>
            </p:cNvPr>
            <p:cNvSpPr/>
            <p:nvPr/>
          </p:nvSpPr>
          <p:spPr>
            <a:xfrm>
              <a:off x="7136916" y="2725412"/>
              <a:ext cx="210026" cy="184309"/>
            </a:xfrm>
            <a:custGeom>
              <a:avLst/>
              <a:gdLst>
                <a:gd name="connsiteX0" fmla="*/ 29361 w 210026"/>
                <a:gd name="connsiteY0" fmla="*/ 184094 h 184308"/>
                <a:gd name="connsiteX1" fmla="*/ 112086 w 210026"/>
                <a:gd name="connsiteY1" fmla="*/ 117658 h 184308"/>
                <a:gd name="connsiteX2" fmla="*/ 115943 w 210026"/>
                <a:gd name="connsiteY2" fmla="*/ 118086 h 184308"/>
                <a:gd name="connsiteX3" fmla="*/ 115943 w 210026"/>
                <a:gd name="connsiteY3" fmla="*/ 118086 h 184308"/>
                <a:gd name="connsiteX4" fmla="*/ 153662 w 210026"/>
                <a:gd name="connsiteY4" fmla="*/ 121944 h 184308"/>
                <a:gd name="connsiteX5" fmla="*/ 176808 w 210026"/>
                <a:gd name="connsiteY5" fmla="*/ 90226 h 184308"/>
                <a:gd name="connsiteX6" fmla="*/ 190953 w 210026"/>
                <a:gd name="connsiteY6" fmla="*/ 44791 h 184308"/>
                <a:gd name="connsiteX7" fmla="*/ 208098 w 210026"/>
                <a:gd name="connsiteY7" fmla="*/ 36648 h 184308"/>
                <a:gd name="connsiteX8" fmla="*/ 189667 w 210026"/>
                <a:gd name="connsiteY8" fmla="*/ 3215 h 184308"/>
                <a:gd name="connsiteX9" fmla="*/ 3215 w 210026"/>
                <a:gd name="connsiteY9" fmla="*/ 153662 h 184308"/>
                <a:gd name="connsiteX10" fmla="*/ 29361 w 210026"/>
                <a:gd name="connsiteY10" fmla="*/ 184094 h 18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026" h="184308">
                  <a:moveTo>
                    <a:pt x="29361" y="184094"/>
                  </a:moveTo>
                  <a:lnTo>
                    <a:pt x="112086" y="117658"/>
                  </a:lnTo>
                  <a:lnTo>
                    <a:pt x="115943" y="118086"/>
                  </a:lnTo>
                  <a:lnTo>
                    <a:pt x="115943" y="118086"/>
                  </a:lnTo>
                  <a:lnTo>
                    <a:pt x="153662" y="121944"/>
                  </a:lnTo>
                  <a:lnTo>
                    <a:pt x="176808" y="90226"/>
                  </a:lnTo>
                  <a:cubicBezTo>
                    <a:pt x="172093" y="73938"/>
                    <a:pt x="177237" y="56364"/>
                    <a:pt x="190953" y="44791"/>
                  </a:cubicBezTo>
                  <a:cubicBezTo>
                    <a:pt x="196096" y="40505"/>
                    <a:pt x="202097" y="37933"/>
                    <a:pt x="208098" y="36648"/>
                  </a:cubicBezTo>
                  <a:cubicBezTo>
                    <a:pt x="201668" y="25503"/>
                    <a:pt x="195667" y="14359"/>
                    <a:pt x="189667" y="3215"/>
                  </a:cubicBezTo>
                  <a:lnTo>
                    <a:pt x="3215" y="153662"/>
                  </a:lnTo>
                  <a:cubicBezTo>
                    <a:pt x="11787" y="163949"/>
                    <a:pt x="20360" y="173808"/>
                    <a:pt x="29361" y="184094"/>
                  </a:cubicBezTo>
                  <a:close/>
                </a:path>
              </a:pathLst>
            </a:custGeom>
            <a:grpFill/>
            <a:ln w="9525" cap="flat">
              <a:noFill/>
              <a:prstDash val="solid"/>
              <a:miter/>
            </a:ln>
          </p:spPr>
          <p:txBody>
            <a:bodyPr rtlCol="0" anchor="ctr"/>
            <a:lstStyle/>
            <a:p>
              <a:endParaRPr lang="en-US"/>
            </a:p>
          </p:txBody>
        </p:sp>
        <p:sp>
          <p:nvSpPr>
            <p:cNvPr id="269" name="Freeform: Shape 46">
              <a:extLst>
                <a:ext uri="{FF2B5EF4-FFF2-40B4-BE49-F238E27FC236}">
                  <a16:creationId xmlns:a16="http://schemas.microsoft.com/office/drawing/2014/main" id="{42ACD8CC-3B17-7240-BB25-7F38ACAE8380}"/>
                </a:ext>
              </a:extLst>
            </p:cNvPr>
            <p:cNvSpPr/>
            <p:nvPr/>
          </p:nvSpPr>
          <p:spPr>
            <a:xfrm>
              <a:off x="6915745" y="2392799"/>
              <a:ext cx="295751" cy="278606"/>
            </a:xfrm>
            <a:custGeom>
              <a:avLst/>
              <a:gdLst>
                <a:gd name="connsiteX0" fmla="*/ 24217 w 295751"/>
                <a:gd name="connsiteY0" fmla="*/ 267676 h 278606"/>
                <a:gd name="connsiteX1" fmla="*/ 32361 w 295751"/>
                <a:gd name="connsiteY1" fmla="*/ 276677 h 278606"/>
                <a:gd name="connsiteX2" fmla="*/ 293394 w 295751"/>
                <a:gd name="connsiteY2" fmla="*/ 66223 h 278606"/>
                <a:gd name="connsiteX3" fmla="*/ 258247 w 295751"/>
                <a:gd name="connsiteY3" fmla="*/ 3215 h 278606"/>
                <a:gd name="connsiteX4" fmla="*/ 258247 w 295751"/>
                <a:gd name="connsiteY4" fmla="*/ 3215 h 278606"/>
                <a:gd name="connsiteX5" fmla="*/ 254818 w 295751"/>
                <a:gd name="connsiteY5" fmla="*/ 33647 h 278606"/>
                <a:gd name="connsiteX6" fmla="*/ 253960 w 295751"/>
                <a:gd name="connsiteY6" fmla="*/ 41791 h 278606"/>
                <a:gd name="connsiteX7" fmla="*/ 3215 w 295751"/>
                <a:gd name="connsiteY7" fmla="*/ 244102 h 278606"/>
                <a:gd name="connsiteX8" fmla="*/ 24217 w 295751"/>
                <a:gd name="connsiteY8" fmla="*/ 267676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751" h="278606">
                  <a:moveTo>
                    <a:pt x="24217" y="267676"/>
                  </a:moveTo>
                  <a:cubicBezTo>
                    <a:pt x="26789" y="270677"/>
                    <a:pt x="29789" y="273677"/>
                    <a:pt x="32361" y="276677"/>
                  </a:cubicBezTo>
                  <a:lnTo>
                    <a:pt x="293394" y="66223"/>
                  </a:lnTo>
                  <a:cubicBezTo>
                    <a:pt x="281821" y="44791"/>
                    <a:pt x="270248" y="23789"/>
                    <a:pt x="258247" y="3215"/>
                  </a:cubicBezTo>
                  <a:lnTo>
                    <a:pt x="258247" y="3215"/>
                  </a:lnTo>
                  <a:lnTo>
                    <a:pt x="254818" y="33647"/>
                  </a:lnTo>
                  <a:lnTo>
                    <a:pt x="253960" y="41791"/>
                  </a:lnTo>
                  <a:lnTo>
                    <a:pt x="3215" y="244102"/>
                  </a:lnTo>
                  <a:cubicBezTo>
                    <a:pt x="10073" y="251817"/>
                    <a:pt x="17359" y="259961"/>
                    <a:pt x="24217" y="267676"/>
                  </a:cubicBezTo>
                  <a:close/>
                </a:path>
              </a:pathLst>
            </a:custGeom>
            <a:grpFill/>
            <a:ln w="9525" cap="flat">
              <a:noFill/>
              <a:prstDash val="solid"/>
              <a:miter/>
            </a:ln>
          </p:spPr>
          <p:txBody>
            <a:bodyPr rtlCol="0" anchor="ctr"/>
            <a:lstStyle/>
            <a:p>
              <a:endParaRPr lang="en-US"/>
            </a:p>
          </p:txBody>
        </p:sp>
        <p:sp>
          <p:nvSpPr>
            <p:cNvPr id="270" name="Freeform: Shape 47">
              <a:extLst>
                <a:ext uri="{FF2B5EF4-FFF2-40B4-BE49-F238E27FC236}">
                  <a16:creationId xmlns:a16="http://schemas.microsoft.com/office/drawing/2014/main" id="{9C8697D8-52C5-724B-AB42-D6751BFB3B46}"/>
                </a:ext>
              </a:extLst>
            </p:cNvPr>
            <p:cNvSpPr/>
            <p:nvPr/>
          </p:nvSpPr>
          <p:spPr>
            <a:xfrm>
              <a:off x="6819305" y="4280464"/>
              <a:ext cx="12859" cy="17145"/>
            </a:xfrm>
            <a:custGeom>
              <a:avLst/>
              <a:gdLst>
                <a:gd name="connsiteX0" fmla="*/ 9216 w 12858"/>
                <a:gd name="connsiteY0" fmla="*/ 3215 h 17145"/>
                <a:gd name="connsiteX1" fmla="*/ 9216 w 12858"/>
                <a:gd name="connsiteY1" fmla="*/ 3215 h 17145"/>
                <a:gd name="connsiteX2" fmla="*/ 3215 w 12858"/>
                <a:gd name="connsiteY2" fmla="*/ 9644 h 17145"/>
                <a:gd name="connsiteX3" fmla="*/ 10501 w 12858"/>
                <a:gd name="connsiteY3" fmla="*/ 14787 h 17145"/>
                <a:gd name="connsiteX4" fmla="*/ 9216 w 12858"/>
                <a:gd name="connsiteY4" fmla="*/ 3215 h 17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17145">
                  <a:moveTo>
                    <a:pt x="9216" y="3215"/>
                  </a:moveTo>
                  <a:lnTo>
                    <a:pt x="9216" y="3215"/>
                  </a:lnTo>
                  <a:cubicBezTo>
                    <a:pt x="7072" y="5358"/>
                    <a:pt x="5358" y="7501"/>
                    <a:pt x="3215" y="9644"/>
                  </a:cubicBezTo>
                  <a:lnTo>
                    <a:pt x="10501" y="14787"/>
                  </a:lnTo>
                  <a:cubicBezTo>
                    <a:pt x="10073" y="10930"/>
                    <a:pt x="9644" y="7072"/>
                    <a:pt x="9216" y="3215"/>
                  </a:cubicBezTo>
                  <a:close/>
                </a:path>
              </a:pathLst>
            </a:custGeom>
            <a:grpFill/>
            <a:ln w="9525" cap="flat">
              <a:noFill/>
              <a:prstDash val="solid"/>
              <a:miter/>
            </a:ln>
          </p:spPr>
          <p:txBody>
            <a:bodyPr rtlCol="0" anchor="ctr"/>
            <a:lstStyle/>
            <a:p>
              <a:endParaRPr lang="en-US"/>
            </a:p>
          </p:txBody>
        </p:sp>
        <p:sp>
          <p:nvSpPr>
            <p:cNvPr id="271" name="Freeform: Shape 48">
              <a:extLst>
                <a:ext uri="{FF2B5EF4-FFF2-40B4-BE49-F238E27FC236}">
                  <a16:creationId xmlns:a16="http://schemas.microsoft.com/office/drawing/2014/main" id="{0E81A303-09E1-2845-89D0-538E9960D73B}"/>
                </a:ext>
              </a:extLst>
            </p:cNvPr>
            <p:cNvSpPr/>
            <p:nvPr/>
          </p:nvSpPr>
          <p:spPr>
            <a:xfrm>
              <a:off x="6338387" y="2212348"/>
              <a:ext cx="64294" cy="55721"/>
            </a:xfrm>
            <a:custGeom>
              <a:avLst/>
              <a:gdLst>
                <a:gd name="connsiteX0" fmla="*/ 60222 w 64293"/>
                <a:gd name="connsiteY0" fmla="*/ 56364 h 55721"/>
                <a:gd name="connsiteX1" fmla="*/ 60651 w 64293"/>
                <a:gd name="connsiteY1" fmla="*/ 34075 h 55721"/>
                <a:gd name="connsiteX2" fmla="*/ 61508 w 64293"/>
                <a:gd name="connsiteY2" fmla="*/ 9644 h 55721"/>
                <a:gd name="connsiteX3" fmla="*/ 3215 w 64293"/>
                <a:gd name="connsiteY3" fmla="*/ 3215 h 55721"/>
                <a:gd name="connsiteX4" fmla="*/ 17788 w 64293"/>
                <a:gd name="connsiteY4" fmla="*/ 51649 h 55721"/>
                <a:gd name="connsiteX5" fmla="*/ 60222 w 64293"/>
                <a:gd name="connsiteY5" fmla="*/ 56364 h 5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3" h="55721">
                  <a:moveTo>
                    <a:pt x="60222" y="56364"/>
                  </a:moveTo>
                  <a:cubicBezTo>
                    <a:pt x="60222" y="49077"/>
                    <a:pt x="60651" y="41362"/>
                    <a:pt x="60651" y="34075"/>
                  </a:cubicBezTo>
                  <a:cubicBezTo>
                    <a:pt x="61079" y="25932"/>
                    <a:pt x="61079" y="17788"/>
                    <a:pt x="61508" y="9644"/>
                  </a:cubicBezTo>
                  <a:lnTo>
                    <a:pt x="3215" y="3215"/>
                  </a:lnTo>
                  <a:cubicBezTo>
                    <a:pt x="7930" y="19502"/>
                    <a:pt x="13073" y="35362"/>
                    <a:pt x="17788" y="51649"/>
                  </a:cubicBezTo>
                  <a:lnTo>
                    <a:pt x="60222" y="56364"/>
                  </a:lnTo>
                  <a:close/>
                </a:path>
              </a:pathLst>
            </a:custGeom>
            <a:grpFill/>
            <a:ln w="9525" cap="flat">
              <a:noFill/>
              <a:prstDash val="solid"/>
              <a:miter/>
            </a:ln>
          </p:spPr>
          <p:txBody>
            <a:bodyPr rtlCol="0" anchor="ctr"/>
            <a:lstStyle/>
            <a:p>
              <a:endParaRPr lang="en-US"/>
            </a:p>
          </p:txBody>
        </p:sp>
        <p:sp>
          <p:nvSpPr>
            <p:cNvPr id="272" name="Freeform: Shape 49">
              <a:extLst>
                <a:ext uri="{FF2B5EF4-FFF2-40B4-BE49-F238E27FC236}">
                  <a16:creationId xmlns:a16="http://schemas.microsoft.com/office/drawing/2014/main" id="{F4F07CAF-AB71-BA44-8418-D06872A69B01}"/>
                </a:ext>
              </a:extLst>
            </p:cNvPr>
            <p:cNvSpPr/>
            <p:nvPr/>
          </p:nvSpPr>
          <p:spPr>
            <a:xfrm>
              <a:off x="6814161" y="4192167"/>
              <a:ext cx="12859" cy="68580"/>
            </a:xfrm>
            <a:custGeom>
              <a:avLst/>
              <a:gdLst>
                <a:gd name="connsiteX0" fmla="*/ 3215 w 12858"/>
                <a:gd name="connsiteY0" fmla="*/ 69223 h 68580"/>
                <a:gd name="connsiteX1" fmla="*/ 3215 w 12858"/>
                <a:gd name="connsiteY1" fmla="*/ 69223 h 68580"/>
                <a:gd name="connsiteX2" fmla="*/ 10930 w 12858"/>
                <a:gd name="connsiteY2" fmla="*/ 60651 h 68580"/>
                <a:gd name="connsiteX3" fmla="*/ 3215 w 12858"/>
                <a:gd name="connsiteY3" fmla="*/ 3215 h 68580"/>
                <a:gd name="connsiteX4" fmla="*/ 3215 w 12858"/>
                <a:gd name="connsiteY4" fmla="*/ 69223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68580">
                  <a:moveTo>
                    <a:pt x="3215" y="69223"/>
                  </a:moveTo>
                  <a:lnTo>
                    <a:pt x="3215" y="69223"/>
                  </a:lnTo>
                  <a:cubicBezTo>
                    <a:pt x="5787" y="66223"/>
                    <a:pt x="8358" y="63651"/>
                    <a:pt x="10930" y="60651"/>
                  </a:cubicBezTo>
                  <a:cubicBezTo>
                    <a:pt x="8358" y="41362"/>
                    <a:pt x="5787" y="22074"/>
                    <a:pt x="3215" y="3215"/>
                  </a:cubicBezTo>
                  <a:lnTo>
                    <a:pt x="3215" y="69223"/>
                  </a:lnTo>
                  <a:close/>
                </a:path>
              </a:pathLst>
            </a:custGeom>
            <a:grpFill/>
            <a:ln w="9525" cap="flat">
              <a:noFill/>
              <a:prstDash val="solid"/>
              <a:miter/>
            </a:ln>
          </p:spPr>
          <p:txBody>
            <a:bodyPr rtlCol="0" anchor="ctr"/>
            <a:lstStyle/>
            <a:p>
              <a:endParaRPr lang="en-US"/>
            </a:p>
          </p:txBody>
        </p:sp>
        <p:sp>
          <p:nvSpPr>
            <p:cNvPr id="273" name="Freeform: Shape 50">
              <a:extLst>
                <a:ext uri="{FF2B5EF4-FFF2-40B4-BE49-F238E27FC236}">
                  <a16:creationId xmlns:a16="http://schemas.microsoft.com/office/drawing/2014/main" id="{C28BF7F7-20A8-A141-9FE6-6AAD3FF184C0}"/>
                </a:ext>
              </a:extLst>
            </p:cNvPr>
            <p:cNvSpPr/>
            <p:nvPr/>
          </p:nvSpPr>
          <p:spPr>
            <a:xfrm>
              <a:off x="6362390" y="2291644"/>
              <a:ext cx="38576" cy="90011"/>
            </a:xfrm>
            <a:custGeom>
              <a:avLst/>
              <a:gdLst>
                <a:gd name="connsiteX0" fmla="*/ 38362 w 38576"/>
                <a:gd name="connsiteY0" fmla="*/ 87225 h 90011"/>
                <a:gd name="connsiteX1" fmla="*/ 38362 w 38576"/>
                <a:gd name="connsiteY1" fmla="*/ 87225 h 90011"/>
                <a:gd name="connsiteX2" fmla="*/ 35790 w 38576"/>
                <a:gd name="connsiteY2" fmla="*/ 6644 h 90011"/>
                <a:gd name="connsiteX3" fmla="*/ 3215 w 38576"/>
                <a:gd name="connsiteY3" fmla="*/ 3215 h 90011"/>
                <a:gd name="connsiteX4" fmla="*/ 31504 w 38576"/>
                <a:gd name="connsiteY4" fmla="*/ 86368 h 90011"/>
                <a:gd name="connsiteX5" fmla="*/ 38362 w 38576"/>
                <a:gd name="connsiteY5" fmla="*/ 87225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90011">
                  <a:moveTo>
                    <a:pt x="38362" y="87225"/>
                  </a:moveTo>
                  <a:lnTo>
                    <a:pt x="38362" y="87225"/>
                  </a:lnTo>
                  <a:cubicBezTo>
                    <a:pt x="37076" y="60222"/>
                    <a:pt x="36219" y="33647"/>
                    <a:pt x="35790" y="6644"/>
                  </a:cubicBezTo>
                  <a:lnTo>
                    <a:pt x="3215" y="3215"/>
                  </a:lnTo>
                  <a:cubicBezTo>
                    <a:pt x="12216" y="31075"/>
                    <a:pt x="21646" y="58936"/>
                    <a:pt x="31504" y="86368"/>
                  </a:cubicBezTo>
                  <a:lnTo>
                    <a:pt x="38362" y="87225"/>
                  </a:lnTo>
                  <a:close/>
                </a:path>
              </a:pathLst>
            </a:custGeom>
            <a:grpFill/>
            <a:ln w="9525" cap="flat">
              <a:noFill/>
              <a:prstDash val="solid"/>
              <a:miter/>
            </a:ln>
          </p:spPr>
          <p:txBody>
            <a:bodyPr rtlCol="0" anchor="ctr"/>
            <a:lstStyle/>
            <a:p>
              <a:endParaRPr lang="en-US"/>
            </a:p>
          </p:txBody>
        </p:sp>
        <p:sp>
          <p:nvSpPr>
            <p:cNvPr id="274" name="Freeform: Shape 51">
              <a:extLst>
                <a:ext uri="{FF2B5EF4-FFF2-40B4-BE49-F238E27FC236}">
                  <a16:creationId xmlns:a16="http://schemas.microsoft.com/office/drawing/2014/main" id="{255A09BD-232B-5949-80B9-FFF3A633DF46}"/>
                </a:ext>
              </a:extLst>
            </p:cNvPr>
            <p:cNvSpPr/>
            <p:nvPr/>
          </p:nvSpPr>
          <p:spPr>
            <a:xfrm>
              <a:off x="6814161" y="4318611"/>
              <a:ext cx="8573" cy="8573"/>
            </a:xfrm>
            <a:custGeom>
              <a:avLst/>
              <a:gdLst>
                <a:gd name="connsiteX0" fmla="*/ 3215 w 8572"/>
                <a:gd name="connsiteY0" fmla="*/ 5358 h 8572"/>
                <a:gd name="connsiteX1" fmla="*/ 8358 w 8572"/>
                <a:gd name="connsiteY1" fmla="*/ 7072 h 8572"/>
                <a:gd name="connsiteX2" fmla="*/ 3215 w 8572"/>
                <a:gd name="connsiteY2" fmla="*/ 3215 h 8572"/>
                <a:gd name="connsiteX3" fmla="*/ 3215 w 8572"/>
                <a:gd name="connsiteY3" fmla="*/ 5358 h 8572"/>
              </a:gdLst>
              <a:ahLst/>
              <a:cxnLst>
                <a:cxn ang="0">
                  <a:pos x="connsiteX0" y="connsiteY0"/>
                </a:cxn>
                <a:cxn ang="0">
                  <a:pos x="connsiteX1" y="connsiteY1"/>
                </a:cxn>
                <a:cxn ang="0">
                  <a:pos x="connsiteX2" y="connsiteY2"/>
                </a:cxn>
                <a:cxn ang="0">
                  <a:pos x="connsiteX3" y="connsiteY3"/>
                </a:cxn>
              </a:cxnLst>
              <a:rect l="l" t="t" r="r" b="b"/>
              <a:pathLst>
                <a:path w="8572" h="8572">
                  <a:moveTo>
                    <a:pt x="3215" y="5358"/>
                  </a:moveTo>
                  <a:cubicBezTo>
                    <a:pt x="4929" y="5787"/>
                    <a:pt x="6644" y="6644"/>
                    <a:pt x="8358" y="7072"/>
                  </a:cubicBezTo>
                  <a:lnTo>
                    <a:pt x="3215" y="3215"/>
                  </a:lnTo>
                  <a:lnTo>
                    <a:pt x="3215" y="5358"/>
                  </a:lnTo>
                  <a:close/>
                </a:path>
              </a:pathLst>
            </a:custGeom>
            <a:grpFill/>
            <a:ln w="9525" cap="flat">
              <a:noFill/>
              <a:prstDash val="solid"/>
              <a:miter/>
            </a:ln>
          </p:spPr>
          <p:txBody>
            <a:bodyPr rtlCol="0" anchor="ctr"/>
            <a:lstStyle/>
            <a:p>
              <a:endParaRPr lang="en-US"/>
            </a:p>
          </p:txBody>
        </p:sp>
        <p:sp>
          <p:nvSpPr>
            <p:cNvPr id="275" name="Freeform: Shape 52">
              <a:extLst>
                <a:ext uri="{FF2B5EF4-FFF2-40B4-BE49-F238E27FC236}">
                  <a16:creationId xmlns:a16="http://schemas.microsoft.com/office/drawing/2014/main" id="{9EE812C3-E29E-DD4E-98DD-B92075B52273}"/>
                </a:ext>
              </a:extLst>
            </p:cNvPr>
            <p:cNvSpPr/>
            <p:nvPr/>
          </p:nvSpPr>
          <p:spPr>
            <a:xfrm>
              <a:off x="6554843" y="3714250"/>
              <a:ext cx="167164" cy="514350"/>
            </a:xfrm>
            <a:custGeom>
              <a:avLst/>
              <a:gdLst>
                <a:gd name="connsiteX0" fmla="*/ 21217 w 167163"/>
                <a:gd name="connsiteY0" fmla="*/ 241530 h 514350"/>
                <a:gd name="connsiteX1" fmla="*/ 21217 w 167163"/>
                <a:gd name="connsiteY1" fmla="*/ 241530 h 514350"/>
                <a:gd name="connsiteX2" fmla="*/ 21217 w 167163"/>
                <a:gd name="connsiteY2" fmla="*/ 237673 h 514350"/>
                <a:gd name="connsiteX3" fmla="*/ 164806 w 167163"/>
                <a:gd name="connsiteY3" fmla="*/ 94083 h 514350"/>
                <a:gd name="connsiteX4" fmla="*/ 132660 w 167163"/>
                <a:gd name="connsiteY4" fmla="*/ 3215 h 514350"/>
                <a:gd name="connsiteX5" fmla="*/ 132660 w 167163"/>
                <a:gd name="connsiteY5" fmla="*/ 109942 h 514350"/>
                <a:gd name="connsiteX6" fmla="*/ 132660 w 167163"/>
                <a:gd name="connsiteY6" fmla="*/ 113800 h 514350"/>
                <a:gd name="connsiteX7" fmla="*/ 3215 w 167163"/>
                <a:gd name="connsiteY7" fmla="*/ 243245 h 514350"/>
                <a:gd name="connsiteX8" fmla="*/ 3215 w 167163"/>
                <a:gd name="connsiteY8" fmla="*/ 504277 h 514350"/>
                <a:gd name="connsiteX9" fmla="*/ 20788 w 167163"/>
                <a:gd name="connsiteY9" fmla="*/ 512850 h 514350"/>
                <a:gd name="connsiteX10" fmla="*/ 20788 w 167163"/>
                <a:gd name="connsiteY10" fmla="*/ 24153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163" h="514350">
                  <a:moveTo>
                    <a:pt x="21217" y="241530"/>
                  </a:moveTo>
                  <a:lnTo>
                    <a:pt x="21217" y="241530"/>
                  </a:lnTo>
                  <a:lnTo>
                    <a:pt x="21217" y="237673"/>
                  </a:lnTo>
                  <a:lnTo>
                    <a:pt x="164806" y="94083"/>
                  </a:lnTo>
                  <a:cubicBezTo>
                    <a:pt x="154519" y="63651"/>
                    <a:pt x="143804" y="33218"/>
                    <a:pt x="132660" y="3215"/>
                  </a:cubicBezTo>
                  <a:lnTo>
                    <a:pt x="132660" y="109942"/>
                  </a:lnTo>
                  <a:lnTo>
                    <a:pt x="132660" y="113800"/>
                  </a:lnTo>
                  <a:lnTo>
                    <a:pt x="3215" y="243245"/>
                  </a:lnTo>
                  <a:lnTo>
                    <a:pt x="3215" y="504277"/>
                  </a:lnTo>
                  <a:cubicBezTo>
                    <a:pt x="9216" y="506849"/>
                    <a:pt x="15216" y="509850"/>
                    <a:pt x="20788" y="512850"/>
                  </a:cubicBezTo>
                  <a:lnTo>
                    <a:pt x="20788" y="241530"/>
                  </a:lnTo>
                  <a:close/>
                </a:path>
              </a:pathLst>
            </a:custGeom>
            <a:grpFill/>
            <a:ln w="9525" cap="flat">
              <a:noFill/>
              <a:prstDash val="solid"/>
              <a:miter/>
            </a:ln>
          </p:spPr>
          <p:txBody>
            <a:bodyPr rtlCol="0" anchor="ctr"/>
            <a:lstStyle/>
            <a:p>
              <a:endParaRPr lang="en-US"/>
            </a:p>
          </p:txBody>
        </p:sp>
        <p:sp>
          <p:nvSpPr>
            <p:cNvPr id="276" name="Freeform: Shape 53">
              <a:extLst>
                <a:ext uri="{FF2B5EF4-FFF2-40B4-BE49-F238E27FC236}">
                  <a16:creationId xmlns:a16="http://schemas.microsoft.com/office/drawing/2014/main" id="{E10ABC66-037D-6F46-8D9B-222B95B5AA61}"/>
                </a:ext>
              </a:extLst>
            </p:cNvPr>
            <p:cNvSpPr/>
            <p:nvPr/>
          </p:nvSpPr>
          <p:spPr>
            <a:xfrm>
              <a:off x="6783300" y="4332327"/>
              <a:ext cx="55721" cy="38576"/>
            </a:xfrm>
            <a:custGeom>
              <a:avLst/>
              <a:gdLst>
                <a:gd name="connsiteX0" fmla="*/ 52935 w 55721"/>
                <a:gd name="connsiteY0" fmla="*/ 38362 h 38576"/>
                <a:gd name="connsiteX1" fmla="*/ 52078 w 55721"/>
                <a:gd name="connsiteY1" fmla="*/ 20360 h 38576"/>
                <a:gd name="connsiteX2" fmla="*/ 3215 w 55721"/>
                <a:gd name="connsiteY2" fmla="*/ 3215 h 38576"/>
                <a:gd name="connsiteX3" fmla="*/ 52935 w 55721"/>
                <a:gd name="connsiteY3" fmla="*/ 38362 h 38576"/>
              </a:gdLst>
              <a:ahLst/>
              <a:cxnLst>
                <a:cxn ang="0">
                  <a:pos x="connsiteX0" y="connsiteY0"/>
                </a:cxn>
                <a:cxn ang="0">
                  <a:pos x="connsiteX1" y="connsiteY1"/>
                </a:cxn>
                <a:cxn ang="0">
                  <a:pos x="connsiteX2" y="connsiteY2"/>
                </a:cxn>
                <a:cxn ang="0">
                  <a:pos x="connsiteX3" y="connsiteY3"/>
                </a:cxn>
              </a:cxnLst>
              <a:rect l="l" t="t" r="r" b="b"/>
              <a:pathLst>
                <a:path w="55721" h="38576">
                  <a:moveTo>
                    <a:pt x="52935" y="38362"/>
                  </a:moveTo>
                  <a:cubicBezTo>
                    <a:pt x="52935" y="32361"/>
                    <a:pt x="52507" y="26361"/>
                    <a:pt x="52078" y="20360"/>
                  </a:cubicBezTo>
                  <a:cubicBezTo>
                    <a:pt x="35790" y="14788"/>
                    <a:pt x="19503" y="9216"/>
                    <a:pt x="3215" y="3215"/>
                  </a:cubicBezTo>
                  <a:lnTo>
                    <a:pt x="52935" y="38362"/>
                  </a:lnTo>
                  <a:close/>
                </a:path>
              </a:pathLst>
            </a:custGeom>
            <a:grpFill/>
            <a:ln w="9525" cap="flat">
              <a:noFill/>
              <a:prstDash val="solid"/>
              <a:miter/>
            </a:ln>
          </p:spPr>
          <p:txBody>
            <a:bodyPr rtlCol="0" anchor="ctr"/>
            <a:lstStyle/>
            <a:p>
              <a:endParaRPr lang="en-US"/>
            </a:p>
          </p:txBody>
        </p:sp>
        <p:sp>
          <p:nvSpPr>
            <p:cNvPr id="277" name="Freeform: Shape 54">
              <a:extLst>
                <a:ext uri="{FF2B5EF4-FFF2-40B4-BE49-F238E27FC236}">
                  <a16:creationId xmlns:a16="http://schemas.microsoft.com/office/drawing/2014/main" id="{6C5BE627-A90A-A041-8A07-46EEE33C75A5}"/>
                </a:ext>
              </a:extLst>
            </p:cNvPr>
            <p:cNvSpPr/>
            <p:nvPr/>
          </p:nvSpPr>
          <p:spPr>
            <a:xfrm>
              <a:off x="6560415" y="3424499"/>
              <a:ext cx="8573" cy="12859"/>
            </a:xfrm>
            <a:custGeom>
              <a:avLst/>
              <a:gdLst>
                <a:gd name="connsiteX0" fmla="*/ 3215 w 8572"/>
                <a:gd name="connsiteY0" fmla="*/ 7072 h 12858"/>
                <a:gd name="connsiteX1" fmla="*/ 6644 w 8572"/>
                <a:gd name="connsiteY1" fmla="*/ 10501 h 12858"/>
                <a:gd name="connsiteX2" fmla="*/ 3215 w 8572"/>
                <a:gd name="connsiteY2" fmla="*/ 3215 h 12858"/>
                <a:gd name="connsiteX3" fmla="*/ 3215 w 8572"/>
                <a:gd name="connsiteY3" fmla="*/ 7072 h 12858"/>
              </a:gdLst>
              <a:ahLst/>
              <a:cxnLst>
                <a:cxn ang="0">
                  <a:pos x="connsiteX0" y="connsiteY0"/>
                </a:cxn>
                <a:cxn ang="0">
                  <a:pos x="connsiteX1" y="connsiteY1"/>
                </a:cxn>
                <a:cxn ang="0">
                  <a:pos x="connsiteX2" y="connsiteY2"/>
                </a:cxn>
                <a:cxn ang="0">
                  <a:pos x="connsiteX3" y="connsiteY3"/>
                </a:cxn>
              </a:cxnLst>
              <a:rect l="l" t="t" r="r" b="b"/>
              <a:pathLst>
                <a:path w="8572" h="12858">
                  <a:moveTo>
                    <a:pt x="3215" y="7072"/>
                  </a:moveTo>
                  <a:lnTo>
                    <a:pt x="6644" y="10501"/>
                  </a:lnTo>
                  <a:cubicBezTo>
                    <a:pt x="5358" y="7929"/>
                    <a:pt x="4072" y="5358"/>
                    <a:pt x="3215" y="3215"/>
                  </a:cubicBezTo>
                  <a:lnTo>
                    <a:pt x="3215" y="7072"/>
                  </a:lnTo>
                  <a:close/>
                </a:path>
              </a:pathLst>
            </a:custGeom>
            <a:grpFill/>
            <a:ln w="9525" cap="flat">
              <a:noFill/>
              <a:prstDash val="solid"/>
              <a:miter/>
            </a:ln>
          </p:spPr>
          <p:txBody>
            <a:bodyPr rtlCol="0" anchor="ctr"/>
            <a:lstStyle/>
            <a:p>
              <a:endParaRPr lang="en-US"/>
            </a:p>
          </p:txBody>
        </p:sp>
        <p:sp>
          <p:nvSpPr>
            <p:cNvPr id="278" name="Freeform: Shape 55">
              <a:extLst>
                <a:ext uri="{FF2B5EF4-FFF2-40B4-BE49-F238E27FC236}">
                  <a16:creationId xmlns:a16="http://schemas.microsoft.com/office/drawing/2014/main" id="{826C27CD-7C7E-3041-BB43-AAFC104A8DE5}"/>
                </a:ext>
              </a:extLst>
            </p:cNvPr>
            <p:cNvSpPr/>
            <p:nvPr/>
          </p:nvSpPr>
          <p:spPr>
            <a:xfrm>
              <a:off x="7492246" y="3442073"/>
              <a:ext cx="145733" cy="210026"/>
            </a:xfrm>
            <a:custGeom>
              <a:avLst/>
              <a:gdLst>
                <a:gd name="connsiteX0" fmla="*/ 13930 w 145732"/>
                <a:gd name="connsiteY0" fmla="*/ 108657 h 210026"/>
                <a:gd name="connsiteX1" fmla="*/ 3215 w 145732"/>
                <a:gd name="connsiteY1" fmla="*/ 209383 h 210026"/>
                <a:gd name="connsiteX2" fmla="*/ 28932 w 145732"/>
                <a:gd name="connsiteY2" fmla="*/ 181523 h 210026"/>
                <a:gd name="connsiteX3" fmla="*/ 36219 w 145732"/>
                <a:gd name="connsiteY3" fmla="*/ 113800 h 210026"/>
                <a:gd name="connsiteX4" fmla="*/ 36219 w 145732"/>
                <a:gd name="connsiteY4" fmla="*/ 109514 h 210026"/>
                <a:gd name="connsiteX5" fmla="*/ 36219 w 145732"/>
                <a:gd name="connsiteY5" fmla="*/ 109514 h 210026"/>
                <a:gd name="connsiteX6" fmla="*/ 146376 w 145732"/>
                <a:gd name="connsiteY6" fmla="*/ 20788 h 210026"/>
                <a:gd name="connsiteX7" fmla="*/ 141661 w 145732"/>
                <a:gd name="connsiteY7" fmla="*/ 3215 h 210026"/>
                <a:gd name="connsiteX8" fmla="*/ 17788 w 145732"/>
                <a:gd name="connsiteY8" fmla="*/ 103084 h 210026"/>
                <a:gd name="connsiteX9" fmla="*/ 13930 w 145732"/>
                <a:gd name="connsiteY9" fmla="*/ 108657 h 2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732" h="210026">
                  <a:moveTo>
                    <a:pt x="13930" y="108657"/>
                  </a:moveTo>
                  <a:lnTo>
                    <a:pt x="3215" y="209383"/>
                  </a:lnTo>
                  <a:cubicBezTo>
                    <a:pt x="12644" y="200811"/>
                    <a:pt x="19502" y="189667"/>
                    <a:pt x="28932" y="181523"/>
                  </a:cubicBezTo>
                  <a:lnTo>
                    <a:pt x="36219" y="113800"/>
                  </a:lnTo>
                  <a:lnTo>
                    <a:pt x="36219" y="109514"/>
                  </a:lnTo>
                  <a:lnTo>
                    <a:pt x="36219" y="109514"/>
                  </a:lnTo>
                  <a:lnTo>
                    <a:pt x="146376" y="20788"/>
                  </a:lnTo>
                  <a:cubicBezTo>
                    <a:pt x="144661" y="14788"/>
                    <a:pt x="143375" y="9216"/>
                    <a:pt x="141661" y="3215"/>
                  </a:cubicBezTo>
                  <a:lnTo>
                    <a:pt x="17788" y="103084"/>
                  </a:lnTo>
                  <a:cubicBezTo>
                    <a:pt x="16502" y="105227"/>
                    <a:pt x="15216" y="106942"/>
                    <a:pt x="13930" y="108657"/>
                  </a:cubicBezTo>
                  <a:close/>
                </a:path>
              </a:pathLst>
            </a:custGeom>
            <a:grpFill/>
            <a:ln w="9525" cap="flat">
              <a:noFill/>
              <a:prstDash val="solid"/>
              <a:miter/>
            </a:ln>
          </p:spPr>
          <p:txBody>
            <a:bodyPr rtlCol="0" anchor="ctr"/>
            <a:lstStyle/>
            <a:p>
              <a:endParaRPr lang="en-US"/>
            </a:p>
          </p:txBody>
        </p:sp>
        <p:sp>
          <p:nvSpPr>
            <p:cNvPr id="279" name="Freeform: Shape 56">
              <a:extLst>
                <a:ext uri="{FF2B5EF4-FFF2-40B4-BE49-F238E27FC236}">
                  <a16:creationId xmlns:a16="http://schemas.microsoft.com/office/drawing/2014/main" id="{E304FF64-2B0A-944E-B50E-033D63B2F43F}"/>
                </a:ext>
              </a:extLst>
            </p:cNvPr>
            <p:cNvSpPr/>
            <p:nvPr/>
          </p:nvSpPr>
          <p:spPr>
            <a:xfrm>
              <a:off x="7343942" y="3174611"/>
              <a:ext cx="235744" cy="394335"/>
            </a:xfrm>
            <a:custGeom>
              <a:avLst/>
              <a:gdLst>
                <a:gd name="connsiteX0" fmla="*/ 66222 w 235743"/>
                <a:gd name="connsiteY0" fmla="*/ 310539 h 394335"/>
                <a:gd name="connsiteX1" fmla="*/ 49077 w 235743"/>
                <a:gd name="connsiteY1" fmla="*/ 322540 h 394335"/>
                <a:gd name="connsiteX2" fmla="*/ 4929 w 235743"/>
                <a:gd name="connsiteY2" fmla="*/ 358116 h 394335"/>
                <a:gd name="connsiteX3" fmla="*/ 3643 w 235743"/>
                <a:gd name="connsiteY3" fmla="*/ 378262 h 394335"/>
                <a:gd name="connsiteX4" fmla="*/ 18217 w 235743"/>
                <a:gd name="connsiteY4" fmla="*/ 392835 h 394335"/>
                <a:gd name="connsiteX5" fmla="*/ 29789 w 235743"/>
                <a:gd name="connsiteY5" fmla="*/ 390692 h 394335"/>
                <a:gd name="connsiteX6" fmla="*/ 30647 w 235743"/>
                <a:gd name="connsiteY6" fmla="*/ 383405 h 394335"/>
                <a:gd name="connsiteX7" fmla="*/ 215384 w 235743"/>
                <a:gd name="connsiteY7" fmla="*/ 234672 h 394335"/>
                <a:gd name="connsiteX8" fmla="*/ 215384 w 235743"/>
                <a:gd name="connsiteY8" fmla="*/ 234672 h 394335"/>
                <a:gd name="connsiteX9" fmla="*/ 233386 w 235743"/>
                <a:gd name="connsiteY9" fmla="*/ 66222 h 394335"/>
                <a:gd name="connsiteX10" fmla="*/ 214527 w 235743"/>
                <a:gd name="connsiteY10" fmla="*/ 40076 h 394335"/>
                <a:gd name="connsiteX11" fmla="*/ 196953 w 235743"/>
                <a:gd name="connsiteY11" fmla="*/ 3215 h 394335"/>
                <a:gd name="connsiteX12" fmla="*/ 174236 w 235743"/>
                <a:gd name="connsiteY12" fmla="*/ 213669 h 394335"/>
                <a:gd name="connsiteX13" fmla="*/ 173379 w 235743"/>
                <a:gd name="connsiteY13" fmla="*/ 221813 h 394335"/>
                <a:gd name="connsiteX14" fmla="*/ 72652 w 235743"/>
                <a:gd name="connsiteY14" fmla="*/ 302823 h 394335"/>
                <a:gd name="connsiteX15" fmla="*/ 66222 w 235743"/>
                <a:gd name="connsiteY15" fmla="*/ 310539 h 39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5743" h="394335">
                  <a:moveTo>
                    <a:pt x="66222" y="310539"/>
                  </a:moveTo>
                  <a:cubicBezTo>
                    <a:pt x="61079" y="315254"/>
                    <a:pt x="55078" y="319111"/>
                    <a:pt x="49077" y="322540"/>
                  </a:cubicBezTo>
                  <a:lnTo>
                    <a:pt x="4929" y="358116"/>
                  </a:lnTo>
                  <a:cubicBezTo>
                    <a:pt x="3215" y="364546"/>
                    <a:pt x="2786" y="371832"/>
                    <a:pt x="3643" y="378262"/>
                  </a:cubicBezTo>
                  <a:cubicBezTo>
                    <a:pt x="4501" y="385548"/>
                    <a:pt x="10073" y="393692"/>
                    <a:pt x="18217" y="392835"/>
                  </a:cubicBezTo>
                  <a:cubicBezTo>
                    <a:pt x="22074" y="392406"/>
                    <a:pt x="25932" y="391549"/>
                    <a:pt x="29789" y="390692"/>
                  </a:cubicBezTo>
                  <a:lnTo>
                    <a:pt x="30647" y="383405"/>
                  </a:lnTo>
                  <a:lnTo>
                    <a:pt x="215384" y="234672"/>
                  </a:lnTo>
                  <a:lnTo>
                    <a:pt x="215384" y="234672"/>
                  </a:lnTo>
                  <a:lnTo>
                    <a:pt x="233386" y="66222"/>
                  </a:lnTo>
                  <a:cubicBezTo>
                    <a:pt x="226100" y="58079"/>
                    <a:pt x="218813" y="50363"/>
                    <a:pt x="214527" y="40076"/>
                  </a:cubicBezTo>
                  <a:cubicBezTo>
                    <a:pt x="208526" y="27646"/>
                    <a:pt x="202954" y="15645"/>
                    <a:pt x="196953" y="3215"/>
                  </a:cubicBezTo>
                  <a:lnTo>
                    <a:pt x="174236" y="213669"/>
                  </a:lnTo>
                  <a:lnTo>
                    <a:pt x="173379" y="221813"/>
                  </a:lnTo>
                  <a:lnTo>
                    <a:pt x="72652" y="302823"/>
                  </a:lnTo>
                  <a:cubicBezTo>
                    <a:pt x="70509" y="305824"/>
                    <a:pt x="68366" y="308395"/>
                    <a:pt x="66222" y="310539"/>
                  </a:cubicBezTo>
                  <a:close/>
                </a:path>
              </a:pathLst>
            </a:custGeom>
            <a:grpFill/>
            <a:ln w="9525" cap="flat">
              <a:noFill/>
              <a:prstDash val="solid"/>
              <a:miter/>
            </a:ln>
          </p:spPr>
          <p:txBody>
            <a:bodyPr rtlCol="0" anchor="ctr"/>
            <a:lstStyle/>
            <a:p>
              <a:endParaRPr lang="en-US"/>
            </a:p>
          </p:txBody>
        </p:sp>
        <p:sp>
          <p:nvSpPr>
            <p:cNvPr id="280" name="Freeform: Shape 57">
              <a:extLst>
                <a:ext uri="{FF2B5EF4-FFF2-40B4-BE49-F238E27FC236}">
                  <a16:creationId xmlns:a16="http://schemas.microsoft.com/office/drawing/2014/main" id="{907BFE3C-F976-694D-93AE-0412E8CE9241}"/>
                </a:ext>
              </a:extLst>
            </p:cNvPr>
            <p:cNvSpPr/>
            <p:nvPr/>
          </p:nvSpPr>
          <p:spPr>
            <a:xfrm>
              <a:off x="7538538" y="3481935"/>
              <a:ext cx="102870" cy="132874"/>
            </a:xfrm>
            <a:custGeom>
              <a:avLst/>
              <a:gdLst>
                <a:gd name="connsiteX0" fmla="*/ 3215 w 102870"/>
                <a:gd name="connsiteY0" fmla="*/ 133088 h 132873"/>
                <a:gd name="connsiteX1" fmla="*/ 16073 w 102870"/>
                <a:gd name="connsiteY1" fmla="*/ 130516 h 132873"/>
                <a:gd name="connsiteX2" fmla="*/ 18645 w 102870"/>
                <a:gd name="connsiteY2" fmla="*/ 107371 h 132873"/>
                <a:gd name="connsiteX3" fmla="*/ 19074 w 102870"/>
                <a:gd name="connsiteY3" fmla="*/ 103513 h 132873"/>
                <a:gd name="connsiteX4" fmla="*/ 19074 w 102870"/>
                <a:gd name="connsiteY4" fmla="*/ 103513 h 132873"/>
                <a:gd name="connsiteX5" fmla="*/ 70937 w 102870"/>
                <a:gd name="connsiteY5" fmla="*/ 61508 h 132873"/>
                <a:gd name="connsiteX6" fmla="*/ 95369 w 102870"/>
                <a:gd name="connsiteY6" fmla="*/ 16502 h 132873"/>
                <a:gd name="connsiteX7" fmla="*/ 103513 w 102870"/>
                <a:gd name="connsiteY7" fmla="*/ 3215 h 132873"/>
                <a:gd name="connsiteX8" fmla="*/ 8787 w 102870"/>
                <a:gd name="connsiteY8" fmla="*/ 79939 h 132873"/>
                <a:gd name="connsiteX9" fmla="*/ 3215 w 102870"/>
                <a:gd name="connsiteY9" fmla="*/ 133088 h 13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870" h="132873">
                  <a:moveTo>
                    <a:pt x="3215" y="133088"/>
                  </a:moveTo>
                  <a:cubicBezTo>
                    <a:pt x="7501" y="132231"/>
                    <a:pt x="12216" y="131802"/>
                    <a:pt x="16073" y="130516"/>
                  </a:cubicBezTo>
                  <a:lnTo>
                    <a:pt x="18645" y="107371"/>
                  </a:lnTo>
                  <a:lnTo>
                    <a:pt x="19074" y="103513"/>
                  </a:lnTo>
                  <a:lnTo>
                    <a:pt x="19074" y="103513"/>
                  </a:lnTo>
                  <a:lnTo>
                    <a:pt x="70937" y="61508"/>
                  </a:lnTo>
                  <a:cubicBezTo>
                    <a:pt x="79510" y="46934"/>
                    <a:pt x="87654" y="31504"/>
                    <a:pt x="95369" y="16502"/>
                  </a:cubicBezTo>
                  <a:cubicBezTo>
                    <a:pt x="97512" y="11787"/>
                    <a:pt x="101798" y="7930"/>
                    <a:pt x="103513" y="3215"/>
                  </a:cubicBezTo>
                  <a:lnTo>
                    <a:pt x="8787" y="79939"/>
                  </a:lnTo>
                  <a:lnTo>
                    <a:pt x="3215" y="133088"/>
                  </a:lnTo>
                  <a:close/>
                </a:path>
              </a:pathLst>
            </a:custGeom>
            <a:grpFill/>
            <a:ln w="9525" cap="flat">
              <a:noFill/>
              <a:prstDash val="solid"/>
              <a:miter/>
            </a:ln>
          </p:spPr>
          <p:txBody>
            <a:bodyPr rtlCol="0" anchor="ctr"/>
            <a:lstStyle/>
            <a:p>
              <a:endParaRPr lang="en-US"/>
            </a:p>
          </p:txBody>
        </p:sp>
        <p:sp>
          <p:nvSpPr>
            <p:cNvPr id="281" name="Freeform: Shape 58">
              <a:extLst>
                <a:ext uri="{FF2B5EF4-FFF2-40B4-BE49-F238E27FC236}">
                  <a16:creationId xmlns:a16="http://schemas.microsoft.com/office/drawing/2014/main" id="{384FA557-6202-6644-9EE6-D5742F87FC47}"/>
                </a:ext>
              </a:extLst>
            </p:cNvPr>
            <p:cNvSpPr/>
            <p:nvPr/>
          </p:nvSpPr>
          <p:spPr>
            <a:xfrm>
              <a:off x="6316956" y="2133910"/>
              <a:ext cx="90011" cy="60008"/>
            </a:xfrm>
            <a:custGeom>
              <a:avLst/>
              <a:gdLst>
                <a:gd name="connsiteX0" fmla="*/ 85082 w 90011"/>
                <a:gd name="connsiteY0" fmla="*/ 58936 h 60007"/>
                <a:gd name="connsiteX1" fmla="*/ 88511 w 90011"/>
                <a:gd name="connsiteY1" fmla="*/ 12216 h 60007"/>
                <a:gd name="connsiteX2" fmla="*/ 3215 w 90011"/>
                <a:gd name="connsiteY2" fmla="*/ 3215 h 60007"/>
                <a:gd name="connsiteX3" fmla="*/ 16502 w 90011"/>
                <a:gd name="connsiteY3" fmla="*/ 51649 h 60007"/>
                <a:gd name="connsiteX4" fmla="*/ 85082 w 90011"/>
                <a:gd name="connsiteY4" fmla="*/ 58936 h 60007"/>
                <a:gd name="connsiteX5" fmla="*/ 85082 w 90011"/>
                <a:gd name="connsiteY5" fmla="*/ 58936 h 6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011" h="60007">
                  <a:moveTo>
                    <a:pt x="85082" y="58936"/>
                  </a:moveTo>
                  <a:cubicBezTo>
                    <a:pt x="85939" y="43505"/>
                    <a:pt x="87225" y="27646"/>
                    <a:pt x="88511" y="12216"/>
                  </a:cubicBezTo>
                  <a:lnTo>
                    <a:pt x="3215" y="3215"/>
                  </a:lnTo>
                  <a:cubicBezTo>
                    <a:pt x="7501" y="19502"/>
                    <a:pt x="11787" y="35362"/>
                    <a:pt x="16502" y="51649"/>
                  </a:cubicBezTo>
                  <a:lnTo>
                    <a:pt x="85082" y="58936"/>
                  </a:lnTo>
                  <a:lnTo>
                    <a:pt x="85082" y="58936"/>
                  </a:lnTo>
                  <a:close/>
                </a:path>
              </a:pathLst>
            </a:custGeom>
            <a:grpFill/>
            <a:ln w="9525" cap="flat">
              <a:noFill/>
              <a:prstDash val="solid"/>
              <a:miter/>
            </a:ln>
          </p:spPr>
          <p:txBody>
            <a:bodyPr rtlCol="0" anchor="ctr"/>
            <a:lstStyle/>
            <a:p>
              <a:endParaRPr lang="en-US"/>
            </a:p>
          </p:txBody>
        </p:sp>
        <p:sp>
          <p:nvSpPr>
            <p:cNvPr id="282" name="Freeform: Shape 59">
              <a:extLst>
                <a:ext uri="{FF2B5EF4-FFF2-40B4-BE49-F238E27FC236}">
                  <a16:creationId xmlns:a16="http://schemas.microsoft.com/office/drawing/2014/main" id="{FC31791F-2790-D844-8FC7-5833181B2496}"/>
                </a:ext>
              </a:extLst>
            </p:cNvPr>
            <p:cNvSpPr/>
            <p:nvPr/>
          </p:nvSpPr>
          <p:spPr>
            <a:xfrm>
              <a:off x="7449812" y="3579233"/>
              <a:ext cx="34290" cy="81439"/>
            </a:xfrm>
            <a:custGeom>
              <a:avLst/>
              <a:gdLst>
                <a:gd name="connsiteX0" fmla="*/ 25075 w 34290"/>
                <a:gd name="connsiteY0" fmla="*/ 79510 h 81438"/>
                <a:gd name="connsiteX1" fmla="*/ 33218 w 34290"/>
                <a:gd name="connsiteY1" fmla="*/ 3215 h 81438"/>
                <a:gd name="connsiteX2" fmla="*/ 29361 w 34290"/>
                <a:gd name="connsiteY2" fmla="*/ 9216 h 81438"/>
                <a:gd name="connsiteX3" fmla="*/ 3215 w 34290"/>
                <a:gd name="connsiteY3" fmla="*/ 53364 h 81438"/>
                <a:gd name="connsiteX4" fmla="*/ 25075 w 34290"/>
                <a:gd name="connsiteY4" fmla="*/ 79510 h 81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81438">
                  <a:moveTo>
                    <a:pt x="25075" y="79510"/>
                  </a:moveTo>
                  <a:lnTo>
                    <a:pt x="33218" y="3215"/>
                  </a:lnTo>
                  <a:cubicBezTo>
                    <a:pt x="31933" y="5358"/>
                    <a:pt x="30647" y="7072"/>
                    <a:pt x="29361" y="9216"/>
                  </a:cubicBezTo>
                  <a:cubicBezTo>
                    <a:pt x="19931" y="23360"/>
                    <a:pt x="7930" y="36647"/>
                    <a:pt x="3215" y="53364"/>
                  </a:cubicBezTo>
                  <a:cubicBezTo>
                    <a:pt x="4929" y="64079"/>
                    <a:pt x="13930" y="75652"/>
                    <a:pt x="25075" y="79510"/>
                  </a:cubicBezTo>
                  <a:close/>
                </a:path>
              </a:pathLst>
            </a:custGeom>
            <a:grpFill/>
            <a:ln w="9525" cap="flat">
              <a:noFill/>
              <a:prstDash val="solid"/>
              <a:miter/>
            </a:ln>
          </p:spPr>
          <p:txBody>
            <a:bodyPr rtlCol="0" anchor="ctr"/>
            <a:lstStyle/>
            <a:p>
              <a:endParaRPr lang="en-US"/>
            </a:p>
          </p:txBody>
        </p:sp>
        <p:sp>
          <p:nvSpPr>
            <p:cNvPr id="283" name="Freeform: Shape 60">
              <a:extLst>
                <a:ext uri="{FF2B5EF4-FFF2-40B4-BE49-F238E27FC236}">
                  <a16:creationId xmlns:a16="http://schemas.microsoft.com/office/drawing/2014/main" id="{2D609106-322D-3A48-82EF-886506B5AE6C}"/>
                </a:ext>
              </a:extLst>
            </p:cNvPr>
            <p:cNvSpPr/>
            <p:nvPr/>
          </p:nvSpPr>
          <p:spPr>
            <a:xfrm>
              <a:off x="6270665" y="1672709"/>
              <a:ext cx="458629" cy="291465"/>
            </a:xfrm>
            <a:custGeom>
              <a:avLst/>
              <a:gdLst>
                <a:gd name="connsiteX0" fmla="*/ 361974 w 458628"/>
                <a:gd name="connsiteY0" fmla="*/ 68366 h 291465"/>
                <a:gd name="connsiteX1" fmla="*/ 246245 w 458628"/>
                <a:gd name="connsiteY1" fmla="*/ 55936 h 291465"/>
                <a:gd name="connsiteX2" fmla="*/ 3215 w 458628"/>
                <a:gd name="connsiteY2" fmla="*/ 251817 h 291465"/>
                <a:gd name="connsiteX3" fmla="*/ 10073 w 458628"/>
                <a:gd name="connsiteY3" fmla="*/ 289536 h 291465"/>
                <a:gd name="connsiteX4" fmla="*/ 260390 w 458628"/>
                <a:gd name="connsiteY4" fmla="*/ 88082 h 291465"/>
                <a:gd name="connsiteX5" fmla="*/ 260390 w 458628"/>
                <a:gd name="connsiteY5" fmla="*/ 88082 h 291465"/>
                <a:gd name="connsiteX6" fmla="*/ 266819 w 458628"/>
                <a:gd name="connsiteY6" fmla="*/ 88511 h 291465"/>
                <a:gd name="connsiteX7" fmla="*/ 412123 w 458628"/>
                <a:gd name="connsiteY7" fmla="*/ 103942 h 291465"/>
                <a:gd name="connsiteX8" fmla="*/ 431840 w 458628"/>
                <a:gd name="connsiteY8" fmla="*/ 88082 h 291465"/>
                <a:gd name="connsiteX9" fmla="*/ 447270 w 458628"/>
                <a:gd name="connsiteY9" fmla="*/ 51221 h 291465"/>
                <a:gd name="connsiteX10" fmla="*/ 455843 w 458628"/>
                <a:gd name="connsiteY10" fmla="*/ 46077 h 291465"/>
                <a:gd name="connsiteX11" fmla="*/ 450271 w 458628"/>
                <a:gd name="connsiteY11" fmla="*/ 3215 h 291465"/>
                <a:gd name="connsiteX12" fmla="*/ 368403 w 458628"/>
                <a:gd name="connsiteY12" fmla="*/ 69223 h 291465"/>
                <a:gd name="connsiteX13" fmla="*/ 361974 w 458628"/>
                <a:gd name="connsiteY13" fmla="*/ 68366 h 29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628" h="291465">
                  <a:moveTo>
                    <a:pt x="361974" y="68366"/>
                  </a:moveTo>
                  <a:lnTo>
                    <a:pt x="246245" y="55936"/>
                  </a:lnTo>
                  <a:lnTo>
                    <a:pt x="3215" y="251817"/>
                  </a:lnTo>
                  <a:cubicBezTo>
                    <a:pt x="5358" y="264247"/>
                    <a:pt x="7501" y="276677"/>
                    <a:pt x="10073" y="289536"/>
                  </a:cubicBezTo>
                  <a:lnTo>
                    <a:pt x="260390" y="88082"/>
                  </a:lnTo>
                  <a:lnTo>
                    <a:pt x="260390" y="88082"/>
                  </a:lnTo>
                  <a:lnTo>
                    <a:pt x="266819" y="88511"/>
                  </a:lnTo>
                  <a:lnTo>
                    <a:pt x="412123" y="103942"/>
                  </a:lnTo>
                  <a:lnTo>
                    <a:pt x="431840" y="88082"/>
                  </a:lnTo>
                  <a:cubicBezTo>
                    <a:pt x="430554" y="74366"/>
                    <a:pt x="435697" y="60222"/>
                    <a:pt x="447270" y="51221"/>
                  </a:cubicBezTo>
                  <a:cubicBezTo>
                    <a:pt x="449842" y="49078"/>
                    <a:pt x="452842" y="47363"/>
                    <a:pt x="455843" y="46077"/>
                  </a:cubicBezTo>
                  <a:cubicBezTo>
                    <a:pt x="453700" y="31933"/>
                    <a:pt x="451556" y="17788"/>
                    <a:pt x="450271" y="3215"/>
                  </a:cubicBezTo>
                  <a:lnTo>
                    <a:pt x="368403" y="69223"/>
                  </a:lnTo>
                  <a:lnTo>
                    <a:pt x="361974" y="68366"/>
                  </a:lnTo>
                  <a:close/>
                </a:path>
              </a:pathLst>
            </a:custGeom>
            <a:grpFill/>
            <a:ln w="9525" cap="flat">
              <a:noFill/>
              <a:prstDash val="solid"/>
              <a:miter/>
            </a:ln>
          </p:spPr>
          <p:txBody>
            <a:bodyPr rtlCol="0" anchor="ctr"/>
            <a:lstStyle/>
            <a:p>
              <a:endParaRPr lang="en-US"/>
            </a:p>
          </p:txBody>
        </p:sp>
        <p:sp>
          <p:nvSpPr>
            <p:cNvPr id="284" name="Freeform: Shape 61">
              <a:extLst>
                <a:ext uri="{FF2B5EF4-FFF2-40B4-BE49-F238E27FC236}">
                  <a16:creationId xmlns:a16="http://schemas.microsoft.com/office/drawing/2014/main" id="{7574FA5E-8CA4-144F-A5EC-4A77C5B7B5E3}"/>
                </a:ext>
              </a:extLst>
            </p:cNvPr>
            <p:cNvSpPr/>
            <p:nvPr/>
          </p:nvSpPr>
          <p:spPr>
            <a:xfrm>
              <a:off x="6295096" y="1940171"/>
              <a:ext cx="132874" cy="180023"/>
            </a:xfrm>
            <a:custGeom>
              <a:avLst/>
              <a:gdLst>
                <a:gd name="connsiteX0" fmla="*/ 3215 w 132873"/>
                <a:gd name="connsiteY0" fmla="*/ 106513 h 180022"/>
                <a:gd name="connsiteX1" fmla="*/ 17359 w 132873"/>
                <a:gd name="connsiteY1" fmla="*/ 166521 h 180022"/>
                <a:gd name="connsiteX2" fmla="*/ 112943 w 132873"/>
                <a:gd name="connsiteY2" fmla="*/ 176808 h 180022"/>
                <a:gd name="connsiteX3" fmla="*/ 117658 w 132873"/>
                <a:gd name="connsiteY3" fmla="*/ 130945 h 180022"/>
                <a:gd name="connsiteX4" fmla="*/ 131802 w 132873"/>
                <a:gd name="connsiteY4" fmla="*/ 3215 h 180022"/>
                <a:gd name="connsiteX5" fmla="*/ 3215 w 132873"/>
                <a:gd name="connsiteY5" fmla="*/ 106513 h 18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873" h="180022">
                  <a:moveTo>
                    <a:pt x="3215" y="106513"/>
                  </a:moveTo>
                  <a:cubicBezTo>
                    <a:pt x="7501" y="126659"/>
                    <a:pt x="12644" y="146375"/>
                    <a:pt x="17359" y="166521"/>
                  </a:cubicBezTo>
                  <a:lnTo>
                    <a:pt x="112943" y="176808"/>
                  </a:lnTo>
                  <a:cubicBezTo>
                    <a:pt x="114229" y="161377"/>
                    <a:pt x="115943" y="146375"/>
                    <a:pt x="117658" y="130945"/>
                  </a:cubicBezTo>
                  <a:cubicBezTo>
                    <a:pt x="121944" y="88511"/>
                    <a:pt x="128373" y="45649"/>
                    <a:pt x="131802" y="3215"/>
                  </a:cubicBezTo>
                  <a:lnTo>
                    <a:pt x="3215" y="106513"/>
                  </a:lnTo>
                  <a:close/>
                </a:path>
              </a:pathLst>
            </a:custGeom>
            <a:grpFill/>
            <a:ln w="9525" cap="flat">
              <a:noFill/>
              <a:prstDash val="solid"/>
              <a:miter/>
            </a:ln>
          </p:spPr>
          <p:txBody>
            <a:bodyPr rtlCol="0" anchor="ctr"/>
            <a:lstStyle/>
            <a:p>
              <a:endParaRPr lang="en-US"/>
            </a:p>
          </p:txBody>
        </p:sp>
        <p:sp>
          <p:nvSpPr>
            <p:cNvPr id="285" name="Freeform: Shape 62">
              <a:extLst>
                <a:ext uri="{FF2B5EF4-FFF2-40B4-BE49-F238E27FC236}">
                  <a16:creationId xmlns:a16="http://schemas.microsoft.com/office/drawing/2014/main" id="{AEE72823-903F-CB4F-9AFC-A22AAE834FF6}"/>
                </a:ext>
              </a:extLst>
            </p:cNvPr>
            <p:cNvSpPr/>
            <p:nvPr/>
          </p:nvSpPr>
          <p:spPr>
            <a:xfrm>
              <a:off x="6283952" y="1785866"/>
              <a:ext cx="531495" cy="261461"/>
            </a:xfrm>
            <a:custGeom>
              <a:avLst/>
              <a:gdLst>
                <a:gd name="connsiteX0" fmla="*/ 407408 w 531495"/>
                <a:gd name="connsiteY0" fmla="*/ 21646 h 261461"/>
                <a:gd name="connsiteX1" fmla="*/ 401407 w 531495"/>
                <a:gd name="connsiteY1" fmla="*/ 20788 h 261461"/>
                <a:gd name="connsiteX2" fmla="*/ 256532 w 531495"/>
                <a:gd name="connsiteY2" fmla="*/ 5358 h 261461"/>
                <a:gd name="connsiteX3" fmla="*/ 4929 w 531495"/>
                <a:gd name="connsiteY3" fmla="*/ 207669 h 261461"/>
                <a:gd name="connsiteX4" fmla="*/ 3215 w 531495"/>
                <a:gd name="connsiteY4" fmla="*/ 207669 h 261461"/>
                <a:gd name="connsiteX5" fmla="*/ 7501 w 531495"/>
                <a:gd name="connsiteY5" fmla="*/ 228243 h 261461"/>
                <a:gd name="connsiteX6" fmla="*/ 145518 w 531495"/>
                <a:gd name="connsiteY6" fmla="*/ 117229 h 261461"/>
                <a:gd name="connsiteX7" fmla="*/ 145947 w 531495"/>
                <a:gd name="connsiteY7" fmla="*/ 107371 h 261461"/>
                <a:gd name="connsiteX8" fmla="*/ 148519 w 531495"/>
                <a:gd name="connsiteY8" fmla="*/ 115086 h 261461"/>
                <a:gd name="connsiteX9" fmla="*/ 215384 w 531495"/>
                <a:gd name="connsiteY9" fmla="*/ 61508 h 261461"/>
                <a:gd name="connsiteX10" fmla="*/ 221385 w 531495"/>
                <a:gd name="connsiteY10" fmla="*/ 61936 h 261461"/>
                <a:gd name="connsiteX11" fmla="*/ 289108 w 531495"/>
                <a:gd name="connsiteY11" fmla="*/ 69223 h 261461"/>
                <a:gd name="connsiteX12" fmla="*/ 302824 w 531495"/>
                <a:gd name="connsiteY12" fmla="*/ 49078 h 261461"/>
                <a:gd name="connsiteX13" fmla="*/ 362831 w 531495"/>
                <a:gd name="connsiteY13" fmla="*/ 55507 h 261461"/>
                <a:gd name="connsiteX14" fmla="*/ 356830 w 531495"/>
                <a:gd name="connsiteY14" fmla="*/ 115943 h 261461"/>
                <a:gd name="connsiteX15" fmla="*/ 296394 w 531495"/>
                <a:gd name="connsiteY15" fmla="*/ 109514 h 261461"/>
                <a:gd name="connsiteX16" fmla="*/ 290393 w 531495"/>
                <a:gd name="connsiteY16" fmla="*/ 99227 h 261461"/>
                <a:gd name="connsiteX17" fmla="*/ 224385 w 531495"/>
                <a:gd name="connsiteY17" fmla="*/ 92369 h 261461"/>
                <a:gd name="connsiteX18" fmla="*/ 157091 w 531495"/>
                <a:gd name="connsiteY18" fmla="*/ 146804 h 261461"/>
                <a:gd name="connsiteX19" fmla="*/ 169950 w 531495"/>
                <a:gd name="connsiteY19" fmla="*/ 179380 h 261461"/>
                <a:gd name="connsiteX20" fmla="*/ 228243 w 531495"/>
                <a:gd name="connsiteY20" fmla="*/ 259104 h 261461"/>
                <a:gd name="connsiteX21" fmla="*/ 440841 w 531495"/>
                <a:gd name="connsiteY21" fmla="*/ 88083 h 261461"/>
                <a:gd name="connsiteX22" fmla="*/ 446842 w 531495"/>
                <a:gd name="connsiteY22" fmla="*/ 88940 h 261461"/>
                <a:gd name="connsiteX23" fmla="*/ 527852 w 531495"/>
                <a:gd name="connsiteY23" fmla="*/ 97512 h 261461"/>
                <a:gd name="connsiteX24" fmla="*/ 528709 w 531495"/>
                <a:gd name="connsiteY24" fmla="*/ 94083 h 261461"/>
                <a:gd name="connsiteX25" fmla="*/ 487990 w 531495"/>
                <a:gd name="connsiteY25" fmla="*/ 26789 h 261461"/>
                <a:gd name="connsiteX26" fmla="*/ 476845 w 531495"/>
                <a:gd name="connsiteY26" fmla="*/ 12644 h 261461"/>
                <a:gd name="connsiteX27" fmla="*/ 432697 w 531495"/>
                <a:gd name="connsiteY27" fmla="*/ 3215 h 261461"/>
                <a:gd name="connsiteX28" fmla="*/ 407408 w 531495"/>
                <a:gd name="connsiteY28" fmla="*/ 21646 h 261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1495" h="261461">
                  <a:moveTo>
                    <a:pt x="407408" y="21646"/>
                  </a:moveTo>
                  <a:lnTo>
                    <a:pt x="401407" y="20788"/>
                  </a:lnTo>
                  <a:lnTo>
                    <a:pt x="256532" y="5358"/>
                  </a:lnTo>
                  <a:lnTo>
                    <a:pt x="4929" y="207669"/>
                  </a:lnTo>
                  <a:lnTo>
                    <a:pt x="3215" y="207669"/>
                  </a:lnTo>
                  <a:cubicBezTo>
                    <a:pt x="4501" y="214527"/>
                    <a:pt x="6215" y="221385"/>
                    <a:pt x="7501" y="228243"/>
                  </a:cubicBezTo>
                  <a:lnTo>
                    <a:pt x="145518" y="117229"/>
                  </a:lnTo>
                  <a:cubicBezTo>
                    <a:pt x="145518" y="113800"/>
                    <a:pt x="145947" y="110371"/>
                    <a:pt x="145947" y="107371"/>
                  </a:cubicBezTo>
                  <a:cubicBezTo>
                    <a:pt x="146804" y="109942"/>
                    <a:pt x="147661" y="112514"/>
                    <a:pt x="148519" y="115086"/>
                  </a:cubicBezTo>
                  <a:lnTo>
                    <a:pt x="215384" y="61508"/>
                  </a:lnTo>
                  <a:lnTo>
                    <a:pt x="221385" y="61936"/>
                  </a:lnTo>
                  <a:lnTo>
                    <a:pt x="289108" y="69223"/>
                  </a:lnTo>
                  <a:cubicBezTo>
                    <a:pt x="291679" y="61508"/>
                    <a:pt x="296394" y="54650"/>
                    <a:pt x="302824" y="49078"/>
                  </a:cubicBezTo>
                  <a:cubicBezTo>
                    <a:pt x="321254" y="34076"/>
                    <a:pt x="347829" y="37076"/>
                    <a:pt x="362831" y="55507"/>
                  </a:cubicBezTo>
                  <a:cubicBezTo>
                    <a:pt x="377833" y="73938"/>
                    <a:pt x="375261" y="100941"/>
                    <a:pt x="356830" y="115943"/>
                  </a:cubicBezTo>
                  <a:cubicBezTo>
                    <a:pt x="338399" y="130945"/>
                    <a:pt x="310968" y="127945"/>
                    <a:pt x="296394" y="109514"/>
                  </a:cubicBezTo>
                  <a:cubicBezTo>
                    <a:pt x="293823" y="106085"/>
                    <a:pt x="292108" y="102656"/>
                    <a:pt x="290393" y="99227"/>
                  </a:cubicBezTo>
                  <a:lnTo>
                    <a:pt x="224385" y="92369"/>
                  </a:lnTo>
                  <a:lnTo>
                    <a:pt x="157091" y="146804"/>
                  </a:lnTo>
                  <a:cubicBezTo>
                    <a:pt x="160091" y="157948"/>
                    <a:pt x="163949" y="169093"/>
                    <a:pt x="169950" y="179380"/>
                  </a:cubicBezTo>
                  <a:cubicBezTo>
                    <a:pt x="185809" y="208526"/>
                    <a:pt x="205526" y="235101"/>
                    <a:pt x="228243" y="259104"/>
                  </a:cubicBezTo>
                  <a:lnTo>
                    <a:pt x="440841" y="88083"/>
                  </a:lnTo>
                  <a:lnTo>
                    <a:pt x="446842" y="88940"/>
                  </a:lnTo>
                  <a:lnTo>
                    <a:pt x="527852" y="97512"/>
                  </a:lnTo>
                  <a:cubicBezTo>
                    <a:pt x="528280" y="96226"/>
                    <a:pt x="528280" y="95369"/>
                    <a:pt x="528709" y="94083"/>
                  </a:cubicBezTo>
                  <a:cubicBezTo>
                    <a:pt x="517136" y="70509"/>
                    <a:pt x="504706" y="47363"/>
                    <a:pt x="487990" y="26789"/>
                  </a:cubicBezTo>
                  <a:cubicBezTo>
                    <a:pt x="484132" y="22074"/>
                    <a:pt x="480274" y="17359"/>
                    <a:pt x="476845" y="12644"/>
                  </a:cubicBezTo>
                  <a:cubicBezTo>
                    <a:pt x="461843" y="18217"/>
                    <a:pt x="444270" y="14788"/>
                    <a:pt x="432697" y="3215"/>
                  </a:cubicBezTo>
                  <a:lnTo>
                    <a:pt x="407408" y="21646"/>
                  </a:lnTo>
                  <a:close/>
                </a:path>
              </a:pathLst>
            </a:custGeom>
            <a:grpFill/>
            <a:ln w="9525" cap="flat">
              <a:noFill/>
              <a:prstDash val="solid"/>
              <a:miter/>
            </a:ln>
          </p:spPr>
          <p:txBody>
            <a:bodyPr rtlCol="0" anchor="ctr"/>
            <a:lstStyle/>
            <a:p>
              <a:endParaRPr lang="en-US"/>
            </a:p>
          </p:txBody>
        </p:sp>
        <p:sp>
          <p:nvSpPr>
            <p:cNvPr id="286" name="Freeform: Shape 63">
              <a:extLst>
                <a:ext uri="{FF2B5EF4-FFF2-40B4-BE49-F238E27FC236}">
                  <a16:creationId xmlns:a16="http://schemas.microsoft.com/office/drawing/2014/main" id="{8392A345-DCB5-ED4E-BB86-477338566C02}"/>
                </a:ext>
              </a:extLst>
            </p:cNvPr>
            <p:cNvSpPr/>
            <p:nvPr/>
          </p:nvSpPr>
          <p:spPr>
            <a:xfrm>
              <a:off x="6773442" y="2205490"/>
              <a:ext cx="304324" cy="278606"/>
            </a:xfrm>
            <a:custGeom>
              <a:avLst/>
              <a:gdLst>
                <a:gd name="connsiteX0" fmla="*/ 250960 w 304323"/>
                <a:gd name="connsiteY0" fmla="*/ 64079 h 278606"/>
                <a:gd name="connsiteX1" fmla="*/ 249674 w 304323"/>
                <a:gd name="connsiteY1" fmla="*/ 67937 h 278606"/>
                <a:gd name="connsiteX2" fmla="*/ 3215 w 304323"/>
                <a:gd name="connsiteY2" fmla="*/ 266819 h 278606"/>
                <a:gd name="connsiteX3" fmla="*/ 10501 w 304323"/>
                <a:gd name="connsiteY3" fmla="*/ 277106 h 278606"/>
                <a:gd name="connsiteX4" fmla="*/ 304110 w 304323"/>
                <a:gd name="connsiteY4" fmla="*/ 40505 h 278606"/>
                <a:gd name="connsiteX5" fmla="*/ 274106 w 304323"/>
                <a:gd name="connsiteY5" fmla="*/ 3215 h 278606"/>
                <a:gd name="connsiteX6" fmla="*/ 274106 w 304323"/>
                <a:gd name="connsiteY6" fmla="*/ 3215 h 278606"/>
                <a:gd name="connsiteX7" fmla="*/ 250960 w 304323"/>
                <a:gd name="connsiteY7" fmla="*/ 64079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323" h="278606">
                  <a:moveTo>
                    <a:pt x="250960" y="64079"/>
                  </a:moveTo>
                  <a:lnTo>
                    <a:pt x="249674" y="67937"/>
                  </a:lnTo>
                  <a:lnTo>
                    <a:pt x="3215" y="266819"/>
                  </a:lnTo>
                  <a:cubicBezTo>
                    <a:pt x="5358" y="270248"/>
                    <a:pt x="7930" y="273677"/>
                    <a:pt x="10501" y="277106"/>
                  </a:cubicBezTo>
                  <a:lnTo>
                    <a:pt x="304110" y="40505"/>
                  </a:lnTo>
                  <a:cubicBezTo>
                    <a:pt x="294680" y="27646"/>
                    <a:pt x="284393" y="15216"/>
                    <a:pt x="274106" y="3215"/>
                  </a:cubicBezTo>
                  <a:lnTo>
                    <a:pt x="274106" y="3215"/>
                  </a:lnTo>
                  <a:lnTo>
                    <a:pt x="250960" y="64079"/>
                  </a:lnTo>
                  <a:close/>
                </a:path>
              </a:pathLst>
            </a:custGeom>
            <a:grpFill/>
            <a:ln w="9525" cap="flat">
              <a:noFill/>
              <a:prstDash val="solid"/>
              <a:miter/>
            </a:ln>
          </p:spPr>
          <p:txBody>
            <a:bodyPr rtlCol="0" anchor="ctr"/>
            <a:lstStyle/>
            <a:p>
              <a:endParaRPr lang="en-US"/>
            </a:p>
          </p:txBody>
        </p:sp>
        <p:sp>
          <p:nvSpPr>
            <p:cNvPr id="287" name="Freeform: Shape 64">
              <a:extLst>
                <a:ext uri="{FF2B5EF4-FFF2-40B4-BE49-F238E27FC236}">
                  <a16:creationId xmlns:a16="http://schemas.microsoft.com/office/drawing/2014/main" id="{CB4887C2-088F-5247-B24F-D601CF948D60}"/>
                </a:ext>
              </a:extLst>
            </p:cNvPr>
            <p:cNvSpPr/>
            <p:nvPr/>
          </p:nvSpPr>
          <p:spPr>
            <a:xfrm>
              <a:off x="5728454" y="3630239"/>
              <a:ext cx="8573" cy="17145"/>
            </a:xfrm>
            <a:custGeom>
              <a:avLst/>
              <a:gdLst>
                <a:gd name="connsiteX0" fmla="*/ 8358 w 8572"/>
                <a:gd name="connsiteY0" fmla="*/ 13930 h 17145"/>
                <a:gd name="connsiteX1" fmla="*/ 8358 w 8572"/>
                <a:gd name="connsiteY1" fmla="*/ 3215 h 17145"/>
                <a:gd name="connsiteX2" fmla="*/ 3215 w 8572"/>
                <a:gd name="connsiteY2" fmla="*/ 8787 h 17145"/>
                <a:gd name="connsiteX3" fmla="*/ 3215 w 8572"/>
                <a:gd name="connsiteY3" fmla="*/ 8787 h 17145"/>
                <a:gd name="connsiteX4" fmla="*/ 8358 w 8572"/>
                <a:gd name="connsiteY4" fmla="*/ 13930 h 17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17145">
                  <a:moveTo>
                    <a:pt x="8358" y="13930"/>
                  </a:moveTo>
                  <a:cubicBezTo>
                    <a:pt x="8358" y="10073"/>
                    <a:pt x="8358" y="6644"/>
                    <a:pt x="8358" y="3215"/>
                  </a:cubicBezTo>
                  <a:lnTo>
                    <a:pt x="3215" y="8787"/>
                  </a:lnTo>
                  <a:lnTo>
                    <a:pt x="3215" y="8787"/>
                  </a:lnTo>
                  <a:cubicBezTo>
                    <a:pt x="4929" y="10501"/>
                    <a:pt x="6644" y="12216"/>
                    <a:pt x="8358" y="13930"/>
                  </a:cubicBezTo>
                  <a:close/>
                </a:path>
              </a:pathLst>
            </a:custGeom>
            <a:grpFill/>
            <a:ln w="9525" cap="flat">
              <a:noFill/>
              <a:prstDash val="solid"/>
              <a:miter/>
            </a:ln>
          </p:spPr>
          <p:txBody>
            <a:bodyPr rtlCol="0" anchor="ctr"/>
            <a:lstStyle/>
            <a:p>
              <a:endParaRPr lang="en-US"/>
            </a:p>
          </p:txBody>
        </p:sp>
        <p:sp>
          <p:nvSpPr>
            <p:cNvPr id="288" name="Freeform: Shape 65">
              <a:extLst>
                <a:ext uri="{FF2B5EF4-FFF2-40B4-BE49-F238E27FC236}">
                  <a16:creationId xmlns:a16="http://schemas.microsoft.com/office/drawing/2014/main" id="{8A4482BB-C96C-0F4F-8304-8E6FFF36A468}"/>
                </a:ext>
              </a:extLst>
            </p:cNvPr>
            <p:cNvSpPr/>
            <p:nvPr/>
          </p:nvSpPr>
          <p:spPr>
            <a:xfrm>
              <a:off x="5454563" y="3259907"/>
              <a:ext cx="77153" cy="77153"/>
            </a:xfrm>
            <a:custGeom>
              <a:avLst/>
              <a:gdLst>
                <a:gd name="connsiteX0" fmla="*/ 11787 w 77152"/>
                <a:gd name="connsiteY0" fmla="*/ 77796 h 77152"/>
                <a:gd name="connsiteX1" fmla="*/ 11787 w 77152"/>
                <a:gd name="connsiteY1" fmla="*/ 77796 h 77152"/>
                <a:gd name="connsiteX2" fmla="*/ 76081 w 77152"/>
                <a:gd name="connsiteY2" fmla="*/ 13502 h 77152"/>
                <a:gd name="connsiteX3" fmla="*/ 65794 w 77152"/>
                <a:gd name="connsiteY3" fmla="*/ 3215 h 77152"/>
                <a:gd name="connsiteX4" fmla="*/ 3215 w 77152"/>
                <a:gd name="connsiteY4" fmla="*/ 65794 h 77152"/>
                <a:gd name="connsiteX5" fmla="*/ 11787 w 77152"/>
                <a:gd name="connsiteY5" fmla="*/ 77796 h 77152"/>
                <a:gd name="connsiteX6" fmla="*/ 11787 w 77152"/>
                <a:gd name="connsiteY6" fmla="*/ 77796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52" h="77152">
                  <a:moveTo>
                    <a:pt x="11787" y="77796"/>
                  </a:moveTo>
                  <a:lnTo>
                    <a:pt x="11787" y="77796"/>
                  </a:lnTo>
                  <a:lnTo>
                    <a:pt x="76081" y="13502"/>
                  </a:lnTo>
                  <a:cubicBezTo>
                    <a:pt x="72652" y="10073"/>
                    <a:pt x="69223" y="6644"/>
                    <a:pt x="65794" y="3215"/>
                  </a:cubicBezTo>
                  <a:lnTo>
                    <a:pt x="3215" y="65794"/>
                  </a:lnTo>
                  <a:cubicBezTo>
                    <a:pt x="5786" y="69652"/>
                    <a:pt x="8787" y="73938"/>
                    <a:pt x="11787" y="77796"/>
                  </a:cubicBezTo>
                  <a:lnTo>
                    <a:pt x="11787" y="77796"/>
                  </a:lnTo>
                  <a:close/>
                </a:path>
              </a:pathLst>
            </a:custGeom>
            <a:grpFill/>
            <a:ln w="9525" cap="flat">
              <a:noFill/>
              <a:prstDash val="solid"/>
              <a:miter/>
            </a:ln>
          </p:spPr>
          <p:txBody>
            <a:bodyPr rtlCol="0" anchor="ctr"/>
            <a:lstStyle/>
            <a:p>
              <a:endParaRPr lang="en-US"/>
            </a:p>
          </p:txBody>
        </p:sp>
        <p:sp>
          <p:nvSpPr>
            <p:cNvPr id="289" name="Freeform: Shape 66">
              <a:extLst>
                <a:ext uri="{FF2B5EF4-FFF2-40B4-BE49-F238E27FC236}">
                  <a16:creationId xmlns:a16="http://schemas.microsoft.com/office/drawing/2014/main" id="{F806B6E5-4864-AB43-83C8-34CA86942B21}"/>
                </a:ext>
              </a:extLst>
            </p:cNvPr>
            <p:cNvSpPr/>
            <p:nvPr/>
          </p:nvSpPr>
          <p:spPr>
            <a:xfrm>
              <a:off x="5704022" y="3466505"/>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290" name="Freeform: Shape 67">
              <a:extLst>
                <a:ext uri="{FF2B5EF4-FFF2-40B4-BE49-F238E27FC236}">
                  <a16:creationId xmlns:a16="http://schemas.microsoft.com/office/drawing/2014/main" id="{4F27BC03-6D43-4A4D-A37B-126569644B07}"/>
                </a:ext>
              </a:extLst>
            </p:cNvPr>
            <p:cNvSpPr/>
            <p:nvPr/>
          </p:nvSpPr>
          <p:spPr>
            <a:xfrm>
              <a:off x="5610582" y="3440359"/>
              <a:ext cx="98584" cy="102870"/>
            </a:xfrm>
            <a:custGeom>
              <a:avLst/>
              <a:gdLst>
                <a:gd name="connsiteX0" fmla="*/ 96655 w 98583"/>
                <a:gd name="connsiteY0" fmla="*/ 29361 h 102870"/>
                <a:gd name="connsiteX1" fmla="*/ 75224 w 98583"/>
                <a:gd name="connsiteY1" fmla="*/ 3215 h 102870"/>
                <a:gd name="connsiteX2" fmla="*/ 73938 w 98583"/>
                <a:gd name="connsiteY2" fmla="*/ 3643 h 102870"/>
                <a:gd name="connsiteX3" fmla="*/ 3215 w 98583"/>
                <a:gd name="connsiteY3" fmla="*/ 74366 h 102870"/>
                <a:gd name="connsiteX4" fmla="*/ 26360 w 98583"/>
                <a:gd name="connsiteY4" fmla="*/ 100084 h 102870"/>
                <a:gd name="connsiteX5" fmla="*/ 96655 w 98583"/>
                <a:gd name="connsiteY5" fmla="*/ 29361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83" h="102870">
                  <a:moveTo>
                    <a:pt x="96655" y="29361"/>
                  </a:moveTo>
                  <a:cubicBezTo>
                    <a:pt x="89368" y="20360"/>
                    <a:pt x="82510" y="11787"/>
                    <a:pt x="75224" y="3215"/>
                  </a:cubicBezTo>
                  <a:cubicBezTo>
                    <a:pt x="74795" y="3215"/>
                    <a:pt x="74366" y="3215"/>
                    <a:pt x="73938" y="3643"/>
                  </a:cubicBezTo>
                  <a:lnTo>
                    <a:pt x="3215" y="74366"/>
                  </a:lnTo>
                  <a:cubicBezTo>
                    <a:pt x="10930" y="82939"/>
                    <a:pt x="18645" y="91511"/>
                    <a:pt x="26360" y="100084"/>
                  </a:cubicBezTo>
                  <a:lnTo>
                    <a:pt x="96655" y="29361"/>
                  </a:lnTo>
                  <a:close/>
                </a:path>
              </a:pathLst>
            </a:custGeom>
            <a:grpFill/>
            <a:ln w="9525" cap="flat">
              <a:noFill/>
              <a:prstDash val="solid"/>
              <a:miter/>
            </a:ln>
          </p:spPr>
          <p:txBody>
            <a:bodyPr rtlCol="0" anchor="ctr"/>
            <a:lstStyle/>
            <a:p>
              <a:endParaRPr lang="en-US"/>
            </a:p>
          </p:txBody>
        </p:sp>
        <p:sp>
          <p:nvSpPr>
            <p:cNvPr id="291" name="Freeform: Shape 68">
              <a:extLst>
                <a:ext uri="{FF2B5EF4-FFF2-40B4-BE49-F238E27FC236}">
                  <a16:creationId xmlns:a16="http://schemas.microsoft.com/office/drawing/2014/main" id="{C63FD6E3-932E-C143-9CDB-6878073CB921}"/>
                </a:ext>
              </a:extLst>
            </p:cNvPr>
            <p:cNvSpPr/>
            <p:nvPr/>
          </p:nvSpPr>
          <p:spPr>
            <a:xfrm>
              <a:off x="5334548" y="3122319"/>
              <a:ext cx="64294" cy="64294"/>
            </a:xfrm>
            <a:custGeom>
              <a:avLst/>
              <a:gdLst>
                <a:gd name="connsiteX0" fmla="*/ 61079 w 64293"/>
                <a:gd name="connsiteY0" fmla="*/ 25932 h 64293"/>
                <a:gd name="connsiteX1" fmla="*/ 61079 w 64293"/>
                <a:gd name="connsiteY1" fmla="*/ 25932 h 64293"/>
                <a:gd name="connsiteX2" fmla="*/ 34076 w 64293"/>
                <a:gd name="connsiteY2" fmla="*/ 3215 h 64293"/>
                <a:gd name="connsiteX3" fmla="*/ 3215 w 64293"/>
                <a:gd name="connsiteY3" fmla="*/ 34076 h 64293"/>
                <a:gd name="connsiteX4" fmla="*/ 22931 w 64293"/>
                <a:gd name="connsiteY4" fmla="*/ 64079 h 64293"/>
                <a:gd name="connsiteX5" fmla="*/ 61079 w 64293"/>
                <a:gd name="connsiteY5" fmla="*/ 25932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3" h="64293">
                  <a:moveTo>
                    <a:pt x="61079" y="25932"/>
                  </a:moveTo>
                  <a:lnTo>
                    <a:pt x="61079" y="25932"/>
                  </a:lnTo>
                  <a:cubicBezTo>
                    <a:pt x="52078" y="18217"/>
                    <a:pt x="43077" y="10501"/>
                    <a:pt x="34076" y="3215"/>
                  </a:cubicBezTo>
                  <a:lnTo>
                    <a:pt x="3215" y="34076"/>
                  </a:lnTo>
                  <a:cubicBezTo>
                    <a:pt x="9644" y="43934"/>
                    <a:pt x="16502" y="53792"/>
                    <a:pt x="22931" y="64079"/>
                  </a:cubicBezTo>
                  <a:lnTo>
                    <a:pt x="61079" y="25932"/>
                  </a:lnTo>
                  <a:close/>
                </a:path>
              </a:pathLst>
            </a:custGeom>
            <a:grpFill/>
            <a:ln w="9525" cap="flat">
              <a:noFill/>
              <a:prstDash val="solid"/>
              <a:miter/>
            </a:ln>
          </p:spPr>
          <p:txBody>
            <a:bodyPr rtlCol="0" anchor="ctr"/>
            <a:lstStyle/>
            <a:p>
              <a:endParaRPr lang="en-US"/>
            </a:p>
          </p:txBody>
        </p:sp>
        <p:sp>
          <p:nvSpPr>
            <p:cNvPr id="292" name="Freeform: Shape 69">
              <a:extLst>
                <a:ext uri="{FF2B5EF4-FFF2-40B4-BE49-F238E27FC236}">
                  <a16:creationId xmlns:a16="http://schemas.microsoft.com/office/drawing/2014/main" id="{F02F08FE-56A8-264A-AEC2-FC21225602CA}"/>
                </a:ext>
              </a:extLst>
            </p:cNvPr>
            <p:cNvSpPr/>
            <p:nvPr/>
          </p:nvSpPr>
          <p:spPr>
            <a:xfrm>
              <a:off x="5388126" y="3184041"/>
              <a:ext cx="85725" cy="90011"/>
            </a:xfrm>
            <a:custGeom>
              <a:avLst/>
              <a:gdLst>
                <a:gd name="connsiteX0" fmla="*/ 82939 w 85725"/>
                <a:gd name="connsiteY0" fmla="*/ 31933 h 90011"/>
                <a:gd name="connsiteX1" fmla="*/ 51649 w 85725"/>
                <a:gd name="connsiteY1" fmla="*/ 3215 h 90011"/>
                <a:gd name="connsiteX2" fmla="*/ 3215 w 85725"/>
                <a:gd name="connsiteY2" fmla="*/ 51650 h 90011"/>
                <a:gd name="connsiteX3" fmla="*/ 28075 w 85725"/>
                <a:gd name="connsiteY3" fmla="*/ 86797 h 90011"/>
                <a:gd name="connsiteX4" fmla="*/ 82939 w 85725"/>
                <a:gd name="connsiteY4" fmla="*/ 31933 h 90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90011">
                  <a:moveTo>
                    <a:pt x="82939" y="31933"/>
                  </a:moveTo>
                  <a:cubicBezTo>
                    <a:pt x="72652" y="22503"/>
                    <a:pt x="62365" y="12644"/>
                    <a:pt x="51649" y="3215"/>
                  </a:cubicBezTo>
                  <a:lnTo>
                    <a:pt x="3215" y="51650"/>
                  </a:lnTo>
                  <a:cubicBezTo>
                    <a:pt x="11359" y="63222"/>
                    <a:pt x="19502" y="75224"/>
                    <a:pt x="28075" y="86797"/>
                  </a:cubicBezTo>
                  <a:lnTo>
                    <a:pt x="82939" y="31933"/>
                  </a:lnTo>
                  <a:close/>
                </a:path>
              </a:pathLst>
            </a:custGeom>
            <a:grpFill/>
            <a:ln w="9525" cap="flat">
              <a:noFill/>
              <a:prstDash val="solid"/>
              <a:miter/>
            </a:ln>
          </p:spPr>
          <p:txBody>
            <a:bodyPr rtlCol="0" anchor="ctr"/>
            <a:lstStyle/>
            <a:p>
              <a:endParaRPr lang="en-US"/>
            </a:p>
          </p:txBody>
        </p:sp>
        <p:sp>
          <p:nvSpPr>
            <p:cNvPr id="293" name="Freeform: Shape 70">
              <a:extLst>
                <a:ext uri="{FF2B5EF4-FFF2-40B4-BE49-F238E27FC236}">
                  <a16:creationId xmlns:a16="http://schemas.microsoft.com/office/drawing/2014/main" id="{5F88C0CA-C988-BC4F-A0ED-B2CDA7C08259}"/>
                </a:ext>
              </a:extLst>
            </p:cNvPr>
            <p:cNvSpPr/>
            <p:nvPr/>
          </p:nvSpPr>
          <p:spPr>
            <a:xfrm>
              <a:off x="5520142" y="3312200"/>
              <a:ext cx="55721" cy="55721"/>
            </a:xfrm>
            <a:custGeom>
              <a:avLst/>
              <a:gdLst>
                <a:gd name="connsiteX0" fmla="*/ 55078 w 55721"/>
                <a:gd name="connsiteY0" fmla="*/ 6644 h 55721"/>
                <a:gd name="connsiteX1" fmla="*/ 51649 w 55721"/>
                <a:gd name="connsiteY1" fmla="*/ 3215 h 55721"/>
                <a:gd name="connsiteX2" fmla="*/ 3215 w 55721"/>
                <a:gd name="connsiteY2" fmla="*/ 51649 h 55721"/>
                <a:gd name="connsiteX3" fmla="*/ 7501 w 55721"/>
                <a:gd name="connsiteY3" fmla="*/ 54221 h 55721"/>
                <a:gd name="connsiteX4" fmla="*/ 55078 w 55721"/>
                <a:gd name="connsiteY4" fmla="*/ 6644 h 55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21" h="55721">
                  <a:moveTo>
                    <a:pt x="55078" y="6644"/>
                  </a:moveTo>
                  <a:cubicBezTo>
                    <a:pt x="53793" y="5358"/>
                    <a:pt x="52935" y="4072"/>
                    <a:pt x="51649" y="3215"/>
                  </a:cubicBezTo>
                  <a:lnTo>
                    <a:pt x="3215" y="51649"/>
                  </a:lnTo>
                  <a:cubicBezTo>
                    <a:pt x="4501" y="52507"/>
                    <a:pt x="6215" y="53364"/>
                    <a:pt x="7501" y="54221"/>
                  </a:cubicBezTo>
                  <a:lnTo>
                    <a:pt x="55078" y="6644"/>
                  </a:lnTo>
                  <a:close/>
                </a:path>
              </a:pathLst>
            </a:custGeom>
            <a:grpFill/>
            <a:ln w="9525" cap="flat">
              <a:noFill/>
              <a:prstDash val="solid"/>
              <a:miter/>
            </a:ln>
          </p:spPr>
          <p:txBody>
            <a:bodyPr rtlCol="0" anchor="ctr"/>
            <a:lstStyle/>
            <a:p>
              <a:endParaRPr lang="en-US"/>
            </a:p>
          </p:txBody>
        </p:sp>
        <p:sp>
          <p:nvSpPr>
            <p:cNvPr id="294" name="Freeform: Shape 71">
              <a:extLst>
                <a:ext uri="{FF2B5EF4-FFF2-40B4-BE49-F238E27FC236}">
                  <a16:creationId xmlns:a16="http://schemas.microsoft.com/office/drawing/2014/main" id="{33C710D8-8385-A045-9815-75015E6C0B3E}"/>
                </a:ext>
              </a:extLst>
            </p:cNvPr>
            <p:cNvSpPr/>
            <p:nvPr/>
          </p:nvSpPr>
          <p:spPr>
            <a:xfrm>
              <a:off x="5568577" y="3402639"/>
              <a:ext cx="90011" cy="98584"/>
            </a:xfrm>
            <a:custGeom>
              <a:avLst/>
              <a:gdLst>
                <a:gd name="connsiteX0" fmla="*/ 90654 w 90011"/>
                <a:gd name="connsiteY0" fmla="*/ 39219 h 98583"/>
                <a:gd name="connsiteX1" fmla="*/ 64508 w 90011"/>
                <a:gd name="connsiteY1" fmla="*/ 3215 h 98583"/>
                <a:gd name="connsiteX2" fmla="*/ 3215 w 90011"/>
                <a:gd name="connsiteY2" fmla="*/ 64508 h 98583"/>
                <a:gd name="connsiteX3" fmla="*/ 32361 w 90011"/>
                <a:gd name="connsiteY3" fmla="*/ 97512 h 98583"/>
                <a:gd name="connsiteX4" fmla="*/ 90654 w 90011"/>
                <a:gd name="connsiteY4" fmla="*/ 39219 h 98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11" h="98583">
                  <a:moveTo>
                    <a:pt x="90654" y="39219"/>
                  </a:moveTo>
                  <a:cubicBezTo>
                    <a:pt x="76081" y="33218"/>
                    <a:pt x="65794" y="19503"/>
                    <a:pt x="64508" y="3215"/>
                  </a:cubicBezTo>
                  <a:lnTo>
                    <a:pt x="3215" y="64508"/>
                  </a:lnTo>
                  <a:cubicBezTo>
                    <a:pt x="12644" y="75652"/>
                    <a:pt x="22503" y="86797"/>
                    <a:pt x="32361" y="97512"/>
                  </a:cubicBezTo>
                  <a:lnTo>
                    <a:pt x="90654" y="39219"/>
                  </a:lnTo>
                  <a:close/>
                </a:path>
              </a:pathLst>
            </a:custGeom>
            <a:grpFill/>
            <a:ln w="9525" cap="flat">
              <a:noFill/>
              <a:prstDash val="solid"/>
              <a:miter/>
            </a:ln>
          </p:spPr>
          <p:txBody>
            <a:bodyPr rtlCol="0" anchor="ctr"/>
            <a:lstStyle/>
            <a:p>
              <a:endParaRPr lang="en-US"/>
            </a:p>
          </p:txBody>
        </p:sp>
        <p:sp>
          <p:nvSpPr>
            <p:cNvPr id="295" name="Freeform: Shape 72">
              <a:extLst>
                <a:ext uri="{FF2B5EF4-FFF2-40B4-BE49-F238E27FC236}">
                  <a16:creationId xmlns:a16="http://schemas.microsoft.com/office/drawing/2014/main" id="{ADE85EF9-6A08-6445-8B7C-F0EDC871C5A5}"/>
                </a:ext>
              </a:extLst>
            </p:cNvPr>
            <p:cNvSpPr/>
            <p:nvPr/>
          </p:nvSpPr>
          <p:spPr>
            <a:xfrm>
              <a:off x="5535144" y="3337060"/>
              <a:ext cx="85725" cy="102870"/>
            </a:xfrm>
            <a:custGeom>
              <a:avLst/>
              <a:gdLst>
                <a:gd name="connsiteX0" fmla="*/ 10930 w 85725"/>
                <a:gd name="connsiteY0" fmla="*/ 100084 h 102870"/>
                <a:gd name="connsiteX1" fmla="*/ 10930 w 85725"/>
                <a:gd name="connsiteY1" fmla="*/ 100084 h 102870"/>
                <a:gd name="connsiteX2" fmla="*/ 82939 w 85725"/>
                <a:gd name="connsiteY2" fmla="*/ 28075 h 102870"/>
                <a:gd name="connsiteX3" fmla="*/ 60222 w 85725"/>
                <a:gd name="connsiteY3" fmla="*/ 3215 h 102870"/>
                <a:gd name="connsiteX4" fmla="*/ 9644 w 85725"/>
                <a:gd name="connsiteY4" fmla="*/ 53792 h 102870"/>
                <a:gd name="connsiteX5" fmla="*/ 11359 w 85725"/>
                <a:gd name="connsiteY5" fmla="*/ 64937 h 102870"/>
                <a:gd name="connsiteX6" fmla="*/ 3215 w 85725"/>
                <a:gd name="connsiteY6" fmla="*/ 90226 h 102870"/>
                <a:gd name="connsiteX7" fmla="*/ 10930 w 85725"/>
                <a:gd name="connsiteY7" fmla="*/ 100084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02870">
                  <a:moveTo>
                    <a:pt x="10930" y="100084"/>
                  </a:moveTo>
                  <a:lnTo>
                    <a:pt x="10930" y="100084"/>
                  </a:lnTo>
                  <a:lnTo>
                    <a:pt x="82939" y="28075"/>
                  </a:lnTo>
                  <a:cubicBezTo>
                    <a:pt x="75224" y="19931"/>
                    <a:pt x="67937" y="11359"/>
                    <a:pt x="60222" y="3215"/>
                  </a:cubicBezTo>
                  <a:lnTo>
                    <a:pt x="9644" y="53792"/>
                  </a:lnTo>
                  <a:cubicBezTo>
                    <a:pt x="10501" y="57222"/>
                    <a:pt x="11359" y="61079"/>
                    <a:pt x="11359" y="64937"/>
                  </a:cubicBezTo>
                  <a:cubicBezTo>
                    <a:pt x="11359" y="74367"/>
                    <a:pt x="8358" y="82939"/>
                    <a:pt x="3215" y="90226"/>
                  </a:cubicBezTo>
                  <a:cubicBezTo>
                    <a:pt x="5786" y="93655"/>
                    <a:pt x="8358" y="96655"/>
                    <a:pt x="10930" y="100084"/>
                  </a:cubicBezTo>
                  <a:close/>
                </a:path>
              </a:pathLst>
            </a:custGeom>
            <a:grpFill/>
            <a:ln w="9525" cap="flat">
              <a:noFill/>
              <a:prstDash val="solid"/>
              <a:miter/>
            </a:ln>
          </p:spPr>
          <p:txBody>
            <a:bodyPr rtlCol="0" anchor="ctr"/>
            <a:lstStyle/>
            <a:p>
              <a:endParaRPr lang="en-US"/>
            </a:p>
          </p:txBody>
        </p:sp>
        <p:sp>
          <p:nvSpPr>
            <p:cNvPr id="296" name="Freeform: Shape 73">
              <a:extLst>
                <a:ext uri="{FF2B5EF4-FFF2-40B4-BE49-F238E27FC236}">
                  <a16:creationId xmlns:a16="http://schemas.microsoft.com/office/drawing/2014/main" id="{787B13B6-DEC1-C94D-B438-B4BBBFB0736B}"/>
                </a:ext>
              </a:extLst>
            </p:cNvPr>
            <p:cNvSpPr/>
            <p:nvPr/>
          </p:nvSpPr>
          <p:spPr>
            <a:xfrm>
              <a:off x="5310973" y="3095316"/>
              <a:ext cx="34290" cy="38576"/>
            </a:xfrm>
            <a:custGeom>
              <a:avLst/>
              <a:gdLst>
                <a:gd name="connsiteX0" fmla="*/ 3215 w 34290"/>
                <a:gd name="connsiteY0" fmla="*/ 24646 h 38576"/>
                <a:gd name="connsiteX1" fmla="*/ 10501 w 34290"/>
                <a:gd name="connsiteY1" fmla="*/ 35790 h 38576"/>
                <a:gd name="connsiteX2" fmla="*/ 34933 w 34290"/>
                <a:gd name="connsiteY2" fmla="*/ 11358 h 38576"/>
                <a:gd name="connsiteX3" fmla="*/ 24646 w 34290"/>
                <a:gd name="connsiteY3" fmla="*/ 3215 h 38576"/>
                <a:gd name="connsiteX4" fmla="*/ 3215 w 34290"/>
                <a:gd name="connsiteY4" fmla="*/ 24646 h 38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 h="38576">
                  <a:moveTo>
                    <a:pt x="3215" y="24646"/>
                  </a:moveTo>
                  <a:cubicBezTo>
                    <a:pt x="5358" y="28503"/>
                    <a:pt x="7930" y="31932"/>
                    <a:pt x="10501" y="35790"/>
                  </a:cubicBezTo>
                  <a:lnTo>
                    <a:pt x="34933" y="11358"/>
                  </a:lnTo>
                  <a:cubicBezTo>
                    <a:pt x="31504" y="8787"/>
                    <a:pt x="28075" y="6215"/>
                    <a:pt x="24646" y="3215"/>
                  </a:cubicBezTo>
                  <a:lnTo>
                    <a:pt x="3215" y="24646"/>
                  </a:lnTo>
                  <a:close/>
                </a:path>
              </a:pathLst>
            </a:custGeom>
            <a:grpFill/>
            <a:ln w="9525" cap="flat">
              <a:noFill/>
              <a:prstDash val="solid"/>
              <a:miter/>
            </a:ln>
          </p:spPr>
          <p:txBody>
            <a:bodyPr rtlCol="0" anchor="ctr"/>
            <a:lstStyle/>
            <a:p>
              <a:endParaRPr lang="en-US"/>
            </a:p>
          </p:txBody>
        </p:sp>
        <p:sp>
          <p:nvSpPr>
            <p:cNvPr id="297" name="Freeform: Shape 74">
              <a:extLst>
                <a:ext uri="{FF2B5EF4-FFF2-40B4-BE49-F238E27FC236}">
                  <a16:creationId xmlns:a16="http://schemas.microsoft.com/office/drawing/2014/main" id="{DA6A3C7B-E229-0E4C-99DB-B0AADD7E05BE}"/>
                </a:ext>
              </a:extLst>
            </p:cNvPr>
            <p:cNvSpPr/>
            <p:nvPr/>
          </p:nvSpPr>
          <p:spPr>
            <a:xfrm>
              <a:off x="6202085" y="3276624"/>
              <a:ext cx="304324" cy="780098"/>
            </a:xfrm>
            <a:custGeom>
              <a:avLst/>
              <a:gdLst>
                <a:gd name="connsiteX0" fmla="*/ 54650 w 304323"/>
                <a:gd name="connsiteY0" fmla="*/ 627293 h 780097"/>
                <a:gd name="connsiteX1" fmla="*/ 222242 w 304323"/>
                <a:gd name="connsiteY1" fmla="*/ 459700 h 780097"/>
                <a:gd name="connsiteX2" fmla="*/ 222242 w 304323"/>
                <a:gd name="connsiteY2" fmla="*/ 459700 h 780097"/>
                <a:gd name="connsiteX3" fmla="*/ 222242 w 304323"/>
                <a:gd name="connsiteY3" fmla="*/ 126230 h 780097"/>
                <a:gd name="connsiteX4" fmla="*/ 222242 w 304323"/>
                <a:gd name="connsiteY4" fmla="*/ 118086 h 780097"/>
                <a:gd name="connsiteX5" fmla="*/ 302824 w 304323"/>
                <a:gd name="connsiteY5" fmla="*/ 37505 h 780097"/>
                <a:gd name="connsiteX6" fmla="*/ 285679 w 304323"/>
                <a:gd name="connsiteY6" fmla="*/ 3215 h 780097"/>
                <a:gd name="connsiteX7" fmla="*/ 179808 w 304323"/>
                <a:gd name="connsiteY7" fmla="*/ 109514 h 780097"/>
                <a:gd name="connsiteX8" fmla="*/ 179808 w 304323"/>
                <a:gd name="connsiteY8" fmla="*/ 443841 h 780097"/>
                <a:gd name="connsiteX9" fmla="*/ 179808 w 304323"/>
                <a:gd name="connsiteY9" fmla="*/ 451985 h 780097"/>
                <a:gd name="connsiteX10" fmla="*/ 3215 w 304323"/>
                <a:gd name="connsiteY10" fmla="*/ 628150 h 780097"/>
                <a:gd name="connsiteX11" fmla="*/ 3215 w 304323"/>
                <a:gd name="connsiteY11" fmla="*/ 746022 h 780097"/>
                <a:gd name="connsiteX12" fmla="*/ 54221 w 304323"/>
                <a:gd name="connsiteY12" fmla="*/ 778597 h 780097"/>
                <a:gd name="connsiteX13" fmla="*/ 54221 w 304323"/>
                <a:gd name="connsiteY13" fmla="*/ 627293 h 78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4323" h="780097">
                  <a:moveTo>
                    <a:pt x="54650" y="627293"/>
                  </a:moveTo>
                  <a:lnTo>
                    <a:pt x="222242" y="459700"/>
                  </a:lnTo>
                  <a:lnTo>
                    <a:pt x="222242" y="459700"/>
                  </a:lnTo>
                  <a:lnTo>
                    <a:pt x="222242" y="126230"/>
                  </a:lnTo>
                  <a:lnTo>
                    <a:pt x="222242" y="118086"/>
                  </a:lnTo>
                  <a:lnTo>
                    <a:pt x="302824" y="37505"/>
                  </a:lnTo>
                  <a:cubicBezTo>
                    <a:pt x="296823" y="25932"/>
                    <a:pt x="291251" y="14788"/>
                    <a:pt x="285679" y="3215"/>
                  </a:cubicBezTo>
                  <a:lnTo>
                    <a:pt x="179808" y="109514"/>
                  </a:lnTo>
                  <a:lnTo>
                    <a:pt x="179808" y="443841"/>
                  </a:lnTo>
                  <a:lnTo>
                    <a:pt x="179808" y="451985"/>
                  </a:lnTo>
                  <a:lnTo>
                    <a:pt x="3215" y="628150"/>
                  </a:lnTo>
                  <a:lnTo>
                    <a:pt x="3215" y="746022"/>
                  </a:lnTo>
                  <a:cubicBezTo>
                    <a:pt x="20360" y="757166"/>
                    <a:pt x="37076" y="767882"/>
                    <a:pt x="54221" y="778597"/>
                  </a:cubicBezTo>
                  <a:lnTo>
                    <a:pt x="54221" y="627293"/>
                  </a:lnTo>
                  <a:close/>
                </a:path>
              </a:pathLst>
            </a:custGeom>
            <a:grpFill/>
            <a:ln w="9525" cap="flat">
              <a:noFill/>
              <a:prstDash val="solid"/>
              <a:miter/>
            </a:ln>
          </p:spPr>
          <p:txBody>
            <a:bodyPr rtlCol="0" anchor="ctr"/>
            <a:lstStyle/>
            <a:p>
              <a:endParaRPr lang="en-US"/>
            </a:p>
          </p:txBody>
        </p:sp>
        <p:sp>
          <p:nvSpPr>
            <p:cNvPr id="298" name="Freeform: Shape 75">
              <a:extLst>
                <a:ext uri="{FF2B5EF4-FFF2-40B4-BE49-F238E27FC236}">
                  <a16:creationId xmlns:a16="http://schemas.microsoft.com/office/drawing/2014/main" id="{C2E94556-D6C9-434D-AD99-E3C0461AE0A5}"/>
                </a:ext>
              </a:extLst>
            </p:cNvPr>
            <p:cNvSpPr/>
            <p:nvPr/>
          </p:nvSpPr>
          <p:spPr>
            <a:xfrm>
              <a:off x="6292525" y="3346918"/>
              <a:ext cx="317183" cy="797243"/>
            </a:xfrm>
            <a:custGeom>
              <a:avLst/>
              <a:gdLst>
                <a:gd name="connsiteX0" fmla="*/ 222671 w 317182"/>
                <a:gd name="connsiteY0" fmla="*/ 286536 h 797242"/>
                <a:gd name="connsiteX1" fmla="*/ 222671 w 317182"/>
                <a:gd name="connsiteY1" fmla="*/ 286536 h 797242"/>
                <a:gd name="connsiteX2" fmla="*/ 222671 w 317182"/>
                <a:gd name="connsiteY2" fmla="*/ 282678 h 797242"/>
                <a:gd name="connsiteX3" fmla="*/ 314825 w 317182"/>
                <a:gd name="connsiteY3" fmla="*/ 190524 h 797242"/>
                <a:gd name="connsiteX4" fmla="*/ 304538 w 317182"/>
                <a:gd name="connsiteY4" fmla="*/ 152805 h 797242"/>
                <a:gd name="connsiteX5" fmla="*/ 298537 w 317182"/>
                <a:gd name="connsiteY5" fmla="*/ 139518 h 797242"/>
                <a:gd name="connsiteX6" fmla="*/ 251817 w 317182"/>
                <a:gd name="connsiteY6" fmla="*/ 92797 h 797242"/>
                <a:gd name="connsiteX7" fmla="*/ 251817 w 317182"/>
                <a:gd name="connsiteY7" fmla="*/ 88940 h 797242"/>
                <a:gd name="connsiteX8" fmla="*/ 251817 w 317182"/>
                <a:gd name="connsiteY8" fmla="*/ 41791 h 797242"/>
                <a:gd name="connsiteX9" fmla="*/ 248388 w 317182"/>
                <a:gd name="connsiteY9" fmla="*/ 34933 h 797242"/>
                <a:gd name="connsiteX10" fmla="*/ 231672 w 317182"/>
                <a:gd name="connsiteY10" fmla="*/ 3215 h 797242"/>
                <a:gd name="connsiteX11" fmla="*/ 171236 w 317182"/>
                <a:gd name="connsiteY11" fmla="*/ 63651 h 797242"/>
                <a:gd name="connsiteX12" fmla="*/ 171236 w 317182"/>
                <a:gd name="connsiteY12" fmla="*/ 397121 h 797242"/>
                <a:gd name="connsiteX13" fmla="*/ 171236 w 317182"/>
                <a:gd name="connsiteY13" fmla="*/ 405265 h 797242"/>
                <a:gd name="connsiteX14" fmla="*/ 3215 w 317182"/>
                <a:gd name="connsiteY14" fmla="*/ 573286 h 797242"/>
                <a:gd name="connsiteX15" fmla="*/ 3215 w 317182"/>
                <a:gd name="connsiteY15" fmla="*/ 731877 h 797242"/>
                <a:gd name="connsiteX16" fmla="*/ 74795 w 317182"/>
                <a:gd name="connsiteY16" fmla="*/ 773454 h 797242"/>
                <a:gd name="connsiteX17" fmla="*/ 74795 w 317182"/>
                <a:gd name="connsiteY17" fmla="*/ 528709 h 797242"/>
                <a:gd name="connsiteX18" fmla="*/ 74795 w 317182"/>
                <a:gd name="connsiteY18" fmla="*/ 524851 h 797242"/>
                <a:gd name="connsiteX19" fmla="*/ 190524 w 317182"/>
                <a:gd name="connsiteY19" fmla="*/ 409123 h 797242"/>
                <a:gd name="connsiteX20" fmla="*/ 190524 w 317182"/>
                <a:gd name="connsiteY20" fmla="*/ 257390 h 797242"/>
                <a:gd name="connsiteX21" fmla="*/ 190524 w 317182"/>
                <a:gd name="connsiteY21" fmla="*/ 253103 h 797242"/>
                <a:gd name="connsiteX22" fmla="*/ 223099 w 317182"/>
                <a:gd name="connsiteY22" fmla="*/ 220528 h 797242"/>
                <a:gd name="connsiteX23" fmla="*/ 212384 w 317182"/>
                <a:gd name="connsiteY23" fmla="*/ 212812 h 797242"/>
                <a:gd name="connsiteX24" fmla="*/ 212384 w 317182"/>
                <a:gd name="connsiteY24" fmla="*/ 152376 h 797242"/>
                <a:gd name="connsiteX25" fmla="*/ 273248 w 317182"/>
                <a:gd name="connsiteY25" fmla="*/ 151948 h 797242"/>
                <a:gd name="connsiteX26" fmla="*/ 273248 w 317182"/>
                <a:gd name="connsiteY26" fmla="*/ 212812 h 797242"/>
                <a:gd name="connsiteX27" fmla="*/ 247102 w 317182"/>
                <a:gd name="connsiteY27" fmla="*/ 224814 h 797242"/>
                <a:gd name="connsiteX28" fmla="*/ 211098 w 317182"/>
                <a:gd name="connsiteY28" fmla="*/ 260818 h 797242"/>
                <a:gd name="connsiteX29" fmla="*/ 211098 w 317182"/>
                <a:gd name="connsiteY29" fmla="*/ 412552 h 797242"/>
                <a:gd name="connsiteX30" fmla="*/ 210669 w 317182"/>
                <a:gd name="connsiteY30" fmla="*/ 416838 h 797242"/>
                <a:gd name="connsiteX31" fmla="*/ 94940 w 317182"/>
                <a:gd name="connsiteY31" fmla="*/ 532567 h 797242"/>
                <a:gd name="connsiteX32" fmla="*/ 94940 w 317182"/>
                <a:gd name="connsiteY32" fmla="*/ 784170 h 797242"/>
                <a:gd name="connsiteX33" fmla="*/ 117658 w 317182"/>
                <a:gd name="connsiteY33" fmla="*/ 796600 h 797242"/>
                <a:gd name="connsiteX34" fmla="*/ 117658 w 317182"/>
                <a:gd name="connsiteY34" fmla="*/ 538139 h 797242"/>
                <a:gd name="connsiteX35" fmla="*/ 117229 w 317182"/>
                <a:gd name="connsiteY35" fmla="*/ 533853 h 797242"/>
                <a:gd name="connsiteX36" fmla="*/ 222671 w 317182"/>
                <a:gd name="connsiteY36" fmla="*/ 428411 h 797242"/>
                <a:gd name="connsiteX37" fmla="*/ 222671 w 317182"/>
                <a:gd name="connsiteY37" fmla="*/ 286536 h 79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7182" h="797242">
                  <a:moveTo>
                    <a:pt x="222671" y="286536"/>
                  </a:moveTo>
                  <a:lnTo>
                    <a:pt x="222671" y="286536"/>
                  </a:lnTo>
                  <a:lnTo>
                    <a:pt x="222671" y="282678"/>
                  </a:lnTo>
                  <a:lnTo>
                    <a:pt x="314825" y="190524"/>
                  </a:lnTo>
                  <a:lnTo>
                    <a:pt x="304538" y="152805"/>
                  </a:lnTo>
                  <a:cubicBezTo>
                    <a:pt x="302395" y="148519"/>
                    <a:pt x="300680" y="143804"/>
                    <a:pt x="298537" y="139518"/>
                  </a:cubicBezTo>
                  <a:lnTo>
                    <a:pt x="251817" y="92797"/>
                  </a:lnTo>
                  <a:lnTo>
                    <a:pt x="251817" y="88940"/>
                  </a:lnTo>
                  <a:lnTo>
                    <a:pt x="251817" y="41791"/>
                  </a:lnTo>
                  <a:cubicBezTo>
                    <a:pt x="250531" y="39648"/>
                    <a:pt x="249674" y="37076"/>
                    <a:pt x="248388" y="34933"/>
                  </a:cubicBezTo>
                  <a:cubicBezTo>
                    <a:pt x="242816" y="24217"/>
                    <a:pt x="237244" y="13930"/>
                    <a:pt x="231672" y="3215"/>
                  </a:cubicBezTo>
                  <a:lnTo>
                    <a:pt x="171236" y="63651"/>
                  </a:lnTo>
                  <a:lnTo>
                    <a:pt x="171236" y="397121"/>
                  </a:lnTo>
                  <a:lnTo>
                    <a:pt x="171236" y="405265"/>
                  </a:lnTo>
                  <a:lnTo>
                    <a:pt x="3215" y="573286"/>
                  </a:lnTo>
                  <a:lnTo>
                    <a:pt x="3215" y="731877"/>
                  </a:lnTo>
                  <a:cubicBezTo>
                    <a:pt x="26789" y="746022"/>
                    <a:pt x="50792" y="759738"/>
                    <a:pt x="74795" y="773454"/>
                  </a:cubicBezTo>
                  <a:lnTo>
                    <a:pt x="74795" y="528709"/>
                  </a:lnTo>
                  <a:lnTo>
                    <a:pt x="74795" y="524851"/>
                  </a:lnTo>
                  <a:lnTo>
                    <a:pt x="190524" y="409123"/>
                  </a:lnTo>
                  <a:lnTo>
                    <a:pt x="190524" y="257390"/>
                  </a:lnTo>
                  <a:lnTo>
                    <a:pt x="190524" y="253103"/>
                  </a:lnTo>
                  <a:lnTo>
                    <a:pt x="223099" y="220528"/>
                  </a:lnTo>
                  <a:cubicBezTo>
                    <a:pt x="219242" y="218384"/>
                    <a:pt x="215384" y="215813"/>
                    <a:pt x="212384" y="212812"/>
                  </a:cubicBezTo>
                  <a:cubicBezTo>
                    <a:pt x="195667" y="196096"/>
                    <a:pt x="195667" y="169093"/>
                    <a:pt x="212384" y="152376"/>
                  </a:cubicBezTo>
                  <a:cubicBezTo>
                    <a:pt x="229100" y="135660"/>
                    <a:pt x="256103" y="135231"/>
                    <a:pt x="273248" y="151948"/>
                  </a:cubicBezTo>
                  <a:cubicBezTo>
                    <a:pt x="289965" y="168664"/>
                    <a:pt x="289965" y="196096"/>
                    <a:pt x="273248" y="212812"/>
                  </a:cubicBezTo>
                  <a:cubicBezTo>
                    <a:pt x="265962" y="220099"/>
                    <a:pt x="256532" y="223957"/>
                    <a:pt x="247102" y="224814"/>
                  </a:cubicBezTo>
                  <a:lnTo>
                    <a:pt x="211098" y="260818"/>
                  </a:lnTo>
                  <a:lnTo>
                    <a:pt x="211098" y="412552"/>
                  </a:lnTo>
                  <a:lnTo>
                    <a:pt x="210669" y="416838"/>
                  </a:lnTo>
                  <a:lnTo>
                    <a:pt x="94940" y="532567"/>
                  </a:lnTo>
                  <a:lnTo>
                    <a:pt x="94940" y="784170"/>
                  </a:lnTo>
                  <a:cubicBezTo>
                    <a:pt x="102656" y="788456"/>
                    <a:pt x="109942" y="792742"/>
                    <a:pt x="117658" y="796600"/>
                  </a:cubicBezTo>
                  <a:lnTo>
                    <a:pt x="117658" y="538139"/>
                  </a:lnTo>
                  <a:lnTo>
                    <a:pt x="117229" y="533853"/>
                  </a:lnTo>
                  <a:lnTo>
                    <a:pt x="222671" y="428411"/>
                  </a:lnTo>
                  <a:lnTo>
                    <a:pt x="222671" y="286536"/>
                  </a:lnTo>
                  <a:close/>
                </a:path>
              </a:pathLst>
            </a:custGeom>
            <a:grpFill/>
            <a:ln w="9525" cap="flat">
              <a:noFill/>
              <a:prstDash val="solid"/>
              <a:miter/>
            </a:ln>
          </p:spPr>
          <p:txBody>
            <a:bodyPr rtlCol="0" anchor="ctr"/>
            <a:lstStyle/>
            <a:p>
              <a:endParaRPr lang="en-US"/>
            </a:p>
          </p:txBody>
        </p:sp>
        <p:sp>
          <p:nvSpPr>
            <p:cNvPr id="299" name="Freeform: Shape 76">
              <a:extLst>
                <a:ext uri="{FF2B5EF4-FFF2-40B4-BE49-F238E27FC236}">
                  <a16:creationId xmlns:a16="http://schemas.microsoft.com/office/drawing/2014/main" id="{2A66CDA2-F188-1D47-A5E6-4D822EC53065}"/>
                </a:ext>
              </a:extLst>
            </p:cNvPr>
            <p:cNvSpPr/>
            <p:nvPr/>
          </p:nvSpPr>
          <p:spPr>
            <a:xfrm>
              <a:off x="6458402" y="3594664"/>
              <a:ext cx="188595" cy="587216"/>
            </a:xfrm>
            <a:custGeom>
              <a:avLst/>
              <a:gdLst>
                <a:gd name="connsiteX0" fmla="*/ 21217 w 188595"/>
                <a:gd name="connsiteY0" fmla="*/ 585716 h 587216"/>
                <a:gd name="connsiteX1" fmla="*/ 21217 w 188595"/>
                <a:gd name="connsiteY1" fmla="*/ 327684 h 587216"/>
                <a:gd name="connsiteX2" fmla="*/ 21646 w 188595"/>
                <a:gd name="connsiteY2" fmla="*/ 323397 h 587216"/>
                <a:gd name="connsiteX3" fmla="*/ 140375 w 188595"/>
                <a:gd name="connsiteY3" fmla="*/ 204668 h 587216"/>
                <a:gd name="connsiteX4" fmla="*/ 140375 w 188595"/>
                <a:gd name="connsiteY4" fmla="*/ 62793 h 587216"/>
                <a:gd name="connsiteX5" fmla="*/ 140803 w 188595"/>
                <a:gd name="connsiteY5" fmla="*/ 58936 h 587216"/>
                <a:gd name="connsiteX6" fmla="*/ 186238 w 188595"/>
                <a:gd name="connsiteY6" fmla="*/ 13502 h 587216"/>
                <a:gd name="connsiteX7" fmla="*/ 181951 w 188595"/>
                <a:gd name="connsiteY7" fmla="*/ 3215 h 587216"/>
                <a:gd name="connsiteX8" fmla="*/ 124944 w 188595"/>
                <a:gd name="connsiteY8" fmla="*/ 60222 h 587216"/>
                <a:gd name="connsiteX9" fmla="*/ 124944 w 188595"/>
                <a:gd name="connsiteY9" fmla="*/ 199096 h 587216"/>
                <a:gd name="connsiteX10" fmla="*/ 125373 w 188595"/>
                <a:gd name="connsiteY10" fmla="*/ 203382 h 587216"/>
                <a:gd name="connsiteX11" fmla="*/ 3215 w 188595"/>
                <a:gd name="connsiteY11" fmla="*/ 325540 h 587216"/>
                <a:gd name="connsiteX12" fmla="*/ 3215 w 188595"/>
                <a:gd name="connsiteY12" fmla="*/ 576715 h 587216"/>
                <a:gd name="connsiteX13" fmla="*/ 21217 w 188595"/>
                <a:gd name="connsiteY13" fmla="*/ 585716 h 58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8595" h="587216">
                  <a:moveTo>
                    <a:pt x="21217" y="585716"/>
                  </a:moveTo>
                  <a:lnTo>
                    <a:pt x="21217" y="327684"/>
                  </a:lnTo>
                  <a:lnTo>
                    <a:pt x="21646" y="323397"/>
                  </a:lnTo>
                  <a:lnTo>
                    <a:pt x="140375" y="204668"/>
                  </a:lnTo>
                  <a:lnTo>
                    <a:pt x="140375" y="62793"/>
                  </a:lnTo>
                  <a:lnTo>
                    <a:pt x="140803" y="58936"/>
                  </a:lnTo>
                  <a:lnTo>
                    <a:pt x="186238" y="13502"/>
                  </a:lnTo>
                  <a:cubicBezTo>
                    <a:pt x="184952" y="10073"/>
                    <a:pt x="183237" y="6644"/>
                    <a:pt x="181951" y="3215"/>
                  </a:cubicBezTo>
                  <a:lnTo>
                    <a:pt x="124944" y="60222"/>
                  </a:lnTo>
                  <a:lnTo>
                    <a:pt x="124944" y="199096"/>
                  </a:lnTo>
                  <a:lnTo>
                    <a:pt x="125373" y="203382"/>
                  </a:lnTo>
                  <a:lnTo>
                    <a:pt x="3215" y="325540"/>
                  </a:lnTo>
                  <a:lnTo>
                    <a:pt x="3215" y="576715"/>
                  </a:lnTo>
                  <a:cubicBezTo>
                    <a:pt x="9216" y="579715"/>
                    <a:pt x="15216" y="582716"/>
                    <a:pt x="21217" y="585716"/>
                  </a:cubicBezTo>
                  <a:close/>
                </a:path>
              </a:pathLst>
            </a:custGeom>
            <a:grpFill/>
            <a:ln w="9525" cap="flat">
              <a:noFill/>
              <a:prstDash val="solid"/>
              <a:miter/>
            </a:ln>
          </p:spPr>
          <p:txBody>
            <a:bodyPr rtlCol="0" anchor="ctr"/>
            <a:lstStyle/>
            <a:p>
              <a:endParaRPr lang="en-US"/>
            </a:p>
          </p:txBody>
        </p:sp>
        <p:sp>
          <p:nvSpPr>
            <p:cNvPr id="300" name="Freeform: Shape 77">
              <a:extLst>
                <a:ext uri="{FF2B5EF4-FFF2-40B4-BE49-F238E27FC236}">
                  <a16:creationId xmlns:a16="http://schemas.microsoft.com/office/drawing/2014/main" id="{84B288CB-DB5B-BE47-9E90-2063A1CF34E4}"/>
                </a:ext>
              </a:extLst>
            </p:cNvPr>
            <p:cNvSpPr/>
            <p:nvPr/>
          </p:nvSpPr>
          <p:spPr>
            <a:xfrm>
              <a:off x="5688163" y="3529513"/>
              <a:ext cx="94298" cy="98584"/>
            </a:xfrm>
            <a:custGeom>
              <a:avLst/>
              <a:gdLst>
                <a:gd name="connsiteX0" fmla="*/ 68366 w 94297"/>
                <a:gd name="connsiteY0" fmla="*/ 3215 h 98583"/>
                <a:gd name="connsiteX1" fmla="*/ 3215 w 94297"/>
                <a:gd name="connsiteY1" fmla="*/ 68366 h 98583"/>
                <a:gd name="connsiteX2" fmla="*/ 29361 w 94297"/>
                <a:gd name="connsiteY2" fmla="*/ 95369 h 98583"/>
                <a:gd name="connsiteX3" fmla="*/ 91083 w 94297"/>
                <a:gd name="connsiteY3" fmla="*/ 33647 h 98583"/>
                <a:gd name="connsiteX4" fmla="*/ 68366 w 94297"/>
                <a:gd name="connsiteY4" fmla="*/ 3215 h 98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97" h="98583">
                  <a:moveTo>
                    <a:pt x="68366" y="3215"/>
                  </a:moveTo>
                  <a:lnTo>
                    <a:pt x="3215" y="68366"/>
                  </a:lnTo>
                  <a:cubicBezTo>
                    <a:pt x="11787" y="77367"/>
                    <a:pt x="20360" y="86368"/>
                    <a:pt x="29361" y="95369"/>
                  </a:cubicBezTo>
                  <a:lnTo>
                    <a:pt x="91083" y="33647"/>
                  </a:lnTo>
                  <a:cubicBezTo>
                    <a:pt x="83796" y="23789"/>
                    <a:pt x="76081" y="13502"/>
                    <a:pt x="68366" y="3215"/>
                  </a:cubicBezTo>
                  <a:close/>
                </a:path>
              </a:pathLst>
            </a:custGeom>
            <a:grpFill/>
            <a:ln w="9525" cap="flat">
              <a:noFill/>
              <a:prstDash val="solid"/>
              <a:miter/>
            </a:ln>
          </p:spPr>
          <p:txBody>
            <a:bodyPr rtlCol="0" anchor="ctr"/>
            <a:lstStyle/>
            <a:p>
              <a:endParaRPr lang="en-US"/>
            </a:p>
          </p:txBody>
        </p:sp>
        <p:sp>
          <p:nvSpPr>
            <p:cNvPr id="301" name="Freeform: Shape 78">
              <a:extLst>
                <a:ext uri="{FF2B5EF4-FFF2-40B4-BE49-F238E27FC236}">
                  <a16:creationId xmlns:a16="http://schemas.microsoft.com/office/drawing/2014/main" id="{A7E2CC8E-8188-2D4F-9012-3939E6626378}"/>
                </a:ext>
              </a:extLst>
            </p:cNvPr>
            <p:cNvSpPr/>
            <p:nvPr/>
          </p:nvSpPr>
          <p:spPr>
            <a:xfrm>
              <a:off x="5582293" y="2463951"/>
              <a:ext cx="840105" cy="1084421"/>
            </a:xfrm>
            <a:custGeom>
              <a:avLst/>
              <a:gdLst>
                <a:gd name="connsiteX0" fmla="*/ 689443 w 840105"/>
                <a:gd name="connsiteY0" fmla="*/ 436555 h 1084421"/>
                <a:gd name="connsiteX1" fmla="*/ 773454 w 840105"/>
                <a:gd name="connsiteY1" fmla="*/ 436555 h 1084421"/>
                <a:gd name="connsiteX2" fmla="*/ 782027 w 840105"/>
                <a:gd name="connsiteY2" fmla="*/ 424125 h 1084421"/>
                <a:gd name="connsiteX3" fmla="*/ 839462 w 840105"/>
                <a:gd name="connsiteY3" fmla="*/ 421124 h 1084421"/>
                <a:gd name="connsiteX4" fmla="*/ 835605 w 840105"/>
                <a:gd name="connsiteY4" fmla="*/ 336685 h 1084421"/>
                <a:gd name="connsiteX5" fmla="*/ 837748 w 840105"/>
                <a:gd name="connsiteY5" fmla="*/ 239816 h 1084421"/>
                <a:gd name="connsiteX6" fmla="*/ 835605 w 840105"/>
                <a:gd name="connsiteY6" fmla="*/ 241959 h 1084421"/>
                <a:gd name="connsiteX7" fmla="*/ 774740 w 840105"/>
                <a:gd name="connsiteY7" fmla="*/ 241959 h 1084421"/>
                <a:gd name="connsiteX8" fmla="*/ 774311 w 840105"/>
                <a:gd name="connsiteY8" fmla="*/ 181094 h 1084421"/>
                <a:gd name="connsiteX9" fmla="*/ 835605 w 840105"/>
                <a:gd name="connsiteY9" fmla="*/ 181094 h 1084421"/>
                <a:gd name="connsiteX10" fmla="*/ 837319 w 840105"/>
                <a:gd name="connsiteY10" fmla="*/ 182809 h 1084421"/>
                <a:gd name="connsiteX11" fmla="*/ 835605 w 840105"/>
                <a:gd name="connsiteY11" fmla="*/ 149376 h 1084421"/>
                <a:gd name="connsiteX12" fmla="*/ 833462 w 840105"/>
                <a:gd name="connsiteY12" fmla="*/ 122801 h 1084421"/>
                <a:gd name="connsiteX13" fmla="*/ 809458 w 840105"/>
                <a:gd name="connsiteY13" fmla="*/ 98798 h 1084421"/>
                <a:gd name="connsiteX14" fmla="*/ 731449 w 840105"/>
                <a:gd name="connsiteY14" fmla="*/ 98798 h 1084421"/>
                <a:gd name="connsiteX15" fmla="*/ 720305 w 840105"/>
                <a:gd name="connsiteY15" fmla="*/ 120230 h 1084421"/>
                <a:gd name="connsiteX16" fmla="*/ 659440 w 840105"/>
                <a:gd name="connsiteY16" fmla="*/ 120230 h 1084421"/>
                <a:gd name="connsiteX17" fmla="*/ 659440 w 840105"/>
                <a:gd name="connsiteY17" fmla="*/ 59365 h 1084421"/>
                <a:gd name="connsiteX18" fmla="*/ 719876 w 840105"/>
                <a:gd name="connsiteY18" fmla="*/ 59793 h 1084421"/>
                <a:gd name="connsiteX19" fmla="*/ 731020 w 840105"/>
                <a:gd name="connsiteY19" fmla="*/ 79510 h 1084421"/>
                <a:gd name="connsiteX20" fmla="*/ 813745 w 840105"/>
                <a:gd name="connsiteY20" fmla="*/ 79081 h 1084421"/>
                <a:gd name="connsiteX21" fmla="*/ 817602 w 840105"/>
                <a:gd name="connsiteY21" fmla="*/ 79081 h 1084421"/>
                <a:gd name="connsiteX22" fmla="*/ 830890 w 840105"/>
                <a:gd name="connsiteY22" fmla="*/ 92369 h 1084421"/>
                <a:gd name="connsiteX23" fmla="*/ 824032 w 840105"/>
                <a:gd name="connsiteY23" fmla="*/ 8787 h 1084421"/>
                <a:gd name="connsiteX24" fmla="*/ 821889 w 840105"/>
                <a:gd name="connsiteY24" fmla="*/ 3215 h 1084421"/>
                <a:gd name="connsiteX25" fmla="*/ 818888 w 840105"/>
                <a:gd name="connsiteY25" fmla="*/ 5787 h 1084421"/>
                <a:gd name="connsiteX26" fmla="*/ 818888 w 840105"/>
                <a:gd name="connsiteY26" fmla="*/ 5787 h 1084421"/>
                <a:gd name="connsiteX27" fmla="*/ 806458 w 840105"/>
                <a:gd name="connsiteY27" fmla="*/ 5787 h 1084421"/>
                <a:gd name="connsiteX28" fmla="*/ 670155 w 840105"/>
                <a:gd name="connsiteY28" fmla="*/ 6215 h 1084421"/>
                <a:gd name="connsiteX29" fmla="*/ 616149 w 840105"/>
                <a:gd name="connsiteY29" fmla="*/ 60222 h 1084421"/>
                <a:gd name="connsiteX30" fmla="*/ 616149 w 840105"/>
                <a:gd name="connsiteY30" fmla="*/ 211955 h 1084421"/>
                <a:gd name="connsiteX31" fmla="*/ 616149 w 840105"/>
                <a:gd name="connsiteY31" fmla="*/ 223957 h 1084421"/>
                <a:gd name="connsiteX32" fmla="*/ 3215 w 840105"/>
                <a:gd name="connsiteY32" fmla="*/ 836890 h 1084421"/>
                <a:gd name="connsiteX33" fmla="*/ 49506 w 840105"/>
                <a:gd name="connsiteY33" fmla="*/ 886611 h 1084421"/>
                <a:gd name="connsiteX34" fmla="*/ 263819 w 840105"/>
                <a:gd name="connsiteY34" fmla="*/ 672299 h 1084421"/>
                <a:gd name="connsiteX35" fmla="*/ 285250 w 840105"/>
                <a:gd name="connsiteY35" fmla="*/ 593431 h 1084421"/>
                <a:gd name="connsiteX36" fmla="*/ 286536 w 840105"/>
                <a:gd name="connsiteY36" fmla="*/ 588288 h 1084421"/>
                <a:gd name="connsiteX37" fmla="*/ 563856 w 840105"/>
                <a:gd name="connsiteY37" fmla="*/ 310968 h 1084421"/>
                <a:gd name="connsiteX38" fmla="*/ 572000 w 840105"/>
                <a:gd name="connsiteY38" fmla="*/ 310968 h 1084421"/>
                <a:gd name="connsiteX39" fmla="*/ 650439 w 840105"/>
                <a:gd name="connsiteY39" fmla="*/ 311396 h 1084421"/>
                <a:gd name="connsiteX40" fmla="*/ 660297 w 840105"/>
                <a:gd name="connsiteY40" fmla="*/ 295108 h 1084421"/>
                <a:gd name="connsiteX41" fmla="*/ 721162 w 840105"/>
                <a:gd name="connsiteY41" fmla="*/ 295108 h 1084421"/>
                <a:gd name="connsiteX42" fmla="*/ 721162 w 840105"/>
                <a:gd name="connsiteY42" fmla="*/ 355973 h 1084421"/>
                <a:gd name="connsiteX43" fmla="*/ 660297 w 840105"/>
                <a:gd name="connsiteY43" fmla="*/ 355973 h 1084421"/>
                <a:gd name="connsiteX44" fmla="*/ 655582 w 840105"/>
                <a:gd name="connsiteY44" fmla="*/ 349972 h 1084421"/>
                <a:gd name="connsiteX45" fmla="*/ 579715 w 840105"/>
                <a:gd name="connsiteY45" fmla="*/ 350401 h 1084421"/>
                <a:gd name="connsiteX46" fmla="*/ 321683 w 840105"/>
                <a:gd name="connsiteY46" fmla="*/ 608433 h 1084421"/>
                <a:gd name="connsiteX47" fmla="*/ 300252 w 840105"/>
                <a:gd name="connsiteY47" fmla="*/ 687300 h 1084421"/>
                <a:gd name="connsiteX48" fmla="*/ 298966 w 840105"/>
                <a:gd name="connsiteY48" fmla="*/ 692444 h 1084421"/>
                <a:gd name="connsiteX49" fmla="*/ 75652 w 840105"/>
                <a:gd name="connsiteY49" fmla="*/ 915757 h 1084421"/>
                <a:gd name="connsiteX50" fmla="*/ 104370 w 840105"/>
                <a:gd name="connsiteY50" fmla="*/ 949190 h 1084421"/>
                <a:gd name="connsiteX51" fmla="*/ 384691 w 840105"/>
                <a:gd name="connsiteY51" fmla="*/ 668870 h 1084421"/>
                <a:gd name="connsiteX52" fmla="*/ 398407 w 840105"/>
                <a:gd name="connsiteY52" fmla="*/ 617006 h 1084421"/>
                <a:gd name="connsiteX53" fmla="*/ 399264 w 840105"/>
                <a:gd name="connsiteY53" fmla="*/ 614434 h 1084421"/>
                <a:gd name="connsiteX54" fmla="*/ 421124 w 840105"/>
                <a:gd name="connsiteY54" fmla="*/ 592574 h 1084421"/>
                <a:gd name="connsiteX55" fmla="*/ 421981 w 840105"/>
                <a:gd name="connsiteY55" fmla="*/ 532995 h 1084421"/>
                <a:gd name="connsiteX56" fmla="*/ 482846 w 840105"/>
                <a:gd name="connsiteY56" fmla="*/ 533424 h 1084421"/>
                <a:gd name="connsiteX57" fmla="*/ 482846 w 840105"/>
                <a:gd name="connsiteY57" fmla="*/ 594289 h 1084421"/>
                <a:gd name="connsiteX58" fmla="*/ 437840 w 840105"/>
                <a:gd name="connsiteY58" fmla="*/ 604147 h 1084421"/>
                <a:gd name="connsiteX59" fmla="*/ 416838 w 840105"/>
                <a:gd name="connsiteY59" fmla="*/ 625150 h 1084421"/>
                <a:gd name="connsiteX60" fmla="*/ 403122 w 840105"/>
                <a:gd name="connsiteY60" fmla="*/ 677013 h 1084421"/>
                <a:gd name="connsiteX61" fmla="*/ 402265 w 840105"/>
                <a:gd name="connsiteY61" fmla="*/ 679585 h 1084421"/>
                <a:gd name="connsiteX62" fmla="*/ 117229 w 840105"/>
                <a:gd name="connsiteY62" fmla="*/ 964621 h 1084421"/>
                <a:gd name="connsiteX63" fmla="*/ 139089 w 840105"/>
                <a:gd name="connsiteY63" fmla="*/ 991195 h 1084421"/>
                <a:gd name="connsiteX64" fmla="*/ 532567 w 840105"/>
                <a:gd name="connsiteY64" fmla="*/ 597718 h 1084421"/>
                <a:gd name="connsiteX65" fmla="*/ 532567 w 840105"/>
                <a:gd name="connsiteY65" fmla="*/ 466130 h 1084421"/>
                <a:gd name="connsiteX66" fmla="*/ 534281 w 840105"/>
                <a:gd name="connsiteY66" fmla="*/ 460129 h 1084421"/>
                <a:gd name="connsiteX67" fmla="*/ 541139 w 840105"/>
                <a:gd name="connsiteY67" fmla="*/ 408694 h 1084421"/>
                <a:gd name="connsiteX68" fmla="*/ 602004 w 840105"/>
                <a:gd name="connsiteY68" fmla="*/ 409123 h 1084421"/>
                <a:gd name="connsiteX69" fmla="*/ 602004 w 840105"/>
                <a:gd name="connsiteY69" fmla="*/ 469559 h 1084421"/>
                <a:gd name="connsiteX70" fmla="*/ 552283 w 840105"/>
                <a:gd name="connsiteY70" fmla="*/ 477274 h 1084421"/>
                <a:gd name="connsiteX71" fmla="*/ 552283 w 840105"/>
                <a:gd name="connsiteY71" fmla="*/ 601575 h 1084421"/>
                <a:gd name="connsiteX72" fmla="*/ 551855 w 840105"/>
                <a:gd name="connsiteY72" fmla="*/ 605862 h 1084421"/>
                <a:gd name="connsiteX73" fmla="*/ 151090 w 840105"/>
                <a:gd name="connsiteY73" fmla="*/ 1006626 h 1084421"/>
                <a:gd name="connsiteX74" fmla="*/ 176379 w 840105"/>
                <a:gd name="connsiteY74" fmla="*/ 1038773 h 1084421"/>
                <a:gd name="connsiteX75" fmla="*/ 471702 w 840105"/>
                <a:gd name="connsiteY75" fmla="*/ 743450 h 1084421"/>
                <a:gd name="connsiteX76" fmla="*/ 475560 w 840105"/>
                <a:gd name="connsiteY76" fmla="*/ 743450 h 1084421"/>
                <a:gd name="connsiteX77" fmla="*/ 513279 w 840105"/>
                <a:gd name="connsiteY77" fmla="*/ 743022 h 1084421"/>
                <a:gd name="connsiteX78" fmla="*/ 532995 w 840105"/>
                <a:gd name="connsiteY78" fmla="*/ 709160 h 1084421"/>
                <a:gd name="connsiteX79" fmla="*/ 542425 w 840105"/>
                <a:gd name="connsiteY79" fmla="*/ 662440 h 1084421"/>
                <a:gd name="connsiteX80" fmla="*/ 602861 w 840105"/>
                <a:gd name="connsiteY80" fmla="*/ 662440 h 1084421"/>
                <a:gd name="connsiteX81" fmla="*/ 603290 w 840105"/>
                <a:gd name="connsiteY81" fmla="*/ 722876 h 1084421"/>
                <a:gd name="connsiteX82" fmla="*/ 546283 w 840105"/>
                <a:gd name="connsiteY82" fmla="*/ 725877 h 1084421"/>
                <a:gd name="connsiteX83" fmla="*/ 527852 w 840105"/>
                <a:gd name="connsiteY83" fmla="*/ 757595 h 1084421"/>
                <a:gd name="connsiteX84" fmla="*/ 525280 w 840105"/>
                <a:gd name="connsiteY84" fmla="*/ 762738 h 1084421"/>
                <a:gd name="connsiteX85" fmla="*/ 519708 w 840105"/>
                <a:gd name="connsiteY85" fmla="*/ 762738 h 1084421"/>
                <a:gd name="connsiteX86" fmla="*/ 480274 w 840105"/>
                <a:gd name="connsiteY86" fmla="*/ 762738 h 1084421"/>
                <a:gd name="connsiteX87" fmla="*/ 188809 w 840105"/>
                <a:gd name="connsiteY87" fmla="*/ 1054203 h 1084421"/>
                <a:gd name="connsiteX88" fmla="*/ 211527 w 840105"/>
                <a:gd name="connsiteY88" fmla="*/ 1084636 h 1084421"/>
                <a:gd name="connsiteX89" fmla="*/ 517993 w 840105"/>
                <a:gd name="connsiteY89" fmla="*/ 778169 h 1084421"/>
                <a:gd name="connsiteX90" fmla="*/ 523566 w 840105"/>
                <a:gd name="connsiteY90" fmla="*/ 779455 h 1084421"/>
                <a:gd name="connsiteX91" fmla="*/ 584859 w 840105"/>
                <a:gd name="connsiteY91" fmla="*/ 796171 h 1084421"/>
                <a:gd name="connsiteX92" fmla="*/ 646152 w 840105"/>
                <a:gd name="connsiteY92" fmla="*/ 734878 h 1084421"/>
                <a:gd name="connsiteX93" fmla="*/ 646152 w 840105"/>
                <a:gd name="connsiteY93" fmla="*/ 669727 h 1084421"/>
                <a:gd name="connsiteX94" fmla="*/ 583573 w 840105"/>
                <a:gd name="connsiteY94" fmla="*/ 605004 h 1084421"/>
                <a:gd name="connsiteX95" fmla="*/ 584002 w 840105"/>
                <a:gd name="connsiteY95" fmla="*/ 600718 h 1084421"/>
                <a:gd name="connsiteX96" fmla="*/ 584002 w 840105"/>
                <a:gd name="connsiteY96" fmla="*/ 541996 h 1084421"/>
                <a:gd name="connsiteX97" fmla="*/ 583573 w 840105"/>
                <a:gd name="connsiteY97" fmla="*/ 537710 h 1084421"/>
                <a:gd name="connsiteX98" fmla="*/ 684729 w 840105"/>
                <a:gd name="connsiteY98" fmla="*/ 436555 h 1084421"/>
                <a:gd name="connsiteX99" fmla="*/ 689443 w 840105"/>
                <a:gd name="connsiteY99" fmla="*/ 436555 h 10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840105" h="1084421">
                  <a:moveTo>
                    <a:pt x="689443" y="436555"/>
                  </a:moveTo>
                  <a:lnTo>
                    <a:pt x="773454" y="436555"/>
                  </a:lnTo>
                  <a:cubicBezTo>
                    <a:pt x="775597" y="432268"/>
                    <a:pt x="778597" y="427982"/>
                    <a:pt x="782027" y="424125"/>
                  </a:cubicBezTo>
                  <a:cubicBezTo>
                    <a:pt x="797886" y="408265"/>
                    <a:pt x="822746" y="407408"/>
                    <a:pt x="839462" y="421124"/>
                  </a:cubicBezTo>
                  <a:cubicBezTo>
                    <a:pt x="836462" y="392835"/>
                    <a:pt x="834747" y="364974"/>
                    <a:pt x="835605" y="336685"/>
                  </a:cubicBezTo>
                  <a:cubicBezTo>
                    <a:pt x="836033" y="304538"/>
                    <a:pt x="837319" y="271963"/>
                    <a:pt x="837748" y="239816"/>
                  </a:cubicBezTo>
                  <a:cubicBezTo>
                    <a:pt x="836890" y="240673"/>
                    <a:pt x="836462" y="241530"/>
                    <a:pt x="835605" y="241959"/>
                  </a:cubicBezTo>
                  <a:cubicBezTo>
                    <a:pt x="818888" y="258675"/>
                    <a:pt x="791885" y="258675"/>
                    <a:pt x="774740" y="241959"/>
                  </a:cubicBezTo>
                  <a:cubicBezTo>
                    <a:pt x="758023" y="225243"/>
                    <a:pt x="757595" y="197811"/>
                    <a:pt x="774311" y="181094"/>
                  </a:cubicBezTo>
                  <a:cubicBezTo>
                    <a:pt x="791028" y="164378"/>
                    <a:pt x="818888" y="164378"/>
                    <a:pt x="835605" y="181094"/>
                  </a:cubicBezTo>
                  <a:cubicBezTo>
                    <a:pt x="836033" y="181523"/>
                    <a:pt x="836462" y="182380"/>
                    <a:pt x="837319" y="182809"/>
                  </a:cubicBezTo>
                  <a:cubicBezTo>
                    <a:pt x="836890" y="171665"/>
                    <a:pt x="836462" y="160520"/>
                    <a:pt x="835605" y="149376"/>
                  </a:cubicBezTo>
                  <a:cubicBezTo>
                    <a:pt x="835176" y="140375"/>
                    <a:pt x="834319" y="131802"/>
                    <a:pt x="833462" y="122801"/>
                  </a:cubicBezTo>
                  <a:lnTo>
                    <a:pt x="809458" y="98798"/>
                  </a:lnTo>
                  <a:lnTo>
                    <a:pt x="731449" y="98798"/>
                  </a:lnTo>
                  <a:cubicBezTo>
                    <a:pt x="729734" y="106513"/>
                    <a:pt x="726305" y="113800"/>
                    <a:pt x="720305" y="120230"/>
                  </a:cubicBezTo>
                  <a:cubicBezTo>
                    <a:pt x="703588" y="136946"/>
                    <a:pt x="676156" y="136946"/>
                    <a:pt x="659440" y="120230"/>
                  </a:cubicBezTo>
                  <a:cubicBezTo>
                    <a:pt x="642723" y="103513"/>
                    <a:pt x="642723" y="76081"/>
                    <a:pt x="659440" y="59365"/>
                  </a:cubicBezTo>
                  <a:cubicBezTo>
                    <a:pt x="676156" y="42648"/>
                    <a:pt x="703160" y="42648"/>
                    <a:pt x="719876" y="59793"/>
                  </a:cubicBezTo>
                  <a:cubicBezTo>
                    <a:pt x="725448" y="65365"/>
                    <a:pt x="729306" y="72223"/>
                    <a:pt x="731020" y="79510"/>
                  </a:cubicBezTo>
                  <a:lnTo>
                    <a:pt x="813745" y="79081"/>
                  </a:lnTo>
                  <a:lnTo>
                    <a:pt x="817602" y="79081"/>
                  </a:lnTo>
                  <a:lnTo>
                    <a:pt x="830890" y="92369"/>
                  </a:lnTo>
                  <a:cubicBezTo>
                    <a:pt x="828747" y="64508"/>
                    <a:pt x="826175" y="36648"/>
                    <a:pt x="824032" y="8787"/>
                  </a:cubicBezTo>
                  <a:cubicBezTo>
                    <a:pt x="823175" y="7072"/>
                    <a:pt x="822746" y="4929"/>
                    <a:pt x="821889" y="3215"/>
                  </a:cubicBezTo>
                  <a:lnTo>
                    <a:pt x="818888" y="5787"/>
                  </a:lnTo>
                  <a:lnTo>
                    <a:pt x="818888" y="5787"/>
                  </a:lnTo>
                  <a:lnTo>
                    <a:pt x="806458" y="5787"/>
                  </a:lnTo>
                  <a:lnTo>
                    <a:pt x="670155" y="6215"/>
                  </a:lnTo>
                  <a:lnTo>
                    <a:pt x="616149" y="60222"/>
                  </a:lnTo>
                  <a:lnTo>
                    <a:pt x="616149" y="211955"/>
                  </a:lnTo>
                  <a:lnTo>
                    <a:pt x="616149" y="223957"/>
                  </a:lnTo>
                  <a:lnTo>
                    <a:pt x="3215" y="836890"/>
                  </a:lnTo>
                  <a:cubicBezTo>
                    <a:pt x="18645" y="853178"/>
                    <a:pt x="34076" y="869895"/>
                    <a:pt x="49506" y="886611"/>
                  </a:cubicBezTo>
                  <a:lnTo>
                    <a:pt x="263819" y="672299"/>
                  </a:lnTo>
                  <a:lnTo>
                    <a:pt x="285250" y="593431"/>
                  </a:lnTo>
                  <a:lnTo>
                    <a:pt x="286536" y="588288"/>
                  </a:lnTo>
                  <a:lnTo>
                    <a:pt x="563856" y="310968"/>
                  </a:lnTo>
                  <a:lnTo>
                    <a:pt x="572000" y="310968"/>
                  </a:lnTo>
                  <a:lnTo>
                    <a:pt x="650439" y="311396"/>
                  </a:lnTo>
                  <a:cubicBezTo>
                    <a:pt x="652582" y="305395"/>
                    <a:pt x="655582" y="299823"/>
                    <a:pt x="660297" y="295108"/>
                  </a:cubicBezTo>
                  <a:cubicBezTo>
                    <a:pt x="677013" y="278392"/>
                    <a:pt x="704445" y="278392"/>
                    <a:pt x="721162" y="295108"/>
                  </a:cubicBezTo>
                  <a:cubicBezTo>
                    <a:pt x="737878" y="311825"/>
                    <a:pt x="737878" y="339257"/>
                    <a:pt x="721162" y="355973"/>
                  </a:cubicBezTo>
                  <a:cubicBezTo>
                    <a:pt x="704445" y="372690"/>
                    <a:pt x="677013" y="372690"/>
                    <a:pt x="660297" y="355973"/>
                  </a:cubicBezTo>
                  <a:cubicBezTo>
                    <a:pt x="658582" y="354259"/>
                    <a:pt x="656868" y="352116"/>
                    <a:pt x="655582" y="349972"/>
                  </a:cubicBezTo>
                  <a:lnTo>
                    <a:pt x="579715" y="350401"/>
                  </a:lnTo>
                  <a:lnTo>
                    <a:pt x="321683" y="608433"/>
                  </a:lnTo>
                  <a:lnTo>
                    <a:pt x="300252" y="687300"/>
                  </a:lnTo>
                  <a:lnTo>
                    <a:pt x="298966" y="692444"/>
                  </a:lnTo>
                  <a:lnTo>
                    <a:pt x="75652" y="915757"/>
                  </a:lnTo>
                  <a:cubicBezTo>
                    <a:pt x="85511" y="926902"/>
                    <a:pt x="94940" y="938046"/>
                    <a:pt x="104370" y="949190"/>
                  </a:cubicBezTo>
                  <a:lnTo>
                    <a:pt x="384691" y="668870"/>
                  </a:lnTo>
                  <a:lnTo>
                    <a:pt x="398407" y="617006"/>
                  </a:lnTo>
                  <a:lnTo>
                    <a:pt x="399264" y="614434"/>
                  </a:lnTo>
                  <a:lnTo>
                    <a:pt x="421124" y="592574"/>
                  </a:lnTo>
                  <a:cubicBezTo>
                    <a:pt x="405265" y="575858"/>
                    <a:pt x="405265" y="549283"/>
                    <a:pt x="421981" y="532995"/>
                  </a:cubicBezTo>
                  <a:cubicBezTo>
                    <a:pt x="438698" y="516279"/>
                    <a:pt x="466130" y="516279"/>
                    <a:pt x="482846" y="533424"/>
                  </a:cubicBezTo>
                  <a:cubicBezTo>
                    <a:pt x="499563" y="550140"/>
                    <a:pt x="499563" y="577144"/>
                    <a:pt x="482846" y="594289"/>
                  </a:cubicBezTo>
                  <a:cubicBezTo>
                    <a:pt x="470416" y="606719"/>
                    <a:pt x="452842" y="609719"/>
                    <a:pt x="437840" y="604147"/>
                  </a:cubicBezTo>
                  <a:lnTo>
                    <a:pt x="416838" y="625150"/>
                  </a:lnTo>
                  <a:lnTo>
                    <a:pt x="403122" y="677013"/>
                  </a:lnTo>
                  <a:lnTo>
                    <a:pt x="402265" y="679585"/>
                  </a:lnTo>
                  <a:lnTo>
                    <a:pt x="117229" y="964621"/>
                  </a:lnTo>
                  <a:cubicBezTo>
                    <a:pt x="124516" y="973622"/>
                    <a:pt x="131802" y="982194"/>
                    <a:pt x="139089" y="991195"/>
                  </a:cubicBezTo>
                  <a:lnTo>
                    <a:pt x="532567" y="597718"/>
                  </a:lnTo>
                  <a:lnTo>
                    <a:pt x="532567" y="466130"/>
                  </a:lnTo>
                  <a:cubicBezTo>
                    <a:pt x="532567" y="463987"/>
                    <a:pt x="532995" y="461843"/>
                    <a:pt x="534281" y="460129"/>
                  </a:cubicBezTo>
                  <a:cubicBezTo>
                    <a:pt x="525280" y="443841"/>
                    <a:pt x="526995" y="422410"/>
                    <a:pt x="541139" y="408694"/>
                  </a:cubicBezTo>
                  <a:cubicBezTo>
                    <a:pt x="557856" y="391978"/>
                    <a:pt x="585288" y="392406"/>
                    <a:pt x="602004" y="409123"/>
                  </a:cubicBezTo>
                  <a:cubicBezTo>
                    <a:pt x="618720" y="425839"/>
                    <a:pt x="618720" y="452842"/>
                    <a:pt x="602004" y="469559"/>
                  </a:cubicBezTo>
                  <a:cubicBezTo>
                    <a:pt x="588288" y="483275"/>
                    <a:pt x="568143" y="485847"/>
                    <a:pt x="552283" y="477274"/>
                  </a:cubicBezTo>
                  <a:lnTo>
                    <a:pt x="552283" y="601575"/>
                  </a:lnTo>
                  <a:lnTo>
                    <a:pt x="551855" y="605862"/>
                  </a:lnTo>
                  <a:lnTo>
                    <a:pt x="151090" y="1006626"/>
                  </a:lnTo>
                  <a:cubicBezTo>
                    <a:pt x="159663" y="1017342"/>
                    <a:pt x="167807" y="1028057"/>
                    <a:pt x="176379" y="1038773"/>
                  </a:cubicBezTo>
                  <a:lnTo>
                    <a:pt x="471702" y="743450"/>
                  </a:lnTo>
                  <a:lnTo>
                    <a:pt x="475560" y="743450"/>
                  </a:lnTo>
                  <a:lnTo>
                    <a:pt x="513279" y="743022"/>
                  </a:lnTo>
                  <a:lnTo>
                    <a:pt x="532995" y="709160"/>
                  </a:lnTo>
                  <a:cubicBezTo>
                    <a:pt x="526566" y="693730"/>
                    <a:pt x="529566" y="675299"/>
                    <a:pt x="542425" y="662440"/>
                  </a:cubicBezTo>
                  <a:cubicBezTo>
                    <a:pt x="559141" y="645724"/>
                    <a:pt x="586145" y="645724"/>
                    <a:pt x="602861" y="662440"/>
                  </a:cubicBezTo>
                  <a:cubicBezTo>
                    <a:pt x="619578" y="679156"/>
                    <a:pt x="620006" y="706160"/>
                    <a:pt x="603290" y="722876"/>
                  </a:cubicBezTo>
                  <a:cubicBezTo>
                    <a:pt x="587859" y="738735"/>
                    <a:pt x="562999" y="739593"/>
                    <a:pt x="546283" y="725877"/>
                  </a:cubicBezTo>
                  <a:lnTo>
                    <a:pt x="527852" y="757595"/>
                  </a:lnTo>
                  <a:lnTo>
                    <a:pt x="525280" y="762738"/>
                  </a:lnTo>
                  <a:lnTo>
                    <a:pt x="519708" y="762738"/>
                  </a:lnTo>
                  <a:lnTo>
                    <a:pt x="480274" y="762738"/>
                  </a:lnTo>
                  <a:lnTo>
                    <a:pt x="188809" y="1054203"/>
                  </a:lnTo>
                  <a:cubicBezTo>
                    <a:pt x="196525" y="1064062"/>
                    <a:pt x="203811" y="1074349"/>
                    <a:pt x="211527" y="1084636"/>
                  </a:cubicBezTo>
                  <a:lnTo>
                    <a:pt x="517993" y="778169"/>
                  </a:lnTo>
                  <a:lnTo>
                    <a:pt x="523566" y="779455"/>
                  </a:lnTo>
                  <a:lnTo>
                    <a:pt x="584859" y="796171"/>
                  </a:lnTo>
                  <a:lnTo>
                    <a:pt x="646152" y="734878"/>
                  </a:lnTo>
                  <a:lnTo>
                    <a:pt x="646152" y="669727"/>
                  </a:lnTo>
                  <a:lnTo>
                    <a:pt x="583573" y="605004"/>
                  </a:lnTo>
                  <a:lnTo>
                    <a:pt x="584002" y="600718"/>
                  </a:lnTo>
                  <a:lnTo>
                    <a:pt x="584002" y="541996"/>
                  </a:lnTo>
                  <a:lnTo>
                    <a:pt x="583573" y="537710"/>
                  </a:lnTo>
                  <a:lnTo>
                    <a:pt x="684729" y="436555"/>
                  </a:lnTo>
                  <a:lnTo>
                    <a:pt x="689443" y="436555"/>
                  </a:lnTo>
                  <a:close/>
                </a:path>
              </a:pathLst>
            </a:custGeom>
            <a:grpFill/>
            <a:ln w="9525" cap="flat">
              <a:noFill/>
              <a:prstDash val="solid"/>
              <a:miter/>
            </a:ln>
          </p:spPr>
          <p:txBody>
            <a:bodyPr rtlCol="0" anchor="ctr"/>
            <a:lstStyle/>
            <a:p>
              <a:endParaRPr lang="en-US"/>
            </a:p>
          </p:txBody>
        </p:sp>
        <p:sp>
          <p:nvSpPr>
            <p:cNvPr id="302" name="Freeform: Shape 79">
              <a:extLst>
                <a:ext uri="{FF2B5EF4-FFF2-40B4-BE49-F238E27FC236}">
                  <a16:creationId xmlns:a16="http://schemas.microsoft.com/office/drawing/2014/main" id="{110B4DCB-05EF-1D48-B8CC-92E382B9C22C}"/>
                </a:ext>
              </a:extLst>
            </p:cNvPr>
            <p:cNvSpPr/>
            <p:nvPr/>
          </p:nvSpPr>
          <p:spPr>
            <a:xfrm>
              <a:off x="5947053" y="3832551"/>
              <a:ext cx="12859" cy="12859"/>
            </a:xfrm>
            <a:custGeom>
              <a:avLst/>
              <a:gdLst>
                <a:gd name="connsiteX0" fmla="*/ 12644 w 12858"/>
                <a:gd name="connsiteY0" fmla="*/ 10930 h 12858"/>
                <a:gd name="connsiteX1" fmla="*/ 8358 w 12858"/>
                <a:gd name="connsiteY1" fmla="*/ 3215 h 12858"/>
                <a:gd name="connsiteX2" fmla="*/ 3215 w 12858"/>
                <a:gd name="connsiteY2" fmla="*/ 3215 h 12858"/>
                <a:gd name="connsiteX3" fmla="*/ 12644 w 12858"/>
                <a:gd name="connsiteY3" fmla="*/ 10930 h 12858"/>
              </a:gdLst>
              <a:ahLst/>
              <a:cxnLst>
                <a:cxn ang="0">
                  <a:pos x="connsiteX0" y="connsiteY0"/>
                </a:cxn>
                <a:cxn ang="0">
                  <a:pos x="connsiteX1" y="connsiteY1"/>
                </a:cxn>
                <a:cxn ang="0">
                  <a:pos x="connsiteX2" y="connsiteY2"/>
                </a:cxn>
                <a:cxn ang="0">
                  <a:pos x="connsiteX3" y="connsiteY3"/>
                </a:cxn>
              </a:cxnLst>
              <a:rect l="l" t="t" r="r" b="b"/>
              <a:pathLst>
                <a:path w="12858" h="12858">
                  <a:moveTo>
                    <a:pt x="12644" y="10930"/>
                  </a:moveTo>
                  <a:cubicBezTo>
                    <a:pt x="11359" y="8358"/>
                    <a:pt x="9644" y="5786"/>
                    <a:pt x="8358" y="3215"/>
                  </a:cubicBezTo>
                  <a:lnTo>
                    <a:pt x="3215" y="3215"/>
                  </a:lnTo>
                  <a:cubicBezTo>
                    <a:pt x="6215" y="5786"/>
                    <a:pt x="9215" y="8358"/>
                    <a:pt x="12644" y="10930"/>
                  </a:cubicBezTo>
                  <a:close/>
                </a:path>
              </a:pathLst>
            </a:custGeom>
            <a:grpFill/>
            <a:ln w="9525" cap="flat">
              <a:noFill/>
              <a:prstDash val="solid"/>
              <a:miter/>
            </a:ln>
          </p:spPr>
          <p:txBody>
            <a:bodyPr rtlCol="0" anchor="ctr"/>
            <a:lstStyle/>
            <a:p>
              <a:endParaRPr lang="en-US"/>
            </a:p>
          </p:txBody>
        </p:sp>
        <p:sp>
          <p:nvSpPr>
            <p:cNvPr id="303" name="Freeform: Shape 80">
              <a:extLst>
                <a:ext uri="{FF2B5EF4-FFF2-40B4-BE49-F238E27FC236}">
                  <a16:creationId xmlns:a16="http://schemas.microsoft.com/office/drawing/2014/main" id="{924C423C-8601-7041-ACD9-B76686A66846}"/>
                </a:ext>
              </a:extLst>
            </p:cNvPr>
            <p:cNvSpPr/>
            <p:nvPr/>
          </p:nvSpPr>
          <p:spPr>
            <a:xfrm>
              <a:off x="5950053" y="3225617"/>
              <a:ext cx="522923" cy="771525"/>
            </a:xfrm>
            <a:custGeom>
              <a:avLst/>
              <a:gdLst>
                <a:gd name="connsiteX0" fmla="*/ 392406 w 522922"/>
                <a:gd name="connsiteY0" fmla="*/ 486704 h 771525"/>
                <a:gd name="connsiteX1" fmla="*/ 392406 w 522922"/>
                <a:gd name="connsiteY1" fmla="*/ 486704 h 771525"/>
                <a:gd name="connsiteX2" fmla="*/ 392406 w 522922"/>
                <a:gd name="connsiteY2" fmla="*/ 152376 h 771525"/>
                <a:gd name="connsiteX3" fmla="*/ 392406 w 522922"/>
                <a:gd name="connsiteY3" fmla="*/ 144232 h 771525"/>
                <a:gd name="connsiteX4" fmla="*/ 520994 w 522922"/>
                <a:gd name="connsiteY4" fmla="*/ 15645 h 771525"/>
                <a:gd name="connsiteX5" fmla="*/ 516279 w 522922"/>
                <a:gd name="connsiteY5" fmla="*/ 3215 h 771525"/>
                <a:gd name="connsiteX6" fmla="*/ 248817 w 522922"/>
                <a:gd name="connsiteY6" fmla="*/ 270248 h 771525"/>
                <a:gd name="connsiteX7" fmla="*/ 231243 w 522922"/>
                <a:gd name="connsiteY7" fmla="*/ 335399 h 771525"/>
                <a:gd name="connsiteX8" fmla="*/ 230386 w 522922"/>
                <a:gd name="connsiteY8" fmla="*/ 337542 h 771525"/>
                <a:gd name="connsiteX9" fmla="*/ 3215 w 522922"/>
                <a:gd name="connsiteY9" fmla="*/ 564713 h 771525"/>
                <a:gd name="connsiteX10" fmla="*/ 34076 w 522922"/>
                <a:gd name="connsiteY10" fmla="*/ 619149 h 771525"/>
                <a:gd name="connsiteX11" fmla="*/ 307538 w 522922"/>
                <a:gd name="connsiteY11" fmla="*/ 345686 h 771525"/>
                <a:gd name="connsiteX12" fmla="*/ 289108 w 522922"/>
                <a:gd name="connsiteY12" fmla="*/ 334971 h 771525"/>
                <a:gd name="connsiteX13" fmla="*/ 289536 w 522922"/>
                <a:gd name="connsiteY13" fmla="*/ 274106 h 771525"/>
                <a:gd name="connsiteX14" fmla="*/ 349972 w 522922"/>
                <a:gd name="connsiteY14" fmla="*/ 274106 h 771525"/>
                <a:gd name="connsiteX15" fmla="*/ 349972 w 522922"/>
                <a:gd name="connsiteY15" fmla="*/ 334971 h 771525"/>
                <a:gd name="connsiteX16" fmla="*/ 335828 w 522922"/>
                <a:gd name="connsiteY16" fmla="*/ 344400 h 771525"/>
                <a:gd name="connsiteX17" fmla="*/ 334113 w 522922"/>
                <a:gd name="connsiteY17" fmla="*/ 346543 h 771525"/>
                <a:gd name="connsiteX18" fmla="*/ 43505 w 522922"/>
                <a:gd name="connsiteY18" fmla="*/ 637151 h 771525"/>
                <a:gd name="connsiteX19" fmla="*/ 51649 w 522922"/>
                <a:gd name="connsiteY19" fmla="*/ 652153 h 771525"/>
                <a:gd name="connsiteX20" fmla="*/ 215813 w 522922"/>
                <a:gd name="connsiteY20" fmla="*/ 771311 h 771525"/>
                <a:gd name="connsiteX21" fmla="*/ 215813 w 522922"/>
                <a:gd name="connsiteY21" fmla="*/ 671441 h 771525"/>
                <a:gd name="connsiteX22" fmla="*/ 215813 w 522922"/>
                <a:gd name="connsiteY22" fmla="*/ 663297 h 771525"/>
                <a:gd name="connsiteX23" fmla="*/ 392406 w 522922"/>
                <a:gd name="connsiteY23" fmla="*/ 486704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2922" h="771525">
                  <a:moveTo>
                    <a:pt x="392406" y="486704"/>
                  </a:moveTo>
                  <a:lnTo>
                    <a:pt x="392406" y="486704"/>
                  </a:lnTo>
                  <a:lnTo>
                    <a:pt x="392406" y="152376"/>
                  </a:lnTo>
                  <a:lnTo>
                    <a:pt x="392406" y="144232"/>
                  </a:lnTo>
                  <a:lnTo>
                    <a:pt x="520994" y="15645"/>
                  </a:lnTo>
                  <a:cubicBezTo>
                    <a:pt x="519279" y="11359"/>
                    <a:pt x="517565" y="7072"/>
                    <a:pt x="516279" y="3215"/>
                  </a:cubicBezTo>
                  <a:lnTo>
                    <a:pt x="248817" y="270248"/>
                  </a:lnTo>
                  <a:lnTo>
                    <a:pt x="231243" y="335399"/>
                  </a:lnTo>
                  <a:lnTo>
                    <a:pt x="230386" y="337542"/>
                  </a:lnTo>
                  <a:lnTo>
                    <a:pt x="3215" y="564713"/>
                  </a:lnTo>
                  <a:cubicBezTo>
                    <a:pt x="13502" y="582716"/>
                    <a:pt x="23789" y="600718"/>
                    <a:pt x="34076" y="619149"/>
                  </a:cubicBezTo>
                  <a:lnTo>
                    <a:pt x="307538" y="345686"/>
                  </a:lnTo>
                  <a:cubicBezTo>
                    <a:pt x="301109" y="343543"/>
                    <a:pt x="294680" y="340543"/>
                    <a:pt x="289108" y="334971"/>
                  </a:cubicBezTo>
                  <a:cubicBezTo>
                    <a:pt x="272391" y="318254"/>
                    <a:pt x="272391" y="291251"/>
                    <a:pt x="289536" y="274106"/>
                  </a:cubicBezTo>
                  <a:cubicBezTo>
                    <a:pt x="306253" y="257389"/>
                    <a:pt x="333256" y="257389"/>
                    <a:pt x="349972" y="274106"/>
                  </a:cubicBezTo>
                  <a:cubicBezTo>
                    <a:pt x="366689" y="290822"/>
                    <a:pt x="366689" y="317826"/>
                    <a:pt x="349972" y="334971"/>
                  </a:cubicBezTo>
                  <a:cubicBezTo>
                    <a:pt x="345686" y="339257"/>
                    <a:pt x="340971" y="342257"/>
                    <a:pt x="335828" y="344400"/>
                  </a:cubicBezTo>
                  <a:cubicBezTo>
                    <a:pt x="335399" y="345257"/>
                    <a:pt x="334542" y="346115"/>
                    <a:pt x="334113" y="346543"/>
                  </a:cubicBezTo>
                  <a:lnTo>
                    <a:pt x="43505" y="637151"/>
                  </a:lnTo>
                  <a:cubicBezTo>
                    <a:pt x="46077" y="642295"/>
                    <a:pt x="49077" y="647010"/>
                    <a:pt x="51649" y="652153"/>
                  </a:cubicBezTo>
                  <a:cubicBezTo>
                    <a:pt x="105227" y="694158"/>
                    <a:pt x="160091" y="733592"/>
                    <a:pt x="215813" y="771311"/>
                  </a:cubicBezTo>
                  <a:lnTo>
                    <a:pt x="215813" y="671441"/>
                  </a:lnTo>
                  <a:lnTo>
                    <a:pt x="215813" y="663297"/>
                  </a:lnTo>
                  <a:lnTo>
                    <a:pt x="392406" y="486704"/>
                  </a:lnTo>
                  <a:close/>
                </a:path>
              </a:pathLst>
            </a:custGeom>
            <a:grpFill/>
            <a:ln w="9525" cap="flat">
              <a:noFill/>
              <a:prstDash val="solid"/>
              <a:miter/>
            </a:ln>
          </p:spPr>
          <p:txBody>
            <a:bodyPr rtlCol="0" anchor="ctr"/>
            <a:lstStyle/>
            <a:p>
              <a:endParaRPr lang="en-US"/>
            </a:p>
          </p:txBody>
        </p:sp>
        <p:sp>
          <p:nvSpPr>
            <p:cNvPr id="304" name="Freeform: Shape 81">
              <a:extLst>
                <a:ext uri="{FF2B5EF4-FFF2-40B4-BE49-F238E27FC236}">
                  <a16:creationId xmlns:a16="http://schemas.microsoft.com/office/drawing/2014/main" id="{7040BE45-BAB1-F747-B8D8-D715CC56D4F0}"/>
                </a:ext>
              </a:extLst>
            </p:cNvPr>
            <p:cNvSpPr/>
            <p:nvPr/>
          </p:nvSpPr>
          <p:spPr>
            <a:xfrm>
              <a:off x="5633728" y="487132"/>
              <a:ext cx="600075" cy="347186"/>
            </a:xfrm>
            <a:custGeom>
              <a:avLst/>
              <a:gdLst>
                <a:gd name="connsiteX0" fmla="*/ 548426 w 600075"/>
                <a:gd name="connsiteY0" fmla="*/ 347401 h 347186"/>
                <a:gd name="connsiteX1" fmla="*/ 567714 w 600075"/>
                <a:gd name="connsiteY1" fmla="*/ 340543 h 347186"/>
                <a:gd name="connsiteX2" fmla="*/ 599004 w 600075"/>
                <a:gd name="connsiteY2" fmla="*/ 290393 h 347186"/>
                <a:gd name="connsiteX3" fmla="*/ 495276 w 600075"/>
                <a:gd name="connsiteY3" fmla="*/ 186666 h 347186"/>
                <a:gd name="connsiteX4" fmla="*/ 495705 w 600075"/>
                <a:gd name="connsiteY4" fmla="*/ 182380 h 347186"/>
                <a:gd name="connsiteX5" fmla="*/ 495276 w 600075"/>
                <a:gd name="connsiteY5" fmla="*/ 126659 h 347186"/>
                <a:gd name="connsiteX6" fmla="*/ 430983 w 600075"/>
                <a:gd name="connsiteY6" fmla="*/ 62365 h 347186"/>
                <a:gd name="connsiteX7" fmla="*/ 268534 w 600075"/>
                <a:gd name="connsiteY7" fmla="*/ 62365 h 347186"/>
                <a:gd name="connsiteX8" fmla="*/ 209383 w 600075"/>
                <a:gd name="connsiteY8" fmla="*/ 3215 h 347186"/>
                <a:gd name="connsiteX9" fmla="*/ 3215 w 600075"/>
                <a:gd name="connsiteY9" fmla="*/ 3215 h 347186"/>
                <a:gd name="connsiteX10" fmla="*/ 4929 w 600075"/>
                <a:gd name="connsiteY10" fmla="*/ 22503 h 347186"/>
                <a:gd name="connsiteX11" fmla="*/ 5786 w 600075"/>
                <a:gd name="connsiteY11" fmla="*/ 32361 h 347186"/>
                <a:gd name="connsiteX12" fmla="*/ 210241 w 600075"/>
                <a:gd name="connsiteY12" fmla="*/ 31933 h 347186"/>
                <a:gd name="connsiteX13" fmla="*/ 214527 w 600075"/>
                <a:gd name="connsiteY13" fmla="*/ 32361 h 347186"/>
                <a:gd name="connsiteX14" fmla="*/ 318683 w 600075"/>
                <a:gd name="connsiteY14" fmla="*/ 136517 h 347186"/>
                <a:gd name="connsiteX15" fmla="*/ 353830 w 600075"/>
                <a:gd name="connsiteY15" fmla="*/ 136517 h 347186"/>
                <a:gd name="connsiteX16" fmla="*/ 367975 w 600075"/>
                <a:gd name="connsiteY16" fmla="*/ 94940 h 347186"/>
                <a:gd name="connsiteX17" fmla="*/ 437840 w 600075"/>
                <a:gd name="connsiteY17" fmla="*/ 94512 h 347186"/>
                <a:gd name="connsiteX18" fmla="*/ 437840 w 600075"/>
                <a:gd name="connsiteY18" fmla="*/ 164378 h 347186"/>
                <a:gd name="connsiteX19" fmla="*/ 367975 w 600075"/>
                <a:gd name="connsiteY19" fmla="*/ 164378 h 347186"/>
                <a:gd name="connsiteX20" fmla="*/ 361117 w 600075"/>
                <a:gd name="connsiteY20" fmla="*/ 155377 h 347186"/>
                <a:gd name="connsiteX21" fmla="*/ 315254 w 600075"/>
                <a:gd name="connsiteY21" fmla="*/ 155377 h 347186"/>
                <a:gd name="connsiteX22" fmla="*/ 310968 w 600075"/>
                <a:gd name="connsiteY22" fmla="*/ 155805 h 347186"/>
                <a:gd name="connsiteX23" fmla="*/ 206383 w 600075"/>
                <a:gd name="connsiteY23" fmla="*/ 51221 h 347186"/>
                <a:gd name="connsiteX24" fmla="*/ 7930 w 600075"/>
                <a:gd name="connsiteY24" fmla="*/ 51221 h 347186"/>
                <a:gd name="connsiteX25" fmla="*/ 12644 w 600075"/>
                <a:gd name="connsiteY25" fmla="*/ 82082 h 347186"/>
                <a:gd name="connsiteX26" fmla="*/ 196525 w 600075"/>
                <a:gd name="connsiteY26" fmla="*/ 82082 h 347186"/>
                <a:gd name="connsiteX27" fmla="*/ 202954 w 600075"/>
                <a:gd name="connsiteY27" fmla="*/ 82082 h 347186"/>
                <a:gd name="connsiteX28" fmla="*/ 331970 w 600075"/>
                <a:gd name="connsiteY28" fmla="*/ 211098 h 347186"/>
                <a:gd name="connsiteX29" fmla="*/ 465701 w 600075"/>
                <a:gd name="connsiteY29" fmla="*/ 211098 h 347186"/>
                <a:gd name="connsiteX30" fmla="*/ 472130 w 600075"/>
                <a:gd name="connsiteY30" fmla="*/ 211098 h 347186"/>
                <a:gd name="connsiteX31" fmla="*/ 548855 w 600075"/>
                <a:gd name="connsiteY31" fmla="*/ 287822 h 347186"/>
                <a:gd name="connsiteX32" fmla="*/ 548426 w 600075"/>
                <a:gd name="connsiteY32" fmla="*/ 294251 h 347186"/>
                <a:gd name="connsiteX33" fmla="*/ 548426 w 600075"/>
                <a:gd name="connsiteY33" fmla="*/ 347401 h 34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0075" h="347186">
                  <a:moveTo>
                    <a:pt x="548426" y="347401"/>
                  </a:moveTo>
                  <a:cubicBezTo>
                    <a:pt x="554855" y="346543"/>
                    <a:pt x="561285" y="344400"/>
                    <a:pt x="567714" y="340543"/>
                  </a:cubicBezTo>
                  <a:cubicBezTo>
                    <a:pt x="584430" y="328970"/>
                    <a:pt x="591717" y="308824"/>
                    <a:pt x="599004" y="290393"/>
                  </a:cubicBezTo>
                  <a:lnTo>
                    <a:pt x="495276" y="186666"/>
                  </a:lnTo>
                  <a:lnTo>
                    <a:pt x="495705" y="182380"/>
                  </a:lnTo>
                  <a:lnTo>
                    <a:pt x="495276" y="126659"/>
                  </a:lnTo>
                  <a:lnTo>
                    <a:pt x="430983" y="62365"/>
                  </a:lnTo>
                  <a:lnTo>
                    <a:pt x="268534" y="62365"/>
                  </a:lnTo>
                  <a:lnTo>
                    <a:pt x="209383" y="3215"/>
                  </a:lnTo>
                  <a:lnTo>
                    <a:pt x="3215" y="3215"/>
                  </a:lnTo>
                  <a:cubicBezTo>
                    <a:pt x="3643" y="9644"/>
                    <a:pt x="4501" y="16073"/>
                    <a:pt x="4929" y="22503"/>
                  </a:cubicBezTo>
                  <a:cubicBezTo>
                    <a:pt x="5358" y="25932"/>
                    <a:pt x="5358" y="28932"/>
                    <a:pt x="5786" y="32361"/>
                  </a:cubicBezTo>
                  <a:lnTo>
                    <a:pt x="210241" y="31933"/>
                  </a:lnTo>
                  <a:lnTo>
                    <a:pt x="214527" y="32361"/>
                  </a:lnTo>
                  <a:lnTo>
                    <a:pt x="318683" y="136517"/>
                  </a:lnTo>
                  <a:lnTo>
                    <a:pt x="353830" y="136517"/>
                  </a:lnTo>
                  <a:cubicBezTo>
                    <a:pt x="351687" y="121944"/>
                    <a:pt x="356402" y="106085"/>
                    <a:pt x="367975" y="94940"/>
                  </a:cubicBezTo>
                  <a:cubicBezTo>
                    <a:pt x="387263" y="75652"/>
                    <a:pt x="418552" y="75224"/>
                    <a:pt x="437840" y="94512"/>
                  </a:cubicBezTo>
                  <a:cubicBezTo>
                    <a:pt x="457129" y="113800"/>
                    <a:pt x="457129" y="145090"/>
                    <a:pt x="437840" y="164378"/>
                  </a:cubicBezTo>
                  <a:cubicBezTo>
                    <a:pt x="418552" y="183666"/>
                    <a:pt x="387263" y="183666"/>
                    <a:pt x="367975" y="164378"/>
                  </a:cubicBezTo>
                  <a:cubicBezTo>
                    <a:pt x="365403" y="161806"/>
                    <a:pt x="362831" y="158806"/>
                    <a:pt x="361117" y="155377"/>
                  </a:cubicBezTo>
                  <a:lnTo>
                    <a:pt x="315254" y="155377"/>
                  </a:lnTo>
                  <a:lnTo>
                    <a:pt x="310968" y="155805"/>
                  </a:lnTo>
                  <a:lnTo>
                    <a:pt x="206383" y="51221"/>
                  </a:lnTo>
                  <a:lnTo>
                    <a:pt x="7930" y="51221"/>
                  </a:lnTo>
                  <a:cubicBezTo>
                    <a:pt x="9215" y="61508"/>
                    <a:pt x="10930" y="71795"/>
                    <a:pt x="12644" y="82082"/>
                  </a:cubicBezTo>
                  <a:lnTo>
                    <a:pt x="196525" y="82082"/>
                  </a:lnTo>
                  <a:lnTo>
                    <a:pt x="202954" y="82082"/>
                  </a:lnTo>
                  <a:lnTo>
                    <a:pt x="331970" y="211098"/>
                  </a:lnTo>
                  <a:lnTo>
                    <a:pt x="465701" y="211098"/>
                  </a:lnTo>
                  <a:lnTo>
                    <a:pt x="472130" y="211098"/>
                  </a:lnTo>
                  <a:lnTo>
                    <a:pt x="548855" y="287822"/>
                  </a:lnTo>
                  <a:lnTo>
                    <a:pt x="548426" y="294251"/>
                  </a:lnTo>
                  <a:lnTo>
                    <a:pt x="548426" y="347401"/>
                  </a:lnTo>
                  <a:close/>
                </a:path>
              </a:pathLst>
            </a:custGeom>
            <a:grpFill/>
            <a:ln w="9525" cap="flat">
              <a:noFill/>
              <a:prstDash val="solid"/>
              <a:miter/>
            </a:ln>
          </p:spPr>
          <p:txBody>
            <a:bodyPr rtlCol="0" anchor="ctr"/>
            <a:lstStyle/>
            <a:p>
              <a:endParaRPr lang="en-US"/>
            </a:p>
          </p:txBody>
        </p:sp>
        <p:sp>
          <p:nvSpPr>
            <p:cNvPr id="305" name="Freeform: Shape 82">
              <a:extLst>
                <a:ext uri="{FF2B5EF4-FFF2-40B4-BE49-F238E27FC236}">
                  <a16:creationId xmlns:a16="http://schemas.microsoft.com/office/drawing/2014/main" id="{3EF8A99E-E46A-8B4C-ADB6-42E0AC623C2D}"/>
                </a:ext>
              </a:extLst>
            </p:cNvPr>
            <p:cNvSpPr/>
            <p:nvPr/>
          </p:nvSpPr>
          <p:spPr>
            <a:xfrm>
              <a:off x="6729722" y="2099620"/>
              <a:ext cx="235744" cy="278606"/>
            </a:xfrm>
            <a:custGeom>
              <a:avLst/>
              <a:gdLst>
                <a:gd name="connsiteX0" fmla="*/ 8787 w 235743"/>
                <a:gd name="connsiteY0" fmla="*/ 272391 h 278606"/>
                <a:gd name="connsiteX1" fmla="*/ 10501 w 235743"/>
                <a:gd name="connsiteY1" fmla="*/ 278821 h 278606"/>
                <a:gd name="connsiteX2" fmla="*/ 224385 w 235743"/>
                <a:gd name="connsiteY2" fmla="*/ 106513 h 278606"/>
                <a:gd name="connsiteX3" fmla="*/ 233386 w 235743"/>
                <a:gd name="connsiteY3" fmla="*/ 29361 h 278606"/>
                <a:gd name="connsiteX4" fmla="*/ 233386 w 235743"/>
                <a:gd name="connsiteY4" fmla="*/ 29361 h 278606"/>
                <a:gd name="connsiteX5" fmla="*/ 233815 w 235743"/>
                <a:gd name="connsiteY5" fmla="*/ 26360 h 278606"/>
                <a:gd name="connsiteX6" fmla="*/ 205097 w 235743"/>
                <a:gd name="connsiteY6" fmla="*/ 3215 h 278606"/>
                <a:gd name="connsiteX7" fmla="*/ 195239 w 235743"/>
                <a:gd name="connsiteY7" fmla="*/ 94083 h 278606"/>
                <a:gd name="connsiteX8" fmla="*/ 194382 w 235743"/>
                <a:gd name="connsiteY8" fmla="*/ 100084 h 278606"/>
                <a:gd name="connsiteX9" fmla="*/ 3215 w 235743"/>
                <a:gd name="connsiteY9" fmla="*/ 253960 h 278606"/>
                <a:gd name="connsiteX10" fmla="*/ 8787 w 235743"/>
                <a:gd name="connsiteY10" fmla="*/ 272391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743" h="278606">
                  <a:moveTo>
                    <a:pt x="8787" y="272391"/>
                  </a:moveTo>
                  <a:cubicBezTo>
                    <a:pt x="9216" y="274534"/>
                    <a:pt x="10073" y="276678"/>
                    <a:pt x="10501" y="278821"/>
                  </a:cubicBezTo>
                  <a:lnTo>
                    <a:pt x="224385" y="106513"/>
                  </a:lnTo>
                  <a:lnTo>
                    <a:pt x="233386" y="29361"/>
                  </a:lnTo>
                  <a:lnTo>
                    <a:pt x="233386" y="29361"/>
                  </a:lnTo>
                  <a:lnTo>
                    <a:pt x="233815" y="26360"/>
                  </a:lnTo>
                  <a:cubicBezTo>
                    <a:pt x="223957" y="19074"/>
                    <a:pt x="214098" y="11787"/>
                    <a:pt x="205097" y="3215"/>
                  </a:cubicBezTo>
                  <a:lnTo>
                    <a:pt x="195239" y="94083"/>
                  </a:lnTo>
                  <a:lnTo>
                    <a:pt x="194382" y="100084"/>
                  </a:lnTo>
                  <a:lnTo>
                    <a:pt x="3215" y="253960"/>
                  </a:lnTo>
                  <a:cubicBezTo>
                    <a:pt x="5358" y="259961"/>
                    <a:pt x="7072" y="266390"/>
                    <a:pt x="8787" y="272391"/>
                  </a:cubicBezTo>
                  <a:close/>
                </a:path>
              </a:pathLst>
            </a:custGeom>
            <a:grpFill/>
            <a:ln w="9525" cap="flat">
              <a:noFill/>
              <a:prstDash val="solid"/>
              <a:miter/>
            </a:ln>
          </p:spPr>
          <p:txBody>
            <a:bodyPr rtlCol="0" anchor="ctr"/>
            <a:lstStyle/>
            <a:p>
              <a:endParaRPr lang="en-US"/>
            </a:p>
          </p:txBody>
        </p:sp>
        <p:sp>
          <p:nvSpPr>
            <p:cNvPr id="306" name="Freeform: Shape 83">
              <a:extLst>
                <a:ext uri="{FF2B5EF4-FFF2-40B4-BE49-F238E27FC236}">
                  <a16:creationId xmlns:a16="http://schemas.microsoft.com/office/drawing/2014/main" id="{D00C0937-A02E-744F-AB9B-1B2981ED67E2}"/>
                </a:ext>
              </a:extLst>
            </p:cNvPr>
            <p:cNvSpPr/>
            <p:nvPr/>
          </p:nvSpPr>
          <p:spPr>
            <a:xfrm>
              <a:off x="7230356" y="2972300"/>
              <a:ext cx="227171" cy="210026"/>
            </a:xfrm>
            <a:custGeom>
              <a:avLst/>
              <a:gdLst>
                <a:gd name="connsiteX0" fmla="*/ 93654 w 227171"/>
                <a:gd name="connsiteY0" fmla="*/ 98798 h 210026"/>
                <a:gd name="connsiteX1" fmla="*/ 55507 w 227171"/>
                <a:gd name="connsiteY1" fmla="*/ 94512 h 210026"/>
                <a:gd name="connsiteX2" fmla="*/ 34504 w 227171"/>
                <a:gd name="connsiteY2" fmla="*/ 111228 h 210026"/>
                <a:gd name="connsiteX3" fmla="*/ 3215 w 227171"/>
                <a:gd name="connsiteY3" fmla="*/ 206812 h 210026"/>
                <a:gd name="connsiteX4" fmla="*/ 196524 w 227171"/>
                <a:gd name="connsiteY4" fmla="*/ 50792 h 210026"/>
                <a:gd name="connsiteX5" fmla="*/ 226528 w 227171"/>
                <a:gd name="connsiteY5" fmla="*/ 26789 h 210026"/>
                <a:gd name="connsiteX6" fmla="*/ 215813 w 227171"/>
                <a:gd name="connsiteY6" fmla="*/ 3215 h 210026"/>
                <a:gd name="connsiteX7" fmla="*/ 97083 w 227171"/>
                <a:gd name="connsiteY7" fmla="*/ 99227 h 210026"/>
                <a:gd name="connsiteX8" fmla="*/ 93654 w 227171"/>
                <a:gd name="connsiteY8" fmla="*/ 98798 h 2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171" h="210026">
                  <a:moveTo>
                    <a:pt x="93654" y="98798"/>
                  </a:moveTo>
                  <a:lnTo>
                    <a:pt x="55507" y="94512"/>
                  </a:lnTo>
                  <a:lnTo>
                    <a:pt x="34504" y="111228"/>
                  </a:lnTo>
                  <a:cubicBezTo>
                    <a:pt x="24217" y="143375"/>
                    <a:pt x="11358" y="174236"/>
                    <a:pt x="3215" y="206812"/>
                  </a:cubicBezTo>
                  <a:cubicBezTo>
                    <a:pt x="73081" y="149804"/>
                    <a:pt x="142089" y="94512"/>
                    <a:pt x="196524" y="50792"/>
                  </a:cubicBezTo>
                  <a:cubicBezTo>
                    <a:pt x="207240" y="42219"/>
                    <a:pt x="217098" y="34076"/>
                    <a:pt x="226528" y="26789"/>
                  </a:cubicBezTo>
                  <a:cubicBezTo>
                    <a:pt x="223099" y="19074"/>
                    <a:pt x="219242" y="11358"/>
                    <a:pt x="215813" y="3215"/>
                  </a:cubicBezTo>
                  <a:lnTo>
                    <a:pt x="97083" y="99227"/>
                  </a:lnTo>
                  <a:lnTo>
                    <a:pt x="93654" y="98798"/>
                  </a:lnTo>
                  <a:close/>
                </a:path>
              </a:pathLst>
            </a:custGeom>
            <a:grpFill/>
            <a:ln w="9525" cap="flat">
              <a:noFill/>
              <a:prstDash val="solid"/>
              <a:miter/>
            </a:ln>
          </p:spPr>
          <p:txBody>
            <a:bodyPr rtlCol="0" anchor="ctr"/>
            <a:lstStyle/>
            <a:p>
              <a:endParaRPr lang="en-US"/>
            </a:p>
          </p:txBody>
        </p:sp>
        <p:sp>
          <p:nvSpPr>
            <p:cNvPr id="307" name="Freeform: Shape 84">
              <a:extLst>
                <a:ext uri="{FF2B5EF4-FFF2-40B4-BE49-F238E27FC236}">
                  <a16:creationId xmlns:a16="http://schemas.microsoft.com/office/drawing/2014/main" id="{EB7CEAF7-308F-CE4D-8669-BF16D1DA947A}"/>
                </a:ext>
              </a:extLst>
            </p:cNvPr>
            <p:cNvSpPr/>
            <p:nvPr/>
          </p:nvSpPr>
          <p:spPr>
            <a:xfrm>
              <a:off x="6349960" y="1149787"/>
              <a:ext cx="51435" cy="34290"/>
            </a:xfrm>
            <a:custGeom>
              <a:avLst/>
              <a:gdLst>
                <a:gd name="connsiteX0" fmla="*/ 49078 w 51435"/>
                <a:gd name="connsiteY0" fmla="*/ 30218 h 34290"/>
                <a:gd name="connsiteX1" fmla="*/ 29361 w 51435"/>
                <a:gd name="connsiteY1" fmla="*/ 5786 h 34290"/>
                <a:gd name="connsiteX2" fmla="*/ 3215 w 51435"/>
                <a:gd name="connsiteY2" fmla="*/ 3215 h 34290"/>
                <a:gd name="connsiteX3" fmla="*/ 25503 w 51435"/>
                <a:gd name="connsiteY3" fmla="*/ 31075 h 34290"/>
                <a:gd name="connsiteX4" fmla="*/ 49078 w 51435"/>
                <a:gd name="connsiteY4" fmla="*/ 30218 h 3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 h="34290">
                  <a:moveTo>
                    <a:pt x="49078" y="30218"/>
                  </a:moveTo>
                  <a:lnTo>
                    <a:pt x="29361" y="5786"/>
                  </a:lnTo>
                  <a:cubicBezTo>
                    <a:pt x="20788" y="4501"/>
                    <a:pt x="11787" y="4072"/>
                    <a:pt x="3215" y="3215"/>
                  </a:cubicBezTo>
                  <a:lnTo>
                    <a:pt x="25503" y="31075"/>
                  </a:lnTo>
                  <a:cubicBezTo>
                    <a:pt x="33218" y="28504"/>
                    <a:pt x="41362" y="28504"/>
                    <a:pt x="49078" y="30218"/>
                  </a:cubicBezTo>
                  <a:close/>
                </a:path>
              </a:pathLst>
            </a:custGeom>
            <a:grpFill/>
            <a:ln w="9525" cap="flat">
              <a:noFill/>
              <a:prstDash val="solid"/>
              <a:miter/>
            </a:ln>
          </p:spPr>
          <p:txBody>
            <a:bodyPr rtlCol="0" anchor="ctr"/>
            <a:lstStyle/>
            <a:p>
              <a:endParaRPr lang="en-US"/>
            </a:p>
          </p:txBody>
        </p:sp>
        <p:sp>
          <p:nvSpPr>
            <p:cNvPr id="308" name="Freeform: Shape 85">
              <a:extLst>
                <a:ext uri="{FF2B5EF4-FFF2-40B4-BE49-F238E27FC236}">
                  <a16:creationId xmlns:a16="http://schemas.microsoft.com/office/drawing/2014/main" id="{942F31A1-BEEC-8C4D-9081-543814F1A212}"/>
                </a:ext>
              </a:extLst>
            </p:cNvPr>
            <p:cNvSpPr/>
            <p:nvPr/>
          </p:nvSpPr>
          <p:spPr>
            <a:xfrm>
              <a:off x="6640568" y="2005322"/>
              <a:ext cx="270034" cy="321469"/>
            </a:xfrm>
            <a:custGeom>
              <a:avLst/>
              <a:gdLst>
                <a:gd name="connsiteX0" fmla="*/ 32790 w 270033"/>
                <a:gd name="connsiteY0" fmla="*/ 235529 h 321468"/>
                <a:gd name="connsiteX1" fmla="*/ 144661 w 270033"/>
                <a:gd name="connsiteY1" fmla="*/ 145518 h 321468"/>
                <a:gd name="connsiteX2" fmla="*/ 159663 w 270033"/>
                <a:gd name="connsiteY2" fmla="*/ 104799 h 321468"/>
                <a:gd name="connsiteX3" fmla="*/ 220099 w 270033"/>
                <a:gd name="connsiteY3" fmla="*/ 111228 h 321468"/>
                <a:gd name="connsiteX4" fmla="*/ 213670 w 270033"/>
                <a:gd name="connsiteY4" fmla="*/ 171664 h 321468"/>
                <a:gd name="connsiteX5" fmla="*/ 213670 w 270033"/>
                <a:gd name="connsiteY5" fmla="*/ 171664 h 321468"/>
                <a:gd name="connsiteX6" fmla="*/ 159663 w 270033"/>
                <a:gd name="connsiteY6" fmla="*/ 171664 h 321468"/>
                <a:gd name="connsiteX7" fmla="*/ 48649 w 270033"/>
                <a:gd name="connsiteY7" fmla="*/ 260818 h 321468"/>
                <a:gd name="connsiteX8" fmla="*/ 81225 w 270033"/>
                <a:gd name="connsiteY8" fmla="*/ 319540 h 321468"/>
                <a:gd name="connsiteX9" fmla="*/ 255675 w 270033"/>
                <a:gd name="connsiteY9" fmla="*/ 178951 h 321468"/>
                <a:gd name="connsiteX10" fmla="*/ 267676 w 270033"/>
                <a:gd name="connsiteY10" fmla="*/ 65794 h 321468"/>
                <a:gd name="connsiteX11" fmla="*/ 256532 w 270033"/>
                <a:gd name="connsiteY11" fmla="*/ 46506 h 321468"/>
                <a:gd name="connsiteX12" fmla="*/ 233815 w 270033"/>
                <a:gd name="connsiteY12" fmla="*/ 3215 h 321468"/>
                <a:gd name="connsiteX13" fmla="*/ 3215 w 270033"/>
                <a:gd name="connsiteY13" fmla="*/ 188809 h 321468"/>
                <a:gd name="connsiteX14" fmla="*/ 32790 w 270033"/>
                <a:gd name="connsiteY14" fmla="*/ 235529 h 32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0033" h="321468">
                  <a:moveTo>
                    <a:pt x="32790" y="235529"/>
                  </a:moveTo>
                  <a:lnTo>
                    <a:pt x="144661" y="145518"/>
                  </a:lnTo>
                  <a:cubicBezTo>
                    <a:pt x="142089" y="130516"/>
                    <a:pt x="147233" y="115086"/>
                    <a:pt x="159663" y="104799"/>
                  </a:cubicBezTo>
                  <a:cubicBezTo>
                    <a:pt x="178094" y="89797"/>
                    <a:pt x="205097" y="92797"/>
                    <a:pt x="220099" y="111228"/>
                  </a:cubicBezTo>
                  <a:cubicBezTo>
                    <a:pt x="235101" y="129659"/>
                    <a:pt x="232101" y="156662"/>
                    <a:pt x="213670" y="171664"/>
                  </a:cubicBezTo>
                  <a:lnTo>
                    <a:pt x="213670" y="171664"/>
                  </a:lnTo>
                  <a:cubicBezTo>
                    <a:pt x="197382" y="184523"/>
                    <a:pt x="175094" y="184094"/>
                    <a:pt x="159663" y="171664"/>
                  </a:cubicBezTo>
                  <a:lnTo>
                    <a:pt x="48649" y="260818"/>
                  </a:lnTo>
                  <a:cubicBezTo>
                    <a:pt x="60651" y="279678"/>
                    <a:pt x="71795" y="299395"/>
                    <a:pt x="81225" y="319540"/>
                  </a:cubicBezTo>
                  <a:lnTo>
                    <a:pt x="255675" y="178951"/>
                  </a:lnTo>
                  <a:lnTo>
                    <a:pt x="267676" y="65794"/>
                  </a:lnTo>
                  <a:cubicBezTo>
                    <a:pt x="263819" y="59365"/>
                    <a:pt x="259961" y="52935"/>
                    <a:pt x="256532" y="46506"/>
                  </a:cubicBezTo>
                  <a:cubicBezTo>
                    <a:pt x="248817" y="31932"/>
                    <a:pt x="241102" y="17788"/>
                    <a:pt x="233815" y="3215"/>
                  </a:cubicBezTo>
                  <a:lnTo>
                    <a:pt x="3215" y="188809"/>
                  </a:lnTo>
                  <a:cubicBezTo>
                    <a:pt x="13502" y="204240"/>
                    <a:pt x="22932" y="219670"/>
                    <a:pt x="32790" y="235529"/>
                  </a:cubicBezTo>
                  <a:close/>
                </a:path>
              </a:pathLst>
            </a:custGeom>
            <a:grpFill/>
            <a:ln w="9525" cap="flat">
              <a:noFill/>
              <a:prstDash val="solid"/>
              <a:miter/>
            </a:ln>
          </p:spPr>
          <p:txBody>
            <a:bodyPr rtlCol="0" anchor="ctr"/>
            <a:lstStyle/>
            <a:p>
              <a:endParaRPr lang="en-US"/>
            </a:p>
          </p:txBody>
        </p:sp>
        <p:sp>
          <p:nvSpPr>
            <p:cNvPr id="309" name="Freeform: Shape 86">
              <a:extLst>
                <a:ext uri="{FF2B5EF4-FFF2-40B4-BE49-F238E27FC236}">
                  <a16:creationId xmlns:a16="http://schemas.microsoft.com/office/drawing/2014/main" id="{24B32A29-836E-C245-BFCE-52618C0C74E5}"/>
                </a:ext>
              </a:extLst>
            </p:cNvPr>
            <p:cNvSpPr/>
            <p:nvPr/>
          </p:nvSpPr>
          <p:spPr>
            <a:xfrm>
              <a:off x="6745153" y="2144197"/>
              <a:ext cx="282893" cy="304324"/>
            </a:xfrm>
            <a:custGeom>
              <a:avLst/>
              <a:gdLst>
                <a:gd name="connsiteX0" fmla="*/ 16931 w 282892"/>
                <a:gd name="connsiteY0" fmla="*/ 301966 h 304323"/>
                <a:gd name="connsiteX1" fmla="*/ 252675 w 282892"/>
                <a:gd name="connsiteY1" fmla="*/ 111657 h 304323"/>
                <a:gd name="connsiteX2" fmla="*/ 280535 w 282892"/>
                <a:gd name="connsiteY2" fmla="*/ 39648 h 304323"/>
                <a:gd name="connsiteX3" fmla="*/ 280535 w 282892"/>
                <a:gd name="connsiteY3" fmla="*/ 39648 h 304323"/>
                <a:gd name="connsiteX4" fmla="*/ 247960 w 282892"/>
                <a:gd name="connsiteY4" fmla="*/ 6215 h 304323"/>
                <a:gd name="connsiteX5" fmla="*/ 244959 w 282892"/>
                <a:gd name="connsiteY5" fmla="*/ 3215 h 304323"/>
                <a:gd name="connsiteX6" fmla="*/ 237673 w 282892"/>
                <a:gd name="connsiteY6" fmla="*/ 71366 h 304323"/>
                <a:gd name="connsiteX7" fmla="*/ 236815 w 282892"/>
                <a:gd name="connsiteY7" fmla="*/ 77367 h 304323"/>
                <a:gd name="connsiteX8" fmla="*/ 3215 w 282892"/>
                <a:gd name="connsiteY8" fmla="*/ 265533 h 304323"/>
                <a:gd name="connsiteX9" fmla="*/ 16931 w 282892"/>
                <a:gd name="connsiteY9" fmla="*/ 301966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892" h="304323">
                  <a:moveTo>
                    <a:pt x="16931" y="301966"/>
                  </a:moveTo>
                  <a:lnTo>
                    <a:pt x="252675" y="111657"/>
                  </a:lnTo>
                  <a:lnTo>
                    <a:pt x="280535" y="39648"/>
                  </a:lnTo>
                  <a:lnTo>
                    <a:pt x="280535" y="39648"/>
                  </a:lnTo>
                  <a:cubicBezTo>
                    <a:pt x="269820" y="28075"/>
                    <a:pt x="259104" y="16931"/>
                    <a:pt x="247960" y="6215"/>
                  </a:cubicBezTo>
                  <a:cubicBezTo>
                    <a:pt x="247102" y="5358"/>
                    <a:pt x="245816" y="4501"/>
                    <a:pt x="244959" y="3215"/>
                  </a:cubicBezTo>
                  <a:lnTo>
                    <a:pt x="237673" y="71366"/>
                  </a:lnTo>
                  <a:lnTo>
                    <a:pt x="236815" y="77367"/>
                  </a:lnTo>
                  <a:lnTo>
                    <a:pt x="3215" y="265533"/>
                  </a:lnTo>
                  <a:cubicBezTo>
                    <a:pt x="7501" y="277535"/>
                    <a:pt x="11787" y="289965"/>
                    <a:pt x="16931" y="301966"/>
                  </a:cubicBezTo>
                  <a:close/>
                </a:path>
              </a:pathLst>
            </a:custGeom>
            <a:grpFill/>
            <a:ln w="9525" cap="flat">
              <a:noFill/>
              <a:prstDash val="solid"/>
              <a:miter/>
            </a:ln>
          </p:spPr>
          <p:txBody>
            <a:bodyPr rtlCol="0" anchor="ctr"/>
            <a:lstStyle/>
            <a:p>
              <a:endParaRPr lang="en-US"/>
            </a:p>
          </p:txBody>
        </p:sp>
        <p:sp>
          <p:nvSpPr>
            <p:cNvPr id="310" name="Freeform: Shape 87">
              <a:extLst>
                <a:ext uri="{FF2B5EF4-FFF2-40B4-BE49-F238E27FC236}">
                  <a16:creationId xmlns:a16="http://schemas.microsoft.com/office/drawing/2014/main" id="{6E713BBA-BD18-4347-89AB-E1BD04760F79}"/>
                </a:ext>
              </a:extLst>
            </p:cNvPr>
            <p:cNvSpPr/>
            <p:nvPr/>
          </p:nvSpPr>
          <p:spPr>
            <a:xfrm>
              <a:off x="5647015" y="3481935"/>
              <a:ext cx="98584" cy="102870"/>
            </a:xfrm>
            <a:custGeom>
              <a:avLst/>
              <a:gdLst>
                <a:gd name="connsiteX0" fmla="*/ 97512 w 98583"/>
                <a:gd name="connsiteY0" fmla="*/ 35362 h 102870"/>
                <a:gd name="connsiteX1" fmla="*/ 72652 w 98583"/>
                <a:gd name="connsiteY1" fmla="*/ 3215 h 102870"/>
                <a:gd name="connsiteX2" fmla="*/ 3215 w 98583"/>
                <a:gd name="connsiteY2" fmla="*/ 72652 h 102870"/>
                <a:gd name="connsiteX3" fmla="*/ 30647 w 98583"/>
                <a:gd name="connsiteY3" fmla="*/ 102227 h 102870"/>
                <a:gd name="connsiteX4" fmla="*/ 97512 w 98583"/>
                <a:gd name="connsiteY4" fmla="*/ 35362 h 102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3" h="102870">
                  <a:moveTo>
                    <a:pt x="97512" y="35362"/>
                  </a:moveTo>
                  <a:cubicBezTo>
                    <a:pt x="89368" y="24646"/>
                    <a:pt x="80796" y="13930"/>
                    <a:pt x="72652" y="3215"/>
                  </a:cubicBezTo>
                  <a:lnTo>
                    <a:pt x="3215" y="72652"/>
                  </a:lnTo>
                  <a:cubicBezTo>
                    <a:pt x="12216" y="82510"/>
                    <a:pt x="21646" y="92369"/>
                    <a:pt x="30647" y="102227"/>
                  </a:cubicBezTo>
                  <a:lnTo>
                    <a:pt x="97512" y="35362"/>
                  </a:lnTo>
                  <a:close/>
                </a:path>
              </a:pathLst>
            </a:custGeom>
            <a:grpFill/>
            <a:ln w="9525" cap="flat">
              <a:noFill/>
              <a:prstDash val="solid"/>
              <a:miter/>
            </a:ln>
          </p:spPr>
          <p:txBody>
            <a:bodyPr rtlCol="0" anchor="ctr"/>
            <a:lstStyle/>
            <a:p>
              <a:endParaRPr lang="en-US"/>
            </a:p>
          </p:txBody>
        </p:sp>
        <p:sp>
          <p:nvSpPr>
            <p:cNvPr id="311" name="Freeform: Shape 88">
              <a:extLst>
                <a:ext uri="{FF2B5EF4-FFF2-40B4-BE49-F238E27FC236}">
                  <a16:creationId xmlns:a16="http://schemas.microsoft.com/office/drawing/2014/main" id="{B747CBF7-017B-D940-837F-D0AC2D5DCA93}"/>
                </a:ext>
              </a:extLst>
            </p:cNvPr>
            <p:cNvSpPr/>
            <p:nvPr/>
          </p:nvSpPr>
          <p:spPr>
            <a:xfrm>
              <a:off x="6529126" y="1899452"/>
              <a:ext cx="334328" cy="270034"/>
            </a:xfrm>
            <a:custGeom>
              <a:avLst/>
              <a:gdLst>
                <a:gd name="connsiteX0" fmla="*/ 3215 w 334327"/>
                <a:gd name="connsiteY0" fmla="*/ 165235 h 270033"/>
                <a:gd name="connsiteX1" fmla="*/ 51221 w 334327"/>
                <a:gd name="connsiteY1" fmla="*/ 205954 h 270033"/>
                <a:gd name="connsiteX2" fmla="*/ 152376 w 334327"/>
                <a:gd name="connsiteY2" fmla="*/ 124516 h 270033"/>
                <a:gd name="connsiteX3" fmla="*/ 154519 w 334327"/>
                <a:gd name="connsiteY3" fmla="*/ 123230 h 270033"/>
                <a:gd name="connsiteX4" fmla="*/ 165235 w 334327"/>
                <a:gd name="connsiteY4" fmla="*/ 68794 h 270033"/>
                <a:gd name="connsiteX5" fmla="*/ 225242 w 334327"/>
                <a:gd name="connsiteY5" fmla="*/ 75224 h 270033"/>
                <a:gd name="connsiteX6" fmla="*/ 219242 w 334327"/>
                <a:gd name="connsiteY6" fmla="*/ 135660 h 270033"/>
                <a:gd name="connsiteX7" fmla="*/ 175094 w 334327"/>
                <a:gd name="connsiteY7" fmla="*/ 141232 h 270033"/>
                <a:gd name="connsiteX8" fmla="*/ 170807 w 334327"/>
                <a:gd name="connsiteY8" fmla="*/ 147233 h 270033"/>
                <a:gd name="connsiteX9" fmla="*/ 72223 w 334327"/>
                <a:gd name="connsiteY9" fmla="*/ 226528 h 270033"/>
                <a:gd name="connsiteX10" fmla="*/ 75652 w 334327"/>
                <a:gd name="connsiteY10" fmla="*/ 230386 h 270033"/>
                <a:gd name="connsiteX11" fmla="*/ 99227 w 334327"/>
                <a:gd name="connsiteY11" fmla="*/ 268962 h 270033"/>
                <a:gd name="connsiteX12" fmla="*/ 331970 w 334327"/>
                <a:gd name="connsiteY12" fmla="*/ 81224 h 270033"/>
                <a:gd name="connsiteX13" fmla="*/ 307538 w 334327"/>
                <a:gd name="connsiteY13" fmla="*/ 31075 h 270033"/>
                <a:gd name="connsiteX14" fmla="*/ 289536 w 334327"/>
                <a:gd name="connsiteY14" fmla="*/ 17788 h 270033"/>
                <a:gd name="connsiteX15" fmla="*/ 285679 w 334327"/>
                <a:gd name="connsiteY15" fmla="*/ 12216 h 270033"/>
                <a:gd name="connsiteX16" fmla="*/ 202954 w 334327"/>
                <a:gd name="connsiteY16" fmla="*/ 3215 h 270033"/>
                <a:gd name="connsiteX17" fmla="*/ 3215 w 334327"/>
                <a:gd name="connsiteY17" fmla="*/ 165235 h 27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4327" h="270033">
                  <a:moveTo>
                    <a:pt x="3215" y="165235"/>
                  </a:moveTo>
                  <a:cubicBezTo>
                    <a:pt x="18645" y="179380"/>
                    <a:pt x="35362" y="192238"/>
                    <a:pt x="51221" y="205954"/>
                  </a:cubicBezTo>
                  <a:lnTo>
                    <a:pt x="152376" y="124516"/>
                  </a:lnTo>
                  <a:cubicBezTo>
                    <a:pt x="153233" y="124087"/>
                    <a:pt x="153662" y="123658"/>
                    <a:pt x="154519" y="123230"/>
                  </a:cubicBezTo>
                  <a:cubicBezTo>
                    <a:pt x="144232" y="105228"/>
                    <a:pt x="148519" y="82082"/>
                    <a:pt x="165235" y="68794"/>
                  </a:cubicBezTo>
                  <a:cubicBezTo>
                    <a:pt x="183666" y="53793"/>
                    <a:pt x="210241" y="56793"/>
                    <a:pt x="225242" y="75224"/>
                  </a:cubicBezTo>
                  <a:cubicBezTo>
                    <a:pt x="240244" y="93655"/>
                    <a:pt x="237673" y="120658"/>
                    <a:pt x="219242" y="135660"/>
                  </a:cubicBezTo>
                  <a:cubicBezTo>
                    <a:pt x="206383" y="145947"/>
                    <a:pt x="189238" y="147233"/>
                    <a:pt x="175094" y="141232"/>
                  </a:cubicBezTo>
                  <a:cubicBezTo>
                    <a:pt x="174236" y="143375"/>
                    <a:pt x="172950" y="145518"/>
                    <a:pt x="170807" y="147233"/>
                  </a:cubicBezTo>
                  <a:lnTo>
                    <a:pt x="72223" y="226528"/>
                  </a:lnTo>
                  <a:cubicBezTo>
                    <a:pt x="73509" y="227814"/>
                    <a:pt x="74795" y="229100"/>
                    <a:pt x="75652" y="230386"/>
                  </a:cubicBezTo>
                  <a:cubicBezTo>
                    <a:pt x="83368" y="243245"/>
                    <a:pt x="91512" y="256103"/>
                    <a:pt x="99227" y="268962"/>
                  </a:cubicBezTo>
                  <a:lnTo>
                    <a:pt x="331970" y="81224"/>
                  </a:lnTo>
                  <a:cubicBezTo>
                    <a:pt x="323826" y="64508"/>
                    <a:pt x="315682" y="47792"/>
                    <a:pt x="307538" y="31075"/>
                  </a:cubicBezTo>
                  <a:cubicBezTo>
                    <a:pt x="300681" y="28504"/>
                    <a:pt x="294680" y="24217"/>
                    <a:pt x="289536" y="17788"/>
                  </a:cubicBezTo>
                  <a:cubicBezTo>
                    <a:pt x="288250" y="16073"/>
                    <a:pt x="286965" y="14359"/>
                    <a:pt x="285679" y="12216"/>
                  </a:cubicBezTo>
                  <a:lnTo>
                    <a:pt x="202954" y="3215"/>
                  </a:lnTo>
                  <a:lnTo>
                    <a:pt x="3215" y="165235"/>
                  </a:lnTo>
                  <a:close/>
                </a:path>
              </a:pathLst>
            </a:custGeom>
            <a:grpFill/>
            <a:ln w="9525" cap="flat">
              <a:noFill/>
              <a:prstDash val="solid"/>
              <a:miter/>
            </a:ln>
          </p:spPr>
          <p:txBody>
            <a:bodyPr rtlCol="0" anchor="ctr"/>
            <a:lstStyle/>
            <a:p>
              <a:endParaRPr lang="en-US"/>
            </a:p>
          </p:txBody>
        </p:sp>
        <p:sp>
          <p:nvSpPr>
            <p:cNvPr id="312" name="Freeform: Shape 89">
              <a:extLst>
                <a:ext uri="{FF2B5EF4-FFF2-40B4-BE49-F238E27FC236}">
                  <a16:creationId xmlns:a16="http://schemas.microsoft.com/office/drawing/2014/main" id="{A5B124D9-17CB-D24E-BD1C-61638A55E5D9}"/>
                </a:ext>
              </a:extLst>
            </p:cNvPr>
            <p:cNvSpPr/>
            <p:nvPr/>
          </p:nvSpPr>
          <p:spPr>
            <a:xfrm>
              <a:off x="6529126" y="2061472"/>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13" name="Freeform: Shape 90">
              <a:extLst>
                <a:ext uri="{FF2B5EF4-FFF2-40B4-BE49-F238E27FC236}">
                  <a16:creationId xmlns:a16="http://schemas.microsoft.com/office/drawing/2014/main" id="{C7B128BF-F248-0446-B613-26083F15CC8A}"/>
                </a:ext>
              </a:extLst>
            </p:cNvPr>
            <p:cNvSpPr/>
            <p:nvPr/>
          </p:nvSpPr>
          <p:spPr>
            <a:xfrm>
              <a:off x="6644426" y="1365814"/>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14" name="Freeform: Shape 91">
              <a:extLst>
                <a:ext uri="{FF2B5EF4-FFF2-40B4-BE49-F238E27FC236}">
                  <a16:creationId xmlns:a16="http://schemas.microsoft.com/office/drawing/2014/main" id="{E95314A6-2AE8-FD4F-B772-2C6EB7EA5AFC}"/>
                </a:ext>
              </a:extLst>
            </p:cNvPr>
            <p:cNvSpPr/>
            <p:nvPr/>
          </p:nvSpPr>
          <p:spPr>
            <a:xfrm>
              <a:off x="6421969" y="1162645"/>
              <a:ext cx="227171" cy="205740"/>
            </a:xfrm>
            <a:custGeom>
              <a:avLst/>
              <a:gdLst>
                <a:gd name="connsiteX0" fmla="*/ 225671 w 227171"/>
                <a:gd name="connsiteY0" fmla="*/ 206383 h 205740"/>
                <a:gd name="connsiteX1" fmla="*/ 7930 w 227171"/>
                <a:gd name="connsiteY1" fmla="*/ 4929 h 205740"/>
                <a:gd name="connsiteX2" fmla="*/ 3215 w 227171"/>
                <a:gd name="connsiteY2" fmla="*/ 3215 h 205740"/>
                <a:gd name="connsiteX3" fmla="*/ 161377 w 227171"/>
                <a:gd name="connsiteY3" fmla="*/ 199525 h 205740"/>
                <a:gd name="connsiteX4" fmla="*/ 225671 w 227171"/>
                <a:gd name="connsiteY4" fmla="*/ 206383 h 20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71" h="205740">
                  <a:moveTo>
                    <a:pt x="225671" y="206383"/>
                  </a:moveTo>
                  <a:cubicBezTo>
                    <a:pt x="178522" y="117658"/>
                    <a:pt x="102227" y="42648"/>
                    <a:pt x="7930" y="4929"/>
                  </a:cubicBezTo>
                  <a:cubicBezTo>
                    <a:pt x="6215" y="4072"/>
                    <a:pt x="4929" y="3643"/>
                    <a:pt x="3215" y="3215"/>
                  </a:cubicBezTo>
                  <a:lnTo>
                    <a:pt x="161377" y="199525"/>
                  </a:lnTo>
                  <a:lnTo>
                    <a:pt x="225671" y="206383"/>
                  </a:lnTo>
                  <a:close/>
                </a:path>
              </a:pathLst>
            </a:custGeom>
            <a:grpFill/>
            <a:ln w="9525" cap="flat">
              <a:noFill/>
              <a:prstDash val="solid"/>
              <a:miter/>
            </a:ln>
          </p:spPr>
          <p:txBody>
            <a:bodyPr rtlCol="0" anchor="ctr"/>
            <a:lstStyle/>
            <a:p>
              <a:endParaRPr lang="en-US"/>
            </a:p>
          </p:txBody>
        </p:sp>
        <p:sp>
          <p:nvSpPr>
            <p:cNvPr id="315" name="Freeform: Shape 92">
              <a:extLst>
                <a:ext uri="{FF2B5EF4-FFF2-40B4-BE49-F238E27FC236}">
                  <a16:creationId xmlns:a16="http://schemas.microsoft.com/office/drawing/2014/main" id="{60A6D44A-4525-7D4F-9780-C2D25CCDA769}"/>
                </a:ext>
              </a:extLst>
            </p:cNvPr>
            <p:cNvSpPr/>
            <p:nvPr/>
          </p:nvSpPr>
          <p:spPr>
            <a:xfrm>
              <a:off x="6426256" y="3548372"/>
              <a:ext cx="205740" cy="612934"/>
            </a:xfrm>
            <a:custGeom>
              <a:avLst/>
              <a:gdLst>
                <a:gd name="connsiteX0" fmla="*/ 15645 w 205740"/>
                <a:gd name="connsiteY0" fmla="*/ 612720 h 612933"/>
                <a:gd name="connsiteX1" fmla="*/ 15645 w 205740"/>
                <a:gd name="connsiteY1" fmla="*/ 367546 h 612933"/>
                <a:gd name="connsiteX2" fmla="*/ 15645 w 205740"/>
                <a:gd name="connsiteY2" fmla="*/ 363688 h 612933"/>
                <a:gd name="connsiteX3" fmla="*/ 137803 w 205740"/>
                <a:gd name="connsiteY3" fmla="*/ 241530 h 612933"/>
                <a:gd name="connsiteX4" fmla="*/ 137803 w 205740"/>
                <a:gd name="connsiteY4" fmla="*/ 241530 h 612933"/>
                <a:gd name="connsiteX5" fmla="*/ 137803 w 205740"/>
                <a:gd name="connsiteY5" fmla="*/ 102227 h 612933"/>
                <a:gd name="connsiteX6" fmla="*/ 137803 w 205740"/>
                <a:gd name="connsiteY6" fmla="*/ 97941 h 612933"/>
                <a:gd name="connsiteX7" fmla="*/ 205954 w 205740"/>
                <a:gd name="connsiteY7" fmla="*/ 29789 h 612933"/>
                <a:gd name="connsiteX8" fmla="*/ 193953 w 205740"/>
                <a:gd name="connsiteY8" fmla="*/ 3215 h 612933"/>
                <a:gd name="connsiteX9" fmla="*/ 108656 w 205740"/>
                <a:gd name="connsiteY9" fmla="*/ 88511 h 612933"/>
                <a:gd name="connsiteX10" fmla="*/ 108656 w 205740"/>
                <a:gd name="connsiteY10" fmla="*/ 234672 h 612933"/>
                <a:gd name="connsiteX11" fmla="*/ 3215 w 205740"/>
                <a:gd name="connsiteY11" fmla="*/ 340114 h 612933"/>
                <a:gd name="connsiteX12" fmla="*/ 3215 w 205740"/>
                <a:gd name="connsiteY12" fmla="*/ 605004 h 612933"/>
                <a:gd name="connsiteX13" fmla="*/ 15645 w 205740"/>
                <a:gd name="connsiteY13" fmla="*/ 612720 h 61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740" h="612933">
                  <a:moveTo>
                    <a:pt x="15645" y="612720"/>
                  </a:moveTo>
                  <a:lnTo>
                    <a:pt x="15645" y="367546"/>
                  </a:lnTo>
                  <a:lnTo>
                    <a:pt x="15645" y="363688"/>
                  </a:lnTo>
                  <a:lnTo>
                    <a:pt x="137803" y="241530"/>
                  </a:lnTo>
                  <a:lnTo>
                    <a:pt x="137803" y="241530"/>
                  </a:lnTo>
                  <a:lnTo>
                    <a:pt x="137803" y="102227"/>
                  </a:lnTo>
                  <a:lnTo>
                    <a:pt x="137803" y="97941"/>
                  </a:lnTo>
                  <a:lnTo>
                    <a:pt x="205954" y="29789"/>
                  </a:lnTo>
                  <a:cubicBezTo>
                    <a:pt x="202097" y="20788"/>
                    <a:pt x="198239" y="12216"/>
                    <a:pt x="193953" y="3215"/>
                  </a:cubicBezTo>
                  <a:lnTo>
                    <a:pt x="108656" y="88511"/>
                  </a:lnTo>
                  <a:lnTo>
                    <a:pt x="108656" y="234672"/>
                  </a:lnTo>
                  <a:lnTo>
                    <a:pt x="3215" y="340114"/>
                  </a:lnTo>
                  <a:lnTo>
                    <a:pt x="3215" y="605004"/>
                  </a:lnTo>
                  <a:cubicBezTo>
                    <a:pt x="7072" y="608005"/>
                    <a:pt x="11359" y="610576"/>
                    <a:pt x="15645" y="612720"/>
                  </a:cubicBezTo>
                  <a:close/>
                </a:path>
              </a:pathLst>
            </a:custGeom>
            <a:grpFill/>
            <a:ln w="9525" cap="flat">
              <a:noFill/>
              <a:prstDash val="solid"/>
              <a:miter/>
            </a:ln>
          </p:spPr>
          <p:txBody>
            <a:bodyPr rtlCol="0" anchor="ctr"/>
            <a:lstStyle/>
            <a:p>
              <a:endParaRPr lang="en-US"/>
            </a:p>
          </p:txBody>
        </p:sp>
        <p:sp>
          <p:nvSpPr>
            <p:cNvPr id="316" name="Freeform: Shape 93">
              <a:extLst>
                <a:ext uri="{FF2B5EF4-FFF2-40B4-BE49-F238E27FC236}">
                  <a16:creationId xmlns:a16="http://schemas.microsoft.com/office/drawing/2014/main" id="{5720C89F-1358-6841-9106-7214F951D389}"/>
                </a:ext>
              </a:extLst>
            </p:cNvPr>
            <p:cNvSpPr/>
            <p:nvPr/>
          </p:nvSpPr>
          <p:spPr>
            <a:xfrm>
              <a:off x="6230905" y="1217081"/>
              <a:ext cx="488633" cy="677228"/>
            </a:xfrm>
            <a:custGeom>
              <a:avLst/>
              <a:gdLst>
                <a:gd name="connsiteX0" fmla="*/ 156989 w 488632"/>
                <a:gd name="connsiteY0" fmla="*/ 116800 h 677227"/>
                <a:gd name="connsiteX1" fmla="*/ 215282 w 488632"/>
                <a:gd name="connsiteY1" fmla="*/ 124516 h 677227"/>
                <a:gd name="connsiteX2" fmla="*/ 208853 w 488632"/>
                <a:gd name="connsiteY2" fmla="*/ 184952 h 677227"/>
                <a:gd name="connsiteX3" fmla="*/ 148845 w 488632"/>
                <a:gd name="connsiteY3" fmla="*/ 178522 h 677227"/>
                <a:gd name="connsiteX4" fmla="*/ 140273 w 488632"/>
                <a:gd name="connsiteY4" fmla="*/ 142946 h 677227"/>
                <a:gd name="connsiteX5" fmla="*/ 122699 w 488632"/>
                <a:gd name="connsiteY5" fmla="*/ 121087 h 677227"/>
                <a:gd name="connsiteX6" fmla="*/ 125699 w 488632"/>
                <a:gd name="connsiteY6" fmla="*/ 113371 h 677227"/>
                <a:gd name="connsiteX7" fmla="*/ 151417 w 488632"/>
                <a:gd name="connsiteY7" fmla="*/ 46934 h 677227"/>
                <a:gd name="connsiteX8" fmla="*/ 127414 w 488632"/>
                <a:gd name="connsiteY8" fmla="*/ 34933 h 677227"/>
                <a:gd name="connsiteX9" fmla="*/ 117127 w 488632"/>
                <a:gd name="connsiteY9" fmla="*/ 18217 h 677227"/>
                <a:gd name="connsiteX10" fmla="*/ 101268 w 488632"/>
                <a:gd name="connsiteY10" fmla="*/ 51221 h 677227"/>
                <a:gd name="connsiteX11" fmla="*/ 41260 w 488632"/>
                <a:gd name="connsiteY11" fmla="*/ 44791 h 677227"/>
                <a:gd name="connsiteX12" fmla="*/ 12114 w 488632"/>
                <a:gd name="connsiteY12" fmla="*/ 41791 h 677227"/>
                <a:gd name="connsiteX13" fmla="*/ 7827 w 488632"/>
                <a:gd name="connsiteY13" fmla="*/ 407408 h 677227"/>
                <a:gd name="connsiteX14" fmla="*/ 21544 w 488632"/>
                <a:gd name="connsiteY14" fmla="*/ 396264 h 677227"/>
                <a:gd name="connsiteX15" fmla="*/ 31831 w 488632"/>
                <a:gd name="connsiteY15" fmla="*/ 300680 h 677227"/>
                <a:gd name="connsiteX16" fmla="*/ 16829 w 488632"/>
                <a:gd name="connsiteY16" fmla="*/ 289107 h 677227"/>
                <a:gd name="connsiteX17" fmla="*/ 23687 w 488632"/>
                <a:gd name="connsiteY17" fmla="*/ 228671 h 677227"/>
                <a:gd name="connsiteX18" fmla="*/ 84123 w 488632"/>
                <a:gd name="connsiteY18" fmla="*/ 235101 h 677227"/>
                <a:gd name="connsiteX19" fmla="*/ 77693 w 488632"/>
                <a:gd name="connsiteY19" fmla="*/ 295537 h 677227"/>
                <a:gd name="connsiteX20" fmla="*/ 60977 w 488632"/>
                <a:gd name="connsiteY20" fmla="*/ 303681 h 677227"/>
                <a:gd name="connsiteX21" fmla="*/ 50261 w 488632"/>
                <a:gd name="connsiteY21" fmla="*/ 405265 h 677227"/>
                <a:gd name="connsiteX22" fmla="*/ 49833 w 488632"/>
                <a:gd name="connsiteY22" fmla="*/ 411266 h 677227"/>
                <a:gd name="connsiteX23" fmla="*/ 10399 w 488632"/>
                <a:gd name="connsiteY23" fmla="*/ 442984 h 677227"/>
                <a:gd name="connsiteX24" fmla="*/ 14686 w 488632"/>
                <a:gd name="connsiteY24" fmla="*/ 491847 h 677227"/>
                <a:gd name="connsiteX25" fmla="*/ 114555 w 488632"/>
                <a:gd name="connsiteY25" fmla="*/ 411266 h 677227"/>
                <a:gd name="connsiteX26" fmla="*/ 129557 w 488632"/>
                <a:gd name="connsiteY26" fmla="*/ 370118 h 677227"/>
                <a:gd name="connsiteX27" fmla="*/ 190422 w 488632"/>
                <a:gd name="connsiteY27" fmla="*/ 376547 h 677227"/>
                <a:gd name="connsiteX28" fmla="*/ 183564 w 488632"/>
                <a:gd name="connsiteY28" fmla="*/ 436983 h 677227"/>
                <a:gd name="connsiteX29" fmla="*/ 129986 w 488632"/>
                <a:gd name="connsiteY29" fmla="*/ 436554 h 677227"/>
                <a:gd name="connsiteX30" fmla="*/ 18115 w 488632"/>
                <a:gd name="connsiteY30" fmla="*/ 526994 h 677227"/>
                <a:gd name="connsiteX31" fmla="*/ 26687 w 488632"/>
                <a:gd name="connsiteY31" fmla="*/ 599432 h 677227"/>
                <a:gd name="connsiteX32" fmla="*/ 256002 w 488632"/>
                <a:gd name="connsiteY32" fmla="*/ 414695 h 677227"/>
                <a:gd name="connsiteX33" fmla="*/ 265431 w 488632"/>
                <a:gd name="connsiteY33" fmla="*/ 328541 h 677227"/>
                <a:gd name="connsiteX34" fmla="*/ 255144 w 488632"/>
                <a:gd name="connsiteY34" fmla="*/ 319540 h 677227"/>
                <a:gd name="connsiteX35" fmla="*/ 261574 w 488632"/>
                <a:gd name="connsiteY35" fmla="*/ 259104 h 677227"/>
                <a:gd name="connsiteX36" fmla="*/ 322010 w 488632"/>
                <a:gd name="connsiteY36" fmla="*/ 265533 h 677227"/>
                <a:gd name="connsiteX37" fmla="*/ 315580 w 488632"/>
                <a:gd name="connsiteY37" fmla="*/ 325969 h 677227"/>
                <a:gd name="connsiteX38" fmla="*/ 315580 w 488632"/>
                <a:gd name="connsiteY38" fmla="*/ 325969 h 677227"/>
                <a:gd name="connsiteX39" fmla="*/ 294149 w 488632"/>
                <a:gd name="connsiteY39" fmla="*/ 334970 h 677227"/>
                <a:gd name="connsiteX40" fmla="*/ 284719 w 488632"/>
                <a:gd name="connsiteY40" fmla="*/ 424124 h 677227"/>
                <a:gd name="connsiteX41" fmla="*/ 284291 w 488632"/>
                <a:gd name="connsiteY41" fmla="*/ 429697 h 677227"/>
                <a:gd name="connsiteX42" fmla="*/ 31831 w 488632"/>
                <a:gd name="connsiteY42" fmla="*/ 633293 h 677227"/>
                <a:gd name="connsiteX43" fmla="*/ 38260 w 488632"/>
                <a:gd name="connsiteY43" fmla="*/ 674441 h 677227"/>
                <a:gd name="connsiteX44" fmla="*/ 277861 w 488632"/>
                <a:gd name="connsiteY44" fmla="*/ 481560 h 677227"/>
                <a:gd name="connsiteX45" fmla="*/ 283862 w 488632"/>
                <a:gd name="connsiteY45" fmla="*/ 482417 h 677227"/>
                <a:gd name="connsiteX46" fmla="*/ 399591 w 488632"/>
                <a:gd name="connsiteY46" fmla="*/ 494419 h 677227"/>
                <a:gd name="connsiteX47" fmla="*/ 486602 w 488632"/>
                <a:gd name="connsiteY47" fmla="*/ 424124 h 677227"/>
                <a:gd name="connsiteX48" fmla="*/ 474172 w 488632"/>
                <a:gd name="connsiteY48" fmla="*/ 328541 h 677227"/>
                <a:gd name="connsiteX49" fmla="*/ 433024 w 488632"/>
                <a:gd name="connsiteY49" fmla="*/ 183237 h 677227"/>
                <a:gd name="connsiteX50" fmla="*/ 343870 w 488632"/>
                <a:gd name="connsiteY50" fmla="*/ 173379 h 677227"/>
                <a:gd name="connsiteX51" fmla="*/ 337869 w 488632"/>
                <a:gd name="connsiteY51" fmla="*/ 172950 h 677227"/>
                <a:gd name="connsiteX52" fmla="*/ 201137 w 488632"/>
                <a:gd name="connsiteY52" fmla="*/ 3215 h 677227"/>
                <a:gd name="connsiteX53" fmla="*/ 188707 w 488632"/>
                <a:gd name="connsiteY53" fmla="*/ 34933 h 677227"/>
                <a:gd name="connsiteX54" fmla="*/ 188279 w 488632"/>
                <a:gd name="connsiteY54" fmla="*/ 34933 h 677227"/>
                <a:gd name="connsiteX55" fmla="*/ 156989 w 488632"/>
                <a:gd name="connsiteY55" fmla="*/ 115514 h 677227"/>
                <a:gd name="connsiteX56" fmla="*/ 156989 w 488632"/>
                <a:gd name="connsiteY56" fmla="*/ 116800 h 67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8632" h="677227">
                  <a:moveTo>
                    <a:pt x="156989" y="116800"/>
                  </a:moveTo>
                  <a:cubicBezTo>
                    <a:pt x="175420" y="103513"/>
                    <a:pt x="200709" y="106513"/>
                    <a:pt x="215282" y="124516"/>
                  </a:cubicBezTo>
                  <a:cubicBezTo>
                    <a:pt x="230284" y="142946"/>
                    <a:pt x="227284" y="169950"/>
                    <a:pt x="208853" y="184952"/>
                  </a:cubicBezTo>
                  <a:cubicBezTo>
                    <a:pt x="190422" y="199954"/>
                    <a:pt x="163418" y="196953"/>
                    <a:pt x="148845" y="178522"/>
                  </a:cubicBezTo>
                  <a:cubicBezTo>
                    <a:pt x="140701" y="168235"/>
                    <a:pt x="138130" y="154948"/>
                    <a:pt x="140273" y="142946"/>
                  </a:cubicBezTo>
                  <a:lnTo>
                    <a:pt x="122699" y="121087"/>
                  </a:lnTo>
                  <a:lnTo>
                    <a:pt x="125699" y="113371"/>
                  </a:lnTo>
                  <a:lnTo>
                    <a:pt x="151417" y="46934"/>
                  </a:lnTo>
                  <a:cubicBezTo>
                    <a:pt x="142844" y="45649"/>
                    <a:pt x="134272" y="41791"/>
                    <a:pt x="127414" y="34933"/>
                  </a:cubicBezTo>
                  <a:cubicBezTo>
                    <a:pt x="122699" y="30218"/>
                    <a:pt x="118841" y="24217"/>
                    <a:pt x="117127" y="18217"/>
                  </a:cubicBezTo>
                  <a:cubicBezTo>
                    <a:pt x="117127" y="30647"/>
                    <a:pt x="111555" y="42648"/>
                    <a:pt x="101268" y="51221"/>
                  </a:cubicBezTo>
                  <a:cubicBezTo>
                    <a:pt x="82837" y="65794"/>
                    <a:pt x="56262" y="62794"/>
                    <a:pt x="41260" y="44791"/>
                  </a:cubicBezTo>
                  <a:lnTo>
                    <a:pt x="12114" y="41791"/>
                  </a:lnTo>
                  <a:cubicBezTo>
                    <a:pt x="1827" y="162234"/>
                    <a:pt x="541" y="284393"/>
                    <a:pt x="7827" y="407408"/>
                  </a:cubicBezTo>
                  <a:lnTo>
                    <a:pt x="21544" y="396264"/>
                  </a:lnTo>
                  <a:lnTo>
                    <a:pt x="31831" y="300680"/>
                  </a:lnTo>
                  <a:cubicBezTo>
                    <a:pt x="26258" y="298109"/>
                    <a:pt x="21115" y="294251"/>
                    <a:pt x="16829" y="289107"/>
                  </a:cubicBezTo>
                  <a:cubicBezTo>
                    <a:pt x="1827" y="270677"/>
                    <a:pt x="5256" y="243673"/>
                    <a:pt x="23687" y="228671"/>
                  </a:cubicBezTo>
                  <a:cubicBezTo>
                    <a:pt x="42117" y="213669"/>
                    <a:pt x="69121" y="216670"/>
                    <a:pt x="84123" y="235101"/>
                  </a:cubicBezTo>
                  <a:cubicBezTo>
                    <a:pt x="99125" y="253532"/>
                    <a:pt x="96124" y="280535"/>
                    <a:pt x="77693" y="295537"/>
                  </a:cubicBezTo>
                  <a:cubicBezTo>
                    <a:pt x="72979" y="299394"/>
                    <a:pt x="66978" y="301966"/>
                    <a:pt x="60977" y="303681"/>
                  </a:cubicBezTo>
                  <a:lnTo>
                    <a:pt x="50261" y="405265"/>
                  </a:lnTo>
                  <a:lnTo>
                    <a:pt x="49833" y="411266"/>
                  </a:lnTo>
                  <a:lnTo>
                    <a:pt x="10399" y="442984"/>
                  </a:lnTo>
                  <a:cubicBezTo>
                    <a:pt x="11685" y="459272"/>
                    <a:pt x="12971" y="475559"/>
                    <a:pt x="14686" y="491847"/>
                  </a:cubicBezTo>
                  <a:lnTo>
                    <a:pt x="114555" y="411266"/>
                  </a:lnTo>
                  <a:cubicBezTo>
                    <a:pt x="111555" y="396264"/>
                    <a:pt x="116698" y="380405"/>
                    <a:pt x="129557" y="370118"/>
                  </a:cubicBezTo>
                  <a:cubicBezTo>
                    <a:pt x="147988" y="355116"/>
                    <a:pt x="175420" y="358116"/>
                    <a:pt x="190422" y="376547"/>
                  </a:cubicBezTo>
                  <a:cubicBezTo>
                    <a:pt x="205424" y="394978"/>
                    <a:pt x="201995" y="422410"/>
                    <a:pt x="183564" y="436983"/>
                  </a:cubicBezTo>
                  <a:cubicBezTo>
                    <a:pt x="167705" y="449842"/>
                    <a:pt x="145416" y="448985"/>
                    <a:pt x="129986" y="436554"/>
                  </a:cubicBezTo>
                  <a:lnTo>
                    <a:pt x="18115" y="526994"/>
                  </a:lnTo>
                  <a:cubicBezTo>
                    <a:pt x="20686" y="550997"/>
                    <a:pt x="23687" y="575429"/>
                    <a:pt x="26687" y="599432"/>
                  </a:cubicBezTo>
                  <a:lnTo>
                    <a:pt x="256002" y="414695"/>
                  </a:lnTo>
                  <a:lnTo>
                    <a:pt x="265431" y="328541"/>
                  </a:lnTo>
                  <a:cubicBezTo>
                    <a:pt x="261574" y="325969"/>
                    <a:pt x="258145" y="323397"/>
                    <a:pt x="255144" y="319540"/>
                  </a:cubicBezTo>
                  <a:cubicBezTo>
                    <a:pt x="240142" y="301109"/>
                    <a:pt x="243143" y="274106"/>
                    <a:pt x="261574" y="259104"/>
                  </a:cubicBezTo>
                  <a:cubicBezTo>
                    <a:pt x="280004" y="244102"/>
                    <a:pt x="307008" y="247102"/>
                    <a:pt x="322010" y="265533"/>
                  </a:cubicBezTo>
                  <a:cubicBezTo>
                    <a:pt x="337011" y="283964"/>
                    <a:pt x="334011" y="310967"/>
                    <a:pt x="315580" y="325969"/>
                  </a:cubicBezTo>
                  <a:lnTo>
                    <a:pt x="315580" y="325969"/>
                  </a:lnTo>
                  <a:cubicBezTo>
                    <a:pt x="309151" y="331113"/>
                    <a:pt x="301864" y="334113"/>
                    <a:pt x="294149" y="334970"/>
                  </a:cubicBezTo>
                  <a:lnTo>
                    <a:pt x="284719" y="424124"/>
                  </a:lnTo>
                  <a:lnTo>
                    <a:pt x="284291" y="429697"/>
                  </a:lnTo>
                  <a:lnTo>
                    <a:pt x="31831" y="633293"/>
                  </a:lnTo>
                  <a:cubicBezTo>
                    <a:pt x="33974" y="647009"/>
                    <a:pt x="36117" y="660725"/>
                    <a:pt x="38260" y="674441"/>
                  </a:cubicBezTo>
                  <a:lnTo>
                    <a:pt x="277861" y="481560"/>
                  </a:lnTo>
                  <a:lnTo>
                    <a:pt x="283862" y="482417"/>
                  </a:lnTo>
                  <a:lnTo>
                    <a:pt x="399591" y="494419"/>
                  </a:lnTo>
                  <a:lnTo>
                    <a:pt x="486602" y="424124"/>
                  </a:lnTo>
                  <a:cubicBezTo>
                    <a:pt x="483173" y="392406"/>
                    <a:pt x="480172" y="360259"/>
                    <a:pt x="474172" y="328541"/>
                  </a:cubicBezTo>
                  <a:cubicBezTo>
                    <a:pt x="463027" y="279678"/>
                    <a:pt x="454026" y="229100"/>
                    <a:pt x="433024" y="183237"/>
                  </a:cubicBezTo>
                  <a:lnTo>
                    <a:pt x="343870" y="173379"/>
                  </a:lnTo>
                  <a:lnTo>
                    <a:pt x="337869" y="172950"/>
                  </a:lnTo>
                  <a:lnTo>
                    <a:pt x="201137" y="3215"/>
                  </a:lnTo>
                  <a:cubicBezTo>
                    <a:pt x="201566" y="14787"/>
                    <a:pt x="197280" y="25932"/>
                    <a:pt x="188707" y="34933"/>
                  </a:cubicBezTo>
                  <a:cubicBezTo>
                    <a:pt x="188707" y="34933"/>
                    <a:pt x="188707" y="34933"/>
                    <a:pt x="188279" y="34933"/>
                  </a:cubicBezTo>
                  <a:lnTo>
                    <a:pt x="156989" y="115514"/>
                  </a:lnTo>
                  <a:lnTo>
                    <a:pt x="156989" y="116800"/>
                  </a:lnTo>
                  <a:close/>
                </a:path>
              </a:pathLst>
            </a:custGeom>
            <a:grpFill/>
            <a:ln w="9525" cap="flat">
              <a:noFill/>
              <a:prstDash val="solid"/>
              <a:miter/>
            </a:ln>
          </p:spPr>
          <p:txBody>
            <a:bodyPr rtlCol="0" anchor="ctr"/>
            <a:lstStyle/>
            <a:p>
              <a:endParaRPr lang="en-US"/>
            </a:p>
          </p:txBody>
        </p:sp>
        <p:sp>
          <p:nvSpPr>
            <p:cNvPr id="317" name="Freeform: Shape 94">
              <a:extLst>
                <a:ext uri="{FF2B5EF4-FFF2-40B4-BE49-F238E27FC236}">
                  <a16:creationId xmlns:a16="http://schemas.microsoft.com/office/drawing/2014/main" id="{59E71362-93CA-6B4A-AB25-0EE115C28499}"/>
                </a:ext>
              </a:extLst>
            </p:cNvPr>
            <p:cNvSpPr/>
            <p:nvPr/>
          </p:nvSpPr>
          <p:spPr>
            <a:xfrm>
              <a:off x="5648730" y="596860"/>
              <a:ext cx="505778" cy="240030"/>
            </a:xfrm>
            <a:custGeom>
              <a:avLst/>
              <a:gdLst>
                <a:gd name="connsiteX0" fmla="*/ 504277 w 505777"/>
                <a:gd name="connsiteY0" fmla="*/ 237244 h 240030"/>
                <a:gd name="connsiteX1" fmla="*/ 504277 w 505777"/>
                <a:gd name="connsiteY1" fmla="*/ 190952 h 240030"/>
                <a:gd name="connsiteX2" fmla="*/ 444699 w 505777"/>
                <a:gd name="connsiteY2" fmla="*/ 131374 h 240030"/>
                <a:gd name="connsiteX3" fmla="*/ 310539 w 505777"/>
                <a:gd name="connsiteY3" fmla="*/ 131802 h 240030"/>
                <a:gd name="connsiteX4" fmla="*/ 304538 w 505777"/>
                <a:gd name="connsiteY4" fmla="*/ 131802 h 240030"/>
                <a:gd name="connsiteX5" fmla="*/ 175951 w 505777"/>
                <a:gd name="connsiteY5" fmla="*/ 3215 h 240030"/>
                <a:gd name="connsiteX6" fmla="*/ 3215 w 505777"/>
                <a:gd name="connsiteY6" fmla="*/ 3215 h 240030"/>
                <a:gd name="connsiteX7" fmla="*/ 8787 w 505777"/>
                <a:gd name="connsiteY7" fmla="*/ 37505 h 240030"/>
                <a:gd name="connsiteX8" fmla="*/ 153233 w 505777"/>
                <a:gd name="connsiteY8" fmla="*/ 37505 h 240030"/>
                <a:gd name="connsiteX9" fmla="*/ 157520 w 505777"/>
                <a:gd name="connsiteY9" fmla="*/ 37505 h 240030"/>
                <a:gd name="connsiteX10" fmla="*/ 289965 w 505777"/>
                <a:gd name="connsiteY10" fmla="*/ 169950 h 240030"/>
                <a:gd name="connsiteX11" fmla="*/ 418124 w 505777"/>
                <a:gd name="connsiteY11" fmla="*/ 170378 h 240030"/>
                <a:gd name="connsiteX12" fmla="*/ 421981 w 505777"/>
                <a:gd name="connsiteY12" fmla="*/ 170378 h 240030"/>
                <a:gd name="connsiteX13" fmla="*/ 483703 w 505777"/>
                <a:gd name="connsiteY13" fmla="*/ 232100 h 240030"/>
                <a:gd name="connsiteX14" fmla="*/ 483703 w 505777"/>
                <a:gd name="connsiteY14" fmla="*/ 234672 h 240030"/>
                <a:gd name="connsiteX15" fmla="*/ 504277 w 505777"/>
                <a:gd name="connsiteY15" fmla="*/ 237244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5777" h="240030">
                  <a:moveTo>
                    <a:pt x="504277" y="237244"/>
                  </a:moveTo>
                  <a:lnTo>
                    <a:pt x="504277" y="190952"/>
                  </a:lnTo>
                  <a:lnTo>
                    <a:pt x="444699" y="131374"/>
                  </a:lnTo>
                  <a:lnTo>
                    <a:pt x="310539" y="131802"/>
                  </a:lnTo>
                  <a:lnTo>
                    <a:pt x="304538" y="131802"/>
                  </a:lnTo>
                  <a:lnTo>
                    <a:pt x="175951" y="3215"/>
                  </a:lnTo>
                  <a:lnTo>
                    <a:pt x="3215" y="3215"/>
                  </a:lnTo>
                  <a:cubicBezTo>
                    <a:pt x="5358" y="14788"/>
                    <a:pt x="7072" y="26360"/>
                    <a:pt x="8787" y="37505"/>
                  </a:cubicBezTo>
                  <a:lnTo>
                    <a:pt x="153233" y="37505"/>
                  </a:lnTo>
                  <a:lnTo>
                    <a:pt x="157520" y="37505"/>
                  </a:lnTo>
                  <a:lnTo>
                    <a:pt x="289965" y="169950"/>
                  </a:lnTo>
                  <a:lnTo>
                    <a:pt x="418124" y="170378"/>
                  </a:lnTo>
                  <a:lnTo>
                    <a:pt x="421981" y="170378"/>
                  </a:lnTo>
                  <a:lnTo>
                    <a:pt x="483703" y="232100"/>
                  </a:lnTo>
                  <a:lnTo>
                    <a:pt x="483703" y="234672"/>
                  </a:lnTo>
                  <a:cubicBezTo>
                    <a:pt x="490561" y="235101"/>
                    <a:pt x="497419" y="236387"/>
                    <a:pt x="504277" y="237244"/>
                  </a:cubicBezTo>
                  <a:close/>
                </a:path>
              </a:pathLst>
            </a:custGeom>
            <a:grpFill/>
            <a:ln w="9525" cap="flat">
              <a:noFill/>
              <a:prstDash val="solid"/>
              <a:miter/>
            </a:ln>
          </p:spPr>
          <p:txBody>
            <a:bodyPr rtlCol="0" anchor="ctr"/>
            <a:lstStyle/>
            <a:p>
              <a:endParaRPr lang="en-US"/>
            </a:p>
          </p:txBody>
        </p:sp>
        <p:sp>
          <p:nvSpPr>
            <p:cNvPr id="318" name="Freeform: Shape 95">
              <a:extLst>
                <a:ext uri="{FF2B5EF4-FFF2-40B4-BE49-F238E27FC236}">
                  <a16:creationId xmlns:a16="http://schemas.microsoft.com/office/drawing/2014/main" id="{C452A04C-B14A-6F43-AA57-D07AD3C27B0B}"/>
                </a:ext>
              </a:extLst>
            </p:cNvPr>
            <p:cNvSpPr/>
            <p:nvPr/>
          </p:nvSpPr>
          <p:spPr>
            <a:xfrm>
              <a:off x="5628584" y="437840"/>
              <a:ext cx="630079" cy="317183"/>
            </a:xfrm>
            <a:custGeom>
              <a:avLst/>
              <a:gdLst>
                <a:gd name="connsiteX0" fmla="*/ 630722 w 630078"/>
                <a:gd name="connsiteY0" fmla="*/ 238530 h 317182"/>
                <a:gd name="connsiteX1" fmla="*/ 630722 w 630078"/>
                <a:gd name="connsiteY1" fmla="*/ 238530 h 317182"/>
                <a:gd name="connsiteX2" fmla="*/ 602433 w 630078"/>
                <a:gd name="connsiteY2" fmla="*/ 228671 h 317182"/>
                <a:gd name="connsiteX3" fmla="*/ 599004 w 630078"/>
                <a:gd name="connsiteY3" fmla="*/ 225242 h 317182"/>
                <a:gd name="connsiteX4" fmla="*/ 586573 w 630078"/>
                <a:gd name="connsiteY4" fmla="*/ 200382 h 317182"/>
                <a:gd name="connsiteX5" fmla="*/ 440412 w 630078"/>
                <a:gd name="connsiteY5" fmla="*/ 54221 h 317182"/>
                <a:gd name="connsiteX6" fmla="*/ 302395 w 630078"/>
                <a:gd name="connsiteY6" fmla="*/ 54221 h 317182"/>
                <a:gd name="connsiteX7" fmla="*/ 295966 w 630078"/>
                <a:gd name="connsiteY7" fmla="*/ 54221 h 317182"/>
                <a:gd name="connsiteX8" fmla="*/ 245816 w 630078"/>
                <a:gd name="connsiteY8" fmla="*/ 3643 h 317182"/>
                <a:gd name="connsiteX9" fmla="*/ 3215 w 630078"/>
                <a:gd name="connsiteY9" fmla="*/ 3215 h 317182"/>
                <a:gd name="connsiteX10" fmla="*/ 6644 w 630078"/>
                <a:gd name="connsiteY10" fmla="*/ 32790 h 317182"/>
                <a:gd name="connsiteX11" fmla="*/ 218813 w 630078"/>
                <a:gd name="connsiteY11" fmla="*/ 32790 h 317182"/>
                <a:gd name="connsiteX12" fmla="*/ 222671 w 630078"/>
                <a:gd name="connsiteY12" fmla="*/ 32790 h 317182"/>
                <a:gd name="connsiteX13" fmla="*/ 281392 w 630078"/>
                <a:gd name="connsiteY13" fmla="*/ 91511 h 317182"/>
                <a:gd name="connsiteX14" fmla="*/ 439555 w 630078"/>
                <a:gd name="connsiteY14" fmla="*/ 91511 h 317182"/>
                <a:gd name="connsiteX15" fmla="*/ 443841 w 630078"/>
                <a:gd name="connsiteY15" fmla="*/ 91083 h 317182"/>
                <a:gd name="connsiteX16" fmla="*/ 520136 w 630078"/>
                <a:gd name="connsiteY16" fmla="*/ 167378 h 317182"/>
                <a:gd name="connsiteX17" fmla="*/ 520136 w 630078"/>
                <a:gd name="connsiteY17" fmla="*/ 171664 h 317182"/>
                <a:gd name="connsiteX18" fmla="*/ 520136 w 630078"/>
                <a:gd name="connsiteY18" fmla="*/ 226957 h 317182"/>
                <a:gd name="connsiteX19" fmla="*/ 611005 w 630078"/>
                <a:gd name="connsiteY19" fmla="*/ 317825 h 317182"/>
                <a:gd name="connsiteX20" fmla="*/ 630722 w 630078"/>
                <a:gd name="connsiteY20" fmla="*/ 238530 h 3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0078" h="317182">
                  <a:moveTo>
                    <a:pt x="630722" y="238530"/>
                  </a:moveTo>
                  <a:lnTo>
                    <a:pt x="630722" y="238530"/>
                  </a:lnTo>
                  <a:cubicBezTo>
                    <a:pt x="620435" y="238530"/>
                    <a:pt x="610576" y="235101"/>
                    <a:pt x="602433" y="228671"/>
                  </a:cubicBezTo>
                  <a:cubicBezTo>
                    <a:pt x="601147" y="227814"/>
                    <a:pt x="600289" y="226528"/>
                    <a:pt x="599004" y="225242"/>
                  </a:cubicBezTo>
                  <a:cubicBezTo>
                    <a:pt x="592146" y="218384"/>
                    <a:pt x="587859" y="209383"/>
                    <a:pt x="586573" y="200382"/>
                  </a:cubicBezTo>
                  <a:lnTo>
                    <a:pt x="440412" y="54221"/>
                  </a:lnTo>
                  <a:lnTo>
                    <a:pt x="302395" y="54221"/>
                  </a:lnTo>
                  <a:lnTo>
                    <a:pt x="295966" y="54221"/>
                  </a:lnTo>
                  <a:lnTo>
                    <a:pt x="245816" y="3643"/>
                  </a:lnTo>
                  <a:lnTo>
                    <a:pt x="3215" y="3215"/>
                  </a:lnTo>
                  <a:cubicBezTo>
                    <a:pt x="4501" y="13073"/>
                    <a:pt x="5358" y="22931"/>
                    <a:pt x="6644" y="32790"/>
                  </a:cubicBezTo>
                  <a:lnTo>
                    <a:pt x="218813" y="32790"/>
                  </a:lnTo>
                  <a:lnTo>
                    <a:pt x="222671" y="32790"/>
                  </a:lnTo>
                  <a:lnTo>
                    <a:pt x="281392" y="91511"/>
                  </a:lnTo>
                  <a:lnTo>
                    <a:pt x="439555" y="91511"/>
                  </a:lnTo>
                  <a:lnTo>
                    <a:pt x="443841" y="91083"/>
                  </a:lnTo>
                  <a:lnTo>
                    <a:pt x="520136" y="167378"/>
                  </a:lnTo>
                  <a:lnTo>
                    <a:pt x="520136" y="171664"/>
                  </a:lnTo>
                  <a:lnTo>
                    <a:pt x="520136" y="226957"/>
                  </a:lnTo>
                  <a:lnTo>
                    <a:pt x="611005" y="317825"/>
                  </a:lnTo>
                  <a:cubicBezTo>
                    <a:pt x="618720" y="292108"/>
                    <a:pt x="624292" y="265105"/>
                    <a:pt x="630722" y="238530"/>
                  </a:cubicBezTo>
                  <a:close/>
                </a:path>
              </a:pathLst>
            </a:custGeom>
            <a:grpFill/>
            <a:ln w="9525" cap="flat">
              <a:noFill/>
              <a:prstDash val="solid"/>
              <a:miter/>
            </a:ln>
          </p:spPr>
          <p:txBody>
            <a:bodyPr rtlCol="0" anchor="ctr"/>
            <a:lstStyle/>
            <a:p>
              <a:endParaRPr lang="en-US"/>
            </a:p>
          </p:txBody>
        </p:sp>
        <p:sp>
          <p:nvSpPr>
            <p:cNvPr id="319" name="Freeform: Shape 96">
              <a:extLst>
                <a:ext uri="{FF2B5EF4-FFF2-40B4-BE49-F238E27FC236}">
                  <a16:creationId xmlns:a16="http://schemas.microsoft.com/office/drawing/2014/main" id="{E8A77795-C4BC-E442-8C6A-51B007990B86}"/>
                </a:ext>
              </a:extLst>
            </p:cNvPr>
            <p:cNvSpPr/>
            <p:nvPr/>
          </p:nvSpPr>
          <p:spPr>
            <a:xfrm>
              <a:off x="6241947" y="1152787"/>
              <a:ext cx="111443" cy="77153"/>
            </a:xfrm>
            <a:custGeom>
              <a:avLst/>
              <a:gdLst>
                <a:gd name="connsiteX0" fmla="*/ 82082 w 111442"/>
                <a:gd name="connsiteY0" fmla="*/ 10930 h 77152"/>
                <a:gd name="connsiteX1" fmla="*/ 11359 w 111442"/>
                <a:gd name="connsiteY1" fmla="*/ 3215 h 77152"/>
                <a:gd name="connsiteX2" fmla="*/ 3215 w 111442"/>
                <a:gd name="connsiteY2" fmla="*/ 76081 h 77152"/>
                <a:gd name="connsiteX3" fmla="*/ 20360 w 111442"/>
                <a:gd name="connsiteY3" fmla="*/ 77795 h 77152"/>
                <a:gd name="connsiteX4" fmla="*/ 36219 w 111442"/>
                <a:gd name="connsiteY4" fmla="*/ 47792 h 77152"/>
                <a:gd name="connsiteX5" fmla="*/ 96655 w 111442"/>
                <a:gd name="connsiteY5" fmla="*/ 54221 h 77152"/>
                <a:gd name="connsiteX6" fmla="*/ 103942 w 111442"/>
                <a:gd name="connsiteY6" fmla="*/ 67937 h 77152"/>
                <a:gd name="connsiteX7" fmla="*/ 110371 w 111442"/>
                <a:gd name="connsiteY7" fmla="*/ 45649 h 77152"/>
                <a:gd name="connsiteX8" fmla="*/ 82082 w 111442"/>
                <a:gd name="connsiteY8" fmla="*/ 10930 h 77152"/>
                <a:gd name="connsiteX9" fmla="*/ 82082 w 111442"/>
                <a:gd name="connsiteY9" fmla="*/ 10930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442" h="77152">
                  <a:moveTo>
                    <a:pt x="82082" y="10930"/>
                  </a:moveTo>
                  <a:lnTo>
                    <a:pt x="11359" y="3215"/>
                  </a:lnTo>
                  <a:cubicBezTo>
                    <a:pt x="8358" y="27646"/>
                    <a:pt x="5358" y="51649"/>
                    <a:pt x="3215" y="76081"/>
                  </a:cubicBezTo>
                  <a:lnTo>
                    <a:pt x="20360" y="77795"/>
                  </a:lnTo>
                  <a:cubicBezTo>
                    <a:pt x="21217" y="66222"/>
                    <a:pt x="26361" y="55507"/>
                    <a:pt x="36219" y="47792"/>
                  </a:cubicBezTo>
                  <a:cubicBezTo>
                    <a:pt x="54650" y="32790"/>
                    <a:pt x="81653" y="35790"/>
                    <a:pt x="96655" y="54221"/>
                  </a:cubicBezTo>
                  <a:cubicBezTo>
                    <a:pt x="100084" y="58507"/>
                    <a:pt x="102227" y="62794"/>
                    <a:pt x="103942" y="67937"/>
                  </a:cubicBezTo>
                  <a:cubicBezTo>
                    <a:pt x="103942" y="60222"/>
                    <a:pt x="106085" y="52507"/>
                    <a:pt x="110371" y="45649"/>
                  </a:cubicBezTo>
                  <a:lnTo>
                    <a:pt x="82082" y="10930"/>
                  </a:lnTo>
                  <a:lnTo>
                    <a:pt x="82082" y="10930"/>
                  </a:lnTo>
                  <a:close/>
                </a:path>
              </a:pathLst>
            </a:custGeom>
            <a:grpFill/>
            <a:ln w="9525" cap="flat">
              <a:noFill/>
              <a:prstDash val="solid"/>
              <a:miter/>
            </a:ln>
          </p:spPr>
          <p:txBody>
            <a:bodyPr rtlCol="0" anchor="ctr"/>
            <a:lstStyle/>
            <a:p>
              <a:endParaRPr lang="en-US"/>
            </a:p>
          </p:txBody>
        </p:sp>
        <p:sp>
          <p:nvSpPr>
            <p:cNvPr id="320" name="Freeform: Shape 97">
              <a:extLst>
                <a:ext uri="{FF2B5EF4-FFF2-40B4-BE49-F238E27FC236}">
                  <a16:creationId xmlns:a16="http://schemas.microsoft.com/office/drawing/2014/main" id="{44A7D35B-3C5E-8C4C-9E9A-290FA3A74146}"/>
                </a:ext>
              </a:extLst>
            </p:cNvPr>
            <p:cNvSpPr/>
            <p:nvPr/>
          </p:nvSpPr>
          <p:spPr>
            <a:xfrm>
              <a:off x="5656874" y="650438"/>
              <a:ext cx="450056" cy="201454"/>
            </a:xfrm>
            <a:custGeom>
              <a:avLst/>
              <a:gdLst>
                <a:gd name="connsiteX0" fmla="*/ 277963 w 450056"/>
                <a:gd name="connsiteY0" fmla="*/ 136088 h 201453"/>
                <a:gd name="connsiteX1" fmla="*/ 277963 w 450056"/>
                <a:gd name="connsiteY1" fmla="*/ 136088 h 201453"/>
                <a:gd name="connsiteX2" fmla="*/ 273677 w 450056"/>
                <a:gd name="connsiteY2" fmla="*/ 135660 h 201453"/>
                <a:gd name="connsiteX3" fmla="*/ 141232 w 450056"/>
                <a:gd name="connsiteY3" fmla="*/ 3215 h 201453"/>
                <a:gd name="connsiteX4" fmla="*/ 3215 w 450056"/>
                <a:gd name="connsiteY4" fmla="*/ 3215 h 201453"/>
                <a:gd name="connsiteX5" fmla="*/ 3215 w 450056"/>
                <a:gd name="connsiteY5" fmla="*/ 4072 h 201453"/>
                <a:gd name="connsiteX6" fmla="*/ 4501 w 450056"/>
                <a:gd name="connsiteY6" fmla="*/ 28075 h 201453"/>
                <a:gd name="connsiteX7" fmla="*/ 112943 w 450056"/>
                <a:gd name="connsiteY7" fmla="*/ 28075 h 201453"/>
                <a:gd name="connsiteX8" fmla="*/ 120658 w 450056"/>
                <a:gd name="connsiteY8" fmla="*/ 28075 h 201453"/>
                <a:gd name="connsiteX9" fmla="*/ 281392 w 450056"/>
                <a:gd name="connsiteY9" fmla="*/ 188809 h 201453"/>
                <a:gd name="connsiteX10" fmla="*/ 322969 w 450056"/>
                <a:gd name="connsiteY10" fmla="*/ 188809 h 201453"/>
                <a:gd name="connsiteX11" fmla="*/ 332827 w 450056"/>
                <a:gd name="connsiteY11" fmla="*/ 172950 h 201453"/>
                <a:gd name="connsiteX12" fmla="*/ 393692 w 450056"/>
                <a:gd name="connsiteY12" fmla="*/ 172950 h 201453"/>
                <a:gd name="connsiteX13" fmla="*/ 406122 w 450056"/>
                <a:gd name="connsiteY13" fmla="*/ 199096 h 201453"/>
                <a:gd name="connsiteX14" fmla="*/ 415552 w 450056"/>
                <a:gd name="connsiteY14" fmla="*/ 187095 h 201453"/>
                <a:gd name="connsiteX15" fmla="*/ 446842 w 450056"/>
                <a:gd name="connsiteY15" fmla="*/ 177665 h 201453"/>
                <a:gd name="connsiteX16" fmla="*/ 405265 w 450056"/>
                <a:gd name="connsiteY16" fmla="*/ 136088 h 201453"/>
                <a:gd name="connsiteX17" fmla="*/ 277963 w 450056"/>
                <a:gd name="connsiteY17" fmla="*/ 136088 h 20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0056" h="201453">
                  <a:moveTo>
                    <a:pt x="277963" y="136088"/>
                  </a:moveTo>
                  <a:lnTo>
                    <a:pt x="277963" y="136088"/>
                  </a:lnTo>
                  <a:lnTo>
                    <a:pt x="273677" y="135660"/>
                  </a:lnTo>
                  <a:lnTo>
                    <a:pt x="141232" y="3215"/>
                  </a:lnTo>
                  <a:lnTo>
                    <a:pt x="3215" y="3215"/>
                  </a:lnTo>
                  <a:cubicBezTo>
                    <a:pt x="3215" y="3215"/>
                    <a:pt x="3215" y="3643"/>
                    <a:pt x="3215" y="4072"/>
                  </a:cubicBezTo>
                  <a:cubicBezTo>
                    <a:pt x="4501" y="11787"/>
                    <a:pt x="4501" y="19931"/>
                    <a:pt x="4501" y="28075"/>
                  </a:cubicBezTo>
                  <a:lnTo>
                    <a:pt x="112943" y="28075"/>
                  </a:lnTo>
                  <a:lnTo>
                    <a:pt x="120658" y="28075"/>
                  </a:lnTo>
                  <a:lnTo>
                    <a:pt x="281392" y="188809"/>
                  </a:lnTo>
                  <a:lnTo>
                    <a:pt x="322969" y="188809"/>
                  </a:lnTo>
                  <a:cubicBezTo>
                    <a:pt x="325112" y="183237"/>
                    <a:pt x="328113" y="177665"/>
                    <a:pt x="332827" y="172950"/>
                  </a:cubicBezTo>
                  <a:cubicBezTo>
                    <a:pt x="349544" y="156234"/>
                    <a:pt x="376976" y="156234"/>
                    <a:pt x="393692" y="172950"/>
                  </a:cubicBezTo>
                  <a:cubicBezTo>
                    <a:pt x="400979" y="180237"/>
                    <a:pt x="405265" y="189667"/>
                    <a:pt x="406122" y="199096"/>
                  </a:cubicBezTo>
                  <a:cubicBezTo>
                    <a:pt x="408694" y="194810"/>
                    <a:pt x="412123" y="190524"/>
                    <a:pt x="415552" y="187095"/>
                  </a:cubicBezTo>
                  <a:cubicBezTo>
                    <a:pt x="424553" y="179380"/>
                    <a:pt x="435697" y="177236"/>
                    <a:pt x="446842" y="177665"/>
                  </a:cubicBezTo>
                  <a:lnTo>
                    <a:pt x="405265" y="136088"/>
                  </a:lnTo>
                  <a:lnTo>
                    <a:pt x="277963" y="136088"/>
                  </a:lnTo>
                  <a:close/>
                </a:path>
              </a:pathLst>
            </a:custGeom>
            <a:grpFill/>
            <a:ln w="9525" cap="flat">
              <a:noFill/>
              <a:prstDash val="solid"/>
              <a:miter/>
            </a:ln>
          </p:spPr>
          <p:txBody>
            <a:bodyPr rtlCol="0" anchor="ctr"/>
            <a:lstStyle/>
            <a:p>
              <a:endParaRPr lang="en-US"/>
            </a:p>
          </p:txBody>
        </p:sp>
        <p:sp>
          <p:nvSpPr>
            <p:cNvPr id="321" name="Freeform: Shape 98">
              <a:extLst>
                <a:ext uri="{FF2B5EF4-FFF2-40B4-BE49-F238E27FC236}">
                  <a16:creationId xmlns:a16="http://schemas.microsoft.com/office/drawing/2014/main" id="{8F0858D3-3120-CE4A-A7FC-D4E541918203}"/>
                </a:ext>
              </a:extLst>
            </p:cNvPr>
            <p:cNvSpPr/>
            <p:nvPr/>
          </p:nvSpPr>
          <p:spPr>
            <a:xfrm>
              <a:off x="7523964" y="3343918"/>
              <a:ext cx="98584" cy="162878"/>
            </a:xfrm>
            <a:custGeom>
              <a:avLst/>
              <a:gdLst>
                <a:gd name="connsiteX0" fmla="*/ 3215 w 98583"/>
                <a:gd name="connsiteY0" fmla="*/ 162234 h 162877"/>
                <a:gd name="connsiteX1" fmla="*/ 91083 w 98583"/>
                <a:gd name="connsiteY1" fmla="*/ 91511 h 162877"/>
                <a:gd name="connsiteX2" fmla="*/ 95369 w 98583"/>
                <a:gd name="connsiteY2" fmla="*/ 52935 h 162877"/>
                <a:gd name="connsiteX3" fmla="*/ 95369 w 98583"/>
                <a:gd name="connsiteY3" fmla="*/ 52935 h 162877"/>
                <a:gd name="connsiteX4" fmla="*/ 81224 w 98583"/>
                <a:gd name="connsiteY4" fmla="*/ 3215 h 162877"/>
                <a:gd name="connsiteX5" fmla="*/ 73081 w 98583"/>
                <a:gd name="connsiteY5" fmla="*/ 77795 h 162877"/>
                <a:gd name="connsiteX6" fmla="*/ 72223 w 98583"/>
                <a:gd name="connsiteY6" fmla="*/ 85939 h 162877"/>
                <a:gd name="connsiteX7" fmla="*/ 8358 w 98583"/>
                <a:gd name="connsiteY7" fmla="*/ 137374 h 162877"/>
                <a:gd name="connsiteX8" fmla="*/ 3215 w 98583"/>
                <a:gd name="connsiteY8" fmla="*/ 162234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583" h="162877">
                  <a:moveTo>
                    <a:pt x="3215" y="162234"/>
                  </a:moveTo>
                  <a:lnTo>
                    <a:pt x="91083" y="91511"/>
                  </a:lnTo>
                  <a:lnTo>
                    <a:pt x="95369" y="52935"/>
                  </a:lnTo>
                  <a:lnTo>
                    <a:pt x="95369" y="52935"/>
                  </a:lnTo>
                  <a:cubicBezTo>
                    <a:pt x="90654" y="36647"/>
                    <a:pt x="85939" y="19931"/>
                    <a:pt x="81224" y="3215"/>
                  </a:cubicBezTo>
                  <a:lnTo>
                    <a:pt x="73081" y="77795"/>
                  </a:lnTo>
                  <a:lnTo>
                    <a:pt x="72223" y="85939"/>
                  </a:lnTo>
                  <a:lnTo>
                    <a:pt x="8358" y="137374"/>
                  </a:lnTo>
                  <a:cubicBezTo>
                    <a:pt x="7072" y="145518"/>
                    <a:pt x="4929" y="154090"/>
                    <a:pt x="3215" y="162234"/>
                  </a:cubicBezTo>
                  <a:close/>
                </a:path>
              </a:pathLst>
            </a:custGeom>
            <a:grpFill/>
            <a:ln w="9525" cap="flat">
              <a:noFill/>
              <a:prstDash val="solid"/>
              <a:miter/>
            </a:ln>
          </p:spPr>
          <p:txBody>
            <a:bodyPr rtlCol="0" anchor="ctr"/>
            <a:lstStyle/>
            <a:p>
              <a:endParaRPr lang="en-US"/>
            </a:p>
          </p:txBody>
        </p:sp>
        <p:sp>
          <p:nvSpPr>
            <p:cNvPr id="322" name="Freeform: Shape 99">
              <a:extLst>
                <a:ext uri="{FF2B5EF4-FFF2-40B4-BE49-F238E27FC236}">
                  <a16:creationId xmlns:a16="http://schemas.microsoft.com/office/drawing/2014/main" id="{D2E6AFD5-EC7A-AA46-B44B-8FFB1D5A2285}"/>
                </a:ext>
              </a:extLst>
            </p:cNvPr>
            <p:cNvSpPr/>
            <p:nvPr/>
          </p:nvSpPr>
          <p:spPr>
            <a:xfrm>
              <a:off x="6505123" y="4784955"/>
              <a:ext cx="514350" cy="227171"/>
            </a:xfrm>
            <a:custGeom>
              <a:avLst/>
              <a:gdLst>
                <a:gd name="connsiteX0" fmla="*/ 513279 w 514350"/>
                <a:gd name="connsiteY0" fmla="*/ 183666 h 227171"/>
                <a:gd name="connsiteX1" fmla="*/ 513279 w 514350"/>
                <a:gd name="connsiteY1" fmla="*/ 183666 h 227171"/>
                <a:gd name="connsiteX2" fmla="*/ 502991 w 514350"/>
                <a:gd name="connsiteY2" fmla="*/ 160949 h 227171"/>
                <a:gd name="connsiteX3" fmla="*/ 285678 w 514350"/>
                <a:gd name="connsiteY3" fmla="*/ 198668 h 227171"/>
                <a:gd name="connsiteX4" fmla="*/ 281392 w 514350"/>
                <a:gd name="connsiteY4" fmla="*/ 199097 h 227171"/>
                <a:gd name="connsiteX5" fmla="*/ 3215 w 514350"/>
                <a:gd name="connsiteY5" fmla="*/ 3215 h 227171"/>
                <a:gd name="connsiteX6" fmla="*/ 21646 w 514350"/>
                <a:gd name="connsiteY6" fmla="*/ 55936 h 227171"/>
                <a:gd name="connsiteX7" fmla="*/ 265105 w 514350"/>
                <a:gd name="connsiteY7" fmla="*/ 227386 h 227171"/>
                <a:gd name="connsiteX8" fmla="*/ 513279 w 514350"/>
                <a:gd name="connsiteY8" fmla="*/ 183666 h 22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227171">
                  <a:moveTo>
                    <a:pt x="513279" y="183666"/>
                  </a:moveTo>
                  <a:lnTo>
                    <a:pt x="513279" y="183666"/>
                  </a:lnTo>
                  <a:cubicBezTo>
                    <a:pt x="509850" y="175951"/>
                    <a:pt x="506420" y="168235"/>
                    <a:pt x="502991" y="160949"/>
                  </a:cubicBezTo>
                  <a:lnTo>
                    <a:pt x="285678" y="198668"/>
                  </a:lnTo>
                  <a:lnTo>
                    <a:pt x="281392" y="199097"/>
                  </a:lnTo>
                  <a:lnTo>
                    <a:pt x="3215" y="3215"/>
                  </a:lnTo>
                  <a:cubicBezTo>
                    <a:pt x="9215" y="20788"/>
                    <a:pt x="15216" y="38362"/>
                    <a:pt x="21646" y="55936"/>
                  </a:cubicBezTo>
                  <a:lnTo>
                    <a:pt x="265105" y="227386"/>
                  </a:lnTo>
                  <a:lnTo>
                    <a:pt x="513279" y="183666"/>
                  </a:lnTo>
                  <a:close/>
                </a:path>
              </a:pathLst>
            </a:custGeom>
            <a:grpFill/>
            <a:ln w="9525" cap="flat">
              <a:noFill/>
              <a:prstDash val="solid"/>
              <a:miter/>
            </a:ln>
          </p:spPr>
          <p:txBody>
            <a:bodyPr rtlCol="0" anchor="ctr"/>
            <a:lstStyle/>
            <a:p>
              <a:endParaRPr lang="en-US"/>
            </a:p>
          </p:txBody>
        </p:sp>
        <p:sp>
          <p:nvSpPr>
            <p:cNvPr id="323" name="Freeform: Shape 100">
              <a:extLst>
                <a:ext uri="{FF2B5EF4-FFF2-40B4-BE49-F238E27FC236}">
                  <a16:creationId xmlns:a16="http://schemas.microsoft.com/office/drawing/2014/main" id="{1C8A43B6-7941-F849-A33D-8659C8984AE9}"/>
                </a:ext>
              </a:extLst>
            </p:cNvPr>
            <p:cNvSpPr/>
            <p:nvPr/>
          </p:nvSpPr>
          <p:spPr>
            <a:xfrm>
              <a:off x="5867329" y="3702248"/>
              <a:ext cx="25718" cy="38576"/>
            </a:xfrm>
            <a:custGeom>
              <a:avLst/>
              <a:gdLst>
                <a:gd name="connsiteX0" fmla="*/ 10073 w 25717"/>
                <a:gd name="connsiteY0" fmla="*/ 3215 h 38576"/>
                <a:gd name="connsiteX1" fmla="*/ 3215 w 25717"/>
                <a:gd name="connsiteY1" fmla="*/ 10073 h 38576"/>
                <a:gd name="connsiteX2" fmla="*/ 15216 w 25717"/>
                <a:gd name="connsiteY2" fmla="*/ 37505 h 38576"/>
                <a:gd name="connsiteX3" fmla="*/ 25075 w 25717"/>
                <a:gd name="connsiteY3" fmla="*/ 27646 h 38576"/>
                <a:gd name="connsiteX4" fmla="*/ 10073 w 25717"/>
                <a:gd name="connsiteY4" fmla="*/ 3215 h 38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38576">
                  <a:moveTo>
                    <a:pt x="10073" y="3215"/>
                  </a:moveTo>
                  <a:lnTo>
                    <a:pt x="3215" y="10073"/>
                  </a:lnTo>
                  <a:cubicBezTo>
                    <a:pt x="7072" y="19074"/>
                    <a:pt x="11359" y="28075"/>
                    <a:pt x="15216" y="37505"/>
                  </a:cubicBezTo>
                  <a:cubicBezTo>
                    <a:pt x="18217" y="34076"/>
                    <a:pt x="21646" y="31075"/>
                    <a:pt x="25075" y="27646"/>
                  </a:cubicBezTo>
                  <a:cubicBezTo>
                    <a:pt x="19931" y="19502"/>
                    <a:pt x="14788" y="11359"/>
                    <a:pt x="10073" y="3215"/>
                  </a:cubicBezTo>
                  <a:close/>
                </a:path>
              </a:pathLst>
            </a:custGeom>
            <a:grpFill/>
            <a:ln w="9525" cap="flat">
              <a:noFill/>
              <a:prstDash val="solid"/>
              <a:miter/>
            </a:ln>
          </p:spPr>
          <p:txBody>
            <a:bodyPr rtlCol="0" anchor="ctr"/>
            <a:lstStyle/>
            <a:p>
              <a:endParaRPr lang="en-US"/>
            </a:p>
          </p:txBody>
        </p:sp>
        <p:sp>
          <p:nvSpPr>
            <p:cNvPr id="324" name="Freeform: Shape 101">
              <a:extLst>
                <a:ext uri="{FF2B5EF4-FFF2-40B4-BE49-F238E27FC236}">
                  <a16:creationId xmlns:a16="http://schemas.microsoft.com/office/drawing/2014/main" id="{F8509E01-3777-4246-BBA1-B759BD42CCFD}"/>
                </a:ext>
              </a:extLst>
            </p:cNvPr>
            <p:cNvSpPr/>
            <p:nvPr/>
          </p:nvSpPr>
          <p:spPr>
            <a:xfrm>
              <a:off x="5749028" y="3576233"/>
              <a:ext cx="68580" cy="47149"/>
            </a:xfrm>
            <a:custGeom>
              <a:avLst/>
              <a:gdLst>
                <a:gd name="connsiteX0" fmla="*/ 3215 w 68580"/>
                <a:gd name="connsiteY0" fmla="*/ 41791 h 47148"/>
                <a:gd name="connsiteX1" fmla="*/ 67080 w 68580"/>
                <a:gd name="connsiteY1" fmla="*/ 41791 h 47148"/>
                <a:gd name="connsiteX2" fmla="*/ 68794 w 68580"/>
                <a:gd name="connsiteY2" fmla="*/ 41362 h 47148"/>
                <a:gd name="connsiteX3" fmla="*/ 41791 w 68580"/>
                <a:gd name="connsiteY3" fmla="*/ 3215 h 47148"/>
                <a:gd name="connsiteX4" fmla="*/ 3215 w 68580"/>
                <a:gd name="connsiteY4" fmla="*/ 41791 h 47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47148">
                  <a:moveTo>
                    <a:pt x="3215" y="41791"/>
                  </a:moveTo>
                  <a:cubicBezTo>
                    <a:pt x="24646" y="44791"/>
                    <a:pt x="46077" y="47792"/>
                    <a:pt x="67080" y="41791"/>
                  </a:cubicBezTo>
                  <a:cubicBezTo>
                    <a:pt x="67508" y="41791"/>
                    <a:pt x="68366" y="41362"/>
                    <a:pt x="68794" y="41362"/>
                  </a:cubicBezTo>
                  <a:cubicBezTo>
                    <a:pt x="59793" y="28504"/>
                    <a:pt x="50792" y="15645"/>
                    <a:pt x="41791" y="3215"/>
                  </a:cubicBezTo>
                  <a:lnTo>
                    <a:pt x="3215" y="41791"/>
                  </a:lnTo>
                  <a:close/>
                </a:path>
              </a:pathLst>
            </a:custGeom>
            <a:grpFill/>
            <a:ln w="9525" cap="flat">
              <a:noFill/>
              <a:prstDash val="solid"/>
              <a:miter/>
            </a:ln>
          </p:spPr>
          <p:txBody>
            <a:bodyPr rtlCol="0" anchor="ctr"/>
            <a:lstStyle/>
            <a:p>
              <a:endParaRPr lang="en-US"/>
            </a:p>
          </p:txBody>
        </p:sp>
        <p:sp>
          <p:nvSpPr>
            <p:cNvPr id="325" name="Freeform: Shape 102">
              <a:extLst>
                <a:ext uri="{FF2B5EF4-FFF2-40B4-BE49-F238E27FC236}">
                  <a16:creationId xmlns:a16="http://schemas.microsoft.com/office/drawing/2014/main" id="{44BF7987-713E-2C49-980C-4B8037EF80F3}"/>
                </a:ext>
              </a:extLst>
            </p:cNvPr>
            <p:cNvSpPr/>
            <p:nvPr/>
          </p:nvSpPr>
          <p:spPr>
            <a:xfrm>
              <a:off x="5803035" y="2917007"/>
              <a:ext cx="630079" cy="732949"/>
            </a:xfrm>
            <a:custGeom>
              <a:avLst/>
              <a:gdLst>
                <a:gd name="connsiteX0" fmla="*/ 309253 w 630078"/>
                <a:gd name="connsiteY0" fmla="*/ 488847 h 732948"/>
                <a:gd name="connsiteX1" fmla="*/ 309253 w 630078"/>
                <a:gd name="connsiteY1" fmla="*/ 488847 h 732948"/>
                <a:gd name="connsiteX2" fmla="*/ 347829 w 630078"/>
                <a:gd name="connsiteY2" fmla="*/ 488847 h 732948"/>
                <a:gd name="connsiteX3" fmla="*/ 513279 w 630078"/>
                <a:gd name="connsiteY3" fmla="*/ 323398 h 732948"/>
                <a:gd name="connsiteX4" fmla="*/ 513279 w 630078"/>
                <a:gd name="connsiteY4" fmla="*/ 200382 h 732948"/>
                <a:gd name="connsiteX5" fmla="*/ 513279 w 630078"/>
                <a:gd name="connsiteY5" fmla="*/ 196525 h 732948"/>
                <a:gd name="connsiteX6" fmla="*/ 630722 w 630078"/>
                <a:gd name="connsiteY6" fmla="*/ 79081 h 732948"/>
                <a:gd name="connsiteX7" fmla="*/ 626436 w 630078"/>
                <a:gd name="connsiteY7" fmla="*/ 26361 h 732948"/>
                <a:gd name="connsiteX8" fmla="*/ 621721 w 630078"/>
                <a:gd name="connsiteY8" fmla="*/ 31933 h 732948"/>
                <a:gd name="connsiteX9" fmla="*/ 560856 w 630078"/>
                <a:gd name="connsiteY9" fmla="*/ 31933 h 732948"/>
                <a:gd name="connsiteX10" fmla="*/ 548855 w 630078"/>
                <a:gd name="connsiteY10" fmla="*/ 3215 h 732948"/>
                <a:gd name="connsiteX11" fmla="*/ 472559 w 630078"/>
                <a:gd name="connsiteY11" fmla="*/ 3215 h 732948"/>
                <a:gd name="connsiteX12" fmla="*/ 382548 w 630078"/>
                <a:gd name="connsiteY12" fmla="*/ 93226 h 732948"/>
                <a:gd name="connsiteX13" fmla="*/ 382548 w 630078"/>
                <a:gd name="connsiteY13" fmla="*/ 144232 h 732948"/>
                <a:gd name="connsiteX14" fmla="*/ 445984 w 630078"/>
                <a:gd name="connsiteY14" fmla="*/ 207669 h 732948"/>
                <a:gd name="connsiteX15" fmla="*/ 445984 w 630078"/>
                <a:gd name="connsiteY15" fmla="*/ 211527 h 732948"/>
                <a:gd name="connsiteX16" fmla="*/ 445984 w 630078"/>
                <a:gd name="connsiteY16" fmla="*/ 285679 h 732948"/>
                <a:gd name="connsiteX17" fmla="*/ 445984 w 630078"/>
                <a:gd name="connsiteY17" fmla="*/ 289536 h 732948"/>
                <a:gd name="connsiteX18" fmla="*/ 370975 w 630078"/>
                <a:gd name="connsiteY18" fmla="*/ 364546 h 732948"/>
                <a:gd name="connsiteX19" fmla="*/ 365403 w 630078"/>
                <a:gd name="connsiteY19" fmla="*/ 363260 h 732948"/>
                <a:gd name="connsiteX20" fmla="*/ 304110 w 630078"/>
                <a:gd name="connsiteY20" fmla="*/ 346543 h 732948"/>
                <a:gd name="connsiteX21" fmla="*/ 3215 w 630078"/>
                <a:gd name="connsiteY21" fmla="*/ 647438 h 732948"/>
                <a:gd name="connsiteX22" fmla="*/ 37076 w 630078"/>
                <a:gd name="connsiteY22" fmla="*/ 695016 h 732948"/>
                <a:gd name="connsiteX23" fmla="*/ 318254 w 630078"/>
                <a:gd name="connsiteY23" fmla="*/ 413837 h 732948"/>
                <a:gd name="connsiteX24" fmla="*/ 322540 w 630078"/>
                <a:gd name="connsiteY24" fmla="*/ 413409 h 732948"/>
                <a:gd name="connsiteX25" fmla="*/ 371404 w 630078"/>
                <a:gd name="connsiteY25" fmla="*/ 413837 h 732948"/>
                <a:gd name="connsiteX26" fmla="*/ 478131 w 630078"/>
                <a:gd name="connsiteY26" fmla="*/ 307110 h 732948"/>
                <a:gd name="connsiteX27" fmla="*/ 478560 w 630078"/>
                <a:gd name="connsiteY27" fmla="*/ 157948 h 732948"/>
                <a:gd name="connsiteX28" fmla="*/ 442127 w 630078"/>
                <a:gd name="connsiteY28" fmla="*/ 145947 h 732948"/>
                <a:gd name="connsiteX29" fmla="*/ 442127 w 630078"/>
                <a:gd name="connsiteY29" fmla="*/ 85511 h 732948"/>
                <a:gd name="connsiteX30" fmla="*/ 502563 w 630078"/>
                <a:gd name="connsiteY30" fmla="*/ 85511 h 732948"/>
                <a:gd name="connsiteX31" fmla="*/ 502563 w 630078"/>
                <a:gd name="connsiteY31" fmla="*/ 146376 h 732948"/>
                <a:gd name="connsiteX32" fmla="*/ 497848 w 630078"/>
                <a:gd name="connsiteY32" fmla="*/ 150662 h 732948"/>
                <a:gd name="connsiteX33" fmla="*/ 497848 w 630078"/>
                <a:gd name="connsiteY33" fmla="*/ 314825 h 732948"/>
                <a:gd name="connsiteX34" fmla="*/ 379548 w 630078"/>
                <a:gd name="connsiteY34" fmla="*/ 433126 h 732948"/>
                <a:gd name="connsiteX35" fmla="*/ 375690 w 630078"/>
                <a:gd name="connsiteY35" fmla="*/ 433126 h 732948"/>
                <a:gd name="connsiteX36" fmla="*/ 326398 w 630078"/>
                <a:gd name="connsiteY36" fmla="*/ 433126 h 732948"/>
                <a:gd name="connsiteX37" fmla="*/ 48220 w 630078"/>
                <a:gd name="connsiteY37" fmla="*/ 711303 h 732948"/>
                <a:gd name="connsiteX38" fmla="*/ 62365 w 630078"/>
                <a:gd name="connsiteY38" fmla="*/ 731877 h 732948"/>
                <a:gd name="connsiteX39" fmla="*/ 305395 w 630078"/>
                <a:gd name="connsiteY39" fmla="*/ 488847 h 732948"/>
                <a:gd name="connsiteX40" fmla="*/ 309253 w 630078"/>
                <a:gd name="connsiteY40" fmla="*/ 488847 h 73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30078" h="732948">
                  <a:moveTo>
                    <a:pt x="309253" y="488847"/>
                  </a:moveTo>
                  <a:lnTo>
                    <a:pt x="309253" y="488847"/>
                  </a:lnTo>
                  <a:lnTo>
                    <a:pt x="347829" y="488847"/>
                  </a:lnTo>
                  <a:lnTo>
                    <a:pt x="513279" y="323398"/>
                  </a:lnTo>
                  <a:lnTo>
                    <a:pt x="513279" y="200382"/>
                  </a:lnTo>
                  <a:lnTo>
                    <a:pt x="513279" y="196525"/>
                  </a:lnTo>
                  <a:lnTo>
                    <a:pt x="630722" y="79081"/>
                  </a:lnTo>
                  <a:cubicBezTo>
                    <a:pt x="629865" y="61508"/>
                    <a:pt x="629007" y="43934"/>
                    <a:pt x="626436" y="26361"/>
                  </a:cubicBezTo>
                  <a:cubicBezTo>
                    <a:pt x="625150" y="28504"/>
                    <a:pt x="623435" y="30218"/>
                    <a:pt x="621721" y="31933"/>
                  </a:cubicBezTo>
                  <a:cubicBezTo>
                    <a:pt x="605004" y="48649"/>
                    <a:pt x="577572" y="48649"/>
                    <a:pt x="560856" y="31933"/>
                  </a:cubicBezTo>
                  <a:cubicBezTo>
                    <a:pt x="552712" y="23789"/>
                    <a:pt x="549283" y="13930"/>
                    <a:pt x="548855" y="3215"/>
                  </a:cubicBezTo>
                  <a:lnTo>
                    <a:pt x="472559" y="3215"/>
                  </a:lnTo>
                  <a:lnTo>
                    <a:pt x="382548" y="93226"/>
                  </a:lnTo>
                  <a:lnTo>
                    <a:pt x="382548" y="144232"/>
                  </a:lnTo>
                  <a:lnTo>
                    <a:pt x="445984" y="207669"/>
                  </a:lnTo>
                  <a:lnTo>
                    <a:pt x="445984" y="211527"/>
                  </a:lnTo>
                  <a:lnTo>
                    <a:pt x="445984" y="285679"/>
                  </a:lnTo>
                  <a:lnTo>
                    <a:pt x="445984" y="289536"/>
                  </a:lnTo>
                  <a:lnTo>
                    <a:pt x="370975" y="364546"/>
                  </a:lnTo>
                  <a:lnTo>
                    <a:pt x="365403" y="363260"/>
                  </a:lnTo>
                  <a:lnTo>
                    <a:pt x="304110" y="346543"/>
                  </a:lnTo>
                  <a:lnTo>
                    <a:pt x="3215" y="647438"/>
                  </a:lnTo>
                  <a:cubicBezTo>
                    <a:pt x="14788" y="663297"/>
                    <a:pt x="25932" y="679156"/>
                    <a:pt x="37076" y="695016"/>
                  </a:cubicBezTo>
                  <a:lnTo>
                    <a:pt x="318254" y="413837"/>
                  </a:lnTo>
                  <a:lnTo>
                    <a:pt x="322540" y="413409"/>
                  </a:lnTo>
                  <a:lnTo>
                    <a:pt x="371404" y="413837"/>
                  </a:lnTo>
                  <a:lnTo>
                    <a:pt x="478131" y="307110"/>
                  </a:lnTo>
                  <a:lnTo>
                    <a:pt x="478560" y="157948"/>
                  </a:lnTo>
                  <a:cubicBezTo>
                    <a:pt x="465701" y="159663"/>
                    <a:pt x="451985" y="155805"/>
                    <a:pt x="442127" y="145947"/>
                  </a:cubicBezTo>
                  <a:cubicBezTo>
                    <a:pt x="425410" y="129231"/>
                    <a:pt x="425410" y="102227"/>
                    <a:pt x="442127" y="85511"/>
                  </a:cubicBezTo>
                  <a:cubicBezTo>
                    <a:pt x="458843" y="68794"/>
                    <a:pt x="485847" y="68794"/>
                    <a:pt x="502563" y="85511"/>
                  </a:cubicBezTo>
                  <a:cubicBezTo>
                    <a:pt x="519279" y="102227"/>
                    <a:pt x="519279" y="129231"/>
                    <a:pt x="502563" y="146376"/>
                  </a:cubicBezTo>
                  <a:cubicBezTo>
                    <a:pt x="500848" y="148090"/>
                    <a:pt x="499563" y="149376"/>
                    <a:pt x="497848" y="150662"/>
                  </a:cubicBezTo>
                  <a:lnTo>
                    <a:pt x="497848" y="314825"/>
                  </a:lnTo>
                  <a:lnTo>
                    <a:pt x="379548" y="433126"/>
                  </a:lnTo>
                  <a:lnTo>
                    <a:pt x="375690" y="433126"/>
                  </a:lnTo>
                  <a:lnTo>
                    <a:pt x="326398" y="433126"/>
                  </a:lnTo>
                  <a:lnTo>
                    <a:pt x="48220" y="711303"/>
                  </a:lnTo>
                  <a:cubicBezTo>
                    <a:pt x="52935" y="718161"/>
                    <a:pt x="57650" y="725019"/>
                    <a:pt x="62365" y="731877"/>
                  </a:cubicBezTo>
                  <a:lnTo>
                    <a:pt x="305395" y="488847"/>
                  </a:lnTo>
                  <a:lnTo>
                    <a:pt x="309253" y="488847"/>
                  </a:lnTo>
                  <a:close/>
                </a:path>
              </a:pathLst>
            </a:custGeom>
            <a:grpFill/>
            <a:ln w="9525" cap="flat">
              <a:noFill/>
              <a:prstDash val="solid"/>
              <a:miter/>
            </a:ln>
          </p:spPr>
          <p:txBody>
            <a:bodyPr rtlCol="0" anchor="ctr"/>
            <a:lstStyle/>
            <a:p>
              <a:endParaRPr lang="en-US"/>
            </a:p>
          </p:txBody>
        </p:sp>
        <p:sp>
          <p:nvSpPr>
            <p:cNvPr id="326" name="Freeform: Shape 103">
              <a:extLst>
                <a:ext uri="{FF2B5EF4-FFF2-40B4-BE49-F238E27FC236}">
                  <a16:creationId xmlns:a16="http://schemas.microsoft.com/office/drawing/2014/main" id="{62028EC6-E7CF-F546-8E62-9EBE4029E668}"/>
                </a:ext>
              </a:extLst>
            </p:cNvPr>
            <p:cNvSpPr/>
            <p:nvPr/>
          </p:nvSpPr>
          <p:spPr>
            <a:xfrm>
              <a:off x="5097545" y="3074741"/>
              <a:ext cx="660083" cy="1238726"/>
            </a:xfrm>
            <a:custGeom>
              <a:avLst/>
              <a:gdLst>
                <a:gd name="connsiteX0" fmla="*/ 529111 w 660082"/>
                <a:gd name="connsiteY0" fmla="*/ 761024 h 1238726"/>
                <a:gd name="connsiteX1" fmla="*/ 529111 w 660082"/>
                <a:gd name="connsiteY1" fmla="*/ 761024 h 1238726"/>
                <a:gd name="connsiteX2" fmla="*/ 506394 w 660082"/>
                <a:gd name="connsiteY2" fmla="*/ 783312 h 1238726"/>
                <a:gd name="connsiteX3" fmla="*/ 506394 w 660082"/>
                <a:gd name="connsiteY3" fmla="*/ 893469 h 1238726"/>
                <a:gd name="connsiteX4" fmla="*/ 501679 w 660082"/>
                <a:gd name="connsiteY4" fmla="*/ 896041 h 1238726"/>
                <a:gd name="connsiteX5" fmla="*/ 445529 w 660082"/>
                <a:gd name="connsiteY5" fmla="*/ 928616 h 1238726"/>
                <a:gd name="connsiteX6" fmla="*/ 443386 w 660082"/>
                <a:gd name="connsiteY6" fmla="*/ 929902 h 1238726"/>
                <a:gd name="connsiteX7" fmla="*/ 329800 w 660082"/>
                <a:gd name="connsiteY7" fmla="*/ 929902 h 1238726"/>
                <a:gd name="connsiteX8" fmla="*/ 275365 w 660082"/>
                <a:gd name="connsiteY8" fmla="*/ 984337 h 1238726"/>
                <a:gd name="connsiteX9" fmla="*/ 280508 w 660082"/>
                <a:gd name="connsiteY9" fmla="*/ 1004483 h 1238726"/>
                <a:gd name="connsiteX10" fmla="*/ 237646 w 660082"/>
                <a:gd name="connsiteY10" fmla="*/ 1047345 h 1238726"/>
                <a:gd name="connsiteX11" fmla="*/ 194783 w 660082"/>
                <a:gd name="connsiteY11" fmla="*/ 1004483 h 1238726"/>
                <a:gd name="connsiteX12" fmla="*/ 237646 w 660082"/>
                <a:gd name="connsiteY12" fmla="*/ 961192 h 1238726"/>
                <a:gd name="connsiteX13" fmla="*/ 262506 w 660082"/>
                <a:gd name="connsiteY13" fmla="*/ 968907 h 1238726"/>
                <a:gd name="connsiteX14" fmla="*/ 318656 w 660082"/>
                <a:gd name="connsiteY14" fmla="*/ 913186 h 1238726"/>
                <a:gd name="connsiteX15" fmla="*/ 321656 w 660082"/>
                <a:gd name="connsiteY15" fmla="*/ 910185 h 1238726"/>
                <a:gd name="connsiteX16" fmla="*/ 437814 w 660082"/>
                <a:gd name="connsiteY16" fmla="*/ 910185 h 1238726"/>
                <a:gd name="connsiteX17" fmla="*/ 486677 w 660082"/>
                <a:gd name="connsiteY17" fmla="*/ 881896 h 1238726"/>
                <a:gd name="connsiteX18" fmla="*/ 486677 w 660082"/>
                <a:gd name="connsiteY18" fmla="*/ 775597 h 1238726"/>
                <a:gd name="connsiteX19" fmla="*/ 489677 w 660082"/>
                <a:gd name="connsiteY19" fmla="*/ 772597 h 1238726"/>
                <a:gd name="connsiteX20" fmla="*/ 517967 w 660082"/>
                <a:gd name="connsiteY20" fmla="*/ 744307 h 1238726"/>
                <a:gd name="connsiteX21" fmla="*/ 520967 w 660082"/>
                <a:gd name="connsiteY21" fmla="*/ 741736 h 1238726"/>
                <a:gd name="connsiteX22" fmla="*/ 655984 w 660082"/>
                <a:gd name="connsiteY22" fmla="*/ 741736 h 1238726"/>
                <a:gd name="connsiteX23" fmla="*/ 654698 w 660082"/>
                <a:gd name="connsiteY23" fmla="*/ 727162 h 1238726"/>
                <a:gd name="connsiteX24" fmla="*/ 459245 w 660082"/>
                <a:gd name="connsiteY24" fmla="*/ 727162 h 1238726"/>
                <a:gd name="connsiteX25" fmla="*/ 414668 w 660082"/>
                <a:gd name="connsiteY25" fmla="*/ 771311 h 1238726"/>
                <a:gd name="connsiteX26" fmla="*/ 414668 w 660082"/>
                <a:gd name="connsiteY26" fmla="*/ 794028 h 1238726"/>
                <a:gd name="connsiteX27" fmla="*/ 449387 w 660082"/>
                <a:gd name="connsiteY27" fmla="*/ 836033 h 1238726"/>
                <a:gd name="connsiteX28" fmla="*/ 406524 w 660082"/>
                <a:gd name="connsiteY28" fmla="*/ 878896 h 1238726"/>
                <a:gd name="connsiteX29" fmla="*/ 363662 w 660082"/>
                <a:gd name="connsiteY29" fmla="*/ 836033 h 1238726"/>
                <a:gd name="connsiteX30" fmla="*/ 385093 w 660082"/>
                <a:gd name="connsiteY30" fmla="*/ 799171 h 1238726"/>
                <a:gd name="connsiteX31" fmla="*/ 385093 w 660082"/>
                <a:gd name="connsiteY31" fmla="*/ 759309 h 1238726"/>
                <a:gd name="connsiteX32" fmla="*/ 389379 w 660082"/>
                <a:gd name="connsiteY32" fmla="*/ 755023 h 1238726"/>
                <a:gd name="connsiteX33" fmla="*/ 442100 w 660082"/>
                <a:gd name="connsiteY33" fmla="*/ 702302 h 1238726"/>
                <a:gd name="connsiteX34" fmla="*/ 446386 w 660082"/>
                <a:gd name="connsiteY34" fmla="*/ 698016 h 1238726"/>
                <a:gd name="connsiteX35" fmla="*/ 650840 w 660082"/>
                <a:gd name="connsiteY35" fmla="*/ 698016 h 1238726"/>
                <a:gd name="connsiteX36" fmla="*/ 648269 w 660082"/>
                <a:gd name="connsiteY36" fmla="*/ 678728 h 1238726"/>
                <a:gd name="connsiteX37" fmla="*/ 406096 w 660082"/>
                <a:gd name="connsiteY37" fmla="*/ 678728 h 1238726"/>
                <a:gd name="connsiteX38" fmla="*/ 273222 w 660082"/>
                <a:gd name="connsiteY38" fmla="*/ 811173 h 1238726"/>
                <a:gd name="connsiteX39" fmla="*/ 281794 w 660082"/>
                <a:gd name="connsiteY39" fmla="*/ 836033 h 1238726"/>
                <a:gd name="connsiteX40" fmla="*/ 238503 w 660082"/>
                <a:gd name="connsiteY40" fmla="*/ 878896 h 1238726"/>
                <a:gd name="connsiteX41" fmla="*/ 195641 w 660082"/>
                <a:gd name="connsiteY41" fmla="*/ 836033 h 1238726"/>
                <a:gd name="connsiteX42" fmla="*/ 238503 w 660082"/>
                <a:gd name="connsiteY42" fmla="*/ 793171 h 1238726"/>
                <a:gd name="connsiteX43" fmla="*/ 248790 w 660082"/>
                <a:gd name="connsiteY43" fmla="*/ 794885 h 1238726"/>
                <a:gd name="connsiteX44" fmla="*/ 390236 w 660082"/>
                <a:gd name="connsiteY44" fmla="*/ 653439 h 1238726"/>
                <a:gd name="connsiteX45" fmla="*/ 394523 w 660082"/>
                <a:gd name="connsiteY45" fmla="*/ 649153 h 1238726"/>
                <a:gd name="connsiteX46" fmla="*/ 644840 w 660082"/>
                <a:gd name="connsiteY46" fmla="*/ 649153 h 1238726"/>
                <a:gd name="connsiteX47" fmla="*/ 643982 w 660082"/>
                <a:gd name="connsiteY47" fmla="*/ 643581 h 1238726"/>
                <a:gd name="connsiteX48" fmla="*/ 640125 w 660082"/>
                <a:gd name="connsiteY48" fmla="*/ 599861 h 1238726"/>
                <a:gd name="connsiteX49" fmla="*/ 639268 w 660082"/>
                <a:gd name="connsiteY49" fmla="*/ 599432 h 1238726"/>
                <a:gd name="connsiteX50" fmla="*/ 331943 w 660082"/>
                <a:gd name="connsiteY50" fmla="*/ 599432 h 1238726"/>
                <a:gd name="connsiteX51" fmla="*/ 280508 w 660082"/>
                <a:gd name="connsiteY51" fmla="*/ 650438 h 1238726"/>
                <a:gd name="connsiteX52" fmla="*/ 282223 w 660082"/>
                <a:gd name="connsiteY52" fmla="*/ 660726 h 1238726"/>
                <a:gd name="connsiteX53" fmla="*/ 238932 w 660082"/>
                <a:gd name="connsiteY53" fmla="*/ 703588 h 1238726"/>
                <a:gd name="connsiteX54" fmla="*/ 196069 w 660082"/>
                <a:gd name="connsiteY54" fmla="*/ 660726 h 1238726"/>
                <a:gd name="connsiteX55" fmla="*/ 238932 w 660082"/>
                <a:gd name="connsiteY55" fmla="*/ 617435 h 1238726"/>
                <a:gd name="connsiteX56" fmla="*/ 264221 w 660082"/>
                <a:gd name="connsiteY56" fmla="*/ 625578 h 1238726"/>
                <a:gd name="connsiteX57" fmla="*/ 315656 w 660082"/>
                <a:gd name="connsiteY57" fmla="*/ 574143 h 1238726"/>
                <a:gd name="connsiteX58" fmla="*/ 319942 w 660082"/>
                <a:gd name="connsiteY58" fmla="*/ 569857 h 1238726"/>
                <a:gd name="connsiteX59" fmla="*/ 609264 w 660082"/>
                <a:gd name="connsiteY59" fmla="*/ 569857 h 1238726"/>
                <a:gd name="connsiteX60" fmla="*/ 424098 w 660082"/>
                <a:gd name="connsiteY60" fmla="*/ 366260 h 1238726"/>
                <a:gd name="connsiteX61" fmla="*/ 406096 w 660082"/>
                <a:gd name="connsiteY61" fmla="*/ 370118 h 1238726"/>
                <a:gd name="connsiteX62" fmla="*/ 363233 w 660082"/>
                <a:gd name="connsiteY62" fmla="*/ 327255 h 1238726"/>
                <a:gd name="connsiteX63" fmla="*/ 371806 w 660082"/>
                <a:gd name="connsiteY63" fmla="*/ 301538 h 1238726"/>
                <a:gd name="connsiteX64" fmla="*/ 355089 w 660082"/>
                <a:gd name="connsiteY64" fmla="*/ 280107 h 1238726"/>
                <a:gd name="connsiteX65" fmla="*/ 355089 w 660082"/>
                <a:gd name="connsiteY65" fmla="*/ 392406 h 1238726"/>
                <a:gd name="connsiteX66" fmla="*/ 346088 w 660082"/>
                <a:gd name="connsiteY66" fmla="*/ 400979 h 1238726"/>
                <a:gd name="connsiteX67" fmla="*/ 145492 w 660082"/>
                <a:gd name="connsiteY67" fmla="*/ 602433 h 1238726"/>
                <a:gd name="connsiteX68" fmla="*/ 145492 w 660082"/>
                <a:gd name="connsiteY68" fmla="*/ 734449 h 1238726"/>
                <a:gd name="connsiteX69" fmla="*/ 153635 w 660082"/>
                <a:gd name="connsiteY69" fmla="*/ 759738 h 1238726"/>
                <a:gd name="connsiteX70" fmla="*/ 110773 w 660082"/>
                <a:gd name="connsiteY70" fmla="*/ 803029 h 1238726"/>
                <a:gd name="connsiteX71" fmla="*/ 67910 w 660082"/>
                <a:gd name="connsiteY71" fmla="*/ 759738 h 1238726"/>
                <a:gd name="connsiteX72" fmla="*/ 86341 w 660082"/>
                <a:gd name="connsiteY72" fmla="*/ 724162 h 1238726"/>
                <a:gd name="connsiteX73" fmla="*/ 86341 w 660082"/>
                <a:gd name="connsiteY73" fmla="*/ 578001 h 1238726"/>
                <a:gd name="connsiteX74" fmla="*/ 94914 w 660082"/>
                <a:gd name="connsiteY74" fmla="*/ 569429 h 1238726"/>
                <a:gd name="connsiteX75" fmla="*/ 296368 w 660082"/>
                <a:gd name="connsiteY75" fmla="*/ 368403 h 1238726"/>
                <a:gd name="connsiteX76" fmla="*/ 296368 w 660082"/>
                <a:gd name="connsiteY76" fmla="*/ 232101 h 1238726"/>
                <a:gd name="connsiteX77" fmla="*/ 304940 w 660082"/>
                <a:gd name="connsiteY77" fmla="*/ 223528 h 1238726"/>
                <a:gd name="connsiteX78" fmla="*/ 309226 w 660082"/>
                <a:gd name="connsiteY78" fmla="*/ 219242 h 1238726"/>
                <a:gd name="connsiteX79" fmla="*/ 166066 w 660082"/>
                <a:gd name="connsiteY79" fmla="*/ 3215 h 1238726"/>
                <a:gd name="connsiteX80" fmla="*/ 166066 w 660082"/>
                <a:gd name="connsiteY80" fmla="*/ 229529 h 1238726"/>
                <a:gd name="connsiteX81" fmla="*/ 163494 w 660082"/>
                <a:gd name="connsiteY81" fmla="*/ 232529 h 1238726"/>
                <a:gd name="connsiteX82" fmla="*/ 97486 w 660082"/>
                <a:gd name="connsiteY82" fmla="*/ 298109 h 1238726"/>
                <a:gd name="connsiteX83" fmla="*/ 109058 w 660082"/>
                <a:gd name="connsiteY83" fmla="*/ 327255 h 1238726"/>
                <a:gd name="connsiteX84" fmla="*/ 66196 w 660082"/>
                <a:gd name="connsiteY84" fmla="*/ 370118 h 1238726"/>
                <a:gd name="connsiteX85" fmla="*/ 24191 w 660082"/>
                <a:gd name="connsiteY85" fmla="*/ 336256 h 1238726"/>
                <a:gd name="connsiteX86" fmla="*/ 20333 w 660082"/>
                <a:gd name="connsiteY86" fmla="*/ 370118 h 1238726"/>
                <a:gd name="connsiteX87" fmla="*/ 4045 w 660082"/>
                <a:gd name="connsiteY87" fmla="*/ 631579 h 1238726"/>
                <a:gd name="connsiteX88" fmla="*/ 21190 w 660082"/>
                <a:gd name="connsiteY88" fmla="*/ 797028 h 1238726"/>
                <a:gd name="connsiteX89" fmla="*/ 76912 w 660082"/>
                <a:gd name="connsiteY89" fmla="*/ 1104781 h 1238726"/>
                <a:gd name="connsiteX90" fmla="*/ 91485 w 660082"/>
                <a:gd name="connsiteY90" fmla="*/ 1227368 h 1238726"/>
                <a:gd name="connsiteX91" fmla="*/ 92771 w 660082"/>
                <a:gd name="connsiteY91" fmla="*/ 1236369 h 1238726"/>
                <a:gd name="connsiteX92" fmla="*/ 436099 w 660082"/>
                <a:gd name="connsiteY92" fmla="*/ 1236369 h 1238726"/>
                <a:gd name="connsiteX93" fmla="*/ 511109 w 660082"/>
                <a:gd name="connsiteY93" fmla="*/ 1161788 h 1238726"/>
                <a:gd name="connsiteX94" fmla="*/ 514109 w 660082"/>
                <a:gd name="connsiteY94" fmla="*/ 1158788 h 1238726"/>
                <a:gd name="connsiteX95" fmla="*/ 640982 w 660082"/>
                <a:gd name="connsiteY95" fmla="*/ 1158788 h 1238726"/>
                <a:gd name="connsiteX96" fmla="*/ 641839 w 660082"/>
                <a:gd name="connsiteY96" fmla="*/ 1147644 h 1238726"/>
                <a:gd name="connsiteX97" fmla="*/ 507251 w 660082"/>
                <a:gd name="connsiteY97" fmla="*/ 1147644 h 1238726"/>
                <a:gd name="connsiteX98" fmla="*/ 448529 w 660082"/>
                <a:gd name="connsiteY98" fmla="*/ 1206794 h 1238726"/>
                <a:gd name="connsiteX99" fmla="*/ 435242 w 660082"/>
                <a:gd name="connsiteY99" fmla="*/ 1207222 h 1238726"/>
                <a:gd name="connsiteX100" fmla="*/ 400952 w 660082"/>
                <a:gd name="connsiteY100" fmla="*/ 1224367 h 1238726"/>
                <a:gd name="connsiteX101" fmla="*/ 358090 w 660082"/>
                <a:gd name="connsiteY101" fmla="*/ 1181934 h 1238726"/>
                <a:gd name="connsiteX102" fmla="*/ 400952 w 660082"/>
                <a:gd name="connsiteY102" fmla="*/ 1138642 h 1238726"/>
                <a:gd name="connsiteX103" fmla="*/ 443815 w 660082"/>
                <a:gd name="connsiteY103" fmla="*/ 1181934 h 1238726"/>
                <a:gd name="connsiteX104" fmla="*/ 443815 w 660082"/>
                <a:gd name="connsiteY104" fmla="*/ 1184077 h 1238726"/>
                <a:gd name="connsiteX105" fmla="*/ 496964 w 660082"/>
                <a:gd name="connsiteY105" fmla="*/ 1130927 h 1238726"/>
                <a:gd name="connsiteX106" fmla="*/ 499536 w 660082"/>
                <a:gd name="connsiteY106" fmla="*/ 1128355 h 1238726"/>
                <a:gd name="connsiteX107" fmla="*/ 643125 w 660082"/>
                <a:gd name="connsiteY107" fmla="*/ 1128355 h 1238726"/>
                <a:gd name="connsiteX108" fmla="*/ 645268 w 660082"/>
                <a:gd name="connsiteY108" fmla="*/ 1096637 h 1238726"/>
                <a:gd name="connsiteX109" fmla="*/ 329372 w 660082"/>
                <a:gd name="connsiteY109" fmla="*/ 1096637 h 1238726"/>
                <a:gd name="connsiteX110" fmla="*/ 272365 w 660082"/>
                <a:gd name="connsiteY110" fmla="*/ 1153644 h 1238726"/>
                <a:gd name="connsiteX111" fmla="*/ 283080 w 660082"/>
                <a:gd name="connsiteY111" fmla="*/ 1181934 h 1238726"/>
                <a:gd name="connsiteX112" fmla="*/ 239789 w 660082"/>
                <a:gd name="connsiteY112" fmla="*/ 1224367 h 1238726"/>
                <a:gd name="connsiteX113" fmla="*/ 196927 w 660082"/>
                <a:gd name="connsiteY113" fmla="*/ 1181934 h 1238726"/>
                <a:gd name="connsiteX114" fmla="*/ 239789 w 660082"/>
                <a:gd name="connsiteY114" fmla="*/ 1138642 h 1238726"/>
                <a:gd name="connsiteX115" fmla="*/ 255648 w 660082"/>
                <a:gd name="connsiteY115" fmla="*/ 1141643 h 1238726"/>
                <a:gd name="connsiteX116" fmla="*/ 316942 w 660082"/>
                <a:gd name="connsiteY116" fmla="*/ 1078635 h 1238726"/>
                <a:gd name="connsiteX117" fmla="*/ 319942 w 660082"/>
                <a:gd name="connsiteY117" fmla="*/ 1076063 h 1238726"/>
                <a:gd name="connsiteX118" fmla="*/ 645268 w 660082"/>
                <a:gd name="connsiteY118" fmla="*/ 1076063 h 1238726"/>
                <a:gd name="connsiteX119" fmla="*/ 648697 w 660082"/>
                <a:gd name="connsiteY119" fmla="*/ 1022914 h 1238726"/>
                <a:gd name="connsiteX120" fmla="*/ 616550 w 660082"/>
                <a:gd name="connsiteY120" fmla="*/ 1022914 h 1238726"/>
                <a:gd name="connsiteX121" fmla="*/ 577974 w 660082"/>
                <a:gd name="connsiteY121" fmla="*/ 1047345 h 1238726"/>
                <a:gd name="connsiteX122" fmla="*/ 535540 w 660082"/>
                <a:gd name="connsiteY122" fmla="*/ 1004483 h 1238726"/>
                <a:gd name="connsiteX123" fmla="*/ 577974 w 660082"/>
                <a:gd name="connsiteY123" fmla="*/ 961192 h 1238726"/>
                <a:gd name="connsiteX124" fmla="*/ 621265 w 660082"/>
                <a:gd name="connsiteY124" fmla="*/ 1003197 h 1238726"/>
                <a:gd name="connsiteX125" fmla="*/ 650412 w 660082"/>
                <a:gd name="connsiteY125" fmla="*/ 1003197 h 1238726"/>
                <a:gd name="connsiteX126" fmla="*/ 653841 w 660082"/>
                <a:gd name="connsiteY126" fmla="*/ 932474 h 1238726"/>
                <a:gd name="connsiteX127" fmla="*/ 539827 w 660082"/>
                <a:gd name="connsiteY127" fmla="*/ 932474 h 1238726"/>
                <a:gd name="connsiteX128" fmla="*/ 435242 w 660082"/>
                <a:gd name="connsiteY128" fmla="*/ 1037058 h 1238726"/>
                <a:gd name="connsiteX129" fmla="*/ 430956 w 660082"/>
                <a:gd name="connsiteY129" fmla="*/ 1039630 h 1238726"/>
                <a:gd name="connsiteX130" fmla="*/ 406524 w 660082"/>
                <a:gd name="connsiteY130" fmla="*/ 1047345 h 1238726"/>
                <a:gd name="connsiteX131" fmla="*/ 363662 w 660082"/>
                <a:gd name="connsiteY131" fmla="*/ 1004483 h 1238726"/>
                <a:gd name="connsiteX132" fmla="*/ 406524 w 660082"/>
                <a:gd name="connsiteY132" fmla="*/ 961192 h 1238726"/>
                <a:gd name="connsiteX133" fmla="*/ 448529 w 660082"/>
                <a:gd name="connsiteY133" fmla="*/ 995482 h 1238726"/>
                <a:gd name="connsiteX134" fmla="*/ 529111 w 660082"/>
                <a:gd name="connsiteY134" fmla="*/ 915757 h 1238726"/>
                <a:gd name="connsiteX135" fmla="*/ 532111 w 660082"/>
                <a:gd name="connsiteY135" fmla="*/ 912757 h 1238726"/>
                <a:gd name="connsiteX136" fmla="*/ 655127 w 660082"/>
                <a:gd name="connsiteY136" fmla="*/ 912757 h 1238726"/>
                <a:gd name="connsiteX137" fmla="*/ 657698 w 660082"/>
                <a:gd name="connsiteY137" fmla="*/ 848463 h 1238726"/>
                <a:gd name="connsiteX138" fmla="*/ 620837 w 660082"/>
                <a:gd name="connsiteY138" fmla="*/ 848463 h 1238726"/>
                <a:gd name="connsiteX139" fmla="*/ 580117 w 660082"/>
                <a:gd name="connsiteY139" fmla="*/ 878896 h 1238726"/>
                <a:gd name="connsiteX140" fmla="*/ 536826 w 660082"/>
                <a:gd name="connsiteY140" fmla="*/ 836033 h 1238726"/>
                <a:gd name="connsiteX141" fmla="*/ 580117 w 660082"/>
                <a:gd name="connsiteY141" fmla="*/ 793171 h 1238726"/>
                <a:gd name="connsiteX142" fmla="*/ 622551 w 660082"/>
                <a:gd name="connsiteY142" fmla="*/ 828747 h 1238726"/>
                <a:gd name="connsiteX143" fmla="*/ 658127 w 660082"/>
                <a:gd name="connsiteY143" fmla="*/ 828747 h 1238726"/>
                <a:gd name="connsiteX144" fmla="*/ 658556 w 660082"/>
                <a:gd name="connsiteY144" fmla="*/ 777740 h 1238726"/>
                <a:gd name="connsiteX145" fmla="*/ 658127 w 660082"/>
                <a:gd name="connsiteY145" fmla="*/ 761024 h 1238726"/>
                <a:gd name="connsiteX146" fmla="*/ 529111 w 660082"/>
                <a:gd name="connsiteY146" fmla="*/ 761024 h 12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660082" h="1238726">
                  <a:moveTo>
                    <a:pt x="529111" y="761024"/>
                  </a:moveTo>
                  <a:lnTo>
                    <a:pt x="529111" y="761024"/>
                  </a:lnTo>
                  <a:lnTo>
                    <a:pt x="506394" y="783312"/>
                  </a:lnTo>
                  <a:lnTo>
                    <a:pt x="506394" y="893469"/>
                  </a:lnTo>
                  <a:lnTo>
                    <a:pt x="501679" y="896041"/>
                  </a:lnTo>
                  <a:lnTo>
                    <a:pt x="445529" y="928616"/>
                  </a:lnTo>
                  <a:lnTo>
                    <a:pt x="443386" y="929902"/>
                  </a:lnTo>
                  <a:lnTo>
                    <a:pt x="329800" y="929902"/>
                  </a:lnTo>
                  <a:lnTo>
                    <a:pt x="275365" y="984337"/>
                  </a:lnTo>
                  <a:cubicBezTo>
                    <a:pt x="278365" y="990338"/>
                    <a:pt x="280508" y="997196"/>
                    <a:pt x="280508" y="1004483"/>
                  </a:cubicBezTo>
                  <a:cubicBezTo>
                    <a:pt x="280508" y="1028057"/>
                    <a:pt x="261220" y="1047345"/>
                    <a:pt x="237646" y="1047345"/>
                  </a:cubicBezTo>
                  <a:cubicBezTo>
                    <a:pt x="214072" y="1047345"/>
                    <a:pt x="194783" y="1028486"/>
                    <a:pt x="194783" y="1004483"/>
                  </a:cubicBezTo>
                  <a:cubicBezTo>
                    <a:pt x="194783" y="980480"/>
                    <a:pt x="214072" y="961192"/>
                    <a:pt x="237646" y="961192"/>
                  </a:cubicBezTo>
                  <a:cubicBezTo>
                    <a:pt x="247076" y="961192"/>
                    <a:pt x="255648" y="964192"/>
                    <a:pt x="262506" y="968907"/>
                  </a:cubicBezTo>
                  <a:lnTo>
                    <a:pt x="318656" y="913186"/>
                  </a:lnTo>
                  <a:lnTo>
                    <a:pt x="321656" y="910185"/>
                  </a:lnTo>
                  <a:lnTo>
                    <a:pt x="437814" y="910185"/>
                  </a:lnTo>
                  <a:lnTo>
                    <a:pt x="486677" y="881896"/>
                  </a:lnTo>
                  <a:lnTo>
                    <a:pt x="486677" y="775597"/>
                  </a:lnTo>
                  <a:lnTo>
                    <a:pt x="489677" y="772597"/>
                  </a:lnTo>
                  <a:lnTo>
                    <a:pt x="517967" y="744307"/>
                  </a:lnTo>
                  <a:lnTo>
                    <a:pt x="520967" y="741736"/>
                  </a:lnTo>
                  <a:lnTo>
                    <a:pt x="655984" y="741736"/>
                  </a:lnTo>
                  <a:cubicBezTo>
                    <a:pt x="655555" y="737021"/>
                    <a:pt x="655127" y="732306"/>
                    <a:pt x="654698" y="727162"/>
                  </a:cubicBezTo>
                  <a:lnTo>
                    <a:pt x="459245" y="727162"/>
                  </a:lnTo>
                  <a:lnTo>
                    <a:pt x="414668" y="771311"/>
                  </a:lnTo>
                  <a:lnTo>
                    <a:pt x="414668" y="794028"/>
                  </a:lnTo>
                  <a:cubicBezTo>
                    <a:pt x="434385" y="797886"/>
                    <a:pt x="449387" y="815031"/>
                    <a:pt x="449387" y="836033"/>
                  </a:cubicBezTo>
                  <a:cubicBezTo>
                    <a:pt x="449387" y="859608"/>
                    <a:pt x="430099" y="878896"/>
                    <a:pt x="406524" y="878896"/>
                  </a:cubicBezTo>
                  <a:cubicBezTo>
                    <a:pt x="382950" y="878896"/>
                    <a:pt x="363662" y="859608"/>
                    <a:pt x="363662" y="836033"/>
                  </a:cubicBezTo>
                  <a:cubicBezTo>
                    <a:pt x="363662" y="820174"/>
                    <a:pt x="372234" y="806458"/>
                    <a:pt x="385093" y="799171"/>
                  </a:cubicBezTo>
                  <a:lnTo>
                    <a:pt x="385093" y="759309"/>
                  </a:lnTo>
                  <a:lnTo>
                    <a:pt x="389379" y="755023"/>
                  </a:lnTo>
                  <a:lnTo>
                    <a:pt x="442100" y="702302"/>
                  </a:lnTo>
                  <a:lnTo>
                    <a:pt x="446386" y="698016"/>
                  </a:lnTo>
                  <a:lnTo>
                    <a:pt x="650840" y="698016"/>
                  </a:lnTo>
                  <a:cubicBezTo>
                    <a:pt x="649983" y="691587"/>
                    <a:pt x="649126" y="685157"/>
                    <a:pt x="648269" y="678728"/>
                  </a:cubicBezTo>
                  <a:lnTo>
                    <a:pt x="406096" y="678728"/>
                  </a:lnTo>
                  <a:lnTo>
                    <a:pt x="273222" y="811173"/>
                  </a:lnTo>
                  <a:cubicBezTo>
                    <a:pt x="278365" y="818031"/>
                    <a:pt x="281794" y="826604"/>
                    <a:pt x="281794" y="836033"/>
                  </a:cubicBezTo>
                  <a:cubicBezTo>
                    <a:pt x="281794" y="859608"/>
                    <a:pt x="262078" y="878896"/>
                    <a:pt x="238503" y="878896"/>
                  </a:cubicBezTo>
                  <a:cubicBezTo>
                    <a:pt x="214929" y="878896"/>
                    <a:pt x="195641" y="859608"/>
                    <a:pt x="195641" y="836033"/>
                  </a:cubicBezTo>
                  <a:cubicBezTo>
                    <a:pt x="195641" y="812459"/>
                    <a:pt x="214500" y="793171"/>
                    <a:pt x="238503" y="793171"/>
                  </a:cubicBezTo>
                  <a:cubicBezTo>
                    <a:pt x="241932" y="793171"/>
                    <a:pt x="245361" y="794028"/>
                    <a:pt x="248790" y="794885"/>
                  </a:cubicBezTo>
                  <a:lnTo>
                    <a:pt x="390236" y="653439"/>
                  </a:lnTo>
                  <a:lnTo>
                    <a:pt x="394523" y="649153"/>
                  </a:lnTo>
                  <a:lnTo>
                    <a:pt x="644840" y="649153"/>
                  </a:lnTo>
                  <a:cubicBezTo>
                    <a:pt x="644411" y="647438"/>
                    <a:pt x="644411" y="645295"/>
                    <a:pt x="643982" y="643581"/>
                  </a:cubicBezTo>
                  <a:cubicBezTo>
                    <a:pt x="641411" y="629007"/>
                    <a:pt x="640553" y="614434"/>
                    <a:pt x="640125" y="599861"/>
                  </a:cubicBezTo>
                  <a:cubicBezTo>
                    <a:pt x="639696" y="599861"/>
                    <a:pt x="639696" y="599432"/>
                    <a:pt x="639268" y="599432"/>
                  </a:cubicBezTo>
                  <a:lnTo>
                    <a:pt x="331943" y="599432"/>
                  </a:lnTo>
                  <a:lnTo>
                    <a:pt x="280508" y="650438"/>
                  </a:lnTo>
                  <a:cubicBezTo>
                    <a:pt x="281366" y="653868"/>
                    <a:pt x="282223" y="657297"/>
                    <a:pt x="282223" y="660726"/>
                  </a:cubicBezTo>
                  <a:cubicBezTo>
                    <a:pt x="282223" y="684300"/>
                    <a:pt x="262506" y="703588"/>
                    <a:pt x="238932" y="703588"/>
                  </a:cubicBezTo>
                  <a:cubicBezTo>
                    <a:pt x="215357" y="703588"/>
                    <a:pt x="196069" y="684300"/>
                    <a:pt x="196069" y="660726"/>
                  </a:cubicBezTo>
                  <a:cubicBezTo>
                    <a:pt x="196069" y="637151"/>
                    <a:pt x="214929" y="617435"/>
                    <a:pt x="238932" y="617435"/>
                  </a:cubicBezTo>
                  <a:cubicBezTo>
                    <a:pt x="248362" y="617435"/>
                    <a:pt x="256934" y="620435"/>
                    <a:pt x="264221" y="625578"/>
                  </a:cubicBezTo>
                  <a:lnTo>
                    <a:pt x="315656" y="574143"/>
                  </a:lnTo>
                  <a:lnTo>
                    <a:pt x="319942" y="569857"/>
                  </a:lnTo>
                  <a:lnTo>
                    <a:pt x="609264" y="569857"/>
                  </a:lnTo>
                  <a:cubicBezTo>
                    <a:pt x="543684" y="504277"/>
                    <a:pt x="481962" y="436126"/>
                    <a:pt x="424098" y="366260"/>
                  </a:cubicBezTo>
                  <a:cubicBezTo>
                    <a:pt x="418526" y="368832"/>
                    <a:pt x="412525" y="370118"/>
                    <a:pt x="406096" y="370118"/>
                  </a:cubicBezTo>
                  <a:cubicBezTo>
                    <a:pt x="382521" y="370118"/>
                    <a:pt x="363233" y="351258"/>
                    <a:pt x="363233" y="327255"/>
                  </a:cubicBezTo>
                  <a:cubicBezTo>
                    <a:pt x="363233" y="317397"/>
                    <a:pt x="366662" y="308825"/>
                    <a:pt x="371806" y="301538"/>
                  </a:cubicBezTo>
                  <a:cubicBezTo>
                    <a:pt x="366233" y="294251"/>
                    <a:pt x="360661" y="287393"/>
                    <a:pt x="355089" y="280107"/>
                  </a:cubicBezTo>
                  <a:lnTo>
                    <a:pt x="355089" y="392406"/>
                  </a:lnTo>
                  <a:lnTo>
                    <a:pt x="346088" y="400979"/>
                  </a:lnTo>
                  <a:lnTo>
                    <a:pt x="145492" y="602433"/>
                  </a:lnTo>
                  <a:lnTo>
                    <a:pt x="145492" y="734449"/>
                  </a:lnTo>
                  <a:cubicBezTo>
                    <a:pt x="150635" y="741736"/>
                    <a:pt x="153635" y="750308"/>
                    <a:pt x="153635" y="759738"/>
                  </a:cubicBezTo>
                  <a:cubicBezTo>
                    <a:pt x="153635" y="783312"/>
                    <a:pt x="134347" y="803029"/>
                    <a:pt x="110773" y="803029"/>
                  </a:cubicBezTo>
                  <a:cubicBezTo>
                    <a:pt x="87198" y="803029"/>
                    <a:pt x="67910" y="783741"/>
                    <a:pt x="67910" y="759738"/>
                  </a:cubicBezTo>
                  <a:cubicBezTo>
                    <a:pt x="67910" y="745165"/>
                    <a:pt x="75197" y="731877"/>
                    <a:pt x="86341" y="724162"/>
                  </a:cubicBezTo>
                  <a:lnTo>
                    <a:pt x="86341" y="578001"/>
                  </a:lnTo>
                  <a:lnTo>
                    <a:pt x="94914" y="569429"/>
                  </a:lnTo>
                  <a:lnTo>
                    <a:pt x="296368" y="368403"/>
                  </a:lnTo>
                  <a:lnTo>
                    <a:pt x="296368" y="232101"/>
                  </a:lnTo>
                  <a:lnTo>
                    <a:pt x="304940" y="223528"/>
                  </a:lnTo>
                  <a:lnTo>
                    <a:pt x="309226" y="219242"/>
                  </a:lnTo>
                  <a:cubicBezTo>
                    <a:pt x="257791" y="148947"/>
                    <a:pt x="210214" y="76510"/>
                    <a:pt x="166066" y="3215"/>
                  </a:cubicBezTo>
                  <a:lnTo>
                    <a:pt x="166066" y="229529"/>
                  </a:lnTo>
                  <a:lnTo>
                    <a:pt x="163494" y="232529"/>
                  </a:lnTo>
                  <a:lnTo>
                    <a:pt x="97486" y="298109"/>
                  </a:lnTo>
                  <a:cubicBezTo>
                    <a:pt x="104343" y="305824"/>
                    <a:pt x="109058" y="316111"/>
                    <a:pt x="109058" y="327255"/>
                  </a:cubicBezTo>
                  <a:cubicBezTo>
                    <a:pt x="109058" y="350830"/>
                    <a:pt x="89770" y="370118"/>
                    <a:pt x="66196" y="370118"/>
                  </a:cubicBezTo>
                  <a:cubicBezTo>
                    <a:pt x="45622" y="370118"/>
                    <a:pt x="28477" y="355545"/>
                    <a:pt x="24191" y="336256"/>
                  </a:cubicBezTo>
                  <a:cubicBezTo>
                    <a:pt x="22905" y="347401"/>
                    <a:pt x="21619" y="358545"/>
                    <a:pt x="20333" y="370118"/>
                  </a:cubicBezTo>
                  <a:cubicBezTo>
                    <a:pt x="10475" y="456700"/>
                    <a:pt x="188" y="544140"/>
                    <a:pt x="4045" y="631579"/>
                  </a:cubicBezTo>
                  <a:cubicBezTo>
                    <a:pt x="5331" y="686872"/>
                    <a:pt x="12618" y="742164"/>
                    <a:pt x="21190" y="797028"/>
                  </a:cubicBezTo>
                  <a:cubicBezTo>
                    <a:pt x="37049" y="899898"/>
                    <a:pt x="57623" y="1002340"/>
                    <a:pt x="76912" y="1104781"/>
                  </a:cubicBezTo>
                  <a:cubicBezTo>
                    <a:pt x="84627" y="1145072"/>
                    <a:pt x="85484" y="1186649"/>
                    <a:pt x="91485" y="1227368"/>
                  </a:cubicBezTo>
                  <a:cubicBezTo>
                    <a:pt x="91913" y="1230368"/>
                    <a:pt x="92342" y="1233369"/>
                    <a:pt x="92771" y="1236369"/>
                  </a:cubicBezTo>
                  <a:lnTo>
                    <a:pt x="436099" y="1236369"/>
                  </a:lnTo>
                  <a:lnTo>
                    <a:pt x="511109" y="1161788"/>
                  </a:lnTo>
                  <a:lnTo>
                    <a:pt x="514109" y="1158788"/>
                  </a:lnTo>
                  <a:lnTo>
                    <a:pt x="640982" y="1158788"/>
                  </a:lnTo>
                  <a:cubicBezTo>
                    <a:pt x="641411" y="1154930"/>
                    <a:pt x="641411" y="1151501"/>
                    <a:pt x="641839" y="1147644"/>
                  </a:cubicBezTo>
                  <a:lnTo>
                    <a:pt x="507251" y="1147644"/>
                  </a:lnTo>
                  <a:lnTo>
                    <a:pt x="448529" y="1206794"/>
                  </a:lnTo>
                  <a:cubicBezTo>
                    <a:pt x="445100" y="1210223"/>
                    <a:pt x="439100" y="1210651"/>
                    <a:pt x="435242" y="1207222"/>
                  </a:cubicBezTo>
                  <a:cubicBezTo>
                    <a:pt x="427527" y="1217510"/>
                    <a:pt x="414668" y="1224367"/>
                    <a:pt x="400952" y="1224367"/>
                  </a:cubicBezTo>
                  <a:cubicBezTo>
                    <a:pt x="377378" y="1224367"/>
                    <a:pt x="358090" y="1205508"/>
                    <a:pt x="358090" y="1181934"/>
                  </a:cubicBezTo>
                  <a:cubicBezTo>
                    <a:pt x="358090" y="1158359"/>
                    <a:pt x="376949" y="1138642"/>
                    <a:pt x="400952" y="1138642"/>
                  </a:cubicBezTo>
                  <a:cubicBezTo>
                    <a:pt x="424526" y="1138642"/>
                    <a:pt x="443815" y="1157931"/>
                    <a:pt x="443815" y="1181934"/>
                  </a:cubicBezTo>
                  <a:cubicBezTo>
                    <a:pt x="443815" y="1182791"/>
                    <a:pt x="443815" y="1183220"/>
                    <a:pt x="443815" y="1184077"/>
                  </a:cubicBezTo>
                  <a:lnTo>
                    <a:pt x="496964" y="1130927"/>
                  </a:lnTo>
                  <a:lnTo>
                    <a:pt x="499536" y="1128355"/>
                  </a:lnTo>
                  <a:lnTo>
                    <a:pt x="643125" y="1128355"/>
                  </a:lnTo>
                  <a:cubicBezTo>
                    <a:pt x="643982" y="1117640"/>
                    <a:pt x="644411" y="1107353"/>
                    <a:pt x="645268" y="1096637"/>
                  </a:cubicBezTo>
                  <a:lnTo>
                    <a:pt x="329372" y="1096637"/>
                  </a:lnTo>
                  <a:lnTo>
                    <a:pt x="272365" y="1153644"/>
                  </a:lnTo>
                  <a:cubicBezTo>
                    <a:pt x="279223" y="1161360"/>
                    <a:pt x="283080" y="1170789"/>
                    <a:pt x="283080" y="1181934"/>
                  </a:cubicBezTo>
                  <a:cubicBezTo>
                    <a:pt x="283080" y="1205508"/>
                    <a:pt x="263363" y="1224367"/>
                    <a:pt x="239789" y="1224367"/>
                  </a:cubicBezTo>
                  <a:cubicBezTo>
                    <a:pt x="216215" y="1224367"/>
                    <a:pt x="196927" y="1205508"/>
                    <a:pt x="196927" y="1181934"/>
                  </a:cubicBezTo>
                  <a:cubicBezTo>
                    <a:pt x="196927" y="1158359"/>
                    <a:pt x="215786" y="1138642"/>
                    <a:pt x="239789" y="1138642"/>
                  </a:cubicBezTo>
                  <a:cubicBezTo>
                    <a:pt x="245361" y="1138642"/>
                    <a:pt x="250933" y="1139928"/>
                    <a:pt x="255648" y="1141643"/>
                  </a:cubicBezTo>
                  <a:lnTo>
                    <a:pt x="316942" y="1078635"/>
                  </a:lnTo>
                  <a:lnTo>
                    <a:pt x="319942" y="1076063"/>
                  </a:lnTo>
                  <a:lnTo>
                    <a:pt x="645268" y="1076063"/>
                  </a:lnTo>
                  <a:cubicBezTo>
                    <a:pt x="646554" y="1058490"/>
                    <a:pt x="647412" y="1040487"/>
                    <a:pt x="648697" y="1022914"/>
                  </a:cubicBezTo>
                  <a:lnTo>
                    <a:pt x="616550" y="1022914"/>
                  </a:lnTo>
                  <a:cubicBezTo>
                    <a:pt x="609692" y="1037487"/>
                    <a:pt x="595119" y="1047345"/>
                    <a:pt x="577974" y="1047345"/>
                  </a:cubicBezTo>
                  <a:cubicBezTo>
                    <a:pt x="554400" y="1047345"/>
                    <a:pt x="535540" y="1028486"/>
                    <a:pt x="535540" y="1004483"/>
                  </a:cubicBezTo>
                  <a:cubicBezTo>
                    <a:pt x="535540" y="980480"/>
                    <a:pt x="554400" y="961192"/>
                    <a:pt x="577974" y="961192"/>
                  </a:cubicBezTo>
                  <a:cubicBezTo>
                    <a:pt x="601120" y="961192"/>
                    <a:pt x="620408" y="980051"/>
                    <a:pt x="621265" y="1003197"/>
                  </a:cubicBezTo>
                  <a:lnTo>
                    <a:pt x="650412" y="1003197"/>
                  </a:lnTo>
                  <a:cubicBezTo>
                    <a:pt x="651698" y="979623"/>
                    <a:pt x="652555" y="956048"/>
                    <a:pt x="653841" y="932474"/>
                  </a:cubicBezTo>
                  <a:lnTo>
                    <a:pt x="539827" y="932474"/>
                  </a:lnTo>
                  <a:lnTo>
                    <a:pt x="435242" y="1037058"/>
                  </a:lnTo>
                  <a:cubicBezTo>
                    <a:pt x="433956" y="1038344"/>
                    <a:pt x="432242" y="1039201"/>
                    <a:pt x="430956" y="1039630"/>
                  </a:cubicBezTo>
                  <a:cubicBezTo>
                    <a:pt x="424098" y="1044345"/>
                    <a:pt x="415525" y="1047345"/>
                    <a:pt x="406524" y="1047345"/>
                  </a:cubicBezTo>
                  <a:cubicBezTo>
                    <a:pt x="382950" y="1047345"/>
                    <a:pt x="363662" y="1028486"/>
                    <a:pt x="363662" y="1004483"/>
                  </a:cubicBezTo>
                  <a:cubicBezTo>
                    <a:pt x="363662" y="980480"/>
                    <a:pt x="382950" y="961192"/>
                    <a:pt x="406524" y="961192"/>
                  </a:cubicBezTo>
                  <a:cubicBezTo>
                    <a:pt x="427098" y="961192"/>
                    <a:pt x="444672" y="976193"/>
                    <a:pt x="448529" y="995482"/>
                  </a:cubicBezTo>
                  <a:lnTo>
                    <a:pt x="529111" y="915757"/>
                  </a:lnTo>
                  <a:lnTo>
                    <a:pt x="532111" y="912757"/>
                  </a:lnTo>
                  <a:lnTo>
                    <a:pt x="655127" y="912757"/>
                  </a:lnTo>
                  <a:cubicBezTo>
                    <a:pt x="655984" y="891326"/>
                    <a:pt x="656841" y="869895"/>
                    <a:pt x="657698" y="848463"/>
                  </a:cubicBezTo>
                  <a:lnTo>
                    <a:pt x="620837" y="848463"/>
                  </a:lnTo>
                  <a:cubicBezTo>
                    <a:pt x="615265" y="866037"/>
                    <a:pt x="599405" y="878896"/>
                    <a:pt x="580117" y="878896"/>
                  </a:cubicBezTo>
                  <a:cubicBezTo>
                    <a:pt x="556543" y="878896"/>
                    <a:pt x="536826" y="859608"/>
                    <a:pt x="536826" y="836033"/>
                  </a:cubicBezTo>
                  <a:cubicBezTo>
                    <a:pt x="536826" y="812459"/>
                    <a:pt x="556543" y="793171"/>
                    <a:pt x="580117" y="793171"/>
                  </a:cubicBezTo>
                  <a:cubicBezTo>
                    <a:pt x="601549" y="793171"/>
                    <a:pt x="619122" y="808601"/>
                    <a:pt x="622551" y="828747"/>
                  </a:cubicBezTo>
                  <a:lnTo>
                    <a:pt x="658127" y="828747"/>
                  </a:lnTo>
                  <a:cubicBezTo>
                    <a:pt x="658556" y="811602"/>
                    <a:pt x="658556" y="794457"/>
                    <a:pt x="658556" y="777740"/>
                  </a:cubicBezTo>
                  <a:cubicBezTo>
                    <a:pt x="658556" y="772168"/>
                    <a:pt x="658556" y="766596"/>
                    <a:pt x="658127" y="761024"/>
                  </a:cubicBezTo>
                  <a:lnTo>
                    <a:pt x="529111" y="761024"/>
                  </a:lnTo>
                  <a:close/>
                </a:path>
              </a:pathLst>
            </a:custGeom>
            <a:grpFill/>
            <a:ln w="9525" cap="flat">
              <a:noFill/>
              <a:prstDash val="solid"/>
              <a:miter/>
            </a:ln>
          </p:spPr>
          <p:txBody>
            <a:bodyPr rtlCol="0" anchor="ctr"/>
            <a:lstStyle/>
            <a:p>
              <a:endParaRPr lang="en-US"/>
            </a:p>
          </p:txBody>
        </p:sp>
        <p:sp>
          <p:nvSpPr>
            <p:cNvPr id="327" name="Freeform: Shape 104">
              <a:extLst>
                <a:ext uri="{FF2B5EF4-FFF2-40B4-BE49-F238E27FC236}">
                  <a16:creationId xmlns:a16="http://schemas.microsoft.com/office/drawing/2014/main" id="{65DB2C6B-EEB1-0D42-ABCF-E30422DE18A4}"/>
                </a:ext>
              </a:extLst>
            </p:cNvPr>
            <p:cNvSpPr/>
            <p:nvPr/>
          </p:nvSpPr>
          <p:spPr>
            <a:xfrm>
              <a:off x="5907619" y="3798689"/>
              <a:ext cx="8573" cy="8573"/>
            </a:xfrm>
            <a:custGeom>
              <a:avLst/>
              <a:gdLst>
                <a:gd name="connsiteX0" fmla="*/ 4501 w 8572"/>
                <a:gd name="connsiteY0" fmla="*/ 5786 h 8572"/>
                <a:gd name="connsiteX1" fmla="*/ 7072 w 8572"/>
                <a:gd name="connsiteY1" fmla="*/ 3215 h 8572"/>
                <a:gd name="connsiteX2" fmla="*/ 3215 w 8572"/>
                <a:gd name="connsiteY2" fmla="*/ 3215 h 8572"/>
                <a:gd name="connsiteX3" fmla="*/ 4501 w 8572"/>
                <a:gd name="connsiteY3" fmla="*/ 5786 h 8572"/>
              </a:gdLst>
              <a:ahLst/>
              <a:cxnLst>
                <a:cxn ang="0">
                  <a:pos x="connsiteX0" y="connsiteY0"/>
                </a:cxn>
                <a:cxn ang="0">
                  <a:pos x="connsiteX1" y="connsiteY1"/>
                </a:cxn>
                <a:cxn ang="0">
                  <a:pos x="connsiteX2" y="connsiteY2"/>
                </a:cxn>
                <a:cxn ang="0">
                  <a:pos x="connsiteX3" y="connsiteY3"/>
                </a:cxn>
              </a:cxnLst>
              <a:rect l="l" t="t" r="r" b="b"/>
              <a:pathLst>
                <a:path w="8572" h="8572">
                  <a:moveTo>
                    <a:pt x="4501" y="5786"/>
                  </a:moveTo>
                  <a:lnTo>
                    <a:pt x="7072" y="3215"/>
                  </a:lnTo>
                  <a:lnTo>
                    <a:pt x="3215" y="3215"/>
                  </a:lnTo>
                  <a:cubicBezTo>
                    <a:pt x="3643" y="4072"/>
                    <a:pt x="4072" y="4929"/>
                    <a:pt x="4501" y="5786"/>
                  </a:cubicBezTo>
                  <a:close/>
                </a:path>
              </a:pathLst>
            </a:custGeom>
            <a:grpFill/>
            <a:ln w="9525" cap="flat">
              <a:noFill/>
              <a:prstDash val="solid"/>
              <a:miter/>
            </a:ln>
          </p:spPr>
          <p:txBody>
            <a:bodyPr rtlCol="0" anchor="ctr"/>
            <a:lstStyle/>
            <a:p>
              <a:endParaRPr lang="en-US"/>
            </a:p>
          </p:txBody>
        </p:sp>
        <p:sp>
          <p:nvSpPr>
            <p:cNvPr id="328" name="Freeform: Shape 105">
              <a:extLst>
                <a:ext uri="{FF2B5EF4-FFF2-40B4-BE49-F238E27FC236}">
                  <a16:creationId xmlns:a16="http://schemas.microsoft.com/office/drawing/2014/main" id="{5EA5A24E-53B4-E643-9AF3-DEB58605AED3}"/>
                </a:ext>
              </a:extLst>
            </p:cNvPr>
            <p:cNvSpPr/>
            <p:nvPr/>
          </p:nvSpPr>
          <p:spPr>
            <a:xfrm>
              <a:off x="5190530" y="4249174"/>
              <a:ext cx="548640" cy="167164"/>
            </a:xfrm>
            <a:custGeom>
              <a:avLst/>
              <a:gdLst>
                <a:gd name="connsiteX0" fmla="*/ 353830 w 548640"/>
                <a:gd name="connsiteY0" fmla="*/ 77796 h 167163"/>
                <a:gd name="connsiteX1" fmla="*/ 353830 w 548640"/>
                <a:gd name="connsiteY1" fmla="*/ 77796 h 167163"/>
                <a:gd name="connsiteX2" fmla="*/ 350830 w 548640"/>
                <a:gd name="connsiteY2" fmla="*/ 80796 h 167163"/>
                <a:gd name="connsiteX3" fmla="*/ 3215 w 548640"/>
                <a:gd name="connsiteY3" fmla="*/ 80796 h 167163"/>
                <a:gd name="connsiteX4" fmla="*/ 30218 w 548640"/>
                <a:gd name="connsiteY4" fmla="*/ 163949 h 167163"/>
                <a:gd name="connsiteX5" fmla="*/ 314825 w 548640"/>
                <a:gd name="connsiteY5" fmla="*/ 163949 h 167163"/>
                <a:gd name="connsiteX6" fmla="*/ 441698 w 548640"/>
                <a:gd name="connsiteY6" fmla="*/ 37505 h 167163"/>
                <a:gd name="connsiteX7" fmla="*/ 444270 w 548640"/>
                <a:gd name="connsiteY7" fmla="*/ 34933 h 167163"/>
                <a:gd name="connsiteX8" fmla="*/ 543711 w 548640"/>
                <a:gd name="connsiteY8" fmla="*/ 34933 h 167163"/>
                <a:gd name="connsiteX9" fmla="*/ 545854 w 548640"/>
                <a:gd name="connsiteY9" fmla="*/ 3215 h 167163"/>
                <a:gd name="connsiteX10" fmla="*/ 428411 w 548640"/>
                <a:gd name="connsiteY10" fmla="*/ 3215 h 167163"/>
                <a:gd name="connsiteX11" fmla="*/ 353830 w 548640"/>
                <a:gd name="connsiteY11" fmla="*/ 77796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8640" h="167163">
                  <a:moveTo>
                    <a:pt x="353830" y="77796"/>
                  </a:moveTo>
                  <a:lnTo>
                    <a:pt x="353830" y="77796"/>
                  </a:lnTo>
                  <a:lnTo>
                    <a:pt x="350830" y="80796"/>
                  </a:lnTo>
                  <a:lnTo>
                    <a:pt x="3215" y="80796"/>
                  </a:lnTo>
                  <a:cubicBezTo>
                    <a:pt x="9644" y="109085"/>
                    <a:pt x="19931" y="136517"/>
                    <a:pt x="30218" y="163949"/>
                  </a:cubicBezTo>
                  <a:lnTo>
                    <a:pt x="314825" y="163949"/>
                  </a:lnTo>
                  <a:lnTo>
                    <a:pt x="441698" y="37505"/>
                  </a:lnTo>
                  <a:lnTo>
                    <a:pt x="444270" y="34933"/>
                  </a:lnTo>
                  <a:lnTo>
                    <a:pt x="543711" y="34933"/>
                  </a:lnTo>
                  <a:cubicBezTo>
                    <a:pt x="544568" y="24217"/>
                    <a:pt x="545425" y="13930"/>
                    <a:pt x="545854" y="3215"/>
                  </a:cubicBezTo>
                  <a:lnTo>
                    <a:pt x="428411" y="3215"/>
                  </a:lnTo>
                  <a:lnTo>
                    <a:pt x="353830" y="77796"/>
                  </a:lnTo>
                  <a:close/>
                </a:path>
              </a:pathLst>
            </a:custGeom>
            <a:grpFill/>
            <a:ln w="9525" cap="flat">
              <a:noFill/>
              <a:prstDash val="solid"/>
              <a:miter/>
            </a:ln>
          </p:spPr>
          <p:txBody>
            <a:bodyPr rtlCol="0" anchor="ctr"/>
            <a:lstStyle/>
            <a:p>
              <a:endParaRPr lang="en-US"/>
            </a:p>
          </p:txBody>
        </p:sp>
        <p:sp>
          <p:nvSpPr>
            <p:cNvPr id="329" name="Freeform: Shape 106">
              <a:extLst>
                <a:ext uri="{FF2B5EF4-FFF2-40B4-BE49-F238E27FC236}">
                  <a16:creationId xmlns:a16="http://schemas.microsoft.com/office/drawing/2014/main" id="{E7415A1F-3A59-C642-87F7-4B15435C66ED}"/>
                </a:ext>
              </a:extLst>
            </p:cNvPr>
            <p:cNvSpPr/>
            <p:nvPr/>
          </p:nvSpPr>
          <p:spPr>
            <a:xfrm>
              <a:off x="5873758" y="3019449"/>
              <a:ext cx="587216" cy="754380"/>
            </a:xfrm>
            <a:custGeom>
              <a:avLst/>
              <a:gdLst>
                <a:gd name="connsiteX0" fmla="*/ 461415 w 587216"/>
                <a:gd name="connsiteY0" fmla="*/ 293822 h 754380"/>
                <a:gd name="connsiteX1" fmla="*/ 461415 w 587216"/>
                <a:gd name="connsiteY1" fmla="*/ 293822 h 754380"/>
                <a:gd name="connsiteX2" fmla="*/ 392835 w 587216"/>
                <a:gd name="connsiteY2" fmla="*/ 361117 h 754380"/>
                <a:gd name="connsiteX3" fmla="*/ 195239 w 587216"/>
                <a:gd name="connsiteY3" fmla="*/ 559141 h 754380"/>
                <a:gd name="connsiteX4" fmla="*/ 44791 w 587216"/>
                <a:gd name="connsiteY4" fmla="*/ 711732 h 754380"/>
                <a:gd name="connsiteX5" fmla="*/ 70080 w 587216"/>
                <a:gd name="connsiteY5" fmla="*/ 753308 h 754380"/>
                <a:gd name="connsiteX6" fmla="*/ 289536 w 587216"/>
                <a:gd name="connsiteY6" fmla="*/ 533852 h 754380"/>
                <a:gd name="connsiteX7" fmla="*/ 307110 w 587216"/>
                <a:gd name="connsiteY7" fmla="*/ 469130 h 754380"/>
                <a:gd name="connsiteX8" fmla="*/ 307538 w 587216"/>
                <a:gd name="connsiteY8" fmla="*/ 466558 h 754380"/>
                <a:gd name="connsiteX9" fmla="*/ 585716 w 587216"/>
                <a:gd name="connsiteY9" fmla="*/ 188381 h 754380"/>
                <a:gd name="connsiteX10" fmla="*/ 562570 w 587216"/>
                <a:gd name="connsiteY10" fmla="*/ 39219 h 754380"/>
                <a:gd name="connsiteX11" fmla="*/ 561285 w 587216"/>
                <a:gd name="connsiteY11" fmla="*/ 3215 h 754380"/>
                <a:gd name="connsiteX12" fmla="*/ 462272 w 587216"/>
                <a:gd name="connsiteY12" fmla="*/ 102227 h 754380"/>
                <a:gd name="connsiteX13" fmla="*/ 462701 w 587216"/>
                <a:gd name="connsiteY13" fmla="*/ 224814 h 754380"/>
                <a:gd name="connsiteX14" fmla="*/ 462701 w 587216"/>
                <a:gd name="connsiteY14" fmla="*/ 229100 h 754380"/>
                <a:gd name="connsiteX15" fmla="*/ 285679 w 587216"/>
                <a:gd name="connsiteY15" fmla="*/ 406122 h 754380"/>
                <a:gd name="connsiteX16" fmla="*/ 281392 w 587216"/>
                <a:gd name="connsiteY16" fmla="*/ 406122 h 754380"/>
                <a:gd name="connsiteX17" fmla="*/ 243245 w 587216"/>
                <a:gd name="connsiteY17" fmla="*/ 406122 h 754380"/>
                <a:gd name="connsiteX18" fmla="*/ 3215 w 587216"/>
                <a:gd name="connsiteY18" fmla="*/ 646152 h 754380"/>
                <a:gd name="connsiteX19" fmla="*/ 34504 w 587216"/>
                <a:gd name="connsiteY19" fmla="*/ 694587 h 754380"/>
                <a:gd name="connsiteX20" fmla="*/ 181523 w 587216"/>
                <a:gd name="connsiteY20" fmla="*/ 545425 h 754380"/>
                <a:gd name="connsiteX21" fmla="*/ 379548 w 587216"/>
                <a:gd name="connsiteY21" fmla="*/ 346972 h 754380"/>
                <a:gd name="connsiteX22" fmla="*/ 448556 w 587216"/>
                <a:gd name="connsiteY22" fmla="*/ 279249 h 754380"/>
                <a:gd name="connsiteX23" fmla="*/ 469987 w 587216"/>
                <a:gd name="connsiteY23" fmla="*/ 259104 h 754380"/>
                <a:gd name="connsiteX24" fmla="*/ 482418 w 587216"/>
                <a:gd name="connsiteY24" fmla="*/ 248817 h 754380"/>
                <a:gd name="connsiteX25" fmla="*/ 487990 w 587216"/>
                <a:gd name="connsiteY25" fmla="*/ 232958 h 754380"/>
                <a:gd name="connsiteX26" fmla="*/ 486704 w 587216"/>
                <a:gd name="connsiteY26" fmla="*/ 196953 h 754380"/>
                <a:gd name="connsiteX27" fmla="*/ 477703 w 587216"/>
                <a:gd name="connsiteY27" fmla="*/ 147233 h 754380"/>
                <a:gd name="connsiteX28" fmla="*/ 478560 w 587216"/>
                <a:gd name="connsiteY28" fmla="*/ 140803 h 754380"/>
                <a:gd name="connsiteX29" fmla="*/ 490133 w 587216"/>
                <a:gd name="connsiteY29" fmla="*/ 101798 h 754380"/>
                <a:gd name="connsiteX30" fmla="*/ 550998 w 587216"/>
                <a:gd name="connsiteY30" fmla="*/ 101798 h 754380"/>
                <a:gd name="connsiteX31" fmla="*/ 550998 w 587216"/>
                <a:gd name="connsiteY31" fmla="*/ 162663 h 754380"/>
                <a:gd name="connsiteX32" fmla="*/ 502992 w 587216"/>
                <a:gd name="connsiteY32" fmla="*/ 171236 h 754380"/>
                <a:gd name="connsiteX33" fmla="*/ 506420 w 587216"/>
                <a:gd name="connsiteY33" fmla="*/ 194810 h 754380"/>
                <a:gd name="connsiteX34" fmla="*/ 507278 w 587216"/>
                <a:gd name="connsiteY34" fmla="*/ 235101 h 754380"/>
                <a:gd name="connsiteX35" fmla="*/ 492276 w 587216"/>
                <a:gd name="connsiteY35" fmla="*/ 265962 h 754380"/>
                <a:gd name="connsiteX36" fmla="*/ 483275 w 587216"/>
                <a:gd name="connsiteY36" fmla="*/ 273677 h 754380"/>
                <a:gd name="connsiteX37" fmla="*/ 461415 w 587216"/>
                <a:gd name="connsiteY37" fmla="*/ 293822 h 75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7216" h="754380">
                  <a:moveTo>
                    <a:pt x="461415" y="293822"/>
                  </a:moveTo>
                  <a:lnTo>
                    <a:pt x="461415" y="293822"/>
                  </a:lnTo>
                  <a:cubicBezTo>
                    <a:pt x="443841" y="310539"/>
                    <a:pt x="420267" y="333684"/>
                    <a:pt x="392835" y="361117"/>
                  </a:cubicBezTo>
                  <a:cubicBezTo>
                    <a:pt x="337542" y="415981"/>
                    <a:pt x="265962" y="487989"/>
                    <a:pt x="195239" y="559141"/>
                  </a:cubicBezTo>
                  <a:cubicBezTo>
                    <a:pt x="141232" y="613577"/>
                    <a:pt x="89368" y="666298"/>
                    <a:pt x="44791" y="711732"/>
                  </a:cubicBezTo>
                  <a:cubicBezTo>
                    <a:pt x="53364" y="725448"/>
                    <a:pt x="61508" y="739592"/>
                    <a:pt x="70080" y="753308"/>
                  </a:cubicBezTo>
                  <a:lnTo>
                    <a:pt x="289536" y="533852"/>
                  </a:lnTo>
                  <a:lnTo>
                    <a:pt x="307110" y="469130"/>
                  </a:lnTo>
                  <a:lnTo>
                    <a:pt x="307538" y="466558"/>
                  </a:lnTo>
                  <a:lnTo>
                    <a:pt x="585716" y="188381"/>
                  </a:lnTo>
                  <a:cubicBezTo>
                    <a:pt x="570714" y="140375"/>
                    <a:pt x="565142" y="89368"/>
                    <a:pt x="562570" y="39219"/>
                  </a:cubicBezTo>
                  <a:cubicBezTo>
                    <a:pt x="561713" y="27218"/>
                    <a:pt x="561285" y="15216"/>
                    <a:pt x="561285" y="3215"/>
                  </a:cubicBezTo>
                  <a:lnTo>
                    <a:pt x="462272" y="102227"/>
                  </a:lnTo>
                  <a:lnTo>
                    <a:pt x="462701" y="224814"/>
                  </a:lnTo>
                  <a:lnTo>
                    <a:pt x="462701" y="229100"/>
                  </a:lnTo>
                  <a:lnTo>
                    <a:pt x="285679" y="406122"/>
                  </a:lnTo>
                  <a:lnTo>
                    <a:pt x="281392" y="406122"/>
                  </a:lnTo>
                  <a:lnTo>
                    <a:pt x="243245" y="406122"/>
                  </a:lnTo>
                  <a:lnTo>
                    <a:pt x="3215" y="646152"/>
                  </a:lnTo>
                  <a:cubicBezTo>
                    <a:pt x="13930" y="662011"/>
                    <a:pt x="24217" y="678299"/>
                    <a:pt x="34504" y="694587"/>
                  </a:cubicBezTo>
                  <a:cubicBezTo>
                    <a:pt x="78653" y="649581"/>
                    <a:pt x="130088" y="597718"/>
                    <a:pt x="181523" y="545425"/>
                  </a:cubicBezTo>
                  <a:cubicBezTo>
                    <a:pt x="252246" y="473845"/>
                    <a:pt x="323826" y="402264"/>
                    <a:pt x="379548" y="346972"/>
                  </a:cubicBezTo>
                  <a:cubicBezTo>
                    <a:pt x="407408" y="319540"/>
                    <a:pt x="430983" y="295966"/>
                    <a:pt x="448556" y="279249"/>
                  </a:cubicBezTo>
                  <a:cubicBezTo>
                    <a:pt x="457129" y="270677"/>
                    <a:pt x="464844" y="264247"/>
                    <a:pt x="469987" y="259104"/>
                  </a:cubicBezTo>
                  <a:cubicBezTo>
                    <a:pt x="475560" y="253960"/>
                    <a:pt x="478131" y="251388"/>
                    <a:pt x="482418" y="248817"/>
                  </a:cubicBezTo>
                  <a:cubicBezTo>
                    <a:pt x="483703" y="247959"/>
                    <a:pt x="487132" y="242816"/>
                    <a:pt x="487990" y="232958"/>
                  </a:cubicBezTo>
                  <a:cubicBezTo>
                    <a:pt x="488847" y="223099"/>
                    <a:pt x="488418" y="209812"/>
                    <a:pt x="486704" y="196953"/>
                  </a:cubicBezTo>
                  <a:cubicBezTo>
                    <a:pt x="483703" y="171236"/>
                    <a:pt x="477703" y="147233"/>
                    <a:pt x="477703" y="147233"/>
                  </a:cubicBezTo>
                  <a:cubicBezTo>
                    <a:pt x="477274" y="145089"/>
                    <a:pt x="477703" y="142946"/>
                    <a:pt x="478560" y="140803"/>
                  </a:cubicBezTo>
                  <a:cubicBezTo>
                    <a:pt x="475560" y="127087"/>
                    <a:pt x="479417" y="112085"/>
                    <a:pt x="490133" y="101798"/>
                  </a:cubicBezTo>
                  <a:cubicBezTo>
                    <a:pt x="506849" y="85082"/>
                    <a:pt x="534281" y="85082"/>
                    <a:pt x="550998" y="101798"/>
                  </a:cubicBezTo>
                  <a:cubicBezTo>
                    <a:pt x="567714" y="118515"/>
                    <a:pt x="567714" y="145518"/>
                    <a:pt x="550998" y="162663"/>
                  </a:cubicBezTo>
                  <a:cubicBezTo>
                    <a:pt x="538139" y="175522"/>
                    <a:pt x="518851" y="178522"/>
                    <a:pt x="502992" y="171236"/>
                  </a:cubicBezTo>
                  <a:cubicBezTo>
                    <a:pt x="504277" y="178522"/>
                    <a:pt x="505563" y="186666"/>
                    <a:pt x="506420" y="194810"/>
                  </a:cubicBezTo>
                  <a:cubicBezTo>
                    <a:pt x="508135" y="208526"/>
                    <a:pt x="508564" y="222671"/>
                    <a:pt x="507278" y="235101"/>
                  </a:cubicBezTo>
                  <a:cubicBezTo>
                    <a:pt x="505992" y="247531"/>
                    <a:pt x="502992" y="259961"/>
                    <a:pt x="492276" y="265962"/>
                  </a:cubicBezTo>
                  <a:cubicBezTo>
                    <a:pt x="493562" y="265533"/>
                    <a:pt x="488847" y="268962"/>
                    <a:pt x="483275" y="273677"/>
                  </a:cubicBezTo>
                  <a:cubicBezTo>
                    <a:pt x="477703" y="278821"/>
                    <a:pt x="470416" y="285250"/>
                    <a:pt x="461415" y="293822"/>
                  </a:cubicBezTo>
                  <a:close/>
                </a:path>
              </a:pathLst>
            </a:custGeom>
            <a:grpFill/>
            <a:ln w="9525" cap="flat">
              <a:noFill/>
              <a:prstDash val="solid"/>
              <a:miter/>
            </a:ln>
          </p:spPr>
          <p:txBody>
            <a:bodyPr rtlCol="0" anchor="ctr"/>
            <a:lstStyle/>
            <a:p>
              <a:endParaRPr lang="en-US"/>
            </a:p>
          </p:txBody>
        </p:sp>
        <p:sp>
          <p:nvSpPr>
            <p:cNvPr id="330" name="Freeform: Shape 107">
              <a:extLst>
                <a:ext uri="{FF2B5EF4-FFF2-40B4-BE49-F238E27FC236}">
                  <a16:creationId xmlns:a16="http://schemas.microsoft.com/office/drawing/2014/main" id="{521B1A0E-BEF3-6047-8CAB-9EEB12425746}"/>
                </a:ext>
              </a:extLst>
            </p:cNvPr>
            <p:cNvSpPr/>
            <p:nvPr/>
          </p:nvSpPr>
          <p:spPr>
            <a:xfrm>
              <a:off x="5887903" y="3744254"/>
              <a:ext cx="30004" cy="30004"/>
            </a:xfrm>
            <a:custGeom>
              <a:avLst/>
              <a:gdLst>
                <a:gd name="connsiteX0" fmla="*/ 3215 w 30003"/>
                <a:gd name="connsiteY0" fmla="*/ 14788 h 30003"/>
                <a:gd name="connsiteX1" fmla="*/ 9215 w 30003"/>
                <a:gd name="connsiteY1" fmla="*/ 28504 h 30003"/>
                <a:gd name="connsiteX2" fmla="*/ 26789 w 30003"/>
                <a:gd name="connsiteY2" fmla="*/ 28504 h 30003"/>
                <a:gd name="connsiteX3" fmla="*/ 28932 w 30003"/>
                <a:gd name="connsiteY3" fmla="*/ 26361 h 30003"/>
                <a:gd name="connsiteX4" fmla="*/ 14787 w 30003"/>
                <a:gd name="connsiteY4" fmla="*/ 3215 h 30003"/>
                <a:gd name="connsiteX5" fmla="*/ 3215 w 30003"/>
                <a:gd name="connsiteY5" fmla="*/ 14788 h 3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3" h="30003">
                  <a:moveTo>
                    <a:pt x="3215" y="14788"/>
                  </a:moveTo>
                  <a:cubicBezTo>
                    <a:pt x="5358" y="19502"/>
                    <a:pt x="7072" y="23789"/>
                    <a:pt x="9215" y="28504"/>
                  </a:cubicBezTo>
                  <a:lnTo>
                    <a:pt x="26789" y="28504"/>
                  </a:lnTo>
                  <a:lnTo>
                    <a:pt x="28932" y="26361"/>
                  </a:lnTo>
                  <a:cubicBezTo>
                    <a:pt x="24217" y="18645"/>
                    <a:pt x="19502" y="10930"/>
                    <a:pt x="14787" y="3215"/>
                  </a:cubicBezTo>
                  <a:cubicBezTo>
                    <a:pt x="10930" y="6644"/>
                    <a:pt x="7072" y="10501"/>
                    <a:pt x="3215" y="14788"/>
                  </a:cubicBezTo>
                  <a:close/>
                </a:path>
              </a:pathLst>
            </a:custGeom>
            <a:grpFill/>
            <a:ln w="9525" cap="flat">
              <a:noFill/>
              <a:prstDash val="solid"/>
              <a:miter/>
            </a:ln>
          </p:spPr>
          <p:txBody>
            <a:bodyPr rtlCol="0" anchor="ctr"/>
            <a:lstStyle/>
            <a:p>
              <a:endParaRPr lang="en-US"/>
            </a:p>
          </p:txBody>
        </p:sp>
        <p:sp>
          <p:nvSpPr>
            <p:cNvPr id="331" name="Freeform: Shape 108">
              <a:extLst>
                <a:ext uri="{FF2B5EF4-FFF2-40B4-BE49-F238E27FC236}">
                  <a16:creationId xmlns:a16="http://schemas.microsoft.com/office/drawing/2014/main" id="{1CA10705-676C-3540-A9BD-5A797DCC8EFB}"/>
                </a:ext>
              </a:extLst>
            </p:cNvPr>
            <p:cNvSpPr/>
            <p:nvPr/>
          </p:nvSpPr>
          <p:spPr>
            <a:xfrm>
              <a:off x="5240695" y="5104709"/>
              <a:ext cx="458629" cy="505778"/>
            </a:xfrm>
            <a:custGeom>
              <a:avLst/>
              <a:gdLst>
                <a:gd name="connsiteX0" fmla="*/ 385961 w 458628"/>
                <a:gd name="connsiteY0" fmla="*/ 350830 h 505777"/>
                <a:gd name="connsiteX1" fmla="*/ 428823 w 458628"/>
                <a:gd name="connsiteY1" fmla="*/ 307967 h 505777"/>
                <a:gd name="connsiteX2" fmla="*/ 456255 w 458628"/>
                <a:gd name="connsiteY2" fmla="*/ 318254 h 505777"/>
                <a:gd name="connsiteX3" fmla="*/ 450683 w 458628"/>
                <a:gd name="connsiteY3" fmla="*/ 270677 h 505777"/>
                <a:gd name="connsiteX4" fmla="*/ 396676 w 458628"/>
                <a:gd name="connsiteY4" fmla="*/ 270677 h 505777"/>
                <a:gd name="connsiteX5" fmla="*/ 303664 w 458628"/>
                <a:gd name="connsiteY5" fmla="*/ 363689 h 505777"/>
                <a:gd name="connsiteX6" fmla="*/ 298092 w 458628"/>
                <a:gd name="connsiteY6" fmla="*/ 366689 h 505777"/>
                <a:gd name="connsiteX7" fmla="*/ 256944 w 458628"/>
                <a:gd name="connsiteY7" fmla="*/ 398407 h 505777"/>
                <a:gd name="connsiteX8" fmla="*/ 214082 w 458628"/>
                <a:gd name="connsiteY8" fmla="*/ 355116 h 505777"/>
                <a:gd name="connsiteX9" fmla="*/ 256944 w 458628"/>
                <a:gd name="connsiteY9" fmla="*/ 312254 h 505777"/>
                <a:gd name="connsiteX10" fmla="*/ 297664 w 458628"/>
                <a:gd name="connsiteY10" fmla="*/ 341828 h 505777"/>
                <a:gd name="connsiteX11" fmla="*/ 385532 w 458628"/>
                <a:gd name="connsiteY11" fmla="*/ 253960 h 505777"/>
                <a:gd name="connsiteX12" fmla="*/ 388532 w 458628"/>
                <a:gd name="connsiteY12" fmla="*/ 251389 h 505777"/>
                <a:gd name="connsiteX13" fmla="*/ 447683 w 458628"/>
                <a:gd name="connsiteY13" fmla="*/ 251389 h 505777"/>
                <a:gd name="connsiteX14" fmla="*/ 441682 w 458628"/>
                <a:gd name="connsiteY14" fmla="*/ 217527 h 505777"/>
                <a:gd name="connsiteX15" fmla="*/ 435252 w 458628"/>
                <a:gd name="connsiteY15" fmla="*/ 217956 h 505777"/>
                <a:gd name="connsiteX16" fmla="*/ 392819 w 458628"/>
                <a:gd name="connsiteY16" fmla="*/ 175094 h 505777"/>
                <a:gd name="connsiteX17" fmla="*/ 423680 w 458628"/>
                <a:gd name="connsiteY17" fmla="*/ 133945 h 505777"/>
                <a:gd name="connsiteX18" fmla="*/ 418536 w 458628"/>
                <a:gd name="connsiteY18" fmla="*/ 111229 h 505777"/>
                <a:gd name="connsiteX19" fmla="*/ 414678 w 458628"/>
                <a:gd name="connsiteY19" fmla="*/ 94084 h 505777"/>
                <a:gd name="connsiteX20" fmla="*/ 412964 w 458628"/>
                <a:gd name="connsiteY20" fmla="*/ 94084 h 505777"/>
                <a:gd name="connsiteX21" fmla="*/ 366672 w 458628"/>
                <a:gd name="connsiteY21" fmla="*/ 140375 h 505777"/>
                <a:gd name="connsiteX22" fmla="*/ 366672 w 458628"/>
                <a:gd name="connsiteY22" fmla="*/ 230386 h 505777"/>
                <a:gd name="connsiteX23" fmla="*/ 363672 w 458628"/>
                <a:gd name="connsiteY23" fmla="*/ 232958 h 505777"/>
                <a:gd name="connsiteX24" fmla="*/ 322095 w 458628"/>
                <a:gd name="connsiteY24" fmla="*/ 274535 h 505777"/>
                <a:gd name="connsiteX25" fmla="*/ 319524 w 458628"/>
                <a:gd name="connsiteY25" fmla="*/ 277535 h 505777"/>
                <a:gd name="connsiteX26" fmla="*/ 176363 w 458628"/>
                <a:gd name="connsiteY26" fmla="*/ 277535 h 505777"/>
                <a:gd name="connsiteX27" fmla="*/ 173362 w 458628"/>
                <a:gd name="connsiteY27" fmla="*/ 274535 h 505777"/>
                <a:gd name="connsiteX28" fmla="*/ 113784 w 458628"/>
                <a:gd name="connsiteY28" fmla="*/ 215384 h 505777"/>
                <a:gd name="connsiteX29" fmla="*/ 98782 w 458628"/>
                <a:gd name="connsiteY29" fmla="*/ 217956 h 505777"/>
                <a:gd name="connsiteX30" fmla="*/ 55919 w 458628"/>
                <a:gd name="connsiteY30" fmla="*/ 175094 h 505777"/>
                <a:gd name="connsiteX31" fmla="*/ 98782 w 458628"/>
                <a:gd name="connsiteY31" fmla="*/ 132231 h 505777"/>
                <a:gd name="connsiteX32" fmla="*/ 141644 w 458628"/>
                <a:gd name="connsiteY32" fmla="*/ 175094 h 505777"/>
                <a:gd name="connsiteX33" fmla="*/ 130071 w 458628"/>
                <a:gd name="connsiteY33" fmla="*/ 203811 h 505777"/>
                <a:gd name="connsiteX34" fmla="*/ 184078 w 458628"/>
                <a:gd name="connsiteY34" fmla="*/ 257818 h 505777"/>
                <a:gd name="connsiteX35" fmla="*/ 311380 w 458628"/>
                <a:gd name="connsiteY35" fmla="*/ 257818 h 505777"/>
                <a:gd name="connsiteX36" fmla="*/ 347384 w 458628"/>
                <a:gd name="connsiteY36" fmla="*/ 221813 h 505777"/>
                <a:gd name="connsiteX37" fmla="*/ 347384 w 458628"/>
                <a:gd name="connsiteY37" fmla="*/ 132231 h 505777"/>
                <a:gd name="connsiteX38" fmla="*/ 349956 w 458628"/>
                <a:gd name="connsiteY38" fmla="*/ 129659 h 505777"/>
                <a:gd name="connsiteX39" fmla="*/ 402677 w 458628"/>
                <a:gd name="connsiteY39" fmla="*/ 77367 h 505777"/>
                <a:gd name="connsiteX40" fmla="*/ 405249 w 458628"/>
                <a:gd name="connsiteY40" fmla="*/ 74795 h 505777"/>
                <a:gd name="connsiteX41" fmla="*/ 411678 w 458628"/>
                <a:gd name="connsiteY41" fmla="*/ 74795 h 505777"/>
                <a:gd name="connsiteX42" fmla="*/ 407820 w 458628"/>
                <a:gd name="connsiteY42" fmla="*/ 39648 h 505777"/>
                <a:gd name="connsiteX43" fmla="*/ 394962 w 458628"/>
                <a:gd name="connsiteY43" fmla="*/ 39648 h 505777"/>
                <a:gd name="connsiteX44" fmla="*/ 289091 w 458628"/>
                <a:gd name="connsiteY44" fmla="*/ 145090 h 505777"/>
                <a:gd name="connsiteX45" fmla="*/ 306236 w 458628"/>
                <a:gd name="connsiteY45" fmla="*/ 179380 h 505777"/>
                <a:gd name="connsiteX46" fmla="*/ 263374 w 458628"/>
                <a:gd name="connsiteY46" fmla="*/ 222242 h 505777"/>
                <a:gd name="connsiteX47" fmla="*/ 220511 w 458628"/>
                <a:gd name="connsiteY47" fmla="*/ 179380 h 505777"/>
                <a:gd name="connsiteX48" fmla="*/ 263374 w 458628"/>
                <a:gd name="connsiteY48" fmla="*/ 136517 h 505777"/>
                <a:gd name="connsiteX49" fmla="*/ 269803 w 458628"/>
                <a:gd name="connsiteY49" fmla="*/ 136946 h 505777"/>
                <a:gd name="connsiteX50" fmla="*/ 383817 w 458628"/>
                <a:gd name="connsiteY50" fmla="*/ 22932 h 505777"/>
                <a:gd name="connsiteX51" fmla="*/ 386389 w 458628"/>
                <a:gd name="connsiteY51" fmla="*/ 20360 h 505777"/>
                <a:gd name="connsiteX52" fmla="*/ 405677 w 458628"/>
                <a:gd name="connsiteY52" fmla="*/ 20360 h 505777"/>
                <a:gd name="connsiteX53" fmla="*/ 403963 w 458628"/>
                <a:gd name="connsiteY53" fmla="*/ 3215 h 505777"/>
                <a:gd name="connsiteX54" fmla="*/ 381674 w 458628"/>
                <a:gd name="connsiteY54" fmla="*/ 3215 h 505777"/>
                <a:gd name="connsiteX55" fmla="*/ 294663 w 458628"/>
                <a:gd name="connsiteY55" fmla="*/ 90226 h 505777"/>
                <a:gd name="connsiteX56" fmla="*/ 291663 w 458628"/>
                <a:gd name="connsiteY56" fmla="*/ 92797 h 505777"/>
                <a:gd name="connsiteX57" fmla="*/ 12200 w 458628"/>
                <a:gd name="connsiteY57" fmla="*/ 92797 h 505777"/>
                <a:gd name="connsiteX58" fmla="*/ 4056 w 458628"/>
                <a:gd name="connsiteY58" fmla="*/ 253532 h 505777"/>
                <a:gd name="connsiteX59" fmla="*/ 20343 w 458628"/>
                <a:gd name="connsiteY59" fmla="*/ 381691 h 505777"/>
                <a:gd name="connsiteX60" fmla="*/ 43489 w 458628"/>
                <a:gd name="connsiteY60" fmla="*/ 505992 h 505777"/>
                <a:gd name="connsiteX61" fmla="*/ 64492 w 458628"/>
                <a:gd name="connsiteY61" fmla="*/ 484989 h 505777"/>
                <a:gd name="connsiteX62" fmla="*/ 73064 w 458628"/>
                <a:gd name="connsiteY62" fmla="*/ 476417 h 505777"/>
                <a:gd name="connsiteX63" fmla="*/ 449826 w 458628"/>
                <a:gd name="connsiteY63" fmla="*/ 476417 h 505777"/>
                <a:gd name="connsiteX64" fmla="*/ 451540 w 458628"/>
                <a:gd name="connsiteY64" fmla="*/ 463558 h 505777"/>
                <a:gd name="connsiteX65" fmla="*/ 452826 w 458628"/>
                <a:gd name="connsiteY65" fmla="*/ 451985 h 505777"/>
                <a:gd name="connsiteX66" fmla="*/ 171648 w 458628"/>
                <a:gd name="connsiteY66" fmla="*/ 451985 h 505777"/>
                <a:gd name="connsiteX67" fmla="*/ 166076 w 458628"/>
                <a:gd name="connsiteY67" fmla="*/ 446413 h 505777"/>
                <a:gd name="connsiteX68" fmla="*/ 110783 w 458628"/>
                <a:gd name="connsiteY68" fmla="*/ 390692 h 505777"/>
                <a:gd name="connsiteX69" fmla="*/ 92352 w 458628"/>
                <a:gd name="connsiteY69" fmla="*/ 394978 h 505777"/>
                <a:gd name="connsiteX70" fmla="*/ 49061 w 458628"/>
                <a:gd name="connsiteY70" fmla="*/ 351687 h 505777"/>
                <a:gd name="connsiteX71" fmla="*/ 92352 w 458628"/>
                <a:gd name="connsiteY71" fmla="*/ 308825 h 505777"/>
                <a:gd name="connsiteX72" fmla="*/ 135644 w 458628"/>
                <a:gd name="connsiteY72" fmla="*/ 351687 h 505777"/>
                <a:gd name="connsiteX73" fmla="*/ 134786 w 458628"/>
                <a:gd name="connsiteY73" fmla="*/ 359402 h 505777"/>
                <a:gd name="connsiteX74" fmla="*/ 188364 w 458628"/>
                <a:gd name="connsiteY74" fmla="*/ 412552 h 505777"/>
                <a:gd name="connsiteX75" fmla="*/ 456684 w 458628"/>
                <a:gd name="connsiteY75" fmla="*/ 412552 h 505777"/>
                <a:gd name="connsiteX76" fmla="*/ 458827 w 458628"/>
                <a:gd name="connsiteY76" fmla="*/ 382548 h 505777"/>
                <a:gd name="connsiteX77" fmla="*/ 429252 w 458628"/>
                <a:gd name="connsiteY77" fmla="*/ 394978 h 505777"/>
                <a:gd name="connsiteX78" fmla="*/ 385961 w 458628"/>
                <a:gd name="connsiteY78" fmla="*/ 350830 h 50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58628" h="505777">
                  <a:moveTo>
                    <a:pt x="385961" y="350830"/>
                  </a:moveTo>
                  <a:cubicBezTo>
                    <a:pt x="385961" y="327256"/>
                    <a:pt x="405249" y="307967"/>
                    <a:pt x="428823" y="307967"/>
                  </a:cubicBezTo>
                  <a:cubicBezTo>
                    <a:pt x="439539" y="307967"/>
                    <a:pt x="448968" y="311825"/>
                    <a:pt x="456255" y="318254"/>
                  </a:cubicBezTo>
                  <a:cubicBezTo>
                    <a:pt x="454969" y="302395"/>
                    <a:pt x="452826" y="286536"/>
                    <a:pt x="450683" y="270677"/>
                  </a:cubicBezTo>
                  <a:lnTo>
                    <a:pt x="396676" y="270677"/>
                  </a:lnTo>
                  <a:lnTo>
                    <a:pt x="303664" y="363689"/>
                  </a:lnTo>
                  <a:cubicBezTo>
                    <a:pt x="302379" y="365403"/>
                    <a:pt x="300236" y="366260"/>
                    <a:pt x="298092" y="366689"/>
                  </a:cubicBezTo>
                  <a:cubicBezTo>
                    <a:pt x="292949" y="384691"/>
                    <a:pt x="276661" y="398407"/>
                    <a:pt x="256944" y="398407"/>
                  </a:cubicBezTo>
                  <a:cubicBezTo>
                    <a:pt x="233370" y="398407"/>
                    <a:pt x="214082" y="378691"/>
                    <a:pt x="214082" y="355116"/>
                  </a:cubicBezTo>
                  <a:cubicBezTo>
                    <a:pt x="214082" y="331542"/>
                    <a:pt x="232941" y="312254"/>
                    <a:pt x="256944" y="312254"/>
                  </a:cubicBezTo>
                  <a:cubicBezTo>
                    <a:pt x="276233" y="312254"/>
                    <a:pt x="292092" y="324683"/>
                    <a:pt x="297664" y="341828"/>
                  </a:cubicBezTo>
                  <a:lnTo>
                    <a:pt x="385532" y="253960"/>
                  </a:lnTo>
                  <a:lnTo>
                    <a:pt x="388532" y="251389"/>
                  </a:lnTo>
                  <a:lnTo>
                    <a:pt x="447683" y="251389"/>
                  </a:lnTo>
                  <a:cubicBezTo>
                    <a:pt x="445968" y="240245"/>
                    <a:pt x="443825" y="228672"/>
                    <a:pt x="441682" y="217527"/>
                  </a:cubicBezTo>
                  <a:cubicBezTo>
                    <a:pt x="439539" y="217956"/>
                    <a:pt x="437396" y="217956"/>
                    <a:pt x="435252" y="217956"/>
                  </a:cubicBezTo>
                  <a:cubicBezTo>
                    <a:pt x="411678" y="217956"/>
                    <a:pt x="392819" y="199097"/>
                    <a:pt x="392819" y="175094"/>
                  </a:cubicBezTo>
                  <a:cubicBezTo>
                    <a:pt x="392819" y="155377"/>
                    <a:pt x="405677" y="139089"/>
                    <a:pt x="423680" y="133945"/>
                  </a:cubicBezTo>
                  <a:cubicBezTo>
                    <a:pt x="421965" y="126230"/>
                    <a:pt x="420251" y="118943"/>
                    <a:pt x="418536" y="111229"/>
                  </a:cubicBezTo>
                  <a:cubicBezTo>
                    <a:pt x="417250" y="105656"/>
                    <a:pt x="415964" y="99655"/>
                    <a:pt x="414678" y="94084"/>
                  </a:cubicBezTo>
                  <a:lnTo>
                    <a:pt x="412964" y="94084"/>
                  </a:lnTo>
                  <a:lnTo>
                    <a:pt x="366672" y="140375"/>
                  </a:lnTo>
                  <a:lnTo>
                    <a:pt x="366672" y="230386"/>
                  </a:lnTo>
                  <a:lnTo>
                    <a:pt x="363672" y="232958"/>
                  </a:lnTo>
                  <a:lnTo>
                    <a:pt x="322095" y="274535"/>
                  </a:lnTo>
                  <a:lnTo>
                    <a:pt x="319524" y="277535"/>
                  </a:lnTo>
                  <a:lnTo>
                    <a:pt x="176363" y="277535"/>
                  </a:lnTo>
                  <a:lnTo>
                    <a:pt x="173362" y="274535"/>
                  </a:lnTo>
                  <a:lnTo>
                    <a:pt x="113784" y="215384"/>
                  </a:lnTo>
                  <a:cubicBezTo>
                    <a:pt x="109069" y="217099"/>
                    <a:pt x="103925" y="217956"/>
                    <a:pt x="98782" y="217956"/>
                  </a:cubicBezTo>
                  <a:cubicBezTo>
                    <a:pt x="75207" y="217956"/>
                    <a:pt x="55919" y="199097"/>
                    <a:pt x="55919" y="175094"/>
                  </a:cubicBezTo>
                  <a:cubicBezTo>
                    <a:pt x="55919" y="151090"/>
                    <a:pt x="75207" y="132231"/>
                    <a:pt x="98782" y="132231"/>
                  </a:cubicBezTo>
                  <a:cubicBezTo>
                    <a:pt x="122356" y="132231"/>
                    <a:pt x="141644" y="151519"/>
                    <a:pt x="141644" y="175094"/>
                  </a:cubicBezTo>
                  <a:cubicBezTo>
                    <a:pt x="141644" y="186238"/>
                    <a:pt x="136929" y="196096"/>
                    <a:pt x="130071" y="203811"/>
                  </a:cubicBezTo>
                  <a:lnTo>
                    <a:pt x="184078" y="257818"/>
                  </a:lnTo>
                  <a:lnTo>
                    <a:pt x="311380" y="257818"/>
                  </a:lnTo>
                  <a:lnTo>
                    <a:pt x="347384" y="221813"/>
                  </a:lnTo>
                  <a:lnTo>
                    <a:pt x="347384" y="132231"/>
                  </a:lnTo>
                  <a:lnTo>
                    <a:pt x="349956" y="129659"/>
                  </a:lnTo>
                  <a:lnTo>
                    <a:pt x="402677" y="77367"/>
                  </a:lnTo>
                  <a:lnTo>
                    <a:pt x="405249" y="74795"/>
                  </a:lnTo>
                  <a:lnTo>
                    <a:pt x="411678" y="74795"/>
                  </a:lnTo>
                  <a:cubicBezTo>
                    <a:pt x="409964" y="63222"/>
                    <a:pt x="409106" y="51650"/>
                    <a:pt x="407820" y="39648"/>
                  </a:cubicBezTo>
                  <a:lnTo>
                    <a:pt x="394962" y="39648"/>
                  </a:lnTo>
                  <a:lnTo>
                    <a:pt x="289091" y="145090"/>
                  </a:lnTo>
                  <a:cubicBezTo>
                    <a:pt x="299378" y="152805"/>
                    <a:pt x="306236" y="165235"/>
                    <a:pt x="306236" y="179380"/>
                  </a:cubicBezTo>
                  <a:cubicBezTo>
                    <a:pt x="306236" y="202954"/>
                    <a:pt x="287377" y="222242"/>
                    <a:pt x="263374" y="222242"/>
                  </a:cubicBezTo>
                  <a:cubicBezTo>
                    <a:pt x="239371" y="222242"/>
                    <a:pt x="220511" y="203383"/>
                    <a:pt x="220511" y="179380"/>
                  </a:cubicBezTo>
                  <a:cubicBezTo>
                    <a:pt x="220511" y="155377"/>
                    <a:pt x="239799" y="136517"/>
                    <a:pt x="263374" y="136517"/>
                  </a:cubicBezTo>
                  <a:cubicBezTo>
                    <a:pt x="265517" y="136517"/>
                    <a:pt x="267660" y="136517"/>
                    <a:pt x="269803" y="136946"/>
                  </a:cubicBezTo>
                  <a:lnTo>
                    <a:pt x="383817" y="22932"/>
                  </a:lnTo>
                  <a:lnTo>
                    <a:pt x="386389" y="20360"/>
                  </a:lnTo>
                  <a:lnTo>
                    <a:pt x="405677" y="20360"/>
                  </a:lnTo>
                  <a:cubicBezTo>
                    <a:pt x="405249" y="14788"/>
                    <a:pt x="404391" y="8787"/>
                    <a:pt x="403963" y="3215"/>
                  </a:cubicBezTo>
                  <a:lnTo>
                    <a:pt x="381674" y="3215"/>
                  </a:lnTo>
                  <a:lnTo>
                    <a:pt x="294663" y="90226"/>
                  </a:lnTo>
                  <a:lnTo>
                    <a:pt x="291663" y="92797"/>
                  </a:lnTo>
                  <a:lnTo>
                    <a:pt x="12200" y="92797"/>
                  </a:lnTo>
                  <a:cubicBezTo>
                    <a:pt x="6627" y="146376"/>
                    <a:pt x="1055" y="199525"/>
                    <a:pt x="4056" y="253532"/>
                  </a:cubicBezTo>
                  <a:cubicBezTo>
                    <a:pt x="5341" y="296823"/>
                    <a:pt x="13057" y="339257"/>
                    <a:pt x="20343" y="381691"/>
                  </a:cubicBezTo>
                  <a:cubicBezTo>
                    <a:pt x="27630" y="423267"/>
                    <a:pt x="35774" y="464416"/>
                    <a:pt x="43489" y="505992"/>
                  </a:cubicBezTo>
                  <a:lnTo>
                    <a:pt x="64492" y="484989"/>
                  </a:lnTo>
                  <a:lnTo>
                    <a:pt x="73064" y="476417"/>
                  </a:lnTo>
                  <a:lnTo>
                    <a:pt x="449826" y="476417"/>
                  </a:lnTo>
                  <a:cubicBezTo>
                    <a:pt x="450254" y="472131"/>
                    <a:pt x="451112" y="467844"/>
                    <a:pt x="451540" y="463558"/>
                  </a:cubicBezTo>
                  <a:cubicBezTo>
                    <a:pt x="451969" y="459700"/>
                    <a:pt x="452397" y="455843"/>
                    <a:pt x="452826" y="451985"/>
                  </a:cubicBezTo>
                  <a:lnTo>
                    <a:pt x="171648" y="451985"/>
                  </a:lnTo>
                  <a:lnTo>
                    <a:pt x="166076" y="446413"/>
                  </a:lnTo>
                  <a:lnTo>
                    <a:pt x="110783" y="390692"/>
                  </a:lnTo>
                  <a:cubicBezTo>
                    <a:pt x="105211" y="393263"/>
                    <a:pt x="99210" y="394978"/>
                    <a:pt x="92352" y="394978"/>
                  </a:cubicBezTo>
                  <a:cubicBezTo>
                    <a:pt x="68778" y="394978"/>
                    <a:pt x="49061" y="375261"/>
                    <a:pt x="49061" y="351687"/>
                  </a:cubicBezTo>
                  <a:cubicBezTo>
                    <a:pt x="49061" y="328113"/>
                    <a:pt x="68349" y="308825"/>
                    <a:pt x="92352" y="308825"/>
                  </a:cubicBezTo>
                  <a:cubicBezTo>
                    <a:pt x="115927" y="308825"/>
                    <a:pt x="135644" y="328113"/>
                    <a:pt x="135644" y="351687"/>
                  </a:cubicBezTo>
                  <a:cubicBezTo>
                    <a:pt x="135644" y="354259"/>
                    <a:pt x="135215" y="356830"/>
                    <a:pt x="134786" y="359402"/>
                  </a:cubicBezTo>
                  <a:lnTo>
                    <a:pt x="188364" y="412552"/>
                  </a:lnTo>
                  <a:lnTo>
                    <a:pt x="456684" y="412552"/>
                  </a:lnTo>
                  <a:cubicBezTo>
                    <a:pt x="457541" y="402694"/>
                    <a:pt x="458398" y="392406"/>
                    <a:pt x="458827" y="382548"/>
                  </a:cubicBezTo>
                  <a:cubicBezTo>
                    <a:pt x="451112" y="390263"/>
                    <a:pt x="440825" y="394978"/>
                    <a:pt x="429252" y="394978"/>
                  </a:cubicBezTo>
                  <a:cubicBezTo>
                    <a:pt x="405249" y="394121"/>
                    <a:pt x="385961" y="374404"/>
                    <a:pt x="385961" y="350830"/>
                  </a:cubicBezTo>
                  <a:close/>
                </a:path>
              </a:pathLst>
            </a:custGeom>
            <a:grpFill/>
            <a:ln w="9525" cap="flat">
              <a:noFill/>
              <a:prstDash val="solid"/>
              <a:miter/>
            </a:ln>
          </p:spPr>
          <p:txBody>
            <a:bodyPr rtlCol="0" anchor="ctr"/>
            <a:lstStyle/>
            <a:p>
              <a:endParaRPr lang="en-US"/>
            </a:p>
          </p:txBody>
        </p:sp>
        <p:sp>
          <p:nvSpPr>
            <p:cNvPr id="332" name="Freeform: Shape 109">
              <a:extLst>
                <a:ext uri="{FF2B5EF4-FFF2-40B4-BE49-F238E27FC236}">
                  <a16:creationId xmlns:a16="http://schemas.microsoft.com/office/drawing/2014/main" id="{BF8D62C0-06CC-4D4A-AE5F-30179A605553}"/>
                </a:ext>
              </a:extLst>
            </p:cNvPr>
            <p:cNvSpPr/>
            <p:nvPr/>
          </p:nvSpPr>
          <p:spPr>
            <a:xfrm>
              <a:off x="5924764" y="3802547"/>
              <a:ext cx="21431" cy="12859"/>
            </a:xfrm>
            <a:custGeom>
              <a:avLst/>
              <a:gdLst>
                <a:gd name="connsiteX0" fmla="*/ 13502 w 21431"/>
                <a:gd name="connsiteY0" fmla="*/ 3215 h 12858"/>
                <a:gd name="connsiteX1" fmla="*/ 3215 w 21431"/>
                <a:gd name="connsiteY1" fmla="*/ 13502 h 12858"/>
                <a:gd name="connsiteX2" fmla="*/ 19503 w 21431"/>
                <a:gd name="connsiteY2" fmla="*/ 13502 h 12858"/>
                <a:gd name="connsiteX3" fmla="*/ 13502 w 21431"/>
                <a:gd name="connsiteY3" fmla="*/ 3215 h 12858"/>
              </a:gdLst>
              <a:ahLst/>
              <a:cxnLst>
                <a:cxn ang="0">
                  <a:pos x="connsiteX0" y="connsiteY0"/>
                </a:cxn>
                <a:cxn ang="0">
                  <a:pos x="connsiteX1" y="connsiteY1"/>
                </a:cxn>
                <a:cxn ang="0">
                  <a:pos x="connsiteX2" y="connsiteY2"/>
                </a:cxn>
                <a:cxn ang="0">
                  <a:pos x="connsiteX3" y="connsiteY3"/>
                </a:cxn>
              </a:cxnLst>
              <a:rect l="l" t="t" r="r" b="b"/>
              <a:pathLst>
                <a:path w="21431" h="12858">
                  <a:moveTo>
                    <a:pt x="13502" y="3215"/>
                  </a:moveTo>
                  <a:lnTo>
                    <a:pt x="3215" y="13502"/>
                  </a:lnTo>
                  <a:lnTo>
                    <a:pt x="19503" y="13502"/>
                  </a:lnTo>
                  <a:cubicBezTo>
                    <a:pt x="17359" y="10073"/>
                    <a:pt x="15216" y="6644"/>
                    <a:pt x="13502" y="3215"/>
                  </a:cubicBezTo>
                  <a:close/>
                </a:path>
              </a:pathLst>
            </a:custGeom>
            <a:grpFill/>
            <a:ln w="9525" cap="flat">
              <a:noFill/>
              <a:prstDash val="solid"/>
              <a:miter/>
            </a:ln>
          </p:spPr>
          <p:txBody>
            <a:bodyPr rtlCol="0" anchor="ctr"/>
            <a:lstStyle/>
            <a:p>
              <a:endParaRPr lang="en-US"/>
            </a:p>
          </p:txBody>
        </p:sp>
        <p:sp>
          <p:nvSpPr>
            <p:cNvPr id="333" name="Freeform: Shape 110">
              <a:extLst>
                <a:ext uri="{FF2B5EF4-FFF2-40B4-BE49-F238E27FC236}">
                  <a16:creationId xmlns:a16="http://schemas.microsoft.com/office/drawing/2014/main" id="{A37834CF-E2ED-4843-BC50-234467F46EA1}"/>
                </a:ext>
              </a:extLst>
            </p:cNvPr>
            <p:cNvSpPr/>
            <p:nvPr/>
          </p:nvSpPr>
          <p:spPr>
            <a:xfrm>
              <a:off x="5293828" y="5676067"/>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34" name="Freeform: Shape 111">
              <a:extLst>
                <a:ext uri="{FF2B5EF4-FFF2-40B4-BE49-F238E27FC236}">
                  <a16:creationId xmlns:a16="http://schemas.microsoft.com/office/drawing/2014/main" id="{B9B6CF77-AF7F-EE4A-A5D4-3FF409843645}"/>
                </a:ext>
              </a:extLst>
            </p:cNvPr>
            <p:cNvSpPr/>
            <p:nvPr/>
          </p:nvSpPr>
          <p:spPr>
            <a:xfrm>
              <a:off x="5293828" y="5636204"/>
              <a:ext cx="390049" cy="222885"/>
            </a:xfrm>
            <a:custGeom>
              <a:avLst/>
              <a:gdLst>
                <a:gd name="connsiteX0" fmla="*/ 3215 w 390048"/>
                <a:gd name="connsiteY0" fmla="*/ 43077 h 222885"/>
                <a:gd name="connsiteX1" fmla="*/ 18645 w 390048"/>
                <a:gd name="connsiteY1" fmla="*/ 118943 h 222885"/>
                <a:gd name="connsiteX2" fmla="*/ 41362 w 390048"/>
                <a:gd name="connsiteY2" fmla="*/ 112514 h 222885"/>
                <a:gd name="connsiteX3" fmla="*/ 84225 w 390048"/>
                <a:gd name="connsiteY3" fmla="*/ 155377 h 222885"/>
                <a:gd name="connsiteX4" fmla="*/ 79939 w 390048"/>
                <a:gd name="connsiteY4" fmla="*/ 174236 h 222885"/>
                <a:gd name="connsiteX5" fmla="*/ 127516 w 390048"/>
                <a:gd name="connsiteY5" fmla="*/ 221813 h 222885"/>
                <a:gd name="connsiteX6" fmla="*/ 352115 w 390048"/>
                <a:gd name="connsiteY6" fmla="*/ 221813 h 222885"/>
                <a:gd name="connsiteX7" fmla="*/ 356830 w 390048"/>
                <a:gd name="connsiteY7" fmla="*/ 192667 h 222885"/>
                <a:gd name="connsiteX8" fmla="*/ 334970 w 390048"/>
                <a:gd name="connsiteY8" fmla="*/ 155377 h 222885"/>
                <a:gd name="connsiteX9" fmla="*/ 370118 w 390048"/>
                <a:gd name="connsiteY9" fmla="*/ 113372 h 222885"/>
                <a:gd name="connsiteX10" fmla="*/ 374833 w 390048"/>
                <a:gd name="connsiteY10" fmla="*/ 85940 h 222885"/>
                <a:gd name="connsiteX11" fmla="*/ 309682 w 390048"/>
                <a:gd name="connsiteY11" fmla="*/ 85940 h 222885"/>
                <a:gd name="connsiteX12" fmla="*/ 247102 w 390048"/>
                <a:gd name="connsiteY12" fmla="*/ 148519 h 222885"/>
                <a:gd name="connsiteX13" fmla="*/ 248817 w 390048"/>
                <a:gd name="connsiteY13" fmla="*/ 159663 h 222885"/>
                <a:gd name="connsiteX14" fmla="*/ 205526 w 390048"/>
                <a:gd name="connsiteY14" fmla="*/ 202525 h 222885"/>
                <a:gd name="connsiteX15" fmla="*/ 162663 w 390048"/>
                <a:gd name="connsiteY15" fmla="*/ 159663 h 222885"/>
                <a:gd name="connsiteX16" fmla="*/ 205526 w 390048"/>
                <a:gd name="connsiteY16" fmla="*/ 116800 h 222885"/>
                <a:gd name="connsiteX17" fmla="*/ 220528 w 390048"/>
                <a:gd name="connsiteY17" fmla="*/ 119372 h 222885"/>
                <a:gd name="connsiteX18" fmla="*/ 286964 w 390048"/>
                <a:gd name="connsiteY18" fmla="*/ 52507 h 222885"/>
                <a:gd name="connsiteX19" fmla="*/ 292965 w 390048"/>
                <a:gd name="connsiteY19" fmla="*/ 46935 h 222885"/>
                <a:gd name="connsiteX20" fmla="*/ 380405 w 390048"/>
                <a:gd name="connsiteY20" fmla="*/ 46935 h 222885"/>
                <a:gd name="connsiteX21" fmla="*/ 387263 w 390048"/>
                <a:gd name="connsiteY21" fmla="*/ 3215 h 222885"/>
                <a:gd name="connsiteX22" fmla="*/ 43505 w 390048"/>
                <a:gd name="connsiteY22" fmla="*/ 3215 h 222885"/>
                <a:gd name="connsiteX23" fmla="*/ 3215 w 390048"/>
                <a:gd name="connsiteY23" fmla="*/ 43077 h 22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048" h="222885">
                  <a:moveTo>
                    <a:pt x="3215" y="43077"/>
                  </a:moveTo>
                  <a:cubicBezTo>
                    <a:pt x="8358" y="68366"/>
                    <a:pt x="13502" y="93655"/>
                    <a:pt x="18645" y="118943"/>
                  </a:cubicBezTo>
                  <a:cubicBezTo>
                    <a:pt x="25075" y="115086"/>
                    <a:pt x="32790" y="112514"/>
                    <a:pt x="41362" y="112514"/>
                  </a:cubicBezTo>
                  <a:cubicBezTo>
                    <a:pt x="64937" y="112514"/>
                    <a:pt x="84225" y="131374"/>
                    <a:pt x="84225" y="155377"/>
                  </a:cubicBezTo>
                  <a:cubicBezTo>
                    <a:pt x="84225" y="162235"/>
                    <a:pt x="82510" y="168664"/>
                    <a:pt x="79939" y="174236"/>
                  </a:cubicBezTo>
                  <a:lnTo>
                    <a:pt x="127516" y="221813"/>
                  </a:lnTo>
                  <a:lnTo>
                    <a:pt x="352115" y="221813"/>
                  </a:lnTo>
                  <a:cubicBezTo>
                    <a:pt x="353830" y="211955"/>
                    <a:pt x="355544" y="202525"/>
                    <a:pt x="356830" y="192667"/>
                  </a:cubicBezTo>
                  <a:cubicBezTo>
                    <a:pt x="343543" y="185380"/>
                    <a:pt x="334970" y="171236"/>
                    <a:pt x="334970" y="155377"/>
                  </a:cubicBezTo>
                  <a:cubicBezTo>
                    <a:pt x="334970" y="134374"/>
                    <a:pt x="349972" y="116800"/>
                    <a:pt x="370118" y="113372"/>
                  </a:cubicBezTo>
                  <a:cubicBezTo>
                    <a:pt x="371832" y="104371"/>
                    <a:pt x="373118" y="94941"/>
                    <a:pt x="374833" y="85940"/>
                  </a:cubicBezTo>
                  <a:lnTo>
                    <a:pt x="309682" y="85940"/>
                  </a:lnTo>
                  <a:lnTo>
                    <a:pt x="247102" y="148519"/>
                  </a:lnTo>
                  <a:cubicBezTo>
                    <a:pt x="247960" y="151948"/>
                    <a:pt x="248817" y="155806"/>
                    <a:pt x="248817" y="159663"/>
                  </a:cubicBezTo>
                  <a:cubicBezTo>
                    <a:pt x="248817" y="183237"/>
                    <a:pt x="229100" y="202525"/>
                    <a:pt x="205526" y="202525"/>
                  </a:cubicBezTo>
                  <a:cubicBezTo>
                    <a:pt x="181951" y="202525"/>
                    <a:pt x="162663" y="183666"/>
                    <a:pt x="162663" y="159663"/>
                  </a:cubicBezTo>
                  <a:cubicBezTo>
                    <a:pt x="162663" y="135660"/>
                    <a:pt x="181523" y="116800"/>
                    <a:pt x="205526" y="116800"/>
                  </a:cubicBezTo>
                  <a:cubicBezTo>
                    <a:pt x="210669" y="116800"/>
                    <a:pt x="216241" y="117658"/>
                    <a:pt x="220528" y="119372"/>
                  </a:cubicBezTo>
                  <a:lnTo>
                    <a:pt x="286964" y="52507"/>
                  </a:lnTo>
                  <a:lnTo>
                    <a:pt x="292965" y="46935"/>
                  </a:lnTo>
                  <a:lnTo>
                    <a:pt x="380405" y="46935"/>
                  </a:lnTo>
                  <a:cubicBezTo>
                    <a:pt x="382548" y="32361"/>
                    <a:pt x="385120" y="17788"/>
                    <a:pt x="387263" y="3215"/>
                  </a:cubicBezTo>
                  <a:lnTo>
                    <a:pt x="43505" y="3215"/>
                  </a:lnTo>
                  <a:lnTo>
                    <a:pt x="3215" y="43077"/>
                  </a:lnTo>
                  <a:close/>
                </a:path>
              </a:pathLst>
            </a:custGeom>
            <a:grpFill/>
            <a:ln w="9525" cap="flat">
              <a:noFill/>
              <a:prstDash val="solid"/>
              <a:miter/>
            </a:ln>
          </p:spPr>
          <p:txBody>
            <a:bodyPr rtlCol="0" anchor="ctr"/>
            <a:lstStyle/>
            <a:p>
              <a:endParaRPr lang="en-US"/>
            </a:p>
          </p:txBody>
        </p:sp>
        <p:sp>
          <p:nvSpPr>
            <p:cNvPr id="335" name="Freeform: Shape 112">
              <a:extLst>
                <a:ext uri="{FF2B5EF4-FFF2-40B4-BE49-F238E27FC236}">
                  <a16:creationId xmlns:a16="http://schemas.microsoft.com/office/drawing/2014/main" id="{0A269912-075B-3747-9B73-CEA3B13D6F6B}"/>
                </a:ext>
              </a:extLst>
            </p:cNvPr>
            <p:cNvSpPr/>
            <p:nvPr/>
          </p:nvSpPr>
          <p:spPr>
            <a:xfrm>
              <a:off x="5369266" y="6226850"/>
              <a:ext cx="300038" cy="411480"/>
            </a:xfrm>
            <a:custGeom>
              <a:avLst/>
              <a:gdLst>
                <a:gd name="connsiteX0" fmla="*/ 212812 w 300037"/>
                <a:gd name="connsiteY0" fmla="*/ 173379 h 411480"/>
                <a:gd name="connsiteX1" fmla="*/ 212812 w 300037"/>
                <a:gd name="connsiteY1" fmla="*/ 173379 h 411480"/>
                <a:gd name="connsiteX2" fmla="*/ 208526 w 300037"/>
                <a:gd name="connsiteY2" fmla="*/ 169092 h 411480"/>
                <a:gd name="connsiteX3" fmla="*/ 150662 w 300037"/>
                <a:gd name="connsiteY3" fmla="*/ 111657 h 411480"/>
                <a:gd name="connsiteX4" fmla="*/ 123658 w 300037"/>
                <a:gd name="connsiteY4" fmla="*/ 121515 h 411480"/>
                <a:gd name="connsiteX5" fmla="*/ 80796 w 300037"/>
                <a:gd name="connsiteY5" fmla="*/ 78653 h 411480"/>
                <a:gd name="connsiteX6" fmla="*/ 123658 w 300037"/>
                <a:gd name="connsiteY6" fmla="*/ 35362 h 411480"/>
                <a:gd name="connsiteX7" fmla="*/ 166521 w 300037"/>
                <a:gd name="connsiteY7" fmla="*/ 78653 h 411480"/>
                <a:gd name="connsiteX8" fmla="*/ 166092 w 300037"/>
                <a:gd name="connsiteY8" fmla="*/ 85082 h 411480"/>
                <a:gd name="connsiteX9" fmla="*/ 224814 w 300037"/>
                <a:gd name="connsiteY9" fmla="*/ 144232 h 411480"/>
                <a:gd name="connsiteX10" fmla="*/ 295966 w 300037"/>
                <a:gd name="connsiteY10" fmla="*/ 144232 h 411480"/>
                <a:gd name="connsiteX11" fmla="*/ 292965 w 300037"/>
                <a:gd name="connsiteY11" fmla="*/ 117657 h 411480"/>
                <a:gd name="connsiteX12" fmla="*/ 253103 w 300037"/>
                <a:gd name="connsiteY12" fmla="*/ 75224 h 411480"/>
                <a:gd name="connsiteX13" fmla="*/ 272391 w 300037"/>
                <a:gd name="connsiteY13" fmla="*/ 39219 h 411480"/>
                <a:gd name="connsiteX14" fmla="*/ 267248 w 300037"/>
                <a:gd name="connsiteY14" fmla="*/ 22931 h 411480"/>
                <a:gd name="connsiteX15" fmla="*/ 263819 w 300037"/>
                <a:gd name="connsiteY15" fmla="*/ 3215 h 411480"/>
                <a:gd name="connsiteX16" fmla="*/ 51649 w 300037"/>
                <a:gd name="connsiteY16" fmla="*/ 3215 h 411480"/>
                <a:gd name="connsiteX17" fmla="*/ 37933 w 300037"/>
                <a:gd name="connsiteY17" fmla="*/ 16930 h 411480"/>
                <a:gd name="connsiteX18" fmla="*/ 38362 w 300037"/>
                <a:gd name="connsiteY18" fmla="*/ 63651 h 411480"/>
                <a:gd name="connsiteX19" fmla="*/ 30647 w 300037"/>
                <a:gd name="connsiteY19" fmla="*/ 120230 h 411480"/>
                <a:gd name="connsiteX20" fmla="*/ 20788 w 300037"/>
                <a:gd name="connsiteY20" fmla="*/ 233815 h 411480"/>
                <a:gd name="connsiteX21" fmla="*/ 3215 w 300037"/>
                <a:gd name="connsiteY21" fmla="*/ 262104 h 411480"/>
                <a:gd name="connsiteX22" fmla="*/ 70509 w 300037"/>
                <a:gd name="connsiteY22" fmla="*/ 329398 h 411480"/>
                <a:gd name="connsiteX23" fmla="*/ 196525 w 300037"/>
                <a:gd name="connsiteY23" fmla="*/ 329398 h 411480"/>
                <a:gd name="connsiteX24" fmla="*/ 200811 w 300037"/>
                <a:gd name="connsiteY24" fmla="*/ 333684 h 411480"/>
                <a:gd name="connsiteX25" fmla="*/ 276249 w 300037"/>
                <a:gd name="connsiteY25" fmla="*/ 409122 h 411480"/>
                <a:gd name="connsiteX26" fmla="*/ 286536 w 300037"/>
                <a:gd name="connsiteY26" fmla="*/ 376975 h 411480"/>
                <a:gd name="connsiteX27" fmla="*/ 184523 w 300037"/>
                <a:gd name="connsiteY27" fmla="*/ 274963 h 411480"/>
                <a:gd name="connsiteX28" fmla="*/ 159234 w 300037"/>
                <a:gd name="connsiteY28" fmla="*/ 274963 h 411480"/>
                <a:gd name="connsiteX29" fmla="*/ 123658 w 300037"/>
                <a:gd name="connsiteY29" fmla="*/ 293823 h 411480"/>
                <a:gd name="connsiteX30" fmla="*/ 80796 w 300037"/>
                <a:gd name="connsiteY30" fmla="*/ 250960 h 411480"/>
                <a:gd name="connsiteX31" fmla="*/ 123658 w 300037"/>
                <a:gd name="connsiteY31" fmla="*/ 208098 h 411480"/>
                <a:gd name="connsiteX32" fmla="*/ 166092 w 300037"/>
                <a:gd name="connsiteY32" fmla="*/ 245388 h 411480"/>
                <a:gd name="connsiteX33" fmla="*/ 196525 w 300037"/>
                <a:gd name="connsiteY33" fmla="*/ 245388 h 411480"/>
                <a:gd name="connsiteX34" fmla="*/ 200811 w 300037"/>
                <a:gd name="connsiteY34" fmla="*/ 249674 h 411480"/>
                <a:gd name="connsiteX35" fmla="*/ 282678 w 300037"/>
                <a:gd name="connsiteY35" fmla="*/ 331541 h 411480"/>
                <a:gd name="connsiteX36" fmla="*/ 273677 w 300037"/>
                <a:gd name="connsiteY36" fmla="*/ 283964 h 411480"/>
                <a:gd name="connsiteX37" fmla="*/ 253103 w 300037"/>
                <a:gd name="connsiteY37" fmla="*/ 247531 h 411480"/>
                <a:gd name="connsiteX38" fmla="*/ 295537 w 300037"/>
                <a:gd name="connsiteY38" fmla="*/ 204240 h 411480"/>
                <a:gd name="connsiteX39" fmla="*/ 297680 w 300037"/>
                <a:gd name="connsiteY39" fmla="*/ 204240 h 411480"/>
                <a:gd name="connsiteX40" fmla="*/ 298537 w 300037"/>
                <a:gd name="connsiteY40" fmla="*/ 195239 h 411480"/>
                <a:gd name="connsiteX41" fmla="*/ 298109 w 300037"/>
                <a:gd name="connsiteY41" fmla="*/ 173808 h 411480"/>
                <a:gd name="connsiteX42" fmla="*/ 212812 w 300037"/>
                <a:gd name="connsiteY42" fmla="*/ 173808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0037" h="411480">
                  <a:moveTo>
                    <a:pt x="212812" y="173379"/>
                  </a:moveTo>
                  <a:lnTo>
                    <a:pt x="212812" y="173379"/>
                  </a:lnTo>
                  <a:lnTo>
                    <a:pt x="208526" y="169092"/>
                  </a:lnTo>
                  <a:lnTo>
                    <a:pt x="150662" y="111657"/>
                  </a:lnTo>
                  <a:cubicBezTo>
                    <a:pt x="143375" y="117657"/>
                    <a:pt x="133945" y="121515"/>
                    <a:pt x="123658" y="121515"/>
                  </a:cubicBezTo>
                  <a:cubicBezTo>
                    <a:pt x="100084" y="121515"/>
                    <a:pt x="80796" y="102655"/>
                    <a:pt x="80796" y="78653"/>
                  </a:cubicBezTo>
                  <a:cubicBezTo>
                    <a:pt x="80796" y="54650"/>
                    <a:pt x="99655" y="35362"/>
                    <a:pt x="123658" y="35362"/>
                  </a:cubicBezTo>
                  <a:cubicBezTo>
                    <a:pt x="147661" y="35362"/>
                    <a:pt x="166521" y="55078"/>
                    <a:pt x="166521" y="78653"/>
                  </a:cubicBezTo>
                  <a:cubicBezTo>
                    <a:pt x="166521" y="80796"/>
                    <a:pt x="166521" y="82939"/>
                    <a:pt x="166092" y="85082"/>
                  </a:cubicBezTo>
                  <a:lnTo>
                    <a:pt x="224814" y="144232"/>
                  </a:lnTo>
                  <a:lnTo>
                    <a:pt x="295966" y="144232"/>
                  </a:lnTo>
                  <a:cubicBezTo>
                    <a:pt x="295108" y="135231"/>
                    <a:pt x="293823" y="126230"/>
                    <a:pt x="292965" y="117657"/>
                  </a:cubicBezTo>
                  <a:cubicBezTo>
                    <a:pt x="270677" y="116372"/>
                    <a:pt x="253103" y="97941"/>
                    <a:pt x="253103" y="75224"/>
                  </a:cubicBezTo>
                  <a:cubicBezTo>
                    <a:pt x="253103" y="60222"/>
                    <a:pt x="260818" y="46934"/>
                    <a:pt x="272391" y="39219"/>
                  </a:cubicBezTo>
                  <a:cubicBezTo>
                    <a:pt x="270248" y="34075"/>
                    <a:pt x="268105" y="28932"/>
                    <a:pt x="267248" y="22931"/>
                  </a:cubicBezTo>
                  <a:cubicBezTo>
                    <a:pt x="265962" y="16502"/>
                    <a:pt x="265105" y="9644"/>
                    <a:pt x="263819" y="3215"/>
                  </a:cubicBezTo>
                  <a:lnTo>
                    <a:pt x="51649" y="3215"/>
                  </a:lnTo>
                  <a:lnTo>
                    <a:pt x="37933" y="16930"/>
                  </a:lnTo>
                  <a:cubicBezTo>
                    <a:pt x="38791" y="32361"/>
                    <a:pt x="39219" y="48220"/>
                    <a:pt x="38362" y="63651"/>
                  </a:cubicBezTo>
                  <a:cubicBezTo>
                    <a:pt x="37076" y="82510"/>
                    <a:pt x="29789" y="100941"/>
                    <a:pt x="30647" y="120230"/>
                  </a:cubicBezTo>
                  <a:cubicBezTo>
                    <a:pt x="31933" y="157948"/>
                    <a:pt x="35362" y="197811"/>
                    <a:pt x="20788" y="233815"/>
                  </a:cubicBezTo>
                  <a:cubicBezTo>
                    <a:pt x="16073" y="244102"/>
                    <a:pt x="10073" y="253103"/>
                    <a:pt x="3215" y="262104"/>
                  </a:cubicBezTo>
                  <a:lnTo>
                    <a:pt x="70509" y="329398"/>
                  </a:lnTo>
                  <a:lnTo>
                    <a:pt x="196525" y="329398"/>
                  </a:lnTo>
                  <a:lnTo>
                    <a:pt x="200811" y="333684"/>
                  </a:lnTo>
                  <a:lnTo>
                    <a:pt x="276249" y="409122"/>
                  </a:lnTo>
                  <a:cubicBezTo>
                    <a:pt x="281392" y="399264"/>
                    <a:pt x="284821" y="388120"/>
                    <a:pt x="286536" y="376975"/>
                  </a:cubicBezTo>
                  <a:lnTo>
                    <a:pt x="184523" y="274963"/>
                  </a:lnTo>
                  <a:lnTo>
                    <a:pt x="159234" y="274963"/>
                  </a:lnTo>
                  <a:cubicBezTo>
                    <a:pt x="151519" y="286536"/>
                    <a:pt x="138660" y="293823"/>
                    <a:pt x="123658" y="293823"/>
                  </a:cubicBezTo>
                  <a:cubicBezTo>
                    <a:pt x="100084" y="293823"/>
                    <a:pt x="80796" y="274535"/>
                    <a:pt x="80796" y="250960"/>
                  </a:cubicBezTo>
                  <a:cubicBezTo>
                    <a:pt x="80796" y="227386"/>
                    <a:pt x="99655" y="208098"/>
                    <a:pt x="123658" y="208098"/>
                  </a:cubicBezTo>
                  <a:cubicBezTo>
                    <a:pt x="145518" y="208098"/>
                    <a:pt x="163521" y="224385"/>
                    <a:pt x="166092" y="245388"/>
                  </a:cubicBezTo>
                  <a:lnTo>
                    <a:pt x="196525" y="245388"/>
                  </a:lnTo>
                  <a:lnTo>
                    <a:pt x="200811" y="249674"/>
                  </a:lnTo>
                  <a:lnTo>
                    <a:pt x="282678" y="331541"/>
                  </a:lnTo>
                  <a:cubicBezTo>
                    <a:pt x="279249" y="315682"/>
                    <a:pt x="275392" y="299823"/>
                    <a:pt x="273677" y="283964"/>
                  </a:cubicBezTo>
                  <a:cubicBezTo>
                    <a:pt x="261247" y="276678"/>
                    <a:pt x="253103" y="262961"/>
                    <a:pt x="253103" y="247531"/>
                  </a:cubicBezTo>
                  <a:cubicBezTo>
                    <a:pt x="253103" y="223957"/>
                    <a:pt x="271963" y="204240"/>
                    <a:pt x="295537" y="204240"/>
                  </a:cubicBezTo>
                  <a:cubicBezTo>
                    <a:pt x="296394" y="204240"/>
                    <a:pt x="297251" y="204240"/>
                    <a:pt x="297680" y="204240"/>
                  </a:cubicBezTo>
                  <a:cubicBezTo>
                    <a:pt x="298109" y="201239"/>
                    <a:pt x="298537" y="198239"/>
                    <a:pt x="298537" y="195239"/>
                  </a:cubicBezTo>
                  <a:cubicBezTo>
                    <a:pt x="298537" y="187952"/>
                    <a:pt x="298109" y="181094"/>
                    <a:pt x="298109" y="173808"/>
                  </a:cubicBezTo>
                  <a:lnTo>
                    <a:pt x="212812" y="173808"/>
                  </a:lnTo>
                  <a:close/>
                </a:path>
              </a:pathLst>
            </a:custGeom>
            <a:grpFill/>
            <a:ln w="9525" cap="flat">
              <a:noFill/>
              <a:prstDash val="solid"/>
              <a:miter/>
            </a:ln>
          </p:spPr>
          <p:txBody>
            <a:bodyPr rtlCol="0" anchor="ctr"/>
            <a:lstStyle/>
            <a:p>
              <a:endParaRPr lang="en-US"/>
            </a:p>
          </p:txBody>
        </p:sp>
        <p:sp>
          <p:nvSpPr>
            <p:cNvPr id="336" name="Freeform: Shape 113">
              <a:extLst>
                <a:ext uri="{FF2B5EF4-FFF2-40B4-BE49-F238E27FC236}">
                  <a16:creationId xmlns:a16="http://schemas.microsoft.com/office/drawing/2014/main" id="{1B2CE2B9-02CC-4A43-9D44-6753466CD955}"/>
                </a:ext>
              </a:extLst>
            </p:cNvPr>
            <p:cNvSpPr/>
            <p:nvPr/>
          </p:nvSpPr>
          <p:spPr>
            <a:xfrm>
              <a:off x="5250537" y="4992838"/>
              <a:ext cx="407194" cy="184309"/>
            </a:xfrm>
            <a:custGeom>
              <a:avLst/>
              <a:gdLst>
                <a:gd name="connsiteX0" fmla="*/ 9215 w 407193"/>
                <a:gd name="connsiteY0" fmla="*/ 99227 h 184308"/>
                <a:gd name="connsiteX1" fmla="*/ 9215 w 407193"/>
                <a:gd name="connsiteY1" fmla="*/ 99227 h 184308"/>
                <a:gd name="connsiteX2" fmla="*/ 3215 w 407193"/>
                <a:gd name="connsiteY2" fmla="*/ 184095 h 184308"/>
                <a:gd name="connsiteX3" fmla="*/ 273248 w 407193"/>
                <a:gd name="connsiteY3" fmla="*/ 184095 h 184308"/>
                <a:gd name="connsiteX4" fmla="*/ 359831 w 407193"/>
                <a:gd name="connsiteY4" fmla="*/ 97084 h 184308"/>
                <a:gd name="connsiteX5" fmla="*/ 362831 w 407193"/>
                <a:gd name="connsiteY5" fmla="*/ 94084 h 184308"/>
                <a:gd name="connsiteX6" fmla="*/ 391120 w 407193"/>
                <a:gd name="connsiteY6" fmla="*/ 94084 h 184308"/>
                <a:gd name="connsiteX7" fmla="*/ 389406 w 407193"/>
                <a:gd name="connsiteY7" fmla="*/ 83796 h 184308"/>
                <a:gd name="connsiteX8" fmla="*/ 388977 w 407193"/>
                <a:gd name="connsiteY8" fmla="*/ 67937 h 184308"/>
                <a:gd name="connsiteX9" fmla="*/ 379119 w 407193"/>
                <a:gd name="connsiteY9" fmla="*/ 67508 h 184308"/>
                <a:gd name="connsiteX10" fmla="*/ 363260 w 407193"/>
                <a:gd name="connsiteY10" fmla="*/ 66223 h 184308"/>
                <a:gd name="connsiteX11" fmla="*/ 348258 w 407193"/>
                <a:gd name="connsiteY11" fmla="*/ 73509 h 184308"/>
                <a:gd name="connsiteX12" fmla="*/ 323826 w 407193"/>
                <a:gd name="connsiteY12" fmla="*/ 99655 h 184308"/>
                <a:gd name="connsiteX13" fmla="*/ 295108 w 407193"/>
                <a:gd name="connsiteY13" fmla="*/ 141232 h 184308"/>
                <a:gd name="connsiteX14" fmla="*/ 289965 w 407193"/>
                <a:gd name="connsiteY14" fmla="*/ 145089 h 184308"/>
                <a:gd name="connsiteX15" fmla="*/ 253960 w 407193"/>
                <a:gd name="connsiteY15" fmla="*/ 164807 h 184308"/>
                <a:gd name="connsiteX16" fmla="*/ 211098 w 407193"/>
                <a:gd name="connsiteY16" fmla="*/ 121515 h 184308"/>
                <a:gd name="connsiteX17" fmla="*/ 253960 w 407193"/>
                <a:gd name="connsiteY17" fmla="*/ 78653 h 184308"/>
                <a:gd name="connsiteX18" fmla="*/ 293822 w 407193"/>
                <a:gd name="connsiteY18" fmla="*/ 106513 h 184308"/>
                <a:gd name="connsiteX19" fmla="*/ 307967 w 407193"/>
                <a:gd name="connsiteY19" fmla="*/ 87225 h 184308"/>
                <a:gd name="connsiteX20" fmla="*/ 335828 w 407193"/>
                <a:gd name="connsiteY20" fmla="*/ 58079 h 184308"/>
                <a:gd name="connsiteX21" fmla="*/ 368403 w 407193"/>
                <a:gd name="connsiteY21" fmla="*/ 46935 h 184308"/>
                <a:gd name="connsiteX22" fmla="*/ 379976 w 407193"/>
                <a:gd name="connsiteY22" fmla="*/ 47792 h 184308"/>
                <a:gd name="connsiteX23" fmla="*/ 392835 w 407193"/>
                <a:gd name="connsiteY23" fmla="*/ 48220 h 184308"/>
                <a:gd name="connsiteX24" fmla="*/ 396264 w 407193"/>
                <a:gd name="connsiteY24" fmla="*/ 35362 h 184308"/>
                <a:gd name="connsiteX25" fmla="*/ 223957 w 407193"/>
                <a:gd name="connsiteY25" fmla="*/ 35362 h 184308"/>
                <a:gd name="connsiteX26" fmla="*/ 130088 w 407193"/>
                <a:gd name="connsiteY26" fmla="*/ 129659 h 184308"/>
                <a:gd name="connsiteX27" fmla="*/ 88940 w 407193"/>
                <a:gd name="connsiteY27" fmla="*/ 160520 h 184308"/>
                <a:gd name="connsiteX28" fmla="*/ 45649 w 407193"/>
                <a:gd name="connsiteY28" fmla="*/ 117658 h 184308"/>
                <a:gd name="connsiteX29" fmla="*/ 88940 w 407193"/>
                <a:gd name="connsiteY29" fmla="*/ 74366 h 184308"/>
                <a:gd name="connsiteX30" fmla="*/ 129230 w 407193"/>
                <a:gd name="connsiteY30" fmla="*/ 102656 h 184308"/>
                <a:gd name="connsiteX31" fmla="*/ 213670 w 407193"/>
                <a:gd name="connsiteY31" fmla="*/ 18645 h 184308"/>
                <a:gd name="connsiteX32" fmla="*/ 216670 w 407193"/>
                <a:gd name="connsiteY32" fmla="*/ 15645 h 184308"/>
                <a:gd name="connsiteX33" fmla="*/ 401836 w 407193"/>
                <a:gd name="connsiteY33" fmla="*/ 15645 h 184308"/>
                <a:gd name="connsiteX34" fmla="*/ 405265 w 407193"/>
                <a:gd name="connsiteY34" fmla="*/ 3215 h 184308"/>
                <a:gd name="connsiteX35" fmla="*/ 202097 w 407193"/>
                <a:gd name="connsiteY35" fmla="*/ 3215 h 184308"/>
                <a:gd name="connsiteX36" fmla="*/ 146375 w 407193"/>
                <a:gd name="connsiteY36" fmla="*/ 35362 h 184308"/>
                <a:gd name="connsiteX37" fmla="*/ 141661 w 407193"/>
                <a:gd name="connsiteY37" fmla="*/ 38362 h 184308"/>
                <a:gd name="connsiteX38" fmla="*/ 18217 w 407193"/>
                <a:gd name="connsiteY38" fmla="*/ 38362 h 184308"/>
                <a:gd name="connsiteX39" fmla="*/ 10073 w 407193"/>
                <a:gd name="connsiteY39" fmla="*/ 46506 h 184308"/>
                <a:gd name="connsiteX40" fmla="*/ 9215 w 407193"/>
                <a:gd name="connsiteY40" fmla="*/ 99227 h 18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7193" h="184308">
                  <a:moveTo>
                    <a:pt x="9215" y="99227"/>
                  </a:moveTo>
                  <a:lnTo>
                    <a:pt x="9215" y="99227"/>
                  </a:lnTo>
                  <a:cubicBezTo>
                    <a:pt x="8358" y="127516"/>
                    <a:pt x="6215" y="155805"/>
                    <a:pt x="3215" y="184095"/>
                  </a:cubicBezTo>
                  <a:lnTo>
                    <a:pt x="273248" y="184095"/>
                  </a:lnTo>
                  <a:lnTo>
                    <a:pt x="359831" y="97084"/>
                  </a:lnTo>
                  <a:lnTo>
                    <a:pt x="362831" y="94084"/>
                  </a:lnTo>
                  <a:lnTo>
                    <a:pt x="391120" y="94084"/>
                  </a:lnTo>
                  <a:cubicBezTo>
                    <a:pt x="390692" y="90654"/>
                    <a:pt x="390263" y="87225"/>
                    <a:pt x="389406" y="83796"/>
                  </a:cubicBezTo>
                  <a:cubicBezTo>
                    <a:pt x="388549" y="78653"/>
                    <a:pt x="388549" y="73081"/>
                    <a:pt x="388977" y="67937"/>
                  </a:cubicBezTo>
                  <a:cubicBezTo>
                    <a:pt x="385120" y="67937"/>
                    <a:pt x="382119" y="67508"/>
                    <a:pt x="379119" y="67508"/>
                  </a:cubicBezTo>
                  <a:cubicBezTo>
                    <a:pt x="371832" y="67080"/>
                    <a:pt x="367975" y="67508"/>
                    <a:pt x="363260" y="66223"/>
                  </a:cubicBezTo>
                  <a:cubicBezTo>
                    <a:pt x="361974" y="65794"/>
                    <a:pt x="355973" y="67080"/>
                    <a:pt x="348258" y="73509"/>
                  </a:cubicBezTo>
                  <a:cubicBezTo>
                    <a:pt x="340543" y="79939"/>
                    <a:pt x="331542" y="89797"/>
                    <a:pt x="323826" y="99655"/>
                  </a:cubicBezTo>
                  <a:cubicBezTo>
                    <a:pt x="307967" y="119801"/>
                    <a:pt x="295108" y="141232"/>
                    <a:pt x="295108" y="141232"/>
                  </a:cubicBezTo>
                  <a:cubicBezTo>
                    <a:pt x="293822" y="142946"/>
                    <a:pt x="292108" y="144232"/>
                    <a:pt x="289965" y="145089"/>
                  </a:cubicBezTo>
                  <a:cubicBezTo>
                    <a:pt x="282250" y="157091"/>
                    <a:pt x="268962" y="164807"/>
                    <a:pt x="253960" y="164807"/>
                  </a:cubicBezTo>
                  <a:cubicBezTo>
                    <a:pt x="230386" y="164807"/>
                    <a:pt x="211098" y="145519"/>
                    <a:pt x="211098" y="121515"/>
                  </a:cubicBezTo>
                  <a:cubicBezTo>
                    <a:pt x="211098" y="97512"/>
                    <a:pt x="230386" y="78653"/>
                    <a:pt x="253960" y="78653"/>
                  </a:cubicBezTo>
                  <a:cubicBezTo>
                    <a:pt x="272391" y="78653"/>
                    <a:pt x="287822" y="90226"/>
                    <a:pt x="293822" y="106513"/>
                  </a:cubicBezTo>
                  <a:cubicBezTo>
                    <a:pt x="298109" y="100513"/>
                    <a:pt x="302824" y="93654"/>
                    <a:pt x="307967" y="87225"/>
                  </a:cubicBezTo>
                  <a:cubicBezTo>
                    <a:pt x="316540" y="76509"/>
                    <a:pt x="325969" y="65794"/>
                    <a:pt x="335828" y="58079"/>
                  </a:cubicBezTo>
                  <a:cubicBezTo>
                    <a:pt x="345686" y="50363"/>
                    <a:pt x="356402" y="43506"/>
                    <a:pt x="368403" y="46935"/>
                  </a:cubicBezTo>
                  <a:cubicBezTo>
                    <a:pt x="367117" y="46506"/>
                    <a:pt x="373118" y="47363"/>
                    <a:pt x="379976" y="47792"/>
                  </a:cubicBezTo>
                  <a:cubicBezTo>
                    <a:pt x="383834" y="47792"/>
                    <a:pt x="388120" y="48220"/>
                    <a:pt x="392835" y="48220"/>
                  </a:cubicBezTo>
                  <a:cubicBezTo>
                    <a:pt x="394121" y="43934"/>
                    <a:pt x="395407" y="39648"/>
                    <a:pt x="396264" y="35362"/>
                  </a:cubicBezTo>
                  <a:lnTo>
                    <a:pt x="223957" y="35362"/>
                  </a:lnTo>
                  <a:lnTo>
                    <a:pt x="130088" y="129659"/>
                  </a:lnTo>
                  <a:cubicBezTo>
                    <a:pt x="124944" y="147662"/>
                    <a:pt x="108228" y="160520"/>
                    <a:pt x="88940" y="160520"/>
                  </a:cubicBezTo>
                  <a:cubicBezTo>
                    <a:pt x="65365" y="160520"/>
                    <a:pt x="45649" y="141661"/>
                    <a:pt x="45649" y="117658"/>
                  </a:cubicBezTo>
                  <a:cubicBezTo>
                    <a:pt x="45649" y="93654"/>
                    <a:pt x="64937" y="74366"/>
                    <a:pt x="88940" y="74366"/>
                  </a:cubicBezTo>
                  <a:cubicBezTo>
                    <a:pt x="107371" y="74366"/>
                    <a:pt x="123230" y="86368"/>
                    <a:pt x="129230" y="102656"/>
                  </a:cubicBezTo>
                  <a:lnTo>
                    <a:pt x="213670" y="18645"/>
                  </a:lnTo>
                  <a:lnTo>
                    <a:pt x="216670" y="15645"/>
                  </a:lnTo>
                  <a:lnTo>
                    <a:pt x="401836" y="15645"/>
                  </a:lnTo>
                  <a:cubicBezTo>
                    <a:pt x="403122" y="11359"/>
                    <a:pt x="403979" y="7501"/>
                    <a:pt x="405265" y="3215"/>
                  </a:cubicBezTo>
                  <a:lnTo>
                    <a:pt x="202097" y="3215"/>
                  </a:lnTo>
                  <a:lnTo>
                    <a:pt x="146375" y="35362"/>
                  </a:lnTo>
                  <a:lnTo>
                    <a:pt x="141661" y="38362"/>
                  </a:lnTo>
                  <a:lnTo>
                    <a:pt x="18217" y="38362"/>
                  </a:lnTo>
                  <a:lnTo>
                    <a:pt x="10073" y="46506"/>
                  </a:lnTo>
                  <a:cubicBezTo>
                    <a:pt x="10073" y="64508"/>
                    <a:pt x="9644" y="81653"/>
                    <a:pt x="9215" y="99227"/>
                  </a:cubicBezTo>
                  <a:close/>
                </a:path>
              </a:pathLst>
            </a:custGeom>
            <a:grpFill/>
            <a:ln w="9525" cap="flat">
              <a:noFill/>
              <a:prstDash val="solid"/>
              <a:miter/>
            </a:ln>
          </p:spPr>
          <p:txBody>
            <a:bodyPr rtlCol="0" anchor="ctr"/>
            <a:lstStyle/>
            <a:p>
              <a:endParaRPr lang="en-US"/>
            </a:p>
          </p:txBody>
        </p:sp>
        <p:sp>
          <p:nvSpPr>
            <p:cNvPr id="337" name="Freeform: Shape 114">
              <a:extLst>
                <a:ext uri="{FF2B5EF4-FFF2-40B4-BE49-F238E27FC236}">
                  <a16:creationId xmlns:a16="http://schemas.microsoft.com/office/drawing/2014/main" id="{3CA3A039-5DA9-264D-BF3C-DE81A8C9431D}"/>
                </a:ext>
              </a:extLst>
            </p:cNvPr>
            <p:cNvSpPr/>
            <p:nvPr/>
          </p:nvSpPr>
          <p:spPr>
            <a:xfrm>
              <a:off x="5262539" y="4611362"/>
              <a:ext cx="437198" cy="235744"/>
            </a:xfrm>
            <a:custGeom>
              <a:avLst/>
              <a:gdLst>
                <a:gd name="connsiteX0" fmla="*/ 267248 w 437197"/>
                <a:gd name="connsiteY0" fmla="*/ 84653 h 235743"/>
                <a:gd name="connsiteX1" fmla="*/ 267248 w 437197"/>
                <a:gd name="connsiteY1" fmla="*/ 84653 h 235743"/>
                <a:gd name="connsiteX2" fmla="*/ 264676 w 437197"/>
                <a:gd name="connsiteY2" fmla="*/ 87654 h 235743"/>
                <a:gd name="connsiteX3" fmla="*/ 4072 w 437197"/>
                <a:gd name="connsiteY3" fmla="*/ 87654 h 235743"/>
                <a:gd name="connsiteX4" fmla="*/ 3215 w 437197"/>
                <a:gd name="connsiteY4" fmla="*/ 234244 h 235743"/>
                <a:gd name="connsiteX5" fmla="*/ 270677 w 437197"/>
                <a:gd name="connsiteY5" fmla="*/ 234244 h 235743"/>
                <a:gd name="connsiteX6" fmla="*/ 319969 w 437197"/>
                <a:gd name="connsiteY6" fmla="*/ 185380 h 235743"/>
                <a:gd name="connsiteX7" fmla="*/ 319969 w 437197"/>
                <a:gd name="connsiteY7" fmla="*/ 117658 h 235743"/>
                <a:gd name="connsiteX8" fmla="*/ 321254 w 437197"/>
                <a:gd name="connsiteY8" fmla="*/ 115515 h 235743"/>
                <a:gd name="connsiteX9" fmla="*/ 349972 w 437197"/>
                <a:gd name="connsiteY9" fmla="*/ 65365 h 235743"/>
                <a:gd name="connsiteX10" fmla="*/ 352973 w 437197"/>
                <a:gd name="connsiteY10" fmla="*/ 60651 h 235743"/>
                <a:gd name="connsiteX11" fmla="*/ 430554 w 437197"/>
                <a:gd name="connsiteY11" fmla="*/ 60651 h 235743"/>
                <a:gd name="connsiteX12" fmla="*/ 431411 w 437197"/>
                <a:gd name="connsiteY12" fmla="*/ 50363 h 235743"/>
                <a:gd name="connsiteX13" fmla="*/ 433126 w 437197"/>
                <a:gd name="connsiteY13" fmla="*/ 33218 h 235743"/>
                <a:gd name="connsiteX14" fmla="*/ 368832 w 437197"/>
                <a:gd name="connsiteY14" fmla="*/ 33218 h 235743"/>
                <a:gd name="connsiteX15" fmla="*/ 271105 w 437197"/>
                <a:gd name="connsiteY15" fmla="*/ 136088 h 235743"/>
                <a:gd name="connsiteX16" fmla="*/ 277535 w 437197"/>
                <a:gd name="connsiteY16" fmla="*/ 159234 h 235743"/>
                <a:gd name="connsiteX17" fmla="*/ 234672 w 437197"/>
                <a:gd name="connsiteY17" fmla="*/ 202097 h 235743"/>
                <a:gd name="connsiteX18" fmla="*/ 191810 w 437197"/>
                <a:gd name="connsiteY18" fmla="*/ 159234 h 235743"/>
                <a:gd name="connsiteX19" fmla="*/ 234672 w 437197"/>
                <a:gd name="connsiteY19" fmla="*/ 116372 h 235743"/>
                <a:gd name="connsiteX20" fmla="*/ 256961 w 437197"/>
                <a:gd name="connsiteY20" fmla="*/ 122373 h 235743"/>
                <a:gd name="connsiteX21" fmla="*/ 358116 w 437197"/>
                <a:gd name="connsiteY21" fmla="*/ 16502 h 235743"/>
                <a:gd name="connsiteX22" fmla="*/ 360688 w 437197"/>
                <a:gd name="connsiteY22" fmla="*/ 13502 h 235743"/>
                <a:gd name="connsiteX23" fmla="*/ 435697 w 437197"/>
                <a:gd name="connsiteY23" fmla="*/ 13502 h 235743"/>
                <a:gd name="connsiteX24" fmla="*/ 437412 w 437197"/>
                <a:gd name="connsiteY24" fmla="*/ 3215 h 235743"/>
                <a:gd name="connsiteX25" fmla="*/ 348258 w 437197"/>
                <a:gd name="connsiteY25" fmla="*/ 3215 h 235743"/>
                <a:gd name="connsiteX26" fmla="*/ 267248 w 437197"/>
                <a:gd name="connsiteY26" fmla="*/ 84653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7197" h="235743">
                  <a:moveTo>
                    <a:pt x="267248" y="84653"/>
                  </a:moveTo>
                  <a:lnTo>
                    <a:pt x="267248" y="84653"/>
                  </a:lnTo>
                  <a:lnTo>
                    <a:pt x="264676" y="87654"/>
                  </a:lnTo>
                  <a:lnTo>
                    <a:pt x="4072" y="87654"/>
                  </a:lnTo>
                  <a:cubicBezTo>
                    <a:pt x="4501" y="136517"/>
                    <a:pt x="4072" y="185380"/>
                    <a:pt x="3215" y="234244"/>
                  </a:cubicBezTo>
                  <a:lnTo>
                    <a:pt x="270677" y="234244"/>
                  </a:lnTo>
                  <a:lnTo>
                    <a:pt x="319969" y="185380"/>
                  </a:lnTo>
                  <a:lnTo>
                    <a:pt x="319969" y="117658"/>
                  </a:lnTo>
                  <a:lnTo>
                    <a:pt x="321254" y="115515"/>
                  </a:lnTo>
                  <a:lnTo>
                    <a:pt x="349972" y="65365"/>
                  </a:lnTo>
                  <a:lnTo>
                    <a:pt x="352973" y="60651"/>
                  </a:lnTo>
                  <a:lnTo>
                    <a:pt x="430554" y="60651"/>
                  </a:lnTo>
                  <a:cubicBezTo>
                    <a:pt x="430983" y="57221"/>
                    <a:pt x="430983" y="53793"/>
                    <a:pt x="431411" y="50363"/>
                  </a:cubicBezTo>
                  <a:cubicBezTo>
                    <a:pt x="431840" y="44792"/>
                    <a:pt x="432697" y="39219"/>
                    <a:pt x="433126" y="33218"/>
                  </a:cubicBezTo>
                  <a:lnTo>
                    <a:pt x="368832" y="33218"/>
                  </a:lnTo>
                  <a:lnTo>
                    <a:pt x="271105" y="136088"/>
                  </a:lnTo>
                  <a:cubicBezTo>
                    <a:pt x="275392" y="142946"/>
                    <a:pt x="277535" y="150662"/>
                    <a:pt x="277535" y="159234"/>
                  </a:cubicBezTo>
                  <a:cubicBezTo>
                    <a:pt x="277535" y="182809"/>
                    <a:pt x="258675" y="202097"/>
                    <a:pt x="234672" y="202097"/>
                  </a:cubicBezTo>
                  <a:cubicBezTo>
                    <a:pt x="210669" y="202097"/>
                    <a:pt x="191810" y="182809"/>
                    <a:pt x="191810" y="159234"/>
                  </a:cubicBezTo>
                  <a:cubicBezTo>
                    <a:pt x="191810" y="135660"/>
                    <a:pt x="210669" y="116372"/>
                    <a:pt x="234672" y="116372"/>
                  </a:cubicBezTo>
                  <a:cubicBezTo>
                    <a:pt x="242816" y="116372"/>
                    <a:pt x="250531" y="118515"/>
                    <a:pt x="256961" y="122373"/>
                  </a:cubicBezTo>
                  <a:lnTo>
                    <a:pt x="358116" y="16502"/>
                  </a:lnTo>
                  <a:lnTo>
                    <a:pt x="360688" y="13502"/>
                  </a:lnTo>
                  <a:lnTo>
                    <a:pt x="435697" y="13502"/>
                  </a:lnTo>
                  <a:cubicBezTo>
                    <a:pt x="436126" y="10073"/>
                    <a:pt x="436555" y="6644"/>
                    <a:pt x="437412" y="3215"/>
                  </a:cubicBezTo>
                  <a:lnTo>
                    <a:pt x="348258" y="3215"/>
                  </a:lnTo>
                  <a:lnTo>
                    <a:pt x="267248" y="84653"/>
                  </a:lnTo>
                  <a:close/>
                </a:path>
              </a:pathLst>
            </a:custGeom>
            <a:grpFill/>
            <a:ln w="9525" cap="flat">
              <a:noFill/>
              <a:prstDash val="solid"/>
              <a:miter/>
            </a:ln>
          </p:spPr>
          <p:txBody>
            <a:bodyPr rtlCol="0" anchor="ctr"/>
            <a:lstStyle/>
            <a:p>
              <a:endParaRPr lang="en-US"/>
            </a:p>
          </p:txBody>
        </p:sp>
        <p:sp>
          <p:nvSpPr>
            <p:cNvPr id="338" name="Freeform: Shape 115">
              <a:extLst>
                <a:ext uri="{FF2B5EF4-FFF2-40B4-BE49-F238E27FC236}">
                  <a16:creationId xmlns:a16="http://schemas.microsoft.com/office/drawing/2014/main" id="{BC28B5B0-C9FE-9B41-80DE-B2522C9E7EE3}"/>
                </a:ext>
              </a:extLst>
            </p:cNvPr>
            <p:cNvSpPr/>
            <p:nvPr/>
          </p:nvSpPr>
          <p:spPr>
            <a:xfrm>
              <a:off x="5224391" y="4300609"/>
              <a:ext cx="510064" cy="381476"/>
            </a:xfrm>
            <a:custGeom>
              <a:avLst/>
              <a:gdLst>
                <a:gd name="connsiteX0" fmla="*/ 291679 w 510063"/>
                <a:gd name="connsiteY0" fmla="*/ 129659 h 381476"/>
                <a:gd name="connsiteX1" fmla="*/ 291679 w 510063"/>
                <a:gd name="connsiteY1" fmla="*/ 129659 h 381476"/>
                <a:gd name="connsiteX2" fmla="*/ 288679 w 510063"/>
                <a:gd name="connsiteY2" fmla="*/ 132231 h 381476"/>
                <a:gd name="connsiteX3" fmla="*/ 3215 w 510063"/>
                <a:gd name="connsiteY3" fmla="*/ 132231 h 381476"/>
                <a:gd name="connsiteX4" fmla="*/ 24217 w 510063"/>
                <a:gd name="connsiteY4" fmla="*/ 196954 h 381476"/>
                <a:gd name="connsiteX5" fmla="*/ 41791 w 510063"/>
                <a:gd name="connsiteY5" fmla="*/ 364117 h 381476"/>
                <a:gd name="connsiteX6" fmla="*/ 41791 w 510063"/>
                <a:gd name="connsiteY6" fmla="*/ 378690 h 381476"/>
                <a:gd name="connsiteX7" fmla="*/ 294251 w 510063"/>
                <a:gd name="connsiteY7" fmla="*/ 378690 h 381476"/>
                <a:gd name="connsiteX8" fmla="*/ 375690 w 510063"/>
                <a:gd name="connsiteY8" fmla="*/ 297680 h 381476"/>
                <a:gd name="connsiteX9" fmla="*/ 378690 w 510063"/>
                <a:gd name="connsiteY9" fmla="*/ 294680 h 381476"/>
                <a:gd name="connsiteX10" fmla="*/ 478989 w 510063"/>
                <a:gd name="connsiteY10" fmla="*/ 294680 h 381476"/>
                <a:gd name="connsiteX11" fmla="*/ 490133 w 510063"/>
                <a:gd name="connsiteY11" fmla="*/ 215813 h 381476"/>
                <a:gd name="connsiteX12" fmla="*/ 454128 w 510063"/>
                <a:gd name="connsiteY12" fmla="*/ 252246 h 381476"/>
                <a:gd name="connsiteX13" fmla="*/ 451128 w 510063"/>
                <a:gd name="connsiteY13" fmla="*/ 255246 h 381476"/>
                <a:gd name="connsiteX14" fmla="*/ 286965 w 510063"/>
                <a:gd name="connsiteY14" fmla="*/ 255246 h 381476"/>
                <a:gd name="connsiteX15" fmla="*/ 286965 w 510063"/>
                <a:gd name="connsiteY15" fmla="*/ 261247 h 381476"/>
                <a:gd name="connsiteX16" fmla="*/ 317397 w 510063"/>
                <a:gd name="connsiteY16" fmla="*/ 301967 h 381476"/>
                <a:gd name="connsiteX17" fmla="*/ 274534 w 510063"/>
                <a:gd name="connsiteY17" fmla="*/ 345258 h 381476"/>
                <a:gd name="connsiteX18" fmla="*/ 231672 w 510063"/>
                <a:gd name="connsiteY18" fmla="*/ 301967 h 381476"/>
                <a:gd name="connsiteX19" fmla="*/ 267248 w 510063"/>
                <a:gd name="connsiteY19" fmla="*/ 259961 h 381476"/>
                <a:gd name="connsiteX20" fmla="*/ 267248 w 510063"/>
                <a:gd name="connsiteY20" fmla="*/ 235958 h 381476"/>
                <a:gd name="connsiteX21" fmla="*/ 442984 w 510063"/>
                <a:gd name="connsiteY21" fmla="*/ 235958 h 381476"/>
                <a:gd name="connsiteX22" fmla="*/ 493133 w 510063"/>
                <a:gd name="connsiteY22" fmla="*/ 185809 h 381476"/>
                <a:gd name="connsiteX23" fmla="*/ 498705 w 510063"/>
                <a:gd name="connsiteY23" fmla="*/ 119801 h 381476"/>
                <a:gd name="connsiteX24" fmla="*/ 493562 w 510063"/>
                <a:gd name="connsiteY24" fmla="*/ 119801 h 381476"/>
                <a:gd name="connsiteX25" fmla="*/ 493990 w 510063"/>
                <a:gd name="connsiteY25" fmla="*/ 123658 h 381476"/>
                <a:gd name="connsiteX26" fmla="*/ 451128 w 510063"/>
                <a:gd name="connsiteY26" fmla="*/ 166950 h 381476"/>
                <a:gd name="connsiteX27" fmla="*/ 407837 w 510063"/>
                <a:gd name="connsiteY27" fmla="*/ 123658 h 381476"/>
                <a:gd name="connsiteX28" fmla="*/ 451128 w 510063"/>
                <a:gd name="connsiteY28" fmla="*/ 80796 h 381476"/>
                <a:gd name="connsiteX29" fmla="*/ 486704 w 510063"/>
                <a:gd name="connsiteY29" fmla="*/ 100084 h 381476"/>
                <a:gd name="connsiteX30" fmla="*/ 500420 w 510063"/>
                <a:gd name="connsiteY30" fmla="*/ 100084 h 381476"/>
                <a:gd name="connsiteX31" fmla="*/ 504706 w 510063"/>
                <a:gd name="connsiteY31" fmla="*/ 43077 h 381476"/>
                <a:gd name="connsiteX32" fmla="*/ 432697 w 510063"/>
                <a:gd name="connsiteY32" fmla="*/ 43077 h 381476"/>
                <a:gd name="connsiteX33" fmla="*/ 385120 w 510063"/>
                <a:gd name="connsiteY33" fmla="*/ 90654 h 381476"/>
                <a:gd name="connsiteX34" fmla="*/ 385120 w 510063"/>
                <a:gd name="connsiteY34" fmla="*/ 231244 h 381476"/>
                <a:gd name="connsiteX35" fmla="*/ 200811 w 510063"/>
                <a:gd name="connsiteY35" fmla="*/ 231244 h 381476"/>
                <a:gd name="connsiteX36" fmla="*/ 151948 w 510063"/>
                <a:gd name="connsiteY36" fmla="*/ 280106 h 381476"/>
                <a:gd name="connsiteX37" fmla="*/ 158377 w 510063"/>
                <a:gd name="connsiteY37" fmla="*/ 302395 h 381476"/>
                <a:gd name="connsiteX38" fmla="*/ 115086 w 510063"/>
                <a:gd name="connsiteY38" fmla="*/ 345686 h 381476"/>
                <a:gd name="connsiteX39" fmla="*/ 71795 w 510063"/>
                <a:gd name="connsiteY39" fmla="*/ 302395 h 381476"/>
                <a:gd name="connsiteX40" fmla="*/ 115086 w 510063"/>
                <a:gd name="connsiteY40" fmla="*/ 259104 h 381476"/>
                <a:gd name="connsiteX41" fmla="*/ 137803 w 510063"/>
                <a:gd name="connsiteY41" fmla="*/ 265962 h 381476"/>
                <a:gd name="connsiteX42" fmla="*/ 189238 w 510063"/>
                <a:gd name="connsiteY42" fmla="*/ 214527 h 381476"/>
                <a:gd name="connsiteX43" fmla="*/ 192238 w 510063"/>
                <a:gd name="connsiteY43" fmla="*/ 211526 h 381476"/>
                <a:gd name="connsiteX44" fmla="*/ 365832 w 510063"/>
                <a:gd name="connsiteY44" fmla="*/ 211526 h 381476"/>
                <a:gd name="connsiteX45" fmla="*/ 365832 w 510063"/>
                <a:gd name="connsiteY45" fmla="*/ 82082 h 381476"/>
                <a:gd name="connsiteX46" fmla="*/ 368832 w 510063"/>
                <a:gd name="connsiteY46" fmla="*/ 79081 h 381476"/>
                <a:gd name="connsiteX47" fmla="*/ 421553 w 510063"/>
                <a:gd name="connsiteY47" fmla="*/ 26361 h 381476"/>
                <a:gd name="connsiteX48" fmla="*/ 424553 w 510063"/>
                <a:gd name="connsiteY48" fmla="*/ 23360 h 381476"/>
                <a:gd name="connsiteX49" fmla="*/ 506420 w 510063"/>
                <a:gd name="connsiteY49" fmla="*/ 23360 h 381476"/>
                <a:gd name="connsiteX50" fmla="*/ 508135 w 510063"/>
                <a:gd name="connsiteY50" fmla="*/ 3215 h 381476"/>
                <a:gd name="connsiteX51" fmla="*/ 417695 w 510063"/>
                <a:gd name="connsiteY51" fmla="*/ 3215 h 381476"/>
                <a:gd name="connsiteX52" fmla="*/ 291679 w 510063"/>
                <a:gd name="connsiteY52" fmla="*/ 129659 h 38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0063" h="381476">
                  <a:moveTo>
                    <a:pt x="291679" y="129659"/>
                  </a:moveTo>
                  <a:lnTo>
                    <a:pt x="291679" y="129659"/>
                  </a:lnTo>
                  <a:lnTo>
                    <a:pt x="288679" y="132231"/>
                  </a:lnTo>
                  <a:lnTo>
                    <a:pt x="3215" y="132231"/>
                  </a:lnTo>
                  <a:cubicBezTo>
                    <a:pt x="11359" y="153662"/>
                    <a:pt x="18645" y="175093"/>
                    <a:pt x="24217" y="196954"/>
                  </a:cubicBezTo>
                  <a:cubicBezTo>
                    <a:pt x="40076" y="251389"/>
                    <a:pt x="40505" y="307967"/>
                    <a:pt x="41791" y="364117"/>
                  </a:cubicBezTo>
                  <a:cubicBezTo>
                    <a:pt x="41791" y="368832"/>
                    <a:pt x="41791" y="373975"/>
                    <a:pt x="41791" y="378690"/>
                  </a:cubicBezTo>
                  <a:lnTo>
                    <a:pt x="294251" y="378690"/>
                  </a:lnTo>
                  <a:lnTo>
                    <a:pt x="375690" y="297680"/>
                  </a:lnTo>
                  <a:lnTo>
                    <a:pt x="378690" y="294680"/>
                  </a:lnTo>
                  <a:lnTo>
                    <a:pt x="478989" y="294680"/>
                  </a:lnTo>
                  <a:cubicBezTo>
                    <a:pt x="483275" y="268534"/>
                    <a:pt x="487561" y="242388"/>
                    <a:pt x="490133" y="215813"/>
                  </a:cubicBezTo>
                  <a:lnTo>
                    <a:pt x="454128" y="252246"/>
                  </a:lnTo>
                  <a:lnTo>
                    <a:pt x="451128" y="255246"/>
                  </a:lnTo>
                  <a:lnTo>
                    <a:pt x="286965" y="255246"/>
                  </a:lnTo>
                  <a:lnTo>
                    <a:pt x="286965" y="261247"/>
                  </a:lnTo>
                  <a:cubicBezTo>
                    <a:pt x="304538" y="266819"/>
                    <a:pt x="317397" y="282679"/>
                    <a:pt x="317397" y="301967"/>
                  </a:cubicBezTo>
                  <a:cubicBezTo>
                    <a:pt x="317397" y="325541"/>
                    <a:pt x="298537" y="345258"/>
                    <a:pt x="274534" y="345258"/>
                  </a:cubicBezTo>
                  <a:cubicBezTo>
                    <a:pt x="250531" y="345258"/>
                    <a:pt x="231672" y="325970"/>
                    <a:pt x="231672" y="301967"/>
                  </a:cubicBezTo>
                  <a:cubicBezTo>
                    <a:pt x="231672" y="280964"/>
                    <a:pt x="247102" y="263390"/>
                    <a:pt x="267248" y="259961"/>
                  </a:cubicBezTo>
                  <a:lnTo>
                    <a:pt x="267248" y="235958"/>
                  </a:lnTo>
                  <a:lnTo>
                    <a:pt x="442984" y="235958"/>
                  </a:lnTo>
                  <a:lnTo>
                    <a:pt x="493133" y="185809"/>
                  </a:lnTo>
                  <a:cubicBezTo>
                    <a:pt x="495276" y="163949"/>
                    <a:pt x="496991" y="141661"/>
                    <a:pt x="498705" y="119801"/>
                  </a:cubicBezTo>
                  <a:lnTo>
                    <a:pt x="493562" y="119801"/>
                  </a:lnTo>
                  <a:cubicBezTo>
                    <a:pt x="493562" y="121087"/>
                    <a:pt x="493990" y="122373"/>
                    <a:pt x="493990" y="123658"/>
                  </a:cubicBezTo>
                  <a:cubicBezTo>
                    <a:pt x="493990" y="147233"/>
                    <a:pt x="474702" y="166950"/>
                    <a:pt x="451128" y="166950"/>
                  </a:cubicBezTo>
                  <a:cubicBezTo>
                    <a:pt x="427554" y="166950"/>
                    <a:pt x="407837" y="147662"/>
                    <a:pt x="407837" y="123658"/>
                  </a:cubicBezTo>
                  <a:cubicBezTo>
                    <a:pt x="407837" y="100084"/>
                    <a:pt x="427554" y="80796"/>
                    <a:pt x="451128" y="80796"/>
                  </a:cubicBezTo>
                  <a:cubicBezTo>
                    <a:pt x="466130" y="80796"/>
                    <a:pt x="478989" y="88511"/>
                    <a:pt x="486704" y="100084"/>
                  </a:cubicBezTo>
                  <a:lnTo>
                    <a:pt x="500420" y="100084"/>
                  </a:lnTo>
                  <a:cubicBezTo>
                    <a:pt x="502134" y="81224"/>
                    <a:pt x="503420" y="61936"/>
                    <a:pt x="504706" y="43077"/>
                  </a:cubicBezTo>
                  <a:lnTo>
                    <a:pt x="432697" y="43077"/>
                  </a:lnTo>
                  <a:lnTo>
                    <a:pt x="385120" y="90654"/>
                  </a:lnTo>
                  <a:lnTo>
                    <a:pt x="385120" y="231244"/>
                  </a:lnTo>
                  <a:lnTo>
                    <a:pt x="200811" y="231244"/>
                  </a:lnTo>
                  <a:lnTo>
                    <a:pt x="151948" y="280106"/>
                  </a:lnTo>
                  <a:cubicBezTo>
                    <a:pt x="155805" y="286536"/>
                    <a:pt x="158377" y="294251"/>
                    <a:pt x="158377" y="302395"/>
                  </a:cubicBezTo>
                  <a:cubicBezTo>
                    <a:pt x="158377" y="325970"/>
                    <a:pt x="139089" y="345686"/>
                    <a:pt x="115086" y="345686"/>
                  </a:cubicBezTo>
                  <a:cubicBezTo>
                    <a:pt x="91083" y="345686"/>
                    <a:pt x="71795" y="326398"/>
                    <a:pt x="71795" y="302395"/>
                  </a:cubicBezTo>
                  <a:cubicBezTo>
                    <a:pt x="71795" y="278821"/>
                    <a:pt x="91083" y="259104"/>
                    <a:pt x="115086" y="259104"/>
                  </a:cubicBezTo>
                  <a:cubicBezTo>
                    <a:pt x="123658" y="259104"/>
                    <a:pt x="131374" y="261676"/>
                    <a:pt x="137803" y="265962"/>
                  </a:cubicBezTo>
                  <a:lnTo>
                    <a:pt x="189238" y="214527"/>
                  </a:lnTo>
                  <a:lnTo>
                    <a:pt x="192238" y="211526"/>
                  </a:lnTo>
                  <a:lnTo>
                    <a:pt x="365832" y="211526"/>
                  </a:lnTo>
                  <a:lnTo>
                    <a:pt x="365832" y="82082"/>
                  </a:lnTo>
                  <a:lnTo>
                    <a:pt x="368832" y="79081"/>
                  </a:lnTo>
                  <a:lnTo>
                    <a:pt x="421553" y="26361"/>
                  </a:lnTo>
                  <a:lnTo>
                    <a:pt x="424553" y="23360"/>
                  </a:lnTo>
                  <a:lnTo>
                    <a:pt x="506420" y="23360"/>
                  </a:lnTo>
                  <a:cubicBezTo>
                    <a:pt x="506849" y="16502"/>
                    <a:pt x="507706" y="10073"/>
                    <a:pt x="508135" y="3215"/>
                  </a:cubicBezTo>
                  <a:lnTo>
                    <a:pt x="417695" y="3215"/>
                  </a:lnTo>
                  <a:lnTo>
                    <a:pt x="291679" y="129659"/>
                  </a:lnTo>
                  <a:close/>
                </a:path>
              </a:pathLst>
            </a:custGeom>
            <a:grpFill/>
            <a:ln w="9525" cap="flat">
              <a:noFill/>
              <a:prstDash val="solid"/>
              <a:miter/>
            </a:ln>
          </p:spPr>
          <p:txBody>
            <a:bodyPr rtlCol="0" anchor="ctr"/>
            <a:lstStyle/>
            <a:p>
              <a:endParaRPr lang="en-US"/>
            </a:p>
          </p:txBody>
        </p:sp>
        <p:sp>
          <p:nvSpPr>
            <p:cNvPr id="339" name="Freeform: Shape 116">
              <a:extLst>
                <a:ext uri="{FF2B5EF4-FFF2-40B4-BE49-F238E27FC236}">
                  <a16:creationId xmlns:a16="http://schemas.microsoft.com/office/drawing/2014/main" id="{AD945DD6-D69B-3846-A8DC-0AD6FD53743A}"/>
                </a:ext>
              </a:extLst>
            </p:cNvPr>
            <p:cNvSpPr/>
            <p:nvPr/>
          </p:nvSpPr>
          <p:spPr>
            <a:xfrm>
              <a:off x="5258681" y="4688086"/>
              <a:ext cx="432911" cy="304324"/>
            </a:xfrm>
            <a:custGeom>
              <a:avLst/>
              <a:gdLst>
                <a:gd name="connsiteX0" fmla="*/ 432697 w 432911"/>
                <a:gd name="connsiteY0" fmla="*/ 21217 h 304323"/>
                <a:gd name="connsiteX1" fmla="*/ 433126 w 432911"/>
                <a:gd name="connsiteY1" fmla="*/ 3215 h 304323"/>
                <a:gd name="connsiteX2" fmla="*/ 367546 w 432911"/>
                <a:gd name="connsiteY2" fmla="*/ 3215 h 304323"/>
                <a:gd name="connsiteX3" fmla="*/ 342686 w 432911"/>
                <a:gd name="connsiteY3" fmla="*/ 46506 h 304323"/>
                <a:gd name="connsiteX4" fmla="*/ 342686 w 432911"/>
                <a:gd name="connsiteY4" fmla="*/ 116800 h 304323"/>
                <a:gd name="connsiteX5" fmla="*/ 340114 w 432911"/>
                <a:gd name="connsiteY5" fmla="*/ 119372 h 304323"/>
                <a:gd name="connsiteX6" fmla="*/ 284821 w 432911"/>
                <a:gd name="connsiteY6" fmla="*/ 174236 h 304323"/>
                <a:gd name="connsiteX7" fmla="*/ 281821 w 432911"/>
                <a:gd name="connsiteY7" fmla="*/ 177236 h 304323"/>
                <a:gd name="connsiteX8" fmla="*/ 6215 w 432911"/>
                <a:gd name="connsiteY8" fmla="*/ 177236 h 304323"/>
                <a:gd name="connsiteX9" fmla="*/ 3215 w 432911"/>
                <a:gd name="connsiteY9" fmla="*/ 304538 h 304323"/>
                <a:gd name="connsiteX10" fmla="*/ 122801 w 432911"/>
                <a:gd name="connsiteY10" fmla="*/ 304538 h 304323"/>
                <a:gd name="connsiteX11" fmla="*/ 178522 w 432911"/>
                <a:gd name="connsiteY11" fmla="*/ 272391 h 304323"/>
                <a:gd name="connsiteX12" fmla="*/ 183237 w 432911"/>
                <a:gd name="connsiteY12" fmla="*/ 269819 h 304323"/>
                <a:gd name="connsiteX13" fmla="*/ 406980 w 432911"/>
                <a:gd name="connsiteY13" fmla="*/ 269819 h 304323"/>
                <a:gd name="connsiteX14" fmla="*/ 421553 w 432911"/>
                <a:gd name="connsiteY14" fmla="*/ 207240 h 304323"/>
                <a:gd name="connsiteX15" fmla="*/ 400979 w 432911"/>
                <a:gd name="connsiteY15" fmla="*/ 227814 h 304323"/>
                <a:gd name="connsiteX16" fmla="*/ 395407 w 432911"/>
                <a:gd name="connsiteY16" fmla="*/ 233386 h 304323"/>
                <a:gd name="connsiteX17" fmla="*/ 154948 w 432911"/>
                <a:gd name="connsiteY17" fmla="*/ 233386 h 304323"/>
                <a:gd name="connsiteX18" fmla="*/ 117229 w 432911"/>
                <a:gd name="connsiteY18" fmla="*/ 271105 h 304323"/>
                <a:gd name="connsiteX19" fmla="*/ 113371 w 432911"/>
                <a:gd name="connsiteY19" fmla="*/ 274105 h 304323"/>
                <a:gd name="connsiteX20" fmla="*/ 76938 w 432911"/>
                <a:gd name="connsiteY20" fmla="*/ 293823 h 304323"/>
                <a:gd name="connsiteX21" fmla="*/ 34076 w 432911"/>
                <a:gd name="connsiteY21" fmla="*/ 250960 h 304323"/>
                <a:gd name="connsiteX22" fmla="*/ 76938 w 432911"/>
                <a:gd name="connsiteY22" fmla="*/ 207669 h 304323"/>
                <a:gd name="connsiteX23" fmla="*/ 109514 w 432911"/>
                <a:gd name="connsiteY23" fmla="*/ 222670 h 304323"/>
                <a:gd name="connsiteX24" fmla="*/ 133088 w 432911"/>
                <a:gd name="connsiteY24" fmla="*/ 199096 h 304323"/>
                <a:gd name="connsiteX25" fmla="*/ 138660 w 432911"/>
                <a:gd name="connsiteY25" fmla="*/ 193524 h 304323"/>
                <a:gd name="connsiteX26" fmla="*/ 379119 w 432911"/>
                <a:gd name="connsiteY26" fmla="*/ 193524 h 304323"/>
                <a:gd name="connsiteX27" fmla="*/ 431411 w 432911"/>
                <a:gd name="connsiteY27" fmla="*/ 141661 h 304323"/>
                <a:gd name="connsiteX28" fmla="*/ 432268 w 432911"/>
                <a:gd name="connsiteY28" fmla="*/ 130516 h 304323"/>
                <a:gd name="connsiteX29" fmla="*/ 433126 w 432911"/>
                <a:gd name="connsiteY29" fmla="*/ 97084 h 304323"/>
                <a:gd name="connsiteX30" fmla="*/ 413409 w 432911"/>
                <a:gd name="connsiteY30" fmla="*/ 101798 h 304323"/>
                <a:gd name="connsiteX31" fmla="*/ 370118 w 432911"/>
                <a:gd name="connsiteY31" fmla="*/ 58936 h 304323"/>
                <a:gd name="connsiteX32" fmla="*/ 413409 w 432911"/>
                <a:gd name="connsiteY32" fmla="*/ 16073 h 304323"/>
                <a:gd name="connsiteX33" fmla="*/ 413409 w 432911"/>
                <a:gd name="connsiteY33" fmla="*/ 16073 h 304323"/>
                <a:gd name="connsiteX34" fmla="*/ 432697 w 432911"/>
                <a:gd name="connsiteY34" fmla="*/ 21217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2911" h="304323">
                  <a:moveTo>
                    <a:pt x="432697" y="21217"/>
                  </a:moveTo>
                  <a:cubicBezTo>
                    <a:pt x="432697" y="15216"/>
                    <a:pt x="432697" y="9216"/>
                    <a:pt x="433126" y="3215"/>
                  </a:cubicBezTo>
                  <a:lnTo>
                    <a:pt x="367546" y="3215"/>
                  </a:lnTo>
                  <a:lnTo>
                    <a:pt x="342686" y="46506"/>
                  </a:lnTo>
                  <a:lnTo>
                    <a:pt x="342686" y="116800"/>
                  </a:lnTo>
                  <a:lnTo>
                    <a:pt x="340114" y="119372"/>
                  </a:lnTo>
                  <a:lnTo>
                    <a:pt x="284821" y="174236"/>
                  </a:lnTo>
                  <a:lnTo>
                    <a:pt x="281821" y="177236"/>
                  </a:lnTo>
                  <a:lnTo>
                    <a:pt x="6215" y="177236"/>
                  </a:lnTo>
                  <a:cubicBezTo>
                    <a:pt x="5358" y="219670"/>
                    <a:pt x="4501" y="262104"/>
                    <a:pt x="3215" y="304538"/>
                  </a:cubicBezTo>
                  <a:lnTo>
                    <a:pt x="122801" y="304538"/>
                  </a:lnTo>
                  <a:lnTo>
                    <a:pt x="178522" y="272391"/>
                  </a:lnTo>
                  <a:lnTo>
                    <a:pt x="183237" y="269819"/>
                  </a:lnTo>
                  <a:lnTo>
                    <a:pt x="406980" y="269819"/>
                  </a:lnTo>
                  <a:cubicBezTo>
                    <a:pt x="412123" y="248817"/>
                    <a:pt x="417267" y="228243"/>
                    <a:pt x="421553" y="207240"/>
                  </a:cubicBezTo>
                  <a:lnTo>
                    <a:pt x="400979" y="227814"/>
                  </a:lnTo>
                  <a:lnTo>
                    <a:pt x="395407" y="233386"/>
                  </a:lnTo>
                  <a:lnTo>
                    <a:pt x="154948" y="233386"/>
                  </a:lnTo>
                  <a:lnTo>
                    <a:pt x="117229" y="271105"/>
                  </a:lnTo>
                  <a:cubicBezTo>
                    <a:pt x="115943" y="272391"/>
                    <a:pt x="114657" y="273248"/>
                    <a:pt x="113371" y="274105"/>
                  </a:cubicBezTo>
                  <a:cubicBezTo>
                    <a:pt x="105656" y="286107"/>
                    <a:pt x="92369" y="293823"/>
                    <a:pt x="76938" y="293823"/>
                  </a:cubicBezTo>
                  <a:cubicBezTo>
                    <a:pt x="53364" y="293823"/>
                    <a:pt x="34076" y="274963"/>
                    <a:pt x="34076" y="250960"/>
                  </a:cubicBezTo>
                  <a:cubicBezTo>
                    <a:pt x="34076" y="226957"/>
                    <a:pt x="52935" y="207669"/>
                    <a:pt x="76938" y="207669"/>
                  </a:cubicBezTo>
                  <a:cubicBezTo>
                    <a:pt x="89797" y="207669"/>
                    <a:pt x="101370" y="213669"/>
                    <a:pt x="109514" y="222670"/>
                  </a:cubicBezTo>
                  <a:lnTo>
                    <a:pt x="133088" y="199096"/>
                  </a:lnTo>
                  <a:lnTo>
                    <a:pt x="138660" y="193524"/>
                  </a:lnTo>
                  <a:lnTo>
                    <a:pt x="379119" y="193524"/>
                  </a:lnTo>
                  <a:lnTo>
                    <a:pt x="431411" y="141661"/>
                  </a:lnTo>
                  <a:cubicBezTo>
                    <a:pt x="431840" y="137803"/>
                    <a:pt x="431840" y="134374"/>
                    <a:pt x="432268" y="130516"/>
                  </a:cubicBezTo>
                  <a:cubicBezTo>
                    <a:pt x="433126" y="119372"/>
                    <a:pt x="433126" y="108228"/>
                    <a:pt x="433126" y="97084"/>
                  </a:cubicBezTo>
                  <a:cubicBezTo>
                    <a:pt x="427125" y="100084"/>
                    <a:pt x="420695" y="101798"/>
                    <a:pt x="413409" y="101798"/>
                  </a:cubicBezTo>
                  <a:cubicBezTo>
                    <a:pt x="389835" y="101798"/>
                    <a:pt x="370118" y="82939"/>
                    <a:pt x="370118" y="58936"/>
                  </a:cubicBezTo>
                  <a:cubicBezTo>
                    <a:pt x="370118" y="35362"/>
                    <a:pt x="389406" y="16073"/>
                    <a:pt x="413409" y="16073"/>
                  </a:cubicBezTo>
                  <a:lnTo>
                    <a:pt x="413409" y="16073"/>
                  </a:lnTo>
                  <a:cubicBezTo>
                    <a:pt x="420695" y="16502"/>
                    <a:pt x="427125" y="18217"/>
                    <a:pt x="432697" y="21217"/>
                  </a:cubicBezTo>
                  <a:close/>
                </a:path>
              </a:pathLst>
            </a:custGeom>
            <a:grpFill/>
            <a:ln w="9525" cap="flat">
              <a:noFill/>
              <a:prstDash val="solid"/>
              <a:miter/>
            </a:ln>
          </p:spPr>
          <p:txBody>
            <a:bodyPr rtlCol="0" anchor="ctr"/>
            <a:lstStyle/>
            <a:p>
              <a:endParaRPr lang="en-US"/>
            </a:p>
          </p:txBody>
        </p:sp>
        <p:sp>
          <p:nvSpPr>
            <p:cNvPr id="340" name="Freeform: Shape 117">
              <a:extLst>
                <a:ext uri="{FF2B5EF4-FFF2-40B4-BE49-F238E27FC236}">
                  <a16:creationId xmlns:a16="http://schemas.microsoft.com/office/drawing/2014/main" id="{B46C8FFC-CA6F-4644-9A05-18A4EA964097}"/>
                </a:ext>
              </a:extLst>
            </p:cNvPr>
            <p:cNvSpPr/>
            <p:nvPr/>
          </p:nvSpPr>
          <p:spPr>
            <a:xfrm>
              <a:off x="6022491" y="3919990"/>
              <a:ext cx="737235" cy="822960"/>
            </a:xfrm>
            <a:custGeom>
              <a:avLst/>
              <a:gdLst>
                <a:gd name="connsiteX0" fmla="*/ 738307 w 737235"/>
                <a:gd name="connsiteY0" fmla="*/ 406551 h 822960"/>
                <a:gd name="connsiteX1" fmla="*/ 738307 w 737235"/>
                <a:gd name="connsiteY1" fmla="*/ 406551 h 822960"/>
                <a:gd name="connsiteX2" fmla="*/ 3215 w 737235"/>
                <a:gd name="connsiteY2" fmla="*/ 3215 h 822960"/>
                <a:gd name="connsiteX3" fmla="*/ 115086 w 737235"/>
                <a:gd name="connsiteY3" fmla="*/ 251817 h 822960"/>
                <a:gd name="connsiteX4" fmla="*/ 125373 w 737235"/>
                <a:gd name="connsiteY4" fmla="*/ 265962 h 822960"/>
                <a:gd name="connsiteX5" fmla="*/ 229100 w 737235"/>
                <a:gd name="connsiteY5" fmla="*/ 398836 h 822960"/>
                <a:gd name="connsiteX6" fmla="*/ 360688 w 737235"/>
                <a:gd name="connsiteY6" fmla="*/ 599432 h 822960"/>
                <a:gd name="connsiteX7" fmla="*/ 453700 w 737235"/>
                <a:gd name="connsiteY7" fmla="*/ 783741 h 822960"/>
                <a:gd name="connsiteX8" fmla="*/ 468702 w 737235"/>
                <a:gd name="connsiteY8" fmla="*/ 821031 h 822960"/>
                <a:gd name="connsiteX9" fmla="*/ 635437 w 737235"/>
                <a:gd name="connsiteY9" fmla="*/ 540282 h 822960"/>
                <a:gd name="connsiteX10" fmla="*/ 738307 w 737235"/>
                <a:gd name="connsiteY10" fmla="*/ 406551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7235" h="822960">
                  <a:moveTo>
                    <a:pt x="738307" y="406551"/>
                  </a:moveTo>
                  <a:lnTo>
                    <a:pt x="738307" y="406551"/>
                  </a:lnTo>
                  <a:cubicBezTo>
                    <a:pt x="482417" y="311825"/>
                    <a:pt x="233815" y="177237"/>
                    <a:pt x="3215" y="3215"/>
                  </a:cubicBezTo>
                  <a:cubicBezTo>
                    <a:pt x="44363" y="83368"/>
                    <a:pt x="81653" y="166521"/>
                    <a:pt x="115086" y="251817"/>
                  </a:cubicBezTo>
                  <a:cubicBezTo>
                    <a:pt x="118515" y="256532"/>
                    <a:pt x="121944" y="261247"/>
                    <a:pt x="125373" y="265962"/>
                  </a:cubicBezTo>
                  <a:cubicBezTo>
                    <a:pt x="158377" y="311396"/>
                    <a:pt x="192667" y="355973"/>
                    <a:pt x="229100" y="398836"/>
                  </a:cubicBezTo>
                  <a:cubicBezTo>
                    <a:pt x="281392" y="459700"/>
                    <a:pt x="322112" y="529566"/>
                    <a:pt x="360688" y="599432"/>
                  </a:cubicBezTo>
                  <a:cubicBezTo>
                    <a:pt x="393692" y="659868"/>
                    <a:pt x="425410" y="720733"/>
                    <a:pt x="453700" y="783741"/>
                  </a:cubicBezTo>
                  <a:cubicBezTo>
                    <a:pt x="459272" y="796171"/>
                    <a:pt x="463987" y="808601"/>
                    <a:pt x="468702" y="821031"/>
                  </a:cubicBezTo>
                  <a:cubicBezTo>
                    <a:pt x="516279" y="724591"/>
                    <a:pt x="571572" y="630722"/>
                    <a:pt x="635437" y="540282"/>
                  </a:cubicBezTo>
                  <a:cubicBezTo>
                    <a:pt x="668441" y="493991"/>
                    <a:pt x="702731" y="449413"/>
                    <a:pt x="738307" y="406551"/>
                  </a:cubicBezTo>
                  <a:close/>
                </a:path>
              </a:pathLst>
            </a:custGeom>
            <a:grpFill/>
            <a:ln w="9525" cap="flat">
              <a:noFill/>
              <a:prstDash val="solid"/>
              <a:miter/>
            </a:ln>
          </p:spPr>
          <p:txBody>
            <a:bodyPr rtlCol="0" anchor="ctr"/>
            <a:lstStyle/>
            <a:p>
              <a:endParaRPr lang="en-US"/>
            </a:p>
          </p:txBody>
        </p:sp>
        <p:sp>
          <p:nvSpPr>
            <p:cNvPr id="341" name="Freeform: Shape 118">
              <a:extLst>
                <a:ext uri="{FF2B5EF4-FFF2-40B4-BE49-F238E27FC236}">
                  <a16:creationId xmlns:a16="http://schemas.microsoft.com/office/drawing/2014/main" id="{D24B21F7-042B-D440-87E1-F23C607049FB}"/>
                </a:ext>
              </a:extLst>
            </p:cNvPr>
            <p:cNvSpPr/>
            <p:nvPr/>
          </p:nvSpPr>
          <p:spPr>
            <a:xfrm>
              <a:off x="6996327" y="4924258"/>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42" name="Freeform: Shape 119">
              <a:extLst>
                <a:ext uri="{FF2B5EF4-FFF2-40B4-BE49-F238E27FC236}">
                  <a16:creationId xmlns:a16="http://schemas.microsoft.com/office/drawing/2014/main" id="{E87B64E8-12CC-894B-ADDB-80E45252B9BC}"/>
                </a:ext>
              </a:extLst>
            </p:cNvPr>
            <p:cNvSpPr/>
            <p:nvPr/>
          </p:nvSpPr>
          <p:spPr>
            <a:xfrm>
              <a:off x="6501265" y="4732663"/>
              <a:ext cx="501491" cy="231458"/>
            </a:xfrm>
            <a:custGeom>
              <a:avLst/>
              <a:gdLst>
                <a:gd name="connsiteX0" fmla="*/ 498277 w 501491"/>
                <a:gd name="connsiteY0" fmla="*/ 194810 h 231457"/>
                <a:gd name="connsiteX1" fmla="*/ 483704 w 501491"/>
                <a:gd name="connsiteY1" fmla="*/ 162234 h 231457"/>
                <a:gd name="connsiteX2" fmla="*/ 295966 w 501491"/>
                <a:gd name="connsiteY2" fmla="*/ 194810 h 231457"/>
                <a:gd name="connsiteX3" fmla="*/ 289965 w 501491"/>
                <a:gd name="connsiteY3" fmla="*/ 195667 h 231457"/>
                <a:gd name="connsiteX4" fmla="*/ 16502 w 501491"/>
                <a:gd name="connsiteY4" fmla="*/ 3215 h 231457"/>
                <a:gd name="connsiteX5" fmla="*/ 3215 w 501491"/>
                <a:gd name="connsiteY5" fmla="*/ 29361 h 231457"/>
                <a:gd name="connsiteX6" fmla="*/ 289536 w 501491"/>
                <a:gd name="connsiteY6" fmla="*/ 230814 h 231457"/>
                <a:gd name="connsiteX7" fmla="*/ 498277 w 501491"/>
                <a:gd name="connsiteY7" fmla="*/ 194810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491" h="231457">
                  <a:moveTo>
                    <a:pt x="498277" y="194810"/>
                  </a:moveTo>
                  <a:cubicBezTo>
                    <a:pt x="493562" y="184094"/>
                    <a:pt x="488847" y="173379"/>
                    <a:pt x="483704" y="162234"/>
                  </a:cubicBezTo>
                  <a:lnTo>
                    <a:pt x="295966" y="194810"/>
                  </a:lnTo>
                  <a:lnTo>
                    <a:pt x="289965" y="195667"/>
                  </a:lnTo>
                  <a:lnTo>
                    <a:pt x="16502" y="3215"/>
                  </a:lnTo>
                  <a:cubicBezTo>
                    <a:pt x="12216" y="11787"/>
                    <a:pt x="7501" y="20788"/>
                    <a:pt x="3215" y="29361"/>
                  </a:cubicBezTo>
                  <a:lnTo>
                    <a:pt x="289536" y="230814"/>
                  </a:lnTo>
                  <a:lnTo>
                    <a:pt x="498277" y="194810"/>
                  </a:lnTo>
                  <a:close/>
                </a:path>
              </a:pathLst>
            </a:custGeom>
            <a:grpFill/>
            <a:ln w="9525" cap="flat">
              <a:noFill/>
              <a:prstDash val="solid"/>
              <a:miter/>
            </a:ln>
          </p:spPr>
          <p:txBody>
            <a:bodyPr rtlCol="0" anchor="ctr"/>
            <a:lstStyle/>
            <a:p>
              <a:endParaRPr lang="en-US"/>
            </a:p>
          </p:txBody>
        </p:sp>
        <p:sp>
          <p:nvSpPr>
            <p:cNvPr id="343" name="Freeform: Shape 120">
              <a:extLst>
                <a:ext uri="{FF2B5EF4-FFF2-40B4-BE49-F238E27FC236}">
                  <a16:creationId xmlns:a16="http://schemas.microsoft.com/office/drawing/2014/main" id="{82B1A7AC-B7C4-EA48-B3EA-01A508D1E8D2}"/>
                </a:ext>
              </a:extLst>
            </p:cNvPr>
            <p:cNvSpPr/>
            <p:nvPr/>
          </p:nvSpPr>
          <p:spPr>
            <a:xfrm>
              <a:off x="6661571" y="5113282"/>
              <a:ext cx="488633" cy="287179"/>
            </a:xfrm>
            <a:custGeom>
              <a:avLst/>
              <a:gdLst>
                <a:gd name="connsiteX0" fmla="*/ 340114 w 488632"/>
                <a:gd name="connsiteY0" fmla="*/ 38791 h 287178"/>
                <a:gd name="connsiteX1" fmla="*/ 340114 w 488632"/>
                <a:gd name="connsiteY1" fmla="*/ 38791 h 287178"/>
                <a:gd name="connsiteX2" fmla="*/ 343972 w 488632"/>
                <a:gd name="connsiteY2" fmla="*/ 38362 h 287178"/>
                <a:gd name="connsiteX3" fmla="*/ 435697 w 488632"/>
                <a:gd name="connsiteY3" fmla="*/ 102656 h 287178"/>
                <a:gd name="connsiteX4" fmla="*/ 436555 w 488632"/>
                <a:gd name="connsiteY4" fmla="*/ 106514 h 287178"/>
                <a:gd name="connsiteX5" fmla="*/ 465272 w 488632"/>
                <a:gd name="connsiteY5" fmla="*/ 271534 h 287178"/>
                <a:gd name="connsiteX6" fmla="*/ 487132 w 488632"/>
                <a:gd name="connsiteY6" fmla="*/ 286965 h 287178"/>
                <a:gd name="connsiteX7" fmla="*/ 480274 w 488632"/>
                <a:gd name="connsiteY7" fmla="*/ 251817 h 287178"/>
                <a:gd name="connsiteX8" fmla="*/ 461844 w 488632"/>
                <a:gd name="connsiteY8" fmla="*/ 131802 h 287178"/>
                <a:gd name="connsiteX9" fmla="*/ 451128 w 488632"/>
                <a:gd name="connsiteY9" fmla="*/ 87226 h 287178"/>
                <a:gd name="connsiteX10" fmla="*/ 344400 w 488632"/>
                <a:gd name="connsiteY10" fmla="*/ 12216 h 287178"/>
                <a:gd name="connsiteX11" fmla="*/ 85511 w 488632"/>
                <a:gd name="connsiteY11" fmla="*/ 57222 h 287178"/>
                <a:gd name="connsiteX12" fmla="*/ 81225 w 488632"/>
                <a:gd name="connsiteY12" fmla="*/ 58079 h 287178"/>
                <a:gd name="connsiteX13" fmla="*/ 3215 w 488632"/>
                <a:gd name="connsiteY13" fmla="*/ 3215 h 287178"/>
                <a:gd name="connsiteX14" fmla="*/ 6644 w 488632"/>
                <a:gd name="connsiteY14" fmla="*/ 19074 h 287178"/>
                <a:gd name="connsiteX15" fmla="*/ 95369 w 488632"/>
                <a:gd name="connsiteY15" fmla="*/ 81653 h 287178"/>
                <a:gd name="connsiteX16" fmla="*/ 340114 w 488632"/>
                <a:gd name="connsiteY16" fmla="*/ 38791 h 28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8632" h="287178">
                  <a:moveTo>
                    <a:pt x="340114" y="38791"/>
                  </a:moveTo>
                  <a:lnTo>
                    <a:pt x="340114" y="38791"/>
                  </a:lnTo>
                  <a:lnTo>
                    <a:pt x="343972" y="38362"/>
                  </a:lnTo>
                  <a:lnTo>
                    <a:pt x="435697" y="102656"/>
                  </a:lnTo>
                  <a:lnTo>
                    <a:pt x="436555" y="106514"/>
                  </a:lnTo>
                  <a:lnTo>
                    <a:pt x="465272" y="271534"/>
                  </a:lnTo>
                  <a:lnTo>
                    <a:pt x="487132" y="286965"/>
                  </a:lnTo>
                  <a:cubicBezTo>
                    <a:pt x="484989" y="275392"/>
                    <a:pt x="482417" y="263819"/>
                    <a:pt x="480274" y="251817"/>
                  </a:cubicBezTo>
                  <a:cubicBezTo>
                    <a:pt x="471702" y="211955"/>
                    <a:pt x="469559" y="171236"/>
                    <a:pt x="461844" y="131802"/>
                  </a:cubicBezTo>
                  <a:cubicBezTo>
                    <a:pt x="458843" y="116800"/>
                    <a:pt x="455414" y="101798"/>
                    <a:pt x="451128" y="87226"/>
                  </a:cubicBezTo>
                  <a:lnTo>
                    <a:pt x="344400" y="12216"/>
                  </a:lnTo>
                  <a:lnTo>
                    <a:pt x="85511" y="57222"/>
                  </a:lnTo>
                  <a:lnTo>
                    <a:pt x="81225" y="58079"/>
                  </a:lnTo>
                  <a:lnTo>
                    <a:pt x="3215" y="3215"/>
                  </a:lnTo>
                  <a:cubicBezTo>
                    <a:pt x="4501" y="8359"/>
                    <a:pt x="5358" y="13930"/>
                    <a:pt x="6644" y="19074"/>
                  </a:cubicBezTo>
                  <a:lnTo>
                    <a:pt x="95369" y="81653"/>
                  </a:lnTo>
                  <a:lnTo>
                    <a:pt x="340114" y="38791"/>
                  </a:lnTo>
                  <a:close/>
                </a:path>
              </a:pathLst>
            </a:custGeom>
            <a:grpFill/>
            <a:ln w="9525" cap="flat">
              <a:noFill/>
              <a:prstDash val="solid"/>
              <a:miter/>
            </a:ln>
          </p:spPr>
          <p:txBody>
            <a:bodyPr rtlCol="0" anchor="ctr"/>
            <a:lstStyle/>
            <a:p>
              <a:endParaRPr lang="en-US"/>
            </a:p>
          </p:txBody>
        </p:sp>
        <p:sp>
          <p:nvSpPr>
            <p:cNvPr id="344" name="Freeform: Shape 121">
              <a:extLst>
                <a:ext uri="{FF2B5EF4-FFF2-40B4-BE49-F238E27FC236}">
                  <a16:creationId xmlns:a16="http://schemas.microsoft.com/office/drawing/2014/main" id="{E1AF49C4-CE3D-764E-A6CB-2A3EDA155129}"/>
                </a:ext>
              </a:extLst>
            </p:cNvPr>
            <p:cNvSpPr/>
            <p:nvPr/>
          </p:nvSpPr>
          <p:spPr>
            <a:xfrm>
              <a:off x="6554843" y="4907542"/>
              <a:ext cx="505778" cy="171450"/>
            </a:xfrm>
            <a:custGeom>
              <a:avLst/>
              <a:gdLst>
                <a:gd name="connsiteX0" fmla="*/ 457557 w 505777"/>
                <a:gd name="connsiteY0" fmla="*/ 127945 h 171450"/>
                <a:gd name="connsiteX1" fmla="*/ 465701 w 505777"/>
                <a:gd name="connsiteY1" fmla="*/ 126659 h 171450"/>
                <a:gd name="connsiteX2" fmla="*/ 505992 w 505777"/>
                <a:gd name="connsiteY2" fmla="*/ 154948 h 171450"/>
                <a:gd name="connsiteX3" fmla="*/ 485847 w 505777"/>
                <a:gd name="connsiteY3" fmla="*/ 109514 h 171450"/>
                <a:gd name="connsiteX4" fmla="*/ 471702 w 505777"/>
                <a:gd name="connsiteY4" fmla="*/ 99655 h 171450"/>
                <a:gd name="connsiteX5" fmla="*/ 213670 w 505777"/>
                <a:gd name="connsiteY5" fmla="*/ 144661 h 171450"/>
                <a:gd name="connsiteX6" fmla="*/ 205526 w 505777"/>
                <a:gd name="connsiteY6" fmla="*/ 145947 h 171450"/>
                <a:gd name="connsiteX7" fmla="*/ 3215 w 505777"/>
                <a:gd name="connsiteY7" fmla="*/ 3215 h 171450"/>
                <a:gd name="connsiteX8" fmla="*/ 3215 w 505777"/>
                <a:gd name="connsiteY8" fmla="*/ 3215 h 171450"/>
                <a:gd name="connsiteX9" fmla="*/ 26789 w 505777"/>
                <a:gd name="connsiteY9" fmla="*/ 39219 h 171450"/>
                <a:gd name="connsiteX10" fmla="*/ 213241 w 505777"/>
                <a:gd name="connsiteY10" fmla="*/ 170378 h 171450"/>
                <a:gd name="connsiteX11" fmla="*/ 457557 w 505777"/>
                <a:gd name="connsiteY11" fmla="*/ 1279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777" h="171450">
                  <a:moveTo>
                    <a:pt x="457557" y="127945"/>
                  </a:moveTo>
                  <a:lnTo>
                    <a:pt x="465701" y="126659"/>
                  </a:lnTo>
                  <a:lnTo>
                    <a:pt x="505992" y="154948"/>
                  </a:lnTo>
                  <a:cubicBezTo>
                    <a:pt x="499562" y="139946"/>
                    <a:pt x="492705" y="124516"/>
                    <a:pt x="485847" y="109514"/>
                  </a:cubicBezTo>
                  <a:lnTo>
                    <a:pt x="471702" y="99655"/>
                  </a:lnTo>
                  <a:lnTo>
                    <a:pt x="213670" y="144661"/>
                  </a:lnTo>
                  <a:lnTo>
                    <a:pt x="205526" y="145947"/>
                  </a:lnTo>
                  <a:lnTo>
                    <a:pt x="3215" y="3215"/>
                  </a:lnTo>
                  <a:cubicBezTo>
                    <a:pt x="3215" y="3215"/>
                    <a:pt x="3215" y="3215"/>
                    <a:pt x="3215" y="3215"/>
                  </a:cubicBezTo>
                  <a:cubicBezTo>
                    <a:pt x="10073" y="15645"/>
                    <a:pt x="18217" y="27647"/>
                    <a:pt x="26789" y="39219"/>
                  </a:cubicBezTo>
                  <a:lnTo>
                    <a:pt x="213241" y="170378"/>
                  </a:lnTo>
                  <a:lnTo>
                    <a:pt x="457557" y="127945"/>
                  </a:lnTo>
                  <a:close/>
                </a:path>
              </a:pathLst>
            </a:custGeom>
            <a:grpFill/>
            <a:ln w="9525" cap="flat">
              <a:noFill/>
              <a:prstDash val="solid"/>
              <a:miter/>
            </a:ln>
          </p:spPr>
          <p:txBody>
            <a:bodyPr rtlCol="0" anchor="ctr"/>
            <a:lstStyle/>
            <a:p>
              <a:endParaRPr lang="en-US"/>
            </a:p>
          </p:txBody>
        </p:sp>
        <p:sp>
          <p:nvSpPr>
            <p:cNvPr id="345" name="Freeform: Shape 122">
              <a:extLst>
                <a:ext uri="{FF2B5EF4-FFF2-40B4-BE49-F238E27FC236}">
                  <a16:creationId xmlns:a16="http://schemas.microsoft.com/office/drawing/2014/main" id="{02171822-2049-4846-9693-E25D2C9203DE}"/>
                </a:ext>
              </a:extLst>
            </p:cNvPr>
            <p:cNvSpPr/>
            <p:nvPr/>
          </p:nvSpPr>
          <p:spPr>
            <a:xfrm>
              <a:off x="6670143" y="5155716"/>
              <a:ext cx="518636" cy="445770"/>
            </a:xfrm>
            <a:custGeom>
              <a:avLst/>
              <a:gdLst>
                <a:gd name="connsiteX0" fmla="*/ 326827 w 518636"/>
                <a:gd name="connsiteY0" fmla="*/ 34505 h 445770"/>
                <a:gd name="connsiteX1" fmla="*/ 326827 w 518636"/>
                <a:gd name="connsiteY1" fmla="*/ 34505 h 445770"/>
                <a:gd name="connsiteX2" fmla="*/ 330684 w 518636"/>
                <a:gd name="connsiteY2" fmla="*/ 33647 h 445770"/>
                <a:gd name="connsiteX3" fmla="*/ 392406 w 518636"/>
                <a:gd name="connsiteY3" fmla="*/ 77367 h 445770"/>
                <a:gd name="connsiteX4" fmla="*/ 392835 w 518636"/>
                <a:gd name="connsiteY4" fmla="*/ 81225 h 445770"/>
                <a:gd name="connsiteX5" fmla="*/ 405693 w 518636"/>
                <a:gd name="connsiteY5" fmla="*/ 153662 h 445770"/>
                <a:gd name="connsiteX6" fmla="*/ 406551 w 518636"/>
                <a:gd name="connsiteY6" fmla="*/ 157520 h 445770"/>
                <a:gd name="connsiteX7" fmla="*/ 358974 w 518636"/>
                <a:gd name="connsiteY7" fmla="*/ 225243 h 445770"/>
                <a:gd name="connsiteX8" fmla="*/ 367117 w 518636"/>
                <a:gd name="connsiteY8" fmla="*/ 272391 h 445770"/>
                <a:gd name="connsiteX9" fmla="*/ 469559 w 518636"/>
                <a:gd name="connsiteY9" fmla="*/ 344400 h 445770"/>
                <a:gd name="connsiteX10" fmla="*/ 469987 w 518636"/>
                <a:gd name="connsiteY10" fmla="*/ 348258 h 445770"/>
                <a:gd name="connsiteX11" fmla="*/ 484132 w 518636"/>
                <a:gd name="connsiteY11" fmla="*/ 428840 h 445770"/>
                <a:gd name="connsiteX12" fmla="*/ 510278 w 518636"/>
                <a:gd name="connsiteY12" fmla="*/ 436126 h 445770"/>
                <a:gd name="connsiteX13" fmla="*/ 517993 w 518636"/>
                <a:gd name="connsiteY13" fmla="*/ 443413 h 445770"/>
                <a:gd name="connsiteX14" fmla="*/ 483703 w 518636"/>
                <a:gd name="connsiteY14" fmla="*/ 271534 h 445770"/>
                <a:gd name="connsiteX15" fmla="*/ 438269 w 518636"/>
                <a:gd name="connsiteY15" fmla="*/ 239816 h 445770"/>
                <a:gd name="connsiteX16" fmla="*/ 437412 w 518636"/>
                <a:gd name="connsiteY16" fmla="*/ 235958 h 445770"/>
                <a:gd name="connsiteX17" fmla="*/ 409123 w 518636"/>
                <a:gd name="connsiteY17" fmla="*/ 70938 h 445770"/>
                <a:gd name="connsiteX18" fmla="*/ 330684 w 518636"/>
                <a:gd name="connsiteY18" fmla="*/ 15645 h 445770"/>
                <a:gd name="connsiteX19" fmla="*/ 86368 w 518636"/>
                <a:gd name="connsiteY19" fmla="*/ 57650 h 445770"/>
                <a:gd name="connsiteX20" fmla="*/ 82082 w 518636"/>
                <a:gd name="connsiteY20" fmla="*/ 58507 h 445770"/>
                <a:gd name="connsiteX21" fmla="*/ 3215 w 518636"/>
                <a:gd name="connsiteY21" fmla="*/ 3215 h 445770"/>
                <a:gd name="connsiteX22" fmla="*/ 9215 w 518636"/>
                <a:gd name="connsiteY22" fmla="*/ 36648 h 445770"/>
                <a:gd name="connsiteX23" fmla="*/ 67937 w 518636"/>
                <a:gd name="connsiteY23" fmla="*/ 77796 h 445770"/>
                <a:gd name="connsiteX24" fmla="*/ 326827 w 518636"/>
                <a:gd name="connsiteY24" fmla="*/ 34505 h 44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8636" h="445770">
                  <a:moveTo>
                    <a:pt x="326827" y="34505"/>
                  </a:moveTo>
                  <a:lnTo>
                    <a:pt x="326827" y="34505"/>
                  </a:lnTo>
                  <a:lnTo>
                    <a:pt x="330684" y="33647"/>
                  </a:lnTo>
                  <a:lnTo>
                    <a:pt x="392406" y="77367"/>
                  </a:lnTo>
                  <a:lnTo>
                    <a:pt x="392835" y="81225"/>
                  </a:lnTo>
                  <a:lnTo>
                    <a:pt x="405693" y="153662"/>
                  </a:lnTo>
                  <a:lnTo>
                    <a:pt x="406551" y="157520"/>
                  </a:lnTo>
                  <a:lnTo>
                    <a:pt x="358974" y="225243"/>
                  </a:lnTo>
                  <a:lnTo>
                    <a:pt x="367117" y="272391"/>
                  </a:lnTo>
                  <a:lnTo>
                    <a:pt x="469559" y="344400"/>
                  </a:lnTo>
                  <a:lnTo>
                    <a:pt x="469987" y="348258"/>
                  </a:lnTo>
                  <a:lnTo>
                    <a:pt x="484132" y="428840"/>
                  </a:lnTo>
                  <a:cubicBezTo>
                    <a:pt x="493133" y="428411"/>
                    <a:pt x="502134" y="430554"/>
                    <a:pt x="510278" y="436126"/>
                  </a:cubicBezTo>
                  <a:cubicBezTo>
                    <a:pt x="513279" y="438269"/>
                    <a:pt x="515850" y="440841"/>
                    <a:pt x="517993" y="443413"/>
                  </a:cubicBezTo>
                  <a:cubicBezTo>
                    <a:pt x="506420" y="386406"/>
                    <a:pt x="494848" y="328970"/>
                    <a:pt x="483703" y="271534"/>
                  </a:cubicBezTo>
                  <a:lnTo>
                    <a:pt x="438269" y="239816"/>
                  </a:lnTo>
                  <a:lnTo>
                    <a:pt x="437412" y="235958"/>
                  </a:lnTo>
                  <a:lnTo>
                    <a:pt x="409123" y="70938"/>
                  </a:lnTo>
                  <a:lnTo>
                    <a:pt x="330684" y="15645"/>
                  </a:lnTo>
                  <a:lnTo>
                    <a:pt x="86368" y="57650"/>
                  </a:lnTo>
                  <a:lnTo>
                    <a:pt x="82082" y="58507"/>
                  </a:lnTo>
                  <a:lnTo>
                    <a:pt x="3215" y="3215"/>
                  </a:lnTo>
                  <a:cubicBezTo>
                    <a:pt x="5358" y="14359"/>
                    <a:pt x="7501" y="25504"/>
                    <a:pt x="9215" y="36648"/>
                  </a:cubicBezTo>
                  <a:lnTo>
                    <a:pt x="67937" y="77796"/>
                  </a:lnTo>
                  <a:lnTo>
                    <a:pt x="326827" y="34505"/>
                  </a:lnTo>
                  <a:close/>
                </a:path>
              </a:pathLst>
            </a:custGeom>
            <a:grpFill/>
            <a:ln w="9525" cap="flat">
              <a:noFill/>
              <a:prstDash val="solid"/>
              <a:miter/>
            </a:ln>
          </p:spPr>
          <p:txBody>
            <a:bodyPr rtlCol="0" anchor="ctr"/>
            <a:lstStyle/>
            <a:p>
              <a:endParaRPr lang="en-US"/>
            </a:p>
          </p:txBody>
        </p:sp>
        <p:sp>
          <p:nvSpPr>
            <p:cNvPr id="346" name="Freeform: Shape 123">
              <a:extLst>
                <a:ext uri="{FF2B5EF4-FFF2-40B4-BE49-F238E27FC236}">
                  <a16:creationId xmlns:a16="http://schemas.microsoft.com/office/drawing/2014/main" id="{8DDD058D-24DD-4C4C-891C-FD51A0AA5D70}"/>
                </a:ext>
              </a:extLst>
            </p:cNvPr>
            <p:cNvSpPr/>
            <p:nvPr/>
          </p:nvSpPr>
          <p:spPr>
            <a:xfrm>
              <a:off x="6638425" y="5033986"/>
              <a:ext cx="467201" cy="137160"/>
            </a:xfrm>
            <a:custGeom>
              <a:avLst/>
              <a:gdLst>
                <a:gd name="connsiteX0" fmla="*/ 368403 w 467201"/>
                <a:gd name="connsiteY0" fmla="*/ 71795 h 137160"/>
                <a:gd name="connsiteX1" fmla="*/ 368403 w 467201"/>
                <a:gd name="connsiteY1" fmla="*/ 71795 h 137160"/>
                <a:gd name="connsiteX2" fmla="*/ 372261 w 467201"/>
                <a:gd name="connsiteY2" fmla="*/ 70938 h 137160"/>
                <a:gd name="connsiteX3" fmla="*/ 464415 w 467201"/>
                <a:gd name="connsiteY3" fmla="*/ 136088 h 137160"/>
                <a:gd name="connsiteX4" fmla="*/ 449842 w 467201"/>
                <a:gd name="connsiteY4" fmla="*/ 96227 h 137160"/>
                <a:gd name="connsiteX5" fmla="*/ 372690 w 467201"/>
                <a:gd name="connsiteY5" fmla="*/ 41791 h 137160"/>
                <a:gd name="connsiteX6" fmla="*/ 128373 w 467201"/>
                <a:gd name="connsiteY6" fmla="*/ 84225 h 137160"/>
                <a:gd name="connsiteX7" fmla="*/ 120229 w 467201"/>
                <a:gd name="connsiteY7" fmla="*/ 85940 h 137160"/>
                <a:gd name="connsiteX8" fmla="*/ 3215 w 467201"/>
                <a:gd name="connsiteY8" fmla="*/ 3215 h 137160"/>
                <a:gd name="connsiteX9" fmla="*/ 20788 w 467201"/>
                <a:gd name="connsiteY9" fmla="*/ 53793 h 137160"/>
                <a:gd name="connsiteX10" fmla="*/ 109942 w 467201"/>
                <a:gd name="connsiteY10" fmla="*/ 116372 h 137160"/>
                <a:gd name="connsiteX11" fmla="*/ 368403 w 467201"/>
                <a:gd name="connsiteY11" fmla="*/ 71795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7201" h="137160">
                  <a:moveTo>
                    <a:pt x="368403" y="71795"/>
                  </a:moveTo>
                  <a:lnTo>
                    <a:pt x="368403" y="71795"/>
                  </a:lnTo>
                  <a:lnTo>
                    <a:pt x="372261" y="70938"/>
                  </a:lnTo>
                  <a:lnTo>
                    <a:pt x="464415" y="136088"/>
                  </a:lnTo>
                  <a:cubicBezTo>
                    <a:pt x="459700" y="122801"/>
                    <a:pt x="454986" y="109514"/>
                    <a:pt x="449842" y="96227"/>
                  </a:cubicBezTo>
                  <a:lnTo>
                    <a:pt x="372690" y="41791"/>
                  </a:lnTo>
                  <a:lnTo>
                    <a:pt x="128373" y="84225"/>
                  </a:lnTo>
                  <a:lnTo>
                    <a:pt x="120229" y="85940"/>
                  </a:lnTo>
                  <a:lnTo>
                    <a:pt x="3215" y="3215"/>
                  </a:lnTo>
                  <a:cubicBezTo>
                    <a:pt x="10930" y="19503"/>
                    <a:pt x="16502" y="36219"/>
                    <a:pt x="20788" y="53793"/>
                  </a:cubicBezTo>
                  <a:lnTo>
                    <a:pt x="109942" y="116372"/>
                  </a:lnTo>
                  <a:lnTo>
                    <a:pt x="368403" y="71795"/>
                  </a:lnTo>
                  <a:close/>
                </a:path>
              </a:pathLst>
            </a:custGeom>
            <a:grpFill/>
            <a:ln w="9525" cap="flat">
              <a:noFill/>
              <a:prstDash val="solid"/>
              <a:miter/>
            </a:ln>
          </p:spPr>
          <p:txBody>
            <a:bodyPr rtlCol="0" anchor="ctr"/>
            <a:lstStyle/>
            <a:p>
              <a:endParaRPr lang="en-US"/>
            </a:p>
          </p:txBody>
        </p:sp>
        <p:sp>
          <p:nvSpPr>
            <p:cNvPr id="347" name="Freeform: Shape 124">
              <a:extLst>
                <a:ext uri="{FF2B5EF4-FFF2-40B4-BE49-F238E27FC236}">
                  <a16:creationId xmlns:a16="http://schemas.microsoft.com/office/drawing/2014/main" id="{DFC9F8CC-0759-B14A-B900-E85C8825FE3F}"/>
                </a:ext>
              </a:extLst>
            </p:cNvPr>
            <p:cNvSpPr/>
            <p:nvPr/>
          </p:nvSpPr>
          <p:spPr>
            <a:xfrm>
              <a:off x="6681287" y="5207151"/>
              <a:ext cx="548640" cy="582930"/>
            </a:xfrm>
            <a:custGeom>
              <a:avLst/>
              <a:gdLst>
                <a:gd name="connsiteX0" fmla="*/ 515422 w 548640"/>
                <a:gd name="connsiteY0" fmla="*/ 433554 h 582930"/>
                <a:gd name="connsiteX1" fmla="*/ 515422 w 548640"/>
                <a:gd name="connsiteY1" fmla="*/ 433554 h 582930"/>
                <a:gd name="connsiteX2" fmla="*/ 509421 w 548640"/>
                <a:gd name="connsiteY2" fmla="*/ 445127 h 582930"/>
                <a:gd name="connsiteX3" fmla="*/ 449414 w 548640"/>
                <a:gd name="connsiteY3" fmla="*/ 455843 h 582930"/>
                <a:gd name="connsiteX4" fmla="*/ 439126 w 548640"/>
                <a:gd name="connsiteY4" fmla="*/ 395835 h 582930"/>
                <a:gd name="connsiteX5" fmla="*/ 453700 w 548640"/>
                <a:gd name="connsiteY5" fmla="*/ 383405 h 582930"/>
                <a:gd name="connsiteX6" fmla="*/ 439984 w 548640"/>
                <a:gd name="connsiteY6" fmla="*/ 304967 h 582930"/>
                <a:gd name="connsiteX7" fmla="*/ 337542 w 548640"/>
                <a:gd name="connsiteY7" fmla="*/ 232958 h 582930"/>
                <a:gd name="connsiteX8" fmla="*/ 336685 w 548640"/>
                <a:gd name="connsiteY8" fmla="*/ 229100 h 582930"/>
                <a:gd name="connsiteX9" fmla="*/ 327255 w 548640"/>
                <a:gd name="connsiteY9" fmla="*/ 173379 h 582930"/>
                <a:gd name="connsiteX10" fmla="*/ 326398 w 548640"/>
                <a:gd name="connsiteY10" fmla="*/ 169521 h 582930"/>
                <a:gd name="connsiteX11" fmla="*/ 373975 w 548640"/>
                <a:gd name="connsiteY11" fmla="*/ 101798 h 582930"/>
                <a:gd name="connsiteX12" fmla="*/ 362831 w 548640"/>
                <a:gd name="connsiteY12" fmla="*/ 37076 h 582930"/>
                <a:gd name="connsiteX13" fmla="*/ 314397 w 548640"/>
                <a:gd name="connsiteY13" fmla="*/ 3215 h 582930"/>
                <a:gd name="connsiteX14" fmla="*/ 56793 w 548640"/>
                <a:gd name="connsiteY14" fmla="*/ 47792 h 582930"/>
                <a:gd name="connsiteX15" fmla="*/ 52507 w 548640"/>
                <a:gd name="connsiteY15" fmla="*/ 48649 h 582930"/>
                <a:gd name="connsiteX16" fmla="*/ 3215 w 548640"/>
                <a:gd name="connsiteY16" fmla="*/ 13930 h 582930"/>
                <a:gd name="connsiteX17" fmla="*/ 10930 w 548640"/>
                <a:gd name="connsiteY17" fmla="*/ 59794 h 582930"/>
                <a:gd name="connsiteX18" fmla="*/ 73081 w 548640"/>
                <a:gd name="connsiteY18" fmla="*/ 103513 h 582930"/>
                <a:gd name="connsiteX19" fmla="*/ 247531 w 548640"/>
                <a:gd name="connsiteY19" fmla="*/ 72652 h 582930"/>
                <a:gd name="connsiteX20" fmla="*/ 253532 w 548640"/>
                <a:gd name="connsiteY20" fmla="*/ 59794 h 582930"/>
                <a:gd name="connsiteX21" fmla="*/ 313111 w 548640"/>
                <a:gd name="connsiteY21" fmla="*/ 49506 h 582930"/>
                <a:gd name="connsiteX22" fmla="*/ 323826 w 548640"/>
                <a:gd name="connsiteY22" fmla="*/ 109514 h 582930"/>
                <a:gd name="connsiteX23" fmla="*/ 263819 w 548640"/>
                <a:gd name="connsiteY23" fmla="*/ 119801 h 582930"/>
                <a:gd name="connsiteX24" fmla="*/ 246674 w 548640"/>
                <a:gd name="connsiteY24" fmla="*/ 93226 h 582930"/>
                <a:gd name="connsiteX25" fmla="*/ 72223 w 548640"/>
                <a:gd name="connsiteY25" fmla="*/ 123658 h 582930"/>
                <a:gd name="connsiteX26" fmla="*/ 67937 w 548640"/>
                <a:gd name="connsiteY26" fmla="*/ 124516 h 582930"/>
                <a:gd name="connsiteX27" fmla="*/ 15216 w 548640"/>
                <a:gd name="connsiteY27" fmla="*/ 87654 h 582930"/>
                <a:gd name="connsiteX28" fmla="*/ 19502 w 548640"/>
                <a:gd name="connsiteY28" fmla="*/ 112086 h 582930"/>
                <a:gd name="connsiteX29" fmla="*/ 58079 w 548640"/>
                <a:gd name="connsiteY29" fmla="*/ 139089 h 582930"/>
                <a:gd name="connsiteX30" fmla="*/ 200811 w 548640"/>
                <a:gd name="connsiteY30" fmla="*/ 114229 h 582930"/>
                <a:gd name="connsiteX31" fmla="*/ 204668 w 548640"/>
                <a:gd name="connsiteY31" fmla="*/ 113800 h 582930"/>
                <a:gd name="connsiteX32" fmla="*/ 278392 w 548640"/>
                <a:gd name="connsiteY32" fmla="*/ 165664 h 582930"/>
                <a:gd name="connsiteX33" fmla="*/ 279249 w 548640"/>
                <a:gd name="connsiteY33" fmla="*/ 169521 h 582930"/>
                <a:gd name="connsiteX34" fmla="*/ 299823 w 548640"/>
                <a:gd name="connsiteY34" fmla="*/ 287393 h 582930"/>
                <a:gd name="connsiteX35" fmla="*/ 307110 w 548640"/>
                <a:gd name="connsiteY35" fmla="*/ 292537 h 582930"/>
                <a:gd name="connsiteX36" fmla="*/ 361117 w 548640"/>
                <a:gd name="connsiteY36" fmla="*/ 288679 h 582930"/>
                <a:gd name="connsiteX37" fmla="*/ 371404 w 548640"/>
                <a:gd name="connsiteY37" fmla="*/ 348686 h 582930"/>
                <a:gd name="connsiteX38" fmla="*/ 311825 w 548640"/>
                <a:gd name="connsiteY38" fmla="*/ 358973 h 582930"/>
                <a:gd name="connsiteX39" fmla="*/ 296394 w 548640"/>
                <a:gd name="connsiteY39" fmla="*/ 309253 h 582930"/>
                <a:gd name="connsiteX40" fmla="*/ 281821 w 548640"/>
                <a:gd name="connsiteY40" fmla="*/ 298966 h 582930"/>
                <a:gd name="connsiteX41" fmla="*/ 280964 w 548640"/>
                <a:gd name="connsiteY41" fmla="*/ 294680 h 582930"/>
                <a:gd name="connsiteX42" fmla="*/ 260819 w 548640"/>
                <a:gd name="connsiteY42" fmla="*/ 177665 h 582930"/>
                <a:gd name="connsiteX43" fmla="*/ 199954 w 548640"/>
                <a:gd name="connsiteY43" fmla="*/ 134803 h 582930"/>
                <a:gd name="connsiteX44" fmla="*/ 57222 w 548640"/>
                <a:gd name="connsiteY44" fmla="*/ 159663 h 582930"/>
                <a:gd name="connsiteX45" fmla="*/ 53364 w 548640"/>
                <a:gd name="connsiteY45" fmla="*/ 160091 h 582930"/>
                <a:gd name="connsiteX46" fmla="*/ 24646 w 548640"/>
                <a:gd name="connsiteY46" fmla="*/ 139946 h 582930"/>
                <a:gd name="connsiteX47" fmla="*/ 27646 w 548640"/>
                <a:gd name="connsiteY47" fmla="*/ 156663 h 582930"/>
                <a:gd name="connsiteX48" fmla="*/ 119801 w 548640"/>
                <a:gd name="connsiteY48" fmla="*/ 221385 h 582930"/>
                <a:gd name="connsiteX49" fmla="*/ 153233 w 548640"/>
                <a:gd name="connsiteY49" fmla="*/ 215813 h 582930"/>
                <a:gd name="connsiteX50" fmla="*/ 160949 w 548640"/>
                <a:gd name="connsiteY50" fmla="*/ 193096 h 582930"/>
                <a:gd name="connsiteX51" fmla="*/ 220528 w 548640"/>
                <a:gd name="connsiteY51" fmla="*/ 182809 h 582930"/>
                <a:gd name="connsiteX52" fmla="*/ 231243 w 548640"/>
                <a:gd name="connsiteY52" fmla="*/ 242388 h 582930"/>
                <a:gd name="connsiteX53" fmla="*/ 171236 w 548640"/>
                <a:gd name="connsiteY53" fmla="*/ 252675 h 582930"/>
                <a:gd name="connsiteX54" fmla="*/ 157091 w 548640"/>
                <a:gd name="connsiteY54" fmla="*/ 235101 h 582930"/>
                <a:gd name="connsiteX55" fmla="*/ 115515 w 548640"/>
                <a:gd name="connsiteY55" fmla="*/ 242388 h 582930"/>
                <a:gd name="connsiteX56" fmla="*/ 34076 w 548640"/>
                <a:gd name="connsiteY56" fmla="*/ 184952 h 582930"/>
                <a:gd name="connsiteX57" fmla="*/ 42220 w 548640"/>
                <a:gd name="connsiteY57" fmla="*/ 220099 h 582930"/>
                <a:gd name="connsiteX58" fmla="*/ 44363 w 548640"/>
                <a:gd name="connsiteY58" fmla="*/ 226957 h 582930"/>
                <a:gd name="connsiteX59" fmla="*/ 545854 w 548640"/>
                <a:gd name="connsiteY59" fmla="*/ 580144 h 582930"/>
                <a:gd name="connsiteX60" fmla="*/ 515422 w 548640"/>
                <a:gd name="connsiteY60" fmla="*/ 433554 h 58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48640" h="582930">
                  <a:moveTo>
                    <a:pt x="515422" y="433554"/>
                  </a:moveTo>
                  <a:lnTo>
                    <a:pt x="515422" y="433554"/>
                  </a:lnTo>
                  <a:cubicBezTo>
                    <a:pt x="514136" y="437412"/>
                    <a:pt x="511993" y="441698"/>
                    <a:pt x="509421" y="445127"/>
                  </a:cubicBezTo>
                  <a:cubicBezTo>
                    <a:pt x="495705" y="464415"/>
                    <a:pt x="468702" y="469130"/>
                    <a:pt x="449414" y="455843"/>
                  </a:cubicBezTo>
                  <a:cubicBezTo>
                    <a:pt x="430125" y="442555"/>
                    <a:pt x="425410" y="415552"/>
                    <a:pt x="439126" y="395835"/>
                  </a:cubicBezTo>
                  <a:cubicBezTo>
                    <a:pt x="442984" y="390263"/>
                    <a:pt x="448127" y="386406"/>
                    <a:pt x="453700" y="383405"/>
                  </a:cubicBezTo>
                  <a:lnTo>
                    <a:pt x="439984" y="304967"/>
                  </a:lnTo>
                  <a:lnTo>
                    <a:pt x="337542" y="232958"/>
                  </a:lnTo>
                  <a:lnTo>
                    <a:pt x="336685" y="229100"/>
                  </a:lnTo>
                  <a:lnTo>
                    <a:pt x="327255" y="173379"/>
                  </a:lnTo>
                  <a:lnTo>
                    <a:pt x="326398" y="169521"/>
                  </a:lnTo>
                  <a:lnTo>
                    <a:pt x="373975" y="101798"/>
                  </a:lnTo>
                  <a:lnTo>
                    <a:pt x="362831" y="37076"/>
                  </a:lnTo>
                  <a:lnTo>
                    <a:pt x="314397" y="3215"/>
                  </a:lnTo>
                  <a:lnTo>
                    <a:pt x="56793" y="47792"/>
                  </a:lnTo>
                  <a:lnTo>
                    <a:pt x="52507" y="48649"/>
                  </a:lnTo>
                  <a:lnTo>
                    <a:pt x="3215" y="13930"/>
                  </a:lnTo>
                  <a:cubicBezTo>
                    <a:pt x="5787" y="29361"/>
                    <a:pt x="8358" y="44363"/>
                    <a:pt x="10930" y="59794"/>
                  </a:cubicBezTo>
                  <a:lnTo>
                    <a:pt x="73081" y="103513"/>
                  </a:lnTo>
                  <a:lnTo>
                    <a:pt x="247531" y="72652"/>
                  </a:lnTo>
                  <a:cubicBezTo>
                    <a:pt x="248817" y="68366"/>
                    <a:pt x="250960" y="63651"/>
                    <a:pt x="253532" y="59794"/>
                  </a:cubicBezTo>
                  <a:cubicBezTo>
                    <a:pt x="267248" y="40505"/>
                    <a:pt x="293822" y="35790"/>
                    <a:pt x="313111" y="49506"/>
                  </a:cubicBezTo>
                  <a:cubicBezTo>
                    <a:pt x="332399" y="63222"/>
                    <a:pt x="337542" y="90226"/>
                    <a:pt x="323826" y="109514"/>
                  </a:cubicBezTo>
                  <a:cubicBezTo>
                    <a:pt x="310110" y="128802"/>
                    <a:pt x="283107" y="133517"/>
                    <a:pt x="263819" y="119801"/>
                  </a:cubicBezTo>
                  <a:cubicBezTo>
                    <a:pt x="254389" y="113372"/>
                    <a:pt x="248817" y="103513"/>
                    <a:pt x="246674" y="93226"/>
                  </a:cubicBezTo>
                  <a:lnTo>
                    <a:pt x="72223" y="123658"/>
                  </a:lnTo>
                  <a:lnTo>
                    <a:pt x="67937" y="124516"/>
                  </a:lnTo>
                  <a:lnTo>
                    <a:pt x="15216" y="87654"/>
                  </a:lnTo>
                  <a:cubicBezTo>
                    <a:pt x="16502" y="95798"/>
                    <a:pt x="18217" y="103942"/>
                    <a:pt x="19502" y="112086"/>
                  </a:cubicBezTo>
                  <a:lnTo>
                    <a:pt x="58079" y="139089"/>
                  </a:lnTo>
                  <a:lnTo>
                    <a:pt x="200811" y="114229"/>
                  </a:lnTo>
                  <a:lnTo>
                    <a:pt x="204668" y="113800"/>
                  </a:lnTo>
                  <a:lnTo>
                    <a:pt x="278392" y="165664"/>
                  </a:lnTo>
                  <a:lnTo>
                    <a:pt x="279249" y="169521"/>
                  </a:lnTo>
                  <a:lnTo>
                    <a:pt x="299823" y="287393"/>
                  </a:lnTo>
                  <a:lnTo>
                    <a:pt x="307110" y="292537"/>
                  </a:lnTo>
                  <a:cubicBezTo>
                    <a:pt x="321683" y="278821"/>
                    <a:pt x="343972" y="276678"/>
                    <a:pt x="361117" y="288679"/>
                  </a:cubicBezTo>
                  <a:cubicBezTo>
                    <a:pt x="380405" y="302395"/>
                    <a:pt x="385120" y="328970"/>
                    <a:pt x="371404" y="348686"/>
                  </a:cubicBezTo>
                  <a:cubicBezTo>
                    <a:pt x="357688" y="368404"/>
                    <a:pt x="331113" y="372690"/>
                    <a:pt x="311825" y="358973"/>
                  </a:cubicBezTo>
                  <a:cubicBezTo>
                    <a:pt x="295537" y="347401"/>
                    <a:pt x="289965" y="327255"/>
                    <a:pt x="296394" y="309253"/>
                  </a:cubicBezTo>
                  <a:lnTo>
                    <a:pt x="281821" y="298966"/>
                  </a:lnTo>
                  <a:lnTo>
                    <a:pt x="280964" y="294680"/>
                  </a:lnTo>
                  <a:lnTo>
                    <a:pt x="260819" y="177665"/>
                  </a:lnTo>
                  <a:lnTo>
                    <a:pt x="199954" y="134803"/>
                  </a:lnTo>
                  <a:lnTo>
                    <a:pt x="57222" y="159663"/>
                  </a:lnTo>
                  <a:lnTo>
                    <a:pt x="53364" y="160091"/>
                  </a:lnTo>
                  <a:lnTo>
                    <a:pt x="24646" y="139946"/>
                  </a:lnTo>
                  <a:cubicBezTo>
                    <a:pt x="25503" y="145519"/>
                    <a:pt x="26789" y="151090"/>
                    <a:pt x="27646" y="156663"/>
                  </a:cubicBezTo>
                  <a:lnTo>
                    <a:pt x="119801" y="221385"/>
                  </a:lnTo>
                  <a:lnTo>
                    <a:pt x="153233" y="215813"/>
                  </a:lnTo>
                  <a:cubicBezTo>
                    <a:pt x="153662" y="207669"/>
                    <a:pt x="155805" y="199954"/>
                    <a:pt x="160949" y="193096"/>
                  </a:cubicBezTo>
                  <a:cubicBezTo>
                    <a:pt x="174665" y="173808"/>
                    <a:pt x="201240" y="169093"/>
                    <a:pt x="220528" y="182809"/>
                  </a:cubicBezTo>
                  <a:cubicBezTo>
                    <a:pt x="239816" y="196524"/>
                    <a:pt x="244959" y="223100"/>
                    <a:pt x="231243" y="242388"/>
                  </a:cubicBezTo>
                  <a:cubicBezTo>
                    <a:pt x="217527" y="261676"/>
                    <a:pt x="190524" y="266391"/>
                    <a:pt x="171236" y="252675"/>
                  </a:cubicBezTo>
                  <a:cubicBezTo>
                    <a:pt x="164806" y="247959"/>
                    <a:pt x="160092" y="241959"/>
                    <a:pt x="157091" y="235101"/>
                  </a:cubicBezTo>
                  <a:lnTo>
                    <a:pt x="115515" y="242388"/>
                  </a:lnTo>
                  <a:lnTo>
                    <a:pt x="34076" y="184952"/>
                  </a:lnTo>
                  <a:cubicBezTo>
                    <a:pt x="36647" y="196954"/>
                    <a:pt x="39219" y="208526"/>
                    <a:pt x="42220" y="220099"/>
                  </a:cubicBezTo>
                  <a:cubicBezTo>
                    <a:pt x="42648" y="222242"/>
                    <a:pt x="43506" y="224385"/>
                    <a:pt x="44363" y="226957"/>
                  </a:cubicBezTo>
                  <a:lnTo>
                    <a:pt x="545854" y="580144"/>
                  </a:lnTo>
                  <a:cubicBezTo>
                    <a:pt x="535567" y="530423"/>
                    <a:pt x="525280" y="481989"/>
                    <a:pt x="515422" y="433554"/>
                  </a:cubicBezTo>
                  <a:close/>
                </a:path>
              </a:pathLst>
            </a:custGeom>
            <a:grpFill/>
            <a:ln w="9525" cap="flat">
              <a:noFill/>
              <a:prstDash val="solid"/>
              <a:miter/>
            </a:ln>
          </p:spPr>
          <p:txBody>
            <a:bodyPr rtlCol="0" anchor="ctr"/>
            <a:lstStyle/>
            <a:p>
              <a:endParaRPr lang="en-US"/>
            </a:p>
          </p:txBody>
        </p:sp>
        <p:sp>
          <p:nvSpPr>
            <p:cNvPr id="348" name="Freeform: Shape 125">
              <a:extLst>
                <a:ext uri="{FF2B5EF4-FFF2-40B4-BE49-F238E27FC236}">
                  <a16:creationId xmlns:a16="http://schemas.microsoft.com/office/drawing/2014/main" id="{9DE565A7-82E5-7D49-B222-3E218C96F009}"/>
                </a:ext>
              </a:extLst>
            </p:cNvPr>
            <p:cNvSpPr/>
            <p:nvPr/>
          </p:nvSpPr>
          <p:spPr>
            <a:xfrm>
              <a:off x="7763995" y="6684621"/>
              <a:ext cx="77153" cy="137160"/>
            </a:xfrm>
            <a:custGeom>
              <a:avLst/>
              <a:gdLst>
                <a:gd name="connsiteX0" fmla="*/ 73509 w 77152"/>
                <a:gd name="connsiteY0" fmla="*/ 86797 h 137160"/>
                <a:gd name="connsiteX1" fmla="*/ 55507 w 77152"/>
                <a:gd name="connsiteY1" fmla="*/ 79510 h 137160"/>
                <a:gd name="connsiteX2" fmla="*/ 55507 w 77152"/>
                <a:gd name="connsiteY2" fmla="*/ 79510 h 137160"/>
                <a:gd name="connsiteX3" fmla="*/ 40505 w 77152"/>
                <a:gd name="connsiteY3" fmla="*/ 28075 h 137160"/>
                <a:gd name="connsiteX4" fmla="*/ 22074 w 77152"/>
                <a:gd name="connsiteY4" fmla="*/ 4929 h 137160"/>
                <a:gd name="connsiteX5" fmla="*/ 20360 w 77152"/>
                <a:gd name="connsiteY5" fmla="*/ 3215 h 137160"/>
                <a:gd name="connsiteX6" fmla="*/ 3215 w 77152"/>
                <a:gd name="connsiteY6" fmla="*/ 27646 h 137160"/>
                <a:gd name="connsiteX7" fmla="*/ 21646 w 77152"/>
                <a:gd name="connsiteY7" fmla="*/ 134802 h 137160"/>
                <a:gd name="connsiteX8" fmla="*/ 40505 w 77152"/>
                <a:gd name="connsiteY8" fmla="*/ 130516 h 137160"/>
                <a:gd name="connsiteX9" fmla="*/ 72652 w 77152"/>
                <a:gd name="connsiteY9" fmla="*/ 106942 h 137160"/>
                <a:gd name="connsiteX10" fmla="*/ 73509 w 77152"/>
                <a:gd name="connsiteY10" fmla="*/ 86797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2" h="137160">
                  <a:moveTo>
                    <a:pt x="73509" y="86797"/>
                  </a:moveTo>
                  <a:cubicBezTo>
                    <a:pt x="67080" y="85939"/>
                    <a:pt x="61079" y="83367"/>
                    <a:pt x="55507" y="79510"/>
                  </a:cubicBezTo>
                  <a:lnTo>
                    <a:pt x="55507" y="79510"/>
                  </a:lnTo>
                  <a:cubicBezTo>
                    <a:pt x="38791" y="67937"/>
                    <a:pt x="33218" y="46077"/>
                    <a:pt x="40505" y="28075"/>
                  </a:cubicBezTo>
                  <a:cubicBezTo>
                    <a:pt x="34504" y="19931"/>
                    <a:pt x="28503" y="12216"/>
                    <a:pt x="22074" y="4929"/>
                  </a:cubicBezTo>
                  <a:cubicBezTo>
                    <a:pt x="21646" y="4072"/>
                    <a:pt x="20788" y="3643"/>
                    <a:pt x="20360" y="3215"/>
                  </a:cubicBezTo>
                  <a:lnTo>
                    <a:pt x="3215" y="27646"/>
                  </a:lnTo>
                  <a:lnTo>
                    <a:pt x="21646" y="134802"/>
                  </a:lnTo>
                  <a:cubicBezTo>
                    <a:pt x="28075" y="133945"/>
                    <a:pt x="34504" y="133088"/>
                    <a:pt x="40505" y="130516"/>
                  </a:cubicBezTo>
                  <a:cubicBezTo>
                    <a:pt x="52507" y="125373"/>
                    <a:pt x="67080" y="119800"/>
                    <a:pt x="72652" y="106942"/>
                  </a:cubicBezTo>
                  <a:cubicBezTo>
                    <a:pt x="75224" y="100084"/>
                    <a:pt x="74795" y="93226"/>
                    <a:pt x="73509" y="86797"/>
                  </a:cubicBezTo>
                  <a:close/>
                </a:path>
              </a:pathLst>
            </a:custGeom>
            <a:grpFill/>
            <a:ln w="9525" cap="flat">
              <a:noFill/>
              <a:prstDash val="solid"/>
              <a:miter/>
            </a:ln>
          </p:spPr>
          <p:txBody>
            <a:bodyPr rtlCol="0" anchor="ctr"/>
            <a:lstStyle/>
            <a:p>
              <a:endParaRPr lang="en-US"/>
            </a:p>
          </p:txBody>
        </p:sp>
        <p:sp>
          <p:nvSpPr>
            <p:cNvPr id="349" name="Freeform: Shape 126">
              <a:extLst>
                <a:ext uri="{FF2B5EF4-FFF2-40B4-BE49-F238E27FC236}">
                  <a16:creationId xmlns:a16="http://schemas.microsoft.com/office/drawing/2014/main" id="{489AD44D-113A-D34E-B93C-35C1A173AD8A}"/>
                </a:ext>
              </a:extLst>
            </p:cNvPr>
            <p:cNvSpPr/>
            <p:nvPr/>
          </p:nvSpPr>
          <p:spPr>
            <a:xfrm>
              <a:off x="6748153" y="5507188"/>
              <a:ext cx="990124" cy="1337310"/>
            </a:xfrm>
            <a:custGeom>
              <a:avLst/>
              <a:gdLst>
                <a:gd name="connsiteX0" fmla="*/ 968478 w 990123"/>
                <a:gd name="connsiteY0" fmla="*/ 1134356 h 1337310"/>
                <a:gd name="connsiteX1" fmla="*/ 968478 w 990123"/>
                <a:gd name="connsiteY1" fmla="*/ 1134356 h 1337310"/>
                <a:gd name="connsiteX2" fmla="*/ 926044 w 990123"/>
                <a:gd name="connsiteY2" fmla="*/ 1118068 h 1337310"/>
                <a:gd name="connsiteX3" fmla="*/ 734020 w 990123"/>
                <a:gd name="connsiteY3" fmla="*/ 909757 h 1337310"/>
                <a:gd name="connsiteX4" fmla="*/ 624721 w 990123"/>
                <a:gd name="connsiteY4" fmla="*/ 756309 h 1337310"/>
                <a:gd name="connsiteX5" fmla="*/ 612291 w 990123"/>
                <a:gd name="connsiteY5" fmla="*/ 732306 h 1337310"/>
                <a:gd name="connsiteX6" fmla="*/ 594289 w 990123"/>
                <a:gd name="connsiteY6" fmla="*/ 725019 h 1337310"/>
                <a:gd name="connsiteX7" fmla="*/ 583144 w 990123"/>
                <a:gd name="connsiteY7" fmla="*/ 665869 h 1337310"/>
                <a:gd name="connsiteX8" fmla="*/ 564285 w 990123"/>
                <a:gd name="connsiteY8" fmla="*/ 611005 h 1337310"/>
                <a:gd name="connsiteX9" fmla="*/ 561713 w 990123"/>
                <a:gd name="connsiteY9" fmla="*/ 611434 h 1337310"/>
                <a:gd name="connsiteX10" fmla="*/ 480274 w 990123"/>
                <a:gd name="connsiteY10" fmla="*/ 553998 h 1337310"/>
                <a:gd name="connsiteX11" fmla="*/ 478560 w 990123"/>
                <a:gd name="connsiteY11" fmla="*/ 544140 h 1337310"/>
                <a:gd name="connsiteX12" fmla="*/ 438269 w 990123"/>
                <a:gd name="connsiteY12" fmla="*/ 309682 h 1337310"/>
                <a:gd name="connsiteX13" fmla="*/ 3215 w 990123"/>
                <a:gd name="connsiteY13" fmla="*/ 3215 h 1337310"/>
                <a:gd name="connsiteX14" fmla="*/ 38791 w 990123"/>
                <a:gd name="connsiteY14" fmla="*/ 87654 h 1337310"/>
                <a:gd name="connsiteX15" fmla="*/ 355116 w 990123"/>
                <a:gd name="connsiteY15" fmla="*/ 310110 h 1337310"/>
                <a:gd name="connsiteX16" fmla="*/ 356830 w 990123"/>
                <a:gd name="connsiteY16" fmla="*/ 318254 h 1337310"/>
                <a:gd name="connsiteX17" fmla="*/ 383405 w 990123"/>
                <a:gd name="connsiteY17" fmla="*/ 472131 h 1337310"/>
                <a:gd name="connsiteX18" fmla="*/ 388977 w 990123"/>
                <a:gd name="connsiteY18" fmla="*/ 527852 h 1337310"/>
                <a:gd name="connsiteX19" fmla="*/ 329398 w 990123"/>
                <a:gd name="connsiteY19" fmla="*/ 538139 h 1337310"/>
                <a:gd name="connsiteX20" fmla="*/ 319111 w 990123"/>
                <a:gd name="connsiteY20" fmla="*/ 478560 h 1337310"/>
                <a:gd name="connsiteX21" fmla="*/ 342257 w 990123"/>
                <a:gd name="connsiteY21" fmla="*/ 462272 h 1337310"/>
                <a:gd name="connsiteX22" fmla="*/ 319968 w 990123"/>
                <a:gd name="connsiteY22" fmla="*/ 333256 h 1337310"/>
                <a:gd name="connsiteX23" fmla="*/ 75652 w 990123"/>
                <a:gd name="connsiteY23" fmla="*/ 161377 h 1337310"/>
                <a:gd name="connsiteX24" fmla="*/ 106942 w 990123"/>
                <a:gd name="connsiteY24" fmla="*/ 220099 h 1337310"/>
                <a:gd name="connsiteX25" fmla="*/ 183237 w 990123"/>
                <a:gd name="connsiteY25" fmla="*/ 342686 h 1337310"/>
                <a:gd name="connsiteX26" fmla="*/ 195239 w 990123"/>
                <a:gd name="connsiteY26" fmla="*/ 362403 h 1337310"/>
                <a:gd name="connsiteX27" fmla="*/ 235529 w 990123"/>
                <a:gd name="connsiteY27" fmla="*/ 367117 h 1337310"/>
                <a:gd name="connsiteX28" fmla="*/ 245816 w 990123"/>
                <a:gd name="connsiteY28" fmla="*/ 427125 h 1337310"/>
                <a:gd name="connsiteX29" fmla="*/ 235529 w 990123"/>
                <a:gd name="connsiteY29" fmla="*/ 437412 h 1337310"/>
                <a:gd name="connsiteX30" fmla="*/ 254389 w 990123"/>
                <a:gd name="connsiteY30" fmla="*/ 477703 h 1337310"/>
                <a:gd name="connsiteX31" fmla="*/ 343114 w 990123"/>
                <a:gd name="connsiteY31" fmla="*/ 695873 h 1337310"/>
                <a:gd name="connsiteX32" fmla="*/ 359402 w 990123"/>
                <a:gd name="connsiteY32" fmla="*/ 761024 h 1337310"/>
                <a:gd name="connsiteX33" fmla="*/ 325541 w 990123"/>
                <a:gd name="connsiteY33" fmla="*/ 849749 h 1337310"/>
                <a:gd name="connsiteX34" fmla="*/ 324683 w 990123"/>
                <a:gd name="connsiteY34" fmla="*/ 854035 h 1337310"/>
                <a:gd name="connsiteX35" fmla="*/ 500420 w 990123"/>
                <a:gd name="connsiteY35" fmla="*/ 823603 h 1337310"/>
                <a:gd name="connsiteX36" fmla="*/ 507278 w 990123"/>
                <a:gd name="connsiteY36" fmla="*/ 808601 h 1337310"/>
                <a:gd name="connsiteX37" fmla="*/ 566857 w 990123"/>
                <a:gd name="connsiteY37" fmla="*/ 797886 h 1337310"/>
                <a:gd name="connsiteX38" fmla="*/ 577572 w 990123"/>
                <a:gd name="connsiteY38" fmla="*/ 857893 h 1337310"/>
                <a:gd name="connsiteX39" fmla="*/ 517565 w 990123"/>
                <a:gd name="connsiteY39" fmla="*/ 868180 h 1337310"/>
                <a:gd name="connsiteX40" fmla="*/ 504277 w 990123"/>
                <a:gd name="connsiteY40" fmla="*/ 852321 h 1337310"/>
                <a:gd name="connsiteX41" fmla="*/ 317397 w 990123"/>
                <a:gd name="connsiteY41" fmla="*/ 884897 h 1337310"/>
                <a:gd name="connsiteX42" fmla="*/ 304967 w 990123"/>
                <a:gd name="connsiteY42" fmla="*/ 951762 h 1337310"/>
                <a:gd name="connsiteX43" fmla="*/ 314396 w 990123"/>
                <a:gd name="connsiteY43" fmla="*/ 1020771 h 1337310"/>
                <a:gd name="connsiteX44" fmla="*/ 361974 w 990123"/>
                <a:gd name="connsiteY44" fmla="*/ 1055061 h 1337310"/>
                <a:gd name="connsiteX45" fmla="*/ 455414 w 990123"/>
                <a:gd name="connsiteY45" fmla="*/ 1081635 h 1337310"/>
                <a:gd name="connsiteX46" fmla="*/ 442555 w 990123"/>
                <a:gd name="connsiteY46" fmla="*/ 1007483 h 1337310"/>
                <a:gd name="connsiteX47" fmla="*/ 424982 w 990123"/>
                <a:gd name="connsiteY47" fmla="*/ 1000196 h 1337310"/>
                <a:gd name="connsiteX48" fmla="*/ 414695 w 990123"/>
                <a:gd name="connsiteY48" fmla="*/ 940618 h 1337310"/>
                <a:gd name="connsiteX49" fmla="*/ 474273 w 990123"/>
                <a:gd name="connsiteY49" fmla="*/ 929902 h 1337310"/>
                <a:gd name="connsiteX50" fmla="*/ 484989 w 990123"/>
                <a:gd name="connsiteY50" fmla="*/ 989910 h 1337310"/>
                <a:gd name="connsiteX51" fmla="*/ 471273 w 990123"/>
                <a:gd name="connsiteY51" fmla="*/ 1002339 h 1337310"/>
                <a:gd name="connsiteX52" fmla="*/ 484989 w 990123"/>
                <a:gd name="connsiteY52" fmla="*/ 1083350 h 1337310"/>
                <a:gd name="connsiteX53" fmla="*/ 485846 w 990123"/>
                <a:gd name="connsiteY53" fmla="*/ 1088065 h 1337310"/>
                <a:gd name="connsiteX54" fmla="*/ 559141 w 990123"/>
                <a:gd name="connsiteY54" fmla="*/ 1101352 h 1337310"/>
                <a:gd name="connsiteX55" fmla="*/ 555284 w 990123"/>
                <a:gd name="connsiteY55" fmla="*/ 1047345 h 1337310"/>
                <a:gd name="connsiteX56" fmla="*/ 615291 w 990123"/>
                <a:gd name="connsiteY56" fmla="*/ 1037059 h 1337310"/>
                <a:gd name="connsiteX57" fmla="*/ 625578 w 990123"/>
                <a:gd name="connsiteY57" fmla="*/ 1096637 h 1337310"/>
                <a:gd name="connsiteX58" fmla="*/ 605861 w 990123"/>
                <a:gd name="connsiteY58" fmla="*/ 1112496 h 1337310"/>
                <a:gd name="connsiteX59" fmla="*/ 620006 w 990123"/>
                <a:gd name="connsiteY59" fmla="*/ 1142929 h 1337310"/>
                <a:gd name="connsiteX60" fmla="*/ 651724 w 990123"/>
                <a:gd name="connsiteY60" fmla="*/ 1170789 h 1337310"/>
                <a:gd name="connsiteX61" fmla="*/ 682157 w 990123"/>
                <a:gd name="connsiteY61" fmla="*/ 1203793 h 1337310"/>
                <a:gd name="connsiteX62" fmla="*/ 700587 w 990123"/>
                <a:gd name="connsiteY62" fmla="*/ 1177647 h 1337310"/>
                <a:gd name="connsiteX63" fmla="*/ 664583 w 990123"/>
                <a:gd name="connsiteY63" fmla="*/ 970193 h 1337310"/>
                <a:gd name="connsiteX64" fmla="*/ 663297 w 990123"/>
                <a:gd name="connsiteY64" fmla="*/ 969764 h 1337310"/>
                <a:gd name="connsiteX65" fmla="*/ 653010 w 990123"/>
                <a:gd name="connsiteY65" fmla="*/ 909757 h 1337310"/>
                <a:gd name="connsiteX66" fmla="*/ 712589 w 990123"/>
                <a:gd name="connsiteY66" fmla="*/ 899469 h 1337310"/>
                <a:gd name="connsiteX67" fmla="*/ 722876 w 990123"/>
                <a:gd name="connsiteY67" fmla="*/ 959048 h 1337310"/>
                <a:gd name="connsiteX68" fmla="*/ 695444 w 990123"/>
                <a:gd name="connsiteY68" fmla="*/ 976622 h 1337310"/>
                <a:gd name="connsiteX69" fmla="*/ 730591 w 990123"/>
                <a:gd name="connsiteY69" fmla="*/ 1178505 h 1337310"/>
                <a:gd name="connsiteX70" fmla="*/ 731877 w 990123"/>
                <a:gd name="connsiteY70" fmla="*/ 1184505 h 1337310"/>
                <a:gd name="connsiteX71" fmla="*/ 702302 w 990123"/>
                <a:gd name="connsiteY71" fmla="*/ 1226511 h 1337310"/>
                <a:gd name="connsiteX72" fmla="*/ 741736 w 990123"/>
                <a:gd name="connsiteY72" fmla="*/ 1270230 h 1337310"/>
                <a:gd name="connsiteX73" fmla="*/ 742164 w 990123"/>
                <a:gd name="connsiteY73" fmla="*/ 1269373 h 1337310"/>
                <a:gd name="connsiteX74" fmla="*/ 748165 w 990123"/>
                <a:gd name="connsiteY74" fmla="*/ 1268516 h 1337310"/>
                <a:gd name="connsiteX75" fmla="*/ 821031 w 990123"/>
                <a:gd name="connsiteY75" fmla="*/ 1255657 h 1337310"/>
                <a:gd name="connsiteX76" fmla="*/ 828318 w 990123"/>
                <a:gd name="connsiteY76" fmla="*/ 1239369 h 1337310"/>
                <a:gd name="connsiteX77" fmla="*/ 888325 w 990123"/>
                <a:gd name="connsiteY77" fmla="*/ 1229082 h 1337310"/>
                <a:gd name="connsiteX78" fmla="*/ 898612 w 990123"/>
                <a:gd name="connsiteY78" fmla="*/ 1288661 h 1337310"/>
                <a:gd name="connsiteX79" fmla="*/ 839034 w 990123"/>
                <a:gd name="connsiteY79" fmla="*/ 1298948 h 1337310"/>
                <a:gd name="connsiteX80" fmla="*/ 826175 w 990123"/>
                <a:gd name="connsiteY80" fmla="*/ 1284375 h 1337310"/>
                <a:gd name="connsiteX81" fmla="*/ 767882 w 990123"/>
                <a:gd name="connsiteY81" fmla="*/ 1294662 h 1337310"/>
                <a:gd name="connsiteX82" fmla="*/ 767882 w 990123"/>
                <a:gd name="connsiteY82" fmla="*/ 1294662 h 1337310"/>
                <a:gd name="connsiteX83" fmla="*/ 877610 w 990123"/>
                <a:gd name="connsiteY83" fmla="*/ 1318236 h 1337310"/>
                <a:gd name="connsiteX84" fmla="*/ 949190 w 990123"/>
                <a:gd name="connsiteY84" fmla="*/ 1334953 h 1337310"/>
                <a:gd name="connsiteX85" fmla="*/ 983909 w 990123"/>
                <a:gd name="connsiteY85" fmla="*/ 1334095 h 1337310"/>
                <a:gd name="connsiteX86" fmla="*/ 961192 w 990123"/>
                <a:gd name="connsiteY86" fmla="*/ 1203793 h 1337310"/>
                <a:gd name="connsiteX87" fmla="*/ 959049 w 990123"/>
                <a:gd name="connsiteY87" fmla="*/ 1192221 h 1337310"/>
                <a:gd name="connsiteX88" fmla="*/ 988624 w 990123"/>
                <a:gd name="connsiteY88" fmla="*/ 1150215 h 1337310"/>
                <a:gd name="connsiteX89" fmla="*/ 968478 w 990123"/>
                <a:gd name="connsiteY89" fmla="*/ 1134356 h 1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990123" h="1337310">
                  <a:moveTo>
                    <a:pt x="968478" y="1134356"/>
                  </a:moveTo>
                  <a:lnTo>
                    <a:pt x="968478" y="1134356"/>
                  </a:lnTo>
                  <a:cubicBezTo>
                    <a:pt x="953905" y="1129641"/>
                    <a:pt x="937189" y="1130070"/>
                    <a:pt x="926044" y="1118068"/>
                  </a:cubicBezTo>
                  <a:cubicBezTo>
                    <a:pt x="858750" y="1052060"/>
                    <a:pt x="794885" y="982194"/>
                    <a:pt x="734020" y="909757"/>
                  </a:cubicBezTo>
                  <a:cubicBezTo>
                    <a:pt x="693730" y="861322"/>
                    <a:pt x="653868" y="812030"/>
                    <a:pt x="624721" y="756309"/>
                  </a:cubicBezTo>
                  <a:cubicBezTo>
                    <a:pt x="620435" y="748594"/>
                    <a:pt x="616149" y="740450"/>
                    <a:pt x="612291" y="732306"/>
                  </a:cubicBezTo>
                  <a:cubicBezTo>
                    <a:pt x="605861" y="731449"/>
                    <a:pt x="599861" y="728877"/>
                    <a:pt x="594289" y="725019"/>
                  </a:cubicBezTo>
                  <a:cubicBezTo>
                    <a:pt x="575000" y="711304"/>
                    <a:pt x="569857" y="685157"/>
                    <a:pt x="583144" y="665869"/>
                  </a:cubicBezTo>
                  <a:cubicBezTo>
                    <a:pt x="576286" y="647867"/>
                    <a:pt x="570286" y="629436"/>
                    <a:pt x="564285" y="611005"/>
                  </a:cubicBezTo>
                  <a:lnTo>
                    <a:pt x="561713" y="611434"/>
                  </a:lnTo>
                  <a:lnTo>
                    <a:pt x="480274" y="553998"/>
                  </a:lnTo>
                  <a:lnTo>
                    <a:pt x="478560" y="544140"/>
                  </a:lnTo>
                  <a:lnTo>
                    <a:pt x="438269" y="309682"/>
                  </a:lnTo>
                  <a:lnTo>
                    <a:pt x="3215" y="3215"/>
                  </a:lnTo>
                  <a:cubicBezTo>
                    <a:pt x="13930" y="31933"/>
                    <a:pt x="25932" y="60222"/>
                    <a:pt x="38791" y="87654"/>
                  </a:cubicBezTo>
                  <a:lnTo>
                    <a:pt x="355116" y="310110"/>
                  </a:lnTo>
                  <a:lnTo>
                    <a:pt x="356830" y="318254"/>
                  </a:lnTo>
                  <a:lnTo>
                    <a:pt x="383405" y="472131"/>
                  </a:lnTo>
                  <a:cubicBezTo>
                    <a:pt x="398407" y="486704"/>
                    <a:pt x="401407" y="510278"/>
                    <a:pt x="388977" y="527852"/>
                  </a:cubicBezTo>
                  <a:cubicBezTo>
                    <a:pt x="375261" y="547140"/>
                    <a:pt x="348686" y="551855"/>
                    <a:pt x="329398" y="538139"/>
                  </a:cubicBezTo>
                  <a:cubicBezTo>
                    <a:pt x="310110" y="524423"/>
                    <a:pt x="305395" y="497848"/>
                    <a:pt x="319111" y="478560"/>
                  </a:cubicBezTo>
                  <a:cubicBezTo>
                    <a:pt x="325112" y="470416"/>
                    <a:pt x="333256" y="464844"/>
                    <a:pt x="342257" y="462272"/>
                  </a:cubicBezTo>
                  <a:lnTo>
                    <a:pt x="319968" y="333256"/>
                  </a:lnTo>
                  <a:lnTo>
                    <a:pt x="75652" y="161377"/>
                  </a:lnTo>
                  <a:cubicBezTo>
                    <a:pt x="85510" y="181094"/>
                    <a:pt x="95798" y="200811"/>
                    <a:pt x="106942" y="220099"/>
                  </a:cubicBezTo>
                  <a:cubicBezTo>
                    <a:pt x="131373" y="261676"/>
                    <a:pt x="158377" y="301538"/>
                    <a:pt x="183237" y="342686"/>
                  </a:cubicBezTo>
                  <a:cubicBezTo>
                    <a:pt x="187095" y="349115"/>
                    <a:pt x="191381" y="355973"/>
                    <a:pt x="195239" y="362403"/>
                  </a:cubicBezTo>
                  <a:cubicBezTo>
                    <a:pt x="208097" y="357259"/>
                    <a:pt x="223099" y="358545"/>
                    <a:pt x="235529" y="367117"/>
                  </a:cubicBezTo>
                  <a:cubicBezTo>
                    <a:pt x="254817" y="380833"/>
                    <a:pt x="259532" y="407408"/>
                    <a:pt x="245816" y="427125"/>
                  </a:cubicBezTo>
                  <a:cubicBezTo>
                    <a:pt x="242816" y="431411"/>
                    <a:pt x="239387" y="434411"/>
                    <a:pt x="235529" y="437412"/>
                  </a:cubicBezTo>
                  <a:cubicBezTo>
                    <a:pt x="241959" y="450699"/>
                    <a:pt x="248388" y="463987"/>
                    <a:pt x="254389" y="477703"/>
                  </a:cubicBezTo>
                  <a:cubicBezTo>
                    <a:pt x="286964" y="549283"/>
                    <a:pt x="317397" y="621721"/>
                    <a:pt x="343114" y="695873"/>
                  </a:cubicBezTo>
                  <a:cubicBezTo>
                    <a:pt x="349972" y="717304"/>
                    <a:pt x="357687" y="738307"/>
                    <a:pt x="359402" y="761024"/>
                  </a:cubicBezTo>
                  <a:cubicBezTo>
                    <a:pt x="359831" y="794456"/>
                    <a:pt x="331970" y="818460"/>
                    <a:pt x="325541" y="849749"/>
                  </a:cubicBezTo>
                  <a:cubicBezTo>
                    <a:pt x="325112" y="851035"/>
                    <a:pt x="325112" y="852321"/>
                    <a:pt x="324683" y="854035"/>
                  </a:cubicBezTo>
                  <a:lnTo>
                    <a:pt x="500420" y="823603"/>
                  </a:lnTo>
                  <a:cubicBezTo>
                    <a:pt x="501706" y="818460"/>
                    <a:pt x="504277" y="813316"/>
                    <a:pt x="507278" y="808601"/>
                  </a:cubicBezTo>
                  <a:cubicBezTo>
                    <a:pt x="520994" y="789313"/>
                    <a:pt x="547569" y="784170"/>
                    <a:pt x="566857" y="797886"/>
                  </a:cubicBezTo>
                  <a:cubicBezTo>
                    <a:pt x="586145" y="811601"/>
                    <a:pt x="591288" y="838605"/>
                    <a:pt x="577572" y="857893"/>
                  </a:cubicBezTo>
                  <a:cubicBezTo>
                    <a:pt x="563856" y="877181"/>
                    <a:pt x="536853" y="881896"/>
                    <a:pt x="517565" y="868180"/>
                  </a:cubicBezTo>
                  <a:cubicBezTo>
                    <a:pt x="511564" y="863894"/>
                    <a:pt x="507278" y="858322"/>
                    <a:pt x="504277" y="852321"/>
                  </a:cubicBezTo>
                  <a:lnTo>
                    <a:pt x="317397" y="884897"/>
                  </a:lnTo>
                  <a:cubicBezTo>
                    <a:pt x="312253" y="906756"/>
                    <a:pt x="307110" y="929045"/>
                    <a:pt x="304967" y="951762"/>
                  </a:cubicBezTo>
                  <a:cubicBezTo>
                    <a:pt x="302823" y="974908"/>
                    <a:pt x="303252" y="999339"/>
                    <a:pt x="314396" y="1020771"/>
                  </a:cubicBezTo>
                  <a:cubicBezTo>
                    <a:pt x="323826" y="1039202"/>
                    <a:pt x="343972" y="1047345"/>
                    <a:pt x="361974" y="1055061"/>
                  </a:cubicBezTo>
                  <a:cubicBezTo>
                    <a:pt x="392406" y="1066633"/>
                    <a:pt x="423696" y="1074777"/>
                    <a:pt x="455414" y="1081635"/>
                  </a:cubicBezTo>
                  <a:lnTo>
                    <a:pt x="442555" y="1007483"/>
                  </a:lnTo>
                  <a:cubicBezTo>
                    <a:pt x="436555" y="1006197"/>
                    <a:pt x="430125" y="1004054"/>
                    <a:pt x="424982" y="1000196"/>
                  </a:cubicBezTo>
                  <a:cubicBezTo>
                    <a:pt x="405693" y="986481"/>
                    <a:pt x="401407" y="959906"/>
                    <a:pt x="414695" y="940618"/>
                  </a:cubicBezTo>
                  <a:cubicBezTo>
                    <a:pt x="427982" y="921330"/>
                    <a:pt x="454985" y="916186"/>
                    <a:pt x="474273" y="929902"/>
                  </a:cubicBezTo>
                  <a:cubicBezTo>
                    <a:pt x="493562" y="943618"/>
                    <a:pt x="498705" y="970622"/>
                    <a:pt x="484989" y="989910"/>
                  </a:cubicBezTo>
                  <a:cubicBezTo>
                    <a:pt x="481132" y="995053"/>
                    <a:pt x="476417" y="999339"/>
                    <a:pt x="471273" y="1002339"/>
                  </a:cubicBezTo>
                  <a:lnTo>
                    <a:pt x="484989" y="1083350"/>
                  </a:lnTo>
                  <a:lnTo>
                    <a:pt x="485846" y="1088065"/>
                  </a:lnTo>
                  <a:cubicBezTo>
                    <a:pt x="510278" y="1092780"/>
                    <a:pt x="534710" y="1096637"/>
                    <a:pt x="559141" y="1101352"/>
                  </a:cubicBezTo>
                  <a:cubicBezTo>
                    <a:pt x="545425" y="1086779"/>
                    <a:pt x="543282" y="1064062"/>
                    <a:pt x="555284" y="1047345"/>
                  </a:cubicBezTo>
                  <a:cubicBezTo>
                    <a:pt x="569000" y="1028057"/>
                    <a:pt x="595574" y="1023342"/>
                    <a:pt x="615291" y="1037059"/>
                  </a:cubicBezTo>
                  <a:cubicBezTo>
                    <a:pt x="634579" y="1050774"/>
                    <a:pt x="639294" y="1077349"/>
                    <a:pt x="625578" y="1096637"/>
                  </a:cubicBezTo>
                  <a:cubicBezTo>
                    <a:pt x="620435" y="1103924"/>
                    <a:pt x="613577" y="1109496"/>
                    <a:pt x="605861" y="1112496"/>
                  </a:cubicBezTo>
                  <a:lnTo>
                    <a:pt x="620006" y="1142929"/>
                  </a:lnTo>
                  <a:cubicBezTo>
                    <a:pt x="630722" y="1151930"/>
                    <a:pt x="641437" y="1161360"/>
                    <a:pt x="651724" y="1170789"/>
                  </a:cubicBezTo>
                  <a:cubicBezTo>
                    <a:pt x="662011" y="1181505"/>
                    <a:pt x="672298" y="1192649"/>
                    <a:pt x="682157" y="1203793"/>
                  </a:cubicBezTo>
                  <a:lnTo>
                    <a:pt x="700587" y="1177647"/>
                  </a:lnTo>
                  <a:lnTo>
                    <a:pt x="664583" y="970193"/>
                  </a:lnTo>
                  <a:cubicBezTo>
                    <a:pt x="664154" y="969764"/>
                    <a:pt x="663726" y="969764"/>
                    <a:pt x="663297" y="969764"/>
                  </a:cubicBezTo>
                  <a:cubicBezTo>
                    <a:pt x="644009" y="956048"/>
                    <a:pt x="639294" y="929045"/>
                    <a:pt x="653010" y="909757"/>
                  </a:cubicBezTo>
                  <a:cubicBezTo>
                    <a:pt x="666726" y="890468"/>
                    <a:pt x="693301" y="886182"/>
                    <a:pt x="712589" y="899469"/>
                  </a:cubicBezTo>
                  <a:cubicBezTo>
                    <a:pt x="731877" y="912757"/>
                    <a:pt x="736592" y="939332"/>
                    <a:pt x="722876" y="959048"/>
                  </a:cubicBezTo>
                  <a:cubicBezTo>
                    <a:pt x="716018" y="968479"/>
                    <a:pt x="706160" y="974908"/>
                    <a:pt x="695444" y="976622"/>
                  </a:cubicBezTo>
                  <a:lnTo>
                    <a:pt x="730591" y="1178505"/>
                  </a:lnTo>
                  <a:lnTo>
                    <a:pt x="731877" y="1184505"/>
                  </a:lnTo>
                  <a:lnTo>
                    <a:pt x="702302" y="1226511"/>
                  </a:lnTo>
                  <a:cubicBezTo>
                    <a:pt x="715161" y="1241512"/>
                    <a:pt x="728020" y="1256086"/>
                    <a:pt x="741736" y="1270230"/>
                  </a:cubicBezTo>
                  <a:lnTo>
                    <a:pt x="742164" y="1269373"/>
                  </a:lnTo>
                  <a:lnTo>
                    <a:pt x="748165" y="1268516"/>
                  </a:lnTo>
                  <a:lnTo>
                    <a:pt x="821031" y="1255657"/>
                  </a:lnTo>
                  <a:cubicBezTo>
                    <a:pt x="822317" y="1250085"/>
                    <a:pt x="824460" y="1244513"/>
                    <a:pt x="828318" y="1239369"/>
                  </a:cubicBezTo>
                  <a:cubicBezTo>
                    <a:pt x="842034" y="1220081"/>
                    <a:pt x="868609" y="1215366"/>
                    <a:pt x="888325" y="1229082"/>
                  </a:cubicBezTo>
                  <a:cubicBezTo>
                    <a:pt x="907614" y="1242799"/>
                    <a:pt x="912328" y="1269373"/>
                    <a:pt x="898612" y="1288661"/>
                  </a:cubicBezTo>
                  <a:cubicBezTo>
                    <a:pt x="884896" y="1307949"/>
                    <a:pt x="858322" y="1312664"/>
                    <a:pt x="839034" y="1298948"/>
                  </a:cubicBezTo>
                  <a:cubicBezTo>
                    <a:pt x="833461" y="1295091"/>
                    <a:pt x="829175" y="1289947"/>
                    <a:pt x="826175" y="1284375"/>
                  </a:cubicBezTo>
                  <a:lnTo>
                    <a:pt x="767882" y="1294662"/>
                  </a:lnTo>
                  <a:cubicBezTo>
                    <a:pt x="767882" y="1294662"/>
                    <a:pt x="767882" y="1294662"/>
                    <a:pt x="767882" y="1294662"/>
                  </a:cubicBezTo>
                  <a:cubicBezTo>
                    <a:pt x="798314" y="1320380"/>
                    <a:pt x="840748" y="1317808"/>
                    <a:pt x="877610" y="1318236"/>
                  </a:cubicBezTo>
                  <a:cubicBezTo>
                    <a:pt x="902041" y="1320380"/>
                    <a:pt x="926473" y="1325094"/>
                    <a:pt x="949190" y="1334953"/>
                  </a:cubicBezTo>
                  <a:cubicBezTo>
                    <a:pt x="960334" y="1336667"/>
                    <a:pt x="972336" y="1336667"/>
                    <a:pt x="983909" y="1334095"/>
                  </a:cubicBezTo>
                  <a:lnTo>
                    <a:pt x="961192" y="1203793"/>
                  </a:lnTo>
                  <a:lnTo>
                    <a:pt x="959049" y="1192221"/>
                  </a:lnTo>
                  <a:lnTo>
                    <a:pt x="988624" y="1150215"/>
                  </a:lnTo>
                  <a:cubicBezTo>
                    <a:pt x="980908" y="1143357"/>
                    <a:pt x="976194" y="1136928"/>
                    <a:pt x="968478" y="1134356"/>
                  </a:cubicBezTo>
                  <a:close/>
                </a:path>
              </a:pathLst>
            </a:custGeom>
            <a:grpFill/>
            <a:ln w="9525" cap="flat">
              <a:noFill/>
              <a:prstDash val="solid"/>
              <a:miter/>
            </a:ln>
          </p:spPr>
          <p:txBody>
            <a:bodyPr rtlCol="0" anchor="ctr"/>
            <a:lstStyle/>
            <a:p>
              <a:endParaRPr lang="en-US"/>
            </a:p>
          </p:txBody>
        </p:sp>
        <p:sp>
          <p:nvSpPr>
            <p:cNvPr id="350" name="Freeform: Shape 127">
              <a:extLst>
                <a:ext uri="{FF2B5EF4-FFF2-40B4-BE49-F238E27FC236}">
                  <a16:creationId xmlns:a16="http://schemas.microsoft.com/office/drawing/2014/main" id="{D6672037-C803-1D42-83D7-3E01FC31B296}"/>
                </a:ext>
              </a:extLst>
            </p:cNvPr>
            <p:cNvSpPr/>
            <p:nvPr/>
          </p:nvSpPr>
          <p:spPr>
            <a:xfrm>
              <a:off x="6772585" y="4305752"/>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51" name="Freeform: Shape 128">
              <a:extLst>
                <a:ext uri="{FF2B5EF4-FFF2-40B4-BE49-F238E27FC236}">
                  <a16:creationId xmlns:a16="http://schemas.microsoft.com/office/drawing/2014/main" id="{0BCF65A1-47F5-774E-99E0-0D2E4953A779}"/>
                </a:ext>
              </a:extLst>
            </p:cNvPr>
            <p:cNvSpPr/>
            <p:nvPr/>
          </p:nvSpPr>
          <p:spPr>
            <a:xfrm>
              <a:off x="6755011" y="4044291"/>
              <a:ext cx="42863" cy="265748"/>
            </a:xfrm>
            <a:custGeom>
              <a:avLst/>
              <a:gdLst>
                <a:gd name="connsiteX0" fmla="*/ 20788 w 42862"/>
                <a:gd name="connsiteY0" fmla="*/ 264676 h 265747"/>
                <a:gd name="connsiteX1" fmla="*/ 42648 w 42862"/>
                <a:gd name="connsiteY1" fmla="*/ 239387 h 265747"/>
                <a:gd name="connsiteX2" fmla="*/ 42648 w 42862"/>
                <a:gd name="connsiteY2" fmla="*/ 43506 h 265747"/>
                <a:gd name="connsiteX3" fmla="*/ 42648 w 42862"/>
                <a:gd name="connsiteY3" fmla="*/ 40505 h 265747"/>
                <a:gd name="connsiteX4" fmla="*/ 36219 w 42862"/>
                <a:gd name="connsiteY4" fmla="*/ 10930 h 265747"/>
                <a:gd name="connsiteX5" fmla="*/ 34504 w 42862"/>
                <a:gd name="connsiteY5" fmla="*/ 3215 h 265747"/>
                <a:gd name="connsiteX6" fmla="*/ 3215 w 42862"/>
                <a:gd name="connsiteY6" fmla="*/ 34504 h 265747"/>
                <a:gd name="connsiteX7" fmla="*/ 3215 w 42862"/>
                <a:gd name="connsiteY7" fmla="*/ 258247 h 265747"/>
                <a:gd name="connsiteX8" fmla="*/ 20788 w 42862"/>
                <a:gd name="connsiteY8" fmla="*/ 264676 h 26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62" h="265747">
                  <a:moveTo>
                    <a:pt x="20788" y="264676"/>
                  </a:moveTo>
                  <a:cubicBezTo>
                    <a:pt x="28075" y="256103"/>
                    <a:pt x="35362" y="247531"/>
                    <a:pt x="42648" y="239387"/>
                  </a:cubicBezTo>
                  <a:lnTo>
                    <a:pt x="42648" y="43506"/>
                  </a:lnTo>
                  <a:lnTo>
                    <a:pt x="42648" y="40505"/>
                  </a:lnTo>
                  <a:cubicBezTo>
                    <a:pt x="40505" y="30647"/>
                    <a:pt x="38362" y="20788"/>
                    <a:pt x="36219" y="10930"/>
                  </a:cubicBezTo>
                  <a:cubicBezTo>
                    <a:pt x="35790" y="8358"/>
                    <a:pt x="34933" y="5787"/>
                    <a:pt x="34504" y="3215"/>
                  </a:cubicBezTo>
                  <a:lnTo>
                    <a:pt x="3215" y="34504"/>
                  </a:lnTo>
                  <a:lnTo>
                    <a:pt x="3215" y="258247"/>
                  </a:lnTo>
                  <a:cubicBezTo>
                    <a:pt x="8787" y="260390"/>
                    <a:pt x="14788" y="262533"/>
                    <a:pt x="20788" y="264676"/>
                  </a:cubicBezTo>
                  <a:close/>
                </a:path>
              </a:pathLst>
            </a:custGeom>
            <a:grpFill/>
            <a:ln w="9525" cap="flat">
              <a:noFill/>
              <a:prstDash val="solid"/>
              <a:miter/>
            </a:ln>
          </p:spPr>
          <p:txBody>
            <a:bodyPr rtlCol="0" anchor="ctr"/>
            <a:lstStyle/>
            <a:p>
              <a:endParaRPr lang="en-US"/>
            </a:p>
          </p:txBody>
        </p:sp>
        <p:sp>
          <p:nvSpPr>
            <p:cNvPr id="352" name="Freeform: Shape 129">
              <a:extLst>
                <a:ext uri="{FF2B5EF4-FFF2-40B4-BE49-F238E27FC236}">
                  <a16:creationId xmlns:a16="http://schemas.microsoft.com/office/drawing/2014/main" id="{5A8D0B74-CD75-D44A-8156-AF6B41E7BD51}"/>
                </a:ext>
              </a:extLst>
            </p:cNvPr>
            <p:cNvSpPr/>
            <p:nvPr/>
          </p:nvSpPr>
          <p:spPr>
            <a:xfrm>
              <a:off x="5976628" y="3913132"/>
              <a:ext cx="38576" cy="55721"/>
            </a:xfrm>
            <a:custGeom>
              <a:avLst/>
              <a:gdLst>
                <a:gd name="connsiteX0" fmla="*/ 22074 w 38576"/>
                <a:gd name="connsiteY0" fmla="*/ 3215 h 55721"/>
                <a:gd name="connsiteX1" fmla="*/ 3215 w 38576"/>
                <a:gd name="connsiteY1" fmla="*/ 22074 h 55721"/>
                <a:gd name="connsiteX2" fmla="*/ 21646 w 38576"/>
                <a:gd name="connsiteY2" fmla="*/ 53792 h 55721"/>
                <a:gd name="connsiteX3" fmla="*/ 39219 w 38576"/>
                <a:gd name="connsiteY3" fmla="*/ 36219 h 55721"/>
                <a:gd name="connsiteX4" fmla="*/ 22074 w 38576"/>
                <a:gd name="connsiteY4" fmla="*/ 3215 h 55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 h="55721">
                  <a:moveTo>
                    <a:pt x="22074" y="3215"/>
                  </a:moveTo>
                  <a:lnTo>
                    <a:pt x="3215" y="22074"/>
                  </a:lnTo>
                  <a:cubicBezTo>
                    <a:pt x="9215" y="32790"/>
                    <a:pt x="15216" y="43505"/>
                    <a:pt x="21646" y="53792"/>
                  </a:cubicBezTo>
                  <a:lnTo>
                    <a:pt x="39219" y="36219"/>
                  </a:lnTo>
                  <a:cubicBezTo>
                    <a:pt x="33218" y="25503"/>
                    <a:pt x="27646" y="14359"/>
                    <a:pt x="22074" y="3215"/>
                  </a:cubicBezTo>
                  <a:close/>
                </a:path>
              </a:pathLst>
            </a:custGeom>
            <a:grpFill/>
            <a:ln w="9525" cap="flat">
              <a:noFill/>
              <a:prstDash val="solid"/>
              <a:miter/>
            </a:ln>
          </p:spPr>
          <p:txBody>
            <a:bodyPr rtlCol="0" anchor="ctr"/>
            <a:lstStyle/>
            <a:p>
              <a:endParaRPr lang="en-US"/>
            </a:p>
          </p:txBody>
        </p:sp>
        <p:sp>
          <p:nvSpPr>
            <p:cNvPr id="353" name="Freeform: Shape 130">
              <a:extLst>
                <a:ext uri="{FF2B5EF4-FFF2-40B4-BE49-F238E27FC236}">
                  <a16:creationId xmlns:a16="http://schemas.microsoft.com/office/drawing/2014/main" id="{70EE5D47-FF41-CD44-A3C1-17501589E2E4}"/>
                </a:ext>
              </a:extLst>
            </p:cNvPr>
            <p:cNvSpPr/>
            <p:nvPr/>
          </p:nvSpPr>
          <p:spPr>
            <a:xfrm>
              <a:off x="5959912" y="3884414"/>
              <a:ext cx="30004" cy="34290"/>
            </a:xfrm>
            <a:custGeom>
              <a:avLst/>
              <a:gdLst>
                <a:gd name="connsiteX0" fmla="*/ 26360 w 30003"/>
                <a:gd name="connsiteY0" fmla="*/ 7929 h 34290"/>
                <a:gd name="connsiteX1" fmla="*/ 20360 w 30003"/>
                <a:gd name="connsiteY1" fmla="*/ 3215 h 34290"/>
                <a:gd name="connsiteX2" fmla="*/ 3215 w 30003"/>
                <a:gd name="connsiteY2" fmla="*/ 20360 h 34290"/>
                <a:gd name="connsiteX3" fmla="*/ 10073 w 30003"/>
                <a:gd name="connsiteY3" fmla="*/ 33218 h 34290"/>
                <a:gd name="connsiteX4" fmla="*/ 29789 w 30003"/>
                <a:gd name="connsiteY4" fmla="*/ 13502 h 34290"/>
                <a:gd name="connsiteX5" fmla="*/ 26360 w 30003"/>
                <a:gd name="connsiteY5" fmla="*/ 7929 h 3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3" h="34290">
                  <a:moveTo>
                    <a:pt x="26360" y="7929"/>
                  </a:moveTo>
                  <a:cubicBezTo>
                    <a:pt x="24217" y="6215"/>
                    <a:pt x="22074" y="4501"/>
                    <a:pt x="20360" y="3215"/>
                  </a:cubicBezTo>
                  <a:lnTo>
                    <a:pt x="3215" y="20360"/>
                  </a:lnTo>
                  <a:cubicBezTo>
                    <a:pt x="5358" y="24646"/>
                    <a:pt x="7930" y="28932"/>
                    <a:pt x="10073" y="33218"/>
                  </a:cubicBezTo>
                  <a:lnTo>
                    <a:pt x="29789" y="13502"/>
                  </a:lnTo>
                  <a:cubicBezTo>
                    <a:pt x="28075" y="11787"/>
                    <a:pt x="27218" y="10073"/>
                    <a:pt x="26360" y="7929"/>
                  </a:cubicBezTo>
                  <a:close/>
                </a:path>
              </a:pathLst>
            </a:custGeom>
            <a:grpFill/>
            <a:ln w="9525" cap="flat">
              <a:noFill/>
              <a:prstDash val="solid"/>
              <a:miter/>
            </a:ln>
          </p:spPr>
          <p:txBody>
            <a:bodyPr rtlCol="0" anchor="ctr"/>
            <a:lstStyle/>
            <a:p>
              <a:endParaRPr lang="en-US"/>
            </a:p>
          </p:txBody>
        </p:sp>
        <p:sp>
          <p:nvSpPr>
            <p:cNvPr id="354" name="Freeform: Shape 131">
              <a:extLst>
                <a:ext uri="{FF2B5EF4-FFF2-40B4-BE49-F238E27FC236}">
                  <a16:creationId xmlns:a16="http://schemas.microsoft.com/office/drawing/2014/main" id="{BE5B7BFE-8F47-8542-858F-59DCE952BA37}"/>
                </a:ext>
              </a:extLst>
            </p:cNvPr>
            <p:cNvSpPr/>
            <p:nvPr/>
          </p:nvSpPr>
          <p:spPr>
            <a:xfrm>
              <a:off x="6005346" y="3964996"/>
              <a:ext cx="30004" cy="38576"/>
            </a:xfrm>
            <a:custGeom>
              <a:avLst/>
              <a:gdLst>
                <a:gd name="connsiteX0" fmla="*/ 19502 w 30003"/>
                <a:gd name="connsiteY0" fmla="*/ 3215 h 38576"/>
                <a:gd name="connsiteX1" fmla="*/ 19502 w 30003"/>
                <a:gd name="connsiteY1" fmla="*/ 3215 h 38576"/>
                <a:gd name="connsiteX2" fmla="*/ 3215 w 30003"/>
                <a:gd name="connsiteY2" fmla="*/ 19502 h 38576"/>
                <a:gd name="connsiteX3" fmla="*/ 13502 w 30003"/>
                <a:gd name="connsiteY3" fmla="*/ 36219 h 38576"/>
                <a:gd name="connsiteX4" fmla="*/ 28075 w 30003"/>
                <a:gd name="connsiteY4" fmla="*/ 21646 h 38576"/>
                <a:gd name="connsiteX5" fmla="*/ 19502 w 30003"/>
                <a:gd name="connsiteY5" fmla="*/ 3215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03" h="38576">
                  <a:moveTo>
                    <a:pt x="19502" y="3215"/>
                  </a:moveTo>
                  <a:lnTo>
                    <a:pt x="19502" y="3215"/>
                  </a:lnTo>
                  <a:lnTo>
                    <a:pt x="3215" y="19502"/>
                  </a:lnTo>
                  <a:cubicBezTo>
                    <a:pt x="6644" y="25075"/>
                    <a:pt x="10073" y="30647"/>
                    <a:pt x="13502" y="36219"/>
                  </a:cubicBezTo>
                  <a:lnTo>
                    <a:pt x="28075" y="21646"/>
                  </a:lnTo>
                  <a:cubicBezTo>
                    <a:pt x="25503" y="15645"/>
                    <a:pt x="22503" y="9216"/>
                    <a:pt x="19502" y="3215"/>
                  </a:cubicBezTo>
                  <a:close/>
                </a:path>
              </a:pathLst>
            </a:custGeom>
            <a:grpFill/>
            <a:ln w="9525" cap="flat">
              <a:noFill/>
              <a:prstDash val="solid"/>
              <a:miter/>
            </a:ln>
          </p:spPr>
          <p:txBody>
            <a:bodyPr rtlCol="0" anchor="ctr"/>
            <a:lstStyle/>
            <a:p>
              <a:endParaRPr lang="en-US"/>
            </a:p>
          </p:txBody>
        </p:sp>
        <p:sp>
          <p:nvSpPr>
            <p:cNvPr id="355" name="Freeform: Shape 132">
              <a:extLst>
                <a:ext uri="{FF2B5EF4-FFF2-40B4-BE49-F238E27FC236}">
                  <a16:creationId xmlns:a16="http://schemas.microsoft.com/office/drawing/2014/main" id="{86EF072B-75C4-424B-8680-BF49DF027944}"/>
                </a:ext>
              </a:extLst>
            </p:cNvPr>
            <p:cNvSpPr/>
            <p:nvPr/>
          </p:nvSpPr>
          <p:spPr>
            <a:xfrm>
              <a:off x="6076926" y="4087154"/>
              <a:ext cx="8573" cy="12859"/>
            </a:xfrm>
            <a:custGeom>
              <a:avLst/>
              <a:gdLst>
                <a:gd name="connsiteX0" fmla="*/ 3215 w 8572"/>
                <a:gd name="connsiteY0" fmla="*/ 4501 h 12858"/>
                <a:gd name="connsiteX1" fmla="*/ 7501 w 8572"/>
                <a:gd name="connsiteY1" fmla="*/ 10501 h 12858"/>
                <a:gd name="connsiteX2" fmla="*/ 4501 w 8572"/>
                <a:gd name="connsiteY2" fmla="*/ 3215 h 12858"/>
                <a:gd name="connsiteX3" fmla="*/ 3215 w 8572"/>
                <a:gd name="connsiteY3" fmla="*/ 4501 h 12858"/>
              </a:gdLst>
              <a:ahLst/>
              <a:cxnLst>
                <a:cxn ang="0">
                  <a:pos x="connsiteX0" y="connsiteY0"/>
                </a:cxn>
                <a:cxn ang="0">
                  <a:pos x="connsiteX1" y="connsiteY1"/>
                </a:cxn>
                <a:cxn ang="0">
                  <a:pos x="connsiteX2" y="connsiteY2"/>
                </a:cxn>
                <a:cxn ang="0">
                  <a:pos x="connsiteX3" y="connsiteY3"/>
                </a:cxn>
              </a:cxnLst>
              <a:rect l="l" t="t" r="r" b="b"/>
              <a:pathLst>
                <a:path w="8572" h="12858">
                  <a:moveTo>
                    <a:pt x="3215" y="4501"/>
                  </a:moveTo>
                  <a:cubicBezTo>
                    <a:pt x="4501" y="6644"/>
                    <a:pt x="6215" y="8787"/>
                    <a:pt x="7501" y="10501"/>
                  </a:cubicBezTo>
                  <a:cubicBezTo>
                    <a:pt x="6644" y="7930"/>
                    <a:pt x="5358" y="5358"/>
                    <a:pt x="4501" y="3215"/>
                  </a:cubicBezTo>
                  <a:lnTo>
                    <a:pt x="3215" y="4501"/>
                  </a:lnTo>
                  <a:close/>
                </a:path>
              </a:pathLst>
            </a:custGeom>
            <a:grpFill/>
            <a:ln w="9525" cap="flat">
              <a:noFill/>
              <a:prstDash val="solid"/>
              <a:miter/>
            </a:ln>
          </p:spPr>
          <p:txBody>
            <a:bodyPr rtlCol="0" anchor="ctr"/>
            <a:lstStyle/>
            <a:p>
              <a:endParaRPr lang="en-US"/>
            </a:p>
          </p:txBody>
        </p:sp>
        <p:sp>
          <p:nvSpPr>
            <p:cNvPr id="356" name="Freeform: Shape 133">
              <a:extLst>
                <a:ext uri="{FF2B5EF4-FFF2-40B4-BE49-F238E27FC236}">
                  <a16:creationId xmlns:a16="http://schemas.microsoft.com/office/drawing/2014/main" id="{93784381-EF10-524F-B28E-4DCA43670D35}"/>
                </a:ext>
              </a:extLst>
            </p:cNvPr>
            <p:cNvSpPr/>
            <p:nvPr/>
          </p:nvSpPr>
          <p:spPr>
            <a:xfrm>
              <a:off x="5932051" y="3848409"/>
              <a:ext cx="34290" cy="38576"/>
            </a:xfrm>
            <a:custGeom>
              <a:avLst/>
              <a:gdLst>
                <a:gd name="connsiteX0" fmla="*/ 3215 w 34290"/>
                <a:gd name="connsiteY0" fmla="*/ 3215 h 38576"/>
                <a:gd name="connsiteX1" fmla="*/ 21217 w 34290"/>
                <a:gd name="connsiteY1" fmla="*/ 38362 h 38576"/>
                <a:gd name="connsiteX2" fmla="*/ 32790 w 34290"/>
                <a:gd name="connsiteY2" fmla="*/ 26789 h 38576"/>
                <a:gd name="connsiteX3" fmla="*/ 3215 w 34290"/>
                <a:gd name="connsiteY3" fmla="*/ 3215 h 38576"/>
              </a:gdLst>
              <a:ahLst/>
              <a:cxnLst>
                <a:cxn ang="0">
                  <a:pos x="connsiteX0" y="connsiteY0"/>
                </a:cxn>
                <a:cxn ang="0">
                  <a:pos x="connsiteX1" y="connsiteY1"/>
                </a:cxn>
                <a:cxn ang="0">
                  <a:pos x="connsiteX2" y="connsiteY2"/>
                </a:cxn>
                <a:cxn ang="0">
                  <a:pos x="connsiteX3" y="connsiteY3"/>
                </a:cxn>
              </a:cxnLst>
              <a:rect l="l" t="t" r="r" b="b"/>
              <a:pathLst>
                <a:path w="34290" h="38576">
                  <a:moveTo>
                    <a:pt x="3215" y="3215"/>
                  </a:moveTo>
                  <a:cubicBezTo>
                    <a:pt x="9215" y="14788"/>
                    <a:pt x="14788" y="26789"/>
                    <a:pt x="21217" y="38362"/>
                  </a:cubicBezTo>
                  <a:lnTo>
                    <a:pt x="32790" y="26789"/>
                  </a:lnTo>
                  <a:cubicBezTo>
                    <a:pt x="22503" y="19074"/>
                    <a:pt x="12644" y="11359"/>
                    <a:pt x="3215" y="3215"/>
                  </a:cubicBezTo>
                  <a:close/>
                </a:path>
              </a:pathLst>
            </a:custGeom>
            <a:grpFill/>
            <a:ln w="9525" cap="flat">
              <a:noFill/>
              <a:prstDash val="solid"/>
              <a:miter/>
            </a:ln>
          </p:spPr>
          <p:txBody>
            <a:bodyPr rtlCol="0" anchor="ctr"/>
            <a:lstStyle/>
            <a:p>
              <a:endParaRPr lang="en-US"/>
            </a:p>
          </p:txBody>
        </p:sp>
        <p:sp>
          <p:nvSpPr>
            <p:cNvPr id="357" name="Freeform: Shape 134">
              <a:extLst>
                <a:ext uri="{FF2B5EF4-FFF2-40B4-BE49-F238E27FC236}">
                  <a16:creationId xmlns:a16="http://schemas.microsoft.com/office/drawing/2014/main" id="{C15CEED5-CBA3-674C-B1FD-05EA1BA82C1F}"/>
                </a:ext>
              </a:extLst>
            </p:cNvPr>
            <p:cNvSpPr/>
            <p:nvPr/>
          </p:nvSpPr>
          <p:spPr>
            <a:xfrm>
              <a:off x="6060210" y="4059293"/>
              <a:ext cx="12859" cy="17145"/>
            </a:xfrm>
            <a:custGeom>
              <a:avLst/>
              <a:gdLst>
                <a:gd name="connsiteX0" fmla="*/ 3215 w 12858"/>
                <a:gd name="connsiteY0" fmla="*/ 8787 h 17145"/>
                <a:gd name="connsiteX1" fmla="*/ 8358 w 12858"/>
                <a:gd name="connsiteY1" fmla="*/ 16073 h 17145"/>
                <a:gd name="connsiteX2" fmla="*/ 12644 w 12858"/>
                <a:gd name="connsiteY2" fmla="*/ 11787 h 17145"/>
                <a:gd name="connsiteX3" fmla="*/ 8787 w 12858"/>
                <a:gd name="connsiteY3" fmla="*/ 3215 h 17145"/>
                <a:gd name="connsiteX4" fmla="*/ 3215 w 12858"/>
                <a:gd name="connsiteY4" fmla="*/ 8787 h 17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17145">
                  <a:moveTo>
                    <a:pt x="3215" y="8787"/>
                  </a:moveTo>
                  <a:cubicBezTo>
                    <a:pt x="4929" y="11359"/>
                    <a:pt x="6644" y="13502"/>
                    <a:pt x="8358" y="16073"/>
                  </a:cubicBezTo>
                  <a:lnTo>
                    <a:pt x="12644" y="11787"/>
                  </a:lnTo>
                  <a:cubicBezTo>
                    <a:pt x="11359" y="8787"/>
                    <a:pt x="10073" y="6215"/>
                    <a:pt x="8787" y="3215"/>
                  </a:cubicBezTo>
                  <a:lnTo>
                    <a:pt x="3215" y="8787"/>
                  </a:lnTo>
                  <a:close/>
                </a:path>
              </a:pathLst>
            </a:custGeom>
            <a:grpFill/>
            <a:ln w="9525" cap="flat">
              <a:noFill/>
              <a:prstDash val="solid"/>
              <a:miter/>
            </a:ln>
          </p:spPr>
          <p:txBody>
            <a:bodyPr rtlCol="0" anchor="ctr"/>
            <a:lstStyle/>
            <a:p>
              <a:endParaRPr lang="en-US"/>
            </a:p>
          </p:txBody>
        </p:sp>
        <p:sp>
          <p:nvSpPr>
            <p:cNvPr id="358" name="Freeform: Shape 135">
              <a:extLst>
                <a:ext uri="{FF2B5EF4-FFF2-40B4-BE49-F238E27FC236}">
                  <a16:creationId xmlns:a16="http://schemas.microsoft.com/office/drawing/2014/main" id="{9336BAC5-B63A-524F-BDC0-4551F742AC3E}"/>
                </a:ext>
              </a:extLst>
            </p:cNvPr>
            <p:cNvSpPr/>
            <p:nvPr/>
          </p:nvSpPr>
          <p:spPr>
            <a:xfrm>
              <a:off x="6026777" y="4002286"/>
              <a:ext cx="34290" cy="51435"/>
            </a:xfrm>
            <a:custGeom>
              <a:avLst/>
              <a:gdLst>
                <a:gd name="connsiteX0" fmla="*/ 3215 w 34290"/>
                <a:gd name="connsiteY0" fmla="*/ 15645 h 51435"/>
                <a:gd name="connsiteX1" fmla="*/ 3215 w 34290"/>
                <a:gd name="connsiteY1" fmla="*/ 15645 h 51435"/>
                <a:gd name="connsiteX2" fmla="*/ 25503 w 34290"/>
                <a:gd name="connsiteY2" fmla="*/ 49506 h 51435"/>
                <a:gd name="connsiteX3" fmla="*/ 33647 w 34290"/>
                <a:gd name="connsiteY3" fmla="*/ 41362 h 51435"/>
                <a:gd name="connsiteX4" fmla="*/ 15645 w 34290"/>
                <a:gd name="connsiteY4" fmla="*/ 3215 h 51435"/>
                <a:gd name="connsiteX5" fmla="*/ 3215 w 34290"/>
                <a:gd name="connsiteY5" fmla="*/ 1564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90" h="51435">
                  <a:moveTo>
                    <a:pt x="3215" y="15645"/>
                  </a:moveTo>
                  <a:lnTo>
                    <a:pt x="3215" y="15645"/>
                  </a:lnTo>
                  <a:cubicBezTo>
                    <a:pt x="10501" y="26789"/>
                    <a:pt x="18217" y="38362"/>
                    <a:pt x="25503" y="49506"/>
                  </a:cubicBezTo>
                  <a:lnTo>
                    <a:pt x="33647" y="41362"/>
                  </a:lnTo>
                  <a:cubicBezTo>
                    <a:pt x="27646" y="28504"/>
                    <a:pt x="21646" y="15645"/>
                    <a:pt x="15645" y="3215"/>
                  </a:cubicBezTo>
                  <a:lnTo>
                    <a:pt x="3215" y="15645"/>
                  </a:lnTo>
                  <a:close/>
                </a:path>
              </a:pathLst>
            </a:custGeom>
            <a:grpFill/>
            <a:ln w="9525" cap="flat">
              <a:noFill/>
              <a:prstDash val="solid"/>
              <a:miter/>
            </a:ln>
          </p:spPr>
          <p:txBody>
            <a:bodyPr rtlCol="0" anchor="ctr"/>
            <a:lstStyle/>
            <a:p>
              <a:endParaRPr lang="en-US"/>
            </a:p>
          </p:txBody>
        </p:sp>
        <p:sp>
          <p:nvSpPr>
            <p:cNvPr id="359" name="Freeform: Shape 136">
              <a:extLst>
                <a:ext uri="{FF2B5EF4-FFF2-40B4-BE49-F238E27FC236}">
                  <a16:creationId xmlns:a16="http://schemas.microsoft.com/office/drawing/2014/main" id="{78D1E831-D06C-1547-AE16-752EACAE24A6}"/>
                </a:ext>
              </a:extLst>
            </p:cNvPr>
            <p:cNvSpPr/>
            <p:nvPr/>
          </p:nvSpPr>
          <p:spPr>
            <a:xfrm>
              <a:off x="5325546" y="5827800"/>
              <a:ext cx="317183" cy="120015"/>
            </a:xfrm>
            <a:custGeom>
              <a:avLst/>
              <a:gdLst>
                <a:gd name="connsiteX0" fmla="*/ 315682 w 317182"/>
                <a:gd name="connsiteY0" fmla="*/ 59793 h 120015"/>
                <a:gd name="connsiteX1" fmla="*/ 83796 w 317182"/>
                <a:gd name="connsiteY1" fmla="*/ 59793 h 120015"/>
                <a:gd name="connsiteX2" fmla="*/ 79510 w 317182"/>
                <a:gd name="connsiteY2" fmla="*/ 55507 h 120015"/>
                <a:gd name="connsiteX3" fmla="*/ 26789 w 317182"/>
                <a:gd name="connsiteY3" fmla="*/ 3215 h 120015"/>
                <a:gd name="connsiteX4" fmla="*/ 9644 w 317182"/>
                <a:gd name="connsiteY4" fmla="*/ 6643 h 120015"/>
                <a:gd name="connsiteX5" fmla="*/ 3215 w 317182"/>
                <a:gd name="connsiteY5" fmla="*/ 6215 h 120015"/>
                <a:gd name="connsiteX6" fmla="*/ 26360 w 317182"/>
                <a:gd name="connsiteY6" fmla="*/ 117229 h 120015"/>
                <a:gd name="connsiteX7" fmla="*/ 198239 w 317182"/>
                <a:gd name="connsiteY7" fmla="*/ 117229 h 120015"/>
                <a:gd name="connsiteX8" fmla="*/ 271534 w 317182"/>
                <a:gd name="connsiteY8" fmla="*/ 74795 h 120015"/>
                <a:gd name="connsiteX9" fmla="*/ 274963 w 317182"/>
                <a:gd name="connsiteY9" fmla="*/ 72652 h 120015"/>
                <a:gd name="connsiteX10" fmla="*/ 313539 w 317182"/>
                <a:gd name="connsiteY10" fmla="*/ 72652 h 120015"/>
                <a:gd name="connsiteX11" fmla="*/ 315682 w 317182"/>
                <a:gd name="connsiteY11" fmla="*/ 59793 h 1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182" h="120015">
                  <a:moveTo>
                    <a:pt x="315682" y="59793"/>
                  </a:moveTo>
                  <a:lnTo>
                    <a:pt x="83796" y="59793"/>
                  </a:lnTo>
                  <a:lnTo>
                    <a:pt x="79510" y="55507"/>
                  </a:lnTo>
                  <a:lnTo>
                    <a:pt x="26789" y="3215"/>
                  </a:lnTo>
                  <a:cubicBezTo>
                    <a:pt x="21646" y="5358"/>
                    <a:pt x="15645" y="6643"/>
                    <a:pt x="9644" y="6643"/>
                  </a:cubicBezTo>
                  <a:cubicBezTo>
                    <a:pt x="7501" y="6643"/>
                    <a:pt x="5358" y="6643"/>
                    <a:pt x="3215" y="6215"/>
                  </a:cubicBezTo>
                  <a:cubicBezTo>
                    <a:pt x="10930" y="43077"/>
                    <a:pt x="18645" y="79939"/>
                    <a:pt x="26360" y="117229"/>
                  </a:cubicBezTo>
                  <a:lnTo>
                    <a:pt x="198239" y="117229"/>
                  </a:lnTo>
                  <a:lnTo>
                    <a:pt x="271534" y="74795"/>
                  </a:lnTo>
                  <a:lnTo>
                    <a:pt x="274963" y="72652"/>
                  </a:lnTo>
                  <a:lnTo>
                    <a:pt x="313539" y="72652"/>
                  </a:lnTo>
                  <a:cubicBezTo>
                    <a:pt x="314397" y="68365"/>
                    <a:pt x="314825" y="64079"/>
                    <a:pt x="315682" y="59793"/>
                  </a:cubicBezTo>
                  <a:close/>
                </a:path>
              </a:pathLst>
            </a:custGeom>
            <a:grpFill/>
            <a:ln w="9525" cap="flat">
              <a:noFill/>
              <a:prstDash val="solid"/>
              <a:miter/>
            </a:ln>
          </p:spPr>
          <p:txBody>
            <a:bodyPr rtlCol="0" anchor="ctr"/>
            <a:lstStyle/>
            <a:p>
              <a:endParaRPr lang="en-US"/>
            </a:p>
          </p:txBody>
        </p:sp>
        <p:sp>
          <p:nvSpPr>
            <p:cNvPr id="360" name="Freeform: Shape 137">
              <a:extLst>
                <a:ext uri="{FF2B5EF4-FFF2-40B4-BE49-F238E27FC236}">
                  <a16:creationId xmlns:a16="http://schemas.microsoft.com/office/drawing/2014/main" id="{A0EF9FEA-D7D6-F24E-8CAA-8B1E69DBFD47}"/>
                </a:ext>
              </a:extLst>
            </p:cNvPr>
            <p:cNvSpPr/>
            <p:nvPr/>
          </p:nvSpPr>
          <p:spPr>
            <a:xfrm>
              <a:off x="5792319" y="-3215"/>
              <a:ext cx="390049" cy="30004"/>
            </a:xfrm>
            <a:custGeom>
              <a:avLst/>
              <a:gdLst>
                <a:gd name="connsiteX0" fmla="*/ 388549 w 390048"/>
                <a:gd name="connsiteY0" fmla="*/ 30218 h 30003"/>
                <a:gd name="connsiteX1" fmla="*/ 328541 w 390048"/>
                <a:gd name="connsiteY1" fmla="*/ 3215 h 30003"/>
                <a:gd name="connsiteX2" fmla="*/ 55936 w 390048"/>
                <a:gd name="connsiteY2" fmla="*/ 3215 h 30003"/>
                <a:gd name="connsiteX3" fmla="*/ 3215 w 390048"/>
                <a:gd name="connsiteY3" fmla="*/ 30218 h 30003"/>
                <a:gd name="connsiteX4" fmla="*/ 388120 w 390048"/>
                <a:gd name="connsiteY4" fmla="*/ 30218 h 30003"/>
                <a:gd name="connsiteX5" fmla="*/ 388549 w 390048"/>
                <a:gd name="connsiteY5" fmla="*/ 30218 h 3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048" h="30003">
                  <a:moveTo>
                    <a:pt x="388549" y="30218"/>
                  </a:moveTo>
                  <a:cubicBezTo>
                    <a:pt x="368832" y="20360"/>
                    <a:pt x="349115" y="11359"/>
                    <a:pt x="328541" y="3215"/>
                  </a:cubicBezTo>
                  <a:lnTo>
                    <a:pt x="55936" y="3215"/>
                  </a:lnTo>
                  <a:cubicBezTo>
                    <a:pt x="37933" y="11359"/>
                    <a:pt x="20360" y="19931"/>
                    <a:pt x="3215" y="30218"/>
                  </a:cubicBezTo>
                  <a:lnTo>
                    <a:pt x="388120" y="30218"/>
                  </a:lnTo>
                  <a:lnTo>
                    <a:pt x="388549" y="30218"/>
                  </a:lnTo>
                  <a:close/>
                </a:path>
              </a:pathLst>
            </a:custGeom>
            <a:grpFill/>
            <a:ln w="9525" cap="flat">
              <a:noFill/>
              <a:prstDash val="solid"/>
              <a:miter/>
            </a:ln>
          </p:spPr>
          <p:txBody>
            <a:bodyPr rtlCol="0" anchor="ctr"/>
            <a:lstStyle/>
            <a:p>
              <a:endParaRPr lang="en-US"/>
            </a:p>
          </p:txBody>
        </p:sp>
        <p:sp>
          <p:nvSpPr>
            <p:cNvPr id="361" name="Freeform: Shape 138">
              <a:extLst>
                <a:ext uri="{FF2B5EF4-FFF2-40B4-BE49-F238E27FC236}">
                  <a16:creationId xmlns:a16="http://schemas.microsoft.com/office/drawing/2014/main" id="{1FE78C04-9A06-BD44-8BBD-8C04D92A1815}"/>
                </a:ext>
              </a:extLst>
            </p:cNvPr>
            <p:cNvSpPr/>
            <p:nvPr/>
          </p:nvSpPr>
          <p:spPr>
            <a:xfrm>
              <a:off x="5710452" y="52935"/>
              <a:ext cx="625793" cy="248603"/>
            </a:xfrm>
            <a:custGeom>
              <a:avLst/>
              <a:gdLst>
                <a:gd name="connsiteX0" fmla="*/ 427554 w 625792"/>
                <a:gd name="connsiteY0" fmla="*/ 40076 h 248602"/>
                <a:gd name="connsiteX1" fmla="*/ 427554 w 625792"/>
                <a:gd name="connsiteY1" fmla="*/ 40076 h 248602"/>
                <a:gd name="connsiteX2" fmla="*/ 433554 w 625792"/>
                <a:gd name="connsiteY2" fmla="*/ 40076 h 248602"/>
                <a:gd name="connsiteX3" fmla="*/ 579287 w 625792"/>
                <a:gd name="connsiteY3" fmla="*/ 185809 h 248602"/>
                <a:gd name="connsiteX4" fmla="*/ 576286 w 625792"/>
                <a:gd name="connsiteY4" fmla="*/ 188809 h 248602"/>
                <a:gd name="connsiteX5" fmla="*/ 580573 w 625792"/>
                <a:gd name="connsiteY5" fmla="*/ 204668 h 248602"/>
                <a:gd name="connsiteX6" fmla="*/ 624721 w 625792"/>
                <a:gd name="connsiteY6" fmla="*/ 248817 h 248602"/>
                <a:gd name="connsiteX7" fmla="*/ 620863 w 625792"/>
                <a:gd name="connsiteY7" fmla="*/ 182380 h 248602"/>
                <a:gd name="connsiteX8" fmla="*/ 618292 w 625792"/>
                <a:gd name="connsiteY8" fmla="*/ 157520 h 248602"/>
                <a:gd name="connsiteX9" fmla="*/ 463987 w 625792"/>
                <a:gd name="connsiteY9" fmla="*/ 3215 h 248602"/>
                <a:gd name="connsiteX10" fmla="*/ 40505 w 625792"/>
                <a:gd name="connsiteY10" fmla="*/ 3215 h 248602"/>
                <a:gd name="connsiteX11" fmla="*/ 3215 w 625792"/>
                <a:gd name="connsiteY11" fmla="*/ 34933 h 248602"/>
                <a:gd name="connsiteX12" fmla="*/ 7930 w 625792"/>
                <a:gd name="connsiteY12" fmla="*/ 39648 h 248602"/>
                <a:gd name="connsiteX13" fmla="*/ 427554 w 625792"/>
                <a:gd name="connsiteY13" fmla="*/ 40076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92" h="248602">
                  <a:moveTo>
                    <a:pt x="427554" y="40076"/>
                  </a:moveTo>
                  <a:lnTo>
                    <a:pt x="427554" y="40076"/>
                  </a:lnTo>
                  <a:lnTo>
                    <a:pt x="433554" y="40076"/>
                  </a:lnTo>
                  <a:lnTo>
                    <a:pt x="579287" y="185809"/>
                  </a:lnTo>
                  <a:lnTo>
                    <a:pt x="576286" y="188809"/>
                  </a:lnTo>
                  <a:lnTo>
                    <a:pt x="580573" y="204668"/>
                  </a:lnTo>
                  <a:lnTo>
                    <a:pt x="624721" y="248817"/>
                  </a:lnTo>
                  <a:cubicBezTo>
                    <a:pt x="623435" y="226528"/>
                    <a:pt x="622149" y="204668"/>
                    <a:pt x="620863" y="182380"/>
                  </a:cubicBezTo>
                  <a:cubicBezTo>
                    <a:pt x="620006" y="174236"/>
                    <a:pt x="619578" y="165664"/>
                    <a:pt x="618292" y="157520"/>
                  </a:cubicBezTo>
                  <a:lnTo>
                    <a:pt x="463987" y="3215"/>
                  </a:lnTo>
                  <a:lnTo>
                    <a:pt x="40505" y="3215"/>
                  </a:lnTo>
                  <a:cubicBezTo>
                    <a:pt x="27218" y="13073"/>
                    <a:pt x="14788" y="23360"/>
                    <a:pt x="3215" y="34933"/>
                  </a:cubicBezTo>
                  <a:lnTo>
                    <a:pt x="7930" y="39648"/>
                  </a:lnTo>
                  <a:lnTo>
                    <a:pt x="427554" y="40076"/>
                  </a:lnTo>
                  <a:close/>
                </a:path>
              </a:pathLst>
            </a:custGeom>
            <a:grpFill/>
            <a:ln w="9525" cap="flat">
              <a:noFill/>
              <a:prstDash val="solid"/>
              <a:miter/>
            </a:ln>
          </p:spPr>
          <p:txBody>
            <a:bodyPr rtlCol="0" anchor="ctr"/>
            <a:lstStyle/>
            <a:p>
              <a:endParaRPr lang="en-US"/>
            </a:p>
          </p:txBody>
        </p:sp>
        <p:sp>
          <p:nvSpPr>
            <p:cNvPr id="362" name="Freeform: Shape 139">
              <a:extLst>
                <a:ext uri="{FF2B5EF4-FFF2-40B4-BE49-F238E27FC236}">
                  <a16:creationId xmlns:a16="http://schemas.microsoft.com/office/drawing/2014/main" id="{507DD3FD-A970-5A41-897C-99EF8D4D434C}"/>
                </a:ext>
              </a:extLst>
            </p:cNvPr>
            <p:cNvSpPr/>
            <p:nvPr/>
          </p:nvSpPr>
          <p:spPr>
            <a:xfrm>
              <a:off x="6188797" y="28932"/>
              <a:ext cx="124301" cy="124301"/>
            </a:xfrm>
            <a:custGeom>
              <a:avLst/>
              <a:gdLst>
                <a:gd name="connsiteX0" fmla="*/ 93655 w 124301"/>
                <a:gd name="connsiteY0" fmla="*/ 68794 h 124301"/>
                <a:gd name="connsiteX1" fmla="*/ 28932 w 124301"/>
                <a:gd name="connsiteY1" fmla="*/ 17359 h 124301"/>
                <a:gd name="connsiteX2" fmla="*/ 3215 w 124301"/>
                <a:gd name="connsiteY2" fmla="*/ 3215 h 124301"/>
                <a:gd name="connsiteX3" fmla="*/ 121515 w 124301"/>
                <a:gd name="connsiteY3" fmla="*/ 121944 h 124301"/>
                <a:gd name="connsiteX4" fmla="*/ 93655 w 124301"/>
                <a:gd name="connsiteY4" fmla="*/ 68794 h 124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301" h="124301">
                  <a:moveTo>
                    <a:pt x="93655" y="68794"/>
                  </a:moveTo>
                  <a:cubicBezTo>
                    <a:pt x="77367" y="46077"/>
                    <a:pt x="52507" y="31933"/>
                    <a:pt x="28932" y="17359"/>
                  </a:cubicBezTo>
                  <a:cubicBezTo>
                    <a:pt x="20360" y="12644"/>
                    <a:pt x="11787" y="7930"/>
                    <a:pt x="3215" y="3215"/>
                  </a:cubicBezTo>
                  <a:lnTo>
                    <a:pt x="121515" y="121944"/>
                  </a:lnTo>
                  <a:cubicBezTo>
                    <a:pt x="114229" y="103513"/>
                    <a:pt x="105656" y="85082"/>
                    <a:pt x="93655" y="68794"/>
                  </a:cubicBezTo>
                  <a:close/>
                </a:path>
              </a:pathLst>
            </a:custGeom>
            <a:grpFill/>
            <a:ln w="9525" cap="flat">
              <a:noFill/>
              <a:prstDash val="solid"/>
              <a:miter/>
            </a:ln>
          </p:spPr>
          <p:txBody>
            <a:bodyPr rtlCol="0" anchor="ctr"/>
            <a:lstStyle/>
            <a:p>
              <a:endParaRPr lang="en-US"/>
            </a:p>
          </p:txBody>
        </p:sp>
        <p:sp>
          <p:nvSpPr>
            <p:cNvPr id="363" name="Freeform: Shape 140">
              <a:extLst>
                <a:ext uri="{FF2B5EF4-FFF2-40B4-BE49-F238E27FC236}">
                  <a16:creationId xmlns:a16="http://schemas.microsoft.com/office/drawing/2014/main" id="{D749BF29-0613-5842-B392-55FE9C538CF8}"/>
                </a:ext>
              </a:extLst>
            </p:cNvPr>
            <p:cNvSpPr/>
            <p:nvPr/>
          </p:nvSpPr>
          <p:spPr>
            <a:xfrm>
              <a:off x="5634156" y="106085"/>
              <a:ext cx="707231" cy="355759"/>
            </a:xfrm>
            <a:custGeom>
              <a:avLst/>
              <a:gdLst>
                <a:gd name="connsiteX0" fmla="*/ 442127 w 707231"/>
                <a:gd name="connsiteY0" fmla="*/ 100084 h 355758"/>
                <a:gd name="connsiteX1" fmla="*/ 442127 w 707231"/>
                <a:gd name="connsiteY1" fmla="*/ 100084 h 355758"/>
                <a:gd name="connsiteX2" fmla="*/ 448556 w 707231"/>
                <a:gd name="connsiteY2" fmla="*/ 100084 h 355758"/>
                <a:gd name="connsiteX3" fmla="*/ 559999 w 707231"/>
                <a:gd name="connsiteY3" fmla="*/ 211526 h 355758"/>
                <a:gd name="connsiteX4" fmla="*/ 559570 w 707231"/>
                <a:gd name="connsiteY4" fmla="*/ 217527 h 355758"/>
                <a:gd name="connsiteX5" fmla="*/ 559570 w 707231"/>
                <a:gd name="connsiteY5" fmla="*/ 306681 h 355758"/>
                <a:gd name="connsiteX6" fmla="*/ 606719 w 707231"/>
                <a:gd name="connsiteY6" fmla="*/ 353830 h 355758"/>
                <a:gd name="connsiteX7" fmla="*/ 675727 w 707231"/>
                <a:gd name="connsiteY7" fmla="*/ 353830 h 355758"/>
                <a:gd name="connsiteX8" fmla="*/ 689872 w 707231"/>
                <a:gd name="connsiteY8" fmla="*/ 316968 h 355758"/>
                <a:gd name="connsiteX9" fmla="*/ 704017 w 707231"/>
                <a:gd name="connsiteY9" fmla="*/ 279678 h 355758"/>
                <a:gd name="connsiteX10" fmla="*/ 702731 w 707231"/>
                <a:gd name="connsiteY10" fmla="*/ 239816 h 355758"/>
                <a:gd name="connsiteX11" fmla="*/ 629865 w 707231"/>
                <a:gd name="connsiteY11" fmla="*/ 166949 h 355758"/>
                <a:gd name="connsiteX12" fmla="*/ 629007 w 707231"/>
                <a:gd name="connsiteY12" fmla="*/ 163092 h 355758"/>
                <a:gd name="connsiteX13" fmla="*/ 623007 w 707231"/>
                <a:gd name="connsiteY13" fmla="*/ 142518 h 355758"/>
                <a:gd name="connsiteX14" fmla="*/ 496991 w 707231"/>
                <a:gd name="connsiteY14" fmla="*/ 16502 h 355758"/>
                <a:gd name="connsiteX15" fmla="*/ 77367 w 707231"/>
                <a:gd name="connsiteY15" fmla="*/ 16502 h 355758"/>
                <a:gd name="connsiteX16" fmla="*/ 71366 w 707231"/>
                <a:gd name="connsiteY16" fmla="*/ 16073 h 355758"/>
                <a:gd name="connsiteX17" fmla="*/ 58507 w 707231"/>
                <a:gd name="connsiteY17" fmla="*/ 3215 h 355758"/>
                <a:gd name="connsiteX18" fmla="*/ 37076 w 707231"/>
                <a:gd name="connsiteY18" fmla="*/ 30218 h 355758"/>
                <a:gd name="connsiteX19" fmla="*/ 51649 w 707231"/>
                <a:gd name="connsiteY19" fmla="*/ 44791 h 355758"/>
                <a:gd name="connsiteX20" fmla="*/ 470416 w 707231"/>
                <a:gd name="connsiteY20" fmla="*/ 44791 h 355758"/>
                <a:gd name="connsiteX21" fmla="*/ 476845 w 707231"/>
                <a:gd name="connsiteY21" fmla="*/ 44363 h 355758"/>
                <a:gd name="connsiteX22" fmla="*/ 635437 w 707231"/>
                <a:gd name="connsiteY22" fmla="*/ 202954 h 355758"/>
                <a:gd name="connsiteX23" fmla="*/ 635008 w 707231"/>
                <a:gd name="connsiteY23" fmla="*/ 209383 h 355758"/>
                <a:gd name="connsiteX24" fmla="*/ 635437 w 707231"/>
                <a:gd name="connsiteY24" fmla="*/ 229529 h 355758"/>
                <a:gd name="connsiteX25" fmla="*/ 677871 w 707231"/>
                <a:gd name="connsiteY25" fmla="*/ 241530 h 355758"/>
                <a:gd name="connsiteX26" fmla="*/ 677013 w 707231"/>
                <a:gd name="connsiteY26" fmla="*/ 308396 h 355758"/>
                <a:gd name="connsiteX27" fmla="*/ 609719 w 707231"/>
                <a:gd name="connsiteY27" fmla="*/ 309682 h 355758"/>
                <a:gd name="connsiteX28" fmla="*/ 606290 w 707231"/>
                <a:gd name="connsiteY28" fmla="*/ 248388 h 355758"/>
                <a:gd name="connsiteX29" fmla="*/ 606290 w 707231"/>
                <a:gd name="connsiteY29" fmla="*/ 214955 h 355758"/>
                <a:gd name="connsiteX30" fmla="*/ 464844 w 707231"/>
                <a:gd name="connsiteY30" fmla="*/ 73509 h 355758"/>
                <a:gd name="connsiteX31" fmla="*/ 46077 w 707231"/>
                <a:gd name="connsiteY31" fmla="*/ 74366 h 355758"/>
                <a:gd name="connsiteX32" fmla="*/ 40076 w 707231"/>
                <a:gd name="connsiteY32" fmla="*/ 74366 h 355758"/>
                <a:gd name="connsiteX33" fmla="*/ 21217 w 707231"/>
                <a:gd name="connsiteY33" fmla="*/ 55507 h 355758"/>
                <a:gd name="connsiteX34" fmla="*/ 3215 w 707231"/>
                <a:gd name="connsiteY34" fmla="*/ 92369 h 355758"/>
                <a:gd name="connsiteX35" fmla="*/ 11359 w 707231"/>
                <a:gd name="connsiteY35" fmla="*/ 100513 h 355758"/>
                <a:gd name="connsiteX36" fmla="*/ 442127 w 707231"/>
                <a:gd name="connsiteY36" fmla="*/ 100084 h 35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07231" h="355758">
                  <a:moveTo>
                    <a:pt x="442127" y="100084"/>
                  </a:moveTo>
                  <a:lnTo>
                    <a:pt x="442127" y="100084"/>
                  </a:lnTo>
                  <a:lnTo>
                    <a:pt x="448556" y="100084"/>
                  </a:lnTo>
                  <a:lnTo>
                    <a:pt x="559999" y="211526"/>
                  </a:lnTo>
                  <a:lnTo>
                    <a:pt x="559570" y="217527"/>
                  </a:lnTo>
                  <a:lnTo>
                    <a:pt x="559570" y="306681"/>
                  </a:lnTo>
                  <a:lnTo>
                    <a:pt x="606719" y="353830"/>
                  </a:lnTo>
                  <a:lnTo>
                    <a:pt x="675727" y="353830"/>
                  </a:lnTo>
                  <a:cubicBezTo>
                    <a:pt x="680442" y="341400"/>
                    <a:pt x="685157" y="328970"/>
                    <a:pt x="689872" y="316968"/>
                  </a:cubicBezTo>
                  <a:cubicBezTo>
                    <a:pt x="694158" y="304538"/>
                    <a:pt x="705303" y="293822"/>
                    <a:pt x="704017" y="279678"/>
                  </a:cubicBezTo>
                  <a:cubicBezTo>
                    <a:pt x="703588" y="266390"/>
                    <a:pt x="703159" y="253103"/>
                    <a:pt x="702731" y="239816"/>
                  </a:cubicBezTo>
                  <a:lnTo>
                    <a:pt x="629865" y="166949"/>
                  </a:lnTo>
                  <a:lnTo>
                    <a:pt x="629007" y="163092"/>
                  </a:lnTo>
                  <a:lnTo>
                    <a:pt x="623007" y="142518"/>
                  </a:lnTo>
                  <a:lnTo>
                    <a:pt x="496991" y="16502"/>
                  </a:lnTo>
                  <a:lnTo>
                    <a:pt x="77367" y="16502"/>
                  </a:lnTo>
                  <a:lnTo>
                    <a:pt x="71366" y="16073"/>
                  </a:lnTo>
                  <a:lnTo>
                    <a:pt x="58507" y="3215"/>
                  </a:lnTo>
                  <a:cubicBezTo>
                    <a:pt x="50792" y="11787"/>
                    <a:pt x="43505" y="20788"/>
                    <a:pt x="37076" y="30218"/>
                  </a:cubicBezTo>
                  <a:lnTo>
                    <a:pt x="51649" y="44791"/>
                  </a:lnTo>
                  <a:lnTo>
                    <a:pt x="470416" y="44791"/>
                  </a:lnTo>
                  <a:lnTo>
                    <a:pt x="476845" y="44363"/>
                  </a:lnTo>
                  <a:lnTo>
                    <a:pt x="635437" y="202954"/>
                  </a:lnTo>
                  <a:lnTo>
                    <a:pt x="635008" y="209383"/>
                  </a:lnTo>
                  <a:lnTo>
                    <a:pt x="635437" y="229529"/>
                  </a:lnTo>
                  <a:cubicBezTo>
                    <a:pt x="650439" y="226528"/>
                    <a:pt x="666298" y="230386"/>
                    <a:pt x="677871" y="241530"/>
                  </a:cubicBezTo>
                  <a:cubicBezTo>
                    <a:pt x="695873" y="259532"/>
                    <a:pt x="695444" y="289536"/>
                    <a:pt x="677013" y="308396"/>
                  </a:cubicBezTo>
                  <a:cubicBezTo>
                    <a:pt x="658154" y="327255"/>
                    <a:pt x="628150" y="327684"/>
                    <a:pt x="609719" y="309682"/>
                  </a:cubicBezTo>
                  <a:cubicBezTo>
                    <a:pt x="593431" y="293394"/>
                    <a:pt x="592146" y="267248"/>
                    <a:pt x="606290" y="248388"/>
                  </a:cubicBezTo>
                  <a:lnTo>
                    <a:pt x="606290" y="214955"/>
                  </a:lnTo>
                  <a:lnTo>
                    <a:pt x="464844" y="73509"/>
                  </a:lnTo>
                  <a:lnTo>
                    <a:pt x="46077" y="74366"/>
                  </a:lnTo>
                  <a:lnTo>
                    <a:pt x="40076" y="74366"/>
                  </a:lnTo>
                  <a:lnTo>
                    <a:pt x="21217" y="55507"/>
                  </a:lnTo>
                  <a:cubicBezTo>
                    <a:pt x="14359" y="67508"/>
                    <a:pt x="8358" y="79510"/>
                    <a:pt x="3215" y="92369"/>
                  </a:cubicBezTo>
                  <a:lnTo>
                    <a:pt x="11359" y="100513"/>
                  </a:lnTo>
                  <a:lnTo>
                    <a:pt x="442127" y="100084"/>
                  </a:lnTo>
                  <a:close/>
                </a:path>
              </a:pathLst>
            </a:custGeom>
            <a:grpFill/>
            <a:ln w="9525" cap="flat">
              <a:noFill/>
              <a:prstDash val="solid"/>
              <a:miter/>
            </a:ln>
          </p:spPr>
          <p:txBody>
            <a:bodyPr rtlCol="0" anchor="ctr"/>
            <a:lstStyle/>
            <a:p>
              <a:endParaRPr lang="en-US"/>
            </a:p>
          </p:txBody>
        </p:sp>
        <p:sp>
          <p:nvSpPr>
            <p:cNvPr id="364" name="Freeform: Shape 141">
              <a:extLst>
                <a:ext uri="{FF2B5EF4-FFF2-40B4-BE49-F238E27FC236}">
                  <a16:creationId xmlns:a16="http://schemas.microsoft.com/office/drawing/2014/main" id="{D2A6FD8E-37FD-0542-A87F-554FA044F53F}"/>
                </a:ext>
              </a:extLst>
            </p:cNvPr>
            <p:cNvSpPr/>
            <p:nvPr/>
          </p:nvSpPr>
          <p:spPr>
            <a:xfrm>
              <a:off x="4348215" y="3099602"/>
              <a:ext cx="12859" cy="197168"/>
            </a:xfrm>
            <a:custGeom>
              <a:avLst/>
              <a:gdLst>
                <a:gd name="connsiteX0" fmla="*/ 13568 w 12858"/>
                <a:gd name="connsiteY0" fmla="*/ 193953 h 197167"/>
                <a:gd name="connsiteX1" fmla="*/ 13568 w 12858"/>
                <a:gd name="connsiteY1" fmla="*/ 3215 h 197167"/>
                <a:gd name="connsiteX2" fmla="*/ 12282 w 12858"/>
                <a:gd name="connsiteY2" fmla="*/ 7929 h 197167"/>
                <a:gd name="connsiteX3" fmla="*/ 13568 w 12858"/>
                <a:gd name="connsiteY3" fmla="*/ 193953 h 197167"/>
              </a:gdLst>
              <a:ahLst/>
              <a:cxnLst>
                <a:cxn ang="0">
                  <a:pos x="connsiteX0" y="connsiteY0"/>
                </a:cxn>
                <a:cxn ang="0">
                  <a:pos x="connsiteX1" y="connsiteY1"/>
                </a:cxn>
                <a:cxn ang="0">
                  <a:pos x="connsiteX2" y="connsiteY2"/>
                </a:cxn>
                <a:cxn ang="0">
                  <a:pos x="connsiteX3" y="connsiteY3"/>
                </a:cxn>
              </a:cxnLst>
              <a:rect l="l" t="t" r="r" b="b"/>
              <a:pathLst>
                <a:path w="12858" h="197167">
                  <a:moveTo>
                    <a:pt x="13568" y="193953"/>
                  </a:moveTo>
                  <a:lnTo>
                    <a:pt x="13568" y="3215"/>
                  </a:lnTo>
                  <a:cubicBezTo>
                    <a:pt x="13139" y="4929"/>
                    <a:pt x="12711" y="6215"/>
                    <a:pt x="12282" y="7929"/>
                  </a:cubicBezTo>
                  <a:cubicBezTo>
                    <a:pt x="-1434" y="69223"/>
                    <a:pt x="1567" y="132659"/>
                    <a:pt x="13568" y="193953"/>
                  </a:cubicBezTo>
                  <a:close/>
                </a:path>
              </a:pathLst>
            </a:custGeom>
            <a:grpFill/>
            <a:ln w="9525" cap="flat">
              <a:noFill/>
              <a:prstDash val="solid"/>
              <a:miter/>
            </a:ln>
          </p:spPr>
          <p:txBody>
            <a:bodyPr rtlCol="0" anchor="ctr"/>
            <a:lstStyle/>
            <a:p>
              <a:endParaRPr lang="en-US"/>
            </a:p>
          </p:txBody>
        </p:sp>
        <p:sp>
          <p:nvSpPr>
            <p:cNvPr id="365" name="Freeform: Shape 142">
              <a:extLst>
                <a:ext uri="{FF2B5EF4-FFF2-40B4-BE49-F238E27FC236}">
                  <a16:creationId xmlns:a16="http://schemas.microsoft.com/office/drawing/2014/main" id="{D3D04D54-636B-6B4D-B351-F58125B49348}"/>
                </a:ext>
              </a:extLst>
            </p:cNvPr>
            <p:cNvSpPr/>
            <p:nvPr/>
          </p:nvSpPr>
          <p:spPr>
            <a:xfrm>
              <a:off x="5618726" y="227386"/>
              <a:ext cx="690086" cy="295751"/>
            </a:xfrm>
            <a:custGeom>
              <a:avLst/>
              <a:gdLst>
                <a:gd name="connsiteX0" fmla="*/ 432268 w 690086"/>
                <a:gd name="connsiteY0" fmla="*/ 51221 h 295751"/>
                <a:gd name="connsiteX1" fmla="*/ 432268 w 690086"/>
                <a:gd name="connsiteY1" fmla="*/ 51221 h 295751"/>
                <a:gd name="connsiteX2" fmla="*/ 436126 w 690086"/>
                <a:gd name="connsiteY2" fmla="*/ 51221 h 295751"/>
                <a:gd name="connsiteX3" fmla="*/ 448556 w 690086"/>
                <a:gd name="connsiteY3" fmla="*/ 67937 h 295751"/>
                <a:gd name="connsiteX4" fmla="*/ 510707 w 690086"/>
                <a:gd name="connsiteY4" fmla="*/ 130088 h 295751"/>
                <a:gd name="connsiteX5" fmla="*/ 511135 w 690086"/>
                <a:gd name="connsiteY5" fmla="*/ 134374 h 295751"/>
                <a:gd name="connsiteX6" fmla="*/ 510707 w 690086"/>
                <a:gd name="connsiteY6" fmla="*/ 198239 h 295751"/>
                <a:gd name="connsiteX7" fmla="*/ 605433 w 690086"/>
                <a:gd name="connsiteY7" fmla="*/ 292965 h 295751"/>
                <a:gd name="connsiteX8" fmla="*/ 688158 w 690086"/>
                <a:gd name="connsiteY8" fmla="*/ 292537 h 295751"/>
                <a:gd name="connsiteX9" fmla="*/ 687729 w 690086"/>
                <a:gd name="connsiteY9" fmla="*/ 281392 h 295751"/>
                <a:gd name="connsiteX10" fmla="*/ 683443 w 690086"/>
                <a:gd name="connsiteY10" fmla="*/ 262104 h 295751"/>
                <a:gd name="connsiteX11" fmla="*/ 610576 w 690086"/>
                <a:gd name="connsiteY11" fmla="*/ 262104 h 295751"/>
                <a:gd name="connsiteX12" fmla="*/ 546711 w 690086"/>
                <a:gd name="connsiteY12" fmla="*/ 198239 h 295751"/>
                <a:gd name="connsiteX13" fmla="*/ 546711 w 690086"/>
                <a:gd name="connsiteY13" fmla="*/ 102656 h 295751"/>
                <a:gd name="connsiteX14" fmla="*/ 452414 w 690086"/>
                <a:gd name="connsiteY14" fmla="*/ 8358 h 295751"/>
                <a:gd name="connsiteX15" fmla="*/ 21217 w 690086"/>
                <a:gd name="connsiteY15" fmla="*/ 8787 h 295751"/>
                <a:gd name="connsiteX16" fmla="*/ 14359 w 690086"/>
                <a:gd name="connsiteY16" fmla="*/ 8787 h 295751"/>
                <a:gd name="connsiteX17" fmla="*/ 8787 w 690086"/>
                <a:gd name="connsiteY17" fmla="*/ 3215 h 295751"/>
                <a:gd name="connsiteX18" fmla="*/ 4929 w 690086"/>
                <a:gd name="connsiteY18" fmla="*/ 26789 h 295751"/>
                <a:gd name="connsiteX19" fmla="*/ 3215 w 690086"/>
                <a:gd name="connsiteY19" fmla="*/ 46934 h 295751"/>
                <a:gd name="connsiteX20" fmla="*/ 4501 w 690086"/>
                <a:gd name="connsiteY20" fmla="*/ 48220 h 295751"/>
                <a:gd name="connsiteX21" fmla="*/ 432268 w 690086"/>
                <a:gd name="connsiteY21" fmla="*/ 51221 h 29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0086" h="295751">
                  <a:moveTo>
                    <a:pt x="432268" y="51221"/>
                  </a:moveTo>
                  <a:lnTo>
                    <a:pt x="432268" y="51221"/>
                  </a:lnTo>
                  <a:cubicBezTo>
                    <a:pt x="433554" y="51221"/>
                    <a:pt x="434840" y="51221"/>
                    <a:pt x="436126" y="51221"/>
                  </a:cubicBezTo>
                  <a:cubicBezTo>
                    <a:pt x="444270" y="52507"/>
                    <a:pt x="449842" y="59793"/>
                    <a:pt x="448556" y="67937"/>
                  </a:cubicBezTo>
                  <a:lnTo>
                    <a:pt x="510707" y="130088"/>
                  </a:lnTo>
                  <a:lnTo>
                    <a:pt x="511135" y="134374"/>
                  </a:lnTo>
                  <a:lnTo>
                    <a:pt x="510707" y="198239"/>
                  </a:lnTo>
                  <a:lnTo>
                    <a:pt x="605433" y="292965"/>
                  </a:lnTo>
                  <a:lnTo>
                    <a:pt x="688158" y="292537"/>
                  </a:lnTo>
                  <a:cubicBezTo>
                    <a:pt x="688158" y="288679"/>
                    <a:pt x="688158" y="284821"/>
                    <a:pt x="687729" y="281392"/>
                  </a:cubicBezTo>
                  <a:cubicBezTo>
                    <a:pt x="684300" y="275392"/>
                    <a:pt x="683014" y="268534"/>
                    <a:pt x="683443" y="262104"/>
                  </a:cubicBezTo>
                  <a:lnTo>
                    <a:pt x="610576" y="262104"/>
                  </a:lnTo>
                  <a:lnTo>
                    <a:pt x="546711" y="198239"/>
                  </a:lnTo>
                  <a:lnTo>
                    <a:pt x="546711" y="102656"/>
                  </a:lnTo>
                  <a:lnTo>
                    <a:pt x="452414" y="8358"/>
                  </a:lnTo>
                  <a:lnTo>
                    <a:pt x="21217" y="8787"/>
                  </a:lnTo>
                  <a:lnTo>
                    <a:pt x="14359" y="8787"/>
                  </a:lnTo>
                  <a:lnTo>
                    <a:pt x="8787" y="3215"/>
                  </a:lnTo>
                  <a:cubicBezTo>
                    <a:pt x="7072" y="10930"/>
                    <a:pt x="5786" y="18645"/>
                    <a:pt x="4929" y="26789"/>
                  </a:cubicBezTo>
                  <a:cubicBezTo>
                    <a:pt x="4072" y="33647"/>
                    <a:pt x="3643" y="40076"/>
                    <a:pt x="3215" y="46934"/>
                  </a:cubicBezTo>
                  <a:lnTo>
                    <a:pt x="4501" y="48220"/>
                  </a:lnTo>
                  <a:lnTo>
                    <a:pt x="432268" y="51221"/>
                  </a:lnTo>
                  <a:close/>
                </a:path>
              </a:pathLst>
            </a:custGeom>
            <a:grpFill/>
            <a:ln w="9525" cap="flat">
              <a:noFill/>
              <a:prstDash val="solid"/>
              <a:miter/>
            </a:ln>
          </p:spPr>
          <p:txBody>
            <a:bodyPr rtlCol="0" anchor="ctr"/>
            <a:lstStyle/>
            <a:p>
              <a:endParaRPr lang="en-US"/>
            </a:p>
          </p:txBody>
        </p:sp>
        <p:sp>
          <p:nvSpPr>
            <p:cNvPr id="366" name="Freeform: Shape 143">
              <a:extLst>
                <a:ext uri="{FF2B5EF4-FFF2-40B4-BE49-F238E27FC236}">
                  <a16:creationId xmlns:a16="http://schemas.microsoft.com/office/drawing/2014/main" id="{9155AB39-5CBD-DA41-AAA0-70C0239EC9B8}"/>
                </a:ext>
              </a:extLst>
            </p:cNvPr>
            <p:cNvSpPr/>
            <p:nvPr/>
          </p:nvSpPr>
          <p:spPr>
            <a:xfrm>
              <a:off x="6528697" y="4706088"/>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67" name="Freeform: Shape 144">
              <a:extLst>
                <a:ext uri="{FF2B5EF4-FFF2-40B4-BE49-F238E27FC236}">
                  <a16:creationId xmlns:a16="http://schemas.microsoft.com/office/drawing/2014/main" id="{CD099F42-7AF6-9349-8CF2-82D610C33B3B}"/>
                </a:ext>
              </a:extLst>
            </p:cNvPr>
            <p:cNvSpPr/>
            <p:nvPr/>
          </p:nvSpPr>
          <p:spPr>
            <a:xfrm>
              <a:off x="6528697" y="4684228"/>
              <a:ext cx="445770" cy="214313"/>
            </a:xfrm>
            <a:custGeom>
              <a:avLst/>
              <a:gdLst>
                <a:gd name="connsiteX0" fmla="*/ 3215 w 445770"/>
                <a:gd name="connsiteY0" fmla="*/ 25074 h 214312"/>
                <a:gd name="connsiteX1" fmla="*/ 269820 w 445770"/>
                <a:gd name="connsiteY1" fmla="*/ 212812 h 214312"/>
                <a:gd name="connsiteX2" fmla="*/ 444699 w 445770"/>
                <a:gd name="connsiteY2" fmla="*/ 182380 h 214312"/>
                <a:gd name="connsiteX3" fmla="*/ 436983 w 445770"/>
                <a:gd name="connsiteY3" fmla="*/ 163521 h 214312"/>
                <a:gd name="connsiteX4" fmla="*/ 433126 w 445770"/>
                <a:gd name="connsiteY4" fmla="*/ 153233 h 214312"/>
                <a:gd name="connsiteX5" fmla="*/ 271963 w 445770"/>
                <a:gd name="connsiteY5" fmla="*/ 181094 h 214312"/>
                <a:gd name="connsiteX6" fmla="*/ 268105 w 445770"/>
                <a:gd name="connsiteY6" fmla="*/ 181952 h 214312"/>
                <a:gd name="connsiteX7" fmla="*/ 14787 w 445770"/>
                <a:gd name="connsiteY7" fmla="*/ 3215 h 214312"/>
                <a:gd name="connsiteX8" fmla="*/ 3215 w 445770"/>
                <a:gd name="connsiteY8" fmla="*/ 25074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770" h="214312">
                  <a:moveTo>
                    <a:pt x="3215" y="25074"/>
                  </a:moveTo>
                  <a:lnTo>
                    <a:pt x="269820" y="212812"/>
                  </a:lnTo>
                  <a:lnTo>
                    <a:pt x="444699" y="182380"/>
                  </a:lnTo>
                  <a:cubicBezTo>
                    <a:pt x="442127" y="175951"/>
                    <a:pt x="439555" y="169950"/>
                    <a:pt x="436983" y="163521"/>
                  </a:cubicBezTo>
                  <a:cubicBezTo>
                    <a:pt x="435697" y="160091"/>
                    <a:pt x="434411" y="156663"/>
                    <a:pt x="433126" y="153233"/>
                  </a:cubicBezTo>
                  <a:lnTo>
                    <a:pt x="271963" y="181094"/>
                  </a:lnTo>
                  <a:lnTo>
                    <a:pt x="268105" y="181952"/>
                  </a:lnTo>
                  <a:lnTo>
                    <a:pt x="14787" y="3215"/>
                  </a:lnTo>
                  <a:cubicBezTo>
                    <a:pt x="10930" y="10502"/>
                    <a:pt x="6644" y="17788"/>
                    <a:pt x="3215" y="25074"/>
                  </a:cubicBezTo>
                  <a:close/>
                </a:path>
              </a:pathLst>
            </a:custGeom>
            <a:grpFill/>
            <a:ln w="9525" cap="flat">
              <a:noFill/>
              <a:prstDash val="solid"/>
              <a:miter/>
            </a:ln>
          </p:spPr>
          <p:txBody>
            <a:bodyPr rtlCol="0" anchor="ctr"/>
            <a:lstStyle/>
            <a:p>
              <a:endParaRPr lang="en-US"/>
            </a:p>
          </p:txBody>
        </p:sp>
        <p:sp>
          <p:nvSpPr>
            <p:cNvPr id="368" name="Freeform: Shape 145">
              <a:extLst>
                <a:ext uri="{FF2B5EF4-FFF2-40B4-BE49-F238E27FC236}">
                  <a16:creationId xmlns:a16="http://schemas.microsoft.com/office/drawing/2014/main" id="{AD59DF1C-F02B-9C4C-84D7-C89359D71D41}"/>
                </a:ext>
              </a:extLst>
            </p:cNvPr>
            <p:cNvSpPr/>
            <p:nvPr/>
          </p:nvSpPr>
          <p:spPr>
            <a:xfrm>
              <a:off x="4407432" y="3495223"/>
              <a:ext cx="192881" cy="214313"/>
            </a:xfrm>
            <a:custGeom>
              <a:avLst/>
              <a:gdLst>
                <a:gd name="connsiteX0" fmla="*/ 143375 w 192881"/>
                <a:gd name="connsiteY0" fmla="*/ 164806 h 214312"/>
                <a:gd name="connsiteX1" fmla="*/ 143375 w 192881"/>
                <a:gd name="connsiteY1" fmla="*/ 164806 h 214312"/>
                <a:gd name="connsiteX2" fmla="*/ 143375 w 192881"/>
                <a:gd name="connsiteY2" fmla="*/ 25932 h 214312"/>
                <a:gd name="connsiteX3" fmla="*/ 120658 w 192881"/>
                <a:gd name="connsiteY3" fmla="*/ 3215 h 214312"/>
                <a:gd name="connsiteX4" fmla="*/ 3215 w 192881"/>
                <a:gd name="connsiteY4" fmla="*/ 3215 h 214312"/>
                <a:gd name="connsiteX5" fmla="*/ 31075 w 192881"/>
                <a:gd name="connsiteY5" fmla="*/ 103942 h 214312"/>
                <a:gd name="connsiteX6" fmla="*/ 35790 w 192881"/>
                <a:gd name="connsiteY6" fmla="*/ 99227 h 214312"/>
                <a:gd name="connsiteX7" fmla="*/ 28932 w 192881"/>
                <a:gd name="connsiteY7" fmla="*/ 76081 h 214312"/>
                <a:gd name="connsiteX8" fmla="*/ 71795 w 192881"/>
                <a:gd name="connsiteY8" fmla="*/ 33647 h 214312"/>
                <a:gd name="connsiteX9" fmla="*/ 115086 w 192881"/>
                <a:gd name="connsiteY9" fmla="*/ 76081 h 214312"/>
                <a:gd name="connsiteX10" fmla="*/ 71795 w 192881"/>
                <a:gd name="connsiteY10" fmla="*/ 119372 h 214312"/>
                <a:gd name="connsiteX11" fmla="*/ 59365 w 192881"/>
                <a:gd name="connsiteY11" fmla="*/ 117229 h 214312"/>
                <a:gd name="connsiteX12" fmla="*/ 40505 w 192881"/>
                <a:gd name="connsiteY12" fmla="*/ 136088 h 214312"/>
                <a:gd name="connsiteX13" fmla="*/ 68794 w 192881"/>
                <a:gd name="connsiteY13" fmla="*/ 169093 h 214312"/>
                <a:gd name="connsiteX14" fmla="*/ 190524 w 192881"/>
                <a:gd name="connsiteY14" fmla="*/ 211955 h 214312"/>
                <a:gd name="connsiteX15" fmla="*/ 147233 w 192881"/>
                <a:gd name="connsiteY15" fmla="*/ 168664 h 214312"/>
                <a:gd name="connsiteX16" fmla="*/ 143375 w 192881"/>
                <a:gd name="connsiteY16" fmla="*/ 164806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881" h="214312">
                  <a:moveTo>
                    <a:pt x="143375" y="164806"/>
                  </a:moveTo>
                  <a:lnTo>
                    <a:pt x="143375" y="164806"/>
                  </a:lnTo>
                  <a:lnTo>
                    <a:pt x="143375" y="25932"/>
                  </a:lnTo>
                  <a:lnTo>
                    <a:pt x="120658" y="3215"/>
                  </a:lnTo>
                  <a:lnTo>
                    <a:pt x="3215" y="3215"/>
                  </a:lnTo>
                  <a:cubicBezTo>
                    <a:pt x="11787" y="37076"/>
                    <a:pt x="21217" y="70509"/>
                    <a:pt x="31075" y="103942"/>
                  </a:cubicBezTo>
                  <a:lnTo>
                    <a:pt x="35790" y="99227"/>
                  </a:lnTo>
                  <a:cubicBezTo>
                    <a:pt x="31504" y="92797"/>
                    <a:pt x="28932" y="84653"/>
                    <a:pt x="28932" y="76081"/>
                  </a:cubicBezTo>
                  <a:cubicBezTo>
                    <a:pt x="28932" y="52507"/>
                    <a:pt x="47792" y="33647"/>
                    <a:pt x="71795" y="33647"/>
                  </a:cubicBezTo>
                  <a:cubicBezTo>
                    <a:pt x="95798" y="33647"/>
                    <a:pt x="115086" y="52507"/>
                    <a:pt x="115086" y="76081"/>
                  </a:cubicBezTo>
                  <a:cubicBezTo>
                    <a:pt x="115086" y="99655"/>
                    <a:pt x="95369" y="119372"/>
                    <a:pt x="71795" y="119372"/>
                  </a:cubicBezTo>
                  <a:cubicBezTo>
                    <a:pt x="67508" y="119372"/>
                    <a:pt x="63222" y="118515"/>
                    <a:pt x="59365" y="117229"/>
                  </a:cubicBezTo>
                  <a:lnTo>
                    <a:pt x="40505" y="136088"/>
                  </a:lnTo>
                  <a:cubicBezTo>
                    <a:pt x="45649" y="150233"/>
                    <a:pt x="55507" y="161806"/>
                    <a:pt x="68794" y="169093"/>
                  </a:cubicBezTo>
                  <a:cubicBezTo>
                    <a:pt x="106942" y="189238"/>
                    <a:pt x="148519" y="202097"/>
                    <a:pt x="190524" y="211955"/>
                  </a:cubicBezTo>
                  <a:lnTo>
                    <a:pt x="147233" y="168664"/>
                  </a:lnTo>
                  <a:lnTo>
                    <a:pt x="143375" y="164806"/>
                  </a:lnTo>
                  <a:close/>
                </a:path>
              </a:pathLst>
            </a:custGeom>
            <a:grpFill/>
            <a:ln w="9525" cap="flat">
              <a:noFill/>
              <a:prstDash val="solid"/>
              <a:miter/>
            </a:ln>
          </p:spPr>
          <p:txBody>
            <a:bodyPr rtlCol="0" anchor="ctr"/>
            <a:lstStyle/>
            <a:p>
              <a:endParaRPr lang="en-US"/>
            </a:p>
          </p:txBody>
        </p:sp>
        <p:sp>
          <p:nvSpPr>
            <p:cNvPr id="369" name="Freeform: Shape 146">
              <a:extLst>
                <a:ext uri="{FF2B5EF4-FFF2-40B4-BE49-F238E27FC236}">
                  <a16:creationId xmlns:a16="http://schemas.microsoft.com/office/drawing/2014/main" id="{EB288F20-CB03-B840-9B1F-BD68FC38890E}"/>
                </a:ext>
              </a:extLst>
            </p:cNvPr>
            <p:cNvSpPr/>
            <p:nvPr/>
          </p:nvSpPr>
          <p:spPr>
            <a:xfrm>
              <a:off x="5620869" y="353401"/>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70" name="Freeform: Shape 147">
              <a:extLst>
                <a:ext uri="{FF2B5EF4-FFF2-40B4-BE49-F238E27FC236}">
                  <a16:creationId xmlns:a16="http://schemas.microsoft.com/office/drawing/2014/main" id="{DB25A28C-FCEF-4F4D-898A-FBD03049DA38}"/>
                </a:ext>
              </a:extLst>
            </p:cNvPr>
            <p:cNvSpPr/>
            <p:nvPr/>
          </p:nvSpPr>
          <p:spPr>
            <a:xfrm>
              <a:off x="5617011" y="301966"/>
              <a:ext cx="690086" cy="304324"/>
            </a:xfrm>
            <a:custGeom>
              <a:avLst/>
              <a:gdLst>
                <a:gd name="connsiteX0" fmla="*/ 7072 w 690086"/>
                <a:gd name="connsiteY0" fmla="*/ 54650 h 304323"/>
                <a:gd name="connsiteX1" fmla="*/ 366689 w 690086"/>
                <a:gd name="connsiteY1" fmla="*/ 54650 h 304323"/>
                <a:gd name="connsiteX2" fmla="*/ 376119 w 690086"/>
                <a:gd name="connsiteY2" fmla="*/ 40076 h 304323"/>
                <a:gd name="connsiteX3" fmla="*/ 442984 w 690086"/>
                <a:gd name="connsiteY3" fmla="*/ 38791 h 304323"/>
                <a:gd name="connsiteX4" fmla="*/ 441698 w 690086"/>
                <a:gd name="connsiteY4" fmla="*/ 105656 h 304323"/>
                <a:gd name="connsiteX5" fmla="*/ 374833 w 690086"/>
                <a:gd name="connsiteY5" fmla="*/ 106942 h 304323"/>
                <a:gd name="connsiteX6" fmla="*/ 362831 w 690086"/>
                <a:gd name="connsiteY6" fmla="*/ 83796 h 304323"/>
                <a:gd name="connsiteX7" fmla="*/ 7930 w 690086"/>
                <a:gd name="connsiteY7" fmla="*/ 83796 h 304323"/>
                <a:gd name="connsiteX8" fmla="*/ 10930 w 690086"/>
                <a:gd name="connsiteY8" fmla="*/ 109942 h 304323"/>
                <a:gd name="connsiteX9" fmla="*/ 263390 w 690086"/>
                <a:gd name="connsiteY9" fmla="*/ 109942 h 304323"/>
                <a:gd name="connsiteX10" fmla="*/ 269391 w 690086"/>
                <a:gd name="connsiteY10" fmla="*/ 109942 h 304323"/>
                <a:gd name="connsiteX11" fmla="*/ 319969 w 690086"/>
                <a:gd name="connsiteY11" fmla="*/ 160520 h 304323"/>
                <a:gd name="connsiteX12" fmla="*/ 457557 w 690086"/>
                <a:gd name="connsiteY12" fmla="*/ 160520 h 304323"/>
                <a:gd name="connsiteX13" fmla="*/ 463987 w 690086"/>
                <a:gd name="connsiteY13" fmla="*/ 160520 h 304323"/>
                <a:gd name="connsiteX14" fmla="*/ 605433 w 690086"/>
                <a:gd name="connsiteY14" fmla="*/ 301966 h 304323"/>
                <a:gd name="connsiteX15" fmla="*/ 612291 w 690086"/>
                <a:gd name="connsiteY15" fmla="*/ 294251 h 304323"/>
                <a:gd name="connsiteX16" fmla="*/ 676585 w 690086"/>
                <a:gd name="connsiteY16" fmla="*/ 290822 h 304323"/>
                <a:gd name="connsiteX17" fmla="*/ 684729 w 690086"/>
                <a:gd name="connsiteY17" fmla="*/ 267248 h 304323"/>
                <a:gd name="connsiteX18" fmla="*/ 689015 w 690086"/>
                <a:gd name="connsiteY18" fmla="*/ 240244 h 304323"/>
                <a:gd name="connsiteX19" fmla="*/ 686872 w 690086"/>
                <a:gd name="connsiteY19" fmla="*/ 238101 h 304323"/>
                <a:gd name="connsiteX20" fmla="*/ 599004 w 690086"/>
                <a:gd name="connsiteY20" fmla="*/ 238101 h 304323"/>
                <a:gd name="connsiteX21" fmla="*/ 493133 w 690086"/>
                <a:gd name="connsiteY21" fmla="*/ 132231 h 304323"/>
                <a:gd name="connsiteX22" fmla="*/ 493133 w 690086"/>
                <a:gd name="connsiteY22" fmla="*/ 128373 h 304323"/>
                <a:gd name="connsiteX23" fmla="*/ 492705 w 690086"/>
                <a:gd name="connsiteY23" fmla="*/ 64079 h 304323"/>
                <a:gd name="connsiteX24" fmla="*/ 435269 w 690086"/>
                <a:gd name="connsiteY24" fmla="*/ 6644 h 304323"/>
                <a:gd name="connsiteX25" fmla="*/ 433983 w 690086"/>
                <a:gd name="connsiteY25" fmla="*/ 6215 h 304323"/>
                <a:gd name="connsiteX26" fmla="*/ 3215 w 690086"/>
                <a:gd name="connsiteY26" fmla="*/ 3215 h 304323"/>
                <a:gd name="connsiteX27" fmla="*/ 5358 w 690086"/>
                <a:gd name="connsiteY27" fmla="*/ 52935 h 304323"/>
                <a:gd name="connsiteX28" fmla="*/ 7072 w 690086"/>
                <a:gd name="connsiteY28" fmla="*/ 54650 h 30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90086" h="304323">
                  <a:moveTo>
                    <a:pt x="7072" y="54650"/>
                  </a:moveTo>
                  <a:lnTo>
                    <a:pt x="366689" y="54650"/>
                  </a:lnTo>
                  <a:cubicBezTo>
                    <a:pt x="369260" y="49506"/>
                    <a:pt x="371832" y="44363"/>
                    <a:pt x="376119" y="40076"/>
                  </a:cubicBezTo>
                  <a:cubicBezTo>
                    <a:pt x="394978" y="21217"/>
                    <a:pt x="424982" y="20788"/>
                    <a:pt x="442984" y="38791"/>
                  </a:cubicBezTo>
                  <a:cubicBezTo>
                    <a:pt x="460986" y="56793"/>
                    <a:pt x="460558" y="86797"/>
                    <a:pt x="441698" y="105656"/>
                  </a:cubicBezTo>
                  <a:cubicBezTo>
                    <a:pt x="422839" y="124516"/>
                    <a:pt x="393264" y="124944"/>
                    <a:pt x="374833" y="106942"/>
                  </a:cubicBezTo>
                  <a:cubicBezTo>
                    <a:pt x="368403" y="100513"/>
                    <a:pt x="364546" y="92369"/>
                    <a:pt x="362831" y="83796"/>
                  </a:cubicBezTo>
                  <a:lnTo>
                    <a:pt x="7930" y="83796"/>
                  </a:lnTo>
                  <a:cubicBezTo>
                    <a:pt x="8787" y="92369"/>
                    <a:pt x="9644" y="101370"/>
                    <a:pt x="10930" y="109942"/>
                  </a:cubicBezTo>
                  <a:lnTo>
                    <a:pt x="263390" y="109942"/>
                  </a:lnTo>
                  <a:lnTo>
                    <a:pt x="269391" y="109942"/>
                  </a:lnTo>
                  <a:lnTo>
                    <a:pt x="319969" y="160520"/>
                  </a:lnTo>
                  <a:lnTo>
                    <a:pt x="457557" y="160520"/>
                  </a:lnTo>
                  <a:lnTo>
                    <a:pt x="463987" y="160520"/>
                  </a:lnTo>
                  <a:lnTo>
                    <a:pt x="605433" y="301966"/>
                  </a:lnTo>
                  <a:cubicBezTo>
                    <a:pt x="607147" y="299395"/>
                    <a:pt x="609719" y="296823"/>
                    <a:pt x="612291" y="294251"/>
                  </a:cubicBezTo>
                  <a:cubicBezTo>
                    <a:pt x="630293" y="276249"/>
                    <a:pt x="658154" y="274963"/>
                    <a:pt x="676585" y="290822"/>
                  </a:cubicBezTo>
                  <a:cubicBezTo>
                    <a:pt x="680014" y="283107"/>
                    <a:pt x="683014" y="275392"/>
                    <a:pt x="684729" y="267248"/>
                  </a:cubicBezTo>
                  <a:cubicBezTo>
                    <a:pt x="686443" y="258247"/>
                    <a:pt x="688158" y="249245"/>
                    <a:pt x="689015" y="240244"/>
                  </a:cubicBezTo>
                  <a:lnTo>
                    <a:pt x="686872" y="238101"/>
                  </a:lnTo>
                  <a:lnTo>
                    <a:pt x="599004" y="238101"/>
                  </a:lnTo>
                  <a:lnTo>
                    <a:pt x="493133" y="132231"/>
                  </a:lnTo>
                  <a:lnTo>
                    <a:pt x="493133" y="128373"/>
                  </a:lnTo>
                  <a:lnTo>
                    <a:pt x="492705" y="64079"/>
                  </a:lnTo>
                  <a:lnTo>
                    <a:pt x="435269" y="6644"/>
                  </a:lnTo>
                  <a:cubicBezTo>
                    <a:pt x="434840" y="6644"/>
                    <a:pt x="434412" y="6644"/>
                    <a:pt x="433983" y="6215"/>
                  </a:cubicBezTo>
                  <a:lnTo>
                    <a:pt x="3215" y="3215"/>
                  </a:lnTo>
                  <a:cubicBezTo>
                    <a:pt x="3215" y="19931"/>
                    <a:pt x="4072" y="36219"/>
                    <a:pt x="5358" y="52935"/>
                  </a:cubicBezTo>
                  <a:lnTo>
                    <a:pt x="7072" y="54650"/>
                  </a:lnTo>
                  <a:close/>
                </a:path>
              </a:pathLst>
            </a:custGeom>
            <a:grpFill/>
            <a:ln w="9525" cap="flat">
              <a:noFill/>
              <a:prstDash val="solid"/>
              <a:miter/>
            </a:ln>
          </p:spPr>
          <p:txBody>
            <a:bodyPr rtlCol="0" anchor="ctr"/>
            <a:lstStyle/>
            <a:p>
              <a:endParaRPr lang="en-US"/>
            </a:p>
          </p:txBody>
        </p:sp>
        <p:sp>
          <p:nvSpPr>
            <p:cNvPr id="371" name="Freeform: Shape 148">
              <a:extLst>
                <a:ext uri="{FF2B5EF4-FFF2-40B4-BE49-F238E27FC236}">
                  <a16:creationId xmlns:a16="http://schemas.microsoft.com/office/drawing/2014/main" id="{A365E834-16F4-8946-8FAB-B24C623A4E47}"/>
                </a:ext>
              </a:extLst>
            </p:cNvPr>
            <p:cNvSpPr/>
            <p:nvPr/>
          </p:nvSpPr>
          <p:spPr>
            <a:xfrm>
              <a:off x="6661571" y="4457915"/>
              <a:ext cx="210026" cy="137160"/>
            </a:xfrm>
            <a:custGeom>
              <a:avLst/>
              <a:gdLst>
                <a:gd name="connsiteX0" fmla="*/ 3215 w 210026"/>
                <a:gd name="connsiteY0" fmla="*/ 32361 h 137160"/>
                <a:gd name="connsiteX1" fmla="*/ 152805 w 210026"/>
                <a:gd name="connsiteY1" fmla="*/ 137374 h 137160"/>
                <a:gd name="connsiteX2" fmla="*/ 208955 w 210026"/>
                <a:gd name="connsiteY2" fmla="*/ 127944 h 137160"/>
                <a:gd name="connsiteX3" fmla="*/ 192238 w 210026"/>
                <a:gd name="connsiteY3" fmla="*/ 90654 h 137160"/>
                <a:gd name="connsiteX4" fmla="*/ 162234 w 210026"/>
                <a:gd name="connsiteY4" fmla="*/ 95798 h 137160"/>
                <a:gd name="connsiteX5" fmla="*/ 156234 w 210026"/>
                <a:gd name="connsiteY5" fmla="*/ 96655 h 137160"/>
                <a:gd name="connsiteX6" fmla="*/ 23789 w 210026"/>
                <a:gd name="connsiteY6" fmla="*/ 3215 h 137160"/>
                <a:gd name="connsiteX7" fmla="*/ 11358 w 210026"/>
                <a:gd name="connsiteY7" fmla="*/ 20360 h 137160"/>
                <a:gd name="connsiteX8" fmla="*/ 11358 w 210026"/>
                <a:gd name="connsiteY8" fmla="*/ 20360 h 137160"/>
                <a:gd name="connsiteX9" fmla="*/ 3215 w 210026"/>
                <a:gd name="connsiteY9" fmla="*/ 32361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026" h="137160">
                  <a:moveTo>
                    <a:pt x="3215" y="32361"/>
                  </a:moveTo>
                  <a:lnTo>
                    <a:pt x="152805" y="137374"/>
                  </a:lnTo>
                  <a:lnTo>
                    <a:pt x="208955" y="127944"/>
                  </a:lnTo>
                  <a:cubicBezTo>
                    <a:pt x="202954" y="115514"/>
                    <a:pt x="197382" y="103084"/>
                    <a:pt x="192238" y="90654"/>
                  </a:cubicBezTo>
                  <a:lnTo>
                    <a:pt x="162234" y="95798"/>
                  </a:lnTo>
                  <a:lnTo>
                    <a:pt x="156234" y="96655"/>
                  </a:lnTo>
                  <a:lnTo>
                    <a:pt x="23789" y="3215"/>
                  </a:lnTo>
                  <a:cubicBezTo>
                    <a:pt x="19502" y="8786"/>
                    <a:pt x="15645" y="14787"/>
                    <a:pt x="11358" y="20360"/>
                  </a:cubicBezTo>
                  <a:lnTo>
                    <a:pt x="11358" y="20360"/>
                  </a:lnTo>
                  <a:cubicBezTo>
                    <a:pt x="8358" y="25074"/>
                    <a:pt x="5786" y="28503"/>
                    <a:pt x="3215" y="32361"/>
                  </a:cubicBezTo>
                  <a:close/>
                </a:path>
              </a:pathLst>
            </a:custGeom>
            <a:grpFill/>
            <a:ln w="9525" cap="flat">
              <a:noFill/>
              <a:prstDash val="solid"/>
              <a:miter/>
            </a:ln>
          </p:spPr>
          <p:txBody>
            <a:bodyPr rtlCol="0" anchor="ctr"/>
            <a:lstStyle/>
            <a:p>
              <a:endParaRPr lang="en-US"/>
            </a:p>
          </p:txBody>
        </p:sp>
        <p:sp>
          <p:nvSpPr>
            <p:cNvPr id="372" name="Freeform: Shape 149">
              <a:extLst>
                <a:ext uri="{FF2B5EF4-FFF2-40B4-BE49-F238E27FC236}">
                  <a16:creationId xmlns:a16="http://schemas.microsoft.com/office/drawing/2014/main" id="{F40881D8-95DC-CA4D-8229-3B9D4E2A04A9}"/>
                </a:ext>
              </a:extLst>
            </p:cNvPr>
            <p:cNvSpPr/>
            <p:nvPr/>
          </p:nvSpPr>
          <p:spPr>
            <a:xfrm>
              <a:off x="6699290" y="4403479"/>
              <a:ext cx="145733" cy="120015"/>
            </a:xfrm>
            <a:custGeom>
              <a:avLst/>
              <a:gdLst>
                <a:gd name="connsiteX0" fmla="*/ 3215 w 145732"/>
                <a:gd name="connsiteY0" fmla="*/ 34076 h 120015"/>
                <a:gd name="connsiteX1" fmla="*/ 125373 w 145732"/>
                <a:gd name="connsiteY1" fmla="*/ 120230 h 120015"/>
                <a:gd name="connsiteX2" fmla="*/ 145518 w 145732"/>
                <a:gd name="connsiteY2" fmla="*/ 116800 h 120015"/>
                <a:gd name="connsiteX3" fmla="*/ 138660 w 145732"/>
                <a:gd name="connsiteY3" fmla="*/ 82082 h 120015"/>
                <a:gd name="connsiteX4" fmla="*/ 26789 w 145732"/>
                <a:gd name="connsiteY4" fmla="*/ 3215 h 120015"/>
                <a:gd name="connsiteX5" fmla="*/ 3215 w 145732"/>
                <a:gd name="connsiteY5" fmla="*/ 34076 h 1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732" h="120015">
                  <a:moveTo>
                    <a:pt x="3215" y="34076"/>
                  </a:moveTo>
                  <a:lnTo>
                    <a:pt x="125373" y="120230"/>
                  </a:lnTo>
                  <a:lnTo>
                    <a:pt x="145518" y="116800"/>
                  </a:lnTo>
                  <a:cubicBezTo>
                    <a:pt x="142518" y="105228"/>
                    <a:pt x="139946" y="93654"/>
                    <a:pt x="138660" y="82082"/>
                  </a:cubicBezTo>
                  <a:lnTo>
                    <a:pt x="26789" y="3215"/>
                  </a:lnTo>
                  <a:cubicBezTo>
                    <a:pt x="18645" y="13502"/>
                    <a:pt x="10930" y="23789"/>
                    <a:pt x="3215" y="34076"/>
                  </a:cubicBezTo>
                  <a:close/>
                </a:path>
              </a:pathLst>
            </a:custGeom>
            <a:grpFill/>
            <a:ln w="9525" cap="flat">
              <a:noFill/>
              <a:prstDash val="solid"/>
              <a:miter/>
            </a:ln>
          </p:spPr>
          <p:txBody>
            <a:bodyPr rtlCol="0" anchor="ctr"/>
            <a:lstStyle/>
            <a:p>
              <a:endParaRPr lang="en-US"/>
            </a:p>
          </p:txBody>
        </p:sp>
        <p:sp>
          <p:nvSpPr>
            <p:cNvPr id="373" name="Freeform: Shape 150">
              <a:extLst>
                <a:ext uri="{FF2B5EF4-FFF2-40B4-BE49-F238E27FC236}">
                  <a16:creationId xmlns:a16="http://schemas.microsoft.com/office/drawing/2014/main" id="{A686BF7C-3301-0F44-A16A-9223DE9F6B23}"/>
                </a:ext>
              </a:extLst>
            </p:cNvPr>
            <p:cNvSpPr/>
            <p:nvPr/>
          </p:nvSpPr>
          <p:spPr>
            <a:xfrm>
              <a:off x="6831735" y="4444627"/>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74" name="Freeform: Shape 151">
              <a:extLst>
                <a:ext uri="{FF2B5EF4-FFF2-40B4-BE49-F238E27FC236}">
                  <a16:creationId xmlns:a16="http://schemas.microsoft.com/office/drawing/2014/main" id="{86DF4427-3C61-A942-A6E4-B253DCAC87BE}"/>
                </a:ext>
              </a:extLst>
            </p:cNvPr>
            <p:cNvSpPr/>
            <p:nvPr/>
          </p:nvSpPr>
          <p:spPr>
            <a:xfrm>
              <a:off x="6740438" y="4353758"/>
              <a:ext cx="98584" cy="94298"/>
            </a:xfrm>
            <a:custGeom>
              <a:avLst/>
              <a:gdLst>
                <a:gd name="connsiteX0" fmla="*/ 94512 w 98583"/>
                <a:gd name="connsiteY0" fmla="*/ 94083 h 94297"/>
                <a:gd name="connsiteX1" fmla="*/ 95369 w 98583"/>
                <a:gd name="connsiteY1" fmla="*/ 57221 h 94297"/>
                <a:gd name="connsiteX2" fmla="*/ 95369 w 98583"/>
                <a:gd name="connsiteY2" fmla="*/ 52935 h 94297"/>
                <a:gd name="connsiteX3" fmla="*/ 25075 w 98583"/>
                <a:gd name="connsiteY3" fmla="*/ 3215 h 94297"/>
                <a:gd name="connsiteX4" fmla="*/ 3215 w 98583"/>
                <a:gd name="connsiteY4" fmla="*/ 30218 h 94297"/>
                <a:gd name="connsiteX5" fmla="*/ 94512 w 98583"/>
                <a:gd name="connsiteY5" fmla="*/ 94083 h 9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83" h="94297">
                  <a:moveTo>
                    <a:pt x="94512" y="94083"/>
                  </a:moveTo>
                  <a:cubicBezTo>
                    <a:pt x="94512" y="81653"/>
                    <a:pt x="94512" y="69223"/>
                    <a:pt x="95369" y="57221"/>
                  </a:cubicBezTo>
                  <a:cubicBezTo>
                    <a:pt x="95369" y="55936"/>
                    <a:pt x="95369" y="54221"/>
                    <a:pt x="95369" y="52935"/>
                  </a:cubicBezTo>
                  <a:lnTo>
                    <a:pt x="25075" y="3215"/>
                  </a:lnTo>
                  <a:cubicBezTo>
                    <a:pt x="17788" y="12216"/>
                    <a:pt x="10501" y="21217"/>
                    <a:pt x="3215" y="30218"/>
                  </a:cubicBezTo>
                  <a:lnTo>
                    <a:pt x="94512" y="94083"/>
                  </a:lnTo>
                  <a:close/>
                </a:path>
              </a:pathLst>
            </a:custGeom>
            <a:grpFill/>
            <a:ln w="9525" cap="flat">
              <a:noFill/>
              <a:prstDash val="solid"/>
              <a:miter/>
            </a:ln>
          </p:spPr>
          <p:txBody>
            <a:bodyPr rtlCol="0" anchor="ctr"/>
            <a:lstStyle/>
            <a:p>
              <a:endParaRPr lang="en-US"/>
            </a:p>
          </p:txBody>
        </p:sp>
        <p:sp>
          <p:nvSpPr>
            <p:cNvPr id="375" name="Freeform: Shape 152">
              <a:extLst>
                <a:ext uri="{FF2B5EF4-FFF2-40B4-BE49-F238E27FC236}">
                  <a16:creationId xmlns:a16="http://schemas.microsoft.com/office/drawing/2014/main" id="{EACE914E-A85D-2145-A16D-DA79E7A4B9F9}"/>
                </a:ext>
              </a:extLst>
            </p:cNvPr>
            <p:cNvSpPr/>
            <p:nvPr/>
          </p:nvSpPr>
          <p:spPr>
            <a:xfrm>
              <a:off x="6571988" y="4607933"/>
              <a:ext cx="368618" cy="188595"/>
            </a:xfrm>
            <a:custGeom>
              <a:avLst/>
              <a:gdLst>
                <a:gd name="connsiteX0" fmla="*/ 3215 w 368617"/>
                <a:gd name="connsiteY0" fmla="*/ 22931 h 188595"/>
                <a:gd name="connsiteX1" fmla="*/ 3215 w 368617"/>
                <a:gd name="connsiteY1" fmla="*/ 22931 h 188595"/>
                <a:gd name="connsiteX2" fmla="*/ 236387 w 368617"/>
                <a:gd name="connsiteY2" fmla="*/ 187094 h 188595"/>
                <a:gd name="connsiteX3" fmla="*/ 368403 w 368617"/>
                <a:gd name="connsiteY3" fmla="*/ 164378 h 188595"/>
                <a:gd name="connsiteX4" fmla="*/ 360259 w 368617"/>
                <a:gd name="connsiteY4" fmla="*/ 135659 h 188595"/>
                <a:gd name="connsiteX5" fmla="*/ 240673 w 368617"/>
                <a:gd name="connsiteY5" fmla="*/ 156234 h 188595"/>
                <a:gd name="connsiteX6" fmla="*/ 234244 w 368617"/>
                <a:gd name="connsiteY6" fmla="*/ 157520 h 188595"/>
                <a:gd name="connsiteX7" fmla="*/ 15216 w 368617"/>
                <a:gd name="connsiteY7" fmla="*/ 3215 h 188595"/>
                <a:gd name="connsiteX8" fmla="*/ 3215 w 368617"/>
                <a:gd name="connsiteY8" fmla="*/ 22931 h 18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617" h="188595">
                  <a:moveTo>
                    <a:pt x="3215" y="22931"/>
                  </a:moveTo>
                  <a:lnTo>
                    <a:pt x="3215" y="22931"/>
                  </a:lnTo>
                  <a:lnTo>
                    <a:pt x="236387" y="187094"/>
                  </a:lnTo>
                  <a:lnTo>
                    <a:pt x="368403" y="164378"/>
                  </a:lnTo>
                  <a:cubicBezTo>
                    <a:pt x="365832" y="154948"/>
                    <a:pt x="362831" y="145089"/>
                    <a:pt x="360259" y="135659"/>
                  </a:cubicBezTo>
                  <a:lnTo>
                    <a:pt x="240673" y="156234"/>
                  </a:lnTo>
                  <a:lnTo>
                    <a:pt x="234244" y="157520"/>
                  </a:lnTo>
                  <a:lnTo>
                    <a:pt x="15216" y="3215"/>
                  </a:lnTo>
                  <a:cubicBezTo>
                    <a:pt x="10930" y="9644"/>
                    <a:pt x="7072" y="16502"/>
                    <a:pt x="3215" y="22931"/>
                  </a:cubicBezTo>
                  <a:close/>
                </a:path>
              </a:pathLst>
            </a:custGeom>
            <a:grpFill/>
            <a:ln w="9525" cap="flat">
              <a:noFill/>
              <a:prstDash val="solid"/>
              <a:miter/>
            </a:ln>
          </p:spPr>
          <p:txBody>
            <a:bodyPr rtlCol="0" anchor="ctr"/>
            <a:lstStyle/>
            <a:p>
              <a:endParaRPr lang="en-US"/>
            </a:p>
          </p:txBody>
        </p:sp>
        <p:sp>
          <p:nvSpPr>
            <p:cNvPr id="376" name="Freeform: Shape 153">
              <a:extLst>
                <a:ext uri="{FF2B5EF4-FFF2-40B4-BE49-F238E27FC236}">
                  <a16:creationId xmlns:a16="http://schemas.microsoft.com/office/drawing/2014/main" id="{1E4D42A2-4C0D-E741-8E19-20A0FA7D010B}"/>
                </a:ext>
              </a:extLst>
            </p:cNvPr>
            <p:cNvSpPr/>
            <p:nvPr/>
          </p:nvSpPr>
          <p:spPr>
            <a:xfrm>
              <a:off x="6629852" y="4510635"/>
              <a:ext cx="278606" cy="167164"/>
            </a:xfrm>
            <a:custGeom>
              <a:avLst/>
              <a:gdLst>
                <a:gd name="connsiteX0" fmla="*/ 3215 w 278606"/>
                <a:gd name="connsiteY0" fmla="*/ 26361 h 167163"/>
                <a:gd name="connsiteX1" fmla="*/ 199525 w 278606"/>
                <a:gd name="connsiteY1" fmla="*/ 164378 h 167163"/>
                <a:gd name="connsiteX2" fmla="*/ 275820 w 278606"/>
                <a:gd name="connsiteY2" fmla="*/ 151090 h 167163"/>
                <a:gd name="connsiteX3" fmla="*/ 272391 w 278606"/>
                <a:gd name="connsiteY3" fmla="*/ 142518 h 167163"/>
                <a:gd name="connsiteX4" fmla="*/ 254389 w 278606"/>
                <a:gd name="connsiteY4" fmla="*/ 103085 h 167163"/>
                <a:gd name="connsiteX5" fmla="*/ 183666 w 278606"/>
                <a:gd name="connsiteY5" fmla="*/ 114657 h 167163"/>
                <a:gd name="connsiteX6" fmla="*/ 177665 w 278606"/>
                <a:gd name="connsiteY6" fmla="*/ 115086 h 167163"/>
                <a:gd name="connsiteX7" fmla="*/ 18645 w 278606"/>
                <a:gd name="connsiteY7" fmla="*/ 3215 h 167163"/>
                <a:gd name="connsiteX8" fmla="*/ 3215 w 278606"/>
                <a:gd name="connsiteY8" fmla="*/ 26361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606" h="167163">
                  <a:moveTo>
                    <a:pt x="3215" y="26361"/>
                  </a:moveTo>
                  <a:lnTo>
                    <a:pt x="199525" y="164378"/>
                  </a:lnTo>
                  <a:lnTo>
                    <a:pt x="275820" y="151090"/>
                  </a:lnTo>
                  <a:cubicBezTo>
                    <a:pt x="274534" y="148090"/>
                    <a:pt x="273677" y="145089"/>
                    <a:pt x="272391" y="142518"/>
                  </a:cubicBezTo>
                  <a:cubicBezTo>
                    <a:pt x="266819" y="129231"/>
                    <a:pt x="260819" y="116372"/>
                    <a:pt x="254389" y="103085"/>
                  </a:cubicBezTo>
                  <a:lnTo>
                    <a:pt x="183666" y="114657"/>
                  </a:lnTo>
                  <a:lnTo>
                    <a:pt x="177665" y="115086"/>
                  </a:lnTo>
                  <a:lnTo>
                    <a:pt x="18645" y="3215"/>
                  </a:lnTo>
                  <a:cubicBezTo>
                    <a:pt x="13073" y="11359"/>
                    <a:pt x="7930" y="18645"/>
                    <a:pt x="3215" y="26361"/>
                  </a:cubicBezTo>
                  <a:close/>
                </a:path>
              </a:pathLst>
            </a:custGeom>
            <a:grpFill/>
            <a:ln w="9525" cap="flat">
              <a:noFill/>
              <a:prstDash val="solid"/>
              <a:miter/>
            </a:ln>
          </p:spPr>
          <p:txBody>
            <a:bodyPr rtlCol="0" anchor="ctr"/>
            <a:lstStyle/>
            <a:p>
              <a:endParaRPr lang="en-US"/>
            </a:p>
          </p:txBody>
        </p:sp>
        <p:sp>
          <p:nvSpPr>
            <p:cNvPr id="377" name="Freeform: Shape 154">
              <a:extLst>
                <a:ext uri="{FF2B5EF4-FFF2-40B4-BE49-F238E27FC236}">
                  <a16:creationId xmlns:a16="http://schemas.microsoft.com/office/drawing/2014/main" id="{4DB3F969-6806-3B44-A723-D8826444EFBB}"/>
                </a:ext>
              </a:extLst>
            </p:cNvPr>
            <p:cNvSpPr/>
            <p:nvPr/>
          </p:nvSpPr>
          <p:spPr>
            <a:xfrm>
              <a:off x="5355122" y="5926384"/>
              <a:ext cx="282893" cy="132874"/>
            </a:xfrm>
            <a:custGeom>
              <a:avLst/>
              <a:gdLst>
                <a:gd name="connsiteX0" fmla="*/ 253960 w 282892"/>
                <a:gd name="connsiteY0" fmla="*/ 3215 h 132873"/>
                <a:gd name="connsiteX1" fmla="*/ 253960 w 282892"/>
                <a:gd name="connsiteY1" fmla="*/ 3215 h 132873"/>
                <a:gd name="connsiteX2" fmla="*/ 179808 w 282892"/>
                <a:gd name="connsiteY2" fmla="*/ 46077 h 132873"/>
                <a:gd name="connsiteX3" fmla="*/ 176808 w 282892"/>
                <a:gd name="connsiteY3" fmla="*/ 47792 h 132873"/>
                <a:gd name="connsiteX4" fmla="*/ 3215 w 282892"/>
                <a:gd name="connsiteY4" fmla="*/ 47792 h 132873"/>
                <a:gd name="connsiteX5" fmla="*/ 19074 w 282892"/>
                <a:gd name="connsiteY5" fmla="*/ 124087 h 132873"/>
                <a:gd name="connsiteX6" fmla="*/ 21217 w 282892"/>
                <a:gd name="connsiteY6" fmla="*/ 133517 h 132873"/>
                <a:gd name="connsiteX7" fmla="*/ 37076 w 282892"/>
                <a:gd name="connsiteY7" fmla="*/ 106085 h 132873"/>
                <a:gd name="connsiteX8" fmla="*/ 41362 w 282892"/>
                <a:gd name="connsiteY8" fmla="*/ 98798 h 132873"/>
                <a:gd name="connsiteX9" fmla="*/ 185809 w 282892"/>
                <a:gd name="connsiteY9" fmla="*/ 98798 h 132873"/>
                <a:gd name="connsiteX10" fmla="*/ 240673 w 282892"/>
                <a:gd name="connsiteY10" fmla="*/ 44363 h 132873"/>
                <a:gd name="connsiteX11" fmla="*/ 244959 w 282892"/>
                <a:gd name="connsiteY11" fmla="*/ 40076 h 132873"/>
                <a:gd name="connsiteX12" fmla="*/ 274106 w 282892"/>
                <a:gd name="connsiteY12" fmla="*/ 40076 h 132873"/>
                <a:gd name="connsiteX13" fmla="*/ 279678 w 282892"/>
                <a:gd name="connsiteY13" fmla="*/ 3215 h 132873"/>
                <a:gd name="connsiteX14" fmla="*/ 253960 w 282892"/>
                <a:gd name="connsiteY14" fmla="*/ 3215 h 13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2892" h="132873">
                  <a:moveTo>
                    <a:pt x="253960" y="3215"/>
                  </a:moveTo>
                  <a:lnTo>
                    <a:pt x="253960" y="3215"/>
                  </a:lnTo>
                  <a:lnTo>
                    <a:pt x="179808" y="46077"/>
                  </a:lnTo>
                  <a:lnTo>
                    <a:pt x="176808" y="47792"/>
                  </a:lnTo>
                  <a:lnTo>
                    <a:pt x="3215" y="47792"/>
                  </a:lnTo>
                  <a:cubicBezTo>
                    <a:pt x="8358" y="73080"/>
                    <a:pt x="13930" y="98369"/>
                    <a:pt x="19074" y="124087"/>
                  </a:cubicBezTo>
                  <a:cubicBezTo>
                    <a:pt x="19502" y="127087"/>
                    <a:pt x="20360" y="130516"/>
                    <a:pt x="21217" y="133517"/>
                  </a:cubicBezTo>
                  <a:lnTo>
                    <a:pt x="37076" y="106085"/>
                  </a:lnTo>
                  <a:lnTo>
                    <a:pt x="41362" y="98798"/>
                  </a:lnTo>
                  <a:lnTo>
                    <a:pt x="185809" y="98798"/>
                  </a:lnTo>
                  <a:lnTo>
                    <a:pt x="240673" y="44363"/>
                  </a:lnTo>
                  <a:lnTo>
                    <a:pt x="244959" y="40076"/>
                  </a:lnTo>
                  <a:lnTo>
                    <a:pt x="274106" y="40076"/>
                  </a:lnTo>
                  <a:cubicBezTo>
                    <a:pt x="275820" y="27646"/>
                    <a:pt x="277963" y="15645"/>
                    <a:pt x="279678" y="3215"/>
                  </a:cubicBezTo>
                  <a:lnTo>
                    <a:pt x="253960" y="3215"/>
                  </a:lnTo>
                  <a:close/>
                </a:path>
              </a:pathLst>
            </a:custGeom>
            <a:grpFill/>
            <a:ln w="9525" cap="flat">
              <a:noFill/>
              <a:prstDash val="solid"/>
              <a:miter/>
            </a:ln>
          </p:spPr>
          <p:txBody>
            <a:bodyPr rtlCol="0" anchor="ctr"/>
            <a:lstStyle/>
            <a:p>
              <a:endParaRPr lang="en-US"/>
            </a:p>
          </p:txBody>
        </p:sp>
        <p:sp>
          <p:nvSpPr>
            <p:cNvPr id="378" name="Freeform: Shape 155">
              <a:extLst>
                <a:ext uri="{FF2B5EF4-FFF2-40B4-BE49-F238E27FC236}">
                  <a16:creationId xmlns:a16="http://schemas.microsoft.com/office/drawing/2014/main" id="{7AA8A2C9-31DB-024D-95E8-54D77968AE67}"/>
                </a:ext>
              </a:extLst>
            </p:cNvPr>
            <p:cNvSpPr/>
            <p:nvPr/>
          </p:nvSpPr>
          <p:spPr>
            <a:xfrm>
              <a:off x="6598991" y="4558641"/>
              <a:ext cx="325755" cy="175736"/>
            </a:xfrm>
            <a:custGeom>
              <a:avLst/>
              <a:gdLst>
                <a:gd name="connsiteX0" fmla="*/ 3215 w 325755"/>
                <a:gd name="connsiteY0" fmla="*/ 27218 h 175736"/>
                <a:gd name="connsiteX1" fmla="*/ 3215 w 325755"/>
                <a:gd name="connsiteY1" fmla="*/ 27218 h 175736"/>
                <a:gd name="connsiteX2" fmla="*/ 214098 w 325755"/>
                <a:gd name="connsiteY2" fmla="*/ 175522 h 175736"/>
                <a:gd name="connsiteX3" fmla="*/ 324683 w 325755"/>
                <a:gd name="connsiteY3" fmla="*/ 156234 h 175736"/>
                <a:gd name="connsiteX4" fmla="*/ 316540 w 325755"/>
                <a:gd name="connsiteY4" fmla="*/ 131373 h 175736"/>
                <a:gd name="connsiteX5" fmla="*/ 229100 w 325755"/>
                <a:gd name="connsiteY5" fmla="*/ 146375 h 175736"/>
                <a:gd name="connsiteX6" fmla="*/ 223100 w 325755"/>
                <a:gd name="connsiteY6" fmla="*/ 147661 h 175736"/>
                <a:gd name="connsiteX7" fmla="*/ 17788 w 325755"/>
                <a:gd name="connsiteY7" fmla="*/ 3215 h 175736"/>
                <a:gd name="connsiteX8" fmla="*/ 3215 w 325755"/>
                <a:gd name="connsiteY8" fmla="*/ 27218 h 17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55" h="175736">
                  <a:moveTo>
                    <a:pt x="3215" y="27218"/>
                  </a:moveTo>
                  <a:lnTo>
                    <a:pt x="3215" y="27218"/>
                  </a:lnTo>
                  <a:lnTo>
                    <a:pt x="214098" y="175522"/>
                  </a:lnTo>
                  <a:lnTo>
                    <a:pt x="324683" y="156234"/>
                  </a:lnTo>
                  <a:cubicBezTo>
                    <a:pt x="322112" y="147661"/>
                    <a:pt x="319540" y="139517"/>
                    <a:pt x="316540" y="131373"/>
                  </a:cubicBezTo>
                  <a:lnTo>
                    <a:pt x="229100" y="146375"/>
                  </a:lnTo>
                  <a:lnTo>
                    <a:pt x="223100" y="147661"/>
                  </a:lnTo>
                  <a:lnTo>
                    <a:pt x="17788" y="3215"/>
                  </a:lnTo>
                  <a:cubicBezTo>
                    <a:pt x="13073" y="11358"/>
                    <a:pt x="8358" y="19074"/>
                    <a:pt x="3215" y="27218"/>
                  </a:cubicBezTo>
                  <a:close/>
                </a:path>
              </a:pathLst>
            </a:custGeom>
            <a:grpFill/>
            <a:ln w="9525" cap="flat">
              <a:noFill/>
              <a:prstDash val="solid"/>
              <a:miter/>
            </a:ln>
          </p:spPr>
          <p:txBody>
            <a:bodyPr rtlCol="0" anchor="ctr"/>
            <a:lstStyle/>
            <a:p>
              <a:endParaRPr lang="en-US"/>
            </a:p>
          </p:txBody>
        </p:sp>
        <p:sp>
          <p:nvSpPr>
            <p:cNvPr id="379" name="Freeform: Shape 156">
              <a:extLst>
                <a:ext uri="{FF2B5EF4-FFF2-40B4-BE49-F238E27FC236}">
                  <a16:creationId xmlns:a16="http://schemas.microsoft.com/office/drawing/2014/main" id="{53086736-70F0-8044-ACE7-2A2AE60042B7}"/>
                </a:ext>
              </a:extLst>
            </p:cNvPr>
            <p:cNvSpPr/>
            <p:nvPr/>
          </p:nvSpPr>
          <p:spPr>
            <a:xfrm>
              <a:off x="6549700" y="4644795"/>
              <a:ext cx="407194" cy="201454"/>
            </a:xfrm>
            <a:custGeom>
              <a:avLst/>
              <a:gdLst>
                <a:gd name="connsiteX0" fmla="*/ 3215 w 407193"/>
                <a:gd name="connsiteY0" fmla="*/ 25503 h 201453"/>
                <a:gd name="connsiteX1" fmla="*/ 251817 w 407193"/>
                <a:gd name="connsiteY1" fmla="*/ 200811 h 201453"/>
                <a:gd name="connsiteX2" fmla="*/ 404836 w 407193"/>
                <a:gd name="connsiteY2" fmla="*/ 174236 h 201453"/>
                <a:gd name="connsiteX3" fmla="*/ 395835 w 407193"/>
                <a:gd name="connsiteY3" fmla="*/ 146376 h 201453"/>
                <a:gd name="connsiteX4" fmla="*/ 257818 w 407193"/>
                <a:gd name="connsiteY4" fmla="*/ 170378 h 201453"/>
                <a:gd name="connsiteX5" fmla="*/ 253960 w 407193"/>
                <a:gd name="connsiteY5" fmla="*/ 171235 h 201453"/>
                <a:gd name="connsiteX6" fmla="*/ 15645 w 407193"/>
                <a:gd name="connsiteY6" fmla="*/ 3215 h 201453"/>
                <a:gd name="connsiteX7" fmla="*/ 3215 w 407193"/>
                <a:gd name="connsiteY7" fmla="*/ 25503 h 20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193" h="201453">
                  <a:moveTo>
                    <a:pt x="3215" y="25503"/>
                  </a:moveTo>
                  <a:lnTo>
                    <a:pt x="251817" y="200811"/>
                  </a:lnTo>
                  <a:lnTo>
                    <a:pt x="404836" y="174236"/>
                  </a:lnTo>
                  <a:cubicBezTo>
                    <a:pt x="401836" y="164806"/>
                    <a:pt x="398836" y="155805"/>
                    <a:pt x="395835" y="146376"/>
                  </a:cubicBezTo>
                  <a:lnTo>
                    <a:pt x="257818" y="170378"/>
                  </a:lnTo>
                  <a:lnTo>
                    <a:pt x="253960" y="171235"/>
                  </a:lnTo>
                  <a:lnTo>
                    <a:pt x="15645" y="3215"/>
                  </a:lnTo>
                  <a:cubicBezTo>
                    <a:pt x="11787" y="10501"/>
                    <a:pt x="7501" y="18217"/>
                    <a:pt x="3215" y="25503"/>
                  </a:cubicBezTo>
                  <a:close/>
                </a:path>
              </a:pathLst>
            </a:custGeom>
            <a:grpFill/>
            <a:ln w="9525" cap="flat">
              <a:noFill/>
              <a:prstDash val="solid"/>
              <a:miter/>
            </a:ln>
          </p:spPr>
          <p:txBody>
            <a:bodyPr rtlCol="0" anchor="ctr"/>
            <a:lstStyle/>
            <a:p>
              <a:endParaRPr lang="en-US"/>
            </a:p>
          </p:txBody>
        </p:sp>
        <p:sp>
          <p:nvSpPr>
            <p:cNvPr id="380" name="Freeform: Shape 157">
              <a:extLst>
                <a:ext uri="{FF2B5EF4-FFF2-40B4-BE49-F238E27FC236}">
                  <a16:creationId xmlns:a16="http://schemas.microsoft.com/office/drawing/2014/main" id="{B924BDB8-47D8-B64F-81BE-7E20EEBF67DE}"/>
                </a:ext>
              </a:extLst>
            </p:cNvPr>
            <p:cNvSpPr/>
            <p:nvPr/>
          </p:nvSpPr>
          <p:spPr>
            <a:xfrm>
              <a:off x="6549700" y="4667083"/>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81" name="Freeform: Shape 158">
              <a:extLst>
                <a:ext uri="{FF2B5EF4-FFF2-40B4-BE49-F238E27FC236}">
                  <a16:creationId xmlns:a16="http://schemas.microsoft.com/office/drawing/2014/main" id="{F8849353-22C2-2C4F-A7A4-F5D27BF9900F}"/>
                </a:ext>
              </a:extLst>
            </p:cNvPr>
            <p:cNvSpPr/>
            <p:nvPr/>
          </p:nvSpPr>
          <p:spPr>
            <a:xfrm>
              <a:off x="5182814" y="2943154"/>
              <a:ext cx="21431" cy="34290"/>
            </a:xfrm>
            <a:custGeom>
              <a:avLst/>
              <a:gdLst>
                <a:gd name="connsiteX0" fmla="*/ 3215 w 21431"/>
                <a:gd name="connsiteY0" fmla="*/ 19074 h 34290"/>
                <a:gd name="connsiteX1" fmla="*/ 21646 w 21431"/>
                <a:gd name="connsiteY1" fmla="*/ 31504 h 34290"/>
                <a:gd name="connsiteX2" fmla="*/ 6215 w 21431"/>
                <a:gd name="connsiteY2" fmla="*/ 3215 h 34290"/>
                <a:gd name="connsiteX3" fmla="*/ 3215 w 21431"/>
                <a:gd name="connsiteY3" fmla="*/ 19074 h 34290"/>
              </a:gdLst>
              <a:ahLst/>
              <a:cxnLst>
                <a:cxn ang="0">
                  <a:pos x="connsiteX0" y="connsiteY0"/>
                </a:cxn>
                <a:cxn ang="0">
                  <a:pos x="connsiteX1" y="connsiteY1"/>
                </a:cxn>
                <a:cxn ang="0">
                  <a:pos x="connsiteX2" y="connsiteY2"/>
                </a:cxn>
                <a:cxn ang="0">
                  <a:pos x="connsiteX3" y="connsiteY3"/>
                </a:cxn>
              </a:cxnLst>
              <a:rect l="l" t="t" r="r" b="b"/>
              <a:pathLst>
                <a:path w="21431" h="34290">
                  <a:moveTo>
                    <a:pt x="3215" y="19074"/>
                  </a:moveTo>
                  <a:cubicBezTo>
                    <a:pt x="9215" y="23360"/>
                    <a:pt x="15645" y="27646"/>
                    <a:pt x="21646" y="31504"/>
                  </a:cubicBezTo>
                  <a:cubicBezTo>
                    <a:pt x="16502" y="22074"/>
                    <a:pt x="11359" y="12644"/>
                    <a:pt x="6215" y="3215"/>
                  </a:cubicBezTo>
                  <a:cubicBezTo>
                    <a:pt x="5358" y="8787"/>
                    <a:pt x="4072" y="13930"/>
                    <a:pt x="3215" y="19074"/>
                  </a:cubicBezTo>
                  <a:close/>
                </a:path>
              </a:pathLst>
            </a:custGeom>
            <a:grpFill/>
            <a:ln w="9525" cap="flat">
              <a:noFill/>
              <a:prstDash val="solid"/>
              <a:miter/>
            </a:ln>
          </p:spPr>
          <p:txBody>
            <a:bodyPr rtlCol="0" anchor="ctr"/>
            <a:lstStyle/>
            <a:p>
              <a:endParaRPr lang="en-US"/>
            </a:p>
          </p:txBody>
        </p:sp>
        <p:sp>
          <p:nvSpPr>
            <p:cNvPr id="382" name="Freeform: Shape 159">
              <a:extLst>
                <a:ext uri="{FF2B5EF4-FFF2-40B4-BE49-F238E27FC236}">
                  <a16:creationId xmlns:a16="http://schemas.microsoft.com/office/drawing/2014/main" id="{0E093A0C-3C64-C343-B8C9-6216AC2B0B8B}"/>
                </a:ext>
              </a:extLst>
            </p:cNvPr>
            <p:cNvSpPr/>
            <p:nvPr/>
          </p:nvSpPr>
          <p:spPr>
            <a:xfrm>
              <a:off x="5145953" y="3167324"/>
              <a:ext cx="8573" cy="25718"/>
            </a:xfrm>
            <a:custGeom>
              <a:avLst/>
              <a:gdLst>
                <a:gd name="connsiteX0" fmla="*/ 3215 w 8572"/>
                <a:gd name="connsiteY0" fmla="*/ 26360 h 25717"/>
                <a:gd name="connsiteX1" fmla="*/ 3215 w 8572"/>
                <a:gd name="connsiteY1" fmla="*/ 26360 h 25717"/>
                <a:gd name="connsiteX2" fmla="*/ 6644 w 8572"/>
                <a:gd name="connsiteY2" fmla="*/ 25074 h 25717"/>
                <a:gd name="connsiteX3" fmla="*/ 6644 w 8572"/>
                <a:gd name="connsiteY3" fmla="*/ 3215 h 25717"/>
                <a:gd name="connsiteX4" fmla="*/ 3215 w 8572"/>
                <a:gd name="connsiteY4" fmla="*/ 26360 h 25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 h="25717">
                  <a:moveTo>
                    <a:pt x="3215" y="26360"/>
                  </a:moveTo>
                  <a:lnTo>
                    <a:pt x="3215" y="26360"/>
                  </a:lnTo>
                  <a:cubicBezTo>
                    <a:pt x="4501" y="25932"/>
                    <a:pt x="5358" y="25503"/>
                    <a:pt x="6644" y="25074"/>
                  </a:cubicBezTo>
                  <a:lnTo>
                    <a:pt x="6644" y="3215"/>
                  </a:lnTo>
                  <a:cubicBezTo>
                    <a:pt x="5358" y="10930"/>
                    <a:pt x="4501" y="18645"/>
                    <a:pt x="3215" y="26360"/>
                  </a:cubicBezTo>
                  <a:close/>
                </a:path>
              </a:pathLst>
            </a:custGeom>
            <a:grpFill/>
            <a:ln w="9525" cap="flat">
              <a:noFill/>
              <a:prstDash val="solid"/>
              <a:miter/>
            </a:ln>
          </p:spPr>
          <p:txBody>
            <a:bodyPr rtlCol="0" anchor="ctr"/>
            <a:lstStyle/>
            <a:p>
              <a:endParaRPr lang="en-US"/>
            </a:p>
          </p:txBody>
        </p:sp>
        <p:sp>
          <p:nvSpPr>
            <p:cNvPr id="383" name="Freeform: Shape 160">
              <a:extLst>
                <a:ext uri="{FF2B5EF4-FFF2-40B4-BE49-F238E27FC236}">
                  <a16:creationId xmlns:a16="http://schemas.microsoft.com/office/drawing/2014/main" id="{8124918B-AD08-434C-9EFD-075193EEAD5A}"/>
                </a:ext>
              </a:extLst>
            </p:cNvPr>
            <p:cNvSpPr/>
            <p:nvPr/>
          </p:nvSpPr>
          <p:spPr>
            <a:xfrm>
              <a:off x="5121092" y="2981730"/>
              <a:ext cx="124301" cy="402908"/>
            </a:xfrm>
            <a:custGeom>
              <a:avLst/>
              <a:gdLst>
                <a:gd name="connsiteX0" fmla="*/ 3215 w 124301"/>
                <a:gd name="connsiteY0" fmla="*/ 402264 h 402907"/>
                <a:gd name="connsiteX1" fmla="*/ 3215 w 124301"/>
                <a:gd name="connsiteY1" fmla="*/ 402264 h 402907"/>
                <a:gd name="connsiteX2" fmla="*/ 42220 w 124301"/>
                <a:gd name="connsiteY2" fmla="*/ 377404 h 402907"/>
                <a:gd name="connsiteX3" fmla="*/ 56793 w 124301"/>
                <a:gd name="connsiteY3" fmla="*/ 379976 h 402907"/>
                <a:gd name="connsiteX4" fmla="*/ 122801 w 124301"/>
                <a:gd name="connsiteY4" fmla="*/ 313968 h 402907"/>
                <a:gd name="connsiteX5" fmla="*/ 122801 w 124301"/>
                <a:gd name="connsiteY5" fmla="*/ 62365 h 402907"/>
                <a:gd name="connsiteX6" fmla="*/ 107371 w 124301"/>
                <a:gd name="connsiteY6" fmla="*/ 35362 h 402907"/>
                <a:gd name="connsiteX7" fmla="*/ 61079 w 124301"/>
                <a:gd name="connsiteY7" fmla="*/ 3215 h 402907"/>
                <a:gd name="connsiteX8" fmla="*/ 51649 w 124301"/>
                <a:gd name="connsiteY8" fmla="*/ 59364 h 402907"/>
                <a:gd name="connsiteX9" fmla="*/ 51649 w 124301"/>
                <a:gd name="connsiteY9" fmla="*/ 209812 h 402907"/>
                <a:gd name="connsiteX10" fmla="*/ 86368 w 124301"/>
                <a:gd name="connsiteY10" fmla="*/ 252246 h 402907"/>
                <a:gd name="connsiteX11" fmla="*/ 43077 w 124301"/>
                <a:gd name="connsiteY11" fmla="*/ 295108 h 402907"/>
                <a:gd name="connsiteX12" fmla="*/ 17359 w 124301"/>
                <a:gd name="connsiteY12" fmla="*/ 286536 h 402907"/>
                <a:gd name="connsiteX13" fmla="*/ 3215 w 124301"/>
                <a:gd name="connsiteY13" fmla="*/ 402264 h 40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301" h="402907">
                  <a:moveTo>
                    <a:pt x="3215" y="402264"/>
                  </a:moveTo>
                  <a:lnTo>
                    <a:pt x="3215" y="402264"/>
                  </a:lnTo>
                  <a:cubicBezTo>
                    <a:pt x="10073" y="387691"/>
                    <a:pt x="25075" y="377404"/>
                    <a:pt x="42220" y="377404"/>
                  </a:cubicBezTo>
                  <a:cubicBezTo>
                    <a:pt x="47363" y="377404"/>
                    <a:pt x="52507" y="378262"/>
                    <a:pt x="56793" y="379976"/>
                  </a:cubicBezTo>
                  <a:lnTo>
                    <a:pt x="122801" y="313968"/>
                  </a:lnTo>
                  <a:lnTo>
                    <a:pt x="122801" y="62365"/>
                  </a:lnTo>
                  <a:cubicBezTo>
                    <a:pt x="117658" y="53364"/>
                    <a:pt x="112514" y="44363"/>
                    <a:pt x="107371" y="35362"/>
                  </a:cubicBezTo>
                  <a:cubicBezTo>
                    <a:pt x="91940" y="24217"/>
                    <a:pt x="76510" y="13502"/>
                    <a:pt x="61079" y="3215"/>
                  </a:cubicBezTo>
                  <a:cubicBezTo>
                    <a:pt x="57650" y="21646"/>
                    <a:pt x="54650" y="40505"/>
                    <a:pt x="51649" y="59364"/>
                  </a:cubicBezTo>
                  <a:lnTo>
                    <a:pt x="51649" y="209812"/>
                  </a:lnTo>
                  <a:cubicBezTo>
                    <a:pt x="71366" y="213669"/>
                    <a:pt x="86368" y="231243"/>
                    <a:pt x="86368" y="252246"/>
                  </a:cubicBezTo>
                  <a:cubicBezTo>
                    <a:pt x="86368" y="275820"/>
                    <a:pt x="67080" y="295108"/>
                    <a:pt x="43077" y="295108"/>
                  </a:cubicBezTo>
                  <a:cubicBezTo>
                    <a:pt x="33647" y="295108"/>
                    <a:pt x="24646" y="292108"/>
                    <a:pt x="17359" y="286536"/>
                  </a:cubicBezTo>
                  <a:cubicBezTo>
                    <a:pt x="12644" y="325112"/>
                    <a:pt x="7501" y="363688"/>
                    <a:pt x="3215" y="402264"/>
                  </a:cubicBezTo>
                  <a:close/>
                </a:path>
              </a:pathLst>
            </a:custGeom>
            <a:grpFill/>
            <a:ln w="9525" cap="flat">
              <a:noFill/>
              <a:prstDash val="solid"/>
              <a:miter/>
            </a:ln>
          </p:spPr>
          <p:txBody>
            <a:bodyPr rtlCol="0" anchor="ctr"/>
            <a:lstStyle/>
            <a:p>
              <a:endParaRPr lang="en-US"/>
            </a:p>
          </p:txBody>
        </p:sp>
        <p:sp>
          <p:nvSpPr>
            <p:cNvPr id="384" name="Freeform: Shape 161">
              <a:extLst>
                <a:ext uri="{FF2B5EF4-FFF2-40B4-BE49-F238E27FC236}">
                  <a16:creationId xmlns:a16="http://schemas.microsoft.com/office/drawing/2014/main" id="{5258DD30-9AA9-4043-BE10-99C8EFA3793D}"/>
                </a:ext>
              </a:extLst>
            </p:cNvPr>
            <p:cNvSpPr/>
            <p:nvPr/>
          </p:nvSpPr>
          <p:spPr>
            <a:xfrm>
              <a:off x="5138143" y="6692336"/>
              <a:ext cx="180023" cy="162878"/>
            </a:xfrm>
            <a:custGeom>
              <a:avLst/>
              <a:gdLst>
                <a:gd name="connsiteX0" fmla="*/ 6309 w 180022"/>
                <a:gd name="connsiteY0" fmla="*/ 46506 h 162877"/>
                <a:gd name="connsiteX1" fmla="*/ 10595 w 180022"/>
                <a:gd name="connsiteY1" fmla="*/ 94084 h 162877"/>
                <a:gd name="connsiteX2" fmla="*/ 37170 w 180022"/>
                <a:gd name="connsiteY2" fmla="*/ 85082 h 162877"/>
                <a:gd name="connsiteX3" fmla="*/ 80033 w 180022"/>
                <a:gd name="connsiteY3" fmla="*/ 127944 h 162877"/>
                <a:gd name="connsiteX4" fmla="*/ 76604 w 180022"/>
                <a:gd name="connsiteY4" fmla="*/ 144232 h 162877"/>
                <a:gd name="connsiteX5" fmla="*/ 116037 w 180022"/>
                <a:gd name="connsiteY5" fmla="*/ 147233 h 162877"/>
                <a:gd name="connsiteX6" fmla="*/ 153756 w 180022"/>
                <a:gd name="connsiteY6" fmla="*/ 158806 h 162877"/>
                <a:gd name="connsiteX7" fmla="*/ 176902 w 180022"/>
                <a:gd name="connsiteY7" fmla="*/ 137375 h 162877"/>
                <a:gd name="connsiteX8" fmla="*/ 42742 w 180022"/>
                <a:gd name="connsiteY8" fmla="*/ 3215 h 162877"/>
                <a:gd name="connsiteX9" fmla="*/ 6309 w 180022"/>
                <a:gd name="connsiteY9" fmla="*/ 46506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022" h="162877">
                  <a:moveTo>
                    <a:pt x="6309" y="46506"/>
                  </a:moveTo>
                  <a:cubicBezTo>
                    <a:pt x="308" y="61508"/>
                    <a:pt x="3737" y="79082"/>
                    <a:pt x="10595" y="94084"/>
                  </a:cubicBezTo>
                  <a:cubicBezTo>
                    <a:pt x="17882" y="88511"/>
                    <a:pt x="27312" y="85082"/>
                    <a:pt x="37170" y="85082"/>
                  </a:cubicBezTo>
                  <a:cubicBezTo>
                    <a:pt x="60745" y="85082"/>
                    <a:pt x="80033" y="104370"/>
                    <a:pt x="80033" y="127944"/>
                  </a:cubicBezTo>
                  <a:cubicBezTo>
                    <a:pt x="80033" y="133945"/>
                    <a:pt x="78747" y="139089"/>
                    <a:pt x="76604" y="144232"/>
                  </a:cubicBezTo>
                  <a:cubicBezTo>
                    <a:pt x="89462" y="146804"/>
                    <a:pt x="103607" y="141232"/>
                    <a:pt x="116037" y="147233"/>
                  </a:cubicBezTo>
                  <a:cubicBezTo>
                    <a:pt x="128039" y="152376"/>
                    <a:pt x="139612" y="163092"/>
                    <a:pt x="153756" y="158806"/>
                  </a:cubicBezTo>
                  <a:cubicBezTo>
                    <a:pt x="163615" y="154520"/>
                    <a:pt x="170044" y="145519"/>
                    <a:pt x="176902" y="137375"/>
                  </a:cubicBezTo>
                  <a:lnTo>
                    <a:pt x="42742" y="3215"/>
                  </a:lnTo>
                  <a:cubicBezTo>
                    <a:pt x="29455" y="16931"/>
                    <a:pt x="16168" y="30218"/>
                    <a:pt x="6309" y="46506"/>
                  </a:cubicBezTo>
                  <a:close/>
                </a:path>
              </a:pathLst>
            </a:custGeom>
            <a:grpFill/>
            <a:ln w="9525" cap="flat">
              <a:noFill/>
              <a:prstDash val="solid"/>
              <a:miter/>
            </a:ln>
          </p:spPr>
          <p:txBody>
            <a:bodyPr rtlCol="0" anchor="ctr"/>
            <a:lstStyle/>
            <a:p>
              <a:endParaRPr lang="en-US"/>
            </a:p>
          </p:txBody>
        </p:sp>
        <p:sp>
          <p:nvSpPr>
            <p:cNvPr id="385" name="Freeform: Shape 162">
              <a:extLst>
                <a:ext uri="{FF2B5EF4-FFF2-40B4-BE49-F238E27FC236}">
                  <a16:creationId xmlns:a16="http://schemas.microsoft.com/office/drawing/2014/main" id="{31C80857-31EE-6A45-ACE8-EB488AC2D004}"/>
                </a:ext>
              </a:extLst>
            </p:cNvPr>
            <p:cNvSpPr/>
            <p:nvPr/>
          </p:nvSpPr>
          <p:spPr>
            <a:xfrm>
              <a:off x="5382125" y="5992821"/>
              <a:ext cx="248603" cy="214313"/>
            </a:xfrm>
            <a:custGeom>
              <a:avLst/>
              <a:gdLst>
                <a:gd name="connsiteX0" fmla="*/ 157520 w 248602"/>
                <a:gd name="connsiteY0" fmla="*/ 118943 h 214312"/>
                <a:gd name="connsiteX1" fmla="*/ 238101 w 248602"/>
                <a:gd name="connsiteY1" fmla="*/ 38362 h 214312"/>
                <a:gd name="connsiteX2" fmla="*/ 241102 w 248602"/>
                <a:gd name="connsiteY2" fmla="*/ 13502 h 214312"/>
                <a:gd name="connsiteX3" fmla="*/ 242387 w 248602"/>
                <a:gd name="connsiteY3" fmla="*/ 3215 h 214312"/>
                <a:gd name="connsiteX4" fmla="*/ 229957 w 248602"/>
                <a:gd name="connsiteY4" fmla="*/ 3215 h 214312"/>
                <a:gd name="connsiteX5" fmla="*/ 174665 w 248602"/>
                <a:gd name="connsiteY5" fmla="*/ 57650 h 214312"/>
                <a:gd name="connsiteX6" fmla="*/ 170379 w 248602"/>
                <a:gd name="connsiteY6" fmla="*/ 61936 h 214312"/>
                <a:gd name="connsiteX7" fmla="*/ 31075 w 248602"/>
                <a:gd name="connsiteY7" fmla="*/ 61936 h 214312"/>
                <a:gd name="connsiteX8" fmla="*/ 3215 w 248602"/>
                <a:gd name="connsiteY8" fmla="*/ 109942 h 214312"/>
                <a:gd name="connsiteX9" fmla="*/ 22074 w 248602"/>
                <a:gd name="connsiteY9" fmla="*/ 212383 h 214312"/>
                <a:gd name="connsiteX10" fmla="*/ 22931 w 248602"/>
                <a:gd name="connsiteY10" fmla="*/ 211526 h 214312"/>
                <a:gd name="connsiteX11" fmla="*/ 27218 w 248602"/>
                <a:gd name="connsiteY11" fmla="*/ 207240 h 214312"/>
                <a:gd name="connsiteX12" fmla="*/ 247102 w 248602"/>
                <a:gd name="connsiteY12" fmla="*/ 207240 h 214312"/>
                <a:gd name="connsiteX13" fmla="*/ 239816 w 248602"/>
                <a:gd name="connsiteY13" fmla="*/ 139946 h 214312"/>
                <a:gd name="connsiteX14" fmla="*/ 236815 w 248602"/>
                <a:gd name="connsiteY14" fmla="*/ 81224 h 214312"/>
                <a:gd name="connsiteX15" fmla="*/ 151090 w 248602"/>
                <a:gd name="connsiteY15" fmla="*/ 166949 h 214312"/>
                <a:gd name="connsiteX16" fmla="*/ 141661 w 248602"/>
                <a:gd name="connsiteY16" fmla="*/ 171235 h 214312"/>
                <a:gd name="connsiteX17" fmla="*/ 117658 w 248602"/>
                <a:gd name="connsiteY17" fmla="*/ 178951 h 214312"/>
                <a:gd name="connsiteX18" fmla="*/ 74795 w 248602"/>
                <a:gd name="connsiteY18" fmla="*/ 136088 h 214312"/>
                <a:gd name="connsiteX19" fmla="*/ 117658 w 248602"/>
                <a:gd name="connsiteY19" fmla="*/ 93226 h 214312"/>
                <a:gd name="connsiteX20" fmla="*/ 117658 w 248602"/>
                <a:gd name="connsiteY20" fmla="*/ 93226 h 214312"/>
                <a:gd name="connsiteX21" fmla="*/ 157520 w 248602"/>
                <a:gd name="connsiteY21" fmla="*/ 118943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602" h="214312">
                  <a:moveTo>
                    <a:pt x="157520" y="118943"/>
                  </a:moveTo>
                  <a:lnTo>
                    <a:pt x="238101" y="38362"/>
                  </a:lnTo>
                  <a:cubicBezTo>
                    <a:pt x="238959" y="30218"/>
                    <a:pt x="239816" y="21645"/>
                    <a:pt x="241102" y="13502"/>
                  </a:cubicBezTo>
                  <a:cubicBezTo>
                    <a:pt x="241530" y="10073"/>
                    <a:pt x="241959" y="6643"/>
                    <a:pt x="242387" y="3215"/>
                  </a:cubicBezTo>
                  <a:lnTo>
                    <a:pt x="229957" y="3215"/>
                  </a:lnTo>
                  <a:lnTo>
                    <a:pt x="174665" y="57650"/>
                  </a:lnTo>
                  <a:lnTo>
                    <a:pt x="170379" y="61936"/>
                  </a:lnTo>
                  <a:lnTo>
                    <a:pt x="31075" y="61936"/>
                  </a:lnTo>
                  <a:lnTo>
                    <a:pt x="3215" y="109942"/>
                  </a:lnTo>
                  <a:cubicBezTo>
                    <a:pt x="10501" y="143803"/>
                    <a:pt x="17359" y="178093"/>
                    <a:pt x="22074" y="212383"/>
                  </a:cubicBezTo>
                  <a:lnTo>
                    <a:pt x="22931" y="211526"/>
                  </a:lnTo>
                  <a:lnTo>
                    <a:pt x="27218" y="207240"/>
                  </a:lnTo>
                  <a:lnTo>
                    <a:pt x="247102" y="207240"/>
                  </a:lnTo>
                  <a:cubicBezTo>
                    <a:pt x="244102" y="184952"/>
                    <a:pt x="241530" y="162663"/>
                    <a:pt x="239816" y="139946"/>
                  </a:cubicBezTo>
                  <a:cubicBezTo>
                    <a:pt x="238530" y="120229"/>
                    <a:pt x="237244" y="100512"/>
                    <a:pt x="236815" y="81224"/>
                  </a:cubicBezTo>
                  <a:lnTo>
                    <a:pt x="151090" y="166949"/>
                  </a:lnTo>
                  <a:cubicBezTo>
                    <a:pt x="148519" y="169521"/>
                    <a:pt x="145090" y="170807"/>
                    <a:pt x="141661" y="171235"/>
                  </a:cubicBezTo>
                  <a:cubicBezTo>
                    <a:pt x="134803" y="175950"/>
                    <a:pt x="126230" y="178951"/>
                    <a:pt x="117658" y="178951"/>
                  </a:cubicBezTo>
                  <a:cubicBezTo>
                    <a:pt x="94083" y="178951"/>
                    <a:pt x="74795" y="159663"/>
                    <a:pt x="74795" y="136088"/>
                  </a:cubicBezTo>
                  <a:cubicBezTo>
                    <a:pt x="74795" y="112514"/>
                    <a:pt x="93655" y="93226"/>
                    <a:pt x="117658" y="93226"/>
                  </a:cubicBezTo>
                  <a:lnTo>
                    <a:pt x="117658" y="93226"/>
                  </a:lnTo>
                  <a:cubicBezTo>
                    <a:pt x="135231" y="92797"/>
                    <a:pt x="151090" y="103513"/>
                    <a:pt x="157520" y="118943"/>
                  </a:cubicBezTo>
                  <a:close/>
                </a:path>
              </a:pathLst>
            </a:custGeom>
            <a:grpFill/>
            <a:ln w="9525" cap="flat">
              <a:noFill/>
              <a:prstDash val="solid"/>
              <a:miter/>
            </a:ln>
          </p:spPr>
          <p:txBody>
            <a:bodyPr rtlCol="0" anchor="ctr"/>
            <a:lstStyle/>
            <a:p>
              <a:endParaRPr lang="en-US"/>
            </a:p>
          </p:txBody>
        </p:sp>
        <p:sp>
          <p:nvSpPr>
            <p:cNvPr id="386" name="Freeform: Shape 163">
              <a:extLst>
                <a:ext uri="{FF2B5EF4-FFF2-40B4-BE49-F238E27FC236}">
                  <a16:creationId xmlns:a16="http://schemas.microsoft.com/office/drawing/2014/main" id="{4A7FAE8F-AF13-3944-82A3-D9E4C4293B22}"/>
                </a:ext>
              </a:extLst>
            </p:cNvPr>
            <p:cNvSpPr/>
            <p:nvPr/>
          </p:nvSpPr>
          <p:spPr>
            <a:xfrm>
              <a:off x="5317831" y="6832926"/>
              <a:ext cx="21431" cy="21431"/>
            </a:xfrm>
            <a:custGeom>
              <a:avLst/>
              <a:gdLst>
                <a:gd name="connsiteX0" fmla="*/ 11359 w 21431"/>
                <a:gd name="connsiteY0" fmla="*/ 17359 h 21431"/>
                <a:gd name="connsiteX1" fmla="*/ 11359 w 21431"/>
                <a:gd name="connsiteY1" fmla="*/ 17359 h 21431"/>
                <a:gd name="connsiteX2" fmla="*/ 19931 w 21431"/>
                <a:gd name="connsiteY2" fmla="*/ 19931 h 21431"/>
                <a:gd name="connsiteX3" fmla="*/ 3215 w 21431"/>
                <a:gd name="connsiteY3" fmla="*/ 3215 h 21431"/>
                <a:gd name="connsiteX4" fmla="*/ 11359 w 21431"/>
                <a:gd name="connsiteY4" fmla="*/ 17359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31" h="21431">
                  <a:moveTo>
                    <a:pt x="11359" y="17359"/>
                  </a:moveTo>
                  <a:lnTo>
                    <a:pt x="11359" y="17359"/>
                  </a:lnTo>
                  <a:cubicBezTo>
                    <a:pt x="14359" y="18217"/>
                    <a:pt x="16931" y="19074"/>
                    <a:pt x="19931" y="19931"/>
                  </a:cubicBezTo>
                  <a:lnTo>
                    <a:pt x="3215" y="3215"/>
                  </a:lnTo>
                  <a:cubicBezTo>
                    <a:pt x="4072" y="9216"/>
                    <a:pt x="5358" y="14787"/>
                    <a:pt x="11359" y="17359"/>
                  </a:cubicBezTo>
                  <a:close/>
                </a:path>
              </a:pathLst>
            </a:custGeom>
            <a:grpFill/>
            <a:ln w="9525" cap="flat">
              <a:noFill/>
              <a:prstDash val="solid"/>
              <a:miter/>
            </a:ln>
          </p:spPr>
          <p:txBody>
            <a:bodyPr rtlCol="0" anchor="ctr"/>
            <a:lstStyle/>
            <a:p>
              <a:endParaRPr lang="en-US"/>
            </a:p>
          </p:txBody>
        </p:sp>
        <p:sp>
          <p:nvSpPr>
            <p:cNvPr id="387" name="Freeform: Shape 164">
              <a:extLst>
                <a:ext uri="{FF2B5EF4-FFF2-40B4-BE49-F238E27FC236}">
                  <a16:creationId xmlns:a16="http://schemas.microsoft.com/office/drawing/2014/main" id="{B93EC666-52F4-2D4A-998E-E8B682E1FF41}"/>
                </a:ext>
              </a:extLst>
            </p:cNvPr>
            <p:cNvSpPr/>
            <p:nvPr/>
          </p:nvSpPr>
          <p:spPr>
            <a:xfrm>
              <a:off x="5200388" y="6508028"/>
              <a:ext cx="428625" cy="351473"/>
            </a:xfrm>
            <a:custGeom>
              <a:avLst/>
              <a:gdLst>
                <a:gd name="connsiteX0" fmla="*/ 227814 w 428625"/>
                <a:gd name="connsiteY0" fmla="*/ 76939 h 351472"/>
                <a:gd name="connsiteX1" fmla="*/ 227814 w 428625"/>
                <a:gd name="connsiteY1" fmla="*/ 76939 h 351472"/>
                <a:gd name="connsiteX2" fmla="*/ 223528 w 428625"/>
                <a:gd name="connsiteY2" fmla="*/ 72652 h 351472"/>
                <a:gd name="connsiteX3" fmla="*/ 154091 w 428625"/>
                <a:gd name="connsiteY3" fmla="*/ 3215 h 351472"/>
                <a:gd name="connsiteX4" fmla="*/ 149376 w 428625"/>
                <a:gd name="connsiteY4" fmla="*/ 8787 h 351472"/>
                <a:gd name="connsiteX5" fmla="*/ 11359 w 428625"/>
                <a:gd name="connsiteY5" fmla="*/ 155377 h 351472"/>
                <a:gd name="connsiteX6" fmla="*/ 3215 w 428625"/>
                <a:gd name="connsiteY6" fmla="*/ 168235 h 351472"/>
                <a:gd name="connsiteX7" fmla="*/ 184094 w 428625"/>
                <a:gd name="connsiteY7" fmla="*/ 349972 h 351472"/>
                <a:gd name="connsiteX8" fmla="*/ 196096 w 428625"/>
                <a:gd name="connsiteY8" fmla="*/ 349544 h 351472"/>
                <a:gd name="connsiteX9" fmla="*/ 265962 w 428625"/>
                <a:gd name="connsiteY9" fmla="*/ 320826 h 351472"/>
                <a:gd name="connsiteX10" fmla="*/ 272391 w 428625"/>
                <a:gd name="connsiteY10" fmla="*/ 316539 h 351472"/>
                <a:gd name="connsiteX11" fmla="*/ 270248 w 428625"/>
                <a:gd name="connsiteY11" fmla="*/ 303681 h 351472"/>
                <a:gd name="connsiteX12" fmla="*/ 313111 w 428625"/>
                <a:gd name="connsiteY12" fmla="*/ 260390 h 351472"/>
                <a:gd name="connsiteX13" fmla="*/ 330256 w 428625"/>
                <a:gd name="connsiteY13" fmla="*/ 264247 h 351472"/>
                <a:gd name="connsiteX14" fmla="*/ 349115 w 428625"/>
                <a:gd name="connsiteY14" fmla="*/ 193524 h 351472"/>
                <a:gd name="connsiteX15" fmla="*/ 360259 w 428625"/>
                <a:gd name="connsiteY15" fmla="*/ 171236 h 351472"/>
                <a:gd name="connsiteX16" fmla="*/ 420696 w 428625"/>
                <a:gd name="connsiteY16" fmla="*/ 157091 h 351472"/>
                <a:gd name="connsiteX17" fmla="*/ 427982 w 428625"/>
                <a:gd name="connsiteY17" fmla="*/ 150662 h 351472"/>
                <a:gd name="connsiteX18" fmla="*/ 353830 w 428625"/>
                <a:gd name="connsiteY18" fmla="*/ 76939 h 351472"/>
                <a:gd name="connsiteX19" fmla="*/ 227814 w 428625"/>
                <a:gd name="connsiteY19" fmla="*/ 76939 h 35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8625" h="351472">
                  <a:moveTo>
                    <a:pt x="227814" y="76939"/>
                  </a:moveTo>
                  <a:lnTo>
                    <a:pt x="227814" y="76939"/>
                  </a:lnTo>
                  <a:lnTo>
                    <a:pt x="223528" y="72652"/>
                  </a:lnTo>
                  <a:lnTo>
                    <a:pt x="154091" y="3215"/>
                  </a:lnTo>
                  <a:cubicBezTo>
                    <a:pt x="152376" y="4929"/>
                    <a:pt x="151090" y="7072"/>
                    <a:pt x="149376" y="8787"/>
                  </a:cubicBezTo>
                  <a:cubicBezTo>
                    <a:pt x="105227" y="59794"/>
                    <a:pt x="56364" y="105656"/>
                    <a:pt x="11359" y="155377"/>
                  </a:cubicBezTo>
                  <a:cubicBezTo>
                    <a:pt x="9215" y="160091"/>
                    <a:pt x="6644" y="164378"/>
                    <a:pt x="3215" y="168235"/>
                  </a:cubicBezTo>
                  <a:lnTo>
                    <a:pt x="184094" y="349972"/>
                  </a:lnTo>
                  <a:cubicBezTo>
                    <a:pt x="187952" y="349972"/>
                    <a:pt x="192238" y="349972"/>
                    <a:pt x="196096" y="349544"/>
                  </a:cubicBezTo>
                  <a:cubicBezTo>
                    <a:pt x="221813" y="348258"/>
                    <a:pt x="244959" y="334542"/>
                    <a:pt x="265962" y="320826"/>
                  </a:cubicBezTo>
                  <a:cubicBezTo>
                    <a:pt x="268105" y="319540"/>
                    <a:pt x="270248" y="317826"/>
                    <a:pt x="272391" y="316539"/>
                  </a:cubicBezTo>
                  <a:cubicBezTo>
                    <a:pt x="271105" y="312253"/>
                    <a:pt x="270248" y="307967"/>
                    <a:pt x="270248" y="303681"/>
                  </a:cubicBezTo>
                  <a:cubicBezTo>
                    <a:pt x="270248" y="280106"/>
                    <a:pt x="289536" y="260390"/>
                    <a:pt x="313111" y="260390"/>
                  </a:cubicBezTo>
                  <a:cubicBezTo>
                    <a:pt x="319111" y="260390"/>
                    <a:pt x="325112" y="261676"/>
                    <a:pt x="330256" y="264247"/>
                  </a:cubicBezTo>
                  <a:cubicBezTo>
                    <a:pt x="343543" y="243673"/>
                    <a:pt x="345686" y="217527"/>
                    <a:pt x="349115" y="193524"/>
                  </a:cubicBezTo>
                  <a:cubicBezTo>
                    <a:pt x="349972" y="184952"/>
                    <a:pt x="354687" y="177665"/>
                    <a:pt x="360259" y="171236"/>
                  </a:cubicBezTo>
                  <a:cubicBezTo>
                    <a:pt x="380405" y="167378"/>
                    <a:pt x="403122" y="170378"/>
                    <a:pt x="420696" y="157091"/>
                  </a:cubicBezTo>
                  <a:cubicBezTo>
                    <a:pt x="423267" y="155377"/>
                    <a:pt x="425839" y="153233"/>
                    <a:pt x="427982" y="150662"/>
                  </a:cubicBezTo>
                  <a:lnTo>
                    <a:pt x="353830" y="76939"/>
                  </a:lnTo>
                  <a:lnTo>
                    <a:pt x="227814" y="76939"/>
                  </a:lnTo>
                  <a:close/>
                </a:path>
              </a:pathLst>
            </a:custGeom>
            <a:grpFill/>
            <a:ln w="9525" cap="flat">
              <a:noFill/>
              <a:prstDash val="solid"/>
              <a:miter/>
            </a:ln>
          </p:spPr>
          <p:txBody>
            <a:bodyPr rtlCol="0" anchor="ctr"/>
            <a:lstStyle/>
            <a:p>
              <a:endParaRPr lang="en-US"/>
            </a:p>
          </p:txBody>
        </p:sp>
        <p:sp>
          <p:nvSpPr>
            <p:cNvPr id="388" name="Freeform: Shape 165">
              <a:extLst>
                <a:ext uri="{FF2B5EF4-FFF2-40B4-BE49-F238E27FC236}">
                  <a16:creationId xmlns:a16="http://schemas.microsoft.com/office/drawing/2014/main" id="{FBE4B086-0285-1C48-BC3F-55D27BEF4BAF}"/>
                </a:ext>
              </a:extLst>
            </p:cNvPr>
            <p:cNvSpPr/>
            <p:nvPr/>
          </p:nvSpPr>
          <p:spPr>
            <a:xfrm>
              <a:off x="5269825" y="3049881"/>
              <a:ext cx="42863" cy="47149"/>
            </a:xfrm>
            <a:custGeom>
              <a:avLst/>
              <a:gdLst>
                <a:gd name="connsiteX0" fmla="*/ 3215 w 42862"/>
                <a:gd name="connsiteY0" fmla="*/ 3215 h 47148"/>
                <a:gd name="connsiteX1" fmla="*/ 28504 w 42862"/>
                <a:gd name="connsiteY1" fmla="*/ 44791 h 47148"/>
                <a:gd name="connsiteX2" fmla="*/ 42648 w 42862"/>
                <a:gd name="connsiteY2" fmla="*/ 30647 h 47148"/>
                <a:gd name="connsiteX3" fmla="*/ 6644 w 42862"/>
                <a:gd name="connsiteY3" fmla="*/ 3215 h 47148"/>
                <a:gd name="connsiteX4" fmla="*/ 3215 w 42862"/>
                <a:gd name="connsiteY4" fmla="*/ 3215 h 47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 h="47148">
                  <a:moveTo>
                    <a:pt x="3215" y="3215"/>
                  </a:moveTo>
                  <a:cubicBezTo>
                    <a:pt x="11359" y="16931"/>
                    <a:pt x="19931" y="31075"/>
                    <a:pt x="28504" y="44791"/>
                  </a:cubicBezTo>
                  <a:lnTo>
                    <a:pt x="42648" y="30647"/>
                  </a:lnTo>
                  <a:cubicBezTo>
                    <a:pt x="30647" y="21217"/>
                    <a:pt x="18645" y="12216"/>
                    <a:pt x="6644" y="3215"/>
                  </a:cubicBezTo>
                  <a:lnTo>
                    <a:pt x="3215" y="3215"/>
                  </a:lnTo>
                  <a:close/>
                </a:path>
              </a:pathLst>
            </a:custGeom>
            <a:grpFill/>
            <a:ln w="9525" cap="flat">
              <a:noFill/>
              <a:prstDash val="solid"/>
              <a:miter/>
            </a:ln>
          </p:spPr>
          <p:txBody>
            <a:bodyPr rtlCol="0" anchor="ctr"/>
            <a:lstStyle/>
            <a:p>
              <a:endParaRPr lang="en-US"/>
            </a:p>
          </p:txBody>
        </p:sp>
        <p:sp>
          <p:nvSpPr>
            <p:cNvPr id="389" name="Freeform: Shape 166">
              <a:extLst>
                <a:ext uri="{FF2B5EF4-FFF2-40B4-BE49-F238E27FC236}">
                  <a16:creationId xmlns:a16="http://schemas.microsoft.com/office/drawing/2014/main" id="{60E3B958-6A28-F74B-BBD4-97D75F928018}"/>
                </a:ext>
              </a:extLst>
            </p:cNvPr>
            <p:cNvSpPr/>
            <p:nvPr/>
          </p:nvSpPr>
          <p:spPr>
            <a:xfrm>
              <a:off x="4361140" y="2670119"/>
              <a:ext cx="501491" cy="1032986"/>
            </a:xfrm>
            <a:custGeom>
              <a:avLst/>
              <a:gdLst>
                <a:gd name="connsiteX0" fmla="*/ 337114 w 501491"/>
                <a:gd name="connsiteY0" fmla="*/ 745593 h 1032986"/>
                <a:gd name="connsiteX1" fmla="*/ 337114 w 501491"/>
                <a:gd name="connsiteY1" fmla="*/ 745593 h 1032986"/>
                <a:gd name="connsiteX2" fmla="*/ 328113 w 501491"/>
                <a:gd name="connsiteY2" fmla="*/ 734878 h 1032986"/>
                <a:gd name="connsiteX3" fmla="*/ 328113 w 501491"/>
                <a:gd name="connsiteY3" fmla="*/ 737878 h 1032986"/>
                <a:gd name="connsiteX4" fmla="*/ 285679 w 501491"/>
                <a:gd name="connsiteY4" fmla="*/ 780740 h 1032986"/>
                <a:gd name="connsiteX5" fmla="*/ 242387 w 501491"/>
                <a:gd name="connsiteY5" fmla="*/ 737878 h 1032986"/>
                <a:gd name="connsiteX6" fmla="*/ 250531 w 501491"/>
                <a:gd name="connsiteY6" fmla="*/ 713018 h 1032986"/>
                <a:gd name="connsiteX7" fmla="*/ 194810 w 501491"/>
                <a:gd name="connsiteY7" fmla="*/ 657296 h 1032986"/>
                <a:gd name="connsiteX8" fmla="*/ 190524 w 501491"/>
                <a:gd name="connsiteY8" fmla="*/ 653010 h 1032986"/>
                <a:gd name="connsiteX9" fmla="*/ 190524 w 501491"/>
                <a:gd name="connsiteY9" fmla="*/ 402264 h 1032986"/>
                <a:gd name="connsiteX10" fmla="*/ 138660 w 501491"/>
                <a:gd name="connsiteY10" fmla="*/ 350401 h 1032986"/>
                <a:gd name="connsiteX11" fmla="*/ 134374 w 501491"/>
                <a:gd name="connsiteY11" fmla="*/ 346115 h 1032986"/>
                <a:gd name="connsiteX12" fmla="*/ 134374 w 501491"/>
                <a:gd name="connsiteY12" fmla="*/ 8787 h 1032986"/>
                <a:gd name="connsiteX13" fmla="*/ 111228 w 501491"/>
                <a:gd name="connsiteY13" fmla="*/ 3215 h 1032986"/>
                <a:gd name="connsiteX14" fmla="*/ 111228 w 501491"/>
                <a:gd name="connsiteY14" fmla="*/ 361117 h 1032986"/>
                <a:gd name="connsiteX15" fmla="*/ 141232 w 501491"/>
                <a:gd name="connsiteY15" fmla="*/ 391120 h 1032986"/>
                <a:gd name="connsiteX16" fmla="*/ 146804 w 501491"/>
                <a:gd name="connsiteY16" fmla="*/ 396692 h 1032986"/>
                <a:gd name="connsiteX17" fmla="*/ 146804 w 501491"/>
                <a:gd name="connsiteY17" fmla="*/ 530852 h 1032986"/>
                <a:gd name="connsiteX18" fmla="*/ 159234 w 501491"/>
                <a:gd name="connsiteY18" fmla="*/ 561285 h 1032986"/>
                <a:gd name="connsiteX19" fmla="*/ 116372 w 501491"/>
                <a:gd name="connsiteY19" fmla="*/ 603718 h 1032986"/>
                <a:gd name="connsiteX20" fmla="*/ 73081 w 501491"/>
                <a:gd name="connsiteY20" fmla="*/ 561285 h 1032986"/>
                <a:gd name="connsiteX21" fmla="*/ 107371 w 501491"/>
                <a:gd name="connsiteY21" fmla="*/ 519279 h 1032986"/>
                <a:gd name="connsiteX22" fmla="*/ 107371 w 501491"/>
                <a:gd name="connsiteY22" fmla="*/ 413409 h 1032986"/>
                <a:gd name="connsiteX23" fmla="*/ 77367 w 501491"/>
                <a:gd name="connsiteY23" fmla="*/ 382976 h 1032986"/>
                <a:gd name="connsiteX24" fmla="*/ 71795 w 501491"/>
                <a:gd name="connsiteY24" fmla="*/ 376976 h 1032986"/>
                <a:gd name="connsiteX25" fmla="*/ 71795 w 501491"/>
                <a:gd name="connsiteY25" fmla="*/ 30647 h 1032986"/>
                <a:gd name="connsiteX26" fmla="*/ 51221 w 501491"/>
                <a:gd name="connsiteY26" fmla="*/ 211955 h 1032986"/>
                <a:gd name="connsiteX27" fmla="*/ 29361 w 501491"/>
                <a:gd name="connsiteY27" fmla="*/ 322540 h 1032986"/>
                <a:gd name="connsiteX28" fmla="*/ 29361 w 501491"/>
                <a:gd name="connsiteY28" fmla="*/ 621721 h 1032986"/>
                <a:gd name="connsiteX29" fmla="*/ 104370 w 501491"/>
                <a:gd name="connsiteY29" fmla="*/ 696730 h 1032986"/>
                <a:gd name="connsiteX30" fmla="*/ 116372 w 501491"/>
                <a:gd name="connsiteY30" fmla="*/ 695015 h 1032986"/>
                <a:gd name="connsiteX31" fmla="*/ 159234 w 501491"/>
                <a:gd name="connsiteY31" fmla="*/ 737878 h 1032986"/>
                <a:gd name="connsiteX32" fmla="*/ 116372 w 501491"/>
                <a:gd name="connsiteY32" fmla="*/ 780740 h 1032986"/>
                <a:gd name="connsiteX33" fmla="*/ 73081 w 501491"/>
                <a:gd name="connsiteY33" fmla="*/ 737878 h 1032986"/>
                <a:gd name="connsiteX34" fmla="*/ 80367 w 501491"/>
                <a:gd name="connsiteY34" fmla="*/ 714303 h 1032986"/>
                <a:gd name="connsiteX35" fmla="*/ 4929 w 501491"/>
                <a:gd name="connsiteY35" fmla="*/ 638437 h 1032986"/>
                <a:gd name="connsiteX36" fmla="*/ 3215 w 501491"/>
                <a:gd name="connsiteY36" fmla="*/ 636722 h 1032986"/>
                <a:gd name="connsiteX37" fmla="*/ 7501 w 501491"/>
                <a:gd name="connsiteY37" fmla="*/ 656011 h 1032986"/>
                <a:gd name="connsiteX38" fmla="*/ 41791 w 501491"/>
                <a:gd name="connsiteY38" fmla="*/ 799171 h 1032986"/>
                <a:gd name="connsiteX39" fmla="*/ 178951 w 501491"/>
                <a:gd name="connsiteY39" fmla="*/ 799171 h 1032986"/>
                <a:gd name="connsiteX40" fmla="*/ 183237 w 501491"/>
                <a:gd name="connsiteY40" fmla="*/ 803458 h 1032986"/>
                <a:gd name="connsiteX41" fmla="*/ 218813 w 501491"/>
                <a:gd name="connsiteY41" fmla="*/ 839033 h 1032986"/>
                <a:gd name="connsiteX42" fmla="*/ 218813 w 501491"/>
                <a:gd name="connsiteY42" fmla="*/ 977479 h 1032986"/>
                <a:gd name="connsiteX43" fmla="*/ 271534 w 501491"/>
                <a:gd name="connsiteY43" fmla="*/ 1030200 h 1032986"/>
                <a:gd name="connsiteX44" fmla="*/ 350401 w 501491"/>
                <a:gd name="connsiteY44" fmla="*/ 1024628 h 1032986"/>
                <a:gd name="connsiteX45" fmla="*/ 371832 w 501491"/>
                <a:gd name="connsiteY45" fmla="*/ 1016484 h 1032986"/>
                <a:gd name="connsiteX46" fmla="*/ 371404 w 501491"/>
                <a:gd name="connsiteY46" fmla="*/ 986480 h 1032986"/>
                <a:gd name="connsiteX47" fmla="*/ 443413 w 501491"/>
                <a:gd name="connsiteY47" fmla="*/ 987766 h 1032986"/>
                <a:gd name="connsiteX48" fmla="*/ 449413 w 501491"/>
                <a:gd name="connsiteY48" fmla="*/ 962906 h 1032986"/>
                <a:gd name="connsiteX49" fmla="*/ 337971 w 501491"/>
                <a:gd name="connsiteY49" fmla="*/ 962906 h 1032986"/>
                <a:gd name="connsiteX50" fmla="*/ 335399 w 501491"/>
                <a:gd name="connsiteY50" fmla="*/ 959906 h 1032986"/>
                <a:gd name="connsiteX51" fmla="*/ 311825 w 501491"/>
                <a:gd name="connsiteY51" fmla="*/ 936331 h 1032986"/>
                <a:gd name="connsiteX52" fmla="*/ 286964 w 501491"/>
                <a:gd name="connsiteY52" fmla="*/ 944475 h 1032986"/>
                <a:gd name="connsiteX53" fmla="*/ 244102 w 501491"/>
                <a:gd name="connsiteY53" fmla="*/ 901184 h 1032986"/>
                <a:gd name="connsiteX54" fmla="*/ 286964 w 501491"/>
                <a:gd name="connsiteY54" fmla="*/ 858750 h 1032986"/>
                <a:gd name="connsiteX55" fmla="*/ 329827 w 501491"/>
                <a:gd name="connsiteY55" fmla="*/ 901184 h 1032986"/>
                <a:gd name="connsiteX56" fmla="*/ 324683 w 501491"/>
                <a:gd name="connsiteY56" fmla="*/ 921758 h 1032986"/>
                <a:gd name="connsiteX57" fmla="*/ 346115 w 501491"/>
                <a:gd name="connsiteY57" fmla="*/ 943189 h 1032986"/>
                <a:gd name="connsiteX58" fmla="*/ 441270 w 501491"/>
                <a:gd name="connsiteY58" fmla="*/ 943189 h 1032986"/>
                <a:gd name="connsiteX59" fmla="*/ 393692 w 501491"/>
                <a:gd name="connsiteY59" fmla="*/ 921330 h 1032986"/>
                <a:gd name="connsiteX60" fmla="*/ 353401 w 501491"/>
                <a:gd name="connsiteY60" fmla="*/ 889611 h 1032986"/>
                <a:gd name="connsiteX61" fmla="*/ 480703 w 501491"/>
                <a:gd name="connsiteY61" fmla="*/ 920901 h 1032986"/>
                <a:gd name="connsiteX62" fmla="*/ 498277 w 501491"/>
                <a:gd name="connsiteY62" fmla="*/ 887897 h 1032986"/>
                <a:gd name="connsiteX63" fmla="*/ 463558 w 501491"/>
                <a:gd name="connsiteY63" fmla="*/ 853178 h 1032986"/>
                <a:gd name="connsiteX64" fmla="*/ 337114 w 501491"/>
                <a:gd name="connsiteY64" fmla="*/ 745593 h 103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01491" h="1032986">
                  <a:moveTo>
                    <a:pt x="337114" y="745593"/>
                  </a:moveTo>
                  <a:lnTo>
                    <a:pt x="337114" y="745593"/>
                  </a:lnTo>
                  <a:cubicBezTo>
                    <a:pt x="333685" y="742164"/>
                    <a:pt x="330684" y="738735"/>
                    <a:pt x="328113" y="734878"/>
                  </a:cubicBezTo>
                  <a:cubicBezTo>
                    <a:pt x="328113" y="735735"/>
                    <a:pt x="328113" y="737021"/>
                    <a:pt x="328113" y="737878"/>
                  </a:cubicBezTo>
                  <a:cubicBezTo>
                    <a:pt x="328113" y="761452"/>
                    <a:pt x="309253" y="780740"/>
                    <a:pt x="285679" y="780740"/>
                  </a:cubicBezTo>
                  <a:cubicBezTo>
                    <a:pt x="262104" y="780740"/>
                    <a:pt x="242387" y="761881"/>
                    <a:pt x="242387" y="737878"/>
                  </a:cubicBezTo>
                  <a:cubicBezTo>
                    <a:pt x="242387" y="728448"/>
                    <a:pt x="245388" y="719876"/>
                    <a:pt x="250531" y="713018"/>
                  </a:cubicBezTo>
                  <a:lnTo>
                    <a:pt x="194810" y="657296"/>
                  </a:lnTo>
                  <a:lnTo>
                    <a:pt x="190524" y="653010"/>
                  </a:lnTo>
                  <a:lnTo>
                    <a:pt x="190524" y="402264"/>
                  </a:lnTo>
                  <a:lnTo>
                    <a:pt x="138660" y="350401"/>
                  </a:lnTo>
                  <a:lnTo>
                    <a:pt x="134374" y="346115"/>
                  </a:lnTo>
                  <a:lnTo>
                    <a:pt x="134374" y="8787"/>
                  </a:lnTo>
                  <a:cubicBezTo>
                    <a:pt x="126659" y="7072"/>
                    <a:pt x="118943" y="5358"/>
                    <a:pt x="111228" y="3215"/>
                  </a:cubicBezTo>
                  <a:lnTo>
                    <a:pt x="111228" y="361117"/>
                  </a:lnTo>
                  <a:lnTo>
                    <a:pt x="141232" y="391120"/>
                  </a:lnTo>
                  <a:lnTo>
                    <a:pt x="146804" y="396692"/>
                  </a:lnTo>
                  <a:lnTo>
                    <a:pt x="146804" y="530852"/>
                  </a:lnTo>
                  <a:cubicBezTo>
                    <a:pt x="154519" y="538567"/>
                    <a:pt x="159234" y="549712"/>
                    <a:pt x="159234" y="561285"/>
                  </a:cubicBezTo>
                  <a:cubicBezTo>
                    <a:pt x="159234" y="584859"/>
                    <a:pt x="140375" y="603718"/>
                    <a:pt x="116372" y="603718"/>
                  </a:cubicBezTo>
                  <a:cubicBezTo>
                    <a:pt x="92797" y="603718"/>
                    <a:pt x="73081" y="584859"/>
                    <a:pt x="73081" y="561285"/>
                  </a:cubicBezTo>
                  <a:cubicBezTo>
                    <a:pt x="73081" y="540710"/>
                    <a:pt x="87654" y="523137"/>
                    <a:pt x="107371" y="519279"/>
                  </a:cubicBezTo>
                  <a:lnTo>
                    <a:pt x="107371" y="413409"/>
                  </a:lnTo>
                  <a:lnTo>
                    <a:pt x="77367" y="382976"/>
                  </a:lnTo>
                  <a:lnTo>
                    <a:pt x="71795" y="376976"/>
                  </a:lnTo>
                  <a:lnTo>
                    <a:pt x="71795" y="30647"/>
                  </a:lnTo>
                  <a:cubicBezTo>
                    <a:pt x="62794" y="90654"/>
                    <a:pt x="57650" y="151519"/>
                    <a:pt x="51221" y="211955"/>
                  </a:cubicBezTo>
                  <a:cubicBezTo>
                    <a:pt x="47792" y="249674"/>
                    <a:pt x="39219" y="286107"/>
                    <a:pt x="29361" y="322540"/>
                  </a:cubicBezTo>
                  <a:lnTo>
                    <a:pt x="29361" y="621721"/>
                  </a:lnTo>
                  <a:lnTo>
                    <a:pt x="104370" y="696730"/>
                  </a:lnTo>
                  <a:cubicBezTo>
                    <a:pt x="108228" y="695444"/>
                    <a:pt x="112514" y="695015"/>
                    <a:pt x="116372" y="695015"/>
                  </a:cubicBezTo>
                  <a:cubicBezTo>
                    <a:pt x="139946" y="695015"/>
                    <a:pt x="159234" y="714303"/>
                    <a:pt x="159234" y="737878"/>
                  </a:cubicBezTo>
                  <a:cubicBezTo>
                    <a:pt x="159234" y="761452"/>
                    <a:pt x="140375" y="780740"/>
                    <a:pt x="116372" y="780740"/>
                  </a:cubicBezTo>
                  <a:cubicBezTo>
                    <a:pt x="92369" y="780740"/>
                    <a:pt x="73081" y="761881"/>
                    <a:pt x="73081" y="737878"/>
                  </a:cubicBezTo>
                  <a:cubicBezTo>
                    <a:pt x="73081" y="729305"/>
                    <a:pt x="75652" y="721162"/>
                    <a:pt x="80367" y="714303"/>
                  </a:cubicBezTo>
                  <a:lnTo>
                    <a:pt x="4929" y="638437"/>
                  </a:lnTo>
                  <a:lnTo>
                    <a:pt x="3215" y="636722"/>
                  </a:lnTo>
                  <a:cubicBezTo>
                    <a:pt x="4501" y="643152"/>
                    <a:pt x="5786" y="649581"/>
                    <a:pt x="7501" y="656011"/>
                  </a:cubicBezTo>
                  <a:cubicBezTo>
                    <a:pt x="18645" y="704017"/>
                    <a:pt x="29789" y="751594"/>
                    <a:pt x="41791" y="799171"/>
                  </a:cubicBezTo>
                  <a:lnTo>
                    <a:pt x="178951" y="799171"/>
                  </a:lnTo>
                  <a:lnTo>
                    <a:pt x="183237" y="803458"/>
                  </a:lnTo>
                  <a:lnTo>
                    <a:pt x="218813" y="839033"/>
                  </a:lnTo>
                  <a:lnTo>
                    <a:pt x="218813" y="977479"/>
                  </a:lnTo>
                  <a:lnTo>
                    <a:pt x="271534" y="1030200"/>
                  </a:lnTo>
                  <a:cubicBezTo>
                    <a:pt x="297680" y="1028486"/>
                    <a:pt x="323826" y="1026771"/>
                    <a:pt x="350401" y="1024628"/>
                  </a:cubicBezTo>
                  <a:cubicBezTo>
                    <a:pt x="357688" y="1023342"/>
                    <a:pt x="366689" y="1022913"/>
                    <a:pt x="371832" y="1016484"/>
                  </a:cubicBezTo>
                  <a:cubicBezTo>
                    <a:pt x="375261" y="1006626"/>
                    <a:pt x="370546" y="996339"/>
                    <a:pt x="371404" y="986480"/>
                  </a:cubicBezTo>
                  <a:cubicBezTo>
                    <a:pt x="395407" y="983480"/>
                    <a:pt x="419410" y="990767"/>
                    <a:pt x="443413" y="987766"/>
                  </a:cubicBezTo>
                  <a:cubicBezTo>
                    <a:pt x="451128" y="981766"/>
                    <a:pt x="451128" y="972336"/>
                    <a:pt x="449413" y="962906"/>
                  </a:cubicBezTo>
                  <a:lnTo>
                    <a:pt x="337971" y="962906"/>
                  </a:lnTo>
                  <a:lnTo>
                    <a:pt x="335399" y="959906"/>
                  </a:lnTo>
                  <a:lnTo>
                    <a:pt x="311825" y="936331"/>
                  </a:lnTo>
                  <a:cubicBezTo>
                    <a:pt x="304967" y="941475"/>
                    <a:pt x="296394" y="944475"/>
                    <a:pt x="286964" y="944475"/>
                  </a:cubicBezTo>
                  <a:cubicBezTo>
                    <a:pt x="263390" y="944475"/>
                    <a:pt x="244102" y="924758"/>
                    <a:pt x="244102" y="901184"/>
                  </a:cubicBezTo>
                  <a:cubicBezTo>
                    <a:pt x="244102" y="877610"/>
                    <a:pt x="263390" y="858750"/>
                    <a:pt x="286964" y="858750"/>
                  </a:cubicBezTo>
                  <a:cubicBezTo>
                    <a:pt x="310539" y="858750"/>
                    <a:pt x="329827" y="877610"/>
                    <a:pt x="329827" y="901184"/>
                  </a:cubicBezTo>
                  <a:cubicBezTo>
                    <a:pt x="329827" y="908471"/>
                    <a:pt x="328113" y="915757"/>
                    <a:pt x="324683" y="921758"/>
                  </a:cubicBezTo>
                  <a:lnTo>
                    <a:pt x="346115" y="943189"/>
                  </a:lnTo>
                  <a:lnTo>
                    <a:pt x="441270" y="943189"/>
                  </a:lnTo>
                  <a:cubicBezTo>
                    <a:pt x="429697" y="930331"/>
                    <a:pt x="408694" y="929902"/>
                    <a:pt x="393692" y="921330"/>
                  </a:cubicBezTo>
                  <a:cubicBezTo>
                    <a:pt x="379119" y="912757"/>
                    <a:pt x="364546" y="902470"/>
                    <a:pt x="353401" y="889611"/>
                  </a:cubicBezTo>
                  <a:cubicBezTo>
                    <a:pt x="393692" y="906328"/>
                    <a:pt x="435697" y="926044"/>
                    <a:pt x="480703" y="920901"/>
                  </a:cubicBezTo>
                  <a:cubicBezTo>
                    <a:pt x="494848" y="917043"/>
                    <a:pt x="498277" y="900755"/>
                    <a:pt x="498277" y="887897"/>
                  </a:cubicBezTo>
                  <a:lnTo>
                    <a:pt x="463558" y="853178"/>
                  </a:lnTo>
                  <a:cubicBezTo>
                    <a:pt x="417695" y="821460"/>
                    <a:pt x="375261" y="785455"/>
                    <a:pt x="337114" y="745593"/>
                  </a:cubicBezTo>
                  <a:close/>
                </a:path>
              </a:pathLst>
            </a:custGeom>
            <a:grpFill/>
            <a:ln w="9525" cap="flat">
              <a:noFill/>
              <a:prstDash val="solid"/>
              <a:miter/>
            </a:ln>
          </p:spPr>
          <p:txBody>
            <a:bodyPr rtlCol="0" anchor="ctr"/>
            <a:lstStyle/>
            <a:p>
              <a:endParaRPr lang="en-US"/>
            </a:p>
          </p:txBody>
        </p:sp>
        <p:sp>
          <p:nvSpPr>
            <p:cNvPr id="390" name="Freeform: Shape 167">
              <a:extLst>
                <a:ext uri="{FF2B5EF4-FFF2-40B4-BE49-F238E27FC236}">
                  <a16:creationId xmlns:a16="http://schemas.microsoft.com/office/drawing/2014/main" id="{A199F373-FE88-FB48-AE05-AABD56FF3276}"/>
                </a:ext>
              </a:extLst>
            </p:cNvPr>
            <p:cNvSpPr/>
            <p:nvPr/>
          </p:nvSpPr>
          <p:spPr>
            <a:xfrm>
              <a:off x="4789765" y="3260765"/>
              <a:ext cx="85725" cy="222885"/>
            </a:xfrm>
            <a:custGeom>
              <a:avLst/>
              <a:gdLst>
                <a:gd name="connsiteX0" fmla="*/ 49506 w 85725"/>
                <a:gd name="connsiteY0" fmla="*/ 175951 h 222885"/>
                <a:gd name="connsiteX1" fmla="*/ 49506 w 85725"/>
                <a:gd name="connsiteY1" fmla="*/ 73081 h 222885"/>
                <a:gd name="connsiteX2" fmla="*/ 3215 w 85725"/>
                <a:gd name="connsiteY2" fmla="*/ 3215 h 222885"/>
                <a:gd name="connsiteX3" fmla="*/ 3215 w 85725"/>
                <a:gd name="connsiteY3" fmla="*/ 172950 h 222885"/>
                <a:gd name="connsiteX4" fmla="*/ 16502 w 85725"/>
                <a:gd name="connsiteY4" fmla="*/ 196524 h 222885"/>
                <a:gd name="connsiteX5" fmla="*/ 53364 w 85725"/>
                <a:gd name="connsiteY5" fmla="*/ 216241 h 222885"/>
                <a:gd name="connsiteX6" fmla="*/ 74366 w 85725"/>
                <a:gd name="connsiteY6" fmla="*/ 221385 h 222885"/>
                <a:gd name="connsiteX7" fmla="*/ 84225 w 85725"/>
                <a:gd name="connsiteY7" fmla="*/ 211526 h 222885"/>
                <a:gd name="connsiteX8" fmla="*/ 52078 w 85725"/>
                <a:gd name="connsiteY8" fmla="*/ 179379 h 222885"/>
                <a:gd name="connsiteX9" fmla="*/ 49506 w 85725"/>
                <a:gd name="connsiteY9" fmla="*/ 175951 h 22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222885">
                  <a:moveTo>
                    <a:pt x="49506" y="175951"/>
                  </a:moveTo>
                  <a:lnTo>
                    <a:pt x="49506" y="73081"/>
                  </a:lnTo>
                  <a:cubicBezTo>
                    <a:pt x="35362" y="49078"/>
                    <a:pt x="19931" y="25932"/>
                    <a:pt x="3215" y="3215"/>
                  </a:cubicBezTo>
                  <a:lnTo>
                    <a:pt x="3215" y="172950"/>
                  </a:lnTo>
                  <a:cubicBezTo>
                    <a:pt x="7072" y="181094"/>
                    <a:pt x="11359" y="189238"/>
                    <a:pt x="16502" y="196524"/>
                  </a:cubicBezTo>
                  <a:cubicBezTo>
                    <a:pt x="25932" y="207669"/>
                    <a:pt x="40934" y="210241"/>
                    <a:pt x="53364" y="216241"/>
                  </a:cubicBezTo>
                  <a:cubicBezTo>
                    <a:pt x="60222" y="218813"/>
                    <a:pt x="67080" y="223099"/>
                    <a:pt x="74366" y="221385"/>
                  </a:cubicBezTo>
                  <a:cubicBezTo>
                    <a:pt x="78653" y="219242"/>
                    <a:pt x="82082" y="215813"/>
                    <a:pt x="84225" y="211526"/>
                  </a:cubicBezTo>
                  <a:lnTo>
                    <a:pt x="52078" y="179379"/>
                  </a:lnTo>
                  <a:lnTo>
                    <a:pt x="49506" y="175951"/>
                  </a:lnTo>
                  <a:close/>
                </a:path>
              </a:pathLst>
            </a:custGeom>
            <a:grpFill/>
            <a:ln w="9525" cap="flat">
              <a:noFill/>
              <a:prstDash val="solid"/>
              <a:miter/>
            </a:ln>
          </p:spPr>
          <p:txBody>
            <a:bodyPr rtlCol="0" anchor="ctr"/>
            <a:lstStyle/>
            <a:p>
              <a:endParaRPr lang="en-US"/>
            </a:p>
          </p:txBody>
        </p:sp>
        <p:sp>
          <p:nvSpPr>
            <p:cNvPr id="391" name="Freeform: Shape 168">
              <a:extLst>
                <a:ext uri="{FF2B5EF4-FFF2-40B4-BE49-F238E27FC236}">
                  <a16:creationId xmlns:a16="http://schemas.microsoft.com/office/drawing/2014/main" id="{5275086A-5E99-C64C-ACC5-041A8FCB17A6}"/>
                </a:ext>
              </a:extLst>
            </p:cNvPr>
            <p:cNvSpPr/>
            <p:nvPr/>
          </p:nvSpPr>
          <p:spPr>
            <a:xfrm>
              <a:off x="4522732" y="2682978"/>
              <a:ext cx="252889" cy="715804"/>
            </a:xfrm>
            <a:custGeom>
              <a:avLst/>
              <a:gdLst>
                <a:gd name="connsiteX0" fmla="*/ 84225 w 252888"/>
                <a:gd name="connsiteY0" fmla="*/ 361974 h 715803"/>
                <a:gd name="connsiteX1" fmla="*/ 84225 w 252888"/>
                <a:gd name="connsiteY1" fmla="*/ 361974 h 715803"/>
                <a:gd name="connsiteX2" fmla="*/ 157091 w 252888"/>
                <a:gd name="connsiteY2" fmla="*/ 179808 h 715803"/>
                <a:gd name="connsiteX3" fmla="*/ 200382 w 252888"/>
                <a:gd name="connsiteY3" fmla="*/ 105227 h 715803"/>
                <a:gd name="connsiteX4" fmla="*/ 200382 w 252888"/>
                <a:gd name="connsiteY4" fmla="*/ 65794 h 715803"/>
                <a:gd name="connsiteX5" fmla="*/ 98369 w 252888"/>
                <a:gd name="connsiteY5" fmla="*/ 30647 h 715803"/>
                <a:gd name="connsiteX6" fmla="*/ 78224 w 252888"/>
                <a:gd name="connsiteY6" fmla="*/ 35790 h 715803"/>
                <a:gd name="connsiteX7" fmla="*/ 40934 w 252888"/>
                <a:gd name="connsiteY7" fmla="*/ 13502 h 715803"/>
                <a:gd name="connsiteX8" fmla="*/ 3215 w 252888"/>
                <a:gd name="connsiteY8" fmla="*/ 3215 h 715803"/>
                <a:gd name="connsiteX9" fmla="*/ 3215 w 252888"/>
                <a:gd name="connsiteY9" fmla="*/ 321255 h 715803"/>
                <a:gd name="connsiteX10" fmla="*/ 55078 w 252888"/>
                <a:gd name="connsiteY10" fmla="*/ 372690 h 715803"/>
                <a:gd name="connsiteX11" fmla="*/ 59365 w 252888"/>
                <a:gd name="connsiteY11" fmla="*/ 376976 h 715803"/>
                <a:gd name="connsiteX12" fmla="*/ 59365 w 252888"/>
                <a:gd name="connsiteY12" fmla="*/ 627721 h 715803"/>
                <a:gd name="connsiteX13" fmla="*/ 114657 w 252888"/>
                <a:gd name="connsiteY13" fmla="*/ 683014 h 715803"/>
                <a:gd name="connsiteX14" fmla="*/ 124944 w 252888"/>
                <a:gd name="connsiteY14" fmla="*/ 681728 h 715803"/>
                <a:gd name="connsiteX15" fmla="*/ 149804 w 252888"/>
                <a:gd name="connsiteY15" fmla="*/ 689872 h 715803"/>
                <a:gd name="connsiteX16" fmla="*/ 148519 w 252888"/>
                <a:gd name="connsiteY16" fmla="*/ 686014 h 715803"/>
                <a:gd name="connsiteX17" fmla="*/ 152376 w 252888"/>
                <a:gd name="connsiteY17" fmla="*/ 671870 h 715803"/>
                <a:gd name="connsiteX18" fmla="*/ 204240 w 252888"/>
                <a:gd name="connsiteY18" fmla="*/ 671441 h 715803"/>
                <a:gd name="connsiteX19" fmla="*/ 228671 w 252888"/>
                <a:gd name="connsiteY19" fmla="*/ 695873 h 715803"/>
                <a:gd name="connsiteX20" fmla="*/ 251389 w 252888"/>
                <a:gd name="connsiteY20" fmla="*/ 716447 h 715803"/>
                <a:gd name="connsiteX21" fmla="*/ 251389 w 252888"/>
                <a:gd name="connsiteY21" fmla="*/ 554855 h 715803"/>
                <a:gd name="connsiteX22" fmla="*/ 190524 w 252888"/>
                <a:gd name="connsiteY22" fmla="*/ 502991 h 715803"/>
                <a:gd name="connsiteX23" fmla="*/ 163520 w 252888"/>
                <a:gd name="connsiteY23" fmla="*/ 529995 h 715803"/>
                <a:gd name="connsiteX24" fmla="*/ 167378 w 252888"/>
                <a:gd name="connsiteY24" fmla="*/ 548426 h 715803"/>
                <a:gd name="connsiteX25" fmla="*/ 124944 w 252888"/>
                <a:gd name="connsiteY25" fmla="*/ 590859 h 715803"/>
                <a:gd name="connsiteX26" fmla="*/ 81653 w 252888"/>
                <a:gd name="connsiteY26" fmla="*/ 548426 h 715803"/>
                <a:gd name="connsiteX27" fmla="*/ 124944 w 252888"/>
                <a:gd name="connsiteY27" fmla="*/ 505563 h 715803"/>
                <a:gd name="connsiteX28" fmla="*/ 151519 w 252888"/>
                <a:gd name="connsiteY28" fmla="*/ 514993 h 715803"/>
                <a:gd name="connsiteX29" fmla="*/ 173379 w 252888"/>
                <a:gd name="connsiteY29" fmla="*/ 493133 h 715803"/>
                <a:gd name="connsiteX30" fmla="*/ 128802 w 252888"/>
                <a:gd name="connsiteY30" fmla="*/ 474273 h 715803"/>
                <a:gd name="connsiteX31" fmla="*/ 76938 w 252888"/>
                <a:gd name="connsiteY31" fmla="*/ 469130 h 715803"/>
                <a:gd name="connsiteX32" fmla="*/ 64937 w 252888"/>
                <a:gd name="connsiteY32" fmla="*/ 454557 h 715803"/>
                <a:gd name="connsiteX33" fmla="*/ 84225 w 252888"/>
                <a:gd name="connsiteY33" fmla="*/ 361974 h 715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2888" h="715803">
                  <a:moveTo>
                    <a:pt x="84225" y="361974"/>
                  </a:moveTo>
                  <a:lnTo>
                    <a:pt x="84225" y="361974"/>
                  </a:lnTo>
                  <a:cubicBezTo>
                    <a:pt x="103942" y="299823"/>
                    <a:pt x="124516" y="236815"/>
                    <a:pt x="157091" y="179808"/>
                  </a:cubicBezTo>
                  <a:cubicBezTo>
                    <a:pt x="171236" y="154519"/>
                    <a:pt x="185809" y="129659"/>
                    <a:pt x="200382" y="105227"/>
                  </a:cubicBezTo>
                  <a:lnTo>
                    <a:pt x="200382" y="65794"/>
                  </a:lnTo>
                  <a:cubicBezTo>
                    <a:pt x="166521" y="53364"/>
                    <a:pt x="132659" y="41362"/>
                    <a:pt x="98369" y="30647"/>
                  </a:cubicBezTo>
                  <a:cubicBezTo>
                    <a:pt x="92369" y="34076"/>
                    <a:pt x="85511" y="35790"/>
                    <a:pt x="78224" y="35790"/>
                  </a:cubicBezTo>
                  <a:cubicBezTo>
                    <a:pt x="61936" y="35790"/>
                    <a:pt x="48220" y="26789"/>
                    <a:pt x="40934" y="13502"/>
                  </a:cubicBezTo>
                  <a:cubicBezTo>
                    <a:pt x="28504" y="10073"/>
                    <a:pt x="15645" y="6644"/>
                    <a:pt x="3215" y="3215"/>
                  </a:cubicBezTo>
                  <a:lnTo>
                    <a:pt x="3215" y="321255"/>
                  </a:lnTo>
                  <a:lnTo>
                    <a:pt x="55078" y="372690"/>
                  </a:lnTo>
                  <a:lnTo>
                    <a:pt x="59365" y="376976"/>
                  </a:lnTo>
                  <a:lnTo>
                    <a:pt x="59365" y="627721"/>
                  </a:lnTo>
                  <a:lnTo>
                    <a:pt x="114657" y="683014"/>
                  </a:lnTo>
                  <a:cubicBezTo>
                    <a:pt x="118086" y="682157"/>
                    <a:pt x="121087" y="681728"/>
                    <a:pt x="124944" y="681728"/>
                  </a:cubicBezTo>
                  <a:cubicBezTo>
                    <a:pt x="134374" y="681728"/>
                    <a:pt x="142946" y="684728"/>
                    <a:pt x="149804" y="689872"/>
                  </a:cubicBezTo>
                  <a:cubicBezTo>
                    <a:pt x="149376" y="688586"/>
                    <a:pt x="148947" y="687300"/>
                    <a:pt x="148519" y="686014"/>
                  </a:cubicBezTo>
                  <a:cubicBezTo>
                    <a:pt x="147233" y="681300"/>
                    <a:pt x="145947" y="673584"/>
                    <a:pt x="152376" y="671870"/>
                  </a:cubicBezTo>
                  <a:cubicBezTo>
                    <a:pt x="169521" y="667583"/>
                    <a:pt x="187095" y="668869"/>
                    <a:pt x="204240" y="671441"/>
                  </a:cubicBezTo>
                  <a:cubicBezTo>
                    <a:pt x="211098" y="680871"/>
                    <a:pt x="221385" y="686443"/>
                    <a:pt x="228671" y="695873"/>
                  </a:cubicBezTo>
                  <a:cubicBezTo>
                    <a:pt x="235529" y="703588"/>
                    <a:pt x="244102" y="709160"/>
                    <a:pt x="251389" y="716447"/>
                  </a:cubicBezTo>
                  <a:lnTo>
                    <a:pt x="251389" y="554855"/>
                  </a:lnTo>
                  <a:cubicBezTo>
                    <a:pt x="233815" y="534281"/>
                    <a:pt x="213241" y="517136"/>
                    <a:pt x="190524" y="502991"/>
                  </a:cubicBezTo>
                  <a:lnTo>
                    <a:pt x="163520" y="529995"/>
                  </a:lnTo>
                  <a:cubicBezTo>
                    <a:pt x="166092" y="535567"/>
                    <a:pt x="167378" y="541996"/>
                    <a:pt x="167378" y="548426"/>
                  </a:cubicBezTo>
                  <a:cubicBezTo>
                    <a:pt x="167378" y="572000"/>
                    <a:pt x="148519" y="590859"/>
                    <a:pt x="124944" y="590859"/>
                  </a:cubicBezTo>
                  <a:cubicBezTo>
                    <a:pt x="101370" y="590859"/>
                    <a:pt x="81653" y="572000"/>
                    <a:pt x="81653" y="548426"/>
                  </a:cubicBezTo>
                  <a:cubicBezTo>
                    <a:pt x="81653" y="524851"/>
                    <a:pt x="100941" y="505563"/>
                    <a:pt x="124944" y="505563"/>
                  </a:cubicBezTo>
                  <a:cubicBezTo>
                    <a:pt x="135231" y="505563"/>
                    <a:pt x="144232" y="508992"/>
                    <a:pt x="151519" y="514993"/>
                  </a:cubicBezTo>
                  <a:lnTo>
                    <a:pt x="173379" y="493133"/>
                  </a:lnTo>
                  <a:cubicBezTo>
                    <a:pt x="159234" y="485418"/>
                    <a:pt x="144232" y="479417"/>
                    <a:pt x="128802" y="474273"/>
                  </a:cubicBezTo>
                  <a:cubicBezTo>
                    <a:pt x="112085" y="468273"/>
                    <a:pt x="94083" y="471273"/>
                    <a:pt x="76938" y="469130"/>
                  </a:cubicBezTo>
                  <a:cubicBezTo>
                    <a:pt x="69652" y="468273"/>
                    <a:pt x="62794" y="462701"/>
                    <a:pt x="64937" y="454557"/>
                  </a:cubicBezTo>
                  <a:cubicBezTo>
                    <a:pt x="65794" y="422838"/>
                    <a:pt x="75652" y="392406"/>
                    <a:pt x="84225" y="361974"/>
                  </a:cubicBezTo>
                  <a:close/>
                </a:path>
              </a:pathLst>
            </a:custGeom>
            <a:grpFill/>
            <a:ln w="9525" cap="flat">
              <a:noFill/>
              <a:prstDash val="solid"/>
              <a:miter/>
            </a:ln>
          </p:spPr>
          <p:txBody>
            <a:bodyPr rtlCol="0" anchor="ctr"/>
            <a:lstStyle/>
            <a:p>
              <a:endParaRPr lang="en-US"/>
            </a:p>
          </p:txBody>
        </p:sp>
        <p:sp>
          <p:nvSpPr>
            <p:cNvPr id="392" name="Freeform: Shape 169">
              <a:extLst>
                <a:ext uri="{FF2B5EF4-FFF2-40B4-BE49-F238E27FC236}">
                  <a16:creationId xmlns:a16="http://schemas.microsoft.com/office/drawing/2014/main" id="{BECF72AA-D7BB-C34A-AF01-2EB73FDBFE6B}"/>
                </a:ext>
              </a:extLst>
            </p:cNvPr>
            <p:cNvSpPr/>
            <p:nvPr/>
          </p:nvSpPr>
          <p:spPr>
            <a:xfrm>
              <a:off x="4855345" y="3372207"/>
              <a:ext cx="12859" cy="64294"/>
            </a:xfrm>
            <a:custGeom>
              <a:avLst/>
              <a:gdLst>
                <a:gd name="connsiteX0" fmla="*/ 3215 w 12858"/>
                <a:gd name="connsiteY0" fmla="*/ 3215 h 64293"/>
                <a:gd name="connsiteX1" fmla="*/ 3215 w 12858"/>
                <a:gd name="connsiteY1" fmla="*/ 3215 h 64293"/>
                <a:gd name="connsiteX2" fmla="*/ 3215 w 12858"/>
                <a:gd name="connsiteY2" fmla="*/ 56793 h 64293"/>
                <a:gd name="connsiteX3" fmla="*/ 9644 w 12858"/>
                <a:gd name="connsiteY3" fmla="*/ 63222 h 64293"/>
                <a:gd name="connsiteX4" fmla="*/ 6215 w 12858"/>
                <a:gd name="connsiteY4" fmla="*/ 42648 h 64293"/>
                <a:gd name="connsiteX5" fmla="*/ 3215 w 12858"/>
                <a:gd name="connsiteY5" fmla="*/ 3215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8" h="64293">
                  <a:moveTo>
                    <a:pt x="3215" y="3215"/>
                  </a:moveTo>
                  <a:lnTo>
                    <a:pt x="3215" y="3215"/>
                  </a:lnTo>
                  <a:lnTo>
                    <a:pt x="3215" y="56793"/>
                  </a:lnTo>
                  <a:lnTo>
                    <a:pt x="9644" y="63222"/>
                  </a:lnTo>
                  <a:cubicBezTo>
                    <a:pt x="7501" y="56793"/>
                    <a:pt x="6215" y="49935"/>
                    <a:pt x="6215" y="42648"/>
                  </a:cubicBezTo>
                  <a:cubicBezTo>
                    <a:pt x="6215" y="29361"/>
                    <a:pt x="6215" y="16073"/>
                    <a:pt x="3215" y="3215"/>
                  </a:cubicBezTo>
                  <a:close/>
                </a:path>
              </a:pathLst>
            </a:custGeom>
            <a:grpFill/>
            <a:ln w="9525" cap="flat">
              <a:noFill/>
              <a:prstDash val="solid"/>
              <a:miter/>
            </a:ln>
          </p:spPr>
          <p:txBody>
            <a:bodyPr rtlCol="0" anchor="ctr"/>
            <a:lstStyle/>
            <a:p>
              <a:endParaRPr lang="en-US"/>
            </a:p>
          </p:txBody>
        </p:sp>
        <p:sp>
          <p:nvSpPr>
            <p:cNvPr id="393" name="Freeform: Shape 170">
              <a:extLst>
                <a:ext uri="{FF2B5EF4-FFF2-40B4-BE49-F238E27FC236}">
                  <a16:creationId xmlns:a16="http://schemas.microsoft.com/office/drawing/2014/main" id="{6B87FE6D-E5EB-6244-980B-0F0909047274}"/>
                </a:ext>
              </a:extLst>
            </p:cNvPr>
            <p:cNvSpPr/>
            <p:nvPr/>
          </p:nvSpPr>
          <p:spPr>
            <a:xfrm>
              <a:off x="4870775" y="1471255"/>
              <a:ext cx="4286" cy="4286"/>
            </a:xfrm>
            <a:custGeom>
              <a:avLst/>
              <a:gdLst>
                <a:gd name="connsiteX0" fmla="*/ 3215 w 4286"/>
                <a:gd name="connsiteY0" fmla="*/ 3215 h 4286"/>
                <a:gd name="connsiteX1" fmla="*/ 3215 w 4286"/>
                <a:gd name="connsiteY1" fmla="*/ 3215 h 4286"/>
                <a:gd name="connsiteX2" fmla="*/ 3215 w 4286"/>
                <a:gd name="connsiteY2" fmla="*/ 3215 h 4286"/>
              </a:gdLst>
              <a:ahLst/>
              <a:cxnLst>
                <a:cxn ang="0">
                  <a:pos x="connsiteX0" y="connsiteY0"/>
                </a:cxn>
                <a:cxn ang="0">
                  <a:pos x="connsiteX1" y="connsiteY1"/>
                </a:cxn>
                <a:cxn ang="0">
                  <a:pos x="connsiteX2" y="connsiteY2"/>
                </a:cxn>
              </a:cxnLst>
              <a:rect l="l" t="t" r="r" b="b"/>
              <a:pathLst>
                <a:path w="4286" h="4286">
                  <a:moveTo>
                    <a:pt x="3215" y="3215"/>
                  </a:moveTo>
                  <a:lnTo>
                    <a:pt x="3215" y="3215"/>
                  </a:lnTo>
                  <a:lnTo>
                    <a:pt x="3215" y="3215"/>
                  </a:lnTo>
                  <a:close/>
                </a:path>
              </a:pathLst>
            </a:custGeom>
            <a:grpFill/>
            <a:ln w="9525" cap="flat">
              <a:noFill/>
              <a:prstDash val="solid"/>
              <a:miter/>
            </a:ln>
          </p:spPr>
          <p:txBody>
            <a:bodyPr rtlCol="0" anchor="ctr"/>
            <a:lstStyle/>
            <a:p>
              <a:endParaRPr lang="en-US"/>
            </a:p>
          </p:txBody>
        </p:sp>
        <p:sp>
          <p:nvSpPr>
            <p:cNvPr id="394" name="Freeform: Shape 171">
              <a:extLst>
                <a:ext uri="{FF2B5EF4-FFF2-40B4-BE49-F238E27FC236}">
                  <a16:creationId xmlns:a16="http://schemas.microsoft.com/office/drawing/2014/main" id="{AD5436F1-ACF4-0F42-99B3-DC3BB2251B40}"/>
                </a:ext>
              </a:extLst>
            </p:cNvPr>
            <p:cNvSpPr/>
            <p:nvPr/>
          </p:nvSpPr>
          <p:spPr>
            <a:xfrm>
              <a:off x="4440864" y="1471255"/>
              <a:ext cx="501491" cy="1268730"/>
            </a:xfrm>
            <a:custGeom>
              <a:avLst/>
              <a:gdLst>
                <a:gd name="connsiteX0" fmla="*/ 433126 w 501491"/>
                <a:gd name="connsiteY0" fmla="*/ 3215 h 1268730"/>
                <a:gd name="connsiteX1" fmla="*/ 416838 w 501491"/>
                <a:gd name="connsiteY1" fmla="*/ 70509 h 1268730"/>
                <a:gd name="connsiteX2" fmla="*/ 405694 w 501491"/>
                <a:gd name="connsiteY2" fmla="*/ 232100 h 1268730"/>
                <a:gd name="connsiteX3" fmla="*/ 389406 w 501491"/>
                <a:gd name="connsiteY3" fmla="*/ 336256 h 1268730"/>
                <a:gd name="connsiteX4" fmla="*/ 322969 w 501491"/>
                <a:gd name="connsiteY4" fmla="*/ 468273 h 1268730"/>
                <a:gd name="connsiteX5" fmla="*/ 238101 w 501491"/>
                <a:gd name="connsiteY5" fmla="*/ 690301 h 1268730"/>
                <a:gd name="connsiteX6" fmla="*/ 186666 w 501491"/>
                <a:gd name="connsiteY6" fmla="*/ 773454 h 1268730"/>
                <a:gd name="connsiteX7" fmla="*/ 64937 w 501491"/>
                <a:gd name="connsiteY7" fmla="*/ 981337 h 1268730"/>
                <a:gd name="connsiteX8" fmla="*/ 7501 w 501491"/>
                <a:gd name="connsiteY8" fmla="*/ 1152358 h 1268730"/>
                <a:gd name="connsiteX9" fmla="*/ 3215 w 501491"/>
                <a:gd name="connsiteY9" fmla="*/ 1172075 h 1268730"/>
                <a:gd name="connsiteX10" fmla="*/ 313539 w 501491"/>
                <a:gd name="connsiteY10" fmla="*/ 1265944 h 1268730"/>
                <a:gd name="connsiteX11" fmla="*/ 458415 w 501491"/>
                <a:gd name="connsiteY11" fmla="*/ 1030629 h 1268730"/>
                <a:gd name="connsiteX12" fmla="*/ 476845 w 501491"/>
                <a:gd name="connsiteY12" fmla="*/ 936331 h 1268730"/>
                <a:gd name="connsiteX13" fmla="*/ 500848 w 501491"/>
                <a:gd name="connsiteY13" fmla="*/ 830461 h 1268730"/>
                <a:gd name="connsiteX14" fmla="*/ 433126 w 501491"/>
                <a:gd name="connsiteY14" fmla="*/ 3215 h 126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491" h="1268730">
                  <a:moveTo>
                    <a:pt x="433126" y="3215"/>
                  </a:moveTo>
                  <a:cubicBezTo>
                    <a:pt x="425839" y="25503"/>
                    <a:pt x="419838" y="47792"/>
                    <a:pt x="416838" y="70509"/>
                  </a:cubicBezTo>
                  <a:cubicBezTo>
                    <a:pt x="408694" y="124087"/>
                    <a:pt x="408694" y="178094"/>
                    <a:pt x="405694" y="232100"/>
                  </a:cubicBezTo>
                  <a:cubicBezTo>
                    <a:pt x="403979" y="267248"/>
                    <a:pt x="401407" y="302824"/>
                    <a:pt x="389406" y="336256"/>
                  </a:cubicBezTo>
                  <a:cubicBezTo>
                    <a:pt x="373547" y="383405"/>
                    <a:pt x="343114" y="422839"/>
                    <a:pt x="322969" y="468273"/>
                  </a:cubicBezTo>
                  <a:cubicBezTo>
                    <a:pt x="290822" y="540710"/>
                    <a:pt x="276249" y="620435"/>
                    <a:pt x="238101" y="690301"/>
                  </a:cubicBezTo>
                  <a:cubicBezTo>
                    <a:pt x="222242" y="719018"/>
                    <a:pt x="204240" y="746022"/>
                    <a:pt x="186666" y="773454"/>
                  </a:cubicBezTo>
                  <a:cubicBezTo>
                    <a:pt x="142946" y="840748"/>
                    <a:pt x="99227" y="908471"/>
                    <a:pt x="64937" y="981337"/>
                  </a:cubicBezTo>
                  <a:cubicBezTo>
                    <a:pt x="38791" y="1035772"/>
                    <a:pt x="19931" y="1093637"/>
                    <a:pt x="7501" y="1152358"/>
                  </a:cubicBezTo>
                  <a:cubicBezTo>
                    <a:pt x="6215" y="1158788"/>
                    <a:pt x="4501" y="1165646"/>
                    <a:pt x="3215" y="1172075"/>
                  </a:cubicBezTo>
                  <a:cubicBezTo>
                    <a:pt x="109514" y="1195221"/>
                    <a:pt x="213241" y="1226939"/>
                    <a:pt x="313539" y="1265944"/>
                  </a:cubicBezTo>
                  <a:cubicBezTo>
                    <a:pt x="361545" y="1187506"/>
                    <a:pt x="411694" y="1109925"/>
                    <a:pt x="458415" y="1030629"/>
                  </a:cubicBezTo>
                  <a:cubicBezTo>
                    <a:pt x="476845" y="1002339"/>
                    <a:pt x="469987" y="967621"/>
                    <a:pt x="476845" y="936331"/>
                  </a:cubicBezTo>
                  <a:cubicBezTo>
                    <a:pt x="483703" y="900756"/>
                    <a:pt x="490561" y="865179"/>
                    <a:pt x="500848" y="830461"/>
                  </a:cubicBezTo>
                  <a:cubicBezTo>
                    <a:pt x="432697" y="554426"/>
                    <a:pt x="409980" y="274963"/>
                    <a:pt x="433126" y="3215"/>
                  </a:cubicBezTo>
                  <a:close/>
                </a:path>
              </a:pathLst>
            </a:custGeom>
            <a:grpFill/>
            <a:ln w="9525" cap="flat">
              <a:noFill/>
              <a:prstDash val="solid"/>
              <a:miter/>
            </a:ln>
          </p:spPr>
          <p:txBody>
            <a:bodyPr rtlCol="0" anchor="ctr"/>
            <a:lstStyle/>
            <a:p>
              <a:endParaRPr lang="en-US"/>
            </a:p>
          </p:txBody>
        </p:sp>
        <p:sp>
          <p:nvSpPr>
            <p:cNvPr id="395" name="Freeform: Shape 172">
              <a:extLst>
                <a:ext uri="{FF2B5EF4-FFF2-40B4-BE49-F238E27FC236}">
                  <a16:creationId xmlns:a16="http://schemas.microsoft.com/office/drawing/2014/main" id="{6A121BE2-B68A-3247-81AE-5B4DEAD51013}"/>
                </a:ext>
              </a:extLst>
            </p:cNvPr>
            <p:cNvSpPr/>
            <p:nvPr/>
          </p:nvSpPr>
          <p:spPr>
            <a:xfrm>
              <a:off x="4881491" y="713875"/>
              <a:ext cx="1504474" cy="2546033"/>
            </a:xfrm>
            <a:custGeom>
              <a:avLst/>
              <a:gdLst>
                <a:gd name="connsiteX0" fmla="*/ 285679 w 1504473"/>
                <a:gd name="connsiteY0" fmla="*/ 1179790 h 2546032"/>
                <a:gd name="connsiteX1" fmla="*/ 285679 w 1504473"/>
                <a:gd name="connsiteY1" fmla="*/ 1179790 h 2546032"/>
                <a:gd name="connsiteX2" fmla="*/ 298109 w 1504473"/>
                <a:gd name="connsiteY2" fmla="*/ 1080349 h 2546032"/>
                <a:gd name="connsiteX3" fmla="*/ 312253 w 1504473"/>
                <a:gd name="connsiteY3" fmla="*/ 1121069 h 2546032"/>
                <a:gd name="connsiteX4" fmla="*/ 338400 w 1504473"/>
                <a:gd name="connsiteY4" fmla="*/ 1217081 h 2546032"/>
                <a:gd name="connsiteX5" fmla="*/ 347829 w 1504473"/>
                <a:gd name="connsiteY5" fmla="*/ 1254371 h 2546032"/>
                <a:gd name="connsiteX6" fmla="*/ 394121 w 1504473"/>
                <a:gd name="connsiteY6" fmla="*/ 1433965 h 2546032"/>
                <a:gd name="connsiteX7" fmla="*/ 437412 w 1504473"/>
                <a:gd name="connsiteY7" fmla="*/ 1433965 h 2546032"/>
                <a:gd name="connsiteX8" fmla="*/ 526566 w 1504473"/>
                <a:gd name="connsiteY8" fmla="*/ 1344811 h 2546032"/>
                <a:gd name="connsiteX9" fmla="*/ 532567 w 1504473"/>
                <a:gd name="connsiteY9" fmla="*/ 1344811 h 2546032"/>
                <a:gd name="connsiteX10" fmla="*/ 871180 w 1504473"/>
                <a:gd name="connsiteY10" fmla="*/ 1344811 h 2546032"/>
                <a:gd name="connsiteX11" fmla="*/ 880610 w 1504473"/>
                <a:gd name="connsiteY11" fmla="*/ 1331524 h 2546032"/>
                <a:gd name="connsiteX12" fmla="*/ 941046 w 1504473"/>
                <a:gd name="connsiteY12" fmla="*/ 1331095 h 2546032"/>
                <a:gd name="connsiteX13" fmla="*/ 941475 w 1504473"/>
                <a:gd name="connsiteY13" fmla="*/ 1391960 h 2546032"/>
                <a:gd name="connsiteX14" fmla="*/ 880610 w 1504473"/>
                <a:gd name="connsiteY14" fmla="*/ 1391531 h 2546032"/>
                <a:gd name="connsiteX15" fmla="*/ 870323 w 1504473"/>
                <a:gd name="connsiteY15" fmla="*/ 1373958 h 2546032"/>
                <a:gd name="connsiteX16" fmla="*/ 538996 w 1504473"/>
                <a:gd name="connsiteY16" fmla="*/ 1374386 h 2546032"/>
                <a:gd name="connsiteX17" fmla="*/ 449842 w 1504473"/>
                <a:gd name="connsiteY17" fmla="*/ 1463540 h 2546032"/>
                <a:gd name="connsiteX18" fmla="*/ 443841 w 1504473"/>
                <a:gd name="connsiteY18" fmla="*/ 1463540 h 2546032"/>
                <a:gd name="connsiteX19" fmla="*/ 403122 w 1504473"/>
                <a:gd name="connsiteY19" fmla="*/ 1463540 h 2546032"/>
                <a:gd name="connsiteX20" fmla="*/ 417267 w 1504473"/>
                <a:gd name="connsiteY20" fmla="*/ 1493544 h 2546032"/>
                <a:gd name="connsiteX21" fmla="*/ 497419 w 1504473"/>
                <a:gd name="connsiteY21" fmla="*/ 1493544 h 2546032"/>
                <a:gd name="connsiteX22" fmla="*/ 514993 w 1504473"/>
                <a:gd name="connsiteY22" fmla="*/ 1475970 h 2546032"/>
                <a:gd name="connsiteX23" fmla="*/ 526566 w 1504473"/>
                <a:gd name="connsiteY23" fmla="*/ 1437394 h 2546032"/>
                <a:gd name="connsiteX24" fmla="*/ 587002 w 1504473"/>
                <a:gd name="connsiteY24" fmla="*/ 1437394 h 2546032"/>
                <a:gd name="connsiteX25" fmla="*/ 587002 w 1504473"/>
                <a:gd name="connsiteY25" fmla="*/ 1497830 h 2546032"/>
                <a:gd name="connsiteX26" fmla="*/ 530424 w 1504473"/>
                <a:gd name="connsiteY26" fmla="*/ 1501259 h 2546032"/>
                <a:gd name="connsiteX27" fmla="*/ 508992 w 1504473"/>
                <a:gd name="connsiteY27" fmla="*/ 1522690 h 2546032"/>
                <a:gd name="connsiteX28" fmla="*/ 430982 w 1504473"/>
                <a:gd name="connsiteY28" fmla="*/ 1522690 h 2546032"/>
                <a:gd name="connsiteX29" fmla="*/ 436555 w 1504473"/>
                <a:gd name="connsiteY29" fmla="*/ 1539407 h 2546032"/>
                <a:gd name="connsiteX30" fmla="*/ 438698 w 1504473"/>
                <a:gd name="connsiteY30" fmla="*/ 1548408 h 2546032"/>
                <a:gd name="connsiteX31" fmla="*/ 467844 w 1504473"/>
                <a:gd name="connsiteY31" fmla="*/ 1560838 h 2546032"/>
                <a:gd name="connsiteX32" fmla="*/ 468273 w 1504473"/>
                <a:gd name="connsiteY32" fmla="*/ 1621274 h 2546032"/>
                <a:gd name="connsiteX33" fmla="*/ 445984 w 1504473"/>
                <a:gd name="connsiteY33" fmla="*/ 1633276 h 2546032"/>
                <a:gd name="connsiteX34" fmla="*/ 444270 w 1504473"/>
                <a:gd name="connsiteY34" fmla="*/ 1688140 h 2546032"/>
                <a:gd name="connsiteX35" fmla="*/ 548426 w 1504473"/>
                <a:gd name="connsiteY35" fmla="*/ 1583984 h 2546032"/>
                <a:gd name="connsiteX36" fmla="*/ 554427 w 1504473"/>
                <a:gd name="connsiteY36" fmla="*/ 1584412 h 2546032"/>
                <a:gd name="connsiteX37" fmla="*/ 635865 w 1504473"/>
                <a:gd name="connsiteY37" fmla="*/ 1584412 h 2546032"/>
                <a:gd name="connsiteX38" fmla="*/ 647867 w 1504473"/>
                <a:gd name="connsiteY38" fmla="*/ 1558266 h 2546032"/>
                <a:gd name="connsiteX39" fmla="*/ 708303 w 1504473"/>
                <a:gd name="connsiteY39" fmla="*/ 1558266 h 2546032"/>
                <a:gd name="connsiteX40" fmla="*/ 708732 w 1504473"/>
                <a:gd name="connsiteY40" fmla="*/ 1619131 h 2546032"/>
                <a:gd name="connsiteX41" fmla="*/ 647867 w 1504473"/>
                <a:gd name="connsiteY41" fmla="*/ 1618702 h 2546032"/>
                <a:gd name="connsiteX42" fmla="*/ 643581 w 1504473"/>
                <a:gd name="connsiteY42" fmla="*/ 1613559 h 2546032"/>
                <a:gd name="connsiteX43" fmla="*/ 560427 w 1504473"/>
                <a:gd name="connsiteY43" fmla="*/ 1613130 h 2546032"/>
                <a:gd name="connsiteX44" fmla="*/ 436126 w 1504473"/>
                <a:gd name="connsiteY44" fmla="*/ 1737432 h 2546032"/>
                <a:gd name="connsiteX45" fmla="*/ 436126 w 1504473"/>
                <a:gd name="connsiteY45" fmla="*/ 1737860 h 2546032"/>
                <a:gd name="connsiteX46" fmla="*/ 413837 w 1504473"/>
                <a:gd name="connsiteY46" fmla="*/ 1816727 h 2546032"/>
                <a:gd name="connsiteX47" fmla="*/ 406980 w 1504473"/>
                <a:gd name="connsiteY47" fmla="*/ 1854017 h 2546032"/>
                <a:gd name="connsiteX48" fmla="*/ 522280 w 1504473"/>
                <a:gd name="connsiteY48" fmla="*/ 1738717 h 2546032"/>
                <a:gd name="connsiteX49" fmla="*/ 524423 w 1504473"/>
                <a:gd name="connsiteY49" fmla="*/ 1737432 h 2546032"/>
                <a:gd name="connsiteX50" fmla="*/ 529138 w 1504473"/>
                <a:gd name="connsiteY50" fmla="*/ 1682139 h 2546032"/>
                <a:gd name="connsiteX51" fmla="*/ 589574 w 1504473"/>
                <a:gd name="connsiteY51" fmla="*/ 1682139 h 2546032"/>
                <a:gd name="connsiteX52" fmla="*/ 590002 w 1504473"/>
                <a:gd name="connsiteY52" fmla="*/ 1743004 h 2546032"/>
                <a:gd name="connsiteX53" fmla="*/ 546711 w 1504473"/>
                <a:gd name="connsiteY53" fmla="*/ 1753291 h 2546032"/>
                <a:gd name="connsiteX54" fmla="*/ 543282 w 1504473"/>
                <a:gd name="connsiteY54" fmla="*/ 1759720 h 2546032"/>
                <a:gd name="connsiteX55" fmla="*/ 397978 w 1504473"/>
                <a:gd name="connsiteY55" fmla="*/ 1905024 h 2546032"/>
                <a:gd name="connsiteX56" fmla="*/ 394121 w 1504473"/>
                <a:gd name="connsiteY56" fmla="*/ 1926027 h 2546032"/>
                <a:gd name="connsiteX57" fmla="*/ 380833 w 1504473"/>
                <a:gd name="connsiteY57" fmla="*/ 1992892 h 2546032"/>
                <a:gd name="connsiteX58" fmla="*/ 782884 w 1504473"/>
                <a:gd name="connsiteY58" fmla="*/ 1590842 h 2546032"/>
                <a:gd name="connsiteX59" fmla="*/ 782884 w 1504473"/>
                <a:gd name="connsiteY59" fmla="*/ 1514975 h 2546032"/>
                <a:gd name="connsiteX60" fmla="*/ 766596 w 1504473"/>
                <a:gd name="connsiteY60" fmla="*/ 1504688 h 2546032"/>
                <a:gd name="connsiteX61" fmla="*/ 767025 w 1504473"/>
                <a:gd name="connsiteY61" fmla="*/ 1444252 h 2546032"/>
                <a:gd name="connsiteX62" fmla="*/ 827461 w 1504473"/>
                <a:gd name="connsiteY62" fmla="*/ 1443823 h 2546032"/>
                <a:gd name="connsiteX63" fmla="*/ 827889 w 1504473"/>
                <a:gd name="connsiteY63" fmla="*/ 1505117 h 2546032"/>
                <a:gd name="connsiteX64" fmla="*/ 812459 w 1504473"/>
                <a:gd name="connsiteY64" fmla="*/ 1514975 h 2546032"/>
                <a:gd name="connsiteX65" fmla="*/ 812030 w 1504473"/>
                <a:gd name="connsiteY65" fmla="*/ 1596842 h 2546032"/>
                <a:gd name="connsiteX66" fmla="*/ 812030 w 1504473"/>
                <a:gd name="connsiteY66" fmla="*/ 1602843 h 2546032"/>
                <a:gd name="connsiteX67" fmla="*/ 373547 w 1504473"/>
                <a:gd name="connsiteY67" fmla="*/ 2041755 h 2546032"/>
                <a:gd name="connsiteX68" fmla="*/ 369261 w 1504473"/>
                <a:gd name="connsiteY68" fmla="*/ 2041755 h 2546032"/>
                <a:gd name="connsiteX69" fmla="*/ 348258 w 1504473"/>
                <a:gd name="connsiteY69" fmla="*/ 2103906 h 2546032"/>
                <a:gd name="connsiteX70" fmla="*/ 340971 w 1504473"/>
                <a:gd name="connsiteY70" fmla="*/ 2121480 h 2546032"/>
                <a:gd name="connsiteX71" fmla="*/ 370546 w 1504473"/>
                <a:gd name="connsiteY71" fmla="*/ 2121480 h 2546032"/>
                <a:gd name="connsiteX72" fmla="*/ 638437 w 1504473"/>
                <a:gd name="connsiteY72" fmla="*/ 1853589 h 2546032"/>
                <a:gd name="connsiteX73" fmla="*/ 649153 w 1504473"/>
                <a:gd name="connsiteY73" fmla="*/ 1811584 h 2546032"/>
                <a:gd name="connsiteX74" fmla="*/ 710017 w 1504473"/>
                <a:gd name="connsiteY74" fmla="*/ 1811584 h 2546032"/>
                <a:gd name="connsiteX75" fmla="*/ 710017 w 1504473"/>
                <a:gd name="connsiteY75" fmla="*/ 1872020 h 2546032"/>
                <a:gd name="connsiteX76" fmla="*/ 656439 w 1504473"/>
                <a:gd name="connsiteY76" fmla="*/ 1877592 h 2546032"/>
                <a:gd name="connsiteX77" fmla="*/ 383405 w 1504473"/>
                <a:gd name="connsiteY77" fmla="*/ 2150626 h 2546032"/>
                <a:gd name="connsiteX78" fmla="*/ 377404 w 1504473"/>
                <a:gd name="connsiteY78" fmla="*/ 2150626 h 2546032"/>
                <a:gd name="connsiteX79" fmla="*/ 329827 w 1504473"/>
                <a:gd name="connsiteY79" fmla="*/ 2150626 h 2546032"/>
                <a:gd name="connsiteX80" fmla="*/ 314396 w 1504473"/>
                <a:gd name="connsiteY80" fmla="*/ 2199489 h 2546032"/>
                <a:gd name="connsiteX81" fmla="*/ 324255 w 1504473"/>
                <a:gd name="connsiteY81" fmla="*/ 2218349 h 2546032"/>
                <a:gd name="connsiteX82" fmla="*/ 408694 w 1504473"/>
                <a:gd name="connsiteY82" fmla="*/ 2218349 h 2546032"/>
                <a:gd name="connsiteX83" fmla="*/ 752880 w 1504473"/>
                <a:gd name="connsiteY83" fmla="*/ 1874163 h 2546032"/>
                <a:gd name="connsiteX84" fmla="*/ 752880 w 1504473"/>
                <a:gd name="connsiteY84" fmla="*/ 1718572 h 2546032"/>
                <a:gd name="connsiteX85" fmla="*/ 756738 w 1504473"/>
                <a:gd name="connsiteY85" fmla="*/ 1708714 h 2546032"/>
                <a:gd name="connsiteX86" fmla="*/ 768310 w 1504473"/>
                <a:gd name="connsiteY86" fmla="*/ 1686425 h 2546032"/>
                <a:gd name="connsiteX87" fmla="*/ 828747 w 1504473"/>
                <a:gd name="connsiteY87" fmla="*/ 1686425 h 2546032"/>
                <a:gd name="connsiteX88" fmla="*/ 828747 w 1504473"/>
                <a:gd name="connsiteY88" fmla="*/ 1746861 h 2546032"/>
                <a:gd name="connsiteX89" fmla="*/ 782026 w 1504473"/>
                <a:gd name="connsiteY89" fmla="*/ 1756720 h 2546032"/>
                <a:gd name="connsiteX90" fmla="*/ 782026 w 1504473"/>
                <a:gd name="connsiteY90" fmla="*/ 1887879 h 2546032"/>
                <a:gd name="connsiteX91" fmla="*/ 421553 w 1504473"/>
                <a:gd name="connsiteY91" fmla="*/ 2248781 h 2546032"/>
                <a:gd name="connsiteX92" fmla="*/ 340543 w 1504473"/>
                <a:gd name="connsiteY92" fmla="*/ 2248781 h 2546032"/>
                <a:gd name="connsiteX93" fmla="*/ 362402 w 1504473"/>
                <a:gd name="connsiteY93" fmla="*/ 2288643 h 2546032"/>
                <a:gd name="connsiteX94" fmla="*/ 391978 w 1504473"/>
                <a:gd name="connsiteY94" fmla="*/ 2310075 h 2546032"/>
                <a:gd name="connsiteX95" fmla="*/ 393692 w 1504473"/>
                <a:gd name="connsiteY95" fmla="*/ 2310075 h 2546032"/>
                <a:gd name="connsiteX96" fmla="*/ 812887 w 1504473"/>
                <a:gd name="connsiteY96" fmla="*/ 1890879 h 2546032"/>
                <a:gd name="connsiteX97" fmla="*/ 813316 w 1504473"/>
                <a:gd name="connsiteY97" fmla="*/ 1812869 h 2546032"/>
                <a:gd name="connsiteX98" fmla="*/ 813316 w 1504473"/>
                <a:gd name="connsiteY98" fmla="*/ 1806869 h 2546032"/>
                <a:gd name="connsiteX99" fmla="*/ 911900 w 1504473"/>
                <a:gd name="connsiteY99" fmla="*/ 1708285 h 2546032"/>
                <a:gd name="connsiteX100" fmla="*/ 893469 w 1504473"/>
                <a:gd name="connsiteY100" fmla="*/ 1639276 h 2546032"/>
                <a:gd name="connsiteX101" fmla="*/ 887468 w 1504473"/>
                <a:gd name="connsiteY101" fmla="*/ 1634133 h 2546032"/>
                <a:gd name="connsiteX102" fmla="*/ 887468 w 1504473"/>
                <a:gd name="connsiteY102" fmla="*/ 1573268 h 2546032"/>
                <a:gd name="connsiteX103" fmla="*/ 948333 w 1504473"/>
                <a:gd name="connsiteY103" fmla="*/ 1573268 h 2546032"/>
                <a:gd name="connsiteX104" fmla="*/ 948333 w 1504473"/>
                <a:gd name="connsiteY104" fmla="*/ 1633704 h 2546032"/>
                <a:gd name="connsiteX105" fmla="*/ 926045 w 1504473"/>
                <a:gd name="connsiteY105" fmla="*/ 1645706 h 2546032"/>
                <a:gd name="connsiteX106" fmla="*/ 942761 w 1504473"/>
                <a:gd name="connsiteY106" fmla="*/ 1708714 h 2546032"/>
                <a:gd name="connsiteX107" fmla="*/ 944904 w 1504473"/>
                <a:gd name="connsiteY107" fmla="*/ 1716857 h 2546032"/>
                <a:gd name="connsiteX108" fmla="*/ 842891 w 1504473"/>
                <a:gd name="connsiteY108" fmla="*/ 1819299 h 2546032"/>
                <a:gd name="connsiteX109" fmla="*/ 842891 w 1504473"/>
                <a:gd name="connsiteY109" fmla="*/ 1896451 h 2546032"/>
                <a:gd name="connsiteX110" fmla="*/ 842891 w 1504473"/>
                <a:gd name="connsiteY110" fmla="*/ 1902452 h 2546032"/>
                <a:gd name="connsiteX111" fmla="*/ 417267 w 1504473"/>
                <a:gd name="connsiteY111" fmla="*/ 2328077 h 2546032"/>
                <a:gd name="connsiteX112" fmla="*/ 446842 w 1504473"/>
                <a:gd name="connsiteY112" fmla="*/ 2350794 h 2546032"/>
                <a:gd name="connsiteX113" fmla="*/ 862608 w 1504473"/>
                <a:gd name="connsiteY113" fmla="*/ 1935028 h 2546032"/>
                <a:gd name="connsiteX114" fmla="*/ 884896 w 1504473"/>
                <a:gd name="connsiteY114" fmla="*/ 1852303 h 2546032"/>
                <a:gd name="connsiteX115" fmla="*/ 885754 w 1504473"/>
                <a:gd name="connsiteY115" fmla="*/ 1848874 h 2546032"/>
                <a:gd name="connsiteX116" fmla="*/ 1008340 w 1504473"/>
                <a:gd name="connsiteY116" fmla="*/ 1726287 h 2546032"/>
                <a:gd name="connsiteX117" fmla="*/ 1008340 w 1504473"/>
                <a:gd name="connsiteY117" fmla="*/ 1515832 h 2546032"/>
                <a:gd name="connsiteX118" fmla="*/ 1007055 w 1504473"/>
                <a:gd name="connsiteY118" fmla="*/ 1514975 h 2546032"/>
                <a:gd name="connsiteX119" fmla="*/ 1007055 w 1504473"/>
                <a:gd name="connsiteY119" fmla="*/ 1454110 h 2546032"/>
                <a:gd name="connsiteX120" fmla="*/ 1067491 w 1504473"/>
                <a:gd name="connsiteY120" fmla="*/ 1454539 h 2546032"/>
                <a:gd name="connsiteX121" fmla="*/ 1067491 w 1504473"/>
                <a:gd name="connsiteY121" fmla="*/ 1514975 h 2546032"/>
                <a:gd name="connsiteX122" fmla="*/ 1037487 w 1504473"/>
                <a:gd name="connsiteY122" fmla="*/ 1527834 h 2546032"/>
                <a:gd name="connsiteX123" fmla="*/ 1037487 w 1504473"/>
                <a:gd name="connsiteY123" fmla="*/ 1732717 h 2546032"/>
                <a:gd name="connsiteX124" fmla="*/ 1037487 w 1504473"/>
                <a:gd name="connsiteY124" fmla="*/ 1738717 h 2546032"/>
                <a:gd name="connsiteX125" fmla="*/ 911471 w 1504473"/>
                <a:gd name="connsiteY125" fmla="*/ 1864733 h 2546032"/>
                <a:gd name="connsiteX126" fmla="*/ 889611 w 1504473"/>
                <a:gd name="connsiteY126" fmla="*/ 1946601 h 2546032"/>
                <a:gd name="connsiteX127" fmla="*/ 888754 w 1504473"/>
                <a:gd name="connsiteY127" fmla="*/ 1950458 h 2546032"/>
                <a:gd name="connsiteX128" fmla="*/ 469559 w 1504473"/>
                <a:gd name="connsiteY128" fmla="*/ 2369654 h 2546032"/>
                <a:gd name="connsiteX129" fmla="*/ 479417 w 1504473"/>
                <a:gd name="connsiteY129" fmla="*/ 2377797 h 2546032"/>
                <a:gd name="connsiteX130" fmla="*/ 1033201 w 1504473"/>
                <a:gd name="connsiteY130" fmla="*/ 1824014 h 2546032"/>
                <a:gd name="connsiteX131" fmla="*/ 1039202 w 1504473"/>
                <a:gd name="connsiteY131" fmla="*/ 1824014 h 2546032"/>
                <a:gd name="connsiteX132" fmla="*/ 1113354 w 1504473"/>
                <a:gd name="connsiteY132" fmla="*/ 1823585 h 2546032"/>
                <a:gd name="connsiteX133" fmla="*/ 1123212 w 1504473"/>
                <a:gd name="connsiteY133" fmla="*/ 1809012 h 2546032"/>
                <a:gd name="connsiteX134" fmla="*/ 1184077 w 1504473"/>
                <a:gd name="connsiteY134" fmla="*/ 1809012 h 2546032"/>
                <a:gd name="connsiteX135" fmla="*/ 1184077 w 1504473"/>
                <a:gd name="connsiteY135" fmla="*/ 1869448 h 2546032"/>
                <a:gd name="connsiteX136" fmla="*/ 1123641 w 1504473"/>
                <a:gd name="connsiteY136" fmla="*/ 1869448 h 2546032"/>
                <a:gd name="connsiteX137" fmla="*/ 1113354 w 1504473"/>
                <a:gd name="connsiteY137" fmla="*/ 1852732 h 2546032"/>
                <a:gd name="connsiteX138" fmla="*/ 1046488 w 1504473"/>
                <a:gd name="connsiteY138" fmla="*/ 1852732 h 2546032"/>
                <a:gd name="connsiteX139" fmla="*/ 502563 w 1504473"/>
                <a:gd name="connsiteY139" fmla="*/ 2396657 h 2546032"/>
                <a:gd name="connsiteX140" fmla="*/ 529566 w 1504473"/>
                <a:gd name="connsiteY140" fmla="*/ 2419374 h 2546032"/>
                <a:gd name="connsiteX141" fmla="*/ 869466 w 1504473"/>
                <a:gd name="connsiteY141" fmla="*/ 2079474 h 2546032"/>
                <a:gd name="connsiteX142" fmla="*/ 872895 w 1504473"/>
                <a:gd name="connsiteY142" fmla="*/ 2076474 h 2546032"/>
                <a:gd name="connsiteX143" fmla="*/ 885325 w 1504473"/>
                <a:gd name="connsiteY143" fmla="*/ 2047327 h 2546032"/>
                <a:gd name="connsiteX144" fmla="*/ 946190 w 1504473"/>
                <a:gd name="connsiteY144" fmla="*/ 2047327 h 2546032"/>
                <a:gd name="connsiteX145" fmla="*/ 946190 w 1504473"/>
                <a:gd name="connsiteY145" fmla="*/ 2107763 h 2546032"/>
                <a:gd name="connsiteX146" fmla="*/ 912328 w 1504473"/>
                <a:gd name="connsiteY146" fmla="*/ 2119765 h 2546032"/>
                <a:gd name="connsiteX147" fmla="*/ 911471 w 1504473"/>
                <a:gd name="connsiteY147" fmla="*/ 2120622 h 2546032"/>
                <a:gd name="connsiteX148" fmla="*/ 574143 w 1504473"/>
                <a:gd name="connsiteY148" fmla="*/ 2457950 h 2546032"/>
                <a:gd name="connsiteX149" fmla="*/ 605433 w 1504473"/>
                <a:gd name="connsiteY149" fmla="*/ 2486668 h 2546032"/>
                <a:gd name="connsiteX150" fmla="*/ 1013913 w 1504473"/>
                <a:gd name="connsiteY150" fmla="*/ 2078188 h 2546032"/>
                <a:gd name="connsiteX151" fmla="*/ 1013913 w 1504473"/>
                <a:gd name="connsiteY151" fmla="*/ 1989892 h 2546032"/>
                <a:gd name="connsiteX152" fmla="*/ 1004912 w 1504473"/>
                <a:gd name="connsiteY152" fmla="*/ 1983462 h 2546032"/>
                <a:gd name="connsiteX153" fmla="*/ 1005340 w 1504473"/>
                <a:gd name="connsiteY153" fmla="*/ 1922597 h 2546032"/>
                <a:gd name="connsiteX154" fmla="*/ 1065776 w 1504473"/>
                <a:gd name="connsiteY154" fmla="*/ 1922597 h 2546032"/>
                <a:gd name="connsiteX155" fmla="*/ 1065776 w 1504473"/>
                <a:gd name="connsiteY155" fmla="*/ 1983034 h 2546032"/>
                <a:gd name="connsiteX156" fmla="*/ 1052917 w 1504473"/>
                <a:gd name="connsiteY156" fmla="*/ 1992035 h 2546032"/>
                <a:gd name="connsiteX157" fmla="*/ 1052917 w 1504473"/>
                <a:gd name="connsiteY157" fmla="*/ 2086332 h 2546032"/>
                <a:gd name="connsiteX158" fmla="*/ 1052917 w 1504473"/>
                <a:gd name="connsiteY158" fmla="*/ 2094476 h 2546032"/>
                <a:gd name="connsiteX159" fmla="*/ 634151 w 1504473"/>
                <a:gd name="connsiteY159" fmla="*/ 2513243 h 2546032"/>
                <a:gd name="connsiteX160" fmla="*/ 665440 w 1504473"/>
                <a:gd name="connsiteY160" fmla="*/ 2544104 h 2546032"/>
                <a:gd name="connsiteX161" fmla="*/ 1260801 w 1504473"/>
                <a:gd name="connsiteY161" fmla="*/ 1948744 h 2546032"/>
                <a:gd name="connsiteX162" fmla="*/ 1260801 w 1504473"/>
                <a:gd name="connsiteY162" fmla="*/ 1797010 h 2546032"/>
                <a:gd name="connsiteX163" fmla="*/ 1260801 w 1504473"/>
                <a:gd name="connsiteY163" fmla="*/ 1785009 h 2546032"/>
                <a:gd name="connsiteX164" fmla="*/ 1349097 w 1504473"/>
                <a:gd name="connsiteY164" fmla="*/ 1696712 h 2546032"/>
                <a:gd name="connsiteX165" fmla="*/ 1361099 w 1504473"/>
                <a:gd name="connsiteY165" fmla="*/ 1696712 h 2546032"/>
                <a:gd name="connsiteX166" fmla="*/ 1497830 w 1504473"/>
                <a:gd name="connsiteY166" fmla="*/ 1697141 h 2546032"/>
                <a:gd name="connsiteX167" fmla="*/ 1502117 w 1504473"/>
                <a:gd name="connsiteY167" fmla="*/ 1692854 h 2546032"/>
                <a:gd name="connsiteX168" fmla="*/ 1353812 w 1504473"/>
                <a:gd name="connsiteY168" fmla="*/ 435269 h 2546032"/>
                <a:gd name="connsiteX169" fmla="*/ 1304520 w 1504473"/>
                <a:gd name="connsiteY169" fmla="*/ 413837 h 2546032"/>
                <a:gd name="connsiteX170" fmla="*/ 1289947 w 1504473"/>
                <a:gd name="connsiteY170" fmla="*/ 404408 h 2546032"/>
                <a:gd name="connsiteX171" fmla="*/ 1289947 w 1504473"/>
                <a:gd name="connsiteY171" fmla="*/ 467416 h 2546032"/>
                <a:gd name="connsiteX172" fmla="*/ 1295519 w 1504473"/>
                <a:gd name="connsiteY172" fmla="*/ 472130 h 2546032"/>
                <a:gd name="connsiteX173" fmla="*/ 1295519 w 1504473"/>
                <a:gd name="connsiteY173" fmla="*/ 532995 h 2546032"/>
                <a:gd name="connsiteX174" fmla="*/ 1234655 w 1504473"/>
                <a:gd name="connsiteY174" fmla="*/ 532995 h 2546032"/>
                <a:gd name="connsiteX175" fmla="*/ 1234655 w 1504473"/>
                <a:gd name="connsiteY175" fmla="*/ 472559 h 2546032"/>
                <a:gd name="connsiteX176" fmla="*/ 1260801 w 1504473"/>
                <a:gd name="connsiteY176" fmla="*/ 460558 h 2546032"/>
                <a:gd name="connsiteX177" fmla="*/ 1260801 w 1504473"/>
                <a:gd name="connsiteY177" fmla="*/ 388120 h 2546032"/>
                <a:gd name="connsiteX178" fmla="*/ 1260801 w 1504473"/>
                <a:gd name="connsiteY178" fmla="*/ 384262 h 2546032"/>
                <a:gd name="connsiteX179" fmla="*/ 1217938 w 1504473"/>
                <a:gd name="connsiteY179" fmla="*/ 351258 h 2546032"/>
                <a:gd name="connsiteX180" fmla="*/ 1166503 w 1504473"/>
                <a:gd name="connsiteY180" fmla="*/ 301966 h 2546032"/>
                <a:gd name="connsiteX181" fmla="*/ 1157073 w 1504473"/>
                <a:gd name="connsiteY181" fmla="*/ 283107 h 2546032"/>
                <a:gd name="connsiteX182" fmla="*/ 1132642 w 1504473"/>
                <a:gd name="connsiteY182" fmla="*/ 307538 h 2546032"/>
                <a:gd name="connsiteX183" fmla="*/ 1132642 w 1504473"/>
                <a:gd name="connsiteY183" fmla="*/ 342686 h 2546032"/>
                <a:gd name="connsiteX184" fmla="*/ 1177647 w 1504473"/>
                <a:gd name="connsiteY184" fmla="*/ 352973 h 2546032"/>
                <a:gd name="connsiteX185" fmla="*/ 1177647 w 1504473"/>
                <a:gd name="connsiteY185" fmla="*/ 413409 h 2546032"/>
                <a:gd name="connsiteX186" fmla="*/ 1116783 w 1504473"/>
                <a:gd name="connsiteY186" fmla="*/ 413409 h 2546032"/>
                <a:gd name="connsiteX187" fmla="*/ 1113354 w 1504473"/>
                <a:gd name="connsiteY187" fmla="*/ 356830 h 2546032"/>
                <a:gd name="connsiteX188" fmla="*/ 1113354 w 1504473"/>
                <a:gd name="connsiteY188" fmla="*/ 303681 h 2546032"/>
                <a:gd name="connsiteX189" fmla="*/ 1113782 w 1504473"/>
                <a:gd name="connsiteY189" fmla="*/ 299395 h 2546032"/>
                <a:gd name="connsiteX190" fmla="*/ 1156216 w 1504473"/>
                <a:gd name="connsiteY190" fmla="*/ 256961 h 2546032"/>
                <a:gd name="connsiteX191" fmla="*/ 1168646 w 1504473"/>
                <a:gd name="connsiteY191" fmla="*/ 173379 h 2546032"/>
                <a:gd name="connsiteX192" fmla="*/ 1169075 w 1504473"/>
                <a:gd name="connsiteY192" fmla="*/ 171664 h 2546032"/>
                <a:gd name="connsiteX193" fmla="*/ 1110782 w 1504473"/>
                <a:gd name="connsiteY193" fmla="*/ 169950 h 2546032"/>
                <a:gd name="connsiteX194" fmla="*/ 1106067 w 1504473"/>
                <a:gd name="connsiteY194" fmla="*/ 164378 h 2546032"/>
                <a:gd name="connsiteX195" fmla="*/ 1051203 w 1504473"/>
                <a:gd name="connsiteY195" fmla="*/ 163949 h 2546032"/>
                <a:gd name="connsiteX196" fmla="*/ 1043059 w 1504473"/>
                <a:gd name="connsiteY196" fmla="*/ 163949 h 2546032"/>
                <a:gd name="connsiteX197" fmla="*/ 880182 w 1504473"/>
                <a:gd name="connsiteY197" fmla="*/ 3215 h 2546032"/>
                <a:gd name="connsiteX198" fmla="*/ 776454 w 1504473"/>
                <a:gd name="connsiteY198" fmla="*/ 3215 h 2546032"/>
                <a:gd name="connsiteX199" fmla="*/ 774740 w 1504473"/>
                <a:gd name="connsiteY199" fmla="*/ 14359 h 2546032"/>
                <a:gd name="connsiteX200" fmla="*/ 771740 w 1504473"/>
                <a:gd name="connsiteY200" fmla="*/ 28504 h 2546032"/>
                <a:gd name="connsiteX201" fmla="*/ 861751 w 1504473"/>
                <a:gd name="connsiteY201" fmla="*/ 28504 h 2546032"/>
                <a:gd name="connsiteX202" fmla="*/ 869895 w 1504473"/>
                <a:gd name="connsiteY202" fmla="*/ 28504 h 2546032"/>
                <a:gd name="connsiteX203" fmla="*/ 1057204 w 1504473"/>
                <a:gd name="connsiteY203" fmla="*/ 215384 h 2546032"/>
                <a:gd name="connsiteX204" fmla="*/ 1062776 w 1504473"/>
                <a:gd name="connsiteY204" fmla="*/ 231672 h 2546032"/>
                <a:gd name="connsiteX205" fmla="*/ 1055489 w 1504473"/>
                <a:gd name="connsiteY205" fmla="*/ 283107 h 2546032"/>
                <a:gd name="connsiteX206" fmla="*/ 995053 w 1504473"/>
                <a:gd name="connsiteY206" fmla="*/ 283107 h 2546032"/>
                <a:gd name="connsiteX207" fmla="*/ 994625 w 1504473"/>
                <a:gd name="connsiteY207" fmla="*/ 222242 h 2546032"/>
                <a:gd name="connsiteX208" fmla="*/ 1002340 w 1504473"/>
                <a:gd name="connsiteY208" fmla="*/ 215813 h 2546032"/>
                <a:gd name="connsiteX209" fmla="*/ 853607 w 1504473"/>
                <a:gd name="connsiteY209" fmla="*/ 67080 h 2546032"/>
                <a:gd name="connsiteX210" fmla="*/ 758881 w 1504473"/>
                <a:gd name="connsiteY210" fmla="*/ 67080 h 2546032"/>
                <a:gd name="connsiteX211" fmla="*/ 746879 w 1504473"/>
                <a:gd name="connsiteY211" fmla="*/ 89797 h 2546032"/>
                <a:gd name="connsiteX212" fmla="*/ 742593 w 1504473"/>
                <a:gd name="connsiteY212" fmla="*/ 95798 h 2546032"/>
                <a:gd name="connsiteX213" fmla="*/ 844177 w 1504473"/>
                <a:gd name="connsiteY213" fmla="*/ 95798 h 2546032"/>
                <a:gd name="connsiteX214" fmla="*/ 848035 w 1504473"/>
                <a:gd name="connsiteY214" fmla="*/ 95798 h 2546032"/>
                <a:gd name="connsiteX215" fmla="*/ 958191 w 1504473"/>
                <a:gd name="connsiteY215" fmla="*/ 205954 h 2546032"/>
                <a:gd name="connsiteX216" fmla="*/ 958191 w 1504473"/>
                <a:gd name="connsiteY216" fmla="*/ 209812 h 2546032"/>
                <a:gd name="connsiteX217" fmla="*/ 958191 w 1504473"/>
                <a:gd name="connsiteY217" fmla="*/ 369260 h 2546032"/>
                <a:gd name="connsiteX218" fmla="*/ 1120212 w 1504473"/>
                <a:gd name="connsiteY218" fmla="*/ 531281 h 2546032"/>
                <a:gd name="connsiteX219" fmla="*/ 1167360 w 1504473"/>
                <a:gd name="connsiteY219" fmla="*/ 530852 h 2546032"/>
                <a:gd name="connsiteX220" fmla="*/ 1171647 w 1504473"/>
                <a:gd name="connsiteY220" fmla="*/ 530852 h 2546032"/>
                <a:gd name="connsiteX221" fmla="*/ 1250514 w 1504473"/>
                <a:gd name="connsiteY221" fmla="*/ 609719 h 2546032"/>
                <a:gd name="connsiteX222" fmla="*/ 1250514 w 1504473"/>
                <a:gd name="connsiteY222" fmla="*/ 613577 h 2546032"/>
                <a:gd name="connsiteX223" fmla="*/ 1250514 w 1504473"/>
                <a:gd name="connsiteY223" fmla="*/ 659868 h 2546032"/>
                <a:gd name="connsiteX224" fmla="*/ 1250514 w 1504473"/>
                <a:gd name="connsiteY224" fmla="*/ 664154 h 2546032"/>
                <a:gd name="connsiteX225" fmla="*/ 1160931 w 1504473"/>
                <a:gd name="connsiteY225" fmla="*/ 753737 h 2546032"/>
                <a:gd name="connsiteX226" fmla="*/ 1156645 w 1504473"/>
                <a:gd name="connsiteY226" fmla="*/ 753737 h 2546032"/>
                <a:gd name="connsiteX227" fmla="*/ 1068348 w 1504473"/>
                <a:gd name="connsiteY227" fmla="*/ 753737 h 2546032"/>
                <a:gd name="connsiteX228" fmla="*/ 1055918 w 1504473"/>
                <a:gd name="connsiteY228" fmla="*/ 785027 h 2546032"/>
                <a:gd name="connsiteX229" fmla="*/ 995053 w 1504473"/>
                <a:gd name="connsiteY229" fmla="*/ 784598 h 2546032"/>
                <a:gd name="connsiteX230" fmla="*/ 995053 w 1504473"/>
                <a:gd name="connsiteY230" fmla="*/ 724162 h 2546032"/>
                <a:gd name="connsiteX231" fmla="*/ 1055489 w 1504473"/>
                <a:gd name="connsiteY231" fmla="*/ 723733 h 2546032"/>
                <a:gd name="connsiteX232" fmla="*/ 1062776 w 1504473"/>
                <a:gd name="connsiteY232" fmla="*/ 733592 h 2546032"/>
                <a:gd name="connsiteX233" fmla="*/ 1152359 w 1504473"/>
                <a:gd name="connsiteY233" fmla="*/ 733592 h 2546032"/>
                <a:gd name="connsiteX234" fmla="*/ 1230368 w 1504473"/>
                <a:gd name="connsiteY234" fmla="*/ 655582 h 2546032"/>
                <a:gd name="connsiteX235" fmla="*/ 1230797 w 1504473"/>
                <a:gd name="connsiteY235" fmla="*/ 617434 h 2546032"/>
                <a:gd name="connsiteX236" fmla="*/ 1163074 w 1504473"/>
                <a:gd name="connsiteY236" fmla="*/ 551426 h 2546032"/>
                <a:gd name="connsiteX237" fmla="*/ 1115497 w 1504473"/>
                <a:gd name="connsiteY237" fmla="*/ 551426 h 2546032"/>
                <a:gd name="connsiteX238" fmla="*/ 1111211 w 1504473"/>
                <a:gd name="connsiteY238" fmla="*/ 550997 h 2546032"/>
                <a:gd name="connsiteX239" fmla="*/ 938475 w 1504473"/>
                <a:gd name="connsiteY239" fmla="*/ 378262 h 2546032"/>
                <a:gd name="connsiteX240" fmla="*/ 938475 w 1504473"/>
                <a:gd name="connsiteY240" fmla="*/ 374404 h 2546032"/>
                <a:gd name="connsiteX241" fmla="*/ 938475 w 1504473"/>
                <a:gd name="connsiteY241" fmla="*/ 214955 h 2546032"/>
                <a:gd name="connsiteX242" fmla="*/ 839891 w 1504473"/>
                <a:gd name="connsiteY242" fmla="*/ 116372 h 2546032"/>
                <a:gd name="connsiteX243" fmla="*/ 722876 w 1504473"/>
                <a:gd name="connsiteY243" fmla="*/ 116372 h 2546032"/>
                <a:gd name="connsiteX244" fmla="*/ 692444 w 1504473"/>
                <a:gd name="connsiteY244" fmla="*/ 142089 h 2546032"/>
                <a:gd name="connsiteX245" fmla="*/ 831318 w 1504473"/>
                <a:gd name="connsiteY245" fmla="*/ 142089 h 2546032"/>
                <a:gd name="connsiteX246" fmla="*/ 835605 w 1504473"/>
                <a:gd name="connsiteY246" fmla="*/ 142518 h 2546032"/>
                <a:gd name="connsiteX247" fmla="*/ 914900 w 1504473"/>
                <a:gd name="connsiteY247" fmla="*/ 221813 h 2546032"/>
                <a:gd name="connsiteX248" fmla="*/ 914900 w 1504473"/>
                <a:gd name="connsiteY248" fmla="*/ 393263 h 2546032"/>
                <a:gd name="connsiteX249" fmla="*/ 1126212 w 1504473"/>
                <a:gd name="connsiteY249" fmla="*/ 604576 h 2546032"/>
                <a:gd name="connsiteX250" fmla="*/ 1175504 w 1504473"/>
                <a:gd name="connsiteY250" fmla="*/ 612291 h 2546032"/>
                <a:gd name="connsiteX251" fmla="*/ 1175504 w 1504473"/>
                <a:gd name="connsiteY251" fmla="*/ 673156 h 2546032"/>
                <a:gd name="connsiteX252" fmla="*/ 1114640 w 1504473"/>
                <a:gd name="connsiteY252" fmla="*/ 673156 h 2546032"/>
                <a:gd name="connsiteX253" fmla="*/ 1110782 w 1504473"/>
                <a:gd name="connsiteY253" fmla="*/ 617434 h 2546032"/>
                <a:gd name="connsiteX254" fmla="*/ 894755 w 1504473"/>
                <a:gd name="connsiteY254" fmla="*/ 401407 h 2546032"/>
                <a:gd name="connsiteX255" fmla="*/ 894755 w 1504473"/>
                <a:gd name="connsiteY255" fmla="*/ 397550 h 2546032"/>
                <a:gd name="connsiteX256" fmla="*/ 895183 w 1504473"/>
                <a:gd name="connsiteY256" fmla="*/ 229957 h 2546032"/>
                <a:gd name="connsiteX257" fmla="*/ 827461 w 1504473"/>
                <a:gd name="connsiteY257" fmla="*/ 162235 h 2546032"/>
                <a:gd name="connsiteX258" fmla="*/ 674013 w 1504473"/>
                <a:gd name="connsiteY258" fmla="*/ 162235 h 2546032"/>
                <a:gd name="connsiteX259" fmla="*/ 657297 w 1504473"/>
                <a:gd name="connsiteY259" fmla="*/ 179380 h 2546032"/>
                <a:gd name="connsiteX260" fmla="*/ 820603 w 1504473"/>
                <a:gd name="connsiteY260" fmla="*/ 179380 h 2546032"/>
                <a:gd name="connsiteX261" fmla="*/ 824889 w 1504473"/>
                <a:gd name="connsiteY261" fmla="*/ 178951 h 2546032"/>
                <a:gd name="connsiteX262" fmla="*/ 878467 w 1504473"/>
                <a:gd name="connsiteY262" fmla="*/ 232529 h 2546032"/>
                <a:gd name="connsiteX263" fmla="*/ 878038 w 1504473"/>
                <a:gd name="connsiteY263" fmla="*/ 236387 h 2546032"/>
                <a:gd name="connsiteX264" fmla="*/ 878038 w 1504473"/>
                <a:gd name="connsiteY264" fmla="*/ 310110 h 2546032"/>
                <a:gd name="connsiteX265" fmla="*/ 878467 w 1504473"/>
                <a:gd name="connsiteY265" fmla="*/ 314396 h 2546032"/>
                <a:gd name="connsiteX266" fmla="*/ 819745 w 1504473"/>
                <a:gd name="connsiteY266" fmla="*/ 373118 h 2546032"/>
                <a:gd name="connsiteX267" fmla="*/ 819745 w 1504473"/>
                <a:gd name="connsiteY267" fmla="*/ 421124 h 2546032"/>
                <a:gd name="connsiteX268" fmla="*/ 908471 w 1504473"/>
                <a:gd name="connsiteY268" fmla="*/ 509849 h 2546032"/>
                <a:gd name="connsiteX269" fmla="*/ 908042 w 1504473"/>
                <a:gd name="connsiteY269" fmla="*/ 513707 h 2546032"/>
                <a:gd name="connsiteX270" fmla="*/ 908042 w 1504473"/>
                <a:gd name="connsiteY270" fmla="*/ 595574 h 2546032"/>
                <a:gd name="connsiteX271" fmla="*/ 932474 w 1504473"/>
                <a:gd name="connsiteY271" fmla="*/ 607147 h 2546032"/>
                <a:gd name="connsiteX272" fmla="*/ 932474 w 1504473"/>
                <a:gd name="connsiteY272" fmla="*/ 668012 h 2546032"/>
                <a:gd name="connsiteX273" fmla="*/ 871609 w 1504473"/>
                <a:gd name="connsiteY273" fmla="*/ 668012 h 2546032"/>
                <a:gd name="connsiteX274" fmla="*/ 872038 w 1504473"/>
                <a:gd name="connsiteY274" fmla="*/ 607147 h 2546032"/>
                <a:gd name="connsiteX275" fmla="*/ 888325 w 1504473"/>
                <a:gd name="connsiteY275" fmla="*/ 597289 h 2546032"/>
                <a:gd name="connsiteX276" fmla="*/ 888325 w 1504473"/>
                <a:gd name="connsiteY276" fmla="*/ 517565 h 2546032"/>
                <a:gd name="connsiteX277" fmla="*/ 800029 w 1504473"/>
                <a:gd name="connsiteY277" fmla="*/ 429268 h 2546032"/>
                <a:gd name="connsiteX278" fmla="*/ 799600 w 1504473"/>
                <a:gd name="connsiteY278" fmla="*/ 424982 h 2546032"/>
                <a:gd name="connsiteX279" fmla="*/ 800029 w 1504473"/>
                <a:gd name="connsiteY279" fmla="*/ 368403 h 2546032"/>
                <a:gd name="connsiteX280" fmla="*/ 800029 w 1504473"/>
                <a:gd name="connsiteY280" fmla="*/ 364117 h 2546032"/>
                <a:gd name="connsiteX281" fmla="*/ 858750 w 1504473"/>
                <a:gd name="connsiteY281" fmla="*/ 305395 h 2546032"/>
                <a:gd name="connsiteX282" fmla="*/ 858750 w 1504473"/>
                <a:gd name="connsiteY282" fmla="*/ 239816 h 2546032"/>
                <a:gd name="connsiteX283" fmla="*/ 816745 w 1504473"/>
                <a:gd name="connsiteY283" fmla="*/ 197810 h 2546032"/>
                <a:gd name="connsiteX284" fmla="*/ 638008 w 1504473"/>
                <a:gd name="connsiteY284" fmla="*/ 197810 h 2546032"/>
                <a:gd name="connsiteX285" fmla="*/ 581001 w 1504473"/>
                <a:gd name="connsiteY285" fmla="*/ 255675 h 2546032"/>
                <a:gd name="connsiteX286" fmla="*/ 738735 w 1504473"/>
                <a:gd name="connsiteY286" fmla="*/ 255246 h 2546032"/>
                <a:gd name="connsiteX287" fmla="*/ 746879 w 1504473"/>
                <a:gd name="connsiteY287" fmla="*/ 243673 h 2546032"/>
                <a:gd name="connsiteX288" fmla="*/ 807315 w 1504473"/>
                <a:gd name="connsiteY288" fmla="*/ 243673 h 2546032"/>
                <a:gd name="connsiteX289" fmla="*/ 807744 w 1504473"/>
                <a:gd name="connsiteY289" fmla="*/ 304538 h 2546032"/>
                <a:gd name="connsiteX290" fmla="*/ 746879 w 1504473"/>
                <a:gd name="connsiteY290" fmla="*/ 304109 h 2546032"/>
                <a:gd name="connsiteX291" fmla="*/ 734449 w 1504473"/>
                <a:gd name="connsiteY291" fmla="*/ 274963 h 2546032"/>
                <a:gd name="connsiteX292" fmla="*/ 561713 w 1504473"/>
                <a:gd name="connsiteY292" fmla="*/ 274963 h 2546032"/>
                <a:gd name="connsiteX293" fmla="*/ 549283 w 1504473"/>
                <a:gd name="connsiteY293" fmla="*/ 287393 h 2546032"/>
                <a:gd name="connsiteX294" fmla="*/ 686443 w 1504473"/>
                <a:gd name="connsiteY294" fmla="*/ 287393 h 2546032"/>
                <a:gd name="connsiteX295" fmla="*/ 690729 w 1504473"/>
                <a:gd name="connsiteY295" fmla="*/ 287822 h 2546032"/>
                <a:gd name="connsiteX296" fmla="*/ 754594 w 1504473"/>
                <a:gd name="connsiteY296" fmla="*/ 351687 h 2546032"/>
                <a:gd name="connsiteX297" fmla="*/ 755023 w 1504473"/>
                <a:gd name="connsiteY297" fmla="*/ 355973 h 2546032"/>
                <a:gd name="connsiteX298" fmla="*/ 755023 w 1504473"/>
                <a:gd name="connsiteY298" fmla="*/ 475559 h 2546032"/>
                <a:gd name="connsiteX299" fmla="*/ 761452 w 1504473"/>
                <a:gd name="connsiteY299" fmla="*/ 481989 h 2546032"/>
                <a:gd name="connsiteX300" fmla="*/ 815459 w 1504473"/>
                <a:gd name="connsiteY300" fmla="*/ 487132 h 2546032"/>
                <a:gd name="connsiteX301" fmla="*/ 815459 w 1504473"/>
                <a:gd name="connsiteY301" fmla="*/ 547997 h 2546032"/>
                <a:gd name="connsiteX302" fmla="*/ 755023 w 1504473"/>
                <a:gd name="connsiteY302" fmla="*/ 547997 h 2546032"/>
                <a:gd name="connsiteX303" fmla="*/ 748165 w 1504473"/>
                <a:gd name="connsiteY303" fmla="*/ 496562 h 2546032"/>
                <a:gd name="connsiteX304" fmla="*/ 735735 w 1504473"/>
                <a:gd name="connsiteY304" fmla="*/ 484132 h 2546032"/>
                <a:gd name="connsiteX305" fmla="*/ 735735 w 1504473"/>
                <a:gd name="connsiteY305" fmla="*/ 479846 h 2546032"/>
                <a:gd name="connsiteX306" fmla="*/ 735735 w 1504473"/>
                <a:gd name="connsiteY306" fmla="*/ 361117 h 2546032"/>
                <a:gd name="connsiteX307" fmla="*/ 683014 w 1504473"/>
                <a:gd name="connsiteY307" fmla="*/ 308396 h 2546032"/>
                <a:gd name="connsiteX308" fmla="*/ 538139 w 1504473"/>
                <a:gd name="connsiteY308" fmla="*/ 308396 h 2546032"/>
                <a:gd name="connsiteX309" fmla="*/ 533853 w 1504473"/>
                <a:gd name="connsiteY309" fmla="*/ 307967 h 2546032"/>
                <a:gd name="connsiteX310" fmla="*/ 532138 w 1504473"/>
                <a:gd name="connsiteY310" fmla="*/ 306253 h 2546032"/>
                <a:gd name="connsiteX311" fmla="*/ 523994 w 1504473"/>
                <a:gd name="connsiteY311" fmla="*/ 314396 h 2546032"/>
                <a:gd name="connsiteX312" fmla="*/ 589145 w 1504473"/>
                <a:gd name="connsiteY312" fmla="*/ 379547 h 2546032"/>
                <a:gd name="connsiteX313" fmla="*/ 623007 w 1504473"/>
                <a:gd name="connsiteY313" fmla="*/ 379547 h 2546032"/>
                <a:gd name="connsiteX314" fmla="*/ 634151 w 1504473"/>
                <a:gd name="connsiteY314" fmla="*/ 358116 h 2546032"/>
                <a:gd name="connsiteX315" fmla="*/ 694587 w 1504473"/>
                <a:gd name="connsiteY315" fmla="*/ 358116 h 2546032"/>
                <a:gd name="connsiteX316" fmla="*/ 695016 w 1504473"/>
                <a:gd name="connsiteY316" fmla="*/ 418981 h 2546032"/>
                <a:gd name="connsiteX317" fmla="*/ 634151 w 1504473"/>
                <a:gd name="connsiteY317" fmla="*/ 418981 h 2546032"/>
                <a:gd name="connsiteX318" fmla="*/ 623435 w 1504473"/>
                <a:gd name="connsiteY318" fmla="*/ 399264 h 2546032"/>
                <a:gd name="connsiteX319" fmla="*/ 581430 w 1504473"/>
                <a:gd name="connsiteY319" fmla="*/ 399264 h 2546032"/>
                <a:gd name="connsiteX320" fmla="*/ 508135 w 1504473"/>
                <a:gd name="connsiteY320" fmla="*/ 327684 h 2546032"/>
                <a:gd name="connsiteX321" fmla="*/ 496562 w 1504473"/>
                <a:gd name="connsiteY321" fmla="*/ 339257 h 2546032"/>
                <a:gd name="connsiteX322" fmla="*/ 487561 w 1504473"/>
                <a:gd name="connsiteY322" fmla="*/ 347829 h 2546032"/>
                <a:gd name="connsiteX323" fmla="*/ 947904 w 1504473"/>
                <a:gd name="connsiteY323" fmla="*/ 807744 h 2546032"/>
                <a:gd name="connsiteX324" fmla="*/ 947904 w 1504473"/>
                <a:gd name="connsiteY324" fmla="*/ 818031 h 2546032"/>
                <a:gd name="connsiteX325" fmla="*/ 947904 w 1504473"/>
                <a:gd name="connsiteY325" fmla="*/ 1055918 h 2546032"/>
                <a:gd name="connsiteX326" fmla="*/ 989481 w 1504473"/>
                <a:gd name="connsiteY326" fmla="*/ 1097494 h 2546032"/>
                <a:gd name="connsiteX327" fmla="*/ 1207651 w 1504473"/>
                <a:gd name="connsiteY327" fmla="*/ 1097066 h 2546032"/>
                <a:gd name="connsiteX328" fmla="*/ 1281803 w 1504473"/>
                <a:gd name="connsiteY328" fmla="*/ 1022914 h 2546032"/>
                <a:gd name="connsiteX329" fmla="*/ 1290804 w 1504473"/>
                <a:gd name="connsiteY329" fmla="*/ 1040059 h 2546032"/>
                <a:gd name="connsiteX330" fmla="*/ 1309235 w 1504473"/>
                <a:gd name="connsiteY330" fmla="*/ 1064919 h 2546032"/>
                <a:gd name="connsiteX331" fmla="*/ 1228225 w 1504473"/>
                <a:gd name="connsiteY331" fmla="*/ 1145929 h 2546032"/>
                <a:gd name="connsiteX332" fmla="*/ 1218367 w 1504473"/>
                <a:gd name="connsiteY332" fmla="*/ 1145929 h 2546032"/>
                <a:gd name="connsiteX333" fmla="*/ 979194 w 1504473"/>
                <a:gd name="connsiteY333" fmla="*/ 1145929 h 2546032"/>
                <a:gd name="connsiteX334" fmla="*/ 968907 w 1504473"/>
                <a:gd name="connsiteY334" fmla="*/ 1145929 h 2546032"/>
                <a:gd name="connsiteX335" fmla="*/ 898184 w 1504473"/>
                <a:gd name="connsiteY335" fmla="*/ 1075206 h 2546032"/>
                <a:gd name="connsiteX336" fmla="*/ 898184 w 1504473"/>
                <a:gd name="connsiteY336" fmla="*/ 1064919 h 2546032"/>
                <a:gd name="connsiteX337" fmla="*/ 898612 w 1504473"/>
                <a:gd name="connsiteY337" fmla="*/ 827032 h 2546032"/>
                <a:gd name="connsiteX338" fmla="*/ 452414 w 1504473"/>
                <a:gd name="connsiteY338" fmla="*/ 381691 h 2546032"/>
                <a:gd name="connsiteX339" fmla="*/ 420696 w 1504473"/>
                <a:gd name="connsiteY339" fmla="*/ 409551 h 2546032"/>
                <a:gd name="connsiteX340" fmla="*/ 414695 w 1504473"/>
                <a:gd name="connsiteY340" fmla="*/ 412980 h 2546032"/>
                <a:gd name="connsiteX341" fmla="*/ 816316 w 1504473"/>
                <a:gd name="connsiteY341" fmla="*/ 814602 h 2546032"/>
                <a:gd name="connsiteX342" fmla="*/ 816745 w 1504473"/>
                <a:gd name="connsiteY342" fmla="*/ 822746 h 2546032"/>
                <a:gd name="connsiteX343" fmla="*/ 816745 w 1504473"/>
                <a:gd name="connsiteY343" fmla="*/ 978765 h 2546032"/>
                <a:gd name="connsiteX344" fmla="*/ 812459 w 1504473"/>
                <a:gd name="connsiteY344" fmla="*/ 1034486 h 2546032"/>
                <a:gd name="connsiteX345" fmla="*/ 752023 w 1504473"/>
                <a:gd name="connsiteY345" fmla="*/ 1034486 h 2546032"/>
                <a:gd name="connsiteX346" fmla="*/ 752023 w 1504473"/>
                <a:gd name="connsiteY346" fmla="*/ 974050 h 2546032"/>
                <a:gd name="connsiteX347" fmla="*/ 777312 w 1504473"/>
                <a:gd name="connsiteY347" fmla="*/ 962049 h 2546032"/>
                <a:gd name="connsiteX348" fmla="*/ 777312 w 1504473"/>
                <a:gd name="connsiteY348" fmla="*/ 830890 h 2546032"/>
                <a:gd name="connsiteX349" fmla="*/ 358973 w 1504473"/>
                <a:gd name="connsiteY349" fmla="*/ 412552 h 2546032"/>
                <a:gd name="connsiteX350" fmla="*/ 341400 w 1504473"/>
                <a:gd name="connsiteY350" fmla="*/ 413837 h 2546032"/>
                <a:gd name="connsiteX351" fmla="*/ 553998 w 1504473"/>
                <a:gd name="connsiteY351" fmla="*/ 626436 h 2546032"/>
                <a:gd name="connsiteX352" fmla="*/ 553998 w 1504473"/>
                <a:gd name="connsiteY352" fmla="*/ 630293 h 2546032"/>
                <a:gd name="connsiteX353" fmla="*/ 553569 w 1504473"/>
                <a:gd name="connsiteY353" fmla="*/ 719447 h 2546032"/>
                <a:gd name="connsiteX354" fmla="*/ 569857 w 1504473"/>
                <a:gd name="connsiteY354" fmla="*/ 729306 h 2546032"/>
                <a:gd name="connsiteX355" fmla="*/ 569857 w 1504473"/>
                <a:gd name="connsiteY355" fmla="*/ 790170 h 2546032"/>
                <a:gd name="connsiteX356" fmla="*/ 508992 w 1504473"/>
                <a:gd name="connsiteY356" fmla="*/ 790170 h 2546032"/>
                <a:gd name="connsiteX357" fmla="*/ 508992 w 1504473"/>
                <a:gd name="connsiteY357" fmla="*/ 729734 h 2546032"/>
                <a:gd name="connsiteX358" fmla="*/ 533853 w 1504473"/>
                <a:gd name="connsiteY358" fmla="*/ 717733 h 2546032"/>
                <a:gd name="connsiteX359" fmla="*/ 533853 w 1504473"/>
                <a:gd name="connsiteY359" fmla="*/ 634579 h 2546032"/>
                <a:gd name="connsiteX360" fmla="*/ 316111 w 1504473"/>
                <a:gd name="connsiteY360" fmla="*/ 416838 h 2546032"/>
                <a:gd name="connsiteX361" fmla="*/ 240673 w 1504473"/>
                <a:gd name="connsiteY361" fmla="*/ 442555 h 2546032"/>
                <a:gd name="connsiteX362" fmla="*/ 237244 w 1504473"/>
                <a:gd name="connsiteY362" fmla="*/ 444698 h 2546032"/>
                <a:gd name="connsiteX363" fmla="*/ 391549 w 1504473"/>
                <a:gd name="connsiteY363" fmla="*/ 599003 h 2546032"/>
                <a:gd name="connsiteX364" fmla="*/ 443841 w 1504473"/>
                <a:gd name="connsiteY364" fmla="*/ 605433 h 2546032"/>
                <a:gd name="connsiteX365" fmla="*/ 444270 w 1504473"/>
                <a:gd name="connsiteY365" fmla="*/ 666298 h 2546032"/>
                <a:gd name="connsiteX366" fmla="*/ 383405 w 1504473"/>
                <a:gd name="connsiteY366" fmla="*/ 665869 h 2546032"/>
                <a:gd name="connsiteX367" fmla="*/ 377833 w 1504473"/>
                <a:gd name="connsiteY367" fmla="*/ 612719 h 2546032"/>
                <a:gd name="connsiteX368" fmla="*/ 221385 w 1504473"/>
                <a:gd name="connsiteY368" fmla="*/ 456271 h 2546032"/>
                <a:gd name="connsiteX369" fmla="*/ 167378 w 1504473"/>
                <a:gd name="connsiteY369" fmla="*/ 496991 h 2546032"/>
                <a:gd name="connsiteX370" fmla="*/ 527852 w 1504473"/>
                <a:gd name="connsiteY370" fmla="*/ 857464 h 2546032"/>
                <a:gd name="connsiteX371" fmla="*/ 622149 w 1504473"/>
                <a:gd name="connsiteY371" fmla="*/ 857036 h 2546032"/>
                <a:gd name="connsiteX372" fmla="*/ 628150 w 1504473"/>
                <a:gd name="connsiteY372" fmla="*/ 849749 h 2546032"/>
                <a:gd name="connsiteX373" fmla="*/ 688586 w 1504473"/>
                <a:gd name="connsiteY373" fmla="*/ 849749 h 2546032"/>
                <a:gd name="connsiteX374" fmla="*/ 688586 w 1504473"/>
                <a:gd name="connsiteY374" fmla="*/ 910614 h 2546032"/>
                <a:gd name="connsiteX375" fmla="*/ 628150 w 1504473"/>
                <a:gd name="connsiteY375" fmla="*/ 910614 h 2546032"/>
                <a:gd name="connsiteX376" fmla="*/ 615720 w 1504473"/>
                <a:gd name="connsiteY376" fmla="*/ 877181 h 2546032"/>
                <a:gd name="connsiteX377" fmla="*/ 523566 w 1504473"/>
                <a:gd name="connsiteY377" fmla="*/ 877610 h 2546032"/>
                <a:gd name="connsiteX378" fmla="*/ 519708 w 1504473"/>
                <a:gd name="connsiteY378" fmla="*/ 877181 h 2546032"/>
                <a:gd name="connsiteX379" fmla="*/ 152376 w 1504473"/>
                <a:gd name="connsiteY379" fmla="*/ 509849 h 2546032"/>
                <a:gd name="connsiteX380" fmla="*/ 113800 w 1504473"/>
                <a:gd name="connsiteY380" fmla="*/ 547568 h 2546032"/>
                <a:gd name="connsiteX381" fmla="*/ 116372 w 1504473"/>
                <a:gd name="connsiteY381" fmla="*/ 547568 h 2546032"/>
                <a:gd name="connsiteX382" fmla="*/ 128802 w 1504473"/>
                <a:gd name="connsiteY382" fmla="*/ 547997 h 2546032"/>
                <a:gd name="connsiteX383" fmla="*/ 289965 w 1504473"/>
                <a:gd name="connsiteY383" fmla="*/ 709160 h 2546032"/>
                <a:gd name="connsiteX384" fmla="*/ 330684 w 1504473"/>
                <a:gd name="connsiteY384" fmla="*/ 720304 h 2546032"/>
                <a:gd name="connsiteX385" fmla="*/ 331113 w 1504473"/>
                <a:gd name="connsiteY385" fmla="*/ 781169 h 2546032"/>
                <a:gd name="connsiteX386" fmla="*/ 270248 w 1504473"/>
                <a:gd name="connsiteY386" fmla="*/ 780741 h 2546032"/>
                <a:gd name="connsiteX387" fmla="*/ 259532 w 1504473"/>
                <a:gd name="connsiteY387" fmla="*/ 761881 h 2546032"/>
                <a:gd name="connsiteX388" fmla="*/ 104799 w 1504473"/>
                <a:gd name="connsiteY388" fmla="*/ 607147 h 2546032"/>
                <a:gd name="connsiteX389" fmla="*/ 66651 w 1504473"/>
                <a:gd name="connsiteY389" fmla="*/ 607147 h 2546032"/>
                <a:gd name="connsiteX390" fmla="*/ 29361 w 1504473"/>
                <a:gd name="connsiteY390" fmla="*/ 669298 h 2546032"/>
                <a:gd name="connsiteX391" fmla="*/ 88940 w 1504473"/>
                <a:gd name="connsiteY391" fmla="*/ 669298 h 2546032"/>
                <a:gd name="connsiteX392" fmla="*/ 93226 w 1504473"/>
                <a:gd name="connsiteY392" fmla="*/ 669727 h 2546032"/>
                <a:gd name="connsiteX393" fmla="*/ 268962 w 1504473"/>
                <a:gd name="connsiteY393" fmla="*/ 845463 h 2546032"/>
                <a:gd name="connsiteX394" fmla="*/ 395835 w 1504473"/>
                <a:gd name="connsiteY394" fmla="*/ 845463 h 2546032"/>
                <a:gd name="connsiteX395" fmla="*/ 451128 w 1504473"/>
                <a:gd name="connsiteY395" fmla="*/ 849749 h 2546032"/>
                <a:gd name="connsiteX396" fmla="*/ 451128 w 1504473"/>
                <a:gd name="connsiteY396" fmla="*/ 910185 h 2546032"/>
                <a:gd name="connsiteX397" fmla="*/ 390263 w 1504473"/>
                <a:gd name="connsiteY397" fmla="*/ 910185 h 2546032"/>
                <a:gd name="connsiteX398" fmla="*/ 380405 w 1504473"/>
                <a:gd name="connsiteY398" fmla="*/ 865180 h 2546032"/>
                <a:gd name="connsiteX399" fmla="*/ 263819 w 1504473"/>
                <a:gd name="connsiteY399" fmla="*/ 865180 h 2546032"/>
                <a:gd name="connsiteX400" fmla="*/ 259961 w 1504473"/>
                <a:gd name="connsiteY400" fmla="*/ 865180 h 2546032"/>
                <a:gd name="connsiteX401" fmla="*/ 83796 w 1504473"/>
                <a:gd name="connsiteY401" fmla="*/ 689015 h 2546032"/>
                <a:gd name="connsiteX402" fmla="*/ 19502 w 1504473"/>
                <a:gd name="connsiteY402" fmla="*/ 689015 h 2546032"/>
                <a:gd name="connsiteX403" fmla="*/ 13930 w 1504473"/>
                <a:gd name="connsiteY403" fmla="*/ 741307 h 2546032"/>
                <a:gd name="connsiteX404" fmla="*/ 87225 w 1504473"/>
                <a:gd name="connsiteY404" fmla="*/ 741307 h 2546032"/>
                <a:gd name="connsiteX405" fmla="*/ 93226 w 1504473"/>
                <a:gd name="connsiteY405" fmla="*/ 741307 h 2546032"/>
                <a:gd name="connsiteX406" fmla="*/ 253103 w 1504473"/>
                <a:gd name="connsiteY406" fmla="*/ 901184 h 2546032"/>
                <a:gd name="connsiteX407" fmla="*/ 344400 w 1504473"/>
                <a:gd name="connsiteY407" fmla="*/ 901184 h 2546032"/>
                <a:gd name="connsiteX408" fmla="*/ 350401 w 1504473"/>
                <a:gd name="connsiteY408" fmla="*/ 901184 h 2546032"/>
                <a:gd name="connsiteX409" fmla="*/ 426268 w 1504473"/>
                <a:gd name="connsiteY409" fmla="*/ 977051 h 2546032"/>
                <a:gd name="connsiteX410" fmla="*/ 502134 w 1504473"/>
                <a:gd name="connsiteY410" fmla="*/ 977051 h 2546032"/>
                <a:gd name="connsiteX411" fmla="*/ 502563 w 1504473"/>
                <a:gd name="connsiteY411" fmla="*/ 977051 h 2546032"/>
                <a:gd name="connsiteX412" fmla="*/ 508564 w 1504473"/>
                <a:gd name="connsiteY412" fmla="*/ 969336 h 2546032"/>
                <a:gd name="connsiteX413" fmla="*/ 569428 w 1504473"/>
                <a:gd name="connsiteY413" fmla="*/ 968907 h 2546032"/>
                <a:gd name="connsiteX414" fmla="*/ 569428 w 1504473"/>
                <a:gd name="connsiteY414" fmla="*/ 1029772 h 2546032"/>
                <a:gd name="connsiteX415" fmla="*/ 508564 w 1504473"/>
                <a:gd name="connsiteY415" fmla="*/ 1029772 h 2546032"/>
                <a:gd name="connsiteX416" fmla="*/ 496562 w 1504473"/>
                <a:gd name="connsiteY416" fmla="*/ 1006197 h 2546032"/>
                <a:gd name="connsiteX417" fmla="*/ 420267 w 1504473"/>
                <a:gd name="connsiteY417" fmla="*/ 1006197 h 2546032"/>
                <a:gd name="connsiteX418" fmla="*/ 414266 w 1504473"/>
                <a:gd name="connsiteY418" fmla="*/ 1006197 h 2546032"/>
                <a:gd name="connsiteX419" fmla="*/ 338400 w 1504473"/>
                <a:gd name="connsiteY419" fmla="*/ 930331 h 2546032"/>
                <a:gd name="connsiteX420" fmla="*/ 247531 w 1504473"/>
                <a:gd name="connsiteY420" fmla="*/ 930759 h 2546032"/>
                <a:gd name="connsiteX421" fmla="*/ 241102 w 1504473"/>
                <a:gd name="connsiteY421" fmla="*/ 930331 h 2546032"/>
                <a:gd name="connsiteX422" fmla="*/ 81224 w 1504473"/>
                <a:gd name="connsiteY422" fmla="*/ 770453 h 2546032"/>
                <a:gd name="connsiteX423" fmla="*/ 11359 w 1504473"/>
                <a:gd name="connsiteY423" fmla="*/ 770453 h 2546032"/>
                <a:gd name="connsiteX424" fmla="*/ 7930 w 1504473"/>
                <a:gd name="connsiteY424" fmla="*/ 816745 h 2546032"/>
                <a:gd name="connsiteX425" fmla="*/ 78653 w 1504473"/>
                <a:gd name="connsiteY425" fmla="*/ 816745 h 2546032"/>
                <a:gd name="connsiteX426" fmla="*/ 353401 w 1504473"/>
                <a:gd name="connsiteY426" fmla="*/ 1091494 h 2546032"/>
                <a:gd name="connsiteX427" fmla="*/ 629865 w 1504473"/>
                <a:gd name="connsiteY427" fmla="*/ 1091494 h 2546032"/>
                <a:gd name="connsiteX428" fmla="*/ 632436 w 1504473"/>
                <a:gd name="connsiteY428" fmla="*/ 1088493 h 2546032"/>
                <a:gd name="connsiteX429" fmla="*/ 693301 w 1504473"/>
                <a:gd name="connsiteY429" fmla="*/ 1088065 h 2546032"/>
                <a:gd name="connsiteX430" fmla="*/ 692872 w 1504473"/>
                <a:gd name="connsiteY430" fmla="*/ 1148929 h 2546032"/>
                <a:gd name="connsiteX431" fmla="*/ 632008 w 1504473"/>
                <a:gd name="connsiteY431" fmla="*/ 1148929 h 2546032"/>
                <a:gd name="connsiteX432" fmla="*/ 620006 w 1504473"/>
                <a:gd name="connsiteY432" fmla="*/ 1120640 h 2546032"/>
                <a:gd name="connsiteX433" fmla="*/ 346972 w 1504473"/>
                <a:gd name="connsiteY433" fmla="*/ 1120211 h 2546032"/>
                <a:gd name="connsiteX434" fmla="*/ 340971 w 1504473"/>
                <a:gd name="connsiteY434" fmla="*/ 1120211 h 2546032"/>
                <a:gd name="connsiteX435" fmla="*/ 66223 w 1504473"/>
                <a:gd name="connsiteY435" fmla="*/ 845463 h 2546032"/>
                <a:gd name="connsiteX436" fmla="*/ 5786 w 1504473"/>
                <a:gd name="connsiteY436" fmla="*/ 845463 h 2546032"/>
                <a:gd name="connsiteX437" fmla="*/ 4072 w 1504473"/>
                <a:gd name="connsiteY437" fmla="*/ 892183 h 2546032"/>
                <a:gd name="connsiteX438" fmla="*/ 80367 w 1504473"/>
                <a:gd name="connsiteY438" fmla="*/ 892183 h 2546032"/>
                <a:gd name="connsiteX439" fmla="*/ 86368 w 1504473"/>
                <a:gd name="connsiteY439" fmla="*/ 892183 h 2546032"/>
                <a:gd name="connsiteX440" fmla="*/ 181094 w 1504473"/>
                <a:gd name="connsiteY440" fmla="*/ 986909 h 2546032"/>
                <a:gd name="connsiteX441" fmla="*/ 178951 w 1504473"/>
                <a:gd name="connsiteY441" fmla="*/ 995482 h 2546032"/>
                <a:gd name="connsiteX442" fmla="*/ 155377 w 1504473"/>
                <a:gd name="connsiteY442" fmla="*/ 1083350 h 2546032"/>
                <a:gd name="connsiteX443" fmla="*/ 156234 w 1504473"/>
                <a:gd name="connsiteY443" fmla="*/ 1084207 h 2546032"/>
                <a:gd name="connsiteX444" fmla="*/ 214955 w 1504473"/>
                <a:gd name="connsiteY444" fmla="*/ 1085493 h 2546032"/>
                <a:gd name="connsiteX445" fmla="*/ 214955 w 1504473"/>
                <a:gd name="connsiteY445" fmla="*/ 1145929 h 2546032"/>
                <a:gd name="connsiteX446" fmla="*/ 154519 w 1504473"/>
                <a:gd name="connsiteY446" fmla="*/ 1145929 h 2546032"/>
                <a:gd name="connsiteX447" fmla="*/ 142518 w 1504473"/>
                <a:gd name="connsiteY447" fmla="*/ 1111639 h 2546032"/>
                <a:gd name="connsiteX448" fmla="*/ 122801 w 1504473"/>
                <a:gd name="connsiteY448" fmla="*/ 1091922 h 2546032"/>
                <a:gd name="connsiteX449" fmla="*/ 124944 w 1504473"/>
                <a:gd name="connsiteY449" fmla="*/ 1083778 h 2546032"/>
                <a:gd name="connsiteX450" fmla="*/ 148519 w 1504473"/>
                <a:gd name="connsiteY450" fmla="*/ 995482 h 2546032"/>
                <a:gd name="connsiteX451" fmla="*/ 74795 w 1504473"/>
                <a:gd name="connsiteY451" fmla="*/ 921758 h 2546032"/>
                <a:gd name="connsiteX452" fmla="*/ 3643 w 1504473"/>
                <a:gd name="connsiteY452" fmla="*/ 921758 h 2546032"/>
                <a:gd name="connsiteX453" fmla="*/ 3215 w 1504473"/>
                <a:gd name="connsiteY453" fmla="*/ 995053 h 2546032"/>
                <a:gd name="connsiteX454" fmla="*/ 20360 w 1504473"/>
                <a:gd name="connsiteY454" fmla="*/ 995053 h 2546032"/>
                <a:gd name="connsiteX455" fmla="*/ 32790 w 1504473"/>
                <a:gd name="connsiteY455" fmla="*/ 963335 h 2546032"/>
                <a:gd name="connsiteX456" fmla="*/ 93655 w 1504473"/>
                <a:gd name="connsiteY456" fmla="*/ 963335 h 2546032"/>
                <a:gd name="connsiteX457" fmla="*/ 93655 w 1504473"/>
                <a:gd name="connsiteY457" fmla="*/ 1024199 h 2546032"/>
                <a:gd name="connsiteX458" fmla="*/ 33218 w 1504473"/>
                <a:gd name="connsiteY458" fmla="*/ 1024199 h 2546032"/>
                <a:gd name="connsiteX459" fmla="*/ 3643 w 1504473"/>
                <a:gd name="connsiteY459" fmla="*/ 1024199 h 2546032"/>
                <a:gd name="connsiteX460" fmla="*/ 38791 w 1504473"/>
                <a:gd name="connsiteY460" fmla="*/ 1388102 h 2546032"/>
                <a:gd name="connsiteX461" fmla="*/ 51221 w 1504473"/>
                <a:gd name="connsiteY461" fmla="*/ 1375672 h 2546032"/>
                <a:gd name="connsiteX462" fmla="*/ 51221 w 1504473"/>
                <a:gd name="connsiteY462" fmla="*/ 1279660 h 2546032"/>
                <a:gd name="connsiteX463" fmla="*/ 35362 w 1504473"/>
                <a:gd name="connsiteY463" fmla="*/ 1269802 h 2546032"/>
                <a:gd name="connsiteX464" fmla="*/ 35790 w 1504473"/>
                <a:gd name="connsiteY464" fmla="*/ 1208937 h 2546032"/>
                <a:gd name="connsiteX465" fmla="*/ 96226 w 1504473"/>
                <a:gd name="connsiteY465" fmla="*/ 1208937 h 2546032"/>
                <a:gd name="connsiteX466" fmla="*/ 96226 w 1504473"/>
                <a:gd name="connsiteY466" fmla="*/ 1269802 h 2546032"/>
                <a:gd name="connsiteX467" fmla="*/ 80796 w 1504473"/>
                <a:gd name="connsiteY467" fmla="*/ 1279660 h 2546032"/>
                <a:gd name="connsiteX468" fmla="*/ 80796 w 1504473"/>
                <a:gd name="connsiteY468" fmla="*/ 1382101 h 2546032"/>
                <a:gd name="connsiteX469" fmla="*/ 80796 w 1504473"/>
                <a:gd name="connsiteY469" fmla="*/ 1388102 h 2546032"/>
                <a:gd name="connsiteX470" fmla="*/ 45220 w 1504473"/>
                <a:gd name="connsiteY470" fmla="*/ 1423678 h 2546032"/>
                <a:gd name="connsiteX471" fmla="*/ 54650 w 1504473"/>
                <a:gd name="connsiteY471" fmla="*/ 1471684 h 2546032"/>
                <a:gd name="connsiteX472" fmla="*/ 145518 w 1504473"/>
                <a:gd name="connsiteY472" fmla="*/ 1380816 h 2546032"/>
                <a:gd name="connsiteX473" fmla="*/ 156234 w 1504473"/>
                <a:gd name="connsiteY473" fmla="*/ 1338382 h 2546032"/>
                <a:gd name="connsiteX474" fmla="*/ 202097 w 1504473"/>
                <a:gd name="connsiteY474" fmla="*/ 1328523 h 2546032"/>
                <a:gd name="connsiteX475" fmla="*/ 257818 w 1504473"/>
                <a:gd name="connsiteY475" fmla="*/ 1237655 h 2546032"/>
                <a:gd name="connsiteX476" fmla="*/ 285679 w 1504473"/>
                <a:gd name="connsiteY476" fmla="*/ 1179790 h 2546032"/>
                <a:gd name="connsiteX477" fmla="*/ 1349955 w 1504473"/>
                <a:gd name="connsiteY477" fmla="*/ 1571982 h 2546032"/>
                <a:gd name="connsiteX478" fmla="*/ 1349955 w 1504473"/>
                <a:gd name="connsiteY478" fmla="*/ 1571982 h 2546032"/>
                <a:gd name="connsiteX479" fmla="*/ 1410819 w 1504473"/>
                <a:gd name="connsiteY479" fmla="*/ 1571982 h 2546032"/>
                <a:gd name="connsiteX480" fmla="*/ 1410391 w 1504473"/>
                <a:gd name="connsiteY480" fmla="*/ 1632418 h 2546032"/>
                <a:gd name="connsiteX481" fmla="*/ 1349955 w 1504473"/>
                <a:gd name="connsiteY481" fmla="*/ 1632418 h 2546032"/>
                <a:gd name="connsiteX482" fmla="*/ 1349955 w 1504473"/>
                <a:gd name="connsiteY482" fmla="*/ 1571982 h 2546032"/>
                <a:gd name="connsiteX483" fmla="*/ 1169932 w 1504473"/>
                <a:gd name="connsiteY483" fmla="*/ 900327 h 2546032"/>
                <a:gd name="connsiteX484" fmla="*/ 1109496 w 1504473"/>
                <a:gd name="connsiteY484" fmla="*/ 900327 h 2546032"/>
                <a:gd name="connsiteX485" fmla="*/ 1109067 w 1504473"/>
                <a:gd name="connsiteY485" fmla="*/ 839462 h 2546032"/>
                <a:gd name="connsiteX486" fmla="*/ 1169932 w 1504473"/>
                <a:gd name="connsiteY486" fmla="*/ 839462 h 2546032"/>
                <a:gd name="connsiteX487" fmla="*/ 1169932 w 1504473"/>
                <a:gd name="connsiteY487" fmla="*/ 900327 h 2546032"/>
                <a:gd name="connsiteX488" fmla="*/ 1289090 w 1504473"/>
                <a:gd name="connsiteY488" fmla="*/ 786313 h 2546032"/>
                <a:gd name="connsiteX489" fmla="*/ 1228225 w 1504473"/>
                <a:gd name="connsiteY489" fmla="*/ 786313 h 2546032"/>
                <a:gd name="connsiteX490" fmla="*/ 1228225 w 1504473"/>
                <a:gd name="connsiteY490" fmla="*/ 725448 h 2546032"/>
                <a:gd name="connsiteX491" fmla="*/ 1289090 w 1504473"/>
                <a:gd name="connsiteY491" fmla="*/ 725448 h 2546032"/>
                <a:gd name="connsiteX492" fmla="*/ 1289090 w 1504473"/>
                <a:gd name="connsiteY492" fmla="*/ 786313 h 2546032"/>
                <a:gd name="connsiteX493" fmla="*/ 1225653 w 1504473"/>
                <a:gd name="connsiteY493" fmla="*/ 1447681 h 2546032"/>
                <a:gd name="connsiteX494" fmla="*/ 1225653 w 1504473"/>
                <a:gd name="connsiteY494" fmla="*/ 1447681 h 2546032"/>
                <a:gd name="connsiteX495" fmla="*/ 1286518 w 1504473"/>
                <a:gd name="connsiteY495" fmla="*/ 1447681 h 2546032"/>
                <a:gd name="connsiteX496" fmla="*/ 1286947 w 1504473"/>
                <a:gd name="connsiteY496" fmla="*/ 1508546 h 2546032"/>
                <a:gd name="connsiteX497" fmla="*/ 1226082 w 1504473"/>
                <a:gd name="connsiteY497" fmla="*/ 1508117 h 2546032"/>
                <a:gd name="connsiteX498" fmla="*/ 1225653 w 1504473"/>
                <a:gd name="connsiteY498" fmla="*/ 1447681 h 2546032"/>
                <a:gd name="connsiteX499" fmla="*/ 1107782 w 1504473"/>
                <a:gd name="connsiteY499" fmla="*/ 1328095 h 2546032"/>
                <a:gd name="connsiteX500" fmla="*/ 1168218 w 1504473"/>
                <a:gd name="connsiteY500" fmla="*/ 1328095 h 2546032"/>
                <a:gd name="connsiteX501" fmla="*/ 1168218 w 1504473"/>
                <a:gd name="connsiteY501" fmla="*/ 1388959 h 2546032"/>
                <a:gd name="connsiteX502" fmla="*/ 1107353 w 1504473"/>
                <a:gd name="connsiteY502" fmla="*/ 1388959 h 2546032"/>
                <a:gd name="connsiteX503" fmla="*/ 1107782 w 1504473"/>
                <a:gd name="connsiteY503" fmla="*/ 1328095 h 2546032"/>
                <a:gd name="connsiteX504" fmla="*/ 981766 w 1504473"/>
                <a:gd name="connsiteY504" fmla="*/ 1203793 h 2546032"/>
                <a:gd name="connsiteX505" fmla="*/ 1042630 w 1504473"/>
                <a:gd name="connsiteY505" fmla="*/ 1204222 h 2546032"/>
                <a:gd name="connsiteX506" fmla="*/ 1042630 w 1504473"/>
                <a:gd name="connsiteY506" fmla="*/ 1265087 h 2546032"/>
                <a:gd name="connsiteX507" fmla="*/ 982194 w 1504473"/>
                <a:gd name="connsiteY507" fmla="*/ 1265087 h 2546032"/>
                <a:gd name="connsiteX508" fmla="*/ 981766 w 1504473"/>
                <a:gd name="connsiteY508" fmla="*/ 1203793 h 254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Lst>
              <a:rect l="l" t="t" r="r" b="b"/>
              <a:pathLst>
                <a:path w="1504473" h="2546032">
                  <a:moveTo>
                    <a:pt x="285679" y="1179790"/>
                  </a:moveTo>
                  <a:lnTo>
                    <a:pt x="285679" y="1179790"/>
                  </a:lnTo>
                  <a:cubicBezTo>
                    <a:pt x="293822" y="1147215"/>
                    <a:pt x="292537" y="1113353"/>
                    <a:pt x="298109" y="1080349"/>
                  </a:cubicBezTo>
                  <a:cubicBezTo>
                    <a:pt x="304967" y="1093208"/>
                    <a:pt x="307967" y="1107353"/>
                    <a:pt x="312253" y="1121069"/>
                  </a:cubicBezTo>
                  <a:cubicBezTo>
                    <a:pt x="321255" y="1152787"/>
                    <a:pt x="329827" y="1184934"/>
                    <a:pt x="338400" y="1217081"/>
                  </a:cubicBezTo>
                  <a:cubicBezTo>
                    <a:pt x="347401" y="1227796"/>
                    <a:pt x="350830" y="1241512"/>
                    <a:pt x="347829" y="1254371"/>
                  </a:cubicBezTo>
                  <a:cubicBezTo>
                    <a:pt x="363260" y="1314379"/>
                    <a:pt x="378262" y="1374386"/>
                    <a:pt x="394121" y="1433965"/>
                  </a:cubicBezTo>
                  <a:lnTo>
                    <a:pt x="437412" y="1433965"/>
                  </a:lnTo>
                  <a:lnTo>
                    <a:pt x="526566" y="1344811"/>
                  </a:lnTo>
                  <a:lnTo>
                    <a:pt x="532567" y="1344811"/>
                  </a:lnTo>
                  <a:lnTo>
                    <a:pt x="871180" y="1344811"/>
                  </a:lnTo>
                  <a:cubicBezTo>
                    <a:pt x="873324" y="1339668"/>
                    <a:pt x="876753" y="1335381"/>
                    <a:pt x="880610" y="1331524"/>
                  </a:cubicBezTo>
                  <a:cubicBezTo>
                    <a:pt x="897327" y="1314807"/>
                    <a:pt x="924330" y="1314379"/>
                    <a:pt x="941046" y="1331095"/>
                  </a:cubicBezTo>
                  <a:cubicBezTo>
                    <a:pt x="957763" y="1347811"/>
                    <a:pt x="958191" y="1375243"/>
                    <a:pt x="941475" y="1391960"/>
                  </a:cubicBezTo>
                  <a:cubicBezTo>
                    <a:pt x="924759" y="1408676"/>
                    <a:pt x="897327" y="1408676"/>
                    <a:pt x="880610" y="1391531"/>
                  </a:cubicBezTo>
                  <a:cubicBezTo>
                    <a:pt x="875467" y="1386388"/>
                    <a:pt x="872466" y="1380387"/>
                    <a:pt x="870323" y="1373958"/>
                  </a:cubicBezTo>
                  <a:lnTo>
                    <a:pt x="538996" y="1374386"/>
                  </a:lnTo>
                  <a:lnTo>
                    <a:pt x="449842" y="1463540"/>
                  </a:lnTo>
                  <a:lnTo>
                    <a:pt x="443841" y="1463540"/>
                  </a:lnTo>
                  <a:lnTo>
                    <a:pt x="403122" y="1463540"/>
                  </a:lnTo>
                  <a:cubicBezTo>
                    <a:pt x="406980" y="1473827"/>
                    <a:pt x="412123" y="1483686"/>
                    <a:pt x="417267" y="1493544"/>
                  </a:cubicBezTo>
                  <a:lnTo>
                    <a:pt x="497419" y="1493544"/>
                  </a:lnTo>
                  <a:lnTo>
                    <a:pt x="514993" y="1475970"/>
                  </a:lnTo>
                  <a:cubicBezTo>
                    <a:pt x="512421" y="1462254"/>
                    <a:pt x="515850" y="1448110"/>
                    <a:pt x="526566" y="1437394"/>
                  </a:cubicBezTo>
                  <a:cubicBezTo>
                    <a:pt x="543282" y="1420678"/>
                    <a:pt x="570286" y="1420678"/>
                    <a:pt x="587002" y="1437394"/>
                  </a:cubicBezTo>
                  <a:cubicBezTo>
                    <a:pt x="603718" y="1454110"/>
                    <a:pt x="603718" y="1481114"/>
                    <a:pt x="587002" y="1497830"/>
                  </a:cubicBezTo>
                  <a:cubicBezTo>
                    <a:pt x="571572" y="1513261"/>
                    <a:pt x="547569" y="1514547"/>
                    <a:pt x="530424" y="1501259"/>
                  </a:cubicBezTo>
                  <a:lnTo>
                    <a:pt x="508992" y="1522690"/>
                  </a:lnTo>
                  <a:lnTo>
                    <a:pt x="430982" y="1522690"/>
                  </a:lnTo>
                  <a:cubicBezTo>
                    <a:pt x="433126" y="1528262"/>
                    <a:pt x="435269" y="1533835"/>
                    <a:pt x="436555" y="1539407"/>
                  </a:cubicBezTo>
                  <a:cubicBezTo>
                    <a:pt x="437412" y="1542407"/>
                    <a:pt x="437841" y="1545407"/>
                    <a:pt x="438698" y="1548408"/>
                  </a:cubicBezTo>
                  <a:cubicBezTo>
                    <a:pt x="449413" y="1548837"/>
                    <a:pt x="459700" y="1552694"/>
                    <a:pt x="467844" y="1560838"/>
                  </a:cubicBezTo>
                  <a:cubicBezTo>
                    <a:pt x="484561" y="1577554"/>
                    <a:pt x="484989" y="1604558"/>
                    <a:pt x="468273" y="1621274"/>
                  </a:cubicBezTo>
                  <a:cubicBezTo>
                    <a:pt x="461843" y="1627703"/>
                    <a:pt x="454128" y="1631561"/>
                    <a:pt x="445984" y="1633276"/>
                  </a:cubicBezTo>
                  <a:cubicBezTo>
                    <a:pt x="446413" y="1651707"/>
                    <a:pt x="445984" y="1669709"/>
                    <a:pt x="444270" y="1688140"/>
                  </a:cubicBezTo>
                  <a:lnTo>
                    <a:pt x="548426" y="1583984"/>
                  </a:lnTo>
                  <a:lnTo>
                    <a:pt x="554427" y="1584412"/>
                  </a:lnTo>
                  <a:lnTo>
                    <a:pt x="635865" y="1584412"/>
                  </a:lnTo>
                  <a:cubicBezTo>
                    <a:pt x="636723" y="1574983"/>
                    <a:pt x="640580" y="1565553"/>
                    <a:pt x="647867" y="1558266"/>
                  </a:cubicBezTo>
                  <a:cubicBezTo>
                    <a:pt x="664583" y="1541550"/>
                    <a:pt x="691587" y="1541550"/>
                    <a:pt x="708303" y="1558266"/>
                  </a:cubicBezTo>
                  <a:cubicBezTo>
                    <a:pt x="725019" y="1574983"/>
                    <a:pt x="725448" y="1602415"/>
                    <a:pt x="708732" y="1619131"/>
                  </a:cubicBezTo>
                  <a:cubicBezTo>
                    <a:pt x="692015" y="1635847"/>
                    <a:pt x="664583" y="1635847"/>
                    <a:pt x="647867" y="1618702"/>
                  </a:cubicBezTo>
                  <a:cubicBezTo>
                    <a:pt x="646152" y="1616988"/>
                    <a:pt x="644866" y="1615702"/>
                    <a:pt x="643581" y="1613559"/>
                  </a:cubicBezTo>
                  <a:lnTo>
                    <a:pt x="560427" y="1613130"/>
                  </a:lnTo>
                  <a:lnTo>
                    <a:pt x="436126" y="1737432"/>
                  </a:lnTo>
                  <a:cubicBezTo>
                    <a:pt x="436126" y="1737432"/>
                    <a:pt x="436126" y="1737860"/>
                    <a:pt x="436126" y="1737860"/>
                  </a:cubicBezTo>
                  <a:cubicBezTo>
                    <a:pt x="430125" y="1764435"/>
                    <a:pt x="421124" y="1790152"/>
                    <a:pt x="413837" y="1816727"/>
                  </a:cubicBezTo>
                  <a:cubicBezTo>
                    <a:pt x="411694" y="1829157"/>
                    <a:pt x="409123" y="1841587"/>
                    <a:pt x="406980" y="1854017"/>
                  </a:cubicBezTo>
                  <a:lnTo>
                    <a:pt x="522280" y="1738717"/>
                  </a:lnTo>
                  <a:cubicBezTo>
                    <a:pt x="522708" y="1738289"/>
                    <a:pt x="523566" y="1737860"/>
                    <a:pt x="524423" y="1737432"/>
                  </a:cubicBezTo>
                  <a:cubicBezTo>
                    <a:pt x="512421" y="1720715"/>
                    <a:pt x="514136" y="1697141"/>
                    <a:pt x="529138" y="1682139"/>
                  </a:cubicBezTo>
                  <a:cubicBezTo>
                    <a:pt x="545854" y="1665422"/>
                    <a:pt x="572429" y="1665422"/>
                    <a:pt x="589574" y="1682139"/>
                  </a:cubicBezTo>
                  <a:cubicBezTo>
                    <a:pt x="606290" y="1698855"/>
                    <a:pt x="606719" y="1726287"/>
                    <a:pt x="590002" y="1743004"/>
                  </a:cubicBezTo>
                  <a:cubicBezTo>
                    <a:pt x="578430" y="1754577"/>
                    <a:pt x="561713" y="1758006"/>
                    <a:pt x="546711" y="1753291"/>
                  </a:cubicBezTo>
                  <a:cubicBezTo>
                    <a:pt x="546283" y="1755434"/>
                    <a:pt x="544997" y="1757577"/>
                    <a:pt x="543282" y="1759720"/>
                  </a:cubicBezTo>
                  <a:lnTo>
                    <a:pt x="397978" y="1905024"/>
                  </a:lnTo>
                  <a:cubicBezTo>
                    <a:pt x="396692" y="1911882"/>
                    <a:pt x="395407" y="1918740"/>
                    <a:pt x="394121" y="1926027"/>
                  </a:cubicBezTo>
                  <a:cubicBezTo>
                    <a:pt x="389835" y="1948315"/>
                    <a:pt x="385548" y="1970603"/>
                    <a:pt x="380833" y="1992892"/>
                  </a:cubicBezTo>
                  <a:lnTo>
                    <a:pt x="782884" y="1590842"/>
                  </a:lnTo>
                  <a:lnTo>
                    <a:pt x="782884" y="1514975"/>
                  </a:lnTo>
                  <a:cubicBezTo>
                    <a:pt x="776883" y="1512832"/>
                    <a:pt x="771311" y="1509403"/>
                    <a:pt x="766596" y="1504688"/>
                  </a:cubicBezTo>
                  <a:cubicBezTo>
                    <a:pt x="749880" y="1487972"/>
                    <a:pt x="749880" y="1460968"/>
                    <a:pt x="767025" y="1444252"/>
                  </a:cubicBezTo>
                  <a:cubicBezTo>
                    <a:pt x="783741" y="1427536"/>
                    <a:pt x="810744" y="1427107"/>
                    <a:pt x="827461" y="1443823"/>
                  </a:cubicBezTo>
                  <a:cubicBezTo>
                    <a:pt x="844177" y="1460540"/>
                    <a:pt x="844606" y="1488400"/>
                    <a:pt x="827889" y="1505117"/>
                  </a:cubicBezTo>
                  <a:cubicBezTo>
                    <a:pt x="823175" y="1509832"/>
                    <a:pt x="818031" y="1512832"/>
                    <a:pt x="812459" y="1514975"/>
                  </a:cubicBezTo>
                  <a:lnTo>
                    <a:pt x="812030" y="1596842"/>
                  </a:lnTo>
                  <a:lnTo>
                    <a:pt x="812030" y="1602843"/>
                  </a:lnTo>
                  <a:lnTo>
                    <a:pt x="373547" y="2041755"/>
                  </a:lnTo>
                  <a:lnTo>
                    <a:pt x="369261" y="2041755"/>
                  </a:lnTo>
                  <a:cubicBezTo>
                    <a:pt x="363688" y="2062758"/>
                    <a:pt x="356830" y="2083761"/>
                    <a:pt x="348258" y="2103906"/>
                  </a:cubicBezTo>
                  <a:cubicBezTo>
                    <a:pt x="345686" y="2109907"/>
                    <a:pt x="343543" y="2115907"/>
                    <a:pt x="340971" y="2121480"/>
                  </a:cubicBezTo>
                  <a:lnTo>
                    <a:pt x="370546" y="2121480"/>
                  </a:lnTo>
                  <a:lnTo>
                    <a:pt x="638437" y="1853589"/>
                  </a:lnTo>
                  <a:cubicBezTo>
                    <a:pt x="634151" y="1839016"/>
                    <a:pt x="637580" y="1822728"/>
                    <a:pt x="649153" y="1811584"/>
                  </a:cubicBezTo>
                  <a:cubicBezTo>
                    <a:pt x="665869" y="1794867"/>
                    <a:pt x="693301" y="1794867"/>
                    <a:pt x="710017" y="1811584"/>
                  </a:cubicBezTo>
                  <a:cubicBezTo>
                    <a:pt x="726734" y="1828300"/>
                    <a:pt x="726734" y="1855303"/>
                    <a:pt x="710017" y="1872020"/>
                  </a:cubicBezTo>
                  <a:cubicBezTo>
                    <a:pt x="695444" y="1886593"/>
                    <a:pt x="673156" y="1888736"/>
                    <a:pt x="656439" y="1877592"/>
                  </a:cubicBezTo>
                  <a:lnTo>
                    <a:pt x="383405" y="2150626"/>
                  </a:lnTo>
                  <a:lnTo>
                    <a:pt x="377404" y="2150626"/>
                  </a:lnTo>
                  <a:lnTo>
                    <a:pt x="329827" y="2150626"/>
                  </a:lnTo>
                  <a:cubicBezTo>
                    <a:pt x="323826" y="2166485"/>
                    <a:pt x="318683" y="2182773"/>
                    <a:pt x="314396" y="2199489"/>
                  </a:cubicBezTo>
                  <a:cubicBezTo>
                    <a:pt x="317826" y="2205919"/>
                    <a:pt x="321255" y="2212348"/>
                    <a:pt x="324255" y="2218349"/>
                  </a:cubicBezTo>
                  <a:lnTo>
                    <a:pt x="408694" y="2218349"/>
                  </a:lnTo>
                  <a:lnTo>
                    <a:pt x="752880" y="1874163"/>
                  </a:lnTo>
                  <a:lnTo>
                    <a:pt x="752880" y="1718572"/>
                  </a:lnTo>
                  <a:cubicBezTo>
                    <a:pt x="752880" y="1715143"/>
                    <a:pt x="754166" y="1711285"/>
                    <a:pt x="756738" y="1708714"/>
                  </a:cubicBezTo>
                  <a:cubicBezTo>
                    <a:pt x="758452" y="1700570"/>
                    <a:pt x="762310" y="1692426"/>
                    <a:pt x="768310" y="1686425"/>
                  </a:cubicBezTo>
                  <a:cubicBezTo>
                    <a:pt x="785027" y="1669709"/>
                    <a:pt x="812030" y="1669709"/>
                    <a:pt x="828747" y="1686425"/>
                  </a:cubicBezTo>
                  <a:cubicBezTo>
                    <a:pt x="845463" y="1703142"/>
                    <a:pt x="845463" y="1730145"/>
                    <a:pt x="828747" y="1746861"/>
                  </a:cubicBezTo>
                  <a:cubicBezTo>
                    <a:pt x="816316" y="1759291"/>
                    <a:pt x="797457" y="1763149"/>
                    <a:pt x="782026" y="1756720"/>
                  </a:cubicBezTo>
                  <a:lnTo>
                    <a:pt x="782026" y="1887879"/>
                  </a:lnTo>
                  <a:lnTo>
                    <a:pt x="421553" y="2248781"/>
                  </a:lnTo>
                  <a:lnTo>
                    <a:pt x="340543" y="2248781"/>
                  </a:lnTo>
                  <a:cubicBezTo>
                    <a:pt x="347829" y="2262068"/>
                    <a:pt x="355116" y="2275356"/>
                    <a:pt x="362402" y="2288643"/>
                  </a:cubicBezTo>
                  <a:cubicBezTo>
                    <a:pt x="372261" y="2295930"/>
                    <a:pt x="382119" y="2302788"/>
                    <a:pt x="391978" y="2310075"/>
                  </a:cubicBezTo>
                  <a:lnTo>
                    <a:pt x="393692" y="2310075"/>
                  </a:lnTo>
                  <a:lnTo>
                    <a:pt x="812887" y="1890879"/>
                  </a:lnTo>
                  <a:lnTo>
                    <a:pt x="813316" y="1812869"/>
                  </a:lnTo>
                  <a:lnTo>
                    <a:pt x="813316" y="1806869"/>
                  </a:lnTo>
                  <a:lnTo>
                    <a:pt x="911900" y="1708285"/>
                  </a:lnTo>
                  <a:lnTo>
                    <a:pt x="893469" y="1639276"/>
                  </a:lnTo>
                  <a:cubicBezTo>
                    <a:pt x="891326" y="1637562"/>
                    <a:pt x="889183" y="1636276"/>
                    <a:pt x="887468" y="1634133"/>
                  </a:cubicBezTo>
                  <a:cubicBezTo>
                    <a:pt x="870752" y="1617417"/>
                    <a:pt x="870752" y="1590413"/>
                    <a:pt x="887468" y="1573268"/>
                  </a:cubicBezTo>
                  <a:cubicBezTo>
                    <a:pt x="904185" y="1556552"/>
                    <a:pt x="931617" y="1556552"/>
                    <a:pt x="948333" y="1573268"/>
                  </a:cubicBezTo>
                  <a:cubicBezTo>
                    <a:pt x="965049" y="1589984"/>
                    <a:pt x="965049" y="1616988"/>
                    <a:pt x="948333" y="1633704"/>
                  </a:cubicBezTo>
                  <a:cubicBezTo>
                    <a:pt x="941904" y="1640134"/>
                    <a:pt x="934188" y="1644420"/>
                    <a:pt x="926045" y="1645706"/>
                  </a:cubicBezTo>
                  <a:lnTo>
                    <a:pt x="942761" y="1708714"/>
                  </a:lnTo>
                  <a:lnTo>
                    <a:pt x="944904" y="1716857"/>
                  </a:lnTo>
                  <a:lnTo>
                    <a:pt x="842891" y="1819299"/>
                  </a:lnTo>
                  <a:lnTo>
                    <a:pt x="842891" y="1896451"/>
                  </a:lnTo>
                  <a:lnTo>
                    <a:pt x="842891" y="1902452"/>
                  </a:lnTo>
                  <a:lnTo>
                    <a:pt x="417267" y="2328077"/>
                  </a:lnTo>
                  <a:cubicBezTo>
                    <a:pt x="427125" y="2335364"/>
                    <a:pt x="436983" y="2343079"/>
                    <a:pt x="446842" y="2350794"/>
                  </a:cubicBezTo>
                  <a:lnTo>
                    <a:pt x="862608" y="1935028"/>
                  </a:lnTo>
                  <a:lnTo>
                    <a:pt x="884896" y="1852303"/>
                  </a:lnTo>
                  <a:lnTo>
                    <a:pt x="885754" y="1848874"/>
                  </a:lnTo>
                  <a:lnTo>
                    <a:pt x="1008340" y="1726287"/>
                  </a:lnTo>
                  <a:lnTo>
                    <a:pt x="1008340" y="1515832"/>
                  </a:lnTo>
                  <a:cubicBezTo>
                    <a:pt x="1007912" y="1515404"/>
                    <a:pt x="1007483" y="1515404"/>
                    <a:pt x="1007055" y="1514975"/>
                  </a:cubicBezTo>
                  <a:cubicBezTo>
                    <a:pt x="990338" y="1498259"/>
                    <a:pt x="990338" y="1470827"/>
                    <a:pt x="1007055" y="1454110"/>
                  </a:cubicBezTo>
                  <a:cubicBezTo>
                    <a:pt x="1023771" y="1437394"/>
                    <a:pt x="1050774" y="1437394"/>
                    <a:pt x="1067491" y="1454539"/>
                  </a:cubicBezTo>
                  <a:cubicBezTo>
                    <a:pt x="1084207" y="1471255"/>
                    <a:pt x="1084207" y="1498259"/>
                    <a:pt x="1067491" y="1514975"/>
                  </a:cubicBezTo>
                  <a:cubicBezTo>
                    <a:pt x="1059347" y="1523119"/>
                    <a:pt x="1048203" y="1527834"/>
                    <a:pt x="1037487" y="1527834"/>
                  </a:cubicBezTo>
                  <a:lnTo>
                    <a:pt x="1037487" y="1732717"/>
                  </a:lnTo>
                  <a:lnTo>
                    <a:pt x="1037487" y="1738717"/>
                  </a:lnTo>
                  <a:lnTo>
                    <a:pt x="911471" y="1864733"/>
                  </a:lnTo>
                  <a:lnTo>
                    <a:pt x="889611" y="1946601"/>
                  </a:lnTo>
                  <a:lnTo>
                    <a:pt x="888754" y="1950458"/>
                  </a:lnTo>
                  <a:lnTo>
                    <a:pt x="469559" y="2369654"/>
                  </a:lnTo>
                  <a:cubicBezTo>
                    <a:pt x="472988" y="2372225"/>
                    <a:pt x="476417" y="2375226"/>
                    <a:pt x="479417" y="2377797"/>
                  </a:cubicBezTo>
                  <a:lnTo>
                    <a:pt x="1033201" y="1824014"/>
                  </a:lnTo>
                  <a:lnTo>
                    <a:pt x="1039202" y="1824014"/>
                  </a:lnTo>
                  <a:lnTo>
                    <a:pt x="1113354" y="1823585"/>
                  </a:lnTo>
                  <a:cubicBezTo>
                    <a:pt x="1115497" y="1818442"/>
                    <a:pt x="1118926" y="1813298"/>
                    <a:pt x="1123212" y="1809012"/>
                  </a:cubicBezTo>
                  <a:cubicBezTo>
                    <a:pt x="1139928" y="1792296"/>
                    <a:pt x="1166932" y="1792296"/>
                    <a:pt x="1184077" y="1809012"/>
                  </a:cubicBezTo>
                  <a:cubicBezTo>
                    <a:pt x="1200793" y="1825728"/>
                    <a:pt x="1200793" y="1852732"/>
                    <a:pt x="1184077" y="1869448"/>
                  </a:cubicBezTo>
                  <a:cubicBezTo>
                    <a:pt x="1167360" y="1886164"/>
                    <a:pt x="1140357" y="1886164"/>
                    <a:pt x="1123641" y="1869448"/>
                  </a:cubicBezTo>
                  <a:cubicBezTo>
                    <a:pt x="1118926" y="1864733"/>
                    <a:pt x="1115497" y="1858732"/>
                    <a:pt x="1113354" y="1852732"/>
                  </a:cubicBezTo>
                  <a:lnTo>
                    <a:pt x="1046488" y="1852732"/>
                  </a:lnTo>
                  <a:lnTo>
                    <a:pt x="502563" y="2396657"/>
                  </a:lnTo>
                  <a:cubicBezTo>
                    <a:pt x="511564" y="2404372"/>
                    <a:pt x="520565" y="2411659"/>
                    <a:pt x="529566" y="2419374"/>
                  </a:cubicBezTo>
                  <a:lnTo>
                    <a:pt x="869466" y="2079474"/>
                  </a:lnTo>
                  <a:cubicBezTo>
                    <a:pt x="870323" y="2078617"/>
                    <a:pt x="871609" y="2077331"/>
                    <a:pt x="872895" y="2076474"/>
                  </a:cubicBezTo>
                  <a:cubicBezTo>
                    <a:pt x="873324" y="2065758"/>
                    <a:pt x="877181" y="2055471"/>
                    <a:pt x="885325" y="2047327"/>
                  </a:cubicBezTo>
                  <a:cubicBezTo>
                    <a:pt x="902041" y="2030611"/>
                    <a:pt x="929045" y="2030611"/>
                    <a:pt x="946190" y="2047327"/>
                  </a:cubicBezTo>
                  <a:cubicBezTo>
                    <a:pt x="962906" y="2064044"/>
                    <a:pt x="962906" y="2091047"/>
                    <a:pt x="946190" y="2107763"/>
                  </a:cubicBezTo>
                  <a:cubicBezTo>
                    <a:pt x="936760" y="2117193"/>
                    <a:pt x="924330" y="2121051"/>
                    <a:pt x="912328" y="2119765"/>
                  </a:cubicBezTo>
                  <a:cubicBezTo>
                    <a:pt x="911900" y="2120194"/>
                    <a:pt x="911900" y="2120194"/>
                    <a:pt x="911471" y="2120622"/>
                  </a:cubicBezTo>
                  <a:lnTo>
                    <a:pt x="574143" y="2457950"/>
                  </a:lnTo>
                  <a:cubicBezTo>
                    <a:pt x="584430" y="2467380"/>
                    <a:pt x="595146" y="2476810"/>
                    <a:pt x="605433" y="2486668"/>
                  </a:cubicBezTo>
                  <a:lnTo>
                    <a:pt x="1013913" y="2078188"/>
                  </a:lnTo>
                  <a:lnTo>
                    <a:pt x="1013913" y="1989892"/>
                  </a:lnTo>
                  <a:cubicBezTo>
                    <a:pt x="1010912" y="1988177"/>
                    <a:pt x="1007483" y="1986034"/>
                    <a:pt x="1004912" y="1983462"/>
                  </a:cubicBezTo>
                  <a:cubicBezTo>
                    <a:pt x="988195" y="1966746"/>
                    <a:pt x="988624" y="1939314"/>
                    <a:pt x="1005340" y="1922597"/>
                  </a:cubicBezTo>
                  <a:cubicBezTo>
                    <a:pt x="1022057" y="1905881"/>
                    <a:pt x="1049060" y="1905881"/>
                    <a:pt x="1065776" y="1922597"/>
                  </a:cubicBezTo>
                  <a:cubicBezTo>
                    <a:pt x="1082493" y="1939314"/>
                    <a:pt x="1082493" y="1966317"/>
                    <a:pt x="1065776" y="1983034"/>
                  </a:cubicBezTo>
                  <a:cubicBezTo>
                    <a:pt x="1061919" y="1986891"/>
                    <a:pt x="1057632" y="1989892"/>
                    <a:pt x="1052917" y="1992035"/>
                  </a:cubicBezTo>
                  <a:lnTo>
                    <a:pt x="1052917" y="2086332"/>
                  </a:lnTo>
                  <a:lnTo>
                    <a:pt x="1052917" y="2094476"/>
                  </a:lnTo>
                  <a:lnTo>
                    <a:pt x="634151" y="2513243"/>
                  </a:lnTo>
                  <a:cubicBezTo>
                    <a:pt x="644438" y="2523530"/>
                    <a:pt x="655153" y="2533388"/>
                    <a:pt x="665440" y="2544104"/>
                  </a:cubicBezTo>
                  <a:lnTo>
                    <a:pt x="1260801" y="1948744"/>
                  </a:lnTo>
                  <a:lnTo>
                    <a:pt x="1260801" y="1797010"/>
                  </a:lnTo>
                  <a:lnTo>
                    <a:pt x="1260801" y="1785009"/>
                  </a:lnTo>
                  <a:lnTo>
                    <a:pt x="1349097" y="1696712"/>
                  </a:lnTo>
                  <a:lnTo>
                    <a:pt x="1361099" y="1696712"/>
                  </a:lnTo>
                  <a:lnTo>
                    <a:pt x="1497830" y="1697141"/>
                  </a:lnTo>
                  <a:lnTo>
                    <a:pt x="1502117" y="1692854"/>
                  </a:lnTo>
                  <a:cubicBezTo>
                    <a:pt x="1349955" y="1277088"/>
                    <a:pt x="1301091" y="844177"/>
                    <a:pt x="1353812" y="435269"/>
                  </a:cubicBezTo>
                  <a:cubicBezTo>
                    <a:pt x="1336239" y="431411"/>
                    <a:pt x="1319951" y="423267"/>
                    <a:pt x="1304520" y="413837"/>
                  </a:cubicBezTo>
                  <a:cubicBezTo>
                    <a:pt x="1299377" y="410837"/>
                    <a:pt x="1294662" y="407837"/>
                    <a:pt x="1289947" y="404408"/>
                  </a:cubicBezTo>
                  <a:lnTo>
                    <a:pt x="1289947" y="467416"/>
                  </a:lnTo>
                  <a:cubicBezTo>
                    <a:pt x="1291662" y="468701"/>
                    <a:pt x="1293805" y="470416"/>
                    <a:pt x="1295519" y="472130"/>
                  </a:cubicBezTo>
                  <a:cubicBezTo>
                    <a:pt x="1312236" y="488847"/>
                    <a:pt x="1312236" y="516279"/>
                    <a:pt x="1295519" y="532995"/>
                  </a:cubicBezTo>
                  <a:cubicBezTo>
                    <a:pt x="1278803" y="549712"/>
                    <a:pt x="1251800" y="549712"/>
                    <a:pt x="1234655" y="532995"/>
                  </a:cubicBezTo>
                  <a:cubicBezTo>
                    <a:pt x="1217938" y="516279"/>
                    <a:pt x="1217938" y="489275"/>
                    <a:pt x="1234655" y="472559"/>
                  </a:cubicBezTo>
                  <a:cubicBezTo>
                    <a:pt x="1241941" y="465272"/>
                    <a:pt x="1250942" y="461415"/>
                    <a:pt x="1260801" y="460558"/>
                  </a:cubicBezTo>
                  <a:lnTo>
                    <a:pt x="1260801" y="388120"/>
                  </a:lnTo>
                  <a:lnTo>
                    <a:pt x="1260801" y="384262"/>
                  </a:lnTo>
                  <a:cubicBezTo>
                    <a:pt x="1246227" y="373547"/>
                    <a:pt x="1232083" y="362402"/>
                    <a:pt x="1217938" y="351258"/>
                  </a:cubicBezTo>
                  <a:cubicBezTo>
                    <a:pt x="1199507" y="336256"/>
                    <a:pt x="1180648" y="321254"/>
                    <a:pt x="1166503" y="301966"/>
                  </a:cubicBezTo>
                  <a:cubicBezTo>
                    <a:pt x="1162217" y="296394"/>
                    <a:pt x="1158788" y="289965"/>
                    <a:pt x="1157073" y="283107"/>
                  </a:cubicBezTo>
                  <a:lnTo>
                    <a:pt x="1132642" y="307538"/>
                  </a:lnTo>
                  <a:lnTo>
                    <a:pt x="1132642" y="342686"/>
                  </a:lnTo>
                  <a:cubicBezTo>
                    <a:pt x="1147644" y="337542"/>
                    <a:pt x="1165217" y="340971"/>
                    <a:pt x="1177647" y="352973"/>
                  </a:cubicBezTo>
                  <a:cubicBezTo>
                    <a:pt x="1194364" y="369689"/>
                    <a:pt x="1194364" y="396692"/>
                    <a:pt x="1177647" y="413409"/>
                  </a:cubicBezTo>
                  <a:cubicBezTo>
                    <a:pt x="1160931" y="430125"/>
                    <a:pt x="1133499" y="430125"/>
                    <a:pt x="1116783" y="413409"/>
                  </a:cubicBezTo>
                  <a:cubicBezTo>
                    <a:pt x="1101352" y="397978"/>
                    <a:pt x="1100495" y="373547"/>
                    <a:pt x="1113354" y="356830"/>
                  </a:cubicBezTo>
                  <a:lnTo>
                    <a:pt x="1113354" y="303681"/>
                  </a:lnTo>
                  <a:lnTo>
                    <a:pt x="1113782" y="299395"/>
                  </a:lnTo>
                  <a:lnTo>
                    <a:pt x="1156216" y="256961"/>
                  </a:lnTo>
                  <a:cubicBezTo>
                    <a:pt x="1157502" y="228671"/>
                    <a:pt x="1161788" y="200811"/>
                    <a:pt x="1168646" y="173379"/>
                  </a:cubicBezTo>
                  <a:cubicBezTo>
                    <a:pt x="1168646" y="172950"/>
                    <a:pt x="1169075" y="172522"/>
                    <a:pt x="1169075" y="171664"/>
                  </a:cubicBezTo>
                  <a:cubicBezTo>
                    <a:pt x="1152359" y="186666"/>
                    <a:pt x="1126641" y="186238"/>
                    <a:pt x="1110782" y="169950"/>
                  </a:cubicBezTo>
                  <a:cubicBezTo>
                    <a:pt x="1109067" y="168235"/>
                    <a:pt x="1107782" y="166092"/>
                    <a:pt x="1106067" y="164378"/>
                  </a:cubicBezTo>
                  <a:lnTo>
                    <a:pt x="1051203" y="163949"/>
                  </a:lnTo>
                  <a:lnTo>
                    <a:pt x="1043059" y="163949"/>
                  </a:lnTo>
                  <a:lnTo>
                    <a:pt x="880182" y="3215"/>
                  </a:lnTo>
                  <a:lnTo>
                    <a:pt x="776454" y="3215"/>
                  </a:lnTo>
                  <a:cubicBezTo>
                    <a:pt x="776026" y="7072"/>
                    <a:pt x="775168" y="10930"/>
                    <a:pt x="774740" y="14359"/>
                  </a:cubicBezTo>
                  <a:cubicBezTo>
                    <a:pt x="773883" y="19074"/>
                    <a:pt x="772597" y="23789"/>
                    <a:pt x="771740" y="28504"/>
                  </a:cubicBezTo>
                  <a:lnTo>
                    <a:pt x="861751" y="28504"/>
                  </a:lnTo>
                  <a:lnTo>
                    <a:pt x="869895" y="28504"/>
                  </a:lnTo>
                  <a:lnTo>
                    <a:pt x="1057204" y="215384"/>
                  </a:lnTo>
                  <a:cubicBezTo>
                    <a:pt x="1061490" y="219670"/>
                    <a:pt x="1063633" y="225671"/>
                    <a:pt x="1062776" y="231672"/>
                  </a:cubicBezTo>
                  <a:cubicBezTo>
                    <a:pt x="1071777" y="247960"/>
                    <a:pt x="1069205" y="268962"/>
                    <a:pt x="1055489" y="283107"/>
                  </a:cubicBezTo>
                  <a:cubicBezTo>
                    <a:pt x="1038773" y="299823"/>
                    <a:pt x="1011770" y="299823"/>
                    <a:pt x="995053" y="283107"/>
                  </a:cubicBezTo>
                  <a:cubicBezTo>
                    <a:pt x="978337" y="266390"/>
                    <a:pt x="977908" y="239387"/>
                    <a:pt x="994625" y="222242"/>
                  </a:cubicBezTo>
                  <a:cubicBezTo>
                    <a:pt x="997196" y="219670"/>
                    <a:pt x="999768" y="217527"/>
                    <a:pt x="1002340" y="215813"/>
                  </a:cubicBezTo>
                  <a:lnTo>
                    <a:pt x="853607" y="67080"/>
                  </a:lnTo>
                  <a:lnTo>
                    <a:pt x="758881" y="67080"/>
                  </a:lnTo>
                  <a:cubicBezTo>
                    <a:pt x="755452" y="74795"/>
                    <a:pt x="751594" y="82510"/>
                    <a:pt x="746879" y="89797"/>
                  </a:cubicBezTo>
                  <a:cubicBezTo>
                    <a:pt x="745593" y="91940"/>
                    <a:pt x="744307" y="93655"/>
                    <a:pt x="742593" y="95798"/>
                  </a:cubicBezTo>
                  <a:lnTo>
                    <a:pt x="844177" y="95798"/>
                  </a:lnTo>
                  <a:lnTo>
                    <a:pt x="848035" y="95798"/>
                  </a:lnTo>
                  <a:lnTo>
                    <a:pt x="958191" y="205954"/>
                  </a:lnTo>
                  <a:lnTo>
                    <a:pt x="958191" y="209812"/>
                  </a:lnTo>
                  <a:lnTo>
                    <a:pt x="958191" y="369260"/>
                  </a:lnTo>
                  <a:lnTo>
                    <a:pt x="1120212" y="531281"/>
                  </a:lnTo>
                  <a:lnTo>
                    <a:pt x="1167360" y="530852"/>
                  </a:lnTo>
                  <a:lnTo>
                    <a:pt x="1171647" y="530852"/>
                  </a:lnTo>
                  <a:lnTo>
                    <a:pt x="1250514" y="609719"/>
                  </a:lnTo>
                  <a:lnTo>
                    <a:pt x="1250514" y="613577"/>
                  </a:lnTo>
                  <a:lnTo>
                    <a:pt x="1250514" y="659868"/>
                  </a:lnTo>
                  <a:lnTo>
                    <a:pt x="1250514" y="664154"/>
                  </a:lnTo>
                  <a:lnTo>
                    <a:pt x="1160931" y="753737"/>
                  </a:lnTo>
                  <a:lnTo>
                    <a:pt x="1156645" y="753737"/>
                  </a:lnTo>
                  <a:lnTo>
                    <a:pt x="1068348" y="753737"/>
                  </a:lnTo>
                  <a:cubicBezTo>
                    <a:pt x="1068777" y="764881"/>
                    <a:pt x="1064490" y="776454"/>
                    <a:pt x="1055918" y="785027"/>
                  </a:cubicBezTo>
                  <a:cubicBezTo>
                    <a:pt x="1039202" y="801743"/>
                    <a:pt x="1012198" y="801743"/>
                    <a:pt x="995053" y="784598"/>
                  </a:cubicBezTo>
                  <a:cubicBezTo>
                    <a:pt x="978337" y="767882"/>
                    <a:pt x="978337" y="740878"/>
                    <a:pt x="995053" y="724162"/>
                  </a:cubicBezTo>
                  <a:cubicBezTo>
                    <a:pt x="1011770" y="707446"/>
                    <a:pt x="1038773" y="707017"/>
                    <a:pt x="1055489" y="723733"/>
                  </a:cubicBezTo>
                  <a:cubicBezTo>
                    <a:pt x="1058490" y="726734"/>
                    <a:pt x="1060633" y="730163"/>
                    <a:pt x="1062776" y="733592"/>
                  </a:cubicBezTo>
                  <a:lnTo>
                    <a:pt x="1152359" y="733592"/>
                  </a:lnTo>
                  <a:lnTo>
                    <a:pt x="1230368" y="655582"/>
                  </a:lnTo>
                  <a:lnTo>
                    <a:pt x="1230797" y="617434"/>
                  </a:lnTo>
                  <a:lnTo>
                    <a:pt x="1163074" y="551426"/>
                  </a:lnTo>
                  <a:lnTo>
                    <a:pt x="1115497" y="551426"/>
                  </a:lnTo>
                  <a:lnTo>
                    <a:pt x="1111211" y="550997"/>
                  </a:lnTo>
                  <a:lnTo>
                    <a:pt x="938475" y="378262"/>
                  </a:lnTo>
                  <a:lnTo>
                    <a:pt x="938475" y="374404"/>
                  </a:lnTo>
                  <a:lnTo>
                    <a:pt x="938475" y="214955"/>
                  </a:lnTo>
                  <a:lnTo>
                    <a:pt x="839891" y="116372"/>
                  </a:lnTo>
                  <a:lnTo>
                    <a:pt x="722876" y="116372"/>
                  </a:lnTo>
                  <a:cubicBezTo>
                    <a:pt x="712589" y="124944"/>
                    <a:pt x="701874" y="132659"/>
                    <a:pt x="692444" y="142089"/>
                  </a:cubicBezTo>
                  <a:lnTo>
                    <a:pt x="831318" y="142089"/>
                  </a:lnTo>
                  <a:lnTo>
                    <a:pt x="835605" y="142518"/>
                  </a:lnTo>
                  <a:lnTo>
                    <a:pt x="914900" y="221813"/>
                  </a:lnTo>
                  <a:lnTo>
                    <a:pt x="914900" y="393263"/>
                  </a:lnTo>
                  <a:lnTo>
                    <a:pt x="1126212" y="604576"/>
                  </a:lnTo>
                  <a:cubicBezTo>
                    <a:pt x="1142072" y="596432"/>
                    <a:pt x="1162217" y="599003"/>
                    <a:pt x="1175504" y="612291"/>
                  </a:cubicBezTo>
                  <a:cubicBezTo>
                    <a:pt x="1192221" y="629007"/>
                    <a:pt x="1192221" y="656011"/>
                    <a:pt x="1175504" y="673156"/>
                  </a:cubicBezTo>
                  <a:cubicBezTo>
                    <a:pt x="1158788" y="689872"/>
                    <a:pt x="1131785" y="689872"/>
                    <a:pt x="1114640" y="673156"/>
                  </a:cubicBezTo>
                  <a:cubicBezTo>
                    <a:pt x="1099209" y="657725"/>
                    <a:pt x="1098352" y="634151"/>
                    <a:pt x="1110782" y="617434"/>
                  </a:cubicBezTo>
                  <a:lnTo>
                    <a:pt x="894755" y="401407"/>
                  </a:lnTo>
                  <a:lnTo>
                    <a:pt x="894755" y="397550"/>
                  </a:lnTo>
                  <a:lnTo>
                    <a:pt x="895183" y="229957"/>
                  </a:lnTo>
                  <a:lnTo>
                    <a:pt x="827461" y="162235"/>
                  </a:lnTo>
                  <a:lnTo>
                    <a:pt x="674013" y="162235"/>
                  </a:lnTo>
                  <a:cubicBezTo>
                    <a:pt x="668441" y="167807"/>
                    <a:pt x="662869" y="173379"/>
                    <a:pt x="657297" y="179380"/>
                  </a:cubicBezTo>
                  <a:lnTo>
                    <a:pt x="820603" y="179380"/>
                  </a:lnTo>
                  <a:lnTo>
                    <a:pt x="824889" y="178951"/>
                  </a:lnTo>
                  <a:lnTo>
                    <a:pt x="878467" y="232529"/>
                  </a:lnTo>
                  <a:lnTo>
                    <a:pt x="878038" y="236387"/>
                  </a:lnTo>
                  <a:lnTo>
                    <a:pt x="878038" y="310110"/>
                  </a:lnTo>
                  <a:lnTo>
                    <a:pt x="878467" y="314396"/>
                  </a:lnTo>
                  <a:lnTo>
                    <a:pt x="819745" y="373118"/>
                  </a:lnTo>
                  <a:lnTo>
                    <a:pt x="819745" y="421124"/>
                  </a:lnTo>
                  <a:lnTo>
                    <a:pt x="908471" y="509849"/>
                  </a:lnTo>
                  <a:lnTo>
                    <a:pt x="908042" y="513707"/>
                  </a:lnTo>
                  <a:lnTo>
                    <a:pt x="908042" y="595574"/>
                  </a:lnTo>
                  <a:cubicBezTo>
                    <a:pt x="917043" y="596860"/>
                    <a:pt x="925616" y="600289"/>
                    <a:pt x="932474" y="607147"/>
                  </a:cubicBezTo>
                  <a:cubicBezTo>
                    <a:pt x="949190" y="623864"/>
                    <a:pt x="949190" y="650867"/>
                    <a:pt x="932474" y="668012"/>
                  </a:cubicBezTo>
                  <a:cubicBezTo>
                    <a:pt x="915757" y="684728"/>
                    <a:pt x="888325" y="684728"/>
                    <a:pt x="871609" y="668012"/>
                  </a:cubicBezTo>
                  <a:cubicBezTo>
                    <a:pt x="854893" y="651296"/>
                    <a:pt x="854893" y="624292"/>
                    <a:pt x="872038" y="607147"/>
                  </a:cubicBezTo>
                  <a:cubicBezTo>
                    <a:pt x="876753" y="602432"/>
                    <a:pt x="882325" y="599432"/>
                    <a:pt x="888325" y="597289"/>
                  </a:cubicBezTo>
                  <a:lnTo>
                    <a:pt x="888325" y="517565"/>
                  </a:lnTo>
                  <a:lnTo>
                    <a:pt x="800029" y="429268"/>
                  </a:lnTo>
                  <a:lnTo>
                    <a:pt x="799600" y="424982"/>
                  </a:lnTo>
                  <a:lnTo>
                    <a:pt x="800029" y="368403"/>
                  </a:lnTo>
                  <a:lnTo>
                    <a:pt x="800029" y="364117"/>
                  </a:lnTo>
                  <a:lnTo>
                    <a:pt x="858750" y="305395"/>
                  </a:lnTo>
                  <a:lnTo>
                    <a:pt x="858750" y="239816"/>
                  </a:lnTo>
                  <a:lnTo>
                    <a:pt x="816745" y="197810"/>
                  </a:lnTo>
                  <a:lnTo>
                    <a:pt x="638008" y="197810"/>
                  </a:lnTo>
                  <a:cubicBezTo>
                    <a:pt x="619149" y="217099"/>
                    <a:pt x="599861" y="236387"/>
                    <a:pt x="581001" y="255675"/>
                  </a:cubicBezTo>
                  <a:lnTo>
                    <a:pt x="738735" y="255246"/>
                  </a:lnTo>
                  <a:cubicBezTo>
                    <a:pt x="740878" y="250960"/>
                    <a:pt x="743450" y="247102"/>
                    <a:pt x="746879" y="243673"/>
                  </a:cubicBezTo>
                  <a:cubicBezTo>
                    <a:pt x="763596" y="226957"/>
                    <a:pt x="790599" y="226957"/>
                    <a:pt x="807315" y="243673"/>
                  </a:cubicBezTo>
                  <a:cubicBezTo>
                    <a:pt x="824032" y="260390"/>
                    <a:pt x="824460" y="287822"/>
                    <a:pt x="807744" y="304538"/>
                  </a:cubicBezTo>
                  <a:cubicBezTo>
                    <a:pt x="791028" y="321254"/>
                    <a:pt x="763596" y="321254"/>
                    <a:pt x="746879" y="304109"/>
                  </a:cubicBezTo>
                  <a:cubicBezTo>
                    <a:pt x="738735" y="295966"/>
                    <a:pt x="734878" y="285679"/>
                    <a:pt x="734449" y="274963"/>
                  </a:cubicBezTo>
                  <a:lnTo>
                    <a:pt x="561713" y="274963"/>
                  </a:lnTo>
                  <a:cubicBezTo>
                    <a:pt x="557427" y="279249"/>
                    <a:pt x="553569" y="283535"/>
                    <a:pt x="549283" y="287393"/>
                  </a:cubicBezTo>
                  <a:lnTo>
                    <a:pt x="686443" y="287393"/>
                  </a:lnTo>
                  <a:lnTo>
                    <a:pt x="690729" y="287822"/>
                  </a:lnTo>
                  <a:lnTo>
                    <a:pt x="754594" y="351687"/>
                  </a:lnTo>
                  <a:lnTo>
                    <a:pt x="755023" y="355973"/>
                  </a:lnTo>
                  <a:lnTo>
                    <a:pt x="755023" y="475559"/>
                  </a:lnTo>
                  <a:lnTo>
                    <a:pt x="761452" y="481989"/>
                  </a:lnTo>
                  <a:cubicBezTo>
                    <a:pt x="778169" y="470845"/>
                    <a:pt x="800457" y="472559"/>
                    <a:pt x="815459" y="487132"/>
                  </a:cubicBezTo>
                  <a:cubicBezTo>
                    <a:pt x="832176" y="503849"/>
                    <a:pt x="832176" y="530852"/>
                    <a:pt x="815459" y="547997"/>
                  </a:cubicBezTo>
                  <a:cubicBezTo>
                    <a:pt x="798743" y="564713"/>
                    <a:pt x="771740" y="564713"/>
                    <a:pt x="755023" y="547997"/>
                  </a:cubicBezTo>
                  <a:cubicBezTo>
                    <a:pt x="740878" y="533852"/>
                    <a:pt x="738735" y="512850"/>
                    <a:pt x="748165" y="496562"/>
                  </a:cubicBezTo>
                  <a:lnTo>
                    <a:pt x="735735" y="484132"/>
                  </a:lnTo>
                  <a:lnTo>
                    <a:pt x="735735" y="479846"/>
                  </a:lnTo>
                  <a:lnTo>
                    <a:pt x="735735" y="361117"/>
                  </a:lnTo>
                  <a:lnTo>
                    <a:pt x="683014" y="308396"/>
                  </a:lnTo>
                  <a:lnTo>
                    <a:pt x="538139" y="308396"/>
                  </a:lnTo>
                  <a:lnTo>
                    <a:pt x="533853" y="307967"/>
                  </a:lnTo>
                  <a:lnTo>
                    <a:pt x="532138" y="306253"/>
                  </a:lnTo>
                  <a:cubicBezTo>
                    <a:pt x="529566" y="308824"/>
                    <a:pt x="526566" y="311825"/>
                    <a:pt x="523994" y="314396"/>
                  </a:cubicBezTo>
                  <a:lnTo>
                    <a:pt x="589145" y="379547"/>
                  </a:lnTo>
                  <a:lnTo>
                    <a:pt x="623007" y="379547"/>
                  </a:lnTo>
                  <a:cubicBezTo>
                    <a:pt x="624721" y="371832"/>
                    <a:pt x="628150" y="364117"/>
                    <a:pt x="634151" y="358116"/>
                  </a:cubicBezTo>
                  <a:cubicBezTo>
                    <a:pt x="650867" y="341400"/>
                    <a:pt x="677871" y="341400"/>
                    <a:pt x="694587" y="358116"/>
                  </a:cubicBezTo>
                  <a:cubicBezTo>
                    <a:pt x="711303" y="374833"/>
                    <a:pt x="711732" y="401836"/>
                    <a:pt x="695016" y="418981"/>
                  </a:cubicBezTo>
                  <a:cubicBezTo>
                    <a:pt x="678299" y="435697"/>
                    <a:pt x="650867" y="435697"/>
                    <a:pt x="634151" y="418981"/>
                  </a:cubicBezTo>
                  <a:cubicBezTo>
                    <a:pt x="628579" y="413409"/>
                    <a:pt x="625150" y="406551"/>
                    <a:pt x="623435" y="399264"/>
                  </a:cubicBezTo>
                  <a:lnTo>
                    <a:pt x="581430" y="399264"/>
                  </a:lnTo>
                  <a:lnTo>
                    <a:pt x="508135" y="327684"/>
                  </a:lnTo>
                  <a:cubicBezTo>
                    <a:pt x="504277" y="331541"/>
                    <a:pt x="500420" y="335399"/>
                    <a:pt x="496562" y="339257"/>
                  </a:cubicBezTo>
                  <a:cubicBezTo>
                    <a:pt x="493562" y="342257"/>
                    <a:pt x="490561" y="345257"/>
                    <a:pt x="487561" y="347829"/>
                  </a:cubicBezTo>
                  <a:lnTo>
                    <a:pt x="947904" y="807744"/>
                  </a:lnTo>
                  <a:lnTo>
                    <a:pt x="947904" y="818031"/>
                  </a:lnTo>
                  <a:lnTo>
                    <a:pt x="947904" y="1055918"/>
                  </a:lnTo>
                  <a:lnTo>
                    <a:pt x="989481" y="1097494"/>
                  </a:lnTo>
                  <a:lnTo>
                    <a:pt x="1207651" y="1097066"/>
                  </a:lnTo>
                  <a:lnTo>
                    <a:pt x="1281803" y="1022914"/>
                  </a:lnTo>
                  <a:cubicBezTo>
                    <a:pt x="1284375" y="1028914"/>
                    <a:pt x="1287375" y="1034486"/>
                    <a:pt x="1290804" y="1040059"/>
                  </a:cubicBezTo>
                  <a:cubicBezTo>
                    <a:pt x="1296377" y="1048631"/>
                    <a:pt x="1302377" y="1057204"/>
                    <a:pt x="1309235" y="1064919"/>
                  </a:cubicBezTo>
                  <a:lnTo>
                    <a:pt x="1228225" y="1145929"/>
                  </a:lnTo>
                  <a:lnTo>
                    <a:pt x="1218367" y="1145929"/>
                  </a:lnTo>
                  <a:lnTo>
                    <a:pt x="979194" y="1145929"/>
                  </a:lnTo>
                  <a:lnTo>
                    <a:pt x="968907" y="1145929"/>
                  </a:lnTo>
                  <a:lnTo>
                    <a:pt x="898184" y="1075206"/>
                  </a:lnTo>
                  <a:lnTo>
                    <a:pt x="898184" y="1064919"/>
                  </a:lnTo>
                  <a:lnTo>
                    <a:pt x="898612" y="827032"/>
                  </a:lnTo>
                  <a:lnTo>
                    <a:pt x="452414" y="381691"/>
                  </a:lnTo>
                  <a:cubicBezTo>
                    <a:pt x="442127" y="391120"/>
                    <a:pt x="431840" y="400550"/>
                    <a:pt x="420696" y="409551"/>
                  </a:cubicBezTo>
                  <a:cubicBezTo>
                    <a:pt x="418981" y="410837"/>
                    <a:pt x="416838" y="412123"/>
                    <a:pt x="414695" y="412980"/>
                  </a:cubicBezTo>
                  <a:lnTo>
                    <a:pt x="816316" y="814602"/>
                  </a:lnTo>
                  <a:lnTo>
                    <a:pt x="816745" y="822746"/>
                  </a:lnTo>
                  <a:lnTo>
                    <a:pt x="816745" y="978765"/>
                  </a:lnTo>
                  <a:cubicBezTo>
                    <a:pt x="829175" y="995482"/>
                    <a:pt x="827889" y="1019485"/>
                    <a:pt x="812459" y="1034486"/>
                  </a:cubicBezTo>
                  <a:cubicBezTo>
                    <a:pt x="795742" y="1051203"/>
                    <a:pt x="768739" y="1051203"/>
                    <a:pt x="752023" y="1034486"/>
                  </a:cubicBezTo>
                  <a:cubicBezTo>
                    <a:pt x="735306" y="1017770"/>
                    <a:pt x="735306" y="990767"/>
                    <a:pt x="752023" y="974050"/>
                  </a:cubicBezTo>
                  <a:cubicBezTo>
                    <a:pt x="759309" y="966764"/>
                    <a:pt x="768310" y="963335"/>
                    <a:pt x="777312" y="962049"/>
                  </a:cubicBezTo>
                  <a:lnTo>
                    <a:pt x="777312" y="830890"/>
                  </a:lnTo>
                  <a:lnTo>
                    <a:pt x="358973" y="412552"/>
                  </a:lnTo>
                  <a:cubicBezTo>
                    <a:pt x="352973" y="412980"/>
                    <a:pt x="347401" y="413409"/>
                    <a:pt x="341400" y="413837"/>
                  </a:cubicBezTo>
                  <a:lnTo>
                    <a:pt x="553998" y="626436"/>
                  </a:lnTo>
                  <a:lnTo>
                    <a:pt x="553998" y="630293"/>
                  </a:lnTo>
                  <a:lnTo>
                    <a:pt x="553569" y="719447"/>
                  </a:lnTo>
                  <a:cubicBezTo>
                    <a:pt x="559570" y="721590"/>
                    <a:pt x="565142" y="724591"/>
                    <a:pt x="569857" y="729306"/>
                  </a:cubicBezTo>
                  <a:cubicBezTo>
                    <a:pt x="586573" y="746022"/>
                    <a:pt x="586573" y="773025"/>
                    <a:pt x="569857" y="790170"/>
                  </a:cubicBezTo>
                  <a:cubicBezTo>
                    <a:pt x="553141" y="806887"/>
                    <a:pt x="526137" y="806887"/>
                    <a:pt x="508992" y="790170"/>
                  </a:cubicBezTo>
                  <a:cubicBezTo>
                    <a:pt x="492276" y="773454"/>
                    <a:pt x="492276" y="746451"/>
                    <a:pt x="508992" y="729734"/>
                  </a:cubicBezTo>
                  <a:cubicBezTo>
                    <a:pt x="515850" y="722876"/>
                    <a:pt x="524851" y="719018"/>
                    <a:pt x="533853" y="717733"/>
                  </a:cubicBezTo>
                  <a:lnTo>
                    <a:pt x="533853" y="634579"/>
                  </a:lnTo>
                  <a:lnTo>
                    <a:pt x="316111" y="416838"/>
                  </a:lnTo>
                  <a:cubicBezTo>
                    <a:pt x="289536" y="420695"/>
                    <a:pt x="263390" y="427982"/>
                    <a:pt x="240673" y="442555"/>
                  </a:cubicBezTo>
                  <a:cubicBezTo>
                    <a:pt x="239387" y="443413"/>
                    <a:pt x="238530" y="443841"/>
                    <a:pt x="237244" y="444698"/>
                  </a:cubicBezTo>
                  <a:lnTo>
                    <a:pt x="391549" y="599003"/>
                  </a:lnTo>
                  <a:cubicBezTo>
                    <a:pt x="407837" y="589145"/>
                    <a:pt x="429268" y="591288"/>
                    <a:pt x="443841" y="605433"/>
                  </a:cubicBezTo>
                  <a:cubicBezTo>
                    <a:pt x="460558" y="622149"/>
                    <a:pt x="460986" y="649581"/>
                    <a:pt x="444270" y="666298"/>
                  </a:cubicBezTo>
                  <a:cubicBezTo>
                    <a:pt x="427553" y="683014"/>
                    <a:pt x="400122" y="682585"/>
                    <a:pt x="383405" y="665869"/>
                  </a:cubicBezTo>
                  <a:cubicBezTo>
                    <a:pt x="368832" y="651296"/>
                    <a:pt x="367117" y="629436"/>
                    <a:pt x="377833" y="612719"/>
                  </a:cubicBezTo>
                  <a:lnTo>
                    <a:pt x="221385" y="456271"/>
                  </a:lnTo>
                  <a:cubicBezTo>
                    <a:pt x="202525" y="468701"/>
                    <a:pt x="184523" y="482417"/>
                    <a:pt x="167378" y="496991"/>
                  </a:cubicBezTo>
                  <a:lnTo>
                    <a:pt x="527852" y="857464"/>
                  </a:lnTo>
                  <a:lnTo>
                    <a:pt x="622149" y="857036"/>
                  </a:lnTo>
                  <a:cubicBezTo>
                    <a:pt x="623864" y="854464"/>
                    <a:pt x="625578" y="851892"/>
                    <a:pt x="628150" y="849749"/>
                  </a:cubicBezTo>
                  <a:cubicBezTo>
                    <a:pt x="644866" y="833033"/>
                    <a:pt x="671870" y="833033"/>
                    <a:pt x="688586" y="849749"/>
                  </a:cubicBezTo>
                  <a:cubicBezTo>
                    <a:pt x="705303" y="866466"/>
                    <a:pt x="705303" y="893469"/>
                    <a:pt x="688586" y="910614"/>
                  </a:cubicBezTo>
                  <a:cubicBezTo>
                    <a:pt x="671870" y="927330"/>
                    <a:pt x="644866" y="927330"/>
                    <a:pt x="628150" y="910614"/>
                  </a:cubicBezTo>
                  <a:cubicBezTo>
                    <a:pt x="619149" y="901613"/>
                    <a:pt x="614863" y="889183"/>
                    <a:pt x="615720" y="877181"/>
                  </a:cubicBezTo>
                  <a:lnTo>
                    <a:pt x="523566" y="877610"/>
                  </a:lnTo>
                  <a:lnTo>
                    <a:pt x="519708" y="877181"/>
                  </a:lnTo>
                  <a:lnTo>
                    <a:pt x="152376" y="509849"/>
                  </a:lnTo>
                  <a:cubicBezTo>
                    <a:pt x="139089" y="521851"/>
                    <a:pt x="126230" y="534281"/>
                    <a:pt x="113800" y="547568"/>
                  </a:cubicBezTo>
                  <a:lnTo>
                    <a:pt x="116372" y="547568"/>
                  </a:lnTo>
                  <a:lnTo>
                    <a:pt x="128802" y="547997"/>
                  </a:lnTo>
                  <a:lnTo>
                    <a:pt x="289965" y="709160"/>
                  </a:lnTo>
                  <a:cubicBezTo>
                    <a:pt x="304110" y="705731"/>
                    <a:pt x="319540" y="709160"/>
                    <a:pt x="330684" y="720304"/>
                  </a:cubicBezTo>
                  <a:cubicBezTo>
                    <a:pt x="347401" y="737021"/>
                    <a:pt x="347829" y="764453"/>
                    <a:pt x="331113" y="781169"/>
                  </a:cubicBezTo>
                  <a:cubicBezTo>
                    <a:pt x="314396" y="797886"/>
                    <a:pt x="286965" y="797886"/>
                    <a:pt x="270248" y="780741"/>
                  </a:cubicBezTo>
                  <a:cubicBezTo>
                    <a:pt x="264676" y="775168"/>
                    <a:pt x="261676" y="768739"/>
                    <a:pt x="259532" y="761881"/>
                  </a:cubicBezTo>
                  <a:lnTo>
                    <a:pt x="104799" y="607147"/>
                  </a:lnTo>
                  <a:lnTo>
                    <a:pt x="66651" y="607147"/>
                  </a:lnTo>
                  <a:cubicBezTo>
                    <a:pt x="52935" y="626864"/>
                    <a:pt x="40076" y="647867"/>
                    <a:pt x="29361" y="669298"/>
                  </a:cubicBezTo>
                  <a:lnTo>
                    <a:pt x="88940" y="669298"/>
                  </a:lnTo>
                  <a:lnTo>
                    <a:pt x="93226" y="669727"/>
                  </a:lnTo>
                  <a:lnTo>
                    <a:pt x="268962" y="845463"/>
                  </a:lnTo>
                  <a:lnTo>
                    <a:pt x="395835" y="845463"/>
                  </a:lnTo>
                  <a:cubicBezTo>
                    <a:pt x="412552" y="833033"/>
                    <a:pt x="436126" y="834319"/>
                    <a:pt x="451128" y="849749"/>
                  </a:cubicBezTo>
                  <a:cubicBezTo>
                    <a:pt x="467844" y="866466"/>
                    <a:pt x="467844" y="893469"/>
                    <a:pt x="451128" y="910185"/>
                  </a:cubicBezTo>
                  <a:cubicBezTo>
                    <a:pt x="434412" y="926902"/>
                    <a:pt x="407408" y="926902"/>
                    <a:pt x="390263" y="910185"/>
                  </a:cubicBezTo>
                  <a:cubicBezTo>
                    <a:pt x="377833" y="897755"/>
                    <a:pt x="374833" y="880181"/>
                    <a:pt x="380405" y="865180"/>
                  </a:cubicBezTo>
                  <a:lnTo>
                    <a:pt x="263819" y="865180"/>
                  </a:lnTo>
                  <a:lnTo>
                    <a:pt x="259961" y="865180"/>
                  </a:lnTo>
                  <a:lnTo>
                    <a:pt x="83796" y="689015"/>
                  </a:lnTo>
                  <a:lnTo>
                    <a:pt x="19502" y="689015"/>
                  </a:lnTo>
                  <a:cubicBezTo>
                    <a:pt x="17359" y="706160"/>
                    <a:pt x="15645" y="723733"/>
                    <a:pt x="13930" y="741307"/>
                  </a:cubicBezTo>
                  <a:lnTo>
                    <a:pt x="87225" y="741307"/>
                  </a:lnTo>
                  <a:lnTo>
                    <a:pt x="93226" y="741307"/>
                  </a:lnTo>
                  <a:lnTo>
                    <a:pt x="253103" y="901184"/>
                  </a:lnTo>
                  <a:lnTo>
                    <a:pt x="344400" y="901184"/>
                  </a:lnTo>
                  <a:lnTo>
                    <a:pt x="350401" y="901184"/>
                  </a:lnTo>
                  <a:lnTo>
                    <a:pt x="426268" y="977051"/>
                  </a:lnTo>
                  <a:lnTo>
                    <a:pt x="502134" y="977051"/>
                  </a:lnTo>
                  <a:cubicBezTo>
                    <a:pt x="502134" y="977051"/>
                    <a:pt x="502563" y="977051"/>
                    <a:pt x="502563" y="977051"/>
                  </a:cubicBezTo>
                  <a:cubicBezTo>
                    <a:pt x="504277" y="974479"/>
                    <a:pt x="506421" y="971479"/>
                    <a:pt x="508564" y="969336"/>
                  </a:cubicBezTo>
                  <a:cubicBezTo>
                    <a:pt x="525280" y="952619"/>
                    <a:pt x="552712" y="952191"/>
                    <a:pt x="569428" y="968907"/>
                  </a:cubicBezTo>
                  <a:cubicBezTo>
                    <a:pt x="586145" y="985623"/>
                    <a:pt x="586145" y="1013055"/>
                    <a:pt x="569428" y="1029772"/>
                  </a:cubicBezTo>
                  <a:cubicBezTo>
                    <a:pt x="552712" y="1046488"/>
                    <a:pt x="525709" y="1046488"/>
                    <a:pt x="508564" y="1029772"/>
                  </a:cubicBezTo>
                  <a:cubicBezTo>
                    <a:pt x="501706" y="1022914"/>
                    <a:pt x="497848" y="1014770"/>
                    <a:pt x="496562" y="1006197"/>
                  </a:cubicBezTo>
                  <a:lnTo>
                    <a:pt x="420267" y="1006197"/>
                  </a:lnTo>
                  <a:lnTo>
                    <a:pt x="414266" y="1006197"/>
                  </a:lnTo>
                  <a:lnTo>
                    <a:pt x="338400" y="930331"/>
                  </a:lnTo>
                  <a:lnTo>
                    <a:pt x="247531" y="930759"/>
                  </a:lnTo>
                  <a:lnTo>
                    <a:pt x="241102" y="930331"/>
                  </a:lnTo>
                  <a:lnTo>
                    <a:pt x="81224" y="770453"/>
                  </a:lnTo>
                  <a:lnTo>
                    <a:pt x="11359" y="770453"/>
                  </a:lnTo>
                  <a:cubicBezTo>
                    <a:pt x="10073" y="785884"/>
                    <a:pt x="9215" y="801314"/>
                    <a:pt x="7930" y="816745"/>
                  </a:cubicBezTo>
                  <a:lnTo>
                    <a:pt x="78653" y="816745"/>
                  </a:lnTo>
                  <a:lnTo>
                    <a:pt x="353401" y="1091494"/>
                  </a:lnTo>
                  <a:lnTo>
                    <a:pt x="629865" y="1091494"/>
                  </a:lnTo>
                  <a:cubicBezTo>
                    <a:pt x="630722" y="1090636"/>
                    <a:pt x="631579" y="1089351"/>
                    <a:pt x="632436" y="1088493"/>
                  </a:cubicBezTo>
                  <a:cubicBezTo>
                    <a:pt x="649153" y="1071777"/>
                    <a:pt x="676585" y="1071348"/>
                    <a:pt x="693301" y="1088065"/>
                  </a:cubicBezTo>
                  <a:cubicBezTo>
                    <a:pt x="710017" y="1104781"/>
                    <a:pt x="710017" y="1132213"/>
                    <a:pt x="692872" y="1148929"/>
                  </a:cubicBezTo>
                  <a:cubicBezTo>
                    <a:pt x="676156" y="1165646"/>
                    <a:pt x="649153" y="1165646"/>
                    <a:pt x="632008" y="1148929"/>
                  </a:cubicBezTo>
                  <a:cubicBezTo>
                    <a:pt x="624292" y="1141214"/>
                    <a:pt x="620435" y="1130927"/>
                    <a:pt x="620006" y="1120640"/>
                  </a:cubicBezTo>
                  <a:lnTo>
                    <a:pt x="346972" y="1120211"/>
                  </a:lnTo>
                  <a:lnTo>
                    <a:pt x="340971" y="1120211"/>
                  </a:lnTo>
                  <a:lnTo>
                    <a:pt x="66223" y="845463"/>
                  </a:lnTo>
                  <a:lnTo>
                    <a:pt x="5786" y="845463"/>
                  </a:lnTo>
                  <a:cubicBezTo>
                    <a:pt x="4929" y="860893"/>
                    <a:pt x="4501" y="876752"/>
                    <a:pt x="4072" y="892183"/>
                  </a:cubicBezTo>
                  <a:lnTo>
                    <a:pt x="80367" y="892183"/>
                  </a:lnTo>
                  <a:lnTo>
                    <a:pt x="86368" y="892183"/>
                  </a:lnTo>
                  <a:lnTo>
                    <a:pt x="181094" y="986909"/>
                  </a:lnTo>
                  <a:lnTo>
                    <a:pt x="178951" y="995482"/>
                  </a:lnTo>
                  <a:lnTo>
                    <a:pt x="155377" y="1083350"/>
                  </a:lnTo>
                  <a:lnTo>
                    <a:pt x="156234" y="1084207"/>
                  </a:lnTo>
                  <a:cubicBezTo>
                    <a:pt x="172950" y="1068776"/>
                    <a:pt x="198668" y="1069634"/>
                    <a:pt x="214955" y="1085493"/>
                  </a:cubicBezTo>
                  <a:cubicBezTo>
                    <a:pt x="231672" y="1102209"/>
                    <a:pt x="231672" y="1129213"/>
                    <a:pt x="214955" y="1145929"/>
                  </a:cubicBezTo>
                  <a:cubicBezTo>
                    <a:pt x="198239" y="1162645"/>
                    <a:pt x="171236" y="1162645"/>
                    <a:pt x="154519" y="1145929"/>
                  </a:cubicBezTo>
                  <a:cubicBezTo>
                    <a:pt x="145090" y="1136499"/>
                    <a:pt x="141232" y="1123641"/>
                    <a:pt x="142518" y="1111639"/>
                  </a:cubicBezTo>
                  <a:lnTo>
                    <a:pt x="122801" y="1091922"/>
                  </a:lnTo>
                  <a:lnTo>
                    <a:pt x="124944" y="1083778"/>
                  </a:lnTo>
                  <a:lnTo>
                    <a:pt x="148519" y="995482"/>
                  </a:lnTo>
                  <a:lnTo>
                    <a:pt x="74795" y="921758"/>
                  </a:lnTo>
                  <a:lnTo>
                    <a:pt x="3643" y="921758"/>
                  </a:lnTo>
                  <a:cubicBezTo>
                    <a:pt x="3215" y="946190"/>
                    <a:pt x="3215" y="970621"/>
                    <a:pt x="3215" y="995053"/>
                  </a:cubicBezTo>
                  <a:lnTo>
                    <a:pt x="20360" y="995053"/>
                  </a:lnTo>
                  <a:cubicBezTo>
                    <a:pt x="19931" y="983480"/>
                    <a:pt x="23789" y="972336"/>
                    <a:pt x="32790" y="963335"/>
                  </a:cubicBezTo>
                  <a:cubicBezTo>
                    <a:pt x="49506" y="946618"/>
                    <a:pt x="76938" y="946618"/>
                    <a:pt x="93655" y="963335"/>
                  </a:cubicBezTo>
                  <a:cubicBezTo>
                    <a:pt x="110371" y="980051"/>
                    <a:pt x="110371" y="1007054"/>
                    <a:pt x="93655" y="1024199"/>
                  </a:cubicBezTo>
                  <a:cubicBezTo>
                    <a:pt x="76938" y="1040916"/>
                    <a:pt x="49935" y="1040487"/>
                    <a:pt x="33218" y="1024199"/>
                  </a:cubicBezTo>
                  <a:lnTo>
                    <a:pt x="3643" y="1024199"/>
                  </a:lnTo>
                  <a:cubicBezTo>
                    <a:pt x="6644" y="1145072"/>
                    <a:pt x="18217" y="1266801"/>
                    <a:pt x="38791" y="1388102"/>
                  </a:cubicBezTo>
                  <a:lnTo>
                    <a:pt x="51221" y="1375672"/>
                  </a:lnTo>
                  <a:lnTo>
                    <a:pt x="51221" y="1279660"/>
                  </a:lnTo>
                  <a:cubicBezTo>
                    <a:pt x="45649" y="1277517"/>
                    <a:pt x="39648" y="1274516"/>
                    <a:pt x="35362" y="1269802"/>
                  </a:cubicBezTo>
                  <a:cubicBezTo>
                    <a:pt x="18645" y="1253085"/>
                    <a:pt x="18645" y="1226082"/>
                    <a:pt x="35790" y="1208937"/>
                  </a:cubicBezTo>
                  <a:cubicBezTo>
                    <a:pt x="52507" y="1192221"/>
                    <a:pt x="79510" y="1192221"/>
                    <a:pt x="96226" y="1208937"/>
                  </a:cubicBezTo>
                  <a:cubicBezTo>
                    <a:pt x="112943" y="1225653"/>
                    <a:pt x="112943" y="1253085"/>
                    <a:pt x="96226" y="1269802"/>
                  </a:cubicBezTo>
                  <a:cubicBezTo>
                    <a:pt x="91940" y="1274088"/>
                    <a:pt x="86368" y="1277517"/>
                    <a:pt x="80796" y="1279660"/>
                  </a:cubicBezTo>
                  <a:lnTo>
                    <a:pt x="80796" y="1382101"/>
                  </a:lnTo>
                  <a:lnTo>
                    <a:pt x="80796" y="1388102"/>
                  </a:lnTo>
                  <a:lnTo>
                    <a:pt x="45220" y="1423678"/>
                  </a:lnTo>
                  <a:cubicBezTo>
                    <a:pt x="48220" y="1439537"/>
                    <a:pt x="51221" y="1455825"/>
                    <a:pt x="54650" y="1471684"/>
                  </a:cubicBezTo>
                  <a:lnTo>
                    <a:pt x="145518" y="1380816"/>
                  </a:lnTo>
                  <a:cubicBezTo>
                    <a:pt x="141232" y="1366242"/>
                    <a:pt x="144661" y="1349954"/>
                    <a:pt x="156234" y="1338382"/>
                  </a:cubicBezTo>
                  <a:cubicBezTo>
                    <a:pt x="168664" y="1325951"/>
                    <a:pt x="186666" y="1322951"/>
                    <a:pt x="202097" y="1328523"/>
                  </a:cubicBezTo>
                  <a:cubicBezTo>
                    <a:pt x="220956" y="1298519"/>
                    <a:pt x="239816" y="1268087"/>
                    <a:pt x="257818" y="1237655"/>
                  </a:cubicBezTo>
                  <a:cubicBezTo>
                    <a:pt x="268534" y="1219224"/>
                    <a:pt x="280535" y="1200793"/>
                    <a:pt x="285679" y="1179790"/>
                  </a:cubicBezTo>
                  <a:close/>
                  <a:moveTo>
                    <a:pt x="1349955" y="1571982"/>
                  </a:moveTo>
                  <a:lnTo>
                    <a:pt x="1349955" y="1571982"/>
                  </a:lnTo>
                  <a:cubicBezTo>
                    <a:pt x="1366671" y="1555266"/>
                    <a:pt x="1394103" y="1555266"/>
                    <a:pt x="1410819" y="1571982"/>
                  </a:cubicBezTo>
                  <a:cubicBezTo>
                    <a:pt x="1427536" y="1588699"/>
                    <a:pt x="1427536" y="1615702"/>
                    <a:pt x="1410391" y="1632418"/>
                  </a:cubicBezTo>
                  <a:cubicBezTo>
                    <a:pt x="1393674" y="1649135"/>
                    <a:pt x="1366671" y="1649135"/>
                    <a:pt x="1349955" y="1632418"/>
                  </a:cubicBezTo>
                  <a:cubicBezTo>
                    <a:pt x="1333238" y="1615702"/>
                    <a:pt x="1332810" y="1588699"/>
                    <a:pt x="1349955" y="1571982"/>
                  </a:cubicBezTo>
                  <a:close/>
                  <a:moveTo>
                    <a:pt x="1169932" y="900327"/>
                  </a:moveTo>
                  <a:cubicBezTo>
                    <a:pt x="1153216" y="917043"/>
                    <a:pt x="1126212" y="917043"/>
                    <a:pt x="1109496" y="900327"/>
                  </a:cubicBezTo>
                  <a:cubicBezTo>
                    <a:pt x="1092780" y="883611"/>
                    <a:pt x="1092351" y="856607"/>
                    <a:pt x="1109067" y="839462"/>
                  </a:cubicBezTo>
                  <a:cubicBezTo>
                    <a:pt x="1125784" y="822746"/>
                    <a:pt x="1153216" y="822746"/>
                    <a:pt x="1169932" y="839462"/>
                  </a:cubicBezTo>
                  <a:cubicBezTo>
                    <a:pt x="1186649" y="856607"/>
                    <a:pt x="1186649" y="883611"/>
                    <a:pt x="1169932" y="900327"/>
                  </a:cubicBezTo>
                  <a:close/>
                  <a:moveTo>
                    <a:pt x="1289090" y="786313"/>
                  </a:moveTo>
                  <a:cubicBezTo>
                    <a:pt x="1272374" y="803029"/>
                    <a:pt x="1245370" y="803029"/>
                    <a:pt x="1228225" y="786313"/>
                  </a:cubicBezTo>
                  <a:cubicBezTo>
                    <a:pt x="1211509" y="769596"/>
                    <a:pt x="1211509" y="742593"/>
                    <a:pt x="1228225" y="725448"/>
                  </a:cubicBezTo>
                  <a:cubicBezTo>
                    <a:pt x="1244942" y="708731"/>
                    <a:pt x="1272374" y="708731"/>
                    <a:pt x="1289090" y="725448"/>
                  </a:cubicBezTo>
                  <a:cubicBezTo>
                    <a:pt x="1305806" y="742593"/>
                    <a:pt x="1305806" y="769596"/>
                    <a:pt x="1289090" y="786313"/>
                  </a:cubicBezTo>
                  <a:close/>
                  <a:moveTo>
                    <a:pt x="1225653" y="1447681"/>
                  </a:moveTo>
                  <a:lnTo>
                    <a:pt x="1225653" y="1447681"/>
                  </a:lnTo>
                  <a:cubicBezTo>
                    <a:pt x="1242370" y="1430965"/>
                    <a:pt x="1269373" y="1430965"/>
                    <a:pt x="1286518" y="1447681"/>
                  </a:cubicBezTo>
                  <a:cubicBezTo>
                    <a:pt x="1303235" y="1464397"/>
                    <a:pt x="1303663" y="1491829"/>
                    <a:pt x="1286947" y="1508546"/>
                  </a:cubicBezTo>
                  <a:cubicBezTo>
                    <a:pt x="1270230" y="1525262"/>
                    <a:pt x="1242798" y="1524833"/>
                    <a:pt x="1226082" y="1508117"/>
                  </a:cubicBezTo>
                  <a:cubicBezTo>
                    <a:pt x="1208937" y="1491401"/>
                    <a:pt x="1208937" y="1464397"/>
                    <a:pt x="1225653" y="1447681"/>
                  </a:cubicBezTo>
                  <a:close/>
                  <a:moveTo>
                    <a:pt x="1107782" y="1328095"/>
                  </a:moveTo>
                  <a:cubicBezTo>
                    <a:pt x="1124498" y="1311378"/>
                    <a:pt x="1151501" y="1311378"/>
                    <a:pt x="1168218" y="1328095"/>
                  </a:cubicBezTo>
                  <a:cubicBezTo>
                    <a:pt x="1184934" y="1344811"/>
                    <a:pt x="1184934" y="1371814"/>
                    <a:pt x="1168218" y="1388959"/>
                  </a:cubicBezTo>
                  <a:cubicBezTo>
                    <a:pt x="1151501" y="1405676"/>
                    <a:pt x="1124498" y="1405676"/>
                    <a:pt x="1107353" y="1388959"/>
                  </a:cubicBezTo>
                  <a:cubicBezTo>
                    <a:pt x="1090637" y="1371814"/>
                    <a:pt x="1091065" y="1344811"/>
                    <a:pt x="1107782" y="1328095"/>
                  </a:cubicBezTo>
                  <a:close/>
                  <a:moveTo>
                    <a:pt x="981766" y="1203793"/>
                  </a:moveTo>
                  <a:cubicBezTo>
                    <a:pt x="998482" y="1187077"/>
                    <a:pt x="1025914" y="1187077"/>
                    <a:pt x="1042630" y="1204222"/>
                  </a:cubicBezTo>
                  <a:cubicBezTo>
                    <a:pt x="1059347" y="1220938"/>
                    <a:pt x="1059347" y="1247942"/>
                    <a:pt x="1042630" y="1265087"/>
                  </a:cubicBezTo>
                  <a:cubicBezTo>
                    <a:pt x="1025914" y="1281803"/>
                    <a:pt x="998911" y="1281803"/>
                    <a:pt x="982194" y="1265087"/>
                  </a:cubicBezTo>
                  <a:cubicBezTo>
                    <a:pt x="965478" y="1247942"/>
                    <a:pt x="965049" y="1220510"/>
                    <a:pt x="981766" y="1203793"/>
                  </a:cubicBezTo>
                  <a:close/>
                </a:path>
              </a:pathLst>
            </a:custGeom>
            <a:grpFill/>
            <a:ln w="9525" cap="flat">
              <a:noFill/>
              <a:prstDash val="solid"/>
              <a:miter/>
            </a:ln>
          </p:spPr>
          <p:txBody>
            <a:bodyPr rtlCol="0" anchor="ctr"/>
            <a:lstStyle/>
            <a:p>
              <a:endParaRPr lang="en-US"/>
            </a:p>
          </p:txBody>
        </p:sp>
        <p:sp>
          <p:nvSpPr>
            <p:cNvPr id="396" name="Freeform: Shape 173">
              <a:extLst>
                <a:ext uri="{FF2B5EF4-FFF2-40B4-BE49-F238E27FC236}">
                  <a16:creationId xmlns:a16="http://schemas.microsoft.com/office/drawing/2014/main" id="{EA2800ED-E0F3-6A4A-BEEC-5BF1CB26A1BA}"/>
                </a:ext>
              </a:extLst>
            </p:cNvPr>
            <p:cNvSpPr/>
            <p:nvPr/>
          </p:nvSpPr>
          <p:spPr>
            <a:xfrm>
              <a:off x="4940213" y="2140339"/>
              <a:ext cx="81439" cy="124301"/>
            </a:xfrm>
            <a:custGeom>
              <a:avLst/>
              <a:gdLst>
                <a:gd name="connsiteX0" fmla="*/ 13502 w 81438"/>
                <a:gd name="connsiteY0" fmla="*/ 124944 h 124301"/>
                <a:gd name="connsiteX1" fmla="*/ 13502 w 81438"/>
                <a:gd name="connsiteY1" fmla="*/ 124944 h 124301"/>
                <a:gd name="connsiteX2" fmla="*/ 20360 w 81438"/>
                <a:gd name="connsiteY2" fmla="*/ 108228 h 124301"/>
                <a:gd name="connsiteX3" fmla="*/ 64937 w 81438"/>
                <a:gd name="connsiteY3" fmla="*/ 29361 h 124301"/>
                <a:gd name="connsiteX4" fmla="*/ 80796 w 81438"/>
                <a:gd name="connsiteY4" fmla="*/ 3215 h 124301"/>
                <a:gd name="connsiteX5" fmla="*/ 3215 w 81438"/>
                <a:gd name="connsiteY5" fmla="*/ 80796 h 124301"/>
                <a:gd name="connsiteX6" fmla="*/ 13502 w 81438"/>
                <a:gd name="connsiteY6" fmla="*/ 124944 h 12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38" h="124301">
                  <a:moveTo>
                    <a:pt x="13502" y="124944"/>
                  </a:moveTo>
                  <a:lnTo>
                    <a:pt x="13502" y="124944"/>
                  </a:lnTo>
                  <a:cubicBezTo>
                    <a:pt x="15645" y="119372"/>
                    <a:pt x="17788" y="113800"/>
                    <a:pt x="20360" y="108228"/>
                  </a:cubicBezTo>
                  <a:cubicBezTo>
                    <a:pt x="33218" y="80796"/>
                    <a:pt x="49506" y="55078"/>
                    <a:pt x="64937" y="29361"/>
                  </a:cubicBezTo>
                  <a:cubicBezTo>
                    <a:pt x="70080" y="20788"/>
                    <a:pt x="75652" y="11787"/>
                    <a:pt x="80796" y="3215"/>
                  </a:cubicBezTo>
                  <a:lnTo>
                    <a:pt x="3215" y="80796"/>
                  </a:lnTo>
                  <a:cubicBezTo>
                    <a:pt x="6644" y="94940"/>
                    <a:pt x="10073" y="109942"/>
                    <a:pt x="13502" y="124944"/>
                  </a:cubicBezTo>
                  <a:close/>
                </a:path>
              </a:pathLst>
            </a:custGeom>
            <a:grpFill/>
            <a:ln w="9525" cap="flat">
              <a:noFill/>
              <a:prstDash val="solid"/>
              <a:miter/>
            </a:ln>
          </p:spPr>
          <p:txBody>
            <a:bodyPr rtlCol="0" anchor="ctr"/>
            <a:lstStyle/>
            <a:p>
              <a:endParaRPr lang="en-US"/>
            </a:p>
          </p:txBody>
        </p:sp>
      </p:grpSp>
      <p:sp>
        <p:nvSpPr>
          <p:cNvPr id="397" name="Freeform: Shape 152">
            <a:extLst>
              <a:ext uri="{FF2B5EF4-FFF2-40B4-BE49-F238E27FC236}">
                <a16:creationId xmlns:a16="http://schemas.microsoft.com/office/drawing/2014/main" id="{CAED1128-A521-D146-82B7-00D672A8323F}"/>
              </a:ext>
            </a:extLst>
          </p:cNvPr>
          <p:cNvSpPr>
            <a:spLocks noChangeAspect="1"/>
          </p:cNvSpPr>
          <p:nvPr/>
        </p:nvSpPr>
        <p:spPr>
          <a:xfrm>
            <a:off x="3067121" y="1839325"/>
            <a:ext cx="2579525" cy="1586667"/>
          </a:xfrm>
          <a:custGeom>
            <a:avLst/>
            <a:gdLst>
              <a:gd name="connsiteX0" fmla="*/ 5086770 w 5086770"/>
              <a:gd name="connsiteY0" fmla="*/ 1174706 h 3128874"/>
              <a:gd name="connsiteX1" fmla="*/ 5086770 w 5086770"/>
              <a:gd name="connsiteY1" fmla="*/ 1184663 h 3128874"/>
              <a:gd name="connsiteX2" fmla="*/ 5079830 w 5086770"/>
              <a:gd name="connsiteY2" fmla="*/ 1185820 h 3128874"/>
              <a:gd name="connsiteX3" fmla="*/ 5078289 w 5086770"/>
              <a:gd name="connsiteY3" fmla="*/ 1182737 h 3128874"/>
              <a:gd name="connsiteX4" fmla="*/ 5078289 w 5086770"/>
              <a:gd name="connsiteY4" fmla="*/ 1179654 h 3128874"/>
              <a:gd name="connsiteX5" fmla="*/ 1690658 w 5086770"/>
              <a:gd name="connsiteY5" fmla="*/ 810655 h 3128874"/>
              <a:gd name="connsiteX6" fmla="*/ 1349061 w 5086770"/>
              <a:gd name="connsiteY6" fmla="*/ 1934928 h 3128874"/>
              <a:gd name="connsiteX7" fmla="*/ 2035854 w 5086770"/>
              <a:gd name="connsiteY7" fmla="*/ 1934928 h 3128874"/>
              <a:gd name="connsiteX8" fmla="*/ 3765314 w 5086770"/>
              <a:gd name="connsiteY8" fmla="*/ 0 h 3128874"/>
              <a:gd name="connsiteX9" fmla="*/ 4465138 w 5086770"/>
              <a:gd name="connsiteY9" fmla="*/ 0 h 3128874"/>
              <a:gd name="connsiteX10" fmla="*/ 4675955 w 5086770"/>
              <a:gd name="connsiteY10" fmla="*/ 0 h 3128874"/>
              <a:gd name="connsiteX11" fmla="*/ 4659036 w 5086770"/>
              <a:gd name="connsiteY11" fmla="*/ 34412 h 3128874"/>
              <a:gd name="connsiteX12" fmla="*/ 4651327 w 5086770"/>
              <a:gd name="connsiteY12" fmla="*/ 45203 h 3128874"/>
              <a:gd name="connsiteX13" fmla="*/ 4648245 w 5086770"/>
              <a:gd name="connsiteY13" fmla="*/ 51368 h 3128874"/>
              <a:gd name="connsiteX14" fmla="*/ 4483319 w 5086770"/>
              <a:gd name="connsiteY14" fmla="*/ 361184 h 3128874"/>
              <a:gd name="connsiteX15" fmla="*/ 4480236 w 5086770"/>
              <a:gd name="connsiteY15" fmla="*/ 373515 h 3128874"/>
              <a:gd name="connsiteX16" fmla="*/ 4474071 w 5086770"/>
              <a:gd name="connsiteY16" fmla="*/ 398176 h 3128874"/>
              <a:gd name="connsiteX17" fmla="*/ 4450950 w 5086770"/>
              <a:gd name="connsiteY17" fmla="*/ 498367 h 3128874"/>
              <a:gd name="connsiteX18" fmla="*/ 4440161 w 5086770"/>
              <a:gd name="connsiteY18" fmla="*/ 527652 h 3128874"/>
              <a:gd name="connsiteX19" fmla="*/ 4441700 w 5086770"/>
              <a:gd name="connsiteY19" fmla="*/ 539983 h 3128874"/>
              <a:gd name="connsiteX20" fmla="*/ 4437078 w 5086770"/>
              <a:gd name="connsiteY20" fmla="*/ 561562 h 3128874"/>
              <a:gd name="connsiteX21" fmla="*/ 4433995 w 5086770"/>
              <a:gd name="connsiteY21" fmla="*/ 576976 h 3128874"/>
              <a:gd name="connsiteX22" fmla="*/ 4433994 w 5086770"/>
              <a:gd name="connsiteY22" fmla="*/ 578519 h 3128874"/>
              <a:gd name="connsiteX23" fmla="*/ 4413956 w 5086770"/>
              <a:gd name="connsiteY23" fmla="*/ 797393 h 3128874"/>
              <a:gd name="connsiteX24" fmla="*/ 4438619 w 5086770"/>
              <a:gd name="connsiteY24" fmla="*/ 996230 h 3128874"/>
              <a:gd name="connsiteX25" fmla="*/ 4433995 w 5086770"/>
              <a:gd name="connsiteY25" fmla="*/ 1016268 h 3128874"/>
              <a:gd name="connsiteX26" fmla="*/ 4435536 w 5086770"/>
              <a:gd name="connsiteY26" fmla="*/ 1025517 h 3128874"/>
              <a:gd name="connsiteX27" fmla="*/ 4437078 w 5086770"/>
              <a:gd name="connsiteY27" fmla="*/ 1027057 h 3128874"/>
              <a:gd name="connsiteX28" fmla="*/ 4432452 w 5086770"/>
              <a:gd name="connsiteY28" fmla="*/ 1048636 h 3128874"/>
              <a:gd name="connsiteX29" fmla="*/ 4413956 w 5086770"/>
              <a:gd name="connsiteY29" fmla="*/ 1085630 h 3128874"/>
              <a:gd name="connsiteX30" fmla="*/ 4196623 w 5086770"/>
              <a:gd name="connsiteY30" fmla="*/ 1389280 h 3128874"/>
              <a:gd name="connsiteX31" fmla="*/ 4085645 w 5086770"/>
              <a:gd name="connsiteY31" fmla="*/ 1597365 h 3128874"/>
              <a:gd name="connsiteX32" fmla="*/ 4216661 w 5086770"/>
              <a:gd name="connsiteY32" fmla="*/ 1697556 h 3128874"/>
              <a:gd name="connsiteX33" fmla="*/ 4250571 w 5086770"/>
              <a:gd name="connsiteY33" fmla="*/ 1811617 h 3128874"/>
              <a:gd name="connsiteX34" fmla="*/ 4173502 w 5086770"/>
              <a:gd name="connsiteY34" fmla="*/ 1888685 h 3128874"/>
              <a:gd name="connsiteX35" fmla="*/ 4213578 w 5086770"/>
              <a:gd name="connsiteY35" fmla="*/ 2022784 h 3128874"/>
              <a:gd name="connsiteX36" fmla="*/ 4347678 w 5086770"/>
              <a:gd name="connsiteY36" fmla="*/ 2090605 h 3128874"/>
              <a:gd name="connsiteX37" fmla="*/ 4233616 w 5086770"/>
              <a:gd name="connsiteY37" fmla="*/ 2138388 h 3128874"/>
              <a:gd name="connsiteX38" fmla="*/ 4227451 w 5086770"/>
              <a:gd name="connsiteY38" fmla="*/ 2258616 h 3128874"/>
              <a:gd name="connsiteX39" fmla="*/ 4350761 w 5086770"/>
              <a:gd name="connsiteY39" fmla="*/ 2320270 h 3128874"/>
              <a:gd name="connsiteX40" fmla="*/ 4333805 w 5086770"/>
              <a:gd name="connsiteY40" fmla="*/ 2462077 h 3128874"/>
              <a:gd name="connsiteX41" fmla="*/ 4467905 w 5086770"/>
              <a:gd name="connsiteY41" fmla="*/ 2719486 h 3128874"/>
              <a:gd name="connsiteX42" fmla="*/ 4800655 w 5086770"/>
              <a:gd name="connsiteY42" fmla="*/ 2748491 h 3128874"/>
              <a:gd name="connsiteX43" fmla="*/ 4838191 w 5086770"/>
              <a:gd name="connsiteY43" fmla="*/ 2744074 h 3128874"/>
              <a:gd name="connsiteX44" fmla="*/ 4863823 w 5086770"/>
              <a:gd name="connsiteY44" fmla="*/ 2765476 h 3128874"/>
              <a:gd name="connsiteX45" fmla="*/ 4934321 w 5086770"/>
              <a:gd name="connsiteY45" fmla="*/ 2911083 h 3128874"/>
              <a:gd name="connsiteX46" fmla="*/ 4964162 w 5086770"/>
              <a:gd name="connsiteY46" fmla="*/ 3074402 h 3128874"/>
              <a:gd name="connsiteX47" fmla="*/ 4967647 w 5086770"/>
              <a:gd name="connsiteY47" fmla="*/ 3128874 h 3128874"/>
              <a:gd name="connsiteX48" fmla="*/ 4465138 w 5086770"/>
              <a:gd name="connsiteY48" fmla="*/ 3128874 h 3128874"/>
              <a:gd name="connsiteX49" fmla="*/ 4465138 w 5086770"/>
              <a:gd name="connsiteY49" fmla="*/ 3127460 h 3128874"/>
              <a:gd name="connsiteX50" fmla="*/ 3765314 w 5086770"/>
              <a:gd name="connsiteY50" fmla="*/ 3127460 h 3128874"/>
              <a:gd name="connsiteX51" fmla="*/ 1175459 w 5086770"/>
              <a:gd name="connsiteY51" fmla="*/ 0 h 3128874"/>
              <a:gd name="connsiteX52" fmla="*/ 2229594 w 5086770"/>
              <a:gd name="connsiteY52" fmla="*/ 0 h 3128874"/>
              <a:gd name="connsiteX53" fmla="*/ 3404781 w 5086770"/>
              <a:gd name="connsiteY53" fmla="*/ 3127460 h 3128874"/>
              <a:gd name="connsiteX54" fmla="*/ 2392789 w 5086770"/>
              <a:gd name="connsiteY54" fmla="*/ 3127460 h 3128874"/>
              <a:gd name="connsiteX55" fmla="*/ 2236317 w 5086770"/>
              <a:gd name="connsiteY55" fmla="*/ 2611186 h 3128874"/>
              <a:gd name="connsiteX56" fmla="*/ 1139165 w 5086770"/>
              <a:gd name="connsiteY56" fmla="*/ 2611186 h 3128874"/>
              <a:gd name="connsiteX57" fmla="*/ 986721 w 5086770"/>
              <a:gd name="connsiteY57" fmla="*/ 3127460 h 3128874"/>
              <a:gd name="connsiteX58" fmla="*/ 0 w 5086770"/>
              <a:gd name="connsiteY58" fmla="*/ 3127460 h 312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086770" h="3128874">
                <a:moveTo>
                  <a:pt x="5086770" y="1174706"/>
                </a:moveTo>
                <a:lnTo>
                  <a:pt x="5086770" y="1184663"/>
                </a:lnTo>
                <a:lnTo>
                  <a:pt x="5079830" y="1185820"/>
                </a:lnTo>
                <a:cubicBezTo>
                  <a:pt x="5079829" y="1184277"/>
                  <a:pt x="5078289" y="1184277"/>
                  <a:pt x="5078289" y="1182737"/>
                </a:cubicBezTo>
                <a:lnTo>
                  <a:pt x="5078289" y="1179654"/>
                </a:lnTo>
                <a:close/>
                <a:moveTo>
                  <a:pt x="1690658" y="810655"/>
                </a:moveTo>
                <a:lnTo>
                  <a:pt x="1349061" y="1934928"/>
                </a:lnTo>
                <a:lnTo>
                  <a:pt x="2035854" y="1934928"/>
                </a:lnTo>
                <a:close/>
                <a:moveTo>
                  <a:pt x="3765314" y="0"/>
                </a:moveTo>
                <a:lnTo>
                  <a:pt x="4465138" y="0"/>
                </a:lnTo>
                <a:lnTo>
                  <a:pt x="4675955" y="0"/>
                </a:lnTo>
                <a:lnTo>
                  <a:pt x="4659036" y="34412"/>
                </a:lnTo>
                <a:cubicBezTo>
                  <a:pt x="4655952" y="37496"/>
                  <a:pt x="4652870" y="40578"/>
                  <a:pt x="4651327" y="45203"/>
                </a:cubicBezTo>
                <a:cubicBezTo>
                  <a:pt x="4649787" y="48285"/>
                  <a:pt x="4649788" y="49827"/>
                  <a:pt x="4648245" y="51368"/>
                </a:cubicBezTo>
                <a:cubicBezTo>
                  <a:pt x="4632831" y="72947"/>
                  <a:pt x="4528018" y="224002"/>
                  <a:pt x="4483319" y="361184"/>
                </a:cubicBezTo>
                <a:cubicBezTo>
                  <a:pt x="4481777" y="365808"/>
                  <a:pt x="4480236" y="368891"/>
                  <a:pt x="4480236" y="373515"/>
                </a:cubicBezTo>
                <a:cubicBezTo>
                  <a:pt x="4478694" y="381223"/>
                  <a:pt x="4475612" y="390471"/>
                  <a:pt x="4474071" y="398176"/>
                </a:cubicBezTo>
                <a:cubicBezTo>
                  <a:pt x="4466362" y="432087"/>
                  <a:pt x="4458657" y="465997"/>
                  <a:pt x="4450950" y="498367"/>
                </a:cubicBezTo>
                <a:cubicBezTo>
                  <a:pt x="4444783" y="506073"/>
                  <a:pt x="4440160" y="516863"/>
                  <a:pt x="4440161" y="527652"/>
                </a:cubicBezTo>
                <a:cubicBezTo>
                  <a:pt x="4440160" y="532277"/>
                  <a:pt x="4440160" y="535360"/>
                  <a:pt x="4441700" y="539983"/>
                </a:cubicBezTo>
                <a:cubicBezTo>
                  <a:pt x="4440161" y="547691"/>
                  <a:pt x="4438618" y="555397"/>
                  <a:pt x="4437078" y="561562"/>
                </a:cubicBezTo>
                <a:cubicBezTo>
                  <a:pt x="4435535" y="566187"/>
                  <a:pt x="4433995" y="570810"/>
                  <a:pt x="4433995" y="576976"/>
                </a:cubicBezTo>
                <a:cubicBezTo>
                  <a:pt x="4433995" y="576976"/>
                  <a:pt x="4433994" y="578519"/>
                  <a:pt x="4433994" y="578519"/>
                </a:cubicBezTo>
                <a:cubicBezTo>
                  <a:pt x="4417039" y="674083"/>
                  <a:pt x="4407790" y="755776"/>
                  <a:pt x="4413956" y="797393"/>
                </a:cubicBezTo>
                <a:cubicBezTo>
                  <a:pt x="4421664" y="846717"/>
                  <a:pt x="4440160" y="929951"/>
                  <a:pt x="4438619" y="996230"/>
                </a:cubicBezTo>
                <a:cubicBezTo>
                  <a:pt x="4435535" y="1002395"/>
                  <a:pt x="4433995" y="1008560"/>
                  <a:pt x="4433995" y="1016268"/>
                </a:cubicBezTo>
                <a:cubicBezTo>
                  <a:pt x="4433995" y="1019351"/>
                  <a:pt x="4435536" y="1022434"/>
                  <a:pt x="4435536" y="1025517"/>
                </a:cubicBezTo>
                <a:cubicBezTo>
                  <a:pt x="4435536" y="1025517"/>
                  <a:pt x="4435535" y="1027057"/>
                  <a:pt x="4437078" y="1027057"/>
                </a:cubicBezTo>
                <a:cubicBezTo>
                  <a:pt x="4435536" y="1034764"/>
                  <a:pt x="4433994" y="1042471"/>
                  <a:pt x="4432452" y="1048636"/>
                </a:cubicBezTo>
                <a:lnTo>
                  <a:pt x="4413956" y="1085630"/>
                </a:lnTo>
                <a:cubicBezTo>
                  <a:pt x="4369257" y="1164240"/>
                  <a:pt x="4258278" y="1339957"/>
                  <a:pt x="4196623" y="1389280"/>
                </a:cubicBezTo>
                <a:cubicBezTo>
                  <a:pt x="4128802" y="1441687"/>
                  <a:pt x="4062523" y="1538793"/>
                  <a:pt x="4085645" y="1597365"/>
                </a:cubicBezTo>
                <a:cubicBezTo>
                  <a:pt x="4119555" y="1660562"/>
                  <a:pt x="4181210" y="1688307"/>
                  <a:pt x="4216661" y="1697556"/>
                </a:cubicBezTo>
                <a:cubicBezTo>
                  <a:pt x="4252112" y="1706804"/>
                  <a:pt x="4275233" y="1779247"/>
                  <a:pt x="4250571" y="1811617"/>
                </a:cubicBezTo>
                <a:cubicBezTo>
                  <a:pt x="4225909" y="1843985"/>
                  <a:pt x="4187375" y="1853233"/>
                  <a:pt x="4173502" y="1888685"/>
                </a:cubicBezTo>
                <a:cubicBezTo>
                  <a:pt x="4159630" y="1924137"/>
                  <a:pt x="4153465" y="1998123"/>
                  <a:pt x="4213578" y="2022784"/>
                </a:cubicBezTo>
                <a:cubicBezTo>
                  <a:pt x="4259818" y="2041281"/>
                  <a:pt x="4349219" y="2081356"/>
                  <a:pt x="4347678" y="2090605"/>
                </a:cubicBezTo>
                <a:cubicBezTo>
                  <a:pt x="4346136" y="2099853"/>
                  <a:pt x="4250570" y="2107561"/>
                  <a:pt x="4233616" y="2138388"/>
                </a:cubicBezTo>
                <a:cubicBezTo>
                  <a:pt x="4216660" y="2169216"/>
                  <a:pt x="4204330" y="2220080"/>
                  <a:pt x="4227451" y="2258616"/>
                </a:cubicBezTo>
                <a:cubicBezTo>
                  <a:pt x="4250571" y="2297149"/>
                  <a:pt x="4332264" y="2292526"/>
                  <a:pt x="4350761" y="2320270"/>
                </a:cubicBezTo>
                <a:cubicBezTo>
                  <a:pt x="4381588" y="2371135"/>
                  <a:pt x="4358466" y="2378843"/>
                  <a:pt x="4333805" y="2462077"/>
                </a:cubicBezTo>
                <a:cubicBezTo>
                  <a:pt x="4306060" y="2551476"/>
                  <a:pt x="4302977" y="2650125"/>
                  <a:pt x="4467905" y="2719486"/>
                </a:cubicBezTo>
                <a:cubicBezTo>
                  <a:pt x="4562314" y="2758983"/>
                  <a:pt x="4694054" y="2758743"/>
                  <a:pt x="4800655" y="2748491"/>
                </a:cubicBezTo>
                <a:lnTo>
                  <a:pt x="4838191" y="2744074"/>
                </a:lnTo>
                <a:lnTo>
                  <a:pt x="4863823" y="2765476"/>
                </a:lnTo>
                <a:cubicBezTo>
                  <a:pt x="4895578" y="2799449"/>
                  <a:pt x="4917344" y="2847230"/>
                  <a:pt x="4934321" y="2911083"/>
                </a:cubicBezTo>
                <a:cubicBezTo>
                  <a:pt x="4945640" y="2953651"/>
                  <a:pt x="4957371" y="3013267"/>
                  <a:pt x="4964162" y="3074402"/>
                </a:cubicBezTo>
                <a:lnTo>
                  <a:pt x="4967647" y="3128874"/>
                </a:lnTo>
                <a:lnTo>
                  <a:pt x="4465138" y="3128874"/>
                </a:lnTo>
                <a:lnTo>
                  <a:pt x="4465138" y="3127460"/>
                </a:lnTo>
                <a:lnTo>
                  <a:pt x="3765314" y="3127460"/>
                </a:lnTo>
                <a:close/>
                <a:moveTo>
                  <a:pt x="1175459" y="0"/>
                </a:moveTo>
                <a:lnTo>
                  <a:pt x="2229594" y="0"/>
                </a:lnTo>
                <a:lnTo>
                  <a:pt x="3404781" y="3127460"/>
                </a:lnTo>
                <a:lnTo>
                  <a:pt x="2392789" y="3127460"/>
                </a:lnTo>
                <a:lnTo>
                  <a:pt x="2236317" y="2611186"/>
                </a:lnTo>
                <a:lnTo>
                  <a:pt x="1139165" y="2611186"/>
                </a:lnTo>
                <a:lnTo>
                  <a:pt x="986721" y="3127460"/>
                </a:lnTo>
                <a:lnTo>
                  <a:pt x="0" y="3127460"/>
                </a:ln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2" name="Group 471">
            <a:extLst>
              <a:ext uri="{FF2B5EF4-FFF2-40B4-BE49-F238E27FC236}">
                <a16:creationId xmlns:a16="http://schemas.microsoft.com/office/drawing/2014/main" id="{37A9A9F4-6108-A142-B201-6E49FCEE258F}"/>
              </a:ext>
            </a:extLst>
          </p:cNvPr>
          <p:cNvGrpSpPr>
            <a:grpSpLocks noChangeAspect="1"/>
          </p:cNvGrpSpPr>
          <p:nvPr/>
        </p:nvGrpSpPr>
        <p:grpSpPr>
          <a:xfrm>
            <a:off x="8671861" y="1689956"/>
            <a:ext cx="1424639" cy="1712958"/>
            <a:chOff x="1174375" y="2336857"/>
            <a:chExt cx="1410352" cy="1695780"/>
          </a:xfrm>
        </p:grpSpPr>
        <p:sp>
          <p:nvSpPr>
            <p:cNvPr id="473" name="Graphic 2">
              <a:extLst>
                <a:ext uri="{FF2B5EF4-FFF2-40B4-BE49-F238E27FC236}">
                  <a16:creationId xmlns:a16="http://schemas.microsoft.com/office/drawing/2014/main" id="{F838C762-1DE9-B543-9D5C-A7FA4AAD21F1}"/>
                </a:ext>
              </a:extLst>
            </p:cNvPr>
            <p:cNvSpPr/>
            <p:nvPr/>
          </p:nvSpPr>
          <p:spPr>
            <a:xfrm>
              <a:off x="1174375" y="2336857"/>
              <a:ext cx="1410352" cy="1695780"/>
            </a:xfrm>
            <a:custGeom>
              <a:avLst/>
              <a:gdLst>
                <a:gd name="connsiteX0" fmla="*/ 198332 w 800100"/>
                <a:gd name="connsiteY0" fmla="*/ 961703 h 962025"/>
                <a:gd name="connsiteX1" fmla="*/ 646959 w 800100"/>
                <a:gd name="connsiteY1" fmla="*/ 961703 h 962025"/>
                <a:gd name="connsiteX2" fmla="*/ 610764 w 800100"/>
                <a:gd name="connsiteY2" fmla="*/ 885503 h 962025"/>
                <a:gd name="connsiteX3" fmla="*/ 686964 w 800100"/>
                <a:gd name="connsiteY3" fmla="*/ 625471 h 962025"/>
                <a:gd name="connsiteX4" fmla="*/ 786024 w 800100"/>
                <a:gd name="connsiteY4" fmla="*/ 283523 h 962025"/>
                <a:gd name="connsiteX5" fmla="*/ 359304 w 800100"/>
                <a:gd name="connsiteY5" fmla="*/ 14918 h 962025"/>
                <a:gd name="connsiteX6" fmla="*/ 124037 w 800100"/>
                <a:gd name="connsiteY6" fmla="*/ 211133 h 962025"/>
                <a:gd name="connsiteX7" fmla="*/ 116417 w 800100"/>
                <a:gd name="connsiteY7" fmla="*/ 270188 h 962025"/>
                <a:gd name="connsiteX8" fmla="*/ 59267 w 800100"/>
                <a:gd name="connsiteY8" fmla="*/ 367343 h 962025"/>
                <a:gd name="connsiteX9" fmla="*/ 13547 w 800100"/>
                <a:gd name="connsiteY9" fmla="*/ 427351 h 962025"/>
                <a:gd name="connsiteX10" fmla="*/ 24024 w 800100"/>
                <a:gd name="connsiteY10" fmla="*/ 515933 h 962025"/>
                <a:gd name="connsiteX11" fmla="*/ 63077 w 800100"/>
                <a:gd name="connsiteY11" fmla="*/ 552128 h 962025"/>
                <a:gd name="connsiteX12" fmla="*/ 18309 w 800100"/>
                <a:gd name="connsiteY12" fmla="*/ 570226 h 962025"/>
                <a:gd name="connsiteX13" fmla="*/ 30692 w 800100"/>
                <a:gd name="connsiteY13" fmla="*/ 609278 h 962025"/>
                <a:gd name="connsiteX14" fmla="*/ 29739 w 800100"/>
                <a:gd name="connsiteY14" fmla="*/ 673096 h 962025"/>
                <a:gd name="connsiteX15" fmla="*/ 85937 w 800100"/>
                <a:gd name="connsiteY15" fmla="*/ 744533 h 962025"/>
                <a:gd name="connsiteX16" fmla="*/ 225002 w 800100"/>
                <a:gd name="connsiteY16" fmla="*/ 764536 h 962025"/>
                <a:gd name="connsiteX17" fmla="*/ 198332 w 800100"/>
                <a:gd name="connsiteY17" fmla="*/ 961703 h 96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0100" h="962025">
                  <a:moveTo>
                    <a:pt x="198332" y="961703"/>
                  </a:moveTo>
                  <a:lnTo>
                    <a:pt x="646959" y="961703"/>
                  </a:lnTo>
                  <a:cubicBezTo>
                    <a:pt x="633624" y="935986"/>
                    <a:pt x="619337" y="903601"/>
                    <a:pt x="610764" y="885503"/>
                  </a:cubicBezTo>
                  <a:cubicBezTo>
                    <a:pt x="586952" y="829306"/>
                    <a:pt x="604097" y="706433"/>
                    <a:pt x="686964" y="625471"/>
                  </a:cubicBezTo>
                  <a:cubicBezTo>
                    <a:pt x="766022" y="548318"/>
                    <a:pt x="817457" y="398776"/>
                    <a:pt x="786024" y="283523"/>
                  </a:cubicBezTo>
                  <a:cubicBezTo>
                    <a:pt x="734589" y="93023"/>
                    <a:pt x="563139" y="-25087"/>
                    <a:pt x="359304" y="14918"/>
                  </a:cubicBezTo>
                  <a:cubicBezTo>
                    <a:pt x="359304" y="14918"/>
                    <a:pt x="183092" y="36826"/>
                    <a:pt x="124037" y="211133"/>
                  </a:cubicBezTo>
                  <a:cubicBezTo>
                    <a:pt x="124037" y="211133"/>
                    <a:pt x="114512" y="236851"/>
                    <a:pt x="116417" y="270188"/>
                  </a:cubicBezTo>
                  <a:cubicBezTo>
                    <a:pt x="121179" y="323528"/>
                    <a:pt x="83079" y="354961"/>
                    <a:pt x="59267" y="367343"/>
                  </a:cubicBezTo>
                  <a:cubicBezTo>
                    <a:pt x="34502" y="380678"/>
                    <a:pt x="-9313" y="402586"/>
                    <a:pt x="13547" y="427351"/>
                  </a:cubicBezTo>
                  <a:cubicBezTo>
                    <a:pt x="41169" y="457831"/>
                    <a:pt x="39264" y="496883"/>
                    <a:pt x="24024" y="515933"/>
                  </a:cubicBezTo>
                  <a:cubicBezTo>
                    <a:pt x="4974" y="538793"/>
                    <a:pt x="60219" y="539746"/>
                    <a:pt x="63077" y="552128"/>
                  </a:cubicBezTo>
                  <a:cubicBezTo>
                    <a:pt x="65934" y="565463"/>
                    <a:pt x="22119" y="554986"/>
                    <a:pt x="18309" y="570226"/>
                  </a:cubicBezTo>
                  <a:cubicBezTo>
                    <a:pt x="14499" y="586418"/>
                    <a:pt x="26882" y="590228"/>
                    <a:pt x="30692" y="609278"/>
                  </a:cubicBezTo>
                  <a:cubicBezTo>
                    <a:pt x="34502" y="628328"/>
                    <a:pt x="31644" y="663571"/>
                    <a:pt x="29739" y="673096"/>
                  </a:cubicBezTo>
                  <a:cubicBezTo>
                    <a:pt x="27834" y="682621"/>
                    <a:pt x="33549" y="739771"/>
                    <a:pt x="85937" y="744533"/>
                  </a:cubicBezTo>
                  <a:cubicBezTo>
                    <a:pt x="138324" y="749296"/>
                    <a:pt x="204047" y="738818"/>
                    <a:pt x="225002" y="764536"/>
                  </a:cubicBezTo>
                  <a:cubicBezTo>
                    <a:pt x="244052" y="790253"/>
                    <a:pt x="222144" y="890266"/>
                    <a:pt x="198332" y="961703"/>
                  </a:cubicBezTo>
                  <a:close/>
                </a:path>
              </a:pathLst>
            </a:custGeom>
            <a:solidFill>
              <a:srgbClr val="004149"/>
            </a:solidFill>
            <a:ln w="9525" cap="flat">
              <a:noFill/>
              <a:prstDash val="solid"/>
              <a:miter/>
            </a:ln>
          </p:spPr>
          <p:txBody>
            <a:bodyPr rtlCol="0" anchor="ctr"/>
            <a:lstStyle/>
            <a:p>
              <a:endParaRPr lang="en-US"/>
            </a:p>
          </p:txBody>
        </p:sp>
        <p:grpSp>
          <p:nvGrpSpPr>
            <p:cNvPr id="474" name="Group 473">
              <a:extLst>
                <a:ext uri="{FF2B5EF4-FFF2-40B4-BE49-F238E27FC236}">
                  <a16:creationId xmlns:a16="http://schemas.microsoft.com/office/drawing/2014/main" id="{F126712F-66EE-434A-BC98-F15853D7E441}"/>
                </a:ext>
              </a:extLst>
            </p:cNvPr>
            <p:cNvGrpSpPr/>
            <p:nvPr/>
          </p:nvGrpSpPr>
          <p:grpSpPr>
            <a:xfrm>
              <a:off x="1684786" y="2516290"/>
              <a:ext cx="702035" cy="687994"/>
              <a:chOff x="1684786" y="2516290"/>
              <a:chExt cx="702035" cy="687994"/>
            </a:xfrm>
          </p:grpSpPr>
          <p:sp>
            <p:nvSpPr>
              <p:cNvPr id="475" name="Graphic 4">
                <a:extLst>
                  <a:ext uri="{FF2B5EF4-FFF2-40B4-BE49-F238E27FC236}">
                    <a16:creationId xmlns:a16="http://schemas.microsoft.com/office/drawing/2014/main" id="{1D328F10-984A-9349-B601-99103158A5AB}"/>
                  </a:ext>
                </a:extLst>
              </p:cNvPr>
              <p:cNvSpPr/>
              <p:nvPr/>
            </p:nvSpPr>
            <p:spPr>
              <a:xfrm>
                <a:off x="1684786" y="2516290"/>
                <a:ext cx="702035" cy="687994"/>
              </a:xfrm>
              <a:custGeom>
                <a:avLst/>
                <a:gdLst>
                  <a:gd name="connsiteX0" fmla="*/ 462439 w 476250"/>
                  <a:gd name="connsiteY0" fmla="*/ 160496 h 466725"/>
                  <a:gd name="connsiteX1" fmla="*/ 469106 w 476250"/>
                  <a:gd name="connsiteY1" fmla="*/ 153829 h 466725"/>
                  <a:gd name="connsiteX2" fmla="*/ 469106 w 476250"/>
                  <a:gd name="connsiteY2" fmla="*/ 149066 h 466725"/>
                  <a:gd name="connsiteX3" fmla="*/ 462439 w 476250"/>
                  <a:gd name="connsiteY3" fmla="*/ 142399 h 466725"/>
                  <a:gd name="connsiteX4" fmla="*/ 415766 w 476250"/>
                  <a:gd name="connsiteY4" fmla="*/ 142399 h 466725"/>
                  <a:gd name="connsiteX5" fmla="*/ 415766 w 476250"/>
                  <a:gd name="connsiteY5" fmla="*/ 93821 h 466725"/>
                  <a:gd name="connsiteX6" fmla="*/ 391954 w 476250"/>
                  <a:gd name="connsiteY6" fmla="*/ 70009 h 466725"/>
                  <a:gd name="connsiteX7" fmla="*/ 333851 w 476250"/>
                  <a:gd name="connsiteY7" fmla="*/ 70009 h 466725"/>
                  <a:gd name="connsiteX8" fmla="*/ 333851 w 476250"/>
                  <a:gd name="connsiteY8" fmla="*/ 13811 h 466725"/>
                  <a:gd name="connsiteX9" fmla="*/ 327184 w 476250"/>
                  <a:gd name="connsiteY9" fmla="*/ 7144 h 466725"/>
                  <a:gd name="connsiteX10" fmla="*/ 322421 w 476250"/>
                  <a:gd name="connsiteY10" fmla="*/ 7144 h 466725"/>
                  <a:gd name="connsiteX11" fmla="*/ 315754 w 476250"/>
                  <a:gd name="connsiteY11" fmla="*/ 13811 h 466725"/>
                  <a:gd name="connsiteX12" fmla="*/ 315754 w 476250"/>
                  <a:gd name="connsiteY12" fmla="*/ 70009 h 466725"/>
                  <a:gd name="connsiteX13" fmla="*/ 290989 w 476250"/>
                  <a:gd name="connsiteY13" fmla="*/ 70009 h 466725"/>
                  <a:gd name="connsiteX14" fmla="*/ 290989 w 476250"/>
                  <a:gd name="connsiteY14" fmla="*/ 13811 h 466725"/>
                  <a:gd name="connsiteX15" fmla="*/ 283369 w 476250"/>
                  <a:gd name="connsiteY15" fmla="*/ 7144 h 466725"/>
                  <a:gd name="connsiteX16" fmla="*/ 278606 w 476250"/>
                  <a:gd name="connsiteY16" fmla="*/ 7144 h 466725"/>
                  <a:gd name="connsiteX17" fmla="*/ 271939 w 476250"/>
                  <a:gd name="connsiteY17" fmla="*/ 13811 h 466725"/>
                  <a:gd name="connsiteX18" fmla="*/ 271939 w 476250"/>
                  <a:gd name="connsiteY18" fmla="*/ 70009 h 466725"/>
                  <a:gd name="connsiteX19" fmla="*/ 247174 w 476250"/>
                  <a:gd name="connsiteY19" fmla="*/ 70009 h 466725"/>
                  <a:gd name="connsiteX20" fmla="*/ 247174 w 476250"/>
                  <a:gd name="connsiteY20" fmla="*/ 13811 h 466725"/>
                  <a:gd name="connsiteX21" fmla="*/ 240506 w 476250"/>
                  <a:gd name="connsiteY21" fmla="*/ 7144 h 466725"/>
                  <a:gd name="connsiteX22" fmla="*/ 235744 w 476250"/>
                  <a:gd name="connsiteY22" fmla="*/ 7144 h 466725"/>
                  <a:gd name="connsiteX23" fmla="*/ 229076 w 476250"/>
                  <a:gd name="connsiteY23" fmla="*/ 13811 h 466725"/>
                  <a:gd name="connsiteX24" fmla="*/ 229076 w 476250"/>
                  <a:gd name="connsiteY24" fmla="*/ 70009 h 466725"/>
                  <a:gd name="connsiteX25" fmla="*/ 204311 w 476250"/>
                  <a:gd name="connsiteY25" fmla="*/ 70009 h 466725"/>
                  <a:gd name="connsiteX26" fmla="*/ 204311 w 476250"/>
                  <a:gd name="connsiteY26" fmla="*/ 13811 h 466725"/>
                  <a:gd name="connsiteX27" fmla="*/ 197644 w 476250"/>
                  <a:gd name="connsiteY27" fmla="*/ 7144 h 466725"/>
                  <a:gd name="connsiteX28" fmla="*/ 192881 w 476250"/>
                  <a:gd name="connsiteY28" fmla="*/ 7144 h 466725"/>
                  <a:gd name="connsiteX29" fmla="*/ 186214 w 476250"/>
                  <a:gd name="connsiteY29" fmla="*/ 13811 h 466725"/>
                  <a:gd name="connsiteX30" fmla="*/ 186214 w 476250"/>
                  <a:gd name="connsiteY30" fmla="*/ 70009 h 466725"/>
                  <a:gd name="connsiteX31" fmla="*/ 161449 w 476250"/>
                  <a:gd name="connsiteY31" fmla="*/ 70009 h 466725"/>
                  <a:gd name="connsiteX32" fmla="*/ 161449 w 476250"/>
                  <a:gd name="connsiteY32" fmla="*/ 13811 h 466725"/>
                  <a:gd name="connsiteX33" fmla="*/ 154781 w 476250"/>
                  <a:gd name="connsiteY33" fmla="*/ 7144 h 466725"/>
                  <a:gd name="connsiteX34" fmla="*/ 150019 w 476250"/>
                  <a:gd name="connsiteY34" fmla="*/ 7144 h 466725"/>
                  <a:gd name="connsiteX35" fmla="*/ 143351 w 476250"/>
                  <a:gd name="connsiteY35" fmla="*/ 13811 h 466725"/>
                  <a:gd name="connsiteX36" fmla="*/ 143351 w 476250"/>
                  <a:gd name="connsiteY36" fmla="*/ 70009 h 466725"/>
                  <a:gd name="connsiteX37" fmla="*/ 88106 w 476250"/>
                  <a:gd name="connsiteY37" fmla="*/ 70009 h 466725"/>
                  <a:gd name="connsiteX38" fmla="*/ 64294 w 476250"/>
                  <a:gd name="connsiteY38" fmla="*/ 93821 h 466725"/>
                  <a:gd name="connsiteX39" fmla="*/ 64294 w 476250"/>
                  <a:gd name="connsiteY39" fmla="*/ 142399 h 466725"/>
                  <a:gd name="connsiteX40" fmla="*/ 13811 w 476250"/>
                  <a:gd name="connsiteY40" fmla="*/ 142399 h 466725"/>
                  <a:gd name="connsiteX41" fmla="*/ 7144 w 476250"/>
                  <a:gd name="connsiteY41" fmla="*/ 149066 h 466725"/>
                  <a:gd name="connsiteX42" fmla="*/ 7144 w 476250"/>
                  <a:gd name="connsiteY42" fmla="*/ 153829 h 466725"/>
                  <a:gd name="connsiteX43" fmla="*/ 13811 w 476250"/>
                  <a:gd name="connsiteY43" fmla="*/ 160496 h 466725"/>
                  <a:gd name="connsiteX44" fmla="*/ 64294 w 476250"/>
                  <a:gd name="connsiteY44" fmla="*/ 160496 h 466725"/>
                  <a:gd name="connsiteX45" fmla="*/ 64294 w 476250"/>
                  <a:gd name="connsiteY45" fmla="*/ 185261 h 466725"/>
                  <a:gd name="connsiteX46" fmla="*/ 13811 w 476250"/>
                  <a:gd name="connsiteY46" fmla="*/ 185261 h 466725"/>
                  <a:gd name="connsiteX47" fmla="*/ 7144 w 476250"/>
                  <a:gd name="connsiteY47" fmla="*/ 191929 h 466725"/>
                  <a:gd name="connsiteX48" fmla="*/ 7144 w 476250"/>
                  <a:gd name="connsiteY48" fmla="*/ 196691 h 466725"/>
                  <a:gd name="connsiteX49" fmla="*/ 13811 w 476250"/>
                  <a:gd name="connsiteY49" fmla="*/ 203359 h 466725"/>
                  <a:gd name="connsiteX50" fmla="*/ 64294 w 476250"/>
                  <a:gd name="connsiteY50" fmla="*/ 203359 h 466725"/>
                  <a:gd name="connsiteX51" fmla="*/ 64294 w 476250"/>
                  <a:gd name="connsiteY51" fmla="*/ 228124 h 466725"/>
                  <a:gd name="connsiteX52" fmla="*/ 13811 w 476250"/>
                  <a:gd name="connsiteY52" fmla="*/ 228124 h 466725"/>
                  <a:gd name="connsiteX53" fmla="*/ 7144 w 476250"/>
                  <a:gd name="connsiteY53" fmla="*/ 235744 h 466725"/>
                  <a:gd name="connsiteX54" fmla="*/ 7144 w 476250"/>
                  <a:gd name="connsiteY54" fmla="*/ 240506 h 466725"/>
                  <a:gd name="connsiteX55" fmla="*/ 13811 w 476250"/>
                  <a:gd name="connsiteY55" fmla="*/ 247174 h 466725"/>
                  <a:gd name="connsiteX56" fmla="*/ 64294 w 476250"/>
                  <a:gd name="connsiteY56" fmla="*/ 247174 h 466725"/>
                  <a:gd name="connsiteX57" fmla="*/ 64294 w 476250"/>
                  <a:gd name="connsiteY57" fmla="*/ 271939 h 466725"/>
                  <a:gd name="connsiteX58" fmla="*/ 13811 w 476250"/>
                  <a:gd name="connsiteY58" fmla="*/ 271939 h 466725"/>
                  <a:gd name="connsiteX59" fmla="*/ 7144 w 476250"/>
                  <a:gd name="connsiteY59" fmla="*/ 278606 h 466725"/>
                  <a:gd name="connsiteX60" fmla="*/ 7144 w 476250"/>
                  <a:gd name="connsiteY60" fmla="*/ 283369 h 466725"/>
                  <a:gd name="connsiteX61" fmla="*/ 13811 w 476250"/>
                  <a:gd name="connsiteY61" fmla="*/ 290036 h 466725"/>
                  <a:gd name="connsiteX62" fmla="*/ 64294 w 476250"/>
                  <a:gd name="connsiteY62" fmla="*/ 290036 h 466725"/>
                  <a:gd name="connsiteX63" fmla="*/ 64294 w 476250"/>
                  <a:gd name="connsiteY63" fmla="*/ 314801 h 466725"/>
                  <a:gd name="connsiteX64" fmla="*/ 13811 w 476250"/>
                  <a:gd name="connsiteY64" fmla="*/ 314801 h 466725"/>
                  <a:gd name="connsiteX65" fmla="*/ 7144 w 476250"/>
                  <a:gd name="connsiteY65" fmla="*/ 321469 h 466725"/>
                  <a:gd name="connsiteX66" fmla="*/ 7144 w 476250"/>
                  <a:gd name="connsiteY66" fmla="*/ 326231 h 466725"/>
                  <a:gd name="connsiteX67" fmla="*/ 13811 w 476250"/>
                  <a:gd name="connsiteY67" fmla="*/ 332899 h 466725"/>
                  <a:gd name="connsiteX68" fmla="*/ 64294 w 476250"/>
                  <a:gd name="connsiteY68" fmla="*/ 332899 h 466725"/>
                  <a:gd name="connsiteX69" fmla="*/ 64294 w 476250"/>
                  <a:gd name="connsiteY69" fmla="*/ 380524 h 466725"/>
                  <a:gd name="connsiteX70" fmla="*/ 88106 w 476250"/>
                  <a:gd name="connsiteY70" fmla="*/ 404336 h 466725"/>
                  <a:gd name="connsiteX71" fmla="*/ 142399 w 476250"/>
                  <a:gd name="connsiteY71" fmla="*/ 404336 h 466725"/>
                  <a:gd name="connsiteX72" fmla="*/ 142399 w 476250"/>
                  <a:gd name="connsiteY72" fmla="*/ 461486 h 466725"/>
                  <a:gd name="connsiteX73" fmla="*/ 149066 w 476250"/>
                  <a:gd name="connsiteY73" fmla="*/ 468154 h 466725"/>
                  <a:gd name="connsiteX74" fmla="*/ 153829 w 476250"/>
                  <a:gd name="connsiteY74" fmla="*/ 468154 h 466725"/>
                  <a:gd name="connsiteX75" fmla="*/ 160496 w 476250"/>
                  <a:gd name="connsiteY75" fmla="*/ 461486 h 466725"/>
                  <a:gd name="connsiteX76" fmla="*/ 160496 w 476250"/>
                  <a:gd name="connsiteY76" fmla="*/ 404336 h 466725"/>
                  <a:gd name="connsiteX77" fmla="*/ 185261 w 476250"/>
                  <a:gd name="connsiteY77" fmla="*/ 404336 h 466725"/>
                  <a:gd name="connsiteX78" fmla="*/ 185261 w 476250"/>
                  <a:gd name="connsiteY78" fmla="*/ 461486 h 466725"/>
                  <a:gd name="connsiteX79" fmla="*/ 191929 w 476250"/>
                  <a:gd name="connsiteY79" fmla="*/ 468154 h 466725"/>
                  <a:gd name="connsiteX80" fmla="*/ 196691 w 476250"/>
                  <a:gd name="connsiteY80" fmla="*/ 468154 h 466725"/>
                  <a:gd name="connsiteX81" fmla="*/ 203359 w 476250"/>
                  <a:gd name="connsiteY81" fmla="*/ 461486 h 466725"/>
                  <a:gd name="connsiteX82" fmla="*/ 203359 w 476250"/>
                  <a:gd name="connsiteY82" fmla="*/ 404336 h 466725"/>
                  <a:gd name="connsiteX83" fmla="*/ 228124 w 476250"/>
                  <a:gd name="connsiteY83" fmla="*/ 404336 h 466725"/>
                  <a:gd name="connsiteX84" fmla="*/ 228124 w 476250"/>
                  <a:gd name="connsiteY84" fmla="*/ 461486 h 466725"/>
                  <a:gd name="connsiteX85" fmla="*/ 234791 w 476250"/>
                  <a:gd name="connsiteY85" fmla="*/ 468154 h 466725"/>
                  <a:gd name="connsiteX86" fmla="*/ 239554 w 476250"/>
                  <a:gd name="connsiteY86" fmla="*/ 468154 h 466725"/>
                  <a:gd name="connsiteX87" fmla="*/ 246221 w 476250"/>
                  <a:gd name="connsiteY87" fmla="*/ 461486 h 466725"/>
                  <a:gd name="connsiteX88" fmla="*/ 246221 w 476250"/>
                  <a:gd name="connsiteY88" fmla="*/ 404336 h 466725"/>
                  <a:gd name="connsiteX89" fmla="*/ 270986 w 476250"/>
                  <a:gd name="connsiteY89" fmla="*/ 404336 h 466725"/>
                  <a:gd name="connsiteX90" fmla="*/ 270986 w 476250"/>
                  <a:gd name="connsiteY90" fmla="*/ 461486 h 466725"/>
                  <a:gd name="connsiteX91" fmla="*/ 277654 w 476250"/>
                  <a:gd name="connsiteY91" fmla="*/ 468154 h 466725"/>
                  <a:gd name="connsiteX92" fmla="*/ 283369 w 476250"/>
                  <a:gd name="connsiteY92" fmla="*/ 468154 h 466725"/>
                  <a:gd name="connsiteX93" fmla="*/ 290036 w 476250"/>
                  <a:gd name="connsiteY93" fmla="*/ 461486 h 466725"/>
                  <a:gd name="connsiteX94" fmla="*/ 290036 w 476250"/>
                  <a:gd name="connsiteY94" fmla="*/ 404336 h 466725"/>
                  <a:gd name="connsiteX95" fmla="*/ 314801 w 476250"/>
                  <a:gd name="connsiteY95" fmla="*/ 404336 h 466725"/>
                  <a:gd name="connsiteX96" fmla="*/ 314801 w 476250"/>
                  <a:gd name="connsiteY96" fmla="*/ 461486 h 466725"/>
                  <a:gd name="connsiteX97" fmla="*/ 321469 w 476250"/>
                  <a:gd name="connsiteY97" fmla="*/ 468154 h 466725"/>
                  <a:gd name="connsiteX98" fmla="*/ 326231 w 476250"/>
                  <a:gd name="connsiteY98" fmla="*/ 468154 h 466725"/>
                  <a:gd name="connsiteX99" fmla="*/ 332899 w 476250"/>
                  <a:gd name="connsiteY99" fmla="*/ 461486 h 466725"/>
                  <a:gd name="connsiteX100" fmla="*/ 332899 w 476250"/>
                  <a:gd name="connsiteY100" fmla="*/ 404336 h 466725"/>
                  <a:gd name="connsiteX101" fmla="*/ 391001 w 476250"/>
                  <a:gd name="connsiteY101" fmla="*/ 404336 h 466725"/>
                  <a:gd name="connsiteX102" fmla="*/ 414814 w 476250"/>
                  <a:gd name="connsiteY102" fmla="*/ 380524 h 466725"/>
                  <a:gd name="connsiteX103" fmla="*/ 414814 w 476250"/>
                  <a:gd name="connsiteY103" fmla="*/ 332899 h 466725"/>
                  <a:gd name="connsiteX104" fmla="*/ 461486 w 476250"/>
                  <a:gd name="connsiteY104" fmla="*/ 332899 h 466725"/>
                  <a:gd name="connsiteX105" fmla="*/ 468154 w 476250"/>
                  <a:gd name="connsiteY105" fmla="*/ 326231 h 466725"/>
                  <a:gd name="connsiteX106" fmla="*/ 468154 w 476250"/>
                  <a:gd name="connsiteY106" fmla="*/ 321469 h 466725"/>
                  <a:gd name="connsiteX107" fmla="*/ 461486 w 476250"/>
                  <a:gd name="connsiteY107" fmla="*/ 314801 h 466725"/>
                  <a:gd name="connsiteX108" fmla="*/ 414814 w 476250"/>
                  <a:gd name="connsiteY108" fmla="*/ 314801 h 466725"/>
                  <a:gd name="connsiteX109" fmla="*/ 414814 w 476250"/>
                  <a:gd name="connsiteY109" fmla="*/ 290036 h 466725"/>
                  <a:gd name="connsiteX110" fmla="*/ 461486 w 476250"/>
                  <a:gd name="connsiteY110" fmla="*/ 290036 h 466725"/>
                  <a:gd name="connsiteX111" fmla="*/ 468154 w 476250"/>
                  <a:gd name="connsiteY111" fmla="*/ 283369 h 466725"/>
                  <a:gd name="connsiteX112" fmla="*/ 468154 w 476250"/>
                  <a:gd name="connsiteY112" fmla="*/ 278606 h 466725"/>
                  <a:gd name="connsiteX113" fmla="*/ 461486 w 476250"/>
                  <a:gd name="connsiteY113" fmla="*/ 271939 h 466725"/>
                  <a:gd name="connsiteX114" fmla="*/ 414814 w 476250"/>
                  <a:gd name="connsiteY114" fmla="*/ 271939 h 466725"/>
                  <a:gd name="connsiteX115" fmla="*/ 414814 w 476250"/>
                  <a:gd name="connsiteY115" fmla="*/ 247174 h 466725"/>
                  <a:gd name="connsiteX116" fmla="*/ 461486 w 476250"/>
                  <a:gd name="connsiteY116" fmla="*/ 247174 h 466725"/>
                  <a:gd name="connsiteX117" fmla="*/ 468154 w 476250"/>
                  <a:gd name="connsiteY117" fmla="*/ 240506 h 466725"/>
                  <a:gd name="connsiteX118" fmla="*/ 468154 w 476250"/>
                  <a:gd name="connsiteY118" fmla="*/ 235744 h 466725"/>
                  <a:gd name="connsiteX119" fmla="*/ 461486 w 476250"/>
                  <a:gd name="connsiteY119" fmla="*/ 229076 h 466725"/>
                  <a:gd name="connsiteX120" fmla="*/ 414814 w 476250"/>
                  <a:gd name="connsiteY120" fmla="*/ 229076 h 466725"/>
                  <a:gd name="connsiteX121" fmla="*/ 414814 w 476250"/>
                  <a:gd name="connsiteY121" fmla="*/ 204311 h 466725"/>
                  <a:gd name="connsiteX122" fmla="*/ 461486 w 476250"/>
                  <a:gd name="connsiteY122" fmla="*/ 204311 h 466725"/>
                  <a:gd name="connsiteX123" fmla="*/ 468154 w 476250"/>
                  <a:gd name="connsiteY123" fmla="*/ 197644 h 466725"/>
                  <a:gd name="connsiteX124" fmla="*/ 468154 w 476250"/>
                  <a:gd name="connsiteY124" fmla="*/ 192881 h 466725"/>
                  <a:gd name="connsiteX125" fmla="*/ 461486 w 476250"/>
                  <a:gd name="connsiteY125" fmla="*/ 186214 h 466725"/>
                  <a:gd name="connsiteX126" fmla="*/ 414814 w 476250"/>
                  <a:gd name="connsiteY126" fmla="*/ 186214 h 466725"/>
                  <a:gd name="connsiteX127" fmla="*/ 414814 w 476250"/>
                  <a:gd name="connsiteY127" fmla="*/ 161449 h 466725"/>
                  <a:gd name="connsiteX128" fmla="*/ 462439 w 476250"/>
                  <a:gd name="connsiteY128" fmla="*/ 161449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76250" h="466725">
                    <a:moveTo>
                      <a:pt x="462439" y="160496"/>
                    </a:moveTo>
                    <a:cubicBezTo>
                      <a:pt x="466249" y="160496"/>
                      <a:pt x="469106" y="157639"/>
                      <a:pt x="469106" y="153829"/>
                    </a:cubicBezTo>
                    <a:lnTo>
                      <a:pt x="469106" y="149066"/>
                    </a:lnTo>
                    <a:cubicBezTo>
                      <a:pt x="469106" y="145256"/>
                      <a:pt x="466249" y="142399"/>
                      <a:pt x="462439" y="142399"/>
                    </a:cubicBezTo>
                    <a:lnTo>
                      <a:pt x="415766" y="142399"/>
                    </a:lnTo>
                    <a:lnTo>
                      <a:pt x="415766" y="93821"/>
                    </a:lnTo>
                    <a:cubicBezTo>
                      <a:pt x="415766" y="80486"/>
                      <a:pt x="405289" y="70009"/>
                      <a:pt x="391954" y="70009"/>
                    </a:cubicBezTo>
                    <a:lnTo>
                      <a:pt x="333851" y="70009"/>
                    </a:lnTo>
                    <a:lnTo>
                      <a:pt x="333851" y="13811"/>
                    </a:lnTo>
                    <a:cubicBezTo>
                      <a:pt x="333851" y="10001"/>
                      <a:pt x="330994" y="7144"/>
                      <a:pt x="327184" y="7144"/>
                    </a:cubicBezTo>
                    <a:lnTo>
                      <a:pt x="322421" y="7144"/>
                    </a:lnTo>
                    <a:cubicBezTo>
                      <a:pt x="318611" y="7144"/>
                      <a:pt x="315754" y="10001"/>
                      <a:pt x="315754" y="13811"/>
                    </a:cubicBezTo>
                    <a:lnTo>
                      <a:pt x="315754" y="70009"/>
                    </a:lnTo>
                    <a:lnTo>
                      <a:pt x="290989" y="70009"/>
                    </a:lnTo>
                    <a:lnTo>
                      <a:pt x="290989" y="13811"/>
                    </a:lnTo>
                    <a:cubicBezTo>
                      <a:pt x="290989" y="10001"/>
                      <a:pt x="287179" y="7144"/>
                      <a:pt x="283369" y="7144"/>
                    </a:cubicBezTo>
                    <a:lnTo>
                      <a:pt x="278606" y="7144"/>
                    </a:lnTo>
                    <a:cubicBezTo>
                      <a:pt x="274796" y="7144"/>
                      <a:pt x="271939" y="10001"/>
                      <a:pt x="271939" y="13811"/>
                    </a:cubicBezTo>
                    <a:lnTo>
                      <a:pt x="271939" y="70009"/>
                    </a:lnTo>
                    <a:lnTo>
                      <a:pt x="247174" y="70009"/>
                    </a:lnTo>
                    <a:lnTo>
                      <a:pt x="247174" y="13811"/>
                    </a:lnTo>
                    <a:cubicBezTo>
                      <a:pt x="247174" y="10001"/>
                      <a:pt x="244316" y="7144"/>
                      <a:pt x="240506" y="7144"/>
                    </a:cubicBezTo>
                    <a:lnTo>
                      <a:pt x="235744" y="7144"/>
                    </a:lnTo>
                    <a:cubicBezTo>
                      <a:pt x="231934" y="7144"/>
                      <a:pt x="229076" y="10001"/>
                      <a:pt x="229076" y="13811"/>
                    </a:cubicBezTo>
                    <a:lnTo>
                      <a:pt x="229076" y="70009"/>
                    </a:lnTo>
                    <a:lnTo>
                      <a:pt x="204311" y="70009"/>
                    </a:lnTo>
                    <a:lnTo>
                      <a:pt x="204311" y="13811"/>
                    </a:lnTo>
                    <a:cubicBezTo>
                      <a:pt x="204311" y="10001"/>
                      <a:pt x="201454" y="7144"/>
                      <a:pt x="197644" y="7144"/>
                    </a:cubicBezTo>
                    <a:lnTo>
                      <a:pt x="192881" y="7144"/>
                    </a:lnTo>
                    <a:cubicBezTo>
                      <a:pt x="189071" y="7144"/>
                      <a:pt x="186214" y="10001"/>
                      <a:pt x="186214" y="13811"/>
                    </a:cubicBezTo>
                    <a:lnTo>
                      <a:pt x="186214" y="70009"/>
                    </a:lnTo>
                    <a:lnTo>
                      <a:pt x="161449" y="70009"/>
                    </a:lnTo>
                    <a:lnTo>
                      <a:pt x="161449" y="13811"/>
                    </a:lnTo>
                    <a:cubicBezTo>
                      <a:pt x="161449" y="10001"/>
                      <a:pt x="158591" y="7144"/>
                      <a:pt x="154781" y="7144"/>
                    </a:cubicBezTo>
                    <a:lnTo>
                      <a:pt x="150019" y="7144"/>
                    </a:lnTo>
                    <a:cubicBezTo>
                      <a:pt x="146209" y="7144"/>
                      <a:pt x="143351" y="10001"/>
                      <a:pt x="143351" y="13811"/>
                    </a:cubicBezTo>
                    <a:lnTo>
                      <a:pt x="143351" y="70009"/>
                    </a:lnTo>
                    <a:lnTo>
                      <a:pt x="88106" y="70009"/>
                    </a:lnTo>
                    <a:cubicBezTo>
                      <a:pt x="74771" y="70009"/>
                      <a:pt x="64294" y="81439"/>
                      <a:pt x="64294" y="93821"/>
                    </a:cubicBezTo>
                    <a:lnTo>
                      <a:pt x="64294" y="142399"/>
                    </a:lnTo>
                    <a:lnTo>
                      <a:pt x="13811" y="142399"/>
                    </a:lnTo>
                    <a:cubicBezTo>
                      <a:pt x="10001" y="142399"/>
                      <a:pt x="7144" y="145256"/>
                      <a:pt x="7144" y="149066"/>
                    </a:cubicBezTo>
                    <a:lnTo>
                      <a:pt x="7144" y="153829"/>
                    </a:lnTo>
                    <a:cubicBezTo>
                      <a:pt x="7144" y="157639"/>
                      <a:pt x="10001" y="160496"/>
                      <a:pt x="13811" y="160496"/>
                    </a:cubicBezTo>
                    <a:lnTo>
                      <a:pt x="64294" y="160496"/>
                    </a:lnTo>
                    <a:lnTo>
                      <a:pt x="64294" y="185261"/>
                    </a:lnTo>
                    <a:lnTo>
                      <a:pt x="13811" y="185261"/>
                    </a:lnTo>
                    <a:cubicBezTo>
                      <a:pt x="10001" y="185261"/>
                      <a:pt x="7144" y="188119"/>
                      <a:pt x="7144" y="191929"/>
                    </a:cubicBezTo>
                    <a:lnTo>
                      <a:pt x="7144" y="196691"/>
                    </a:lnTo>
                    <a:cubicBezTo>
                      <a:pt x="7144" y="200501"/>
                      <a:pt x="10001" y="203359"/>
                      <a:pt x="13811" y="203359"/>
                    </a:cubicBezTo>
                    <a:lnTo>
                      <a:pt x="64294" y="203359"/>
                    </a:lnTo>
                    <a:lnTo>
                      <a:pt x="64294" y="228124"/>
                    </a:lnTo>
                    <a:lnTo>
                      <a:pt x="13811" y="228124"/>
                    </a:lnTo>
                    <a:cubicBezTo>
                      <a:pt x="10001" y="229076"/>
                      <a:pt x="7144" y="231934"/>
                      <a:pt x="7144" y="235744"/>
                    </a:cubicBezTo>
                    <a:lnTo>
                      <a:pt x="7144" y="240506"/>
                    </a:lnTo>
                    <a:cubicBezTo>
                      <a:pt x="7144" y="244316"/>
                      <a:pt x="10001" y="247174"/>
                      <a:pt x="13811" y="247174"/>
                    </a:cubicBezTo>
                    <a:lnTo>
                      <a:pt x="64294" y="247174"/>
                    </a:lnTo>
                    <a:lnTo>
                      <a:pt x="64294" y="271939"/>
                    </a:lnTo>
                    <a:lnTo>
                      <a:pt x="13811" y="271939"/>
                    </a:lnTo>
                    <a:cubicBezTo>
                      <a:pt x="10001" y="271939"/>
                      <a:pt x="7144" y="274796"/>
                      <a:pt x="7144" y="278606"/>
                    </a:cubicBezTo>
                    <a:lnTo>
                      <a:pt x="7144" y="283369"/>
                    </a:lnTo>
                    <a:cubicBezTo>
                      <a:pt x="7144" y="287179"/>
                      <a:pt x="10001" y="290036"/>
                      <a:pt x="13811" y="290036"/>
                    </a:cubicBezTo>
                    <a:lnTo>
                      <a:pt x="64294" y="290036"/>
                    </a:lnTo>
                    <a:lnTo>
                      <a:pt x="64294" y="314801"/>
                    </a:lnTo>
                    <a:lnTo>
                      <a:pt x="13811" y="314801"/>
                    </a:lnTo>
                    <a:cubicBezTo>
                      <a:pt x="10001" y="314801"/>
                      <a:pt x="7144" y="317659"/>
                      <a:pt x="7144" y="321469"/>
                    </a:cubicBezTo>
                    <a:lnTo>
                      <a:pt x="7144" y="326231"/>
                    </a:lnTo>
                    <a:cubicBezTo>
                      <a:pt x="7144" y="330041"/>
                      <a:pt x="10001" y="332899"/>
                      <a:pt x="13811" y="332899"/>
                    </a:cubicBezTo>
                    <a:lnTo>
                      <a:pt x="64294" y="332899"/>
                    </a:lnTo>
                    <a:lnTo>
                      <a:pt x="64294" y="380524"/>
                    </a:lnTo>
                    <a:cubicBezTo>
                      <a:pt x="64294" y="393859"/>
                      <a:pt x="74771" y="404336"/>
                      <a:pt x="88106" y="404336"/>
                    </a:cubicBezTo>
                    <a:lnTo>
                      <a:pt x="142399" y="404336"/>
                    </a:lnTo>
                    <a:lnTo>
                      <a:pt x="142399" y="461486"/>
                    </a:lnTo>
                    <a:cubicBezTo>
                      <a:pt x="142399" y="465296"/>
                      <a:pt x="145256" y="468154"/>
                      <a:pt x="149066" y="468154"/>
                    </a:cubicBezTo>
                    <a:lnTo>
                      <a:pt x="153829" y="468154"/>
                    </a:lnTo>
                    <a:cubicBezTo>
                      <a:pt x="157639" y="468154"/>
                      <a:pt x="160496" y="465296"/>
                      <a:pt x="160496" y="461486"/>
                    </a:cubicBezTo>
                    <a:lnTo>
                      <a:pt x="160496" y="404336"/>
                    </a:lnTo>
                    <a:lnTo>
                      <a:pt x="185261" y="404336"/>
                    </a:lnTo>
                    <a:lnTo>
                      <a:pt x="185261" y="461486"/>
                    </a:lnTo>
                    <a:cubicBezTo>
                      <a:pt x="185261" y="465296"/>
                      <a:pt x="188119" y="468154"/>
                      <a:pt x="191929" y="468154"/>
                    </a:cubicBezTo>
                    <a:lnTo>
                      <a:pt x="196691" y="468154"/>
                    </a:lnTo>
                    <a:cubicBezTo>
                      <a:pt x="200501" y="468154"/>
                      <a:pt x="203359" y="465296"/>
                      <a:pt x="203359" y="461486"/>
                    </a:cubicBezTo>
                    <a:lnTo>
                      <a:pt x="203359" y="404336"/>
                    </a:lnTo>
                    <a:lnTo>
                      <a:pt x="228124" y="404336"/>
                    </a:lnTo>
                    <a:lnTo>
                      <a:pt x="228124" y="461486"/>
                    </a:lnTo>
                    <a:cubicBezTo>
                      <a:pt x="228124" y="465296"/>
                      <a:pt x="230981" y="468154"/>
                      <a:pt x="234791" y="468154"/>
                    </a:cubicBezTo>
                    <a:lnTo>
                      <a:pt x="239554" y="468154"/>
                    </a:lnTo>
                    <a:cubicBezTo>
                      <a:pt x="243364" y="468154"/>
                      <a:pt x="246221" y="465296"/>
                      <a:pt x="246221" y="461486"/>
                    </a:cubicBezTo>
                    <a:lnTo>
                      <a:pt x="246221" y="404336"/>
                    </a:lnTo>
                    <a:lnTo>
                      <a:pt x="270986" y="404336"/>
                    </a:lnTo>
                    <a:lnTo>
                      <a:pt x="270986" y="461486"/>
                    </a:lnTo>
                    <a:cubicBezTo>
                      <a:pt x="270986" y="465296"/>
                      <a:pt x="273844" y="468154"/>
                      <a:pt x="277654" y="468154"/>
                    </a:cubicBezTo>
                    <a:lnTo>
                      <a:pt x="283369" y="468154"/>
                    </a:lnTo>
                    <a:cubicBezTo>
                      <a:pt x="287179" y="468154"/>
                      <a:pt x="290036" y="465296"/>
                      <a:pt x="290036" y="461486"/>
                    </a:cubicBezTo>
                    <a:lnTo>
                      <a:pt x="290036" y="404336"/>
                    </a:lnTo>
                    <a:lnTo>
                      <a:pt x="314801" y="404336"/>
                    </a:lnTo>
                    <a:lnTo>
                      <a:pt x="314801" y="461486"/>
                    </a:lnTo>
                    <a:cubicBezTo>
                      <a:pt x="314801" y="465296"/>
                      <a:pt x="317659" y="468154"/>
                      <a:pt x="321469" y="468154"/>
                    </a:cubicBezTo>
                    <a:lnTo>
                      <a:pt x="326231" y="468154"/>
                    </a:lnTo>
                    <a:cubicBezTo>
                      <a:pt x="330041" y="468154"/>
                      <a:pt x="332899" y="465296"/>
                      <a:pt x="332899" y="461486"/>
                    </a:cubicBezTo>
                    <a:lnTo>
                      <a:pt x="332899" y="404336"/>
                    </a:lnTo>
                    <a:lnTo>
                      <a:pt x="391001" y="404336"/>
                    </a:lnTo>
                    <a:cubicBezTo>
                      <a:pt x="404336" y="404336"/>
                      <a:pt x="414814" y="393859"/>
                      <a:pt x="414814" y="380524"/>
                    </a:cubicBezTo>
                    <a:lnTo>
                      <a:pt x="414814" y="332899"/>
                    </a:lnTo>
                    <a:lnTo>
                      <a:pt x="461486" y="332899"/>
                    </a:lnTo>
                    <a:cubicBezTo>
                      <a:pt x="465296" y="332899"/>
                      <a:pt x="468154" y="330041"/>
                      <a:pt x="468154" y="326231"/>
                    </a:cubicBezTo>
                    <a:lnTo>
                      <a:pt x="468154" y="321469"/>
                    </a:lnTo>
                    <a:cubicBezTo>
                      <a:pt x="468154" y="317659"/>
                      <a:pt x="465296" y="314801"/>
                      <a:pt x="461486" y="314801"/>
                    </a:cubicBezTo>
                    <a:lnTo>
                      <a:pt x="414814" y="314801"/>
                    </a:lnTo>
                    <a:lnTo>
                      <a:pt x="414814" y="290036"/>
                    </a:lnTo>
                    <a:lnTo>
                      <a:pt x="461486" y="290036"/>
                    </a:lnTo>
                    <a:cubicBezTo>
                      <a:pt x="465296" y="290036"/>
                      <a:pt x="468154" y="287179"/>
                      <a:pt x="468154" y="283369"/>
                    </a:cubicBezTo>
                    <a:lnTo>
                      <a:pt x="468154" y="278606"/>
                    </a:lnTo>
                    <a:cubicBezTo>
                      <a:pt x="468154" y="274796"/>
                      <a:pt x="465296" y="271939"/>
                      <a:pt x="461486" y="271939"/>
                    </a:cubicBezTo>
                    <a:lnTo>
                      <a:pt x="414814" y="271939"/>
                    </a:lnTo>
                    <a:lnTo>
                      <a:pt x="414814" y="247174"/>
                    </a:lnTo>
                    <a:lnTo>
                      <a:pt x="461486" y="247174"/>
                    </a:lnTo>
                    <a:cubicBezTo>
                      <a:pt x="465296" y="247174"/>
                      <a:pt x="468154" y="244316"/>
                      <a:pt x="468154" y="240506"/>
                    </a:cubicBezTo>
                    <a:lnTo>
                      <a:pt x="468154" y="235744"/>
                    </a:lnTo>
                    <a:cubicBezTo>
                      <a:pt x="468154" y="231934"/>
                      <a:pt x="465296" y="229076"/>
                      <a:pt x="461486" y="229076"/>
                    </a:cubicBezTo>
                    <a:lnTo>
                      <a:pt x="414814" y="229076"/>
                    </a:lnTo>
                    <a:lnTo>
                      <a:pt x="414814" y="204311"/>
                    </a:lnTo>
                    <a:lnTo>
                      <a:pt x="461486" y="204311"/>
                    </a:lnTo>
                    <a:cubicBezTo>
                      <a:pt x="465296" y="204311"/>
                      <a:pt x="468154" y="201454"/>
                      <a:pt x="468154" y="197644"/>
                    </a:cubicBezTo>
                    <a:lnTo>
                      <a:pt x="468154" y="192881"/>
                    </a:lnTo>
                    <a:cubicBezTo>
                      <a:pt x="468154" y="189071"/>
                      <a:pt x="465296" y="186214"/>
                      <a:pt x="461486" y="186214"/>
                    </a:cubicBezTo>
                    <a:lnTo>
                      <a:pt x="414814" y="186214"/>
                    </a:lnTo>
                    <a:lnTo>
                      <a:pt x="414814" y="161449"/>
                    </a:lnTo>
                    <a:lnTo>
                      <a:pt x="462439" y="161449"/>
                    </a:lnTo>
                    <a:close/>
                  </a:path>
                </a:pathLst>
              </a:custGeom>
              <a:solidFill>
                <a:schemeClr val="bg1"/>
              </a:solidFill>
              <a:ln w="9525" cap="flat">
                <a:noFill/>
                <a:prstDash val="solid"/>
                <a:miter/>
              </a:ln>
            </p:spPr>
            <p:txBody>
              <a:bodyPr rtlCol="0" anchor="ctr"/>
              <a:lstStyle/>
              <a:p>
                <a:endParaRPr lang="en-US"/>
              </a:p>
            </p:txBody>
          </p:sp>
          <p:sp>
            <p:nvSpPr>
              <p:cNvPr id="476" name="Freeform: Shape 6">
                <a:extLst>
                  <a:ext uri="{FF2B5EF4-FFF2-40B4-BE49-F238E27FC236}">
                    <a16:creationId xmlns:a16="http://schemas.microsoft.com/office/drawing/2014/main" id="{1A9F030E-6BA2-6C4D-9312-F49282F75A7D}"/>
                  </a:ext>
                </a:extLst>
              </p:cNvPr>
              <p:cNvSpPr>
                <a:spLocks noChangeAspect="1"/>
              </p:cNvSpPr>
              <p:nvPr/>
            </p:nvSpPr>
            <p:spPr>
              <a:xfrm>
                <a:off x="1861870" y="2758332"/>
                <a:ext cx="330249" cy="218182"/>
              </a:xfrm>
              <a:custGeom>
                <a:avLst/>
                <a:gdLst/>
                <a:ahLst/>
                <a:cxnLst/>
                <a:rect l="l" t="t" r="r" b="b"/>
                <a:pathLst>
                  <a:path w="330249" h="218182">
                    <a:moveTo>
                      <a:pt x="117946" y="56554"/>
                    </a:moveTo>
                    <a:lnTo>
                      <a:pt x="94115" y="134987"/>
                    </a:lnTo>
                    <a:lnTo>
                      <a:pt x="142028" y="134987"/>
                    </a:lnTo>
                    <a:close/>
                    <a:moveTo>
                      <a:pt x="262681" y="0"/>
                    </a:moveTo>
                    <a:lnTo>
                      <a:pt x="330249" y="0"/>
                    </a:lnTo>
                    <a:lnTo>
                      <a:pt x="330249" y="218182"/>
                    </a:lnTo>
                    <a:lnTo>
                      <a:pt x="262681" y="218182"/>
                    </a:lnTo>
                    <a:close/>
                    <a:moveTo>
                      <a:pt x="82004" y="0"/>
                    </a:moveTo>
                    <a:lnTo>
                      <a:pt x="155544" y="0"/>
                    </a:lnTo>
                    <a:lnTo>
                      <a:pt x="237529" y="218182"/>
                    </a:lnTo>
                    <a:lnTo>
                      <a:pt x="166929" y="218182"/>
                    </a:lnTo>
                    <a:lnTo>
                      <a:pt x="156013" y="182165"/>
                    </a:lnTo>
                    <a:lnTo>
                      <a:pt x="79472" y="182165"/>
                    </a:lnTo>
                    <a:lnTo>
                      <a:pt x="68837" y="218182"/>
                    </a:lnTo>
                    <a:lnTo>
                      <a:pt x="0" y="218182"/>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0D214"/>
                  </a:solidFill>
                </a:endParaRPr>
              </a:p>
            </p:txBody>
          </p:sp>
        </p:grpSp>
      </p:grpSp>
      <p:pic>
        <p:nvPicPr>
          <p:cNvPr id="477" name="Graphic 476">
            <a:extLst>
              <a:ext uri="{FF2B5EF4-FFF2-40B4-BE49-F238E27FC236}">
                <a16:creationId xmlns:a16="http://schemas.microsoft.com/office/drawing/2014/main" id="{4D1C3216-A0D4-2E40-9081-CF06A8791F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47177" y="1743118"/>
            <a:ext cx="1796357" cy="1645614"/>
          </a:xfrm>
          <a:prstGeom prst="rect">
            <a:avLst/>
          </a:prstGeom>
        </p:spPr>
      </p:pic>
      <p:grpSp>
        <p:nvGrpSpPr>
          <p:cNvPr id="489" name="Group 488">
            <a:extLst>
              <a:ext uri="{FF2B5EF4-FFF2-40B4-BE49-F238E27FC236}">
                <a16:creationId xmlns:a16="http://schemas.microsoft.com/office/drawing/2014/main" id="{DAA872FB-F763-5543-80C3-F0C6FAC41F1E}"/>
              </a:ext>
            </a:extLst>
          </p:cNvPr>
          <p:cNvGrpSpPr/>
          <p:nvPr/>
        </p:nvGrpSpPr>
        <p:grpSpPr>
          <a:xfrm>
            <a:off x="5284682" y="4142790"/>
            <a:ext cx="2065083" cy="1632824"/>
            <a:chOff x="4145217" y="4563660"/>
            <a:chExt cx="2065083" cy="1632824"/>
          </a:xfrm>
        </p:grpSpPr>
        <p:grpSp>
          <p:nvGrpSpPr>
            <p:cNvPr id="479" name="Group 478">
              <a:extLst>
                <a:ext uri="{FF2B5EF4-FFF2-40B4-BE49-F238E27FC236}">
                  <a16:creationId xmlns:a16="http://schemas.microsoft.com/office/drawing/2014/main" id="{31087645-415F-5A4F-8951-33F6F0C9296D}"/>
                </a:ext>
              </a:extLst>
            </p:cNvPr>
            <p:cNvGrpSpPr>
              <a:grpSpLocks noChangeAspect="1"/>
            </p:cNvGrpSpPr>
            <p:nvPr/>
          </p:nvGrpSpPr>
          <p:grpSpPr>
            <a:xfrm>
              <a:off x="4145217" y="4563660"/>
              <a:ext cx="2065083" cy="1632824"/>
              <a:chOff x="2228055" y="1971102"/>
              <a:chExt cx="4575969" cy="3618138"/>
            </a:xfrm>
          </p:grpSpPr>
          <p:sp>
            <p:nvSpPr>
              <p:cNvPr id="480" name="Freeform 18">
                <a:extLst>
                  <a:ext uri="{FF2B5EF4-FFF2-40B4-BE49-F238E27FC236}">
                    <a16:creationId xmlns:a16="http://schemas.microsoft.com/office/drawing/2014/main" id="{AA1E2A85-D683-A44E-A7D1-188CCB6C08CB}"/>
                  </a:ext>
                </a:extLst>
              </p:cNvPr>
              <p:cNvSpPr>
                <a:spLocks/>
              </p:cNvSpPr>
              <p:nvPr/>
            </p:nvSpPr>
            <p:spPr bwMode="auto">
              <a:xfrm>
                <a:off x="2228055" y="1971102"/>
                <a:ext cx="3243960" cy="3618138"/>
              </a:xfrm>
              <a:custGeom>
                <a:avLst/>
                <a:gdLst/>
                <a:ahLst/>
                <a:cxnLst/>
                <a:rect l="l" t="t" r="r" b="b"/>
                <a:pathLst>
                  <a:path w="3243960" h="3618138">
                    <a:moveTo>
                      <a:pt x="1764407" y="0"/>
                    </a:moveTo>
                    <a:lnTo>
                      <a:pt x="1913381" y="1203"/>
                    </a:lnTo>
                    <a:lnTo>
                      <a:pt x="2053042" y="12022"/>
                    </a:lnTo>
                    <a:lnTo>
                      <a:pt x="2185723" y="30056"/>
                    </a:lnTo>
                    <a:lnTo>
                      <a:pt x="2312583" y="56506"/>
                    </a:lnTo>
                    <a:lnTo>
                      <a:pt x="2433624" y="88967"/>
                    </a:lnTo>
                    <a:lnTo>
                      <a:pt x="2545354" y="131046"/>
                    </a:lnTo>
                    <a:lnTo>
                      <a:pt x="2653593" y="176731"/>
                    </a:lnTo>
                    <a:lnTo>
                      <a:pt x="2752521" y="230833"/>
                    </a:lnTo>
                    <a:lnTo>
                      <a:pt x="2763561" y="238103"/>
                    </a:lnTo>
                    <a:lnTo>
                      <a:pt x="2764776" y="236609"/>
                    </a:lnTo>
                    <a:cubicBezTo>
                      <a:pt x="3318761" y="687035"/>
                      <a:pt x="3404939" y="1500322"/>
                      <a:pt x="2957653" y="2056846"/>
                    </a:cubicBezTo>
                    <a:lnTo>
                      <a:pt x="2794867" y="1926012"/>
                    </a:lnTo>
                    <a:cubicBezTo>
                      <a:pt x="3170184" y="1459033"/>
                      <a:pt x="3097872" y="776605"/>
                      <a:pt x="2633024" y="398652"/>
                    </a:cubicBezTo>
                    <a:lnTo>
                      <a:pt x="2635535" y="395564"/>
                    </a:lnTo>
                    <a:cubicBezTo>
                      <a:pt x="2458856" y="294299"/>
                      <a:pt x="2250796" y="159602"/>
                      <a:pt x="1912553" y="162771"/>
                    </a:cubicBezTo>
                    <a:cubicBezTo>
                      <a:pt x="1018501" y="171149"/>
                      <a:pt x="651082" y="745769"/>
                      <a:pt x="651082" y="1464934"/>
                    </a:cubicBezTo>
                    <a:cubicBezTo>
                      <a:pt x="651082" y="2065638"/>
                      <a:pt x="1045124" y="2571338"/>
                      <a:pt x="1581345" y="2720212"/>
                    </a:cubicBezTo>
                    <a:cubicBezTo>
                      <a:pt x="2189761" y="2865156"/>
                      <a:pt x="2916596" y="3085457"/>
                      <a:pt x="3019039" y="3381117"/>
                    </a:cubicBezTo>
                    <a:lnTo>
                      <a:pt x="3030682" y="3420409"/>
                    </a:lnTo>
                    <a:lnTo>
                      <a:pt x="3049304" y="3486532"/>
                    </a:lnTo>
                    <a:lnTo>
                      <a:pt x="3067926" y="3553859"/>
                    </a:lnTo>
                    <a:lnTo>
                      <a:pt x="3088874" y="3615173"/>
                    </a:lnTo>
                    <a:lnTo>
                      <a:pt x="3090086" y="3618138"/>
                    </a:lnTo>
                    <a:lnTo>
                      <a:pt x="1487028" y="3618138"/>
                    </a:lnTo>
                    <a:lnTo>
                      <a:pt x="1482754" y="3594736"/>
                    </a:lnTo>
                    <a:lnTo>
                      <a:pt x="1471115" y="3529813"/>
                    </a:lnTo>
                    <a:lnTo>
                      <a:pt x="1458312" y="3466094"/>
                    </a:lnTo>
                    <a:lnTo>
                      <a:pt x="1443182" y="3404780"/>
                    </a:lnTo>
                    <a:lnTo>
                      <a:pt x="1428052" y="3345869"/>
                    </a:lnTo>
                    <a:lnTo>
                      <a:pt x="1409430" y="3294173"/>
                    </a:lnTo>
                    <a:lnTo>
                      <a:pt x="1389645" y="3249689"/>
                    </a:lnTo>
                    <a:lnTo>
                      <a:pt x="1368696" y="3214824"/>
                    </a:lnTo>
                    <a:lnTo>
                      <a:pt x="1345419" y="3193183"/>
                    </a:lnTo>
                    <a:lnTo>
                      <a:pt x="1319814" y="3182363"/>
                    </a:lnTo>
                    <a:lnTo>
                      <a:pt x="1290717" y="3177554"/>
                    </a:lnTo>
                    <a:lnTo>
                      <a:pt x="1256965" y="3179958"/>
                    </a:lnTo>
                    <a:lnTo>
                      <a:pt x="1223213" y="3184767"/>
                    </a:lnTo>
                    <a:lnTo>
                      <a:pt x="1191790" y="3193183"/>
                    </a:lnTo>
                    <a:lnTo>
                      <a:pt x="1161529" y="3201598"/>
                    </a:lnTo>
                    <a:lnTo>
                      <a:pt x="1133597" y="3210015"/>
                    </a:lnTo>
                    <a:lnTo>
                      <a:pt x="1112647" y="3217228"/>
                    </a:lnTo>
                    <a:lnTo>
                      <a:pt x="1062602" y="3234059"/>
                    </a:lnTo>
                    <a:lnTo>
                      <a:pt x="1005573" y="3249689"/>
                    </a:lnTo>
                    <a:lnTo>
                      <a:pt x="941560" y="3262914"/>
                    </a:lnTo>
                    <a:lnTo>
                      <a:pt x="874056" y="3271330"/>
                    </a:lnTo>
                    <a:lnTo>
                      <a:pt x="806552" y="3278543"/>
                    </a:lnTo>
                    <a:lnTo>
                      <a:pt x="737886" y="3280948"/>
                    </a:lnTo>
                    <a:lnTo>
                      <a:pt x="672709" y="3276139"/>
                    </a:lnTo>
                    <a:lnTo>
                      <a:pt x="611025" y="3265318"/>
                    </a:lnTo>
                    <a:lnTo>
                      <a:pt x="577273" y="3256902"/>
                    </a:lnTo>
                    <a:lnTo>
                      <a:pt x="543521" y="3241274"/>
                    </a:lnTo>
                    <a:lnTo>
                      <a:pt x="509769" y="3223240"/>
                    </a:lnTo>
                    <a:lnTo>
                      <a:pt x="480674" y="3201598"/>
                    </a:lnTo>
                    <a:lnTo>
                      <a:pt x="450413" y="3175149"/>
                    </a:lnTo>
                    <a:lnTo>
                      <a:pt x="427136" y="3147498"/>
                    </a:lnTo>
                    <a:lnTo>
                      <a:pt x="410841" y="3112633"/>
                    </a:lnTo>
                    <a:lnTo>
                      <a:pt x="398039" y="3072958"/>
                    </a:lnTo>
                    <a:lnTo>
                      <a:pt x="393384" y="3029676"/>
                    </a:lnTo>
                    <a:lnTo>
                      <a:pt x="398039" y="2981586"/>
                    </a:lnTo>
                    <a:lnTo>
                      <a:pt x="403859" y="2947924"/>
                    </a:lnTo>
                    <a:lnTo>
                      <a:pt x="412006" y="2910653"/>
                    </a:lnTo>
                    <a:lnTo>
                      <a:pt x="421316" y="2872182"/>
                    </a:lnTo>
                    <a:lnTo>
                      <a:pt x="424808" y="2834911"/>
                    </a:lnTo>
                    <a:lnTo>
                      <a:pt x="424808" y="2795237"/>
                    </a:lnTo>
                    <a:lnTo>
                      <a:pt x="414333" y="2760372"/>
                    </a:lnTo>
                    <a:lnTo>
                      <a:pt x="403859" y="2741136"/>
                    </a:lnTo>
                    <a:lnTo>
                      <a:pt x="385236" y="2723102"/>
                    </a:lnTo>
                    <a:lnTo>
                      <a:pt x="365452" y="2709877"/>
                    </a:lnTo>
                    <a:lnTo>
                      <a:pt x="344502" y="2699057"/>
                    </a:lnTo>
                    <a:lnTo>
                      <a:pt x="323552" y="2683427"/>
                    </a:lnTo>
                    <a:lnTo>
                      <a:pt x="307259" y="2666596"/>
                    </a:lnTo>
                    <a:lnTo>
                      <a:pt x="294455" y="2644956"/>
                    </a:lnTo>
                    <a:lnTo>
                      <a:pt x="289800" y="2620911"/>
                    </a:lnTo>
                    <a:lnTo>
                      <a:pt x="292128" y="2596866"/>
                    </a:lnTo>
                    <a:lnTo>
                      <a:pt x="300275" y="2574023"/>
                    </a:lnTo>
                    <a:lnTo>
                      <a:pt x="310750" y="2554786"/>
                    </a:lnTo>
                    <a:lnTo>
                      <a:pt x="317733" y="2535551"/>
                    </a:lnTo>
                    <a:lnTo>
                      <a:pt x="283982" y="2511505"/>
                    </a:lnTo>
                    <a:lnTo>
                      <a:pt x="260703" y="2487461"/>
                    </a:lnTo>
                    <a:lnTo>
                      <a:pt x="247901" y="2463416"/>
                    </a:lnTo>
                    <a:lnTo>
                      <a:pt x="245574" y="2436966"/>
                    </a:lnTo>
                    <a:lnTo>
                      <a:pt x="249066" y="2412922"/>
                    </a:lnTo>
                    <a:lnTo>
                      <a:pt x="258376" y="2386471"/>
                    </a:lnTo>
                    <a:lnTo>
                      <a:pt x="271178" y="2360023"/>
                    </a:lnTo>
                    <a:lnTo>
                      <a:pt x="285145" y="2333572"/>
                    </a:lnTo>
                    <a:lnTo>
                      <a:pt x="297948" y="2305921"/>
                    </a:lnTo>
                    <a:lnTo>
                      <a:pt x="310750" y="2279471"/>
                    </a:lnTo>
                    <a:lnTo>
                      <a:pt x="317733" y="2250617"/>
                    </a:lnTo>
                    <a:lnTo>
                      <a:pt x="294455" y="2228976"/>
                    </a:lnTo>
                    <a:lnTo>
                      <a:pt x="261868" y="2212145"/>
                    </a:lnTo>
                    <a:lnTo>
                      <a:pt x="225789" y="2196515"/>
                    </a:lnTo>
                    <a:lnTo>
                      <a:pt x="188545" y="2183290"/>
                    </a:lnTo>
                    <a:lnTo>
                      <a:pt x="150138" y="2170066"/>
                    </a:lnTo>
                    <a:lnTo>
                      <a:pt x="111731" y="2156841"/>
                    </a:lnTo>
                    <a:lnTo>
                      <a:pt x="75651" y="2141212"/>
                    </a:lnTo>
                    <a:lnTo>
                      <a:pt x="46554" y="2124381"/>
                    </a:lnTo>
                    <a:lnTo>
                      <a:pt x="20950" y="2100335"/>
                    </a:lnTo>
                    <a:lnTo>
                      <a:pt x="5820" y="2071482"/>
                    </a:lnTo>
                    <a:lnTo>
                      <a:pt x="0" y="2041425"/>
                    </a:lnTo>
                    <a:lnTo>
                      <a:pt x="4656" y="2012571"/>
                    </a:lnTo>
                    <a:lnTo>
                      <a:pt x="15130" y="1986122"/>
                    </a:lnTo>
                    <a:lnTo>
                      <a:pt x="31424" y="1964481"/>
                    </a:lnTo>
                    <a:lnTo>
                      <a:pt x="51209" y="1942841"/>
                    </a:lnTo>
                    <a:lnTo>
                      <a:pt x="69831" y="1924807"/>
                    </a:lnTo>
                    <a:lnTo>
                      <a:pt x="84961" y="1910380"/>
                    </a:lnTo>
                    <a:lnTo>
                      <a:pt x="129188" y="1857481"/>
                    </a:lnTo>
                    <a:lnTo>
                      <a:pt x="175742" y="1809391"/>
                    </a:lnTo>
                    <a:lnTo>
                      <a:pt x="222297" y="1761301"/>
                    </a:lnTo>
                    <a:lnTo>
                      <a:pt x="266523" y="1708402"/>
                    </a:lnTo>
                    <a:lnTo>
                      <a:pt x="308423" y="1656704"/>
                    </a:lnTo>
                    <a:lnTo>
                      <a:pt x="346829" y="1597795"/>
                    </a:lnTo>
                    <a:lnTo>
                      <a:pt x="378254" y="1534075"/>
                    </a:lnTo>
                    <a:lnTo>
                      <a:pt x="395711" y="1481176"/>
                    </a:lnTo>
                    <a:lnTo>
                      <a:pt x="401531" y="1429479"/>
                    </a:lnTo>
                    <a:lnTo>
                      <a:pt x="401531" y="1374175"/>
                    </a:lnTo>
                    <a:cubicBezTo>
                      <a:pt x="401143" y="1354538"/>
                      <a:pt x="400754" y="1334901"/>
                      <a:pt x="400367" y="1315264"/>
                    </a:cubicBezTo>
                    <a:lnTo>
                      <a:pt x="398039" y="1256355"/>
                    </a:lnTo>
                    <a:lnTo>
                      <a:pt x="400367" y="1192635"/>
                    </a:lnTo>
                    <a:lnTo>
                      <a:pt x="406186" y="1125309"/>
                    </a:lnTo>
                    <a:lnTo>
                      <a:pt x="471362" y="847589"/>
                    </a:lnTo>
                    <a:lnTo>
                      <a:pt x="512097" y="746600"/>
                    </a:lnTo>
                    <a:lnTo>
                      <a:pt x="560979" y="652824"/>
                    </a:lnTo>
                    <a:lnTo>
                      <a:pt x="618008" y="565059"/>
                    </a:lnTo>
                    <a:lnTo>
                      <a:pt x="683184" y="482103"/>
                    </a:lnTo>
                    <a:lnTo>
                      <a:pt x="755343" y="406361"/>
                    </a:lnTo>
                    <a:lnTo>
                      <a:pt x="833322" y="336631"/>
                    </a:lnTo>
                    <a:lnTo>
                      <a:pt x="918283" y="272912"/>
                    </a:lnTo>
                    <a:lnTo>
                      <a:pt x="1006736" y="216405"/>
                    </a:lnTo>
                    <a:lnTo>
                      <a:pt x="1102172" y="165911"/>
                    </a:lnTo>
                    <a:lnTo>
                      <a:pt x="1199936" y="123832"/>
                    </a:lnTo>
                    <a:lnTo>
                      <a:pt x="1298864" y="86563"/>
                    </a:lnTo>
                    <a:lnTo>
                      <a:pt x="1631727" y="10821"/>
                    </a:lnTo>
                    <a:close/>
                  </a:path>
                </a:pathLst>
              </a:custGeom>
              <a:solidFill>
                <a:srgbClr val="8D8EA7"/>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nvGrpSpPr>
              <p:cNvPr id="481" name="Group 480">
                <a:extLst>
                  <a:ext uri="{FF2B5EF4-FFF2-40B4-BE49-F238E27FC236}">
                    <a16:creationId xmlns:a16="http://schemas.microsoft.com/office/drawing/2014/main" id="{6CCE6D82-147C-6446-B190-61220CC387E5}"/>
                  </a:ext>
                </a:extLst>
              </p:cNvPr>
              <p:cNvGrpSpPr/>
              <p:nvPr/>
            </p:nvGrpSpPr>
            <p:grpSpPr>
              <a:xfrm>
                <a:off x="4023554" y="4019367"/>
                <a:ext cx="1008112" cy="734938"/>
                <a:chOff x="3509379" y="4293096"/>
                <a:chExt cx="1008112" cy="734938"/>
              </a:xfrm>
            </p:grpSpPr>
            <p:sp>
              <p:nvSpPr>
                <p:cNvPr id="483" name="Rounded Rectangle 482">
                  <a:extLst>
                    <a:ext uri="{FF2B5EF4-FFF2-40B4-BE49-F238E27FC236}">
                      <a16:creationId xmlns:a16="http://schemas.microsoft.com/office/drawing/2014/main" id="{0A822533-8112-D14D-8F90-76079F3CEFA6}"/>
                    </a:ext>
                  </a:extLst>
                </p:cNvPr>
                <p:cNvSpPr/>
                <p:nvPr/>
              </p:nvSpPr>
              <p:spPr>
                <a:xfrm>
                  <a:off x="3509379" y="4293096"/>
                  <a:ext cx="1008112" cy="180000"/>
                </a:xfrm>
                <a:prstGeom prst="roundRect">
                  <a:avLst>
                    <a:gd name="adj" fmla="val 50000"/>
                  </a:avLst>
                </a:pr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84" name="Rounded Rectangle 13">
                  <a:extLst>
                    <a:ext uri="{FF2B5EF4-FFF2-40B4-BE49-F238E27FC236}">
                      <a16:creationId xmlns:a16="http://schemas.microsoft.com/office/drawing/2014/main" id="{93B8BA30-D493-2F41-8D57-625F9023DE92}"/>
                    </a:ext>
                  </a:extLst>
                </p:cNvPr>
                <p:cNvSpPr/>
                <p:nvPr/>
              </p:nvSpPr>
              <p:spPr>
                <a:xfrm>
                  <a:off x="3581435" y="4537695"/>
                  <a:ext cx="864000" cy="180000"/>
                </a:xfrm>
                <a:prstGeom prst="roundRect">
                  <a:avLst>
                    <a:gd name="adj" fmla="val 50000"/>
                  </a:avLst>
                </a:pr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85" name="Chord 484">
                  <a:extLst>
                    <a:ext uri="{FF2B5EF4-FFF2-40B4-BE49-F238E27FC236}">
                      <a16:creationId xmlns:a16="http://schemas.microsoft.com/office/drawing/2014/main" id="{E9586587-1411-5B41-ABA5-3509C944553D}"/>
                    </a:ext>
                  </a:extLst>
                </p:cNvPr>
                <p:cNvSpPr/>
                <p:nvPr/>
              </p:nvSpPr>
              <p:spPr>
                <a:xfrm>
                  <a:off x="3766973" y="4535109"/>
                  <a:ext cx="492925" cy="492925"/>
                </a:xfrm>
                <a:prstGeom prst="chord">
                  <a:avLst>
                    <a:gd name="adj1" fmla="val 21471232"/>
                    <a:gd name="adj2" fmla="val 10878117"/>
                  </a:avLst>
                </a:pr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sp>
            <p:nvSpPr>
              <p:cNvPr id="482" name="Freeform 18">
                <a:extLst>
                  <a:ext uri="{FF2B5EF4-FFF2-40B4-BE49-F238E27FC236}">
                    <a16:creationId xmlns:a16="http://schemas.microsoft.com/office/drawing/2014/main" id="{D59CBA3C-7AF2-AD49-B34C-F67C6686EB8B}"/>
                  </a:ext>
                </a:extLst>
              </p:cNvPr>
              <p:cNvSpPr>
                <a:spLocks/>
              </p:cNvSpPr>
              <p:nvPr/>
            </p:nvSpPr>
            <p:spPr bwMode="auto">
              <a:xfrm flipH="1">
                <a:off x="3560064" y="1971102"/>
                <a:ext cx="3243960" cy="3618138"/>
              </a:xfrm>
              <a:custGeom>
                <a:avLst/>
                <a:gdLst/>
                <a:ahLst/>
                <a:cxnLst/>
                <a:rect l="l" t="t" r="r" b="b"/>
                <a:pathLst>
                  <a:path w="3243960" h="3618138">
                    <a:moveTo>
                      <a:pt x="1764407" y="0"/>
                    </a:moveTo>
                    <a:lnTo>
                      <a:pt x="1631727" y="10821"/>
                    </a:lnTo>
                    <a:lnTo>
                      <a:pt x="1298864" y="86563"/>
                    </a:lnTo>
                    <a:lnTo>
                      <a:pt x="1199936" y="123832"/>
                    </a:lnTo>
                    <a:lnTo>
                      <a:pt x="1102172" y="165911"/>
                    </a:lnTo>
                    <a:lnTo>
                      <a:pt x="1006736" y="216405"/>
                    </a:lnTo>
                    <a:lnTo>
                      <a:pt x="918283" y="272912"/>
                    </a:lnTo>
                    <a:lnTo>
                      <a:pt x="833322" y="336631"/>
                    </a:lnTo>
                    <a:lnTo>
                      <a:pt x="755343" y="406361"/>
                    </a:lnTo>
                    <a:lnTo>
                      <a:pt x="683184" y="482103"/>
                    </a:lnTo>
                    <a:lnTo>
                      <a:pt x="618008" y="565059"/>
                    </a:lnTo>
                    <a:lnTo>
                      <a:pt x="560979" y="652824"/>
                    </a:lnTo>
                    <a:lnTo>
                      <a:pt x="512097" y="746600"/>
                    </a:lnTo>
                    <a:lnTo>
                      <a:pt x="471362" y="847589"/>
                    </a:lnTo>
                    <a:lnTo>
                      <a:pt x="406186" y="1125309"/>
                    </a:lnTo>
                    <a:lnTo>
                      <a:pt x="400367" y="1192635"/>
                    </a:lnTo>
                    <a:lnTo>
                      <a:pt x="398039" y="1256355"/>
                    </a:lnTo>
                    <a:lnTo>
                      <a:pt x="400367" y="1315264"/>
                    </a:lnTo>
                    <a:cubicBezTo>
                      <a:pt x="400754" y="1334901"/>
                      <a:pt x="401143" y="1354538"/>
                      <a:pt x="401531" y="1374175"/>
                    </a:cubicBezTo>
                    <a:lnTo>
                      <a:pt x="401531" y="1429479"/>
                    </a:lnTo>
                    <a:lnTo>
                      <a:pt x="395711" y="1481176"/>
                    </a:lnTo>
                    <a:lnTo>
                      <a:pt x="378254" y="1534075"/>
                    </a:lnTo>
                    <a:lnTo>
                      <a:pt x="346829" y="1597795"/>
                    </a:lnTo>
                    <a:lnTo>
                      <a:pt x="308423" y="1656704"/>
                    </a:lnTo>
                    <a:lnTo>
                      <a:pt x="266523" y="1708402"/>
                    </a:lnTo>
                    <a:lnTo>
                      <a:pt x="222297" y="1761301"/>
                    </a:lnTo>
                    <a:lnTo>
                      <a:pt x="175742" y="1809391"/>
                    </a:lnTo>
                    <a:lnTo>
                      <a:pt x="129188" y="1857481"/>
                    </a:lnTo>
                    <a:lnTo>
                      <a:pt x="84961" y="1910380"/>
                    </a:lnTo>
                    <a:lnTo>
                      <a:pt x="69831" y="1924807"/>
                    </a:lnTo>
                    <a:lnTo>
                      <a:pt x="51209" y="1942841"/>
                    </a:lnTo>
                    <a:lnTo>
                      <a:pt x="31424" y="1964481"/>
                    </a:lnTo>
                    <a:lnTo>
                      <a:pt x="15130" y="1986122"/>
                    </a:lnTo>
                    <a:lnTo>
                      <a:pt x="4656" y="2012571"/>
                    </a:lnTo>
                    <a:lnTo>
                      <a:pt x="0" y="2041425"/>
                    </a:lnTo>
                    <a:lnTo>
                      <a:pt x="5820" y="2071482"/>
                    </a:lnTo>
                    <a:lnTo>
                      <a:pt x="20950" y="2100335"/>
                    </a:lnTo>
                    <a:lnTo>
                      <a:pt x="46554" y="2124381"/>
                    </a:lnTo>
                    <a:lnTo>
                      <a:pt x="75651" y="2141212"/>
                    </a:lnTo>
                    <a:lnTo>
                      <a:pt x="111731" y="2156841"/>
                    </a:lnTo>
                    <a:lnTo>
                      <a:pt x="150138" y="2170066"/>
                    </a:lnTo>
                    <a:lnTo>
                      <a:pt x="188545" y="2183290"/>
                    </a:lnTo>
                    <a:lnTo>
                      <a:pt x="225789" y="2196515"/>
                    </a:lnTo>
                    <a:lnTo>
                      <a:pt x="261868" y="2212145"/>
                    </a:lnTo>
                    <a:lnTo>
                      <a:pt x="294455" y="2228976"/>
                    </a:lnTo>
                    <a:lnTo>
                      <a:pt x="317733" y="2250617"/>
                    </a:lnTo>
                    <a:lnTo>
                      <a:pt x="310750" y="2279471"/>
                    </a:lnTo>
                    <a:lnTo>
                      <a:pt x="297948" y="2305921"/>
                    </a:lnTo>
                    <a:lnTo>
                      <a:pt x="285145" y="2333572"/>
                    </a:lnTo>
                    <a:lnTo>
                      <a:pt x="271178" y="2360023"/>
                    </a:lnTo>
                    <a:lnTo>
                      <a:pt x="258376" y="2386471"/>
                    </a:lnTo>
                    <a:lnTo>
                      <a:pt x="249066" y="2412922"/>
                    </a:lnTo>
                    <a:lnTo>
                      <a:pt x="245574" y="2436966"/>
                    </a:lnTo>
                    <a:lnTo>
                      <a:pt x="247901" y="2463416"/>
                    </a:lnTo>
                    <a:lnTo>
                      <a:pt x="260703" y="2487461"/>
                    </a:lnTo>
                    <a:lnTo>
                      <a:pt x="283982" y="2511505"/>
                    </a:lnTo>
                    <a:lnTo>
                      <a:pt x="317733" y="2535551"/>
                    </a:lnTo>
                    <a:lnTo>
                      <a:pt x="310750" y="2554786"/>
                    </a:lnTo>
                    <a:lnTo>
                      <a:pt x="300275" y="2574023"/>
                    </a:lnTo>
                    <a:lnTo>
                      <a:pt x="292128" y="2596866"/>
                    </a:lnTo>
                    <a:lnTo>
                      <a:pt x="289800" y="2620911"/>
                    </a:lnTo>
                    <a:lnTo>
                      <a:pt x="294455" y="2644956"/>
                    </a:lnTo>
                    <a:lnTo>
                      <a:pt x="307259" y="2666596"/>
                    </a:lnTo>
                    <a:lnTo>
                      <a:pt x="323552" y="2683427"/>
                    </a:lnTo>
                    <a:lnTo>
                      <a:pt x="344502" y="2699057"/>
                    </a:lnTo>
                    <a:lnTo>
                      <a:pt x="365452" y="2709877"/>
                    </a:lnTo>
                    <a:lnTo>
                      <a:pt x="385236" y="2723102"/>
                    </a:lnTo>
                    <a:lnTo>
                      <a:pt x="403859" y="2741136"/>
                    </a:lnTo>
                    <a:lnTo>
                      <a:pt x="414333" y="2760372"/>
                    </a:lnTo>
                    <a:lnTo>
                      <a:pt x="424808" y="2795237"/>
                    </a:lnTo>
                    <a:lnTo>
                      <a:pt x="424808" y="2834911"/>
                    </a:lnTo>
                    <a:lnTo>
                      <a:pt x="421316" y="2872182"/>
                    </a:lnTo>
                    <a:lnTo>
                      <a:pt x="412006" y="2910653"/>
                    </a:lnTo>
                    <a:lnTo>
                      <a:pt x="403859" y="2947924"/>
                    </a:lnTo>
                    <a:lnTo>
                      <a:pt x="398039" y="2981586"/>
                    </a:lnTo>
                    <a:lnTo>
                      <a:pt x="393384" y="3029676"/>
                    </a:lnTo>
                    <a:lnTo>
                      <a:pt x="398039" y="3072958"/>
                    </a:lnTo>
                    <a:lnTo>
                      <a:pt x="410841" y="3112633"/>
                    </a:lnTo>
                    <a:lnTo>
                      <a:pt x="427136" y="3147498"/>
                    </a:lnTo>
                    <a:lnTo>
                      <a:pt x="450413" y="3175149"/>
                    </a:lnTo>
                    <a:lnTo>
                      <a:pt x="480674" y="3201598"/>
                    </a:lnTo>
                    <a:lnTo>
                      <a:pt x="509769" y="3223240"/>
                    </a:lnTo>
                    <a:lnTo>
                      <a:pt x="543521" y="3241274"/>
                    </a:lnTo>
                    <a:lnTo>
                      <a:pt x="577273" y="3256902"/>
                    </a:lnTo>
                    <a:lnTo>
                      <a:pt x="611025" y="3265318"/>
                    </a:lnTo>
                    <a:lnTo>
                      <a:pt x="672709" y="3276139"/>
                    </a:lnTo>
                    <a:lnTo>
                      <a:pt x="737886" y="3280948"/>
                    </a:lnTo>
                    <a:lnTo>
                      <a:pt x="806552" y="3278543"/>
                    </a:lnTo>
                    <a:lnTo>
                      <a:pt x="874056" y="3271330"/>
                    </a:lnTo>
                    <a:lnTo>
                      <a:pt x="941560" y="3262914"/>
                    </a:lnTo>
                    <a:lnTo>
                      <a:pt x="1005573" y="3249689"/>
                    </a:lnTo>
                    <a:lnTo>
                      <a:pt x="1062602" y="3234059"/>
                    </a:lnTo>
                    <a:lnTo>
                      <a:pt x="1112647" y="3217228"/>
                    </a:lnTo>
                    <a:lnTo>
                      <a:pt x="1133597" y="3210015"/>
                    </a:lnTo>
                    <a:lnTo>
                      <a:pt x="1161529" y="3201598"/>
                    </a:lnTo>
                    <a:lnTo>
                      <a:pt x="1191790" y="3193183"/>
                    </a:lnTo>
                    <a:lnTo>
                      <a:pt x="1223213" y="3184767"/>
                    </a:lnTo>
                    <a:lnTo>
                      <a:pt x="1256965" y="3179958"/>
                    </a:lnTo>
                    <a:lnTo>
                      <a:pt x="1290717" y="3177554"/>
                    </a:lnTo>
                    <a:lnTo>
                      <a:pt x="1319814" y="3182363"/>
                    </a:lnTo>
                    <a:lnTo>
                      <a:pt x="1345419" y="3193183"/>
                    </a:lnTo>
                    <a:lnTo>
                      <a:pt x="1368696" y="3214824"/>
                    </a:lnTo>
                    <a:lnTo>
                      <a:pt x="1389645" y="3249689"/>
                    </a:lnTo>
                    <a:lnTo>
                      <a:pt x="1409430" y="3294173"/>
                    </a:lnTo>
                    <a:lnTo>
                      <a:pt x="1428052" y="3345869"/>
                    </a:lnTo>
                    <a:lnTo>
                      <a:pt x="1443182" y="3404780"/>
                    </a:lnTo>
                    <a:lnTo>
                      <a:pt x="1458312" y="3466094"/>
                    </a:lnTo>
                    <a:lnTo>
                      <a:pt x="1471115" y="3529813"/>
                    </a:lnTo>
                    <a:lnTo>
                      <a:pt x="1482754" y="3594736"/>
                    </a:lnTo>
                    <a:lnTo>
                      <a:pt x="1487029" y="3618138"/>
                    </a:lnTo>
                    <a:lnTo>
                      <a:pt x="3090086" y="3618138"/>
                    </a:lnTo>
                    <a:lnTo>
                      <a:pt x="3088874" y="3615173"/>
                    </a:lnTo>
                    <a:lnTo>
                      <a:pt x="3067926" y="3553859"/>
                    </a:lnTo>
                    <a:lnTo>
                      <a:pt x="3049304" y="3486532"/>
                    </a:lnTo>
                    <a:lnTo>
                      <a:pt x="3030682" y="3420409"/>
                    </a:lnTo>
                    <a:lnTo>
                      <a:pt x="3019039" y="3381117"/>
                    </a:lnTo>
                    <a:cubicBezTo>
                      <a:pt x="2916596" y="3085457"/>
                      <a:pt x="2189761" y="2865156"/>
                      <a:pt x="1581345" y="2720212"/>
                    </a:cubicBezTo>
                    <a:cubicBezTo>
                      <a:pt x="1045124" y="2571338"/>
                      <a:pt x="651082" y="2065638"/>
                      <a:pt x="651082" y="1464934"/>
                    </a:cubicBezTo>
                    <a:cubicBezTo>
                      <a:pt x="651082" y="745769"/>
                      <a:pt x="1018501" y="171149"/>
                      <a:pt x="1912553" y="162771"/>
                    </a:cubicBezTo>
                    <a:cubicBezTo>
                      <a:pt x="2250796" y="159602"/>
                      <a:pt x="2458856" y="294299"/>
                      <a:pt x="2635535" y="395564"/>
                    </a:cubicBezTo>
                    <a:lnTo>
                      <a:pt x="2633024" y="398652"/>
                    </a:lnTo>
                    <a:cubicBezTo>
                      <a:pt x="3097872" y="776605"/>
                      <a:pt x="3170184" y="1459033"/>
                      <a:pt x="2794867" y="1926012"/>
                    </a:cubicBezTo>
                    <a:lnTo>
                      <a:pt x="2957653" y="2056846"/>
                    </a:lnTo>
                    <a:cubicBezTo>
                      <a:pt x="3404939" y="1500322"/>
                      <a:pt x="3318761" y="687035"/>
                      <a:pt x="2764776" y="236609"/>
                    </a:cubicBezTo>
                    <a:lnTo>
                      <a:pt x="2763561" y="238103"/>
                    </a:lnTo>
                    <a:lnTo>
                      <a:pt x="2752521" y="230833"/>
                    </a:lnTo>
                    <a:lnTo>
                      <a:pt x="2653593" y="176731"/>
                    </a:lnTo>
                    <a:lnTo>
                      <a:pt x="2545354" y="131046"/>
                    </a:lnTo>
                    <a:lnTo>
                      <a:pt x="2433624" y="88967"/>
                    </a:lnTo>
                    <a:lnTo>
                      <a:pt x="2312583" y="56506"/>
                    </a:lnTo>
                    <a:lnTo>
                      <a:pt x="2185723" y="30056"/>
                    </a:lnTo>
                    <a:lnTo>
                      <a:pt x="2053042" y="12022"/>
                    </a:lnTo>
                    <a:lnTo>
                      <a:pt x="1913381" y="1203"/>
                    </a:lnTo>
                    <a:close/>
                  </a:path>
                </a:pathLst>
              </a:custGeom>
              <a:solidFill>
                <a:srgbClr val="024049"/>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grpSp>
          <p:nvGrpSpPr>
            <p:cNvPr id="486" name="Graphic 33">
              <a:extLst>
                <a:ext uri="{FF2B5EF4-FFF2-40B4-BE49-F238E27FC236}">
                  <a16:creationId xmlns:a16="http://schemas.microsoft.com/office/drawing/2014/main" id="{640B17F0-5F1A-FE4C-BAA8-1C1DCE5ACDF9}"/>
                </a:ext>
              </a:extLst>
            </p:cNvPr>
            <p:cNvGrpSpPr>
              <a:grpSpLocks noChangeAspect="1"/>
            </p:cNvGrpSpPr>
            <p:nvPr/>
          </p:nvGrpSpPr>
          <p:grpSpPr>
            <a:xfrm>
              <a:off x="4896917" y="4822596"/>
              <a:ext cx="602045" cy="556730"/>
              <a:chOff x="7424910" y="2405641"/>
              <a:chExt cx="1771650" cy="1638300"/>
            </a:xfrm>
            <a:solidFill>
              <a:schemeClr val="accent4"/>
            </a:solidFill>
          </p:grpSpPr>
          <p:sp>
            <p:nvSpPr>
              <p:cNvPr id="487" name="Freeform: Shape 34">
                <a:extLst>
                  <a:ext uri="{FF2B5EF4-FFF2-40B4-BE49-F238E27FC236}">
                    <a16:creationId xmlns:a16="http://schemas.microsoft.com/office/drawing/2014/main" id="{8CE1CB7A-3469-E84B-BC0D-9237367B79E7}"/>
                  </a:ext>
                </a:extLst>
              </p:cNvPr>
              <p:cNvSpPr/>
              <p:nvPr/>
            </p:nvSpPr>
            <p:spPr>
              <a:xfrm>
                <a:off x="7417766" y="2398092"/>
                <a:ext cx="885825" cy="1647825"/>
              </a:xfrm>
              <a:custGeom>
                <a:avLst/>
                <a:gdLst>
                  <a:gd name="connsiteX0" fmla="*/ 749141 w 885825"/>
                  <a:gd name="connsiteY0" fmla="*/ 1281042 h 1647825"/>
                  <a:gd name="connsiteX1" fmla="*/ 858679 w 885825"/>
                  <a:gd name="connsiteY1" fmla="*/ 1312474 h 1647825"/>
                  <a:gd name="connsiteX2" fmla="*/ 858679 w 885825"/>
                  <a:gd name="connsiteY2" fmla="*/ 1287709 h 1647825"/>
                  <a:gd name="connsiteX3" fmla="*/ 861536 w 885825"/>
                  <a:gd name="connsiteY3" fmla="*/ 1006722 h 1647825"/>
                  <a:gd name="connsiteX4" fmla="*/ 855821 w 885825"/>
                  <a:gd name="connsiteY4" fmla="*/ 975289 h 1647825"/>
                  <a:gd name="connsiteX5" fmla="*/ 791051 w 885825"/>
                  <a:gd name="connsiteY5" fmla="*/ 885754 h 1647825"/>
                  <a:gd name="connsiteX6" fmla="*/ 770096 w 885825"/>
                  <a:gd name="connsiteY6" fmla="*/ 880039 h 1647825"/>
                  <a:gd name="connsiteX7" fmla="*/ 745331 w 885825"/>
                  <a:gd name="connsiteY7" fmla="*/ 880039 h 1647825"/>
                  <a:gd name="connsiteX8" fmla="*/ 718661 w 885825"/>
                  <a:gd name="connsiteY8" fmla="*/ 884802 h 1647825"/>
                  <a:gd name="connsiteX9" fmla="*/ 630079 w 885825"/>
                  <a:gd name="connsiteY9" fmla="*/ 1042917 h 1647825"/>
                  <a:gd name="connsiteX10" fmla="*/ 618649 w 885825"/>
                  <a:gd name="connsiteY10" fmla="*/ 1060062 h 1647825"/>
                  <a:gd name="connsiteX11" fmla="*/ 604361 w 885825"/>
                  <a:gd name="connsiteY11" fmla="*/ 1049584 h 1647825"/>
                  <a:gd name="connsiteX12" fmla="*/ 711041 w 885825"/>
                  <a:gd name="connsiteY12" fmla="*/ 859084 h 1647825"/>
                  <a:gd name="connsiteX13" fmla="*/ 737711 w 885825"/>
                  <a:gd name="connsiteY13" fmla="*/ 854322 h 1647825"/>
                  <a:gd name="connsiteX14" fmla="*/ 768191 w 885825"/>
                  <a:gd name="connsiteY14" fmla="*/ 857179 h 1647825"/>
                  <a:gd name="connsiteX15" fmla="*/ 846296 w 885825"/>
                  <a:gd name="connsiteY15" fmla="*/ 891469 h 1647825"/>
                  <a:gd name="connsiteX16" fmla="*/ 855821 w 885825"/>
                  <a:gd name="connsiteY16" fmla="*/ 707637 h 1647825"/>
                  <a:gd name="connsiteX17" fmla="*/ 856774 w 885825"/>
                  <a:gd name="connsiteY17" fmla="*/ 681919 h 1647825"/>
                  <a:gd name="connsiteX18" fmla="*/ 863441 w 885825"/>
                  <a:gd name="connsiteY18" fmla="*/ 650487 h 1647825"/>
                  <a:gd name="connsiteX19" fmla="*/ 868204 w 885825"/>
                  <a:gd name="connsiteY19" fmla="*/ 619054 h 1647825"/>
                  <a:gd name="connsiteX20" fmla="*/ 856774 w 885825"/>
                  <a:gd name="connsiteY20" fmla="*/ 311397 h 1647825"/>
                  <a:gd name="connsiteX21" fmla="*/ 856774 w 885825"/>
                  <a:gd name="connsiteY21" fmla="*/ 280917 h 1647825"/>
                  <a:gd name="connsiteX22" fmla="*/ 856774 w 885825"/>
                  <a:gd name="connsiteY22" fmla="*/ 220909 h 1647825"/>
                  <a:gd name="connsiteX23" fmla="*/ 854869 w 885825"/>
                  <a:gd name="connsiteY23" fmla="*/ 221862 h 1647825"/>
                  <a:gd name="connsiteX24" fmla="*/ 776764 w 885825"/>
                  <a:gd name="connsiteY24" fmla="*/ 71367 h 1647825"/>
                  <a:gd name="connsiteX25" fmla="*/ 750094 w 885825"/>
                  <a:gd name="connsiteY25" fmla="*/ 50412 h 1647825"/>
                  <a:gd name="connsiteX26" fmla="*/ 656749 w 885825"/>
                  <a:gd name="connsiteY26" fmla="*/ 12312 h 1647825"/>
                  <a:gd name="connsiteX27" fmla="*/ 623411 w 885825"/>
                  <a:gd name="connsiteY27" fmla="*/ 8502 h 1647825"/>
                  <a:gd name="connsiteX28" fmla="*/ 391954 w 885825"/>
                  <a:gd name="connsiteY28" fmla="*/ 227577 h 1647825"/>
                  <a:gd name="connsiteX29" fmla="*/ 405289 w 885825"/>
                  <a:gd name="connsiteY29" fmla="*/ 253294 h 1647825"/>
                  <a:gd name="connsiteX30" fmla="*/ 520541 w 885825"/>
                  <a:gd name="connsiteY30" fmla="*/ 332352 h 1647825"/>
                  <a:gd name="connsiteX31" fmla="*/ 551021 w 885825"/>
                  <a:gd name="connsiteY31" fmla="*/ 335209 h 1647825"/>
                  <a:gd name="connsiteX32" fmla="*/ 718661 w 885825"/>
                  <a:gd name="connsiteY32" fmla="*/ 198049 h 1647825"/>
                  <a:gd name="connsiteX33" fmla="*/ 722471 w 885825"/>
                  <a:gd name="connsiteY33" fmla="*/ 163759 h 1647825"/>
                  <a:gd name="connsiteX34" fmla="*/ 743426 w 885825"/>
                  <a:gd name="connsiteY34" fmla="*/ 146614 h 1647825"/>
                  <a:gd name="connsiteX35" fmla="*/ 758666 w 885825"/>
                  <a:gd name="connsiteY35" fmla="*/ 164712 h 1647825"/>
                  <a:gd name="connsiteX36" fmla="*/ 635794 w 885825"/>
                  <a:gd name="connsiteY36" fmla="*/ 353307 h 1647825"/>
                  <a:gd name="connsiteX37" fmla="*/ 708184 w 885825"/>
                  <a:gd name="connsiteY37" fmla="*/ 407599 h 1647825"/>
                  <a:gd name="connsiteX38" fmla="*/ 726281 w 885825"/>
                  <a:gd name="connsiteY38" fmla="*/ 432364 h 1647825"/>
                  <a:gd name="connsiteX39" fmla="*/ 757714 w 885825"/>
                  <a:gd name="connsiteY39" fmla="*/ 584764 h 1647825"/>
                  <a:gd name="connsiteX40" fmla="*/ 751046 w 885825"/>
                  <a:gd name="connsiteY40" fmla="*/ 611434 h 1647825"/>
                  <a:gd name="connsiteX41" fmla="*/ 741521 w 885825"/>
                  <a:gd name="connsiteY41" fmla="*/ 637152 h 1647825"/>
                  <a:gd name="connsiteX42" fmla="*/ 727234 w 885825"/>
                  <a:gd name="connsiteY42" fmla="*/ 661917 h 1647825"/>
                  <a:gd name="connsiteX43" fmla="*/ 687229 w 885825"/>
                  <a:gd name="connsiteY43" fmla="*/ 706684 h 1647825"/>
                  <a:gd name="connsiteX44" fmla="*/ 737711 w 885825"/>
                  <a:gd name="connsiteY44" fmla="*/ 786694 h 1647825"/>
                  <a:gd name="connsiteX45" fmla="*/ 760571 w 885825"/>
                  <a:gd name="connsiteY45" fmla="*/ 796219 h 1647825"/>
                  <a:gd name="connsiteX46" fmla="*/ 788194 w 885825"/>
                  <a:gd name="connsiteY46" fmla="*/ 799077 h 1647825"/>
                  <a:gd name="connsiteX47" fmla="*/ 783431 w 885825"/>
                  <a:gd name="connsiteY47" fmla="*/ 835272 h 1647825"/>
                  <a:gd name="connsiteX48" fmla="*/ 752951 w 885825"/>
                  <a:gd name="connsiteY48" fmla="*/ 830509 h 1647825"/>
                  <a:gd name="connsiteX49" fmla="*/ 724376 w 885825"/>
                  <a:gd name="connsiteY49" fmla="*/ 820032 h 1647825"/>
                  <a:gd name="connsiteX50" fmla="*/ 653891 w 885825"/>
                  <a:gd name="connsiteY50" fmla="*/ 728592 h 1647825"/>
                  <a:gd name="connsiteX51" fmla="*/ 381476 w 885825"/>
                  <a:gd name="connsiteY51" fmla="*/ 658107 h 1647825"/>
                  <a:gd name="connsiteX52" fmla="*/ 384334 w 885825"/>
                  <a:gd name="connsiteY52" fmla="*/ 635247 h 1647825"/>
                  <a:gd name="connsiteX53" fmla="*/ 411004 w 885825"/>
                  <a:gd name="connsiteY53" fmla="*/ 639057 h 1647825"/>
                  <a:gd name="connsiteX54" fmla="*/ 541496 w 885825"/>
                  <a:gd name="connsiteY54" fmla="*/ 717162 h 1647825"/>
                  <a:gd name="connsiteX55" fmla="*/ 552926 w 885825"/>
                  <a:gd name="connsiteY55" fmla="*/ 716209 h 1647825"/>
                  <a:gd name="connsiteX56" fmla="*/ 693896 w 885825"/>
                  <a:gd name="connsiteY56" fmla="*/ 638104 h 1647825"/>
                  <a:gd name="connsiteX57" fmla="*/ 710089 w 885825"/>
                  <a:gd name="connsiteY57" fmla="*/ 608577 h 1647825"/>
                  <a:gd name="connsiteX58" fmla="*/ 710089 w 885825"/>
                  <a:gd name="connsiteY58" fmla="*/ 475227 h 1647825"/>
                  <a:gd name="connsiteX59" fmla="*/ 693896 w 885825"/>
                  <a:gd name="connsiteY59" fmla="*/ 445699 h 1647825"/>
                  <a:gd name="connsiteX60" fmla="*/ 551974 w 885825"/>
                  <a:gd name="connsiteY60" fmla="*/ 370452 h 1647825"/>
                  <a:gd name="connsiteX61" fmla="*/ 532924 w 885825"/>
                  <a:gd name="connsiteY61" fmla="*/ 368547 h 1647825"/>
                  <a:gd name="connsiteX62" fmla="*/ 397669 w 885825"/>
                  <a:gd name="connsiteY62" fmla="*/ 301872 h 1647825"/>
                  <a:gd name="connsiteX63" fmla="*/ 371951 w 885825"/>
                  <a:gd name="connsiteY63" fmla="*/ 293299 h 1647825"/>
                  <a:gd name="connsiteX64" fmla="*/ 180499 w 885825"/>
                  <a:gd name="connsiteY64" fmla="*/ 376167 h 1647825"/>
                  <a:gd name="connsiteX65" fmla="*/ 175736 w 885825"/>
                  <a:gd name="connsiteY65" fmla="*/ 505707 h 1647825"/>
                  <a:gd name="connsiteX66" fmla="*/ 181451 w 885825"/>
                  <a:gd name="connsiteY66" fmla="*/ 532377 h 1647825"/>
                  <a:gd name="connsiteX67" fmla="*/ 202406 w 885825"/>
                  <a:gd name="connsiteY67" fmla="*/ 580954 h 1647825"/>
                  <a:gd name="connsiteX68" fmla="*/ 217646 w 885825"/>
                  <a:gd name="connsiteY68" fmla="*/ 581907 h 1647825"/>
                  <a:gd name="connsiteX69" fmla="*/ 239554 w 885825"/>
                  <a:gd name="connsiteY69" fmla="*/ 580002 h 1647825"/>
                  <a:gd name="connsiteX70" fmla="*/ 260509 w 885825"/>
                  <a:gd name="connsiteY70" fmla="*/ 575239 h 1647825"/>
                  <a:gd name="connsiteX71" fmla="*/ 344329 w 885825"/>
                  <a:gd name="connsiteY71" fmla="*/ 490467 h 1647825"/>
                  <a:gd name="connsiteX72" fmla="*/ 351949 w 885825"/>
                  <a:gd name="connsiteY72" fmla="*/ 465702 h 1647825"/>
                  <a:gd name="connsiteX73" fmla="*/ 361474 w 885825"/>
                  <a:gd name="connsiteY73" fmla="*/ 415219 h 1647825"/>
                  <a:gd name="connsiteX74" fmla="*/ 390049 w 885825"/>
                  <a:gd name="connsiteY74" fmla="*/ 424744 h 1647825"/>
                  <a:gd name="connsiteX75" fmla="*/ 325279 w 885825"/>
                  <a:gd name="connsiteY75" fmla="*/ 580954 h 1647825"/>
                  <a:gd name="connsiteX76" fmla="*/ 301466 w 885825"/>
                  <a:gd name="connsiteY76" fmla="*/ 597147 h 1647825"/>
                  <a:gd name="connsiteX77" fmla="*/ 218599 w 885825"/>
                  <a:gd name="connsiteY77" fmla="*/ 618102 h 1647825"/>
                  <a:gd name="connsiteX78" fmla="*/ 145256 w 885825"/>
                  <a:gd name="connsiteY78" fmla="*/ 600957 h 1647825"/>
                  <a:gd name="connsiteX79" fmla="*/ 7144 w 885825"/>
                  <a:gd name="connsiteY79" fmla="*/ 817174 h 1647825"/>
                  <a:gd name="connsiteX80" fmla="*/ 164306 w 885825"/>
                  <a:gd name="connsiteY80" fmla="*/ 1041964 h 1647825"/>
                  <a:gd name="connsiteX81" fmla="*/ 174784 w 885825"/>
                  <a:gd name="connsiteY81" fmla="*/ 1041964 h 1647825"/>
                  <a:gd name="connsiteX82" fmla="*/ 346234 w 885825"/>
                  <a:gd name="connsiteY82" fmla="*/ 870514 h 1647825"/>
                  <a:gd name="connsiteX83" fmla="*/ 367189 w 885825"/>
                  <a:gd name="connsiteY83" fmla="*/ 853369 h 1647825"/>
                  <a:gd name="connsiteX84" fmla="*/ 382429 w 885825"/>
                  <a:gd name="connsiteY84" fmla="*/ 871467 h 1647825"/>
                  <a:gd name="connsiteX85" fmla="*/ 346234 w 885825"/>
                  <a:gd name="connsiteY85" fmla="*/ 987672 h 1647825"/>
                  <a:gd name="connsiteX86" fmla="*/ 350044 w 885825"/>
                  <a:gd name="connsiteY86" fmla="*/ 1021009 h 1647825"/>
                  <a:gd name="connsiteX87" fmla="*/ 360521 w 885825"/>
                  <a:gd name="connsiteY87" fmla="*/ 1052442 h 1647825"/>
                  <a:gd name="connsiteX88" fmla="*/ 451009 w 885825"/>
                  <a:gd name="connsiteY88" fmla="*/ 1141024 h 1647825"/>
                  <a:gd name="connsiteX89" fmla="*/ 482441 w 885825"/>
                  <a:gd name="connsiteY89" fmla="*/ 1150549 h 1647825"/>
                  <a:gd name="connsiteX90" fmla="*/ 516731 w 885825"/>
                  <a:gd name="connsiteY90" fmla="*/ 1154359 h 1647825"/>
                  <a:gd name="connsiteX91" fmla="*/ 688181 w 885825"/>
                  <a:gd name="connsiteY91" fmla="*/ 982909 h 1647825"/>
                  <a:gd name="connsiteX92" fmla="*/ 709136 w 885825"/>
                  <a:gd name="connsiteY92" fmla="*/ 965764 h 1647825"/>
                  <a:gd name="connsiteX93" fmla="*/ 724376 w 885825"/>
                  <a:gd name="connsiteY93" fmla="*/ 983862 h 1647825"/>
                  <a:gd name="connsiteX94" fmla="*/ 721519 w 885825"/>
                  <a:gd name="connsiteY94" fmla="*/ 1017199 h 1647825"/>
                  <a:gd name="connsiteX95" fmla="*/ 684371 w 885825"/>
                  <a:gd name="connsiteY95" fmla="*/ 1105782 h 1647825"/>
                  <a:gd name="connsiteX96" fmla="*/ 663416 w 885825"/>
                  <a:gd name="connsiteY96" fmla="*/ 1129595 h 1647825"/>
                  <a:gd name="connsiteX97" fmla="*/ 517684 w 885825"/>
                  <a:gd name="connsiteY97" fmla="*/ 1189602 h 1647825"/>
                  <a:gd name="connsiteX98" fmla="*/ 488156 w 885825"/>
                  <a:gd name="connsiteY98" fmla="*/ 1187697 h 1647825"/>
                  <a:gd name="connsiteX99" fmla="*/ 459581 w 885825"/>
                  <a:gd name="connsiteY99" fmla="*/ 1181982 h 1647825"/>
                  <a:gd name="connsiteX100" fmla="*/ 315754 w 885825"/>
                  <a:gd name="connsiteY100" fmla="*/ 1023867 h 1647825"/>
                  <a:gd name="connsiteX101" fmla="*/ 172879 w 885825"/>
                  <a:gd name="connsiteY101" fmla="*/ 1185792 h 1647825"/>
                  <a:gd name="connsiteX102" fmla="*/ 341471 w 885825"/>
                  <a:gd name="connsiteY102" fmla="*/ 1345812 h 1647825"/>
                  <a:gd name="connsiteX103" fmla="*/ 373856 w 885825"/>
                  <a:gd name="connsiteY103" fmla="*/ 1348670 h 1647825"/>
                  <a:gd name="connsiteX104" fmla="*/ 386239 w 885825"/>
                  <a:gd name="connsiteY104" fmla="*/ 1348670 h 1647825"/>
                  <a:gd name="connsiteX105" fmla="*/ 383381 w 885825"/>
                  <a:gd name="connsiteY105" fmla="*/ 1369624 h 1647825"/>
                  <a:gd name="connsiteX106" fmla="*/ 382429 w 885825"/>
                  <a:gd name="connsiteY106" fmla="*/ 1391532 h 1647825"/>
                  <a:gd name="connsiteX107" fmla="*/ 527209 w 885825"/>
                  <a:gd name="connsiteY107" fmla="*/ 1625847 h 1647825"/>
                  <a:gd name="connsiteX108" fmla="*/ 558641 w 885825"/>
                  <a:gd name="connsiteY108" fmla="*/ 1636324 h 1647825"/>
                  <a:gd name="connsiteX109" fmla="*/ 756761 w 885825"/>
                  <a:gd name="connsiteY109" fmla="*/ 1596320 h 1647825"/>
                  <a:gd name="connsiteX110" fmla="*/ 777716 w 885825"/>
                  <a:gd name="connsiteY110" fmla="*/ 1584890 h 1647825"/>
                  <a:gd name="connsiteX111" fmla="*/ 858679 w 885825"/>
                  <a:gd name="connsiteY111" fmla="*/ 1491545 h 1647825"/>
                  <a:gd name="connsiteX112" fmla="*/ 791051 w 885825"/>
                  <a:gd name="connsiteY112" fmla="*/ 1321999 h 1647825"/>
                  <a:gd name="connsiteX113" fmla="*/ 771049 w 885825"/>
                  <a:gd name="connsiteY113" fmla="*/ 1318190 h 1647825"/>
                  <a:gd name="connsiteX114" fmla="*/ 750094 w 885825"/>
                  <a:gd name="connsiteY114" fmla="*/ 1317237 h 1647825"/>
                  <a:gd name="connsiteX115" fmla="*/ 608171 w 885825"/>
                  <a:gd name="connsiteY115" fmla="*/ 1392484 h 1647825"/>
                  <a:gd name="connsiteX116" fmla="*/ 591979 w 885825"/>
                  <a:gd name="connsiteY116" fmla="*/ 1422012 h 1647825"/>
                  <a:gd name="connsiteX117" fmla="*/ 576739 w 885825"/>
                  <a:gd name="connsiteY117" fmla="*/ 1497259 h 1647825"/>
                  <a:gd name="connsiteX118" fmla="*/ 552926 w 885825"/>
                  <a:gd name="connsiteY118" fmla="*/ 1501070 h 1647825"/>
                  <a:gd name="connsiteX119" fmla="*/ 546259 w 885825"/>
                  <a:gd name="connsiteY119" fmla="*/ 1447729 h 1647825"/>
                  <a:gd name="connsiteX120" fmla="*/ 552926 w 885825"/>
                  <a:gd name="connsiteY120" fmla="*/ 1422965 h 1647825"/>
                  <a:gd name="connsiteX121" fmla="*/ 565309 w 885825"/>
                  <a:gd name="connsiteY121" fmla="*/ 1393437 h 1647825"/>
                  <a:gd name="connsiteX122" fmla="*/ 749141 w 885825"/>
                  <a:gd name="connsiteY122" fmla="*/ 1281042 h 1647825"/>
                  <a:gd name="connsiteX123" fmla="*/ 164306 w 885825"/>
                  <a:gd name="connsiteY123" fmla="*/ 969574 h 1647825"/>
                  <a:gd name="connsiteX124" fmla="*/ 140494 w 885825"/>
                  <a:gd name="connsiteY124" fmla="*/ 968622 h 1647825"/>
                  <a:gd name="connsiteX125" fmla="*/ 118586 w 885825"/>
                  <a:gd name="connsiteY125" fmla="*/ 678109 h 1647825"/>
                  <a:gd name="connsiteX126" fmla="*/ 133826 w 885825"/>
                  <a:gd name="connsiteY126" fmla="*/ 661917 h 1647825"/>
                  <a:gd name="connsiteX127" fmla="*/ 134779 w 885825"/>
                  <a:gd name="connsiteY127" fmla="*/ 661917 h 1647825"/>
                  <a:gd name="connsiteX128" fmla="*/ 153829 w 885825"/>
                  <a:gd name="connsiteY128" fmla="*/ 691444 h 1647825"/>
                  <a:gd name="connsiteX129" fmla="*/ 153829 w 885825"/>
                  <a:gd name="connsiteY129" fmla="*/ 692397 h 1647825"/>
                  <a:gd name="connsiteX130" fmla="*/ 146209 w 885825"/>
                  <a:gd name="connsiteY130" fmla="*/ 700969 h 1647825"/>
                  <a:gd name="connsiteX131" fmla="*/ 165259 w 885825"/>
                  <a:gd name="connsiteY131" fmla="*/ 942904 h 1647825"/>
                  <a:gd name="connsiteX132" fmla="*/ 164306 w 885825"/>
                  <a:gd name="connsiteY132" fmla="*/ 969574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885825" h="1647825">
                    <a:moveTo>
                      <a:pt x="749141" y="1281042"/>
                    </a:moveTo>
                    <a:cubicBezTo>
                      <a:pt x="789146" y="1281042"/>
                      <a:pt x="827246" y="1292472"/>
                      <a:pt x="858679" y="1312474"/>
                    </a:cubicBezTo>
                    <a:cubicBezTo>
                      <a:pt x="858679" y="1312474"/>
                      <a:pt x="858679" y="1302949"/>
                      <a:pt x="858679" y="1287709"/>
                    </a:cubicBezTo>
                    <a:cubicBezTo>
                      <a:pt x="874871" y="1196270"/>
                      <a:pt x="875824" y="1101972"/>
                      <a:pt x="861536" y="1006722"/>
                    </a:cubicBezTo>
                    <a:cubicBezTo>
                      <a:pt x="859631" y="996244"/>
                      <a:pt x="857726" y="985767"/>
                      <a:pt x="855821" y="975289"/>
                    </a:cubicBezTo>
                    <a:cubicBezTo>
                      <a:pt x="847249" y="938142"/>
                      <a:pt x="828199" y="900042"/>
                      <a:pt x="791051" y="885754"/>
                    </a:cubicBezTo>
                    <a:cubicBezTo>
                      <a:pt x="784384" y="882897"/>
                      <a:pt x="777716" y="880992"/>
                      <a:pt x="770096" y="880039"/>
                    </a:cubicBezTo>
                    <a:cubicBezTo>
                      <a:pt x="762476" y="879087"/>
                      <a:pt x="753904" y="879087"/>
                      <a:pt x="745331" y="880039"/>
                    </a:cubicBezTo>
                    <a:cubicBezTo>
                      <a:pt x="736759" y="880992"/>
                      <a:pt x="727234" y="881944"/>
                      <a:pt x="718661" y="884802"/>
                    </a:cubicBezTo>
                    <a:cubicBezTo>
                      <a:pt x="651034" y="903852"/>
                      <a:pt x="611029" y="975289"/>
                      <a:pt x="630079" y="1042917"/>
                    </a:cubicBezTo>
                    <a:cubicBezTo>
                      <a:pt x="631984" y="1050537"/>
                      <a:pt x="627221" y="1059109"/>
                      <a:pt x="618649" y="1060062"/>
                    </a:cubicBezTo>
                    <a:cubicBezTo>
                      <a:pt x="611981" y="1061014"/>
                      <a:pt x="606266" y="1056252"/>
                      <a:pt x="604361" y="1049584"/>
                    </a:cubicBezTo>
                    <a:cubicBezTo>
                      <a:pt x="581501" y="967669"/>
                      <a:pt x="629126" y="881944"/>
                      <a:pt x="711041" y="859084"/>
                    </a:cubicBezTo>
                    <a:cubicBezTo>
                      <a:pt x="719614" y="856227"/>
                      <a:pt x="729139" y="855274"/>
                      <a:pt x="737711" y="854322"/>
                    </a:cubicBezTo>
                    <a:cubicBezTo>
                      <a:pt x="748189" y="854322"/>
                      <a:pt x="758666" y="855274"/>
                      <a:pt x="768191" y="857179"/>
                    </a:cubicBezTo>
                    <a:cubicBezTo>
                      <a:pt x="798671" y="853369"/>
                      <a:pt x="817721" y="891469"/>
                      <a:pt x="846296" y="891469"/>
                    </a:cubicBezTo>
                    <a:cubicBezTo>
                      <a:pt x="827246" y="834319"/>
                      <a:pt x="855821" y="767644"/>
                      <a:pt x="855821" y="707637"/>
                    </a:cubicBezTo>
                    <a:cubicBezTo>
                      <a:pt x="856774" y="699064"/>
                      <a:pt x="856774" y="690492"/>
                      <a:pt x="856774" y="681919"/>
                    </a:cubicBezTo>
                    <a:cubicBezTo>
                      <a:pt x="859631" y="671442"/>
                      <a:pt x="861536" y="660964"/>
                      <a:pt x="863441" y="650487"/>
                    </a:cubicBezTo>
                    <a:cubicBezTo>
                      <a:pt x="865346" y="640009"/>
                      <a:pt x="866299" y="629532"/>
                      <a:pt x="868204" y="619054"/>
                    </a:cubicBezTo>
                    <a:cubicBezTo>
                      <a:pt x="893921" y="510469"/>
                      <a:pt x="865346" y="415219"/>
                      <a:pt x="856774" y="311397"/>
                    </a:cubicBezTo>
                    <a:cubicBezTo>
                      <a:pt x="856774" y="300919"/>
                      <a:pt x="856774" y="290442"/>
                      <a:pt x="856774" y="280917"/>
                    </a:cubicBezTo>
                    <a:cubicBezTo>
                      <a:pt x="856774" y="243769"/>
                      <a:pt x="856774" y="220909"/>
                      <a:pt x="856774" y="220909"/>
                    </a:cubicBezTo>
                    <a:lnTo>
                      <a:pt x="854869" y="221862"/>
                    </a:lnTo>
                    <a:cubicBezTo>
                      <a:pt x="848201" y="162807"/>
                      <a:pt x="819626" y="109467"/>
                      <a:pt x="776764" y="71367"/>
                    </a:cubicBezTo>
                    <a:cubicBezTo>
                      <a:pt x="768191" y="63747"/>
                      <a:pt x="759619" y="57079"/>
                      <a:pt x="750094" y="50412"/>
                    </a:cubicBezTo>
                    <a:cubicBezTo>
                      <a:pt x="721519" y="31362"/>
                      <a:pt x="690086" y="18027"/>
                      <a:pt x="656749" y="12312"/>
                    </a:cubicBezTo>
                    <a:cubicBezTo>
                      <a:pt x="645319" y="10407"/>
                      <a:pt x="634841" y="9454"/>
                      <a:pt x="623411" y="8502"/>
                    </a:cubicBezTo>
                    <a:cubicBezTo>
                      <a:pt x="502444" y="-4833"/>
                      <a:pt x="359569" y="80892"/>
                      <a:pt x="391954" y="227577"/>
                    </a:cubicBezTo>
                    <a:cubicBezTo>
                      <a:pt x="395764" y="236149"/>
                      <a:pt x="399574" y="244722"/>
                      <a:pt x="405289" y="253294"/>
                    </a:cubicBezTo>
                    <a:cubicBezTo>
                      <a:pt x="427196" y="290442"/>
                      <a:pt x="474821" y="328542"/>
                      <a:pt x="520541" y="332352"/>
                    </a:cubicBezTo>
                    <a:cubicBezTo>
                      <a:pt x="530066" y="334257"/>
                      <a:pt x="540544" y="335209"/>
                      <a:pt x="551021" y="335209"/>
                    </a:cubicBezTo>
                    <a:cubicBezTo>
                      <a:pt x="633889" y="335209"/>
                      <a:pt x="702469" y="276154"/>
                      <a:pt x="718661" y="198049"/>
                    </a:cubicBezTo>
                    <a:cubicBezTo>
                      <a:pt x="720566" y="186619"/>
                      <a:pt x="722471" y="175189"/>
                      <a:pt x="722471" y="163759"/>
                    </a:cubicBezTo>
                    <a:cubicBezTo>
                      <a:pt x="722471" y="153282"/>
                      <a:pt x="731996" y="144709"/>
                      <a:pt x="743426" y="146614"/>
                    </a:cubicBezTo>
                    <a:cubicBezTo>
                      <a:pt x="751999" y="147567"/>
                      <a:pt x="758666" y="156139"/>
                      <a:pt x="758666" y="164712"/>
                    </a:cubicBezTo>
                    <a:cubicBezTo>
                      <a:pt x="758666" y="248532"/>
                      <a:pt x="708184" y="320922"/>
                      <a:pt x="635794" y="353307"/>
                    </a:cubicBezTo>
                    <a:cubicBezTo>
                      <a:pt x="664369" y="365689"/>
                      <a:pt x="689134" y="384739"/>
                      <a:pt x="708184" y="407599"/>
                    </a:cubicBezTo>
                    <a:cubicBezTo>
                      <a:pt x="714851" y="415219"/>
                      <a:pt x="720566" y="423792"/>
                      <a:pt x="726281" y="432364"/>
                    </a:cubicBezTo>
                    <a:cubicBezTo>
                      <a:pt x="771049" y="473322"/>
                      <a:pt x="761524" y="530472"/>
                      <a:pt x="757714" y="584764"/>
                    </a:cubicBezTo>
                    <a:cubicBezTo>
                      <a:pt x="755809" y="593337"/>
                      <a:pt x="753904" y="602862"/>
                      <a:pt x="751046" y="611434"/>
                    </a:cubicBezTo>
                    <a:cubicBezTo>
                      <a:pt x="748189" y="620007"/>
                      <a:pt x="745331" y="628579"/>
                      <a:pt x="741521" y="637152"/>
                    </a:cubicBezTo>
                    <a:cubicBezTo>
                      <a:pt x="737711" y="645724"/>
                      <a:pt x="732949" y="654297"/>
                      <a:pt x="727234" y="661917"/>
                    </a:cubicBezTo>
                    <a:cubicBezTo>
                      <a:pt x="716756" y="678109"/>
                      <a:pt x="703421" y="693349"/>
                      <a:pt x="687229" y="706684"/>
                    </a:cubicBezTo>
                    <a:cubicBezTo>
                      <a:pt x="689134" y="740974"/>
                      <a:pt x="709136" y="771454"/>
                      <a:pt x="737711" y="786694"/>
                    </a:cubicBezTo>
                    <a:cubicBezTo>
                      <a:pt x="744379" y="790504"/>
                      <a:pt x="752951" y="794314"/>
                      <a:pt x="760571" y="796219"/>
                    </a:cubicBezTo>
                    <a:cubicBezTo>
                      <a:pt x="771049" y="791457"/>
                      <a:pt x="780574" y="794314"/>
                      <a:pt x="788194" y="799077"/>
                    </a:cubicBezTo>
                    <a:cubicBezTo>
                      <a:pt x="810101" y="816222"/>
                      <a:pt x="800576" y="825747"/>
                      <a:pt x="783431" y="835272"/>
                    </a:cubicBezTo>
                    <a:cubicBezTo>
                      <a:pt x="773906" y="838129"/>
                      <a:pt x="762476" y="837177"/>
                      <a:pt x="752951" y="830509"/>
                    </a:cubicBezTo>
                    <a:cubicBezTo>
                      <a:pt x="743426" y="827652"/>
                      <a:pt x="733901" y="824794"/>
                      <a:pt x="724376" y="820032"/>
                    </a:cubicBezTo>
                    <a:cubicBezTo>
                      <a:pt x="689134" y="801934"/>
                      <a:pt x="662464" y="768597"/>
                      <a:pt x="653891" y="728592"/>
                    </a:cubicBezTo>
                    <a:cubicBezTo>
                      <a:pt x="559594" y="780027"/>
                      <a:pt x="439579" y="750499"/>
                      <a:pt x="381476" y="658107"/>
                    </a:cubicBezTo>
                    <a:cubicBezTo>
                      <a:pt x="376714" y="650487"/>
                      <a:pt x="377666" y="640962"/>
                      <a:pt x="384334" y="635247"/>
                    </a:cubicBezTo>
                    <a:cubicBezTo>
                      <a:pt x="392906" y="627627"/>
                      <a:pt x="405289" y="629532"/>
                      <a:pt x="411004" y="639057"/>
                    </a:cubicBezTo>
                    <a:cubicBezTo>
                      <a:pt x="440531" y="685729"/>
                      <a:pt x="490061" y="713352"/>
                      <a:pt x="541496" y="717162"/>
                    </a:cubicBezTo>
                    <a:cubicBezTo>
                      <a:pt x="545306" y="715257"/>
                      <a:pt x="548164" y="716209"/>
                      <a:pt x="552926" y="716209"/>
                    </a:cubicBezTo>
                    <a:cubicBezTo>
                      <a:pt x="611981" y="716209"/>
                      <a:pt x="663416" y="684777"/>
                      <a:pt x="693896" y="638104"/>
                    </a:cubicBezTo>
                    <a:cubicBezTo>
                      <a:pt x="699611" y="628579"/>
                      <a:pt x="705326" y="619054"/>
                      <a:pt x="710089" y="608577"/>
                    </a:cubicBezTo>
                    <a:cubicBezTo>
                      <a:pt x="732949" y="557142"/>
                      <a:pt x="723424" y="519042"/>
                      <a:pt x="710089" y="475227"/>
                    </a:cubicBezTo>
                    <a:cubicBezTo>
                      <a:pt x="705326" y="464749"/>
                      <a:pt x="700564" y="455224"/>
                      <a:pt x="693896" y="445699"/>
                    </a:cubicBezTo>
                    <a:cubicBezTo>
                      <a:pt x="663416" y="399979"/>
                      <a:pt x="611029" y="370452"/>
                      <a:pt x="551974" y="370452"/>
                    </a:cubicBezTo>
                    <a:cubicBezTo>
                      <a:pt x="546259" y="370452"/>
                      <a:pt x="539591" y="369499"/>
                      <a:pt x="532924" y="368547"/>
                    </a:cubicBezTo>
                    <a:cubicBezTo>
                      <a:pt x="485299" y="347592"/>
                      <a:pt x="440531" y="319017"/>
                      <a:pt x="397669" y="301872"/>
                    </a:cubicBezTo>
                    <a:cubicBezTo>
                      <a:pt x="389096" y="298062"/>
                      <a:pt x="380524" y="295204"/>
                      <a:pt x="371951" y="293299"/>
                    </a:cubicBezTo>
                    <a:cubicBezTo>
                      <a:pt x="294799" y="280917"/>
                      <a:pt x="209074" y="299967"/>
                      <a:pt x="180499" y="376167"/>
                    </a:cubicBezTo>
                    <a:cubicBezTo>
                      <a:pt x="170974" y="423792"/>
                      <a:pt x="161449" y="461892"/>
                      <a:pt x="175736" y="505707"/>
                    </a:cubicBezTo>
                    <a:cubicBezTo>
                      <a:pt x="177641" y="515232"/>
                      <a:pt x="179546" y="523804"/>
                      <a:pt x="181451" y="532377"/>
                    </a:cubicBezTo>
                    <a:cubicBezTo>
                      <a:pt x="186214" y="549522"/>
                      <a:pt x="193834" y="565714"/>
                      <a:pt x="202406" y="580954"/>
                    </a:cubicBezTo>
                    <a:cubicBezTo>
                      <a:pt x="207169" y="581907"/>
                      <a:pt x="211931" y="581907"/>
                      <a:pt x="217646" y="581907"/>
                    </a:cubicBezTo>
                    <a:cubicBezTo>
                      <a:pt x="225266" y="581907"/>
                      <a:pt x="231934" y="580954"/>
                      <a:pt x="239554" y="580002"/>
                    </a:cubicBezTo>
                    <a:cubicBezTo>
                      <a:pt x="247174" y="579049"/>
                      <a:pt x="253841" y="577144"/>
                      <a:pt x="260509" y="575239"/>
                    </a:cubicBezTo>
                    <a:cubicBezTo>
                      <a:pt x="305276" y="563809"/>
                      <a:pt x="330041" y="530472"/>
                      <a:pt x="344329" y="490467"/>
                    </a:cubicBezTo>
                    <a:cubicBezTo>
                      <a:pt x="347186" y="482847"/>
                      <a:pt x="350044" y="474274"/>
                      <a:pt x="351949" y="465702"/>
                    </a:cubicBezTo>
                    <a:cubicBezTo>
                      <a:pt x="361474" y="443794"/>
                      <a:pt x="361474" y="434269"/>
                      <a:pt x="361474" y="415219"/>
                    </a:cubicBezTo>
                    <a:cubicBezTo>
                      <a:pt x="370999" y="415219"/>
                      <a:pt x="390049" y="415219"/>
                      <a:pt x="390049" y="424744"/>
                    </a:cubicBezTo>
                    <a:cubicBezTo>
                      <a:pt x="399574" y="481894"/>
                      <a:pt x="361474" y="539044"/>
                      <a:pt x="325279" y="580954"/>
                    </a:cubicBezTo>
                    <a:cubicBezTo>
                      <a:pt x="317659" y="587622"/>
                      <a:pt x="310039" y="592384"/>
                      <a:pt x="301466" y="597147"/>
                    </a:cubicBezTo>
                    <a:cubicBezTo>
                      <a:pt x="276701" y="610482"/>
                      <a:pt x="248126" y="618102"/>
                      <a:pt x="218599" y="618102"/>
                    </a:cubicBezTo>
                    <a:cubicBezTo>
                      <a:pt x="191929" y="618102"/>
                      <a:pt x="168116" y="611434"/>
                      <a:pt x="145256" y="600957"/>
                    </a:cubicBezTo>
                    <a:cubicBezTo>
                      <a:pt x="64294" y="638104"/>
                      <a:pt x="7144" y="720972"/>
                      <a:pt x="7144" y="817174"/>
                    </a:cubicBezTo>
                    <a:cubicBezTo>
                      <a:pt x="7144" y="920044"/>
                      <a:pt x="72866" y="1008627"/>
                      <a:pt x="164306" y="1041964"/>
                    </a:cubicBezTo>
                    <a:cubicBezTo>
                      <a:pt x="168116" y="1041964"/>
                      <a:pt x="170974" y="1041964"/>
                      <a:pt x="174784" y="1041964"/>
                    </a:cubicBezTo>
                    <a:cubicBezTo>
                      <a:pt x="269081" y="1041964"/>
                      <a:pt x="346234" y="964812"/>
                      <a:pt x="346234" y="870514"/>
                    </a:cubicBezTo>
                    <a:cubicBezTo>
                      <a:pt x="346234" y="860037"/>
                      <a:pt x="355759" y="851464"/>
                      <a:pt x="367189" y="853369"/>
                    </a:cubicBezTo>
                    <a:cubicBezTo>
                      <a:pt x="375761" y="854322"/>
                      <a:pt x="382429" y="862894"/>
                      <a:pt x="382429" y="871467"/>
                    </a:cubicBezTo>
                    <a:cubicBezTo>
                      <a:pt x="382429" y="914329"/>
                      <a:pt x="369094" y="954334"/>
                      <a:pt x="346234" y="987672"/>
                    </a:cubicBezTo>
                    <a:cubicBezTo>
                      <a:pt x="346234" y="999102"/>
                      <a:pt x="348139" y="1010532"/>
                      <a:pt x="350044" y="1021009"/>
                    </a:cubicBezTo>
                    <a:cubicBezTo>
                      <a:pt x="352901" y="1031487"/>
                      <a:pt x="355759" y="1041964"/>
                      <a:pt x="360521" y="1052442"/>
                    </a:cubicBezTo>
                    <a:cubicBezTo>
                      <a:pt x="372904" y="1100067"/>
                      <a:pt x="401479" y="1128642"/>
                      <a:pt x="451009" y="1141024"/>
                    </a:cubicBezTo>
                    <a:cubicBezTo>
                      <a:pt x="461486" y="1144834"/>
                      <a:pt x="471964" y="1148645"/>
                      <a:pt x="482441" y="1150549"/>
                    </a:cubicBezTo>
                    <a:cubicBezTo>
                      <a:pt x="493871" y="1152454"/>
                      <a:pt x="504349" y="1154359"/>
                      <a:pt x="516731" y="1154359"/>
                    </a:cubicBezTo>
                    <a:cubicBezTo>
                      <a:pt x="611029" y="1154359"/>
                      <a:pt x="688181" y="1077207"/>
                      <a:pt x="688181" y="982909"/>
                    </a:cubicBezTo>
                    <a:cubicBezTo>
                      <a:pt x="688181" y="972432"/>
                      <a:pt x="697706" y="963859"/>
                      <a:pt x="709136" y="965764"/>
                    </a:cubicBezTo>
                    <a:cubicBezTo>
                      <a:pt x="717709" y="966717"/>
                      <a:pt x="724376" y="975289"/>
                      <a:pt x="724376" y="983862"/>
                    </a:cubicBezTo>
                    <a:cubicBezTo>
                      <a:pt x="724376" y="995292"/>
                      <a:pt x="723424" y="1006722"/>
                      <a:pt x="721519" y="1017199"/>
                    </a:cubicBezTo>
                    <a:cubicBezTo>
                      <a:pt x="725329" y="1052442"/>
                      <a:pt x="696754" y="1071492"/>
                      <a:pt x="684371" y="1105782"/>
                    </a:cubicBezTo>
                    <a:cubicBezTo>
                      <a:pt x="677704" y="1114354"/>
                      <a:pt x="671036" y="1121974"/>
                      <a:pt x="663416" y="1129595"/>
                    </a:cubicBezTo>
                    <a:cubicBezTo>
                      <a:pt x="626269" y="1166742"/>
                      <a:pt x="574834" y="1189602"/>
                      <a:pt x="517684" y="1189602"/>
                    </a:cubicBezTo>
                    <a:cubicBezTo>
                      <a:pt x="507206" y="1189602"/>
                      <a:pt x="497681" y="1188649"/>
                      <a:pt x="488156" y="1187697"/>
                    </a:cubicBezTo>
                    <a:cubicBezTo>
                      <a:pt x="478631" y="1186745"/>
                      <a:pt x="469106" y="1183887"/>
                      <a:pt x="459581" y="1181982"/>
                    </a:cubicBezTo>
                    <a:cubicBezTo>
                      <a:pt x="382429" y="1166742"/>
                      <a:pt x="334804" y="1100067"/>
                      <a:pt x="315754" y="1023867"/>
                    </a:cubicBezTo>
                    <a:cubicBezTo>
                      <a:pt x="249079" y="1071492"/>
                      <a:pt x="153829" y="1071492"/>
                      <a:pt x="172879" y="1185792"/>
                    </a:cubicBezTo>
                    <a:cubicBezTo>
                      <a:pt x="191929" y="1271517"/>
                      <a:pt x="258604" y="1338192"/>
                      <a:pt x="341471" y="1345812"/>
                    </a:cubicBezTo>
                    <a:cubicBezTo>
                      <a:pt x="351949" y="1347717"/>
                      <a:pt x="362426" y="1348670"/>
                      <a:pt x="373856" y="1348670"/>
                    </a:cubicBezTo>
                    <a:cubicBezTo>
                      <a:pt x="377666" y="1348670"/>
                      <a:pt x="381476" y="1348670"/>
                      <a:pt x="386239" y="1348670"/>
                    </a:cubicBezTo>
                    <a:cubicBezTo>
                      <a:pt x="385286" y="1355337"/>
                      <a:pt x="384334" y="1362957"/>
                      <a:pt x="383381" y="1369624"/>
                    </a:cubicBezTo>
                    <a:cubicBezTo>
                      <a:pt x="382429" y="1376292"/>
                      <a:pt x="382429" y="1383912"/>
                      <a:pt x="382429" y="1391532"/>
                    </a:cubicBezTo>
                    <a:cubicBezTo>
                      <a:pt x="373856" y="1500117"/>
                      <a:pt x="421481" y="1595367"/>
                      <a:pt x="527209" y="1625847"/>
                    </a:cubicBezTo>
                    <a:cubicBezTo>
                      <a:pt x="537686" y="1629657"/>
                      <a:pt x="548164" y="1633467"/>
                      <a:pt x="558641" y="1636324"/>
                    </a:cubicBezTo>
                    <a:cubicBezTo>
                      <a:pt x="623411" y="1652517"/>
                      <a:pt x="698659" y="1636324"/>
                      <a:pt x="756761" y="1596320"/>
                    </a:cubicBezTo>
                    <a:cubicBezTo>
                      <a:pt x="764381" y="1592509"/>
                      <a:pt x="771049" y="1588699"/>
                      <a:pt x="777716" y="1584890"/>
                    </a:cubicBezTo>
                    <a:cubicBezTo>
                      <a:pt x="812006" y="1563934"/>
                      <a:pt x="841534" y="1533454"/>
                      <a:pt x="858679" y="1491545"/>
                    </a:cubicBezTo>
                    <a:cubicBezTo>
                      <a:pt x="887254" y="1424870"/>
                      <a:pt x="877729" y="1339145"/>
                      <a:pt x="791051" y="1321999"/>
                    </a:cubicBezTo>
                    <a:cubicBezTo>
                      <a:pt x="784384" y="1320095"/>
                      <a:pt x="777716" y="1319142"/>
                      <a:pt x="771049" y="1318190"/>
                    </a:cubicBezTo>
                    <a:cubicBezTo>
                      <a:pt x="764381" y="1317237"/>
                      <a:pt x="757714" y="1317237"/>
                      <a:pt x="750094" y="1317237"/>
                    </a:cubicBezTo>
                    <a:cubicBezTo>
                      <a:pt x="691039" y="1317237"/>
                      <a:pt x="638651" y="1347717"/>
                      <a:pt x="608171" y="1392484"/>
                    </a:cubicBezTo>
                    <a:cubicBezTo>
                      <a:pt x="602456" y="1402009"/>
                      <a:pt x="596741" y="1411534"/>
                      <a:pt x="591979" y="1422012"/>
                    </a:cubicBezTo>
                    <a:cubicBezTo>
                      <a:pt x="577691" y="1445824"/>
                      <a:pt x="590074" y="1483924"/>
                      <a:pt x="576739" y="1497259"/>
                    </a:cubicBezTo>
                    <a:cubicBezTo>
                      <a:pt x="571976" y="1502022"/>
                      <a:pt x="565309" y="1503927"/>
                      <a:pt x="552926" y="1501070"/>
                    </a:cubicBezTo>
                    <a:cubicBezTo>
                      <a:pt x="543401" y="1482020"/>
                      <a:pt x="543401" y="1462970"/>
                      <a:pt x="546259" y="1447729"/>
                    </a:cubicBezTo>
                    <a:cubicBezTo>
                      <a:pt x="548164" y="1439157"/>
                      <a:pt x="551021" y="1430584"/>
                      <a:pt x="552926" y="1422965"/>
                    </a:cubicBezTo>
                    <a:cubicBezTo>
                      <a:pt x="556736" y="1412487"/>
                      <a:pt x="560546" y="1402962"/>
                      <a:pt x="565309" y="1393437"/>
                    </a:cubicBezTo>
                    <a:cubicBezTo>
                      <a:pt x="600551" y="1326762"/>
                      <a:pt x="669131" y="1281042"/>
                      <a:pt x="749141" y="1281042"/>
                    </a:cubicBezTo>
                    <a:close/>
                    <a:moveTo>
                      <a:pt x="164306" y="969574"/>
                    </a:moveTo>
                    <a:cubicBezTo>
                      <a:pt x="157639" y="975289"/>
                      <a:pt x="147161" y="975289"/>
                      <a:pt x="140494" y="968622"/>
                    </a:cubicBezTo>
                    <a:cubicBezTo>
                      <a:pt x="54769" y="894327"/>
                      <a:pt x="45244" y="763834"/>
                      <a:pt x="118586" y="678109"/>
                    </a:cubicBezTo>
                    <a:cubicBezTo>
                      <a:pt x="123349" y="672394"/>
                      <a:pt x="129064" y="667632"/>
                      <a:pt x="133826" y="661917"/>
                    </a:cubicBezTo>
                    <a:cubicBezTo>
                      <a:pt x="133826" y="661917"/>
                      <a:pt x="134779" y="661917"/>
                      <a:pt x="134779" y="661917"/>
                    </a:cubicBezTo>
                    <a:lnTo>
                      <a:pt x="153829" y="691444"/>
                    </a:lnTo>
                    <a:cubicBezTo>
                      <a:pt x="153829" y="691444"/>
                      <a:pt x="153829" y="691444"/>
                      <a:pt x="153829" y="692397"/>
                    </a:cubicBezTo>
                    <a:cubicBezTo>
                      <a:pt x="150971" y="695254"/>
                      <a:pt x="148114" y="698112"/>
                      <a:pt x="146209" y="700969"/>
                    </a:cubicBezTo>
                    <a:cubicBezTo>
                      <a:pt x="84296" y="772407"/>
                      <a:pt x="92869" y="880992"/>
                      <a:pt x="165259" y="942904"/>
                    </a:cubicBezTo>
                    <a:cubicBezTo>
                      <a:pt x="172879" y="949572"/>
                      <a:pt x="172879" y="961954"/>
                      <a:pt x="164306" y="969574"/>
                    </a:cubicBezTo>
                    <a:close/>
                  </a:path>
                </a:pathLst>
              </a:custGeom>
              <a:grpFill/>
              <a:ln w="9525" cap="flat">
                <a:noFill/>
                <a:prstDash val="solid"/>
                <a:miter/>
              </a:ln>
            </p:spPr>
            <p:txBody>
              <a:bodyPr rtlCol="0" anchor="ctr"/>
              <a:lstStyle/>
              <a:p>
                <a:endParaRPr lang="en-US"/>
              </a:p>
            </p:txBody>
          </p:sp>
          <p:sp>
            <p:nvSpPr>
              <p:cNvPr id="488" name="Freeform: Shape 35">
                <a:extLst>
                  <a:ext uri="{FF2B5EF4-FFF2-40B4-BE49-F238E27FC236}">
                    <a16:creationId xmlns:a16="http://schemas.microsoft.com/office/drawing/2014/main" id="{B12D237D-8A78-5540-A447-0907B14D2FFB}"/>
                  </a:ext>
                </a:extLst>
              </p:cNvPr>
              <p:cNvSpPr/>
              <p:nvPr/>
            </p:nvSpPr>
            <p:spPr>
              <a:xfrm>
                <a:off x="8319409" y="2396187"/>
                <a:ext cx="885825" cy="1647825"/>
              </a:xfrm>
              <a:custGeom>
                <a:avLst/>
                <a:gdLst>
                  <a:gd name="connsiteX0" fmla="*/ 320891 w 885825"/>
                  <a:gd name="connsiteY0" fmla="*/ 1394389 h 1647825"/>
                  <a:gd name="connsiteX1" fmla="*/ 333274 w 885825"/>
                  <a:gd name="connsiteY1" fmla="*/ 1423917 h 1647825"/>
                  <a:gd name="connsiteX2" fmla="*/ 339941 w 885825"/>
                  <a:gd name="connsiteY2" fmla="*/ 1448682 h 1647825"/>
                  <a:gd name="connsiteX3" fmla="*/ 333274 w 885825"/>
                  <a:gd name="connsiteY3" fmla="*/ 1502022 h 1647825"/>
                  <a:gd name="connsiteX4" fmla="*/ 309461 w 885825"/>
                  <a:gd name="connsiteY4" fmla="*/ 1498212 h 1647825"/>
                  <a:gd name="connsiteX5" fmla="*/ 294221 w 885825"/>
                  <a:gd name="connsiteY5" fmla="*/ 1422964 h 1647825"/>
                  <a:gd name="connsiteX6" fmla="*/ 278029 w 885825"/>
                  <a:gd name="connsiteY6" fmla="*/ 1393437 h 1647825"/>
                  <a:gd name="connsiteX7" fmla="*/ 136106 w 885825"/>
                  <a:gd name="connsiteY7" fmla="*/ 1318189 h 1647825"/>
                  <a:gd name="connsiteX8" fmla="*/ 115151 w 885825"/>
                  <a:gd name="connsiteY8" fmla="*/ 1319142 h 1647825"/>
                  <a:gd name="connsiteX9" fmla="*/ 95149 w 885825"/>
                  <a:gd name="connsiteY9" fmla="*/ 1322952 h 1647825"/>
                  <a:gd name="connsiteX10" fmla="*/ 27521 w 885825"/>
                  <a:gd name="connsiteY10" fmla="*/ 1492497 h 1647825"/>
                  <a:gd name="connsiteX11" fmla="*/ 108484 w 885825"/>
                  <a:gd name="connsiteY11" fmla="*/ 1585842 h 1647825"/>
                  <a:gd name="connsiteX12" fmla="*/ 129439 w 885825"/>
                  <a:gd name="connsiteY12" fmla="*/ 1597272 h 1647825"/>
                  <a:gd name="connsiteX13" fmla="*/ 327559 w 885825"/>
                  <a:gd name="connsiteY13" fmla="*/ 1637277 h 1647825"/>
                  <a:gd name="connsiteX14" fmla="*/ 358991 w 885825"/>
                  <a:gd name="connsiteY14" fmla="*/ 1626800 h 1647825"/>
                  <a:gd name="connsiteX15" fmla="*/ 503771 w 885825"/>
                  <a:gd name="connsiteY15" fmla="*/ 1392484 h 1647825"/>
                  <a:gd name="connsiteX16" fmla="*/ 502819 w 885825"/>
                  <a:gd name="connsiteY16" fmla="*/ 1370577 h 1647825"/>
                  <a:gd name="connsiteX17" fmla="*/ 499961 w 885825"/>
                  <a:gd name="connsiteY17" fmla="*/ 1349622 h 1647825"/>
                  <a:gd name="connsiteX18" fmla="*/ 512344 w 885825"/>
                  <a:gd name="connsiteY18" fmla="*/ 1349622 h 1647825"/>
                  <a:gd name="connsiteX19" fmla="*/ 544729 w 885825"/>
                  <a:gd name="connsiteY19" fmla="*/ 1346764 h 1647825"/>
                  <a:gd name="connsiteX20" fmla="*/ 713321 w 885825"/>
                  <a:gd name="connsiteY20" fmla="*/ 1186744 h 1647825"/>
                  <a:gd name="connsiteX21" fmla="*/ 570446 w 885825"/>
                  <a:gd name="connsiteY21" fmla="*/ 1024819 h 1647825"/>
                  <a:gd name="connsiteX22" fmla="*/ 426619 w 885825"/>
                  <a:gd name="connsiteY22" fmla="*/ 1182934 h 1647825"/>
                  <a:gd name="connsiteX23" fmla="*/ 398044 w 885825"/>
                  <a:gd name="connsiteY23" fmla="*/ 1188650 h 1647825"/>
                  <a:gd name="connsiteX24" fmla="*/ 368516 w 885825"/>
                  <a:gd name="connsiteY24" fmla="*/ 1190554 h 1647825"/>
                  <a:gd name="connsiteX25" fmla="*/ 222784 w 885825"/>
                  <a:gd name="connsiteY25" fmla="*/ 1130547 h 1647825"/>
                  <a:gd name="connsiteX26" fmla="*/ 201829 w 885825"/>
                  <a:gd name="connsiteY26" fmla="*/ 1106734 h 1647825"/>
                  <a:gd name="connsiteX27" fmla="*/ 164681 w 885825"/>
                  <a:gd name="connsiteY27" fmla="*/ 1018152 h 1647825"/>
                  <a:gd name="connsiteX28" fmla="*/ 161824 w 885825"/>
                  <a:gd name="connsiteY28" fmla="*/ 984814 h 1647825"/>
                  <a:gd name="connsiteX29" fmla="*/ 177064 w 885825"/>
                  <a:gd name="connsiteY29" fmla="*/ 966717 h 1647825"/>
                  <a:gd name="connsiteX30" fmla="*/ 198019 w 885825"/>
                  <a:gd name="connsiteY30" fmla="*/ 983862 h 1647825"/>
                  <a:gd name="connsiteX31" fmla="*/ 369469 w 885825"/>
                  <a:gd name="connsiteY31" fmla="*/ 1155312 h 1647825"/>
                  <a:gd name="connsiteX32" fmla="*/ 403759 w 885825"/>
                  <a:gd name="connsiteY32" fmla="*/ 1151502 h 1647825"/>
                  <a:gd name="connsiteX33" fmla="*/ 435191 w 885825"/>
                  <a:gd name="connsiteY33" fmla="*/ 1141977 h 1647825"/>
                  <a:gd name="connsiteX34" fmla="*/ 525679 w 885825"/>
                  <a:gd name="connsiteY34" fmla="*/ 1053394 h 1647825"/>
                  <a:gd name="connsiteX35" fmla="*/ 536156 w 885825"/>
                  <a:gd name="connsiteY35" fmla="*/ 1021962 h 1647825"/>
                  <a:gd name="connsiteX36" fmla="*/ 539966 w 885825"/>
                  <a:gd name="connsiteY36" fmla="*/ 988624 h 1647825"/>
                  <a:gd name="connsiteX37" fmla="*/ 503771 w 885825"/>
                  <a:gd name="connsiteY37" fmla="*/ 872419 h 1647825"/>
                  <a:gd name="connsiteX38" fmla="*/ 519011 w 885825"/>
                  <a:gd name="connsiteY38" fmla="*/ 854322 h 1647825"/>
                  <a:gd name="connsiteX39" fmla="*/ 539966 w 885825"/>
                  <a:gd name="connsiteY39" fmla="*/ 871467 h 1647825"/>
                  <a:gd name="connsiteX40" fmla="*/ 711416 w 885825"/>
                  <a:gd name="connsiteY40" fmla="*/ 1042917 h 1647825"/>
                  <a:gd name="connsiteX41" fmla="*/ 721894 w 885825"/>
                  <a:gd name="connsiteY41" fmla="*/ 1042917 h 1647825"/>
                  <a:gd name="connsiteX42" fmla="*/ 879056 w 885825"/>
                  <a:gd name="connsiteY42" fmla="*/ 818127 h 1647825"/>
                  <a:gd name="connsiteX43" fmla="*/ 739991 w 885825"/>
                  <a:gd name="connsiteY43" fmla="*/ 600957 h 1647825"/>
                  <a:gd name="connsiteX44" fmla="*/ 666649 w 885825"/>
                  <a:gd name="connsiteY44" fmla="*/ 618102 h 1647825"/>
                  <a:gd name="connsiteX45" fmla="*/ 583781 w 885825"/>
                  <a:gd name="connsiteY45" fmla="*/ 597147 h 1647825"/>
                  <a:gd name="connsiteX46" fmla="*/ 559969 w 885825"/>
                  <a:gd name="connsiteY46" fmla="*/ 580954 h 1647825"/>
                  <a:gd name="connsiteX47" fmla="*/ 495199 w 885825"/>
                  <a:gd name="connsiteY47" fmla="*/ 424744 h 1647825"/>
                  <a:gd name="connsiteX48" fmla="*/ 523774 w 885825"/>
                  <a:gd name="connsiteY48" fmla="*/ 415219 h 1647825"/>
                  <a:gd name="connsiteX49" fmla="*/ 533299 w 885825"/>
                  <a:gd name="connsiteY49" fmla="*/ 465702 h 1647825"/>
                  <a:gd name="connsiteX50" fmla="*/ 540919 w 885825"/>
                  <a:gd name="connsiteY50" fmla="*/ 490467 h 1647825"/>
                  <a:gd name="connsiteX51" fmla="*/ 624739 w 885825"/>
                  <a:gd name="connsiteY51" fmla="*/ 575239 h 1647825"/>
                  <a:gd name="connsiteX52" fmla="*/ 645694 w 885825"/>
                  <a:gd name="connsiteY52" fmla="*/ 580002 h 1647825"/>
                  <a:gd name="connsiteX53" fmla="*/ 667601 w 885825"/>
                  <a:gd name="connsiteY53" fmla="*/ 581907 h 1647825"/>
                  <a:gd name="connsiteX54" fmla="*/ 682841 w 885825"/>
                  <a:gd name="connsiteY54" fmla="*/ 580954 h 1647825"/>
                  <a:gd name="connsiteX55" fmla="*/ 703796 w 885825"/>
                  <a:gd name="connsiteY55" fmla="*/ 532377 h 1647825"/>
                  <a:gd name="connsiteX56" fmla="*/ 709511 w 885825"/>
                  <a:gd name="connsiteY56" fmla="*/ 505707 h 1647825"/>
                  <a:gd name="connsiteX57" fmla="*/ 704749 w 885825"/>
                  <a:gd name="connsiteY57" fmla="*/ 376167 h 1647825"/>
                  <a:gd name="connsiteX58" fmla="*/ 513296 w 885825"/>
                  <a:gd name="connsiteY58" fmla="*/ 293299 h 1647825"/>
                  <a:gd name="connsiteX59" fmla="*/ 487579 w 885825"/>
                  <a:gd name="connsiteY59" fmla="*/ 301872 h 1647825"/>
                  <a:gd name="connsiteX60" fmla="*/ 352324 w 885825"/>
                  <a:gd name="connsiteY60" fmla="*/ 368547 h 1647825"/>
                  <a:gd name="connsiteX61" fmla="*/ 333274 w 885825"/>
                  <a:gd name="connsiteY61" fmla="*/ 370452 h 1647825"/>
                  <a:gd name="connsiteX62" fmla="*/ 191351 w 885825"/>
                  <a:gd name="connsiteY62" fmla="*/ 445699 h 1647825"/>
                  <a:gd name="connsiteX63" fmla="*/ 175159 w 885825"/>
                  <a:gd name="connsiteY63" fmla="*/ 475227 h 1647825"/>
                  <a:gd name="connsiteX64" fmla="*/ 175159 w 885825"/>
                  <a:gd name="connsiteY64" fmla="*/ 608577 h 1647825"/>
                  <a:gd name="connsiteX65" fmla="*/ 191351 w 885825"/>
                  <a:gd name="connsiteY65" fmla="*/ 638104 h 1647825"/>
                  <a:gd name="connsiteX66" fmla="*/ 332321 w 885825"/>
                  <a:gd name="connsiteY66" fmla="*/ 716209 h 1647825"/>
                  <a:gd name="connsiteX67" fmla="*/ 343751 w 885825"/>
                  <a:gd name="connsiteY67" fmla="*/ 717162 h 1647825"/>
                  <a:gd name="connsiteX68" fmla="*/ 474244 w 885825"/>
                  <a:gd name="connsiteY68" fmla="*/ 639057 h 1647825"/>
                  <a:gd name="connsiteX69" fmla="*/ 500914 w 885825"/>
                  <a:gd name="connsiteY69" fmla="*/ 635247 h 1647825"/>
                  <a:gd name="connsiteX70" fmla="*/ 503771 w 885825"/>
                  <a:gd name="connsiteY70" fmla="*/ 658107 h 1647825"/>
                  <a:gd name="connsiteX71" fmla="*/ 231356 w 885825"/>
                  <a:gd name="connsiteY71" fmla="*/ 728592 h 1647825"/>
                  <a:gd name="connsiteX72" fmla="*/ 160871 w 885825"/>
                  <a:gd name="connsiteY72" fmla="*/ 820032 h 1647825"/>
                  <a:gd name="connsiteX73" fmla="*/ 132296 w 885825"/>
                  <a:gd name="connsiteY73" fmla="*/ 830509 h 1647825"/>
                  <a:gd name="connsiteX74" fmla="*/ 101816 w 885825"/>
                  <a:gd name="connsiteY74" fmla="*/ 835272 h 1647825"/>
                  <a:gd name="connsiteX75" fmla="*/ 97054 w 885825"/>
                  <a:gd name="connsiteY75" fmla="*/ 799077 h 1647825"/>
                  <a:gd name="connsiteX76" fmla="*/ 124676 w 885825"/>
                  <a:gd name="connsiteY76" fmla="*/ 796219 h 1647825"/>
                  <a:gd name="connsiteX77" fmla="*/ 147536 w 885825"/>
                  <a:gd name="connsiteY77" fmla="*/ 786694 h 1647825"/>
                  <a:gd name="connsiteX78" fmla="*/ 198019 w 885825"/>
                  <a:gd name="connsiteY78" fmla="*/ 706684 h 1647825"/>
                  <a:gd name="connsiteX79" fmla="*/ 158014 w 885825"/>
                  <a:gd name="connsiteY79" fmla="*/ 661917 h 1647825"/>
                  <a:gd name="connsiteX80" fmla="*/ 143726 w 885825"/>
                  <a:gd name="connsiteY80" fmla="*/ 637152 h 1647825"/>
                  <a:gd name="connsiteX81" fmla="*/ 134201 w 885825"/>
                  <a:gd name="connsiteY81" fmla="*/ 611434 h 1647825"/>
                  <a:gd name="connsiteX82" fmla="*/ 127534 w 885825"/>
                  <a:gd name="connsiteY82" fmla="*/ 584764 h 1647825"/>
                  <a:gd name="connsiteX83" fmla="*/ 158966 w 885825"/>
                  <a:gd name="connsiteY83" fmla="*/ 432364 h 1647825"/>
                  <a:gd name="connsiteX84" fmla="*/ 177064 w 885825"/>
                  <a:gd name="connsiteY84" fmla="*/ 407599 h 1647825"/>
                  <a:gd name="connsiteX85" fmla="*/ 249454 w 885825"/>
                  <a:gd name="connsiteY85" fmla="*/ 353307 h 1647825"/>
                  <a:gd name="connsiteX86" fmla="*/ 126581 w 885825"/>
                  <a:gd name="connsiteY86" fmla="*/ 164712 h 1647825"/>
                  <a:gd name="connsiteX87" fmla="*/ 141821 w 885825"/>
                  <a:gd name="connsiteY87" fmla="*/ 146614 h 1647825"/>
                  <a:gd name="connsiteX88" fmla="*/ 162776 w 885825"/>
                  <a:gd name="connsiteY88" fmla="*/ 163759 h 1647825"/>
                  <a:gd name="connsiteX89" fmla="*/ 166586 w 885825"/>
                  <a:gd name="connsiteY89" fmla="*/ 198049 h 1647825"/>
                  <a:gd name="connsiteX90" fmla="*/ 334226 w 885825"/>
                  <a:gd name="connsiteY90" fmla="*/ 335209 h 1647825"/>
                  <a:gd name="connsiteX91" fmla="*/ 364706 w 885825"/>
                  <a:gd name="connsiteY91" fmla="*/ 332352 h 1647825"/>
                  <a:gd name="connsiteX92" fmla="*/ 479959 w 885825"/>
                  <a:gd name="connsiteY92" fmla="*/ 253294 h 1647825"/>
                  <a:gd name="connsiteX93" fmla="*/ 493294 w 885825"/>
                  <a:gd name="connsiteY93" fmla="*/ 227577 h 1647825"/>
                  <a:gd name="connsiteX94" fmla="*/ 261836 w 885825"/>
                  <a:gd name="connsiteY94" fmla="*/ 8502 h 1647825"/>
                  <a:gd name="connsiteX95" fmla="*/ 228499 w 885825"/>
                  <a:gd name="connsiteY95" fmla="*/ 12312 h 1647825"/>
                  <a:gd name="connsiteX96" fmla="*/ 135154 w 885825"/>
                  <a:gd name="connsiteY96" fmla="*/ 50412 h 1647825"/>
                  <a:gd name="connsiteX97" fmla="*/ 108484 w 885825"/>
                  <a:gd name="connsiteY97" fmla="*/ 71367 h 1647825"/>
                  <a:gd name="connsiteX98" fmla="*/ 30379 w 885825"/>
                  <a:gd name="connsiteY98" fmla="*/ 221862 h 1647825"/>
                  <a:gd name="connsiteX99" fmla="*/ 28474 w 885825"/>
                  <a:gd name="connsiteY99" fmla="*/ 220909 h 1647825"/>
                  <a:gd name="connsiteX100" fmla="*/ 28474 w 885825"/>
                  <a:gd name="connsiteY100" fmla="*/ 280917 h 1647825"/>
                  <a:gd name="connsiteX101" fmla="*/ 28474 w 885825"/>
                  <a:gd name="connsiteY101" fmla="*/ 311397 h 1647825"/>
                  <a:gd name="connsiteX102" fmla="*/ 17044 w 885825"/>
                  <a:gd name="connsiteY102" fmla="*/ 619054 h 1647825"/>
                  <a:gd name="connsiteX103" fmla="*/ 21806 w 885825"/>
                  <a:gd name="connsiteY103" fmla="*/ 650487 h 1647825"/>
                  <a:gd name="connsiteX104" fmla="*/ 28474 w 885825"/>
                  <a:gd name="connsiteY104" fmla="*/ 681919 h 1647825"/>
                  <a:gd name="connsiteX105" fmla="*/ 29426 w 885825"/>
                  <a:gd name="connsiteY105" fmla="*/ 707637 h 1647825"/>
                  <a:gd name="connsiteX106" fmla="*/ 38951 w 885825"/>
                  <a:gd name="connsiteY106" fmla="*/ 891469 h 1647825"/>
                  <a:gd name="connsiteX107" fmla="*/ 117056 w 885825"/>
                  <a:gd name="connsiteY107" fmla="*/ 857179 h 1647825"/>
                  <a:gd name="connsiteX108" fmla="*/ 147536 w 885825"/>
                  <a:gd name="connsiteY108" fmla="*/ 854322 h 1647825"/>
                  <a:gd name="connsiteX109" fmla="*/ 174206 w 885825"/>
                  <a:gd name="connsiteY109" fmla="*/ 859084 h 1647825"/>
                  <a:gd name="connsiteX110" fmla="*/ 280886 w 885825"/>
                  <a:gd name="connsiteY110" fmla="*/ 1049584 h 1647825"/>
                  <a:gd name="connsiteX111" fmla="*/ 266599 w 885825"/>
                  <a:gd name="connsiteY111" fmla="*/ 1060062 h 1647825"/>
                  <a:gd name="connsiteX112" fmla="*/ 255169 w 885825"/>
                  <a:gd name="connsiteY112" fmla="*/ 1042917 h 1647825"/>
                  <a:gd name="connsiteX113" fmla="*/ 166586 w 885825"/>
                  <a:gd name="connsiteY113" fmla="*/ 884802 h 1647825"/>
                  <a:gd name="connsiteX114" fmla="*/ 139916 w 885825"/>
                  <a:gd name="connsiteY114" fmla="*/ 880039 h 1647825"/>
                  <a:gd name="connsiteX115" fmla="*/ 115151 w 885825"/>
                  <a:gd name="connsiteY115" fmla="*/ 880039 h 1647825"/>
                  <a:gd name="connsiteX116" fmla="*/ 94196 w 885825"/>
                  <a:gd name="connsiteY116" fmla="*/ 885754 h 1647825"/>
                  <a:gd name="connsiteX117" fmla="*/ 29426 w 885825"/>
                  <a:gd name="connsiteY117" fmla="*/ 975289 h 1647825"/>
                  <a:gd name="connsiteX118" fmla="*/ 23711 w 885825"/>
                  <a:gd name="connsiteY118" fmla="*/ 1006722 h 1647825"/>
                  <a:gd name="connsiteX119" fmla="*/ 26569 w 885825"/>
                  <a:gd name="connsiteY119" fmla="*/ 1287709 h 1647825"/>
                  <a:gd name="connsiteX120" fmla="*/ 26569 w 885825"/>
                  <a:gd name="connsiteY120" fmla="*/ 1312475 h 1647825"/>
                  <a:gd name="connsiteX121" fmla="*/ 136106 w 885825"/>
                  <a:gd name="connsiteY121" fmla="*/ 1281042 h 1647825"/>
                  <a:gd name="connsiteX122" fmla="*/ 320891 w 885825"/>
                  <a:gd name="connsiteY122" fmla="*/ 1394389 h 1647825"/>
                  <a:gd name="connsiteX123" fmla="*/ 721894 w 885825"/>
                  <a:gd name="connsiteY123" fmla="*/ 944809 h 1647825"/>
                  <a:gd name="connsiteX124" fmla="*/ 740944 w 885825"/>
                  <a:gd name="connsiteY124" fmla="*/ 702874 h 1647825"/>
                  <a:gd name="connsiteX125" fmla="*/ 733324 w 885825"/>
                  <a:gd name="connsiteY125" fmla="*/ 694302 h 1647825"/>
                  <a:gd name="connsiteX126" fmla="*/ 733324 w 885825"/>
                  <a:gd name="connsiteY126" fmla="*/ 693349 h 1647825"/>
                  <a:gd name="connsiteX127" fmla="*/ 752374 w 885825"/>
                  <a:gd name="connsiteY127" fmla="*/ 663822 h 1647825"/>
                  <a:gd name="connsiteX128" fmla="*/ 753326 w 885825"/>
                  <a:gd name="connsiteY128" fmla="*/ 663822 h 1647825"/>
                  <a:gd name="connsiteX129" fmla="*/ 768566 w 885825"/>
                  <a:gd name="connsiteY129" fmla="*/ 680014 h 1647825"/>
                  <a:gd name="connsiteX130" fmla="*/ 746659 w 885825"/>
                  <a:gd name="connsiteY130" fmla="*/ 970527 h 1647825"/>
                  <a:gd name="connsiteX131" fmla="*/ 722846 w 885825"/>
                  <a:gd name="connsiteY131" fmla="*/ 971479 h 1647825"/>
                  <a:gd name="connsiteX132" fmla="*/ 721894 w 885825"/>
                  <a:gd name="connsiteY132" fmla="*/ 944809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885825" h="1647825">
                    <a:moveTo>
                      <a:pt x="320891" y="1394389"/>
                    </a:moveTo>
                    <a:cubicBezTo>
                      <a:pt x="325654" y="1403914"/>
                      <a:pt x="330416" y="1413439"/>
                      <a:pt x="333274" y="1423917"/>
                    </a:cubicBezTo>
                    <a:cubicBezTo>
                      <a:pt x="336131" y="1431537"/>
                      <a:pt x="338036" y="1440109"/>
                      <a:pt x="339941" y="1448682"/>
                    </a:cubicBezTo>
                    <a:cubicBezTo>
                      <a:pt x="342799" y="1463922"/>
                      <a:pt x="342799" y="1482972"/>
                      <a:pt x="333274" y="1502022"/>
                    </a:cubicBezTo>
                    <a:cubicBezTo>
                      <a:pt x="320891" y="1503927"/>
                      <a:pt x="314224" y="1502022"/>
                      <a:pt x="309461" y="1498212"/>
                    </a:cubicBezTo>
                    <a:cubicBezTo>
                      <a:pt x="296126" y="1484877"/>
                      <a:pt x="308509" y="1446777"/>
                      <a:pt x="294221" y="1422964"/>
                    </a:cubicBezTo>
                    <a:cubicBezTo>
                      <a:pt x="289459" y="1412487"/>
                      <a:pt x="284696" y="1402962"/>
                      <a:pt x="278029" y="1393437"/>
                    </a:cubicBezTo>
                    <a:cubicBezTo>
                      <a:pt x="247549" y="1347717"/>
                      <a:pt x="195161" y="1318189"/>
                      <a:pt x="136106" y="1318189"/>
                    </a:cubicBezTo>
                    <a:cubicBezTo>
                      <a:pt x="129439" y="1318189"/>
                      <a:pt x="121819" y="1318189"/>
                      <a:pt x="115151" y="1319142"/>
                    </a:cubicBezTo>
                    <a:cubicBezTo>
                      <a:pt x="108484" y="1320095"/>
                      <a:pt x="101816" y="1321047"/>
                      <a:pt x="95149" y="1322952"/>
                    </a:cubicBezTo>
                    <a:cubicBezTo>
                      <a:pt x="8471" y="1340097"/>
                      <a:pt x="-1054" y="1425822"/>
                      <a:pt x="27521" y="1492497"/>
                    </a:cubicBezTo>
                    <a:cubicBezTo>
                      <a:pt x="45619" y="1534407"/>
                      <a:pt x="74194" y="1564887"/>
                      <a:pt x="108484" y="1585842"/>
                    </a:cubicBezTo>
                    <a:cubicBezTo>
                      <a:pt x="115151" y="1589652"/>
                      <a:pt x="122771" y="1593462"/>
                      <a:pt x="129439" y="1597272"/>
                    </a:cubicBezTo>
                    <a:cubicBezTo>
                      <a:pt x="187541" y="1637277"/>
                      <a:pt x="262789" y="1653470"/>
                      <a:pt x="327559" y="1637277"/>
                    </a:cubicBezTo>
                    <a:cubicBezTo>
                      <a:pt x="338036" y="1634420"/>
                      <a:pt x="348514" y="1631562"/>
                      <a:pt x="358991" y="1626800"/>
                    </a:cubicBezTo>
                    <a:cubicBezTo>
                      <a:pt x="464719" y="1596320"/>
                      <a:pt x="512344" y="1501070"/>
                      <a:pt x="503771" y="1392484"/>
                    </a:cubicBezTo>
                    <a:cubicBezTo>
                      <a:pt x="503771" y="1384864"/>
                      <a:pt x="503771" y="1378197"/>
                      <a:pt x="502819" y="1370577"/>
                    </a:cubicBezTo>
                    <a:cubicBezTo>
                      <a:pt x="501866" y="1362957"/>
                      <a:pt x="500914" y="1356289"/>
                      <a:pt x="499961" y="1349622"/>
                    </a:cubicBezTo>
                    <a:cubicBezTo>
                      <a:pt x="503771" y="1349622"/>
                      <a:pt x="507581" y="1349622"/>
                      <a:pt x="512344" y="1349622"/>
                    </a:cubicBezTo>
                    <a:cubicBezTo>
                      <a:pt x="522821" y="1349622"/>
                      <a:pt x="534251" y="1348670"/>
                      <a:pt x="544729" y="1346764"/>
                    </a:cubicBezTo>
                    <a:cubicBezTo>
                      <a:pt x="627596" y="1339145"/>
                      <a:pt x="694271" y="1272470"/>
                      <a:pt x="713321" y="1186744"/>
                    </a:cubicBezTo>
                    <a:cubicBezTo>
                      <a:pt x="732371" y="1072444"/>
                      <a:pt x="637121" y="1072444"/>
                      <a:pt x="570446" y="1024819"/>
                    </a:cubicBezTo>
                    <a:cubicBezTo>
                      <a:pt x="551396" y="1101019"/>
                      <a:pt x="503771" y="1167694"/>
                      <a:pt x="426619" y="1182934"/>
                    </a:cubicBezTo>
                    <a:cubicBezTo>
                      <a:pt x="417094" y="1185792"/>
                      <a:pt x="407569" y="1187697"/>
                      <a:pt x="398044" y="1188650"/>
                    </a:cubicBezTo>
                    <a:cubicBezTo>
                      <a:pt x="388519" y="1189602"/>
                      <a:pt x="378994" y="1190554"/>
                      <a:pt x="368516" y="1190554"/>
                    </a:cubicBezTo>
                    <a:cubicBezTo>
                      <a:pt x="311366" y="1190554"/>
                      <a:pt x="259931" y="1167694"/>
                      <a:pt x="222784" y="1130547"/>
                    </a:cubicBezTo>
                    <a:cubicBezTo>
                      <a:pt x="215164" y="1122927"/>
                      <a:pt x="208496" y="1115307"/>
                      <a:pt x="201829" y="1106734"/>
                    </a:cubicBezTo>
                    <a:cubicBezTo>
                      <a:pt x="189446" y="1072444"/>
                      <a:pt x="160871" y="1053394"/>
                      <a:pt x="164681" y="1018152"/>
                    </a:cubicBezTo>
                    <a:cubicBezTo>
                      <a:pt x="162776" y="1007674"/>
                      <a:pt x="161824" y="996244"/>
                      <a:pt x="161824" y="984814"/>
                    </a:cubicBezTo>
                    <a:cubicBezTo>
                      <a:pt x="161824" y="976242"/>
                      <a:pt x="168491" y="967669"/>
                      <a:pt x="177064" y="966717"/>
                    </a:cubicBezTo>
                    <a:cubicBezTo>
                      <a:pt x="188494" y="964812"/>
                      <a:pt x="198019" y="973384"/>
                      <a:pt x="198019" y="983862"/>
                    </a:cubicBezTo>
                    <a:cubicBezTo>
                      <a:pt x="198019" y="1078159"/>
                      <a:pt x="275171" y="1155312"/>
                      <a:pt x="369469" y="1155312"/>
                    </a:cubicBezTo>
                    <a:cubicBezTo>
                      <a:pt x="380899" y="1155312"/>
                      <a:pt x="392329" y="1154359"/>
                      <a:pt x="403759" y="1151502"/>
                    </a:cubicBezTo>
                    <a:cubicBezTo>
                      <a:pt x="415189" y="1149597"/>
                      <a:pt x="425666" y="1145787"/>
                      <a:pt x="435191" y="1141977"/>
                    </a:cubicBezTo>
                    <a:cubicBezTo>
                      <a:pt x="485674" y="1129594"/>
                      <a:pt x="514249" y="1101019"/>
                      <a:pt x="525679" y="1053394"/>
                    </a:cubicBezTo>
                    <a:cubicBezTo>
                      <a:pt x="530441" y="1042917"/>
                      <a:pt x="533299" y="1032439"/>
                      <a:pt x="536156" y="1021962"/>
                    </a:cubicBezTo>
                    <a:cubicBezTo>
                      <a:pt x="539014" y="1011484"/>
                      <a:pt x="539966" y="1000054"/>
                      <a:pt x="539966" y="988624"/>
                    </a:cubicBezTo>
                    <a:cubicBezTo>
                      <a:pt x="517106" y="955287"/>
                      <a:pt x="503771" y="915282"/>
                      <a:pt x="503771" y="872419"/>
                    </a:cubicBezTo>
                    <a:cubicBezTo>
                      <a:pt x="503771" y="863847"/>
                      <a:pt x="510439" y="855274"/>
                      <a:pt x="519011" y="854322"/>
                    </a:cubicBezTo>
                    <a:cubicBezTo>
                      <a:pt x="530441" y="852417"/>
                      <a:pt x="539966" y="860989"/>
                      <a:pt x="539966" y="871467"/>
                    </a:cubicBezTo>
                    <a:cubicBezTo>
                      <a:pt x="539966" y="965764"/>
                      <a:pt x="617119" y="1042917"/>
                      <a:pt x="711416" y="1042917"/>
                    </a:cubicBezTo>
                    <a:cubicBezTo>
                      <a:pt x="715226" y="1042917"/>
                      <a:pt x="718084" y="1042917"/>
                      <a:pt x="721894" y="1042917"/>
                    </a:cubicBezTo>
                    <a:cubicBezTo>
                      <a:pt x="813334" y="1009579"/>
                      <a:pt x="879056" y="921949"/>
                      <a:pt x="879056" y="818127"/>
                    </a:cubicBezTo>
                    <a:cubicBezTo>
                      <a:pt x="879056" y="721924"/>
                      <a:pt x="821906" y="639057"/>
                      <a:pt x="739991" y="600957"/>
                    </a:cubicBezTo>
                    <a:cubicBezTo>
                      <a:pt x="718084" y="612387"/>
                      <a:pt x="693319" y="618102"/>
                      <a:pt x="666649" y="618102"/>
                    </a:cubicBezTo>
                    <a:cubicBezTo>
                      <a:pt x="637121" y="618102"/>
                      <a:pt x="608546" y="610482"/>
                      <a:pt x="583781" y="597147"/>
                    </a:cubicBezTo>
                    <a:cubicBezTo>
                      <a:pt x="575209" y="592384"/>
                      <a:pt x="567589" y="587622"/>
                      <a:pt x="559969" y="580954"/>
                    </a:cubicBezTo>
                    <a:cubicBezTo>
                      <a:pt x="523774" y="539044"/>
                      <a:pt x="485674" y="481894"/>
                      <a:pt x="495199" y="424744"/>
                    </a:cubicBezTo>
                    <a:cubicBezTo>
                      <a:pt x="495199" y="415219"/>
                      <a:pt x="514249" y="415219"/>
                      <a:pt x="523774" y="415219"/>
                    </a:cubicBezTo>
                    <a:cubicBezTo>
                      <a:pt x="523774" y="434269"/>
                      <a:pt x="523774" y="443794"/>
                      <a:pt x="533299" y="465702"/>
                    </a:cubicBezTo>
                    <a:cubicBezTo>
                      <a:pt x="535204" y="474274"/>
                      <a:pt x="538061" y="482847"/>
                      <a:pt x="540919" y="490467"/>
                    </a:cubicBezTo>
                    <a:cubicBezTo>
                      <a:pt x="555206" y="530472"/>
                      <a:pt x="579019" y="564762"/>
                      <a:pt x="624739" y="575239"/>
                    </a:cubicBezTo>
                    <a:cubicBezTo>
                      <a:pt x="631406" y="577144"/>
                      <a:pt x="639026" y="579049"/>
                      <a:pt x="645694" y="580002"/>
                    </a:cubicBezTo>
                    <a:cubicBezTo>
                      <a:pt x="653314" y="580954"/>
                      <a:pt x="659981" y="581907"/>
                      <a:pt x="667601" y="581907"/>
                    </a:cubicBezTo>
                    <a:cubicBezTo>
                      <a:pt x="672364" y="581907"/>
                      <a:pt x="677126" y="581907"/>
                      <a:pt x="682841" y="580954"/>
                    </a:cubicBezTo>
                    <a:cubicBezTo>
                      <a:pt x="692366" y="565714"/>
                      <a:pt x="699034" y="549522"/>
                      <a:pt x="703796" y="532377"/>
                    </a:cubicBezTo>
                    <a:cubicBezTo>
                      <a:pt x="706654" y="523804"/>
                      <a:pt x="708559" y="515232"/>
                      <a:pt x="709511" y="505707"/>
                    </a:cubicBezTo>
                    <a:cubicBezTo>
                      <a:pt x="723799" y="461892"/>
                      <a:pt x="714274" y="423792"/>
                      <a:pt x="704749" y="376167"/>
                    </a:cubicBezTo>
                    <a:cubicBezTo>
                      <a:pt x="676174" y="299967"/>
                      <a:pt x="590449" y="280917"/>
                      <a:pt x="513296" y="293299"/>
                    </a:cubicBezTo>
                    <a:cubicBezTo>
                      <a:pt x="504724" y="295204"/>
                      <a:pt x="496151" y="299014"/>
                      <a:pt x="487579" y="301872"/>
                    </a:cubicBezTo>
                    <a:cubicBezTo>
                      <a:pt x="444716" y="319017"/>
                      <a:pt x="399949" y="347592"/>
                      <a:pt x="352324" y="368547"/>
                    </a:cubicBezTo>
                    <a:cubicBezTo>
                      <a:pt x="345656" y="369499"/>
                      <a:pt x="338989" y="370452"/>
                      <a:pt x="333274" y="370452"/>
                    </a:cubicBezTo>
                    <a:cubicBezTo>
                      <a:pt x="274219" y="370452"/>
                      <a:pt x="221831" y="400932"/>
                      <a:pt x="191351" y="445699"/>
                    </a:cubicBezTo>
                    <a:cubicBezTo>
                      <a:pt x="185636" y="455224"/>
                      <a:pt x="179921" y="464749"/>
                      <a:pt x="175159" y="475227"/>
                    </a:cubicBezTo>
                    <a:cubicBezTo>
                      <a:pt x="161824" y="519042"/>
                      <a:pt x="152299" y="557142"/>
                      <a:pt x="175159" y="608577"/>
                    </a:cubicBezTo>
                    <a:cubicBezTo>
                      <a:pt x="179921" y="619054"/>
                      <a:pt x="184684" y="628579"/>
                      <a:pt x="191351" y="638104"/>
                    </a:cubicBezTo>
                    <a:cubicBezTo>
                      <a:pt x="221831" y="684777"/>
                      <a:pt x="274219" y="715257"/>
                      <a:pt x="332321" y="716209"/>
                    </a:cubicBezTo>
                    <a:cubicBezTo>
                      <a:pt x="336131" y="716209"/>
                      <a:pt x="339941" y="714304"/>
                      <a:pt x="343751" y="717162"/>
                    </a:cubicBezTo>
                    <a:cubicBezTo>
                      <a:pt x="395186" y="712399"/>
                      <a:pt x="444716" y="685729"/>
                      <a:pt x="474244" y="639057"/>
                    </a:cubicBezTo>
                    <a:cubicBezTo>
                      <a:pt x="479959" y="630484"/>
                      <a:pt x="492341" y="627627"/>
                      <a:pt x="500914" y="635247"/>
                    </a:cubicBezTo>
                    <a:cubicBezTo>
                      <a:pt x="507581" y="640962"/>
                      <a:pt x="508534" y="651439"/>
                      <a:pt x="503771" y="658107"/>
                    </a:cubicBezTo>
                    <a:cubicBezTo>
                      <a:pt x="444716" y="749547"/>
                      <a:pt x="325654" y="779074"/>
                      <a:pt x="231356" y="728592"/>
                    </a:cubicBezTo>
                    <a:cubicBezTo>
                      <a:pt x="222784" y="768597"/>
                      <a:pt x="196114" y="801934"/>
                      <a:pt x="160871" y="820032"/>
                    </a:cubicBezTo>
                    <a:cubicBezTo>
                      <a:pt x="152299" y="824794"/>
                      <a:pt x="142774" y="828604"/>
                      <a:pt x="132296" y="830509"/>
                    </a:cubicBezTo>
                    <a:cubicBezTo>
                      <a:pt x="123724" y="837177"/>
                      <a:pt x="111341" y="838129"/>
                      <a:pt x="101816" y="835272"/>
                    </a:cubicBezTo>
                    <a:cubicBezTo>
                      <a:pt x="85624" y="824794"/>
                      <a:pt x="76099" y="815269"/>
                      <a:pt x="97054" y="799077"/>
                    </a:cubicBezTo>
                    <a:cubicBezTo>
                      <a:pt x="104674" y="794314"/>
                      <a:pt x="114199" y="791457"/>
                      <a:pt x="124676" y="796219"/>
                    </a:cubicBezTo>
                    <a:cubicBezTo>
                      <a:pt x="132296" y="794314"/>
                      <a:pt x="140869" y="790504"/>
                      <a:pt x="147536" y="786694"/>
                    </a:cubicBezTo>
                    <a:cubicBezTo>
                      <a:pt x="176111" y="770502"/>
                      <a:pt x="196114" y="740974"/>
                      <a:pt x="198019" y="706684"/>
                    </a:cubicBezTo>
                    <a:cubicBezTo>
                      <a:pt x="181826" y="693349"/>
                      <a:pt x="168491" y="678109"/>
                      <a:pt x="158014" y="661917"/>
                    </a:cubicBezTo>
                    <a:cubicBezTo>
                      <a:pt x="152299" y="653344"/>
                      <a:pt x="147536" y="645724"/>
                      <a:pt x="143726" y="637152"/>
                    </a:cubicBezTo>
                    <a:cubicBezTo>
                      <a:pt x="139916" y="628579"/>
                      <a:pt x="137059" y="620007"/>
                      <a:pt x="134201" y="611434"/>
                    </a:cubicBezTo>
                    <a:cubicBezTo>
                      <a:pt x="131344" y="602862"/>
                      <a:pt x="129439" y="593337"/>
                      <a:pt x="127534" y="584764"/>
                    </a:cubicBezTo>
                    <a:cubicBezTo>
                      <a:pt x="123724" y="530472"/>
                      <a:pt x="114199" y="473322"/>
                      <a:pt x="158966" y="432364"/>
                    </a:cubicBezTo>
                    <a:cubicBezTo>
                      <a:pt x="164681" y="423792"/>
                      <a:pt x="170396" y="415219"/>
                      <a:pt x="177064" y="407599"/>
                    </a:cubicBezTo>
                    <a:cubicBezTo>
                      <a:pt x="197066" y="384739"/>
                      <a:pt x="221831" y="365689"/>
                      <a:pt x="249454" y="353307"/>
                    </a:cubicBezTo>
                    <a:cubicBezTo>
                      <a:pt x="177064" y="320922"/>
                      <a:pt x="126581" y="248532"/>
                      <a:pt x="126581" y="164712"/>
                    </a:cubicBezTo>
                    <a:cubicBezTo>
                      <a:pt x="126581" y="156139"/>
                      <a:pt x="133249" y="147567"/>
                      <a:pt x="141821" y="146614"/>
                    </a:cubicBezTo>
                    <a:cubicBezTo>
                      <a:pt x="153251" y="144709"/>
                      <a:pt x="162776" y="153282"/>
                      <a:pt x="162776" y="163759"/>
                    </a:cubicBezTo>
                    <a:cubicBezTo>
                      <a:pt x="162776" y="175189"/>
                      <a:pt x="163729" y="187572"/>
                      <a:pt x="166586" y="198049"/>
                    </a:cubicBezTo>
                    <a:cubicBezTo>
                      <a:pt x="182779" y="276154"/>
                      <a:pt x="251359" y="335209"/>
                      <a:pt x="334226" y="335209"/>
                    </a:cubicBezTo>
                    <a:cubicBezTo>
                      <a:pt x="344704" y="335209"/>
                      <a:pt x="354229" y="334257"/>
                      <a:pt x="364706" y="332352"/>
                    </a:cubicBezTo>
                    <a:cubicBezTo>
                      <a:pt x="410426" y="328542"/>
                      <a:pt x="458051" y="290442"/>
                      <a:pt x="479959" y="253294"/>
                    </a:cubicBezTo>
                    <a:cubicBezTo>
                      <a:pt x="484721" y="244722"/>
                      <a:pt x="489484" y="236149"/>
                      <a:pt x="493294" y="227577"/>
                    </a:cubicBezTo>
                    <a:cubicBezTo>
                      <a:pt x="524726" y="80892"/>
                      <a:pt x="381851" y="-4833"/>
                      <a:pt x="261836" y="8502"/>
                    </a:cubicBezTo>
                    <a:cubicBezTo>
                      <a:pt x="250406" y="8502"/>
                      <a:pt x="239929" y="10407"/>
                      <a:pt x="228499" y="12312"/>
                    </a:cubicBezTo>
                    <a:cubicBezTo>
                      <a:pt x="195161" y="18027"/>
                      <a:pt x="163729" y="30409"/>
                      <a:pt x="135154" y="50412"/>
                    </a:cubicBezTo>
                    <a:cubicBezTo>
                      <a:pt x="125629" y="57079"/>
                      <a:pt x="117056" y="63747"/>
                      <a:pt x="108484" y="71367"/>
                    </a:cubicBezTo>
                    <a:cubicBezTo>
                      <a:pt x="66574" y="109467"/>
                      <a:pt x="37046" y="161854"/>
                      <a:pt x="30379" y="221862"/>
                    </a:cubicBezTo>
                    <a:lnTo>
                      <a:pt x="28474" y="220909"/>
                    </a:lnTo>
                    <a:cubicBezTo>
                      <a:pt x="28474" y="220909"/>
                      <a:pt x="28474" y="243769"/>
                      <a:pt x="28474" y="280917"/>
                    </a:cubicBezTo>
                    <a:cubicBezTo>
                      <a:pt x="28474" y="290442"/>
                      <a:pt x="28474" y="299967"/>
                      <a:pt x="28474" y="311397"/>
                    </a:cubicBezTo>
                    <a:cubicBezTo>
                      <a:pt x="20854" y="415219"/>
                      <a:pt x="-7721" y="510469"/>
                      <a:pt x="17044" y="619054"/>
                    </a:cubicBezTo>
                    <a:cubicBezTo>
                      <a:pt x="17996" y="629532"/>
                      <a:pt x="19901" y="640009"/>
                      <a:pt x="21806" y="650487"/>
                    </a:cubicBezTo>
                    <a:cubicBezTo>
                      <a:pt x="23711" y="660964"/>
                      <a:pt x="25616" y="671442"/>
                      <a:pt x="28474" y="681919"/>
                    </a:cubicBezTo>
                    <a:cubicBezTo>
                      <a:pt x="28474" y="690492"/>
                      <a:pt x="29426" y="699064"/>
                      <a:pt x="29426" y="707637"/>
                    </a:cubicBezTo>
                    <a:cubicBezTo>
                      <a:pt x="29426" y="767644"/>
                      <a:pt x="58001" y="834319"/>
                      <a:pt x="38951" y="891469"/>
                    </a:cubicBezTo>
                    <a:cubicBezTo>
                      <a:pt x="67526" y="891469"/>
                      <a:pt x="86576" y="853369"/>
                      <a:pt x="117056" y="857179"/>
                    </a:cubicBezTo>
                    <a:cubicBezTo>
                      <a:pt x="126581" y="855274"/>
                      <a:pt x="137059" y="854322"/>
                      <a:pt x="147536" y="854322"/>
                    </a:cubicBezTo>
                    <a:cubicBezTo>
                      <a:pt x="156109" y="855274"/>
                      <a:pt x="165634" y="857179"/>
                      <a:pt x="174206" y="859084"/>
                    </a:cubicBezTo>
                    <a:cubicBezTo>
                      <a:pt x="256121" y="881944"/>
                      <a:pt x="303746" y="967669"/>
                      <a:pt x="280886" y="1049584"/>
                    </a:cubicBezTo>
                    <a:cubicBezTo>
                      <a:pt x="278981" y="1056252"/>
                      <a:pt x="273266" y="1060062"/>
                      <a:pt x="266599" y="1060062"/>
                    </a:cubicBezTo>
                    <a:cubicBezTo>
                      <a:pt x="258026" y="1059109"/>
                      <a:pt x="253264" y="1050537"/>
                      <a:pt x="255169" y="1042917"/>
                    </a:cubicBezTo>
                    <a:cubicBezTo>
                      <a:pt x="274219" y="974337"/>
                      <a:pt x="235166" y="903852"/>
                      <a:pt x="166586" y="884802"/>
                    </a:cubicBezTo>
                    <a:cubicBezTo>
                      <a:pt x="158014" y="881944"/>
                      <a:pt x="148489" y="880992"/>
                      <a:pt x="139916" y="880039"/>
                    </a:cubicBezTo>
                    <a:cubicBezTo>
                      <a:pt x="131344" y="879087"/>
                      <a:pt x="122771" y="879087"/>
                      <a:pt x="115151" y="880039"/>
                    </a:cubicBezTo>
                    <a:cubicBezTo>
                      <a:pt x="107531" y="880992"/>
                      <a:pt x="99911" y="882897"/>
                      <a:pt x="94196" y="885754"/>
                    </a:cubicBezTo>
                    <a:cubicBezTo>
                      <a:pt x="57049" y="900042"/>
                      <a:pt x="37999" y="938142"/>
                      <a:pt x="29426" y="975289"/>
                    </a:cubicBezTo>
                    <a:cubicBezTo>
                      <a:pt x="27521" y="985767"/>
                      <a:pt x="25616" y="996244"/>
                      <a:pt x="23711" y="1006722"/>
                    </a:cubicBezTo>
                    <a:cubicBezTo>
                      <a:pt x="9424" y="1101019"/>
                      <a:pt x="11329" y="1195317"/>
                      <a:pt x="26569" y="1287709"/>
                    </a:cubicBezTo>
                    <a:cubicBezTo>
                      <a:pt x="26569" y="1302950"/>
                      <a:pt x="26569" y="1312475"/>
                      <a:pt x="26569" y="1312475"/>
                    </a:cubicBezTo>
                    <a:cubicBezTo>
                      <a:pt x="58001" y="1292472"/>
                      <a:pt x="96101" y="1281042"/>
                      <a:pt x="136106" y="1281042"/>
                    </a:cubicBezTo>
                    <a:cubicBezTo>
                      <a:pt x="217069" y="1282947"/>
                      <a:pt x="285649" y="1328667"/>
                      <a:pt x="320891" y="1394389"/>
                    </a:cubicBezTo>
                    <a:close/>
                    <a:moveTo>
                      <a:pt x="721894" y="944809"/>
                    </a:moveTo>
                    <a:cubicBezTo>
                      <a:pt x="793331" y="882897"/>
                      <a:pt x="801904" y="775264"/>
                      <a:pt x="740944" y="702874"/>
                    </a:cubicBezTo>
                    <a:cubicBezTo>
                      <a:pt x="738086" y="700017"/>
                      <a:pt x="736181" y="697159"/>
                      <a:pt x="733324" y="694302"/>
                    </a:cubicBezTo>
                    <a:cubicBezTo>
                      <a:pt x="733324" y="694302"/>
                      <a:pt x="733324" y="694302"/>
                      <a:pt x="733324" y="693349"/>
                    </a:cubicBezTo>
                    <a:lnTo>
                      <a:pt x="752374" y="663822"/>
                    </a:lnTo>
                    <a:cubicBezTo>
                      <a:pt x="752374" y="663822"/>
                      <a:pt x="753326" y="663822"/>
                      <a:pt x="753326" y="663822"/>
                    </a:cubicBezTo>
                    <a:cubicBezTo>
                      <a:pt x="759041" y="668584"/>
                      <a:pt x="763804" y="674299"/>
                      <a:pt x="768566" y="680014"/>
                    </a:cubicBezTo>
                    <a:cubicBezTo>
                      <a:pt x="842861" y="766692"/>
                      <a:pt x="832384" y="896232"/>
                      <a:pt x="746659" y="970527"/>
                    </a:cubicBezTo>
                    <a:cubicBezTo>
                      <a:pt x="739991" y="976242"/>
                      <a:pt x="729514" y="977194"/>
                      <a:pt x="722846" y="971479"/>
                    </a:cubicBezTo>
                    <a:cubicBezTo>
                      <a:pt x="713321" y="963859"/>
                      <a:pt x="714274" y="951477"/>
                      <a:pt x="721894" y="944809"/>
                    </a:cubicBezTo>
                    <a:close/>
                  </a:path>
                </a:pathLst>
              </a:custGeom>
              <a:grpFill/>
              <a:ln w="9525" cap="flat">
                <a:noFill/>
                <a:prstDash val="solid"/>
                <a:miter/>
              </a:ln>
            </p:spPr>
            <p:txBody>
              <a:bodyPr rtlCol="0" anchor="ctr"/>
              <a:lstStyle/>
              <a:p>
                <a:endParaRPr lang="en-US"/>
              </a:p>
            </p:txBody>
          </p:sp>
        </p:grpSp>
      </p:grpSp>
      <p:grpSp>
        <p:nvGrpSpPr>
          <p:cNvPr id="490" name="Group 489">
            <a:extLst>
              <a:ext uri="{FF2B5EF4-FFF2-40B4-BE49-F238E27FC236}">
                <a16:creationId xmlns:a16="http://schemas.microsoft.com/office/drawing/2014/main" id="{90F322AF-5A8B-EC43-8813-73F44C9C3B4E}"/>
              </a:ext>
            </a:extLst>
          </p:cNvPr>
          <p:cNvGrpSpPr>
            <a:grpSpLocks noChangeAspect="1"/>
          </p:cNvGrpSpPr>
          <p:nvPr/>
        </p:nvGrpSpPr>
        <p:grpSpPr>
          <a:xfrm flipH="1">
            <a:off x="7307021" y="3591311"/>
            <a:ext cx="2054149" cy="1336505"/>
            <a:chOff x="5868144" y="3002906"/>
            <a:chExt cx="2440058" cy="1587592"/>
          </a:xfrm>
          <a:solidFill>
            <a:srgbClr val="8D8EA7">
              <a:alpha val="70000"/>
            </a:srgbClr>
          </a:solidFill>
        </p:grpSpPr>
        <p:sp>
          <p:nvSpPr>
            <p:cNvPr id="491" name="Freeform 490">
              <a:extLst>
                <a:ext uri="{FF2B5EF4-FFF2-40B4-BE49-F238E27FC236}">
                  <a16:creationId xmlns:a16="http://schemas.microsoft.com/office/drawing/2014/main" id="{D03E1906-4375-A84F-B561-B0599ADD8F22}"/>
                </a:ext>
              </a:extLst>
            </p:cNvPr>
            <p:cNvSpPr/>
            <p:nvPr/>
          </p:nvSpPr>
          <p:spPr>
            <a:xfrm>
              <a:off x="5868144" y="3153704"/>
              <a:ext cx="1556604" cy="1436794"/>
            </a:xfrm>
            <a:custGeom>
              <a:avLst/>
              <a:gdLst>
                <a:gd name="connsiteX0" fmla="*/ 0 w 1704441"/>
                <a:gd name="connsiteY0" fmla="*/ 1411834 h 1441094"/>
                <a:gd name="connsiteX1" fmla="*/ 146304 w 1704441"/>
                <a:gd name="connsiteY1" fmla="*/ 1002182 h 1441094"/>
                <a:gd name="connsiteX2" fmla="*/ 658368 w 1704441"/>
                <a:gd name="connsiteY2" fmla="*/ 694944 h 1441094"/>
                <a:gd name="connsiteX3" fmla="*/ 621792 w 1704441"/>
                <a:gd name="connsiteY3" fmla="*/ 512064 h 1441094"/>
                <a:gd name="connsiteX4" fmla="*/ 490118 w 1704441"/>
                <a:gd name="connsiteY4" fmla="*/ 373075 h 1441094"/>
                <a:gd name="connsiteX5" fmla="*/ 555955 w 1704441"/>
                <a:gd name="connsiteY5" fmla="*/ 365760 h 1441094"/>
                <a:gd name="connsiteX6" fmla="*/ 797356 w 1704441"/>
                <a:gd name="connsiteY6" fmla="*/ 0 h 1441094"/>
                <a:gd name="connsiteX7" fmla="*/ 1082649 w 1704441"/>
                <a:gd name="connsiteY7" fmla="*/ 343814 h 1441094"/>
                <a:gd name="connsiteX8" fmla="*/ 1148486 w 1704441"/>
                <a:gd name="connsiteY8" fmla="*/ 402336 h 1441094"/>
                <a:gd name="connsiteX9" fmla="*/ 1024128 w 1704441"/>
                <a:gd name="connsiteY9" fmla="*/ 687629 h 1441094"/>
                <a:gd name="connsiteX10" fmla="*/ 1587398 w 1704441"/>
                <a:gd name="connsiteY10" fmla="*/ 914400 h 1441094"/>
                <a:gd name="connsiteX11" fmla="*/ 1704441 w 1704441"/>
                <a:gd name="connsiteY11" fmla="*/ 1441094 h 1441094"/>
                <a:gd name="connsiteX12" fmla="*/ 0 w 1704441"/>
                <a:gd name="connsiteY12" fmla="*/ 1411834 h 1441094"/>
                <a:gd name="connsiteX0" fmla="*/ 0 w 1599666"/>
                <a:gd name="connsiteY0" fmla="*/ 1421359 h 1441094"/>
                <a:gd name="connsiteX1" fmla="*/ 41529 w 1599666"/>
                <a:gd name="connsiteY1" fmla="*/ 1002182 h 1441094"/>
                <a:gd name="connsiteX2" fmla="*/ 553593 w 1599666"/>
                <a:gd name="connsiteY2" fmla="*/ 694944 h 1441094"/>
                <a:gd name="connsiteX3" fmla="*/ 517017 w 1599666"/>
                <a:gd name="connsiteY3" fmla="*/ 512064 h 1441094"/>
                <a:gd name="connsiteX4" fmla="*/ 385343 w 1599666"/>
                <a:gd name="connsiteY4" fmla="*/ 373075 h 1441094"/>
                <a:gd name="connsiteX5" fmla="*/ 451180 w 1599666"/>
                <a:gd name="connsiteY5" fmla="*/ 365760 h 1441094"/>
                <a:gd name="connsiteX6" fmla="*/ 692581 w 1599666"/>
                <a:gd name="connsiteY6" fmla="*/ 0 h 1441094"/>
                <a:gd name="connsiteX7" fmla="*/ 977874 w 1599666"/>
                <a:gd name="connsiteY7" fmla="*/ 343814 h 1441094"/>
                <a:gd name="connsiteX8" fmla="*/ 1043711 w 1599666"/>
                <a:gd name="connsiteY8" fmla="*/ 402336 h 1441094"/>
                <a:gd name="connsiteX9" fmla="*/ 919353 w 1599666"/>
                <a:gd name="connsiteY9" fmla="*/ 687629 h 1441094"/>
                <a:gd name="connsiteX10" fmla="*/ 1482623 w 1599666"/>
                <a:gd name="connsiteY10" fmla="*/ 914400 h 1441094"/>
                <a:gd name="connsiteX11" fmla="*/ 1599666 w 1599666"/>
                <a:gd name="connsiteY11" fmla="*/ 1441094 h 1441094"/>
                <a:gd name="connsiteX12" fmla="*/ 0 w 1599666"/>
                <a:gd name="connsiteY12" fmla="*/ 1421359 h 1441094"/>
                <a:gd name="connsiteX0" fmla="*/ 3841 w 1603507"/>
                <a:gd name="connsiteY0" fmla="*/ 1421359 h 1441094"/>
                <a:gd name="connsiteX1" fmla="*/ 45370 w 1603507"/>
                <a:gd name="connsiteY1" fmla="*/ 1002182 h 1441094"/>
                <a:gd name="connsiteX2" fmla="*/ 557434 w 1603507"/>
                <a:gd name="connsiteY2" fmla="*/ 694944 h 1441094"/>
                <a:gd name="connsiteX3" fmla="*/ 520858 w 1603507"/>
                <a:gd name="connsiteY3" fmla="*/ 512064 h 1441094"/>
                <a:gd name="connsiteX4" fmla="*/ 389184 w 1603507"/>
                <a:gd name="connsiteY4" fmla="*/ 373075 h 1441094"/>
                <a:gd name="connsiteX5" fmla="*/ 455021 w 1603507"/>
                <a:gd name="connsiteY5" fmla="*/ 365760 h 1441094"/>
                <a:gd name="connsiteX6" fmla="*/ 696422 w 1603507"/>
                <a:gd name="connsiteY6" fmla="*/ 0 h 1441094"/>
                <a:gd name="connsiteX7" fmla="*/ 981715 w 1603507"/>
                <a:gd name="connsiteY7" fmla="*/ 343814 h 1441094"/>
                <a:gd name="connsiteX8" fmla="*/ 1047552 w 1603507"/>
                <a:gd name="connsiteY8" fmla="*/ 402336 h 1441094"/>
                <a:gd name="connsiteX9" fmla="*/ 923194 w 1603507"/>
                <a:gd name="connsiteY9" fmla="*/ 687629 h 1441094"/>
                <a:gd name="connsiteX10" fmla="*/ 1486464 w 1603507"/>
                <a:gd name="connsiteY10" fmla="*/ 914400 h 1441094"/>
                <a:gd name="connsiteX11" fmla="*/ 1603507 w 1603507"/>
                <a:gd name="connsiteY11" fmla="*/ 1441094 h 1441094"/>
                <a:gd name="connsiteX12" fmla="*/ 3841 w 1603507"/>
                <a:gd name="connsiteY12" fmla="*/ 1421359 h 1441094"/>
                <a:gd name="connsiteX0" fmla="*/ 3841 w 1603507"/>
                <a:gd name="connsiteY0" fmla="*/ 1421359 h 1441094"/>
                <a:gd name="connsiteX1" fmla="*/ 45370 w 1603507"/>
                <a:gd name="connsiteY1" fmla="*/ 1021232 h 1441094"/>
                <a:gd name="connsiteX2" fmla="*/ 557434 w 1603507"/>
                <a:gd name="connsiteY2" fmla="*/ 694944 h 1441094"/>
                <a:gd name="connsiteX3" fmla="*/ 520858 w 1603507"/>
                <a:gd name="connsiteY3" fmla="*/ 512064 h 1441094"/>
                <a:gd name="connsiteX4" fmla="*/ 389184 w 1603507"/>
                <a:gd name="connsiteY4" fmla="*/ 373075 h 1441094"/>
                <a:gd name="connsiteX5" fmla="*/ 455021 w 1603507"/>
                <a:gd name="connsiteY5" fmla="*/ 365760 h 1441094"/>
                <a:gd name="connsiteX6" fmla="*/ 696422 w 1603507"/>
                <a:gd name="connsiteY6" fmla="*/ 0 h 1441094"/>
                <a:gd name="connsiteX7" fmla="*/ 981715 w 1603507"/>
                <a:gd name="connsiteY7" fmla="*/ 343814 h 1441094"/>
                <a:gd name="connsiteX8" fmla="*/ 1047552 w 1603507"/>
                <a:gd name="connsiteY8" fmla="*/ 402336 h 1441094"/>
                <a:gd name="connsiteX9" fmla="*/ 923194 w 1603507"/>
                <a:gd name="connsiteY9" fmla="*/ 687629 h 1441094"/>
                <a:gd name="connsiteX10" fmla="*/ 1486464 w 1603507"/>
                <a:gd name="connsiteY10" fmla="*/ 914400 h 1441094"/>
                <a:gd name="connsiteX11" fmla="*/ 1603507 w 1603507"/>
                <a:gd name="connsiteY11" fmla="*/ 1441094 h 1441094"/>
                <a:gd name="connsiteX12" fmla="*/ 3841 w 1603507"/>
                <a:gd name="connsiteY12" fmla="*/ 1421359 h 1441094"/>
                <a:gd name="connsiteX0" fmla="*/ 6361 w 1606027"/>
                <a:gd name="connsiteY0" fmla="*/ 1421359 h 1441094"/>
                <a:gd name="connsiteX1" fmla="*/ 47890 w 1606027"/>
                <a:gd name="connsiteY1" fmla="*/ 1021232 h 1441094"/>
                <a:gd name="connsiteX2" fmla="*/ 559954 w 1606027"/>
                <a:gd name="connsiteY2" fmla="*/ 694944 h 1441094"/>
                <a:gd name="connsiteX3" fmla="*/ 523378 w 1606027"/>
                <a:gd name="connsiteY3" fmla="*/ 512064 h 1441094"/>
                <a:gd name="connsiteX4" fmla="*/ 391704 w 1606027"/>
                <a:gd name="connsiteY4" fmla="*/ 373075 h 1441094"/>
                <a:gd name="connsiteX5" fmla="*/ 457541 w 1606027"/>
                <a:gd name="connsiteY5" fmla="*/ 365760 h 1441094"/>
                <a:gd name="connsiteX6" fmla="*/ 698942 w 1606027"/>
                <a:gd name="connsiteY6" fmla="*/ 0 h 1441094"/>
                <a:gd name="connsiteX7" fmla="*/ 984235 w 1606027"/>
                <a:gd name="connsiteY7" fmla="*/ 343814 h 1441094"/>
                <a:gd name="connsiteX8" fmla="*/ 1050072 w 1606027"/>
                <a:gd name="connsiteY8" fmla="*/ 402336 h 1441094"/>
                <a:gd name="connsiteX9" fmla="*/ 925714 w 1606027"/>
                <a:gd name="connsiteY9" fmla="*/ 687629 h 1441094"/>
                <a:gd name="connsiteX10" fmla="*/ 1488984 w 1606027"/>
                <a:gd name="connsiteY10" fmla="*/ 914400 h 1441094"/>
                <a:gd name="connsiteX11" fmla="*/ 1606027 w 1606027"/>
                <a:gd name="connsiteY11" fmla="*/ 1441094 h 1441094"/>
                <a:gd name="connsiteX12" fmla="*/ 6361 w 1606027"/>
                <a:gd name="connsiteY12" fmla="*/ 1421359 h 1441094"/>
                <a:gd name="connsiteX0" fmla="*/ 6361 w 1606027"/>
                <a:gd name="connsiteY0" fmla="*/ 1421359 h 1441094"/>
                <a:gd name="connsiteX1" fmla="*/ 47890 w 1606027"/>
                <a:gd name="connsiteY1" fmla="*/ 1021232 h 1441094"/>
                <a:gd name="connsiteX2" fmla="*/ 559954 w 1606027"/>
                <a:gd name="connsiteY2" fmla="*/ 694944 h 1441094"/>
                <a:gd name="connsiteX3" fmla="*/ 523378 w 1606027"/>
                <a:gd name="connsiteY3" fmla="*/ 512064 h 1441094"/>
                <a:gd name="connsiteX4" fmla="*/ 391704 w 1606027"/>
                <a:gd name="connsiteY4" fmla="*/ 373075 h 1441094"/>
                <a:gd name="connsiteX5" fmla="*/ 457541 w 1606027"/>
                <a:gd name="connsiteY5" fmla="*/ 365760 h 1441094"/>
                <a:gd name="connsiteX6" fmla="*/ 698942 w 1606027"/>
                <a:gd name="connsiteY6" fmla="*/ 0 h 1441094"/>
                <a:gd name="connsiteX7" fmla="*/ 984235 w 1606027"/>
                <a:gd name="connsiteY7" fmla="*/ 343814 h 1441094"/>
                <a:gd name="connsiteX8" fmla="*/ 1050072 w 1606027"/>
                <a:gd name="connsiteY8" fmla="*/ 402336 h 1441094"/>
                <a:gd name="connsiteX9" fmla="*/ 925714 w 1606027"/>
                <a:gd name="connsiteY9" fmla="*/ 687629 h 1441094"/>
                <a:gd name="connsiteX10" fmla="*/ 1488984 w 1606027"/>
                <a:gd name="connsiteY10" fmla="*/ 914400 h 1441094"/>
                <a:gd name="connsiteX11" fmla="*/ 1606027 w 1606027"/>
                <a:gd name="connsiteY11" fmla="*/ 1441094 h 1441094"/>
                <a:gd name="connsiteX12" fmla="*/ 6361 w 1606027"/>
                <a:gd name="connsiteY12" fmla="*/ 1421359 h 1441094"/>
                <a:gd name="connsiteX0" fmla="*/ 5675 w 1605341"/>
                <a:gd name="connsiteY0" fmla="*/ 1421359 h 1441094"/>
                <a:gd name="connsiteX1" fmla="*/ 51966 w 1605341"/>
                <a:gd name="connsiteY1" fmla="*/ 1002182 h 1441094"/>
                <a:gd name="connsiteX2" fmla="*/ 559268 w 1605341"/>
                <a:gd name="connsiteY2" fmla="*/ 694944 h 1441094"/>
                <a:gd name="connsiteX3" fmla="*/ 522692 w 1605341"/>
                <a:gd name="connsiteY3" fmla="*/ 512064 h 1441094"/>
                <a:gd name="connsiteX4" fmla="*/ 391018 w 1605341"/>
                <a:gd name="connsiteY4" fmla="*/ 373075 h 1441094"/>
                <a:gd name="connsiteX5" fmla="*/ 456855 w 1605341"/>
                <a:gd name="connsiteY5" fmla="*/ 365760 h 1441094"/>
                <a:gd name="connsiteX6" fmla="*/ 698256 w 1605341"/>
                <a:gd name="connsiteY6" fmla="*/ 0 h 1441094"/>
                <a:gd name="connsiteX7" fmla="*/ 983549 w 1605341"/>
                <a:gd name="connsiteY7" fmla="*/ 343814 h 1441094"/>
                <a:gd name="connsiteX8" fmla="*/ 1049386 w 1605341"/>
                <a:gd name="connsiteY8" fmla="*/ 402336 h 1441094"/>
                <a:gd name="connsiteX9" fmla="*/ 925028 w 1605341"/>
                <a:gd name="connsiteY9" fmla="*/ 687629 h 1441094"/>
                <a:gd name="connsiteX10" fmla="*/ 1488298 w 1605341"/>
                <a:gd name="connsiteY10" fmla="*/ 914400 h 1441094"/>
                <a:gd name="connsiteX11" fmla="*/ 1605341 w 1605341"/>
                <a:gd name="connsiteY11" fmla="*/ 1441094 h 1441094"/>
                <a:gd name="connsiteX12" fmla="*/ 5675 w 1605341"/>
                <a:gd name="connsiteY12" fmla="*/ 1421359 h 1441094"/>
                <a:gd name="connsiteX0" fmla="*/ 5403 w 1605069"/>
                <a:gd name="connsiteY0" fmla="*/ 1421359 h 1441094"/>
                <a:gd name="connsiteX1" fmla="*/ 51694 w 1605069"/>
                <a:gd name="connsiteY1" fmla="*/ 1002182 h 1441094"/>
                <a:gd name="connsiteX2" fmla="*/ 558996 w 1605069"/>
                <a:gd name="connsiteY2" fmla="*/ 69494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58996 w 1605069"/>
                <a:gd name="connsiteY2" fmla="*/ 69494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12177 w 1605069"/>
                <a:gd name="connsiteY4" fmla="*/ 387363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12177 w 1605069"/>
                <a:gd name="connsiteY4" fmla="*/ 387363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3511 h 1443246"/>
                <a:gd name="connsiteX1" fmla="*/ 51694 w 1605069"/>
                <a:gd name="connsiteY1" fmla="*/ 1004334 h 1443246"/>
                <a:gd name="connsiteX2" fmla="*/ 544709 w 1605069"/>
                <a:gd name="connsiteY2" fmla="*/ 754246 h 1443246"/>
                <a:gd name="connsiteX3" fmla="*/ 503370 w 1605069"/>
                <a:gd name="connsiteY3" fmla="*/ 540410 h 1443246"/>
                <a:gd name="connsiteX4" fmla="*/ 426465 w 1605069"/>
                <a:gd name="connsiteY4" fmla="*/ 391896 h 1443246"/>
                <a:gd name="connsiteX5" fmla="*/ 456583 w 1605069"/>
                <a:gd name="connsiteY5" fmla="*/ 367912 h 1443246"/>
                <a:gd name="connsiteX6" fmla="*/ 697984 w 1605069"/>
                <a:gd name="connsiteY6" fmla="*/ 2152 h 1443246"/>
                <a:gd name="connsiteX7" fmla="*/ 983277 w 1605069"/>
                <a:gd name="connsiteY7" fmla="*/ 345966 h 1443246"/>
                <a:gd name="connsiteX8" fmla="*/ 1001489 w 1605069"/>
                <a:gd name="connsiteY8" fmla="*/ 492594 h 1443246"/>
                <a:gd name="connsiteX9" fmla="*/ 979525 w 1605069"/>
                <a:gd name="connsiteY9" fmla="*/ 775506 h 1443246"/>
                <a:gd name="connsiteX10" fmla="*/ 1473738 w 1605069"/>
                <a:gd name="connsiteY10" fmla="*/ 892739 h 1443246"/>
                <a:gd name="connsiteX11" fmla="*/ 1605069 w 1605069"/>
                <a:gd name="connsiteY11" fmla="*/ 1443246 h 1443246"/>
                <a:gd name="connsiteX12" fmla="*/ 5403 w 1605069"/>
                <a:gd name="connsiteY12" fmla="*/ 1423511 h 1443246"/>
                <a:gd name="connsiteX0" fmla="*/ 5403 w 1605069"/>
                <a:gd name="connsiteY0" fmla="*/ 1414063 h 1433798"/>
                <a:gd name="connsiteX1" fmla="*/ 51694 w 1605069"/>
                <a:gd name="connsiteY1" fmla="*/ 994886 h 1433798"/>
                <a:gd name="connsiteX2" fmla="*/ 544709 w 1605069"/>
                <a:gd name="connsiteY2" fmla="*/ 744798 h 1433798"/>
                <a:gd name="connsiteX3" fmla="*/ 503370 w 1605069"/>
                <a:gd name="connsiteY3" fmla="*/ 530962 h 1433798"/>
                <a:gd name="connsiteX4" fmla="*/ 426465 w 1605069"/>
                <a:gd name="connsiteY4" fmla="*/ 382448 h 1433798"/>
                <a:gd name="connsiteX5" fmla="*/ 456583 w 1605069"/>
                <a:gd name="connsiteY5" fmla="*/ 358464 h 1433798"/>
                <a:gd name="connsiteX6" fmla="*/ 702747 w 1605069"/>
                <a:gd name="connsiteY6" fmla="*/ 2229 h 1433798"/>
                <a:gd name="connsiteX7" fmla="*/ 983277 w 1605069"/>
                <a:gd name="connsiteY7" fmla="*/ 336518 h 1433798"/>
                <a:gd name="connsiteX8" fmla="*/ 1001489 w 1605069"/>
                <a:gd name="connsiteY8" fmla="*/ 483146 h 1433798"/>
                <a:gd name="connsiteX9" fmla="*/ 979525 w 1605069"/>
                <a:gd name="connsiteY9" fmla="*/ 766058 h 1433798"/>
                <a:gd name="connsiteX10" fmla="*/ 1473738 w 1605069"/>
                <a:gd name="connsiteY10" fmla="*/ 883291 h 1433798"/>
                <a:gd name="connsiteX11" fmla="*/ 1605069 w 1605069"/>
                <a:gd name="connsiteY11" fmla="*/ 1433798 h 1433798"/>
                <a:gd name="connsiteX12" fmla="*/ 5403 w 1605069"/>
                <a:gd name="connsiteY12" fmla="*/ 1414063 h 1433798"/>
                <a:gd name="connsiteX0" fmla="*/ 5403 w 1605069"/>
                <a:gd name="connsiteY0" fmla="*/ 1411986 h 1431721"/>
                <a:gd name="connsiteX1" fmla="*/ 51694 w 1605069"/>
                <a:gd name="connsiteY1" fmla="*/ 992809 h 1431721"/>
                <a:gd name="connsiteX2" fmla="*/ 544709 w 1605069"/>
                <a:gd name="connsiteY2" fmla="*/ 742721 h 1431721"/>
                <a:gd name="connsiteX3" fmla="*/ 503370 w 1605069"/>
                <a:gd name="connsiteY3" fmla="*/ 528885 h 1431721"/>
                <a:gd name="connsiteX4" fmla="*/ 426465 w 1605069"/>
                <a:gd name="connsiteY4" fmla="*/ 380371 h 1431721"/>
                <a:gd name="connsiteX5" fmla="*/ 456583 w 1605069"/>
                <a:gd name="connsiteY5" fmla="*/ 356387 h 1431721"/>
                <a:gd name="connsiteX6" fmla="*/ 702747 w 1605069"/>
                <a:gd name="connsiteY6" fmla="*/ 152 h 1431721"/>
                <a:gd name="connsiteX7" fmla="*/ 983277 w 1605069"/>
                <a:gd name="connsiteY7" fmla="*/ 334441 h 1431721"/>
                <a:gd name="connsiteX8" fmla="*/ 1001489 w 1605069"/>
                <a:gd name="connsiteY8" fmla="*/ 481069 h 1431721"/>
                <a:gd name="connsiteX9" fmla="*/ 979525 w 1605069"/>
                <a:gd name="connsiteY9" fmla="*/ 763981 h 1431721"/>
                <a:gd name="connsiteX10" fmla="*/ 1473738 w 1605069"/>
                <a:gd name="connsiteY10" fmla="*/ 881214 h 1431721"/>
                <a:gd name="connsiteX11" fmla="*/ 1605069 w 1605069"/>
                <a:gd name="connsiteY11" fmla="*/ 1431721 h 1431721"/>
                <a:gd name="connsiteX12" fmla="*/ 5403 w 1605069"/>
                <a:gd name="connsiteY12" fmla="*/ 1411986 h 1431721"/>
                <a:gd name="connsiteX0" fmla="*/ 5403 w 1605069"/>
                <a:gd name="connsiteY0" fmla="*/ 1411986 h 1431721"/>
                <a:gd name="connsiteX1" fmla="*/ 51694 w 1605069"/>
                <a:gd name="connsiteY1" fmla="*/ 992809 h 1431721"/>
                <a:gd name="connsiteX2" fmla="*/ 544709 w 1605069"/>
                <a:gd name="connsiteY2" fmla="*/ 742721 h 1431721"/>
                <a:gd name="connsiteX3" fmla="*/ 503370 w 1605069"/>
                <a:gd name="connsiteY3" fmla="*/ 528885 h 1431721"/>
                <a:gd name="connsiteX4" fmla="*/ 426465 w 1605069"/>
                <a:gd name="connsiteY4" fmla="*/ 380371 h 1431721"/>
                <a:gd name="connsiteX5" fmla="*/ 456583 w 1605069"/>
                <a:gd name="connsiteY5" fmla="*/ 356387 h 1431721"/>
                <a:gd name="connsiteX6" fmla="*/ 702747 w 1605069"/>
                <a:gd name="connsiteY6" fmla="*/ 152 h 1431721"/>
                <a:gd name="connsiteX7" fmla="*/ 983277 w 1605069"/>
                <a:gd name="connsiteY7" fmla="*/ 334441 h 1431721"/>
                <a:gd name="connsiteX8" fmla="*/ 1001489 w 1605069"/>
                <a:gd name="connsiteY8" fmla="*/ 481069 h 1431721"/>
                <a:gd name="connsiteX9" fmla="*/ 979525 w 1605069"/>
                <a:gd name="connsiteY9" fmla="*/ 763981 h 1431721"/>
                <a:gd name="connsiteX10" fmla="*/ 1473738 w 1605069"/>
                <a:gd name="connsiteY10" fmla="*/ 881214 h 1431721"/>
                <a:gd name="connsiteX11" fmla="*/ 1605069 w 1605069"/>
                <a:gd name="connsiteY11" fmla="*/ 1431721 h 1431721"/>
                <a:gd name="connsiteX12" fmla="*/ 5403 w 1605069"/>
                <a:gd name="connsiteY12" fmla="*/ 1411986 h 1431721"/>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6370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62856 w 1605069"/>
                <a:gd name="connsiteY8" fmla="*/ 742533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62856 w 1605069"/>
                <a:gd name="connsiteY8" fmla="*/ 742533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66648 w 1597979"/>
                <a:gd name="connsiteY9" fmla="*/ 881197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16298 w 1597979"/>
                <a:gd name="connsiteY9" fmla="*/ 934985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16298 w 1597979"/>
                <a:gd name="connsiteY9" fmla="*/ 934985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28711 w 1597979"/>
                <a:gd name="connsiteY9" fmla="*/ 959811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95610 w 1597979"/>
                <a:gd name="connsiteY9" fmla="*/ 959811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95610 w 1597979"/>
                <a:gd name="connsiteY9" fmla="*/ 959811 h 1436794"/>
                <a:gd name="connsiteX10" fmla="*/ 1597979 w 1597979"/>
                <a:gd name="connsiteY10" fmla="*/ 1431704 h 1436794"/>
                <a:gd name="connsiteX11" fmla="*/ 6588 w 1597979"/>
                <a:gd name="connsiteY11" fmla="*/ 1436794 h 1436794"/>
                <a:gd name="connsiteX0" fmla="*/ 6588 w 1556604"/>
                <a:gd name="connsiteY0" fmla="*/ 1436794 h 1436794"/>
                <a:gd name="connsiteX1" fmla="*/ 44604 w 1556604"/>
                <a:gd name="connsiteY1" fmla="*/ 992792 h 1436794"/>
                <a:gd name="connsiteX2" fmla="*/ 537619 w 1556604"/>
                <a:gd name="connsiteY2" fmla="*/ 742704 h 1436794"/>
                <a:gd name="connsiteX3" fmla="*/ 496280 w 1556604"/>
                <a:gd name="connsiteY3" fmla="*/ 528868 h 1436794"/>
                <a:gd name="connsiteX4" fmla="*/ 459018 w 1556604"/>
                <a:gd name="connsiteY4" fmla="*/ 363514 h 1436794"/>
                <a:gd name="connsiteX5" fmla="*/ 695657 w 1556604"/>
                <a:gd name="connsiteY5" fmla="*/ 135 h 1436794"/>
                <a:gd name="connsiteX6" fmla="*/ 976187 w 1556604"/>
                <a:gd name="connsiteY6" fmla="*/ 334424 h 1436794"/>
                <a:gd name="connsiteX7" fmla="*/ 961061 w 1556604"/>
                <a:gd name="connsiteY7" fmla="*/ 514390 h 1436794"/>
                <a:gd name="connsiteX8" fmla="*/ 955766 w 1556604"/>
                <a:gd name="connsiteY8" fmla="*/ 742533 h 1436794"/>
                <a:gd name="connsiteX9" fmla="*/ 1495610 w 1556604"/>
                <a:gd name="connsiteY9" fmla="*/ 959811 h 1436794"/>
                <a:gd name="connsiteX10" fmla="*/ 1556604 w 1556604"/>
                <a:gd name="connsiteY10" fmla="*/ 1431704 h 1436794"/>
                <a:gd name="connsiteX11" fmla="*/ 6588 w 1556604"/>
                <a:gd name="connsiteY11" fmla="*/ 1436794 h 1436794"/>
                <a:gd name="connsiteX0" fmla="*/ 6588 w 1556604"/>
                <a:gd name="connsiteY0" fmla="*/ 1436794 h 1436794"/>
                <a:gd name="connsiteX1" fmla="*/ 44604 w 1556604"/>
                <a:gd name="connsiteY1" fmla="*/ 992792 h 1436794"/>
                <a:gd name="connsiteX2" fmla="*/ 537619 w 1556604"/>
                <a:gd name="connsiteY2" fmla="*/ 742704 h 1436794"/>
                <a:gd name="connsiteX3" fmla="*/ 496280 w 1556604"/>
                <a:gd name="connsiteY3" fmla="*/ 528868 h 1436794"/>
                <a:gd name="connsiteX4" fmla="*/ 459018 w 1556604"/>
                <a:gd name="connsiteY4" fmla="*/ 363514 h 1436794"/>
                <a:gd name="connsiteX5" fmla="*/ 695657 w 1556604"/>
                <a:gd name="connsiteY5" fmla="*/ 135 h 1436794"/>
                <a:gd name="connsiteX6" fmla="*/ 976187 w 1556604"/>
                <a:gd name="connsiteY6" fmla="*/ 334424 h 1436794"/>
                <a:gd name="connsiteX7" fmla="*/ 961061 w 1556604"/>
                <a:gd name="connsiteY7" fmla="*/ 514390 h 1436794"/>
                <a:gd name="connsiteX8" fmla="*/ 955766 w 1556604"/>
                <a:gd name="connsiteY8" fmla="*/ 742533 h 1436794"/>
                <a:gd name="connsiteX9" fmla="*/ 1495610 w 1556604"/>
                <a:gd name="connsiteY9" fmla="*/ 959811 h 1436794"/>
                <a:gd name="connsiteX10" fmla="*/ 1556604 w 1556604"/>
                <a:gd name="connsiteY10" fmla="*/ 1431704 h 1436794"/>
                <a:gd name="connsiteX11" fmla="*/ 6588 w 1556604"/>
                <a:gd name="connsiteY11" fmla="*/ 1436794 h 14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6604" h="1436794">
                  <a:moveTo>
                    <a:pt x="6588" y="1436794"/>
                  </a:moveTo>
                  <a:cubicBezTo>
                    <a:pt x="-10525" y="1297068"/>
                    <a:pt x="6948" y="1042031"/>
                    <a:pt x="44604" y="992792"/>
                  </a:cubicBezTo>
                  <a:cubicBezTo>
                    <a:pt x="251011" y="869741"/>
                    <a:pt x="366931" y="851467"/>
                    <a:pt x="537619" y="742704"/>
                  </a:cubicBezTo>
                  <a:cubicBezTo>
                    <a:pt x="646870" y="688888"/>
                    <a:pt x="503710" y="608878"/>
                    <a:pt x="496280" y="528868"/>
                  </a:cubicBezTo>
                  <a:cubicBezTo>
                    <a:pt x="466512" y="527583"/>
                    <a:pt x="375783" y="373055"/>
                    <a:pt x="459018" y="363514"/>
                  </a:cubicBezTo>
                  <a:cubicBezTo>
                    <a:pt x="448998" y="298744"/>
                    <a:pt x="391353" y="12517"/>
                    <a:pt x="695657" y="135"/>
                  </a:cubicBezTo>
                  <a:cubicBezTo>
                    <a:pt x="986018" y="-6703"/>
                    <a:pt x="993008" y="248394"/>
                    <a:pt x="976187" y="334424"/>
                  </a:cubicBezTo>
                  <a:cubicBezTo>
                    <a:pt x="1039408" y="340438"/>
                    <a:pt x="1014522" y="522663"/>
                    <a:pt x="961061" y="514390"/>
                  </a:cubicBezTo>
                  <a:cubicBezTo>
                    <a:pt x="937864" y="604726"/>
                    <a:pt x="814656" y="671248"/>
                    <a:pt x="955766" y="742533"/>
                  </a:cubicBezTo>
                  <a:lnTo>
                    <a:pt x="1495610" y="959811"/>
                  </a:lnTo>
                  <a:cubicBezTo>
                    <a:pt x="1556530" y="1291370"/>
                    <a:pt x="1545927" y="1273027"/>
                    <a:pt x="1556604" y="1431704"/>
                  </a:cubicBezTo>
                  <a:lnTo>
                    <a:pt x="6588" y="14367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92" name="Freeform 491">
              <a:extLst>
                <a:ext uri="{FF2B5EF4-FFF2-40B4-BE49-F238E27FC236}">
                  <a16:creationId xmlns:a16="http://schemas.microsoft.com/office/drawing/2014/main" id="{0811EF80-D867-0F4D-AE9D-0960BA28F82D}"/>
                </a:ext>
              </a:extLst>
            </p:cNvPr>
            <p:cNvSpPr/>
            <p:nvPr/>
          </p:nvSpPr>
          <p:spPr>
            <a:xfrm>
              <a:off x="6588225" y="3002906"/>
              <a:ext cx="1719977" cy="1587592"/>
            </a:xfrm>
            <a:custGeom>
              <a:avLst/>
              <a:gdLst>
                <a:gd name="connsiteX0" fmla="*/ 0 w 1704441"/>
                <a:gd name="connsiteY0" fmla="*/ 1411834 h 1441094"/>
                <a:gd name="connsiteX1" fmla="*/ 146304 w 1704441"/>
                <a:gd name="connsiteY1" fmla="*/ 1002182 h 1441094"/>
                <a:gd name="connsiteX2" fmla="*/ 658368 w 1704441"/>
                <a:gd name="connsiteY2" fmla="*/ 694944 h 1441094"/>
                <a:gd name="connsiteX3" fmla="*/ 621792 w 1704441"/>
                <a:gd name="connsiteY3" fmla="*/ 512064 h 1441094"/>
                <a:gd name="connsiteX4" fmla="*/ 490118 w 1704441"/>
                <a:gd name="connsiteY4" fmla="*/ 373075 h 1441094"/>
                <a:gd name="connsiteX5" fmla="*/ 555955 w 1704441"/>
                <a:gd name="connsiteY5" fmla="*/ 365760 h 1441094"/>
                <a:gd name="connsiteX6" fmla="*/ 797356 w 1704441"/>
                <a:gd name="connsiteY6" fmla="*/ 0 h 1441094"/>
                <a:gd name="connsiteX7" fmla="*/ 1082649 w 1704441"/>
                <a:gd name="connsiteY7" fmla="*/ 343814 h 1441094"/>
                <a:gd name="connsiteX8" fmla="*/ 1148486 w 1704441"/>
                <a:gd name="connsiteY8" fmla="*/ 402336 h 1441094"/>
                <a:gd name="connsiteX9" fmla="*/ 1024128 w 1704441"/>
                <a:gd name="connsiteY9" fmla="*/ 687629 h 1441094"/>
                <a:gd name="connsiteX10" fmla="*/ 1587398 w 1704441"/>
                <a:gd name="connsiteY10" fmla="*/ 914400 h 1441094"/>
                <a:gd name="connsiteX11" fmla="*/ 1704441 w 1704441"/>
                <a:gd name="connsiteY11" fmla="*/ 1441094 h 1441094"/>
                <a:gd name="connsiteX12" fmla="*/ 0 w 1704441"/>
                <a:gd name="connsiteY12" fmla="*/ 1411834 h 1441094"/>
                <a:gd name="connsiteX0" fmla="*/ 0 w 1599666"/>
                <a:gd name="connsiteY0" fmla="*/ 1421359 h 1441094"/>
                <a:gd name="connsiteX1" fmla="*/ 41529 w 1599666"/>
                <a:gd name="connsiteY1" fmla="*/ 1002182 h 1441094"/>
                <a:gd name="connsiteX2" fmla="*/ 553593 w 1599666"/>
                <a:gd name="connsiteY2" fmla="*/ 694944 h 1441094"/>
                <a:gd name="connsiteX3" fmla="*/ 517017 w 1599666"/>
                <a:gd name="connsiteY3" fmla="*/ 512064 h 1441094"/>
                <a:gd name="connsiteX4" fmla="*/ 385343 w 1599666"/>
                <a:gd name="connsiteY4" fmla="*/ 373075 h 1441094"/>
                <a:gd name="connsiteX5" fmla="*/ 451180 w 1599666"/>
                <a:gd name="connsiteY5" fmla="*/ 365760 h 1441094"/>
                <a:gd name="connsiteX6" fmla="*/ 692581 w 1599666"/>
                <a:gd name="connsiteY6" fmla="*/ 0 h 1441094"/>
                <a:gd name="connsiteX7" fmla="*/ 977874 w 1599666"/>
                <a:gd name="connsiteY7" fmla="*/ 343814 h 1441094"/>
                <a:gd name="connsiteX8" fmla="*/ 1043711 w 1599666"/>
                <a:gd name="connsiteY8" fmla="*/ 402336 h 1441094"/>
                <a:gd name="connsiteX9" fmla="*/ 919353 w 1599666"/>
                <a:gd name="connsiteY9" fmla="*/ 687629 h 1441094"/>
                <a:gd name="connsiteX10" fmla="*/ 1482623 w 1599666"/>
                <a:gd name="connsiteY10" fmla="*/ 914400 h 1441094"/>
                <a:gd name="connsiteX11" fmla="*/ 1599666 w 1599666"/>
                <a:gd name="connsiteY11" fmla="*/ 1441094 h 1441094"/>
                <a:gd name="connsiteX12" fmla="*/ 0 w 1599666"/>
                <a:gd name="connsiteY12" fmla="*/ 1421359 h 1441094"/>
                <a:gd name="connsiteX0" fmla="*/ 3841 w 1603507"/>
                <a:gd name="connsiteY0" fmla="*/ 1421359 h 1441094"/>
                <a:gd name="connsiteX1" fmla="*/ 45370 w 1603507"/>
                <a:gd name="connsiteY1" fmla="*/ 1002182 h 1441094"/>
                <a:gd name="connsiteX2" fmla="*/ 557434 w 1603507"/>
                <a:gd name="connsiteY2" fmla="*/ 694944 h 1441094"/>
                <a:gd name="connsiteX3" fmla="*/ 520858 w 1603507"/>
                <a:gd name="connsiteY3" fmla="*/ 512064 h 1441094"/>
                <a:gd name="connsiteX4" fmla="*/ 389184 w 1603507"/>
                <a:gd name="connsiteY4" fmla="*/ 373075 h 1441094"/>
                <a:gd name="connsiteX5" fmla="*/ 455021 w 1603507"/>
                <a:gd name="connsiteY5" fmla="*/ 365760 h 1441094"/>
                <a:gd name="connsiteX6" fmla="*/ 696422 w 1603507"/>
                <a:gd name="connsiteY6" fmla="*/ 0 h 1441094"/>
                <a:gd name="connsiteX7" fmla="*/ 981715 w 1603507"/>
                <a:gd name="connsiteY7" fmla="*/ 343814 h 1441094"/>
                <a:gd name="connsiteX8" fmla="*/ 1047552 w 1603507"/>
                <a:gd name="connsiteY8" fmla="*/ 402336 h 1441094"/>
                <a:gd name="connsiteX9" fmla="*/ 923194 w 1603507"/>
                <a:gd name="connsiteY9" fmla="*/ 687629 h 1441094"/>
                <a:gd name="connsiteX10" fmla="*/ 1486464 w 1603507"/>
                <a:gd name="connsiteY10" fmla="*/ 914400 h 1441094"/>
                <a:gd name="connsiteX11" fmla="*/ 1603507 w 1603507"/>
                <a:gd name="connsiteY11" fmla="*/ 1441094 h 1441094"/>
                <a:gd name="connsiteX12" fmla="*/ 3841 w 1603507"/>
                <a:gd name="connsiteY12" fmla="*/ 1421359 h 1441094"/>
                <a:gd name="connsiteX0" fmla="*/ 3841 w 1603507"/>
                <a:gd name="connsiteY0" fmla="*/ 1421359 h 1441094"/>
                <a:gd name="connsiteX1" fmla="*/ 45370 w 1603507"/>
                <a:gd name="connsiteY1" fmla="*/ 1021232 h 1441094"/>
                <a:gd name="connsiteX2" fmla="*/ 557434 w 1603507"/>
                <a:gd name="connsiteY2" fmla="*/ 694944 h 1441094"/>
                <a:gd name="connsiteX3" fmla="*/ 520858 w 1603507"/>
                <a:gd name="connsiteY3" fmla="*/ 512064 h 1441094"/>
                <a:gd name="connsiteX4" fmla="*/ 389184 w 1603507"/>
                <a:gd name="connsiteY4" fmla="*/ 373075 h 1441094"/>
                <a:gd name="connsiteX5" fmla="*/ 455021 w 1603507"/>
                <a:gd name="connsiteY5" fmla="*/ 365760 h 1441094"/>
                <a:gd name="connsiteX6" fmla="*/ 696422 w 1603507"/>
                <a:gd name="connsiteY6" fmla="*/ 0 h 1441094"/>
                <a:gd name="connsiteX7" fmla="*/ 981715 w 1603507"/>
                <a:gd name="connsiteY7" fmla="*/ 343814 h 1441094"/>
                <a:gd name="connsiteX8" fmla="*/ 1047552 w 1603507"/>
                <a:gd name="connsiteY8" fmla="*/ 402336 h 1441094"/>
                <a:gd name="connsiteX9" fmla="*/ 923194 w 1603507"/>
                <a:gd name="connsiteY9" fmla="*/ 687629 h 1441094"/>
                <a:gd name="connsiteX10" fmla="*/ 1486464 w 1603507"/>
                <a:gd name="connsiteY10" fmla="*/ 914400 h 1441094"/>
                <a:gd name="connsiteX11" fmla="*/ 1603507 w 1603507"/>
                <a:gd name="connsiteY11" fmla="*/ 1441094 h 1441094"/>
                <a:gd name="connsiteX12" fmla="*/ 3841 w 1603507"/>
                <a:gd name="connsiteY12" fmla="*/ 1421359 h 1441094"/>
                <a:gd name="connsiteX0" fmla="*/ 6361 w 1606027"/>
                <a:gd name="connsiteY0" fmla="*/ 1421359 h 1441094"/>
                <a:gd name="connsiteX1" fmla="*/ 47890 w 1606027"/>
                <a:gd name="connsiteY1" fmla="*/ 1021232 h 1441094"/>
                <a:gd name="connsiteX2" fmla="*/ 559954 w 1606027"/>
                <a:gd name="connsiteY2" fmla="*/ 694944 h 1441094"/>
                <a:gd name="connsiteX3" fmla="*/ 523378 w 1606027"/>
                <a:gd name="connsiteY3" fmla="*/ 512064 h 1441094"/>
                <a:gd name="connsiteX4" fmla="*/ 391704 w 1606027"/>
                <a:gd name="connsiteY4" fmla="*/ 373075 h 1441094"/>
                <a:gd name="connsiteX5" fmla="*/ 457541 w 1606027"/>
                <a:gd name="connsiteY5" fmla="*/ 365760 h 1441094"/>
                <a:gd name="connsiteX6" fmla="*/ 698942 w 1606027"/>
                <a:gd name="connsiteY6" fmla="*/ 0 h 1441094"/>
                <a:gd name="connsiteX7" fmla="*/ 984235 w 1606027"/>
                <a:gd name="connsiteY7" fmla="*/ 343814 h 1441094"/>
                <a:gd name="connsiteX8" fmla="*/ 1050072 w 1606027"/>
                <a:gd name="connsiteY8" fmla="*/ 402336 h 1441094"/>
                <a:gd name="connsiteX9" fmla="*/ 925714 w 1606027"/>
                <a:gd name="connsiteY9" fmla="*/ 687629 h 1441094"/>
                <a:gd name="connsiteX10" fmla="*/ 1488984 w 1606027"/>
                <a:gd name="connsiteY10" fmla="*/ 914400 h 1441094"/>
                <a:gd name="connsiteX11" fmla="*/ 1606027 w 1606027"/>
                <a:gd name="connsiteY11" fmla="*/ 1441094 h 1441094"/>
                <a:gd name="connsiteX12" fmla="*/ 6361 w 1606027"/>
                <a:gd name="connsiteY12" fmla="*/ 1421359 h 1441094"/>
                <a:gd name="connsiteX0" fmla="*/ 6361 w 1606027"/>
                <a:gd name="connsiteY0" fmla="*/ 1421359 h 1441094"/>
                <a:gd name="connsiteX1" fmla="*/ 47890 w 1606027"/>
                <a:gd name="connsiteY1" fmla="*/ 1021232 h 1441094"/>
                <a:gd name="connsiteX2" fmla="*/ 559954 w 1606027"/>
                <a:gd name="connsiteY2" fmla="*/ 694944 h 1441094"/>
                <a:gd name="connsiteX3" fmla="*/ 523378 w 1606027"/>
                <a:gd name="connsiteY3" fmla="*/ 512064 h 1441094"/>
                <a:gd name="connsiteX4" fmla="*/ 391704 w 1606027"/>
                <a:gd name="connsiteY4" fmla="*/ 373075 h 1441094"/>
                <a:gd name="connsiteX5" fmla="*/ 457541 w 1606027"/>
                <a:gd name="connsiteY5" fmla="*/ 365760 h 1441094"/>
                <a:gd name="connsiteX6" fmla="*/ 698942 w 1606027"/>
                <a:gd name="connsiteY6" fmla="*/ 0 h 1441094"/>
                <a:gd name="connsiteX7" fmla="*/ 984235 w 1606027"/>
                <a:gd name="connsiteY7" fmla="*/ 343814 h 1441094"/>
                <a:gd name="connsiteX8" fmla="*/ 1050072 w 1606027"/>
                <a:gd name="connsiteY8" fmla="*/ 402336 h 1441094"/>
                <a:gd name="connsiteX9" fmla="*/ 925714 w 1606027"/>
                <a:gd name="connsiteY9" fmla="*/ 687629 h 1441094"/>
                <a:gd name="connsiteX10" fmla="*/ 1488984 w 1606027"/>
                <a:gd name="connsiteY10" fmla="*/ 914400 h 1441094"/>
                <a:gd name="connsiteX11" fmla="*/ 1606027 w 1606027"/>
                <a:gd name="connsiteY11" fmla="*/ 1441094 h 1441094"/>
                <a:gd name="connsiteX12" fmla="*/ 6361 w 1606027"/>
                <a:gd name="connsiteY12" fmla="*/ 1421359 h 1441094"/>
                <a:gd name="connsiteX0" fmla="*/ 5675 w 1605341"/>
                <a:gd name="connsiteY0" fmla="*/ 1421359 h 1441094"/>
                <a:gd name="connsiteX1" fmla="*/ 51966 w 1605341"/>
                <a:gd name="connsiteY1" fmla="*/ 1002182 h 1441094"/>
                <a:gd name="connsiteX2" fmla="*/ 559268 w 1605341"/>
                <a:gd name="connsiteY2" fmla="*/ 694944 h 1441094"/>
                <a:gd name="connsiteX3" fmla="*/ 522692 w 1605341"/>
                <a:gd name="connsiteY3" fmla="*/ 512064 h 1441094"/>
                <a:gd name="connsiteX4" fmla="*/ 391018 w 1605341"/>
                <a:gd name="connsiteY4" fmla="*/ 373075 h 1441094"/>
                <a:gd name="connsiteX5" fmla="*/ 456855 w 1605341"/>
                <a:gd name="connsiteY5" fmla="*/ 365760 h 1441094"/>
                <a:gd name="connsiteX6" fmla="*/ 698256 w 1605341"/>
                <a:gd name="connsiteY6" fmla="*/ 0 h 1441094"/>
                <a:gd name="connsiteX7" fmla="*/ 983549 w 1605341"/>
                <a:gd name="connsiteY7" fmla="*/ 343814 h 1441094"/>
                <a:gd name="connsiteX8" fmla="*/ 1049386 w 1605341"/>
                <a:gd name="connsiteY8" fmla="*/ 402336 h 1441094"/>
                <a:gd name="connsiteX9" fmla="*/ 925028 w 1605341"/>
                <a:gd name="connsiteY9" fmla="*/ 687629 h 1441094"/>
                <a:gd name="connsiteX10" fmla="*/ 1488298 w 1605341"/>
                <a:gd name="connsiteY10" fmla="*/ 914400 h 1441094"/>
                <a:gd name="connsiteX11" fmla="*/ 1605341 w 1605341"/>
                <a:gd name="connsiteY11" fmla="*/ 1441094 h 1441094"/>
                <a:gd name="connsiteX12" fmla="*/ 5675 w 1605341"/>
                <a:gd name="connsiteY12" fmla="*/ 1421359 h 1441094"/>
                <a:gd name="connsiteX0" fmla="*/ 5403 w 1605069"/>
                <a:gd name="connsiteY0" fmla="*/ 1421359 h 1441094"/>
                <a:gd name="connsiteX1" fmla="*/ 51694 w 1605069"/>
                <a:gd name="connsiteY1" fmla="*/ 1002182 h 1441094"/>
                <a:gd name="connsiteX2" fmla="*/ 558996 w 1605069"/>
                <a:gd name="connsiteY2" fmla="*/ 69494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58996 w 1605069"/>
                <a:gd name="connsiteY2" fmla="*/ 69494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22420 w 1605069"/>
                <a:gd name="connsiteY3" fmla="*/ 512064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24756 w 1605069"/>
                <a:gd name="connsiteY9" fmla="*/ 687629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88026 w 1605069"/>
                <a:gd name="connsiteY10" fmla="*/ 914400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49114 w 1605069"/>
                <a:gd name="connsiteY8" fmla="*/ 402336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390746 w 1605069"/>
                <a:gd name="connsiteY4" fmla="*/ 373075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12177 w 1605069"/>
                <a:gd name="connsiteY4" fmla="*/ 387363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12177 w 1605069"/>
                <a:gd name="connsiteY4" fmla="*/ 387363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1359 h 1441094"/>
                <a:gd name="connsiteX1" fmla="*/ 51694 w 1605069"/>
                <a:gd name="connsiteY1" fmla="*/ 1002182 h 1441094"/>
                <a:gd name="connsiteX2" fmla="*/ 544709 w 1605069"/>
                <a:gd name="connsiteY2" fmla="*/ 752094 h 1441094"/>
                <a:gd name="connsiteX3" fmla="*/ 503370 w 1605069"/>
                <a:gd name="connsiteY3" fmla="*/ 538258 h 1441094"/>
                <a:gd name="connsiteX4" fmla="*/ 426465 w 1605069"/>
                <a:gd name="connsiteY4" fmla="*/ 389744 h 1441094"/>
                <a:gd name="connsiteX5" fmla="*/ 456583 w 1605069"/>
                <a:gd name="connsiteY5" fmla="*/ 365760 h 1441094"/>
                <a:gd name="connsiteX6" fmla="*/ 697984 w 1605069"/>
                <a:gd name="connsiteY6" fmla="*/ 0 h 1441094"/>
                <a:gd name="connsiteX7" fmla="*/ 983277 w 1605069"/>
                <a:gd name="connsiteY7" fmla="*/ 343814 h 1441094"/>
                <a:gd name="connsiteX8" fmla="*/ 1001489 w 1605069"/>
                <a:gd name="connsiteY8" fmla="*/ 490442 h 1441094"/>
                <a:gd name="connsiteX9" fmla="*/ 979525 w 1605069"/>
                <a:gd name="connsiteY9" fmla="*/ 773354 h 1441094"/>
                <a:gd name="connsiteX10" fmla="*/ 1473738 w 1605069"/>
                <a:gd name="connsiteY10" fmla="*/ 890587 h 1441094"/>
                <a:gd name="connsiteX11" fmla="*/ 1605069 w 1605069"/>
                <a:gd name="connsiteY11" fmla="*/ 1441094 h 1441094"/>
                <a:gd name="connsiteX12" fmla="*/ 5403 w 1605069"/>
                <a:gd name="connsiteY12" fmla="*/ 1421359 h 1441094"/>
                <a:gd name="connsiteX0" fmla="*/ 5403 w 1605069"/>
                <a:gd name="connsiteY0" fmla="*/ 1423511 h 1443246"/>
                <a:gd name="connsiteX1" fmla="*/ 51694 w 1605069"/>
                <a:gd name="connsiteY1" fmla="*/ 1004334 h 1443246"/>
                <a:gd name="connsiteX2" fmla="*/ 544709 w 1605069"/>
                <a:gd name="connsiteY2" fmla="*/ 754246 h 1443246"/>
                <a:gd name="connsiteX3" fmla="*/ 503370 w 1605069"/>
                <a:gd name="connsiteY3" fmla="*/ 540410 h 1443246"/>
                <a:gd name="connsiteX4" fmla="*/ 426465 w 1605069"/>
                <a:gd name="connsiteY4" fmla="*/ 391896 h 1443246"/>
                <a:gd name="connsiteX5" fmla="*/ 456583 w 1605069"/>
                <a:gd name="connsiteY5" fmla="*/ 367912 h 1443246"/>
                <a:gd name="connsiteX6" fmla="*/ 697984 w 1605069"/>
                <a:gd name="connsiteY6" fmla="*/ 2152 h 1443246"/>
                <a:gd name="connsiteX7" fmla="*/ 983277 w 1605069"/>
                <a:gd name="connsiteY7" fmla="*/ 345966 h 1443246"/>
                <a:gd name="connsiteX8" fmla="*/ 1001489 w 1605069"/>
                <a:gd name="connsiteY8" fmla="*/ 492594 h 1443246"/>
                <a:gd name="connsiteX9" fmla="*/ 979525 w 1605069"/>
                <a:gd name="connsiteY9" fmla="*/ 775506 h 1443246"/>
                <a:gd name="connsiteX10" fmla="*/ 1473738 w 1605069"/>
                <a:gd name="connsiteY10" fmla="*/ 892739 h 1443246"/>
                <a:gd name="connsiteX11" fmla="*/ 1605069 w 1605069"/>
                <a:gd name="connsiteY11" fmla="*/ 1443246 h 1443246"/>
                <a:gd name="connsiteX12" fmla="*/ 5403 w 1605069"/>
                <a:gd name="connsiteY12" fmla="*/ 1423511 h 1443246"/>
                <a:gd name="connsiteX0" fmla="*/ 5403 w 1605069"/>
                <a:gd name="connsiteY0" fmla="*/ 1414063 h 1433798"/>
                <a:gd name="connsiteX1" fmla="*/ 51694 w 1605069"/>
                <a:gd name="connsiteY1" fmla="*/ 994886 h 1433798"/>
                <a:gd name="connsiteX2" fmla="*/ 544709 w 1605069"/>
                <a:gd name="connsiteY2" fmla="*/ 744798 h 1433798"/>
                <a:gd name="connsiteX3" fmla="*/ 503370 w 1605069"/>
                <a:gd name="connsiteY3" fmla="*/ 530962 h 1433798"/>
                <a:gd name="connsiteX4" fmla="*/ 426465 w 1605069"/>
                <a:gd name="connsiteY4" fmla="*/ 382448 h 1433798"/>
                <a:gd name="connsiteX5" fmla="*/ 456583 w 1605069"/>
                <a:gd name="connsiteY5" fmla="*/ 358464 h 1433798"/>
                <a:gd name="connsiteX6" fmla="*/ 702747 w 1605069"/>
                <a:gd name="connsiteY6" fmla="*/ 2229 h 1433798"/>
                <a:gd name="connsiteX7" fmla="*/ 983277 w 1605069"/>
                <a:gd name="connsiteY7" fmla="*/ 336518 h 1433798"/>
                <a:gd name="connsiteX8" fmla="*/ 1001489 w 1605069"/>
                <a:gd name="connsiteY8" fmla="*/ 483146 h 1433798"/>
                <a:gd name="connsiteX9" fmla="*/ 979525 w 1605069"/>
                <a:gd name="connsiteY9" fmla="*/ 766058 h 1433798"/>
                <a:gd name="connsiteX10" fmla="*/ 1473738 w 1605069"/>
                <a:gd name="connsiteY10" fmla="*/ 883291 h 1433798"/>
                <a:gd name="connsiteX11" fmla="*/ 1605069 w 1605069"/>
                <a:gd name="connsiteY11" fmla="*/ 1433798 h 1433798"/>
                <a:gd name="connsiteX12" fmla="*/ 5403 w 1605069"/>
                <a:gd name="connsiteY12" fmla="*/ 1414063 h 1433798"/>
                <a:gd name="connsiteX0" fmla="*/ 5403 w 1605069"/>
                <a:gd name="connsiteY0" fmla="*/ 1411986 h 1431721"/>
                <a:gd name="connsiteX1" fmla="*/ 51694 w 1605069"/>
                <a:gd name="connsiteY1" fmla="*/ 992809 h 1431721"/>
                <a:gd name="connsiteX2" fmla="*/ 544709 w 1605069"/>
                <a:gd name="connsiteY2" fmla="*/ 742721 h 1431721"/>
                <a:gd name="connsiteX3" fmla="*/ 503370 w 1605069"/>
                <a:gd name="connsiteY3" fmla="*/ 528885 h 1431721"/>
                <a:gd name="connsiteX4" fmla="*/ 426465 w 1605069"/>
                <a:gd name="connsiteY4" fmla="*/ 380371 h 1431721"/>
                <a:gd name="connsiteX5" fmla="*/ 456583 w 1605069"/>
                <a:gd name="connsiteY5" fmla="*/ 356387 h 1431721"/>
                <a:gd name="connsiteX6" fmla="*/ 702747 w 1605069"/>
                <a:gd name="connsiteY6" fmla="*/ 152 h 1431721"/>
                <a:gd name="connsiteX7" fmla="*/ 983277 w 1605069"/>
                <a:gd name="connsiteY7" fmla="*/ 334441 h 1431721"/>
                <a:gd name="connsiteX8" fmla="*/ 1001489 w 1605069"/>
                <a:gd name="connsiteY8" fmla="*/ 481069 h 1431721"/>
                <a:gd name="connsiteX9" fmla="*/ 979525 w 1605069"/>
                <a:gd name="connsiteY9" fmla="*/ 763981 h 1431721"/>
                <a:gd name="connsiteX10" fmla="*/ 1473738 w 1605069"/>
                <a:gd name="connsiteY10" fmla="*/ 881214 h 1431721"/>
                <a:gd name="connsiteX11" fmla="*/ 1605069 w 1605069"/>
                <a:gd name="connsiteY11" fmla="*/ 1431721 h 1431721"/>
                <a:gd name="connsiteX12" fmla="*/ 5403 w 1605069"/>
                <a:gd name="connsiteY12" fmla="*/ 1411986 h 1431721"/>
                <a:gd name="connsiteX0" fmla="*/ 5403 w 1605069"/>
                <a:gd name="connsiteY0" fmla="*/ 1411986 h 1431721"/>
                <a:gd name="connsiteX1" fmla="*/ 51694 w 1605069"/>
                <a:gd name="connsiteY1" fmla="*/ 992809 h 1431721"/>
                <a:gd name="connsiteX2" fmla="*/ 544709 w 1605069"/>
                <a:gd name="connsiteY2" fmla="*/ 742721 h 1431721"/>
                <a:gd name="connsiteX3" fmla="*/ 503370 w 1605069"/>
                <a:gd name="connsiteY3" fmla="*/ 528885 h 1431721"/>
                <a:gd name="connsiteX4" fmla="*/ 426465 w 1605069"/>
                <a:gd name="connsiteY4" fmla="*/ 380371 h 1431721"/>
                <a:gd name="connsiteX5" fmla="*/ 456583 w 1605069"/>
                <a:gd name="connsiteY5" fmla="*/ 356387 h 1431721"/>
                <a:gd name="connsiteX6" fmla="*/ 702747 w 1605069"/>
                <a:gd name="connsiteY6" fmla="*/ 152 h 1431721"/>
                <a:gd name="connsiteX7" fmla="*/ 983277 w 1605069"/>
                <a:gd name="connsiteY7" fmla="*/ 334441 h 1431721"/>
                <a:gd name="connsiteX8" fmla="*/ 1001489 w 1605069"/>
                <a:gd name="connsiteY8" fmla="*/ 481069 h 1431721"/>
                <a:gd name="connsiteX9" fmla="*/ 979525 w 1605069"/>
                <a:gd name="connsiteY9" fmla="*/ 763981 h 1431721"/>
                <a:gd name="connsiteX10" fmla="*/ 1473738 w 1605069"/>
                <a:gd name="connsiteY10" fmla="*/ 881214 h 1431721"/>
                <a:gd name="connsiteX11" fmla="*/ 1605069 w 1605069"/>
                <a:gd name="connsiteY11" fmla="*/ 1431721 h 1431721"/>
                <a:gd name="connsiteX12" fmla="*/ 5403 w 1605069"/>
                <a:gd name="connsiteY12" fmla="*/ 1411986 h 1431721"/>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6370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44464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1001489 w 1605069"/>
                <a:gd name="connsiteY8" fmla="*/ 481052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56583 w 1605069"/>
                <a:gd name="connsiteY5" fmla="*/ 351608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26465 w 1605069"/>
                <a:gd name="connsiteY4" fmla="*/ 380354 h 1431704"/>
                <a:gd name="connsiteX5" fmla="*/ 466108 w 1605069"/>
                <a:gd name="connsiteY5" fmla="*/ 363514 h 1431704"/>
                <a:gd name="connsiteX6" fmla="*/ 702747 w 1605069"/>
                <a:gd name="connsiteY6" fmla="*/ 135 h 1431704"/>
                <a:gd name="connsiteX7" fmla="*/ 983277 w 1605069"/>
                <a:gd name="connsiteY7" fmla="*/ 334424 h 1431704"/>
                <a:gd name="connsiteX8" fmla="*/ 968151 w 1605069"/>
                <a:gd name="connsiteY8" fmla="*/ 514390 h 1431704"/>
                <a:gd name="connsiteX9" fmla="*/ 979525 w 1605069"/>
                <a:gd name="connsiteY9" fmla="*/ 763964 h 1431704"/>
                <a:gd name="connsiteX10" fmla="*/ 1473738 w 1605069"/>
                <a:gd name="connsiteY10" fmla="*/ 881197 h 1431704"/>
                <a:gd name="connsiteX11" fmla="*/ 1605069 w 1605069"/>
                <a:gd name="connsiteY11" fmla="*/ 1431704 h 1431704"/>
                <a:gd name="connsiteX12" fmla="*/ 5403 w 1605069"/>
                <a:gd name="connsiteY12"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79525 w 1605069"/>
                <a:gd name="connsiteY8" fmla="*/ 763964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62856 w 1605069"/>
                <a:gd name="connsiteY8" fmla="*/ 742533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5403 w 1605069"/>
                <a:gd name="connsiteY0" fmla="*/ 1411969 h 1431704"/>
                <a:gd name="connsiteX1" fmla="*/ 51694 w 1605069"/>
                <a:gd name="connsiteY1" fmla="*/ 992792 h 1431704"/>
                <a:gd name="connsiteX2" fmla="*/ 544709 w 1605069"/>
                <a:gd name="connsiteY2" fmla="*/ 742704 h 1431704"/>
                <a:gd name="connsiteX3" fmla="*/ 503370 w 1605069"/>
                <a:gd name="connsiteY3" fmla="*/ 528868 h 1431704"/>
                <a:gd name="connsiteX4" fmla="*/ 466108 w 1605069"/>
                <a:gd name="connsiteY4" fmla="*/ 363514 h 1431704"/>
                <a:gd name="connsiteX5" fmla="*/ 702747 w 1605069"/>
                <a:gd name="connsiteY5" fmla="*/ 135 h 1431704"/>
                <a:gd name="connsiteX6" fmla="*/ 983277 w 1605069"/>
                <a:gd name="connsiteY6" fmla="*/ 334424 h 1431704"/>
                <a:gd name="connsiteX7" fmla="*/ 968151 w 1605069"/>
                <a:gd name="connsiteY7" fmla="*/ 514390 h 1431704"/>
                <a:gd name="connsiteX8" fmla="*/ 962856 w 1605069"/>
                <a:gd name="connsiteY8" fmla="*/ 742533 h 1431704"/>
                <a:gd name="connsiteX9" fmla="*/ 1473738 w 1605069"/>
                <a:gd name="connsiteY9" fmla="*/ 881197 h 1431704"/>
                <a:gd name="connsiteX10" fmla="*/ 1605069 w 1605069"/>
                <a:gd name="connsiteY10" fmla="*/ 1431704 h 1431704"/>
                <a:gd name="connsiteX11" fmla="*/ 5403 w 1605069"/>
                <a:gd name="connsiteY11" fmla="*/ 1411969 h 143170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66648 w 1597979"/>
                <a:gd name="connsiteY9" fmla="*/ 881197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16298 w 1597979"/>
                <a:gd name="connsiteY9" fmla="*/ 934985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16298 w 1597979"/>
                <a:gd name="connsiteY9" fmla="*/ 934985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528711 w 1597979"/>
                <a:gd name="connsiteY9" fmla="*/ 959811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95610 w 1597979"/>
                <a:gd name="connsiteY9" fmla="*/ 959811 h 1436794"/>
                <a:gd name="connsiteX10" fmla="*/ 1597979 w 1597979"/>
                <a:gd name="connsiteY10" fmla="*/ 1431704 h 1436794"/>
                <a:gd name="connsiteX11" fmla="*/ 6588 w 1597979"/>
                <a:gd name="connsiteY11" fmla="*/ 1436794 h 1436794"/>
                <a:gd name="connsiteX0" fmla="*/ 6588 w 1597979"/>
                <a:gd name="connsiteY0" fmla="*/ 1436794 h 1436794"/>
                <a:gd name="connsiteX1" fmla="*/ 44604 w 1597979"/>
                <a:gd name="connsiteY1" fmla="*/ 992792 h 1436794"/>
                <a:gd name="connsiteX2" fmla="*/ 537619 w 1597979"/>
                <a:gd name="connsiteY2" fmla="*/ 742704 h 1436794"/>
                <a:gd name="connsiteX3" fmla="*/ 496280 w 1597979"/>
                <a:gd name="connsiteY3" fmla="*/ 528868 h 1436794"/>
                <a:gd name="connsiteX4" fmla="*/ 459018 w 1597979"/>
                <a:gd name="connsiteY4" fmla="*/ 363514 h 1436794"/>
                <a:gd name="connsiteX5" fmla="*/ 695657 w 1597979"/>
                <a:gd name="connsiteY5" fmla="*/ 135 h 1436794"/>
                <a:gd name="connsiteX6" fmla="*/ 976187 w 1597979"/>
                <a:gd name="connsiteY6" fmla="*/ 334424 h 1436794"/>
                <a:gd name="connsiteX7" fmla="*/ 961061 w 1597979"/>
                <a:gd name="connsiteY7" fmla="*/ 514390 h 1436794"/>
                <a:gd name="connsiteX8" fmla="*/ 955766 w 1597979"/>
                <a:gd name="connsiteY8" fmla="*/ 742533 h 1436794"/>
                <a:gd name="connsiteX9" fmla="*/ 1495610 w 1597979"/>
                <a:gd name="connsiteY9" fmla="*/ 959811 h 1436794"/>
                <a:gd name="connsiteX10" fmla="*/ 1597979 w 1597979"/>
                <a:gd name="connsiteY10" fmla="*/ 1431704 h 1436794"/>
                <a:gd name="connsiteX11" fmla="*/ 6588 w 1597979"/>
                <a:gd name="connsiteY11" fmla="*/ 1436794 h 1436794"/>
                <a:gd name="connsiteX0" fmla="*/ 6588 w 1556604"/>
                <a:gd name="connsiteY0" fmla="*/ 1436794 h 1436794"/>
                <a:gd name="connsiteX1" fmla="*/ 44604 w 1556604"/>
                <a:gd name="connsiteY1" fmla="*/ 992792 h 1436794"/>
                <a:gd name="connsiteX2" fmla="*/ 537619 w 1556604"/>
                <a:gd name="connsiteY2" fmla="*/ 742704 h 1436794"/>
                <a:gd name="connsiteX3" fmla="*/ 496280 w 1556604"/>
                <a:gd name="connsiteY3" fmla="*/ 528868 h 1436794"/>
                <a:gd name="connsiteX4" fmla="*/ 459018 w 1556604"/>
                <a:gd name="connsiteY4" fmla="*/ 363514 h 1436794"/>
                <a:gd name="connsiteX5" fmla="*/ 695657 w 1556604"/>
                <a:gd name="connsiteY5" fmla="*/ 135 h 1436794"/>
                <a:gd name="connsiteX6" fmla="*/ 976187 w 1556604"/>
                <a:gd name="connsiteY6" fmla="*/ 334424 h 1436794"/>
                <a:gd name="connsiteX7" fmla="*/ 961061 w 1556604"/>
                <a:gd name="connsiteY7" fmla="*/ 514390 h 1436794"/>
                <a:gd name="connsiteX8" fmla="*/ 955766 w 1556604"/>
                <a:gd name="connsiteY8" fmla="*/ 742533 h 1436794"/>
                <a:gd name="connsiteX9" fmla="*/ 1495610 w 1556604"/>
                <a:gd name="connsiteY9" fmla="*/ 959811 h 1436794"/>
                <a:gd name="connsiteX10" fmla="*/ 1556604 w 1556604"/>
                <a:gd name="connsiteY10" fmla="*/ 1431704 h 1436794"/>
                <a:gd name="connsiteX11" fmla="*/ 6588 w 1556604"/>
                <a:gd name="connsiteY11" fmla="*/ 1436794 h 1436794"/>
                <a:gd name="connsiteX0" fmla="*/ 6588 w 1556604"/>
                <a:gd name="connsiteY0" fmla="*/ 1436794 h 1436794"/>
                <a:gd name="connsiteX1" fmla="*/ 44604 w 1556604"/>
                <a:gd name="connsiteY1" fmla="*/ 992792 h 1436794"/>
                <a:gd name="connsiteX2" fmla="*/ 537619 w 1556604"/>
                <a:gd name="connsiteY2" fmla="*/ 742704 h 1436794"/>
                <a:gd name="connsiteX3" fmla="*/ 496280 w 1556604"/>
                <a:gd name="connsiteY3" fmla="*/ 528868 h 1436794"/>
                <a:gd name="connsiteX4" fmla="*/ 459018 w 1556604"/>
                <a:gd name="connsiteY4" fmla="*/ 363514 h 1436794"/>
                <a:gd name="connsiteX5" fmla="*/ 695657 w 1556604"/>
                <a:gd name="connsiteY5" fmla="*/ 135 h 1436794"/>
                <a:gd name="connsiteX6" fmla="*/ 976187 w 1556604"/>
                <a:gd name="connsiteY6" fmla="*/ 334424 h 1436794"/>
                <a:gd name="connsiteX7" fmla="*/ 961061 w 1556604"/>
                <a:gd name="connsiteY7" fmla="*/ 514390 h 1436794"/>
                <a:gd name="connsiteX8" fmla="*/ 955766 w 1556604"/>
                <a:gd name="connsiteY8" fmla="*/ 742533 h 1436794"/>
                <a:gd name="connsiteX9" fmla="*/ 1495610 w 1556604"/>
                <a:gd name="connsiteY9" fmla="*/ 959811 h 1436794"/>
                <a:gd name="connsiteX10" fmla="*/ 1556604 w 1556604"/>
                <a:gd name="connsiteY10" fmla="*/ 1431704 h 1436794"/>
                <a:gd name="connsiteX11" fmla="*/ 6588 w 1556604"/>
                <a:gd name="connsiteY11" fmla="*/ 1436794 h 1436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56604" h="1436794">
                  <a:moveTo>
                    <a:pt x="6588" y="1436794"/>
                  </a:moveTo>
                  <a:cubicBezTo>
                    <a:pt x="-10525" y="1297068"/>
                    <a:pt x="6948" y="1042031"/>
                    <a:pt x="44604" y="992792"/>
                  </a:cubicBezTo>
                  <a:cubicBezTo>
                    <a:pt x="251011" y="869741"/>
                    <a:pt x="366931" y="851467"/>
                    <a:pt x="537619" y="742704"/>
                  </a:cubicBezTo>
                  <a:cubicBezTo>
                    <a:pt x="646870" y="688888"/>
                    <a:pt x="503710" y="608878"/>
                    <a:pt x="496280" y="528868"/>
                  </a:cubicBezTo>
                  <a:cubicBezTo>
                    <a:pt x="466512" y="527583"/>
                    <a:pt x="375783" y="373055"/>
                    <a:pt x="459018" y="363514"/>
                  </a:cubicBezTo>
                  <a:cubicBezTo>
                    <a:pt x="448998" y="298744"/>
                    <a:pt x="391353" y="12517"/>
                    <a:pt x="695657" y="135"/>
                  </a:cubicBezTo>
                  <a:cubicBezTo>
                    <a:pt x="986018" y="-6703"/>
                    <a:pt x="993008" y="248394"/>
                    <a:pt x="976187" y="334424"/>
                  </a:cubicBezTo>
                  <a:cubicBezTo>
                    <a:pt x="1039408" y="340438"/>
                    <a:pt x="1014522" y="522663"/>
                    <a:pt x="961061" y="514390"/>
                  </a:cubicBezTo>
                  <a:cubicBezTo>
                    <a:pt x="937864" y="604726"/>
                    <a:pt x="814656" y="671248"/>
                    <a:pt x="955766" y="742533"/>
                  </a:cubicBezTo>
                  <a:lnTo>
                    <a:pt x="1495610" y="959811"/>
                  </a:lnTo>
                  <a:cubicBezTo>
                    <a:pt x="1556530" y="1291370"/>
                    <a:pt x="1545927" y="1273027"/>
                    <a:pt x="1556604" y="1431704"/>
                  </a:cubicBezTo>
                  <a:lnTo>
                    <a:pt x="6588" y="14367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418" name="Freeform: Shape 31">
            <a:extLst>
              <a:ext uri="{FF2B5EF4-FFF2-40B4-BE49-F238E27FC236}">
                <a16:creationId xmlns:a16="http://schemas.microsoft.com/office/drawing/2014/main" id="{E9C64FB0-43CA-924E-91C8-52626E0D1FB2}"/>
              </a:ext>
            </a:extLst>
          </p:cNvPr>
          <p:cNvSpPr/>
          <p:nvPr/>
        </p:nvSpPr>
        <p:spPr>
          <a:xfrm>
            <a:off x="5891460" y="1975132"/>
            <a:ext cx="1086452" cy="623314"/>
          </a:xfrm>
          <a:custGeom>
            <a:avLst/>
            <a:gdLst/>
            <a:ahLst/>
            <a:cxnLst/>
            <a:rect l="l" t="t" r="r" b="b"/>
            <a:pathLst>
              <a:path w="330249" h="218182">
                <a:moveTo>
                  <a:pt x="117946" y="56554"/>
                </a:moveTo>
                <a:lnTo>
                  <a:pt x="94115" y="134987"/>
                </a:lnTo>
                <a:lnTo>
                  <a:pt x="142028" y="134987"/>
                </a:lnTo>
                <a:close/>
                <a:moveTo>
                  <a:pt x="262681" y="0"/>
                </a:moveTo>
                <a:lnTo>
                  <a:pt x="330249" y="0"/>
                </a:lnTo>
                <a:lnTo>
                  <a:pt x="330249" y="218182"/>
                </a:lnTo>
                <a:lnTo>
                  <a:pt x="262681" y="218182"/>
                </a:lnTo>
                <a:close/>
                <a:moveTo>
                  <a:pt x="82004" y="0"/>
                </a:moveTo>
                <a:lnTo>
                  <a:pt x="155544" y="0"/>
                </a:lnTo>
                <a:lnTo>
                  <a:pt x="237529" y="218182"/>
                </a:lnTo>
                <a:lnTo>
                  <a:pt x="166929" y="218182"/>
                </a:lnTo>
                <a:lnTo>
                  <a:pt x="156013" y="182165"/>
                </a:lnTo>
                <a:lnTo>
                  <a:pt x="79472" y="182165"/>
                </a:lnTo>
                <a:lnTo>
                  <a:pt x="68837" y="218182"/>
                </a:lnTo>
                <a:lnTo>
                  <a:pt x="0" y="218182"/>
                </a:ln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6429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3184943" y="198666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9" name="Rectangle 78">
            <a:extLst>
              <a:ext uri="{FF2B5EF4-FFF2-40B4-BE49-F238E27FC236}">
                <a16:creationId xmlns:a16="http://schemas.microsoft.com/office/drawing/2014/main" id="{0B167CCD-B821-4A23-9FA7-556FD079928B}"/>
              </a:ext>
            </a:extLst>
          </p:cNvPr>
          <p:cNvSpPr/>
          <p:nvPr/>
        </p:nvSpPr>
        <p:spPr>
          <a:xfrm>
            <a:off x="891273" y="198666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2658628"/>
            <a:ext cx="7776000"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p:nvPr/>
        </p:nvCxnSpPr>
        <p:spPr>
          <a:xfrm>
            <a:off x="365682" y="3484229"/>
            <a:ext cx="7776000"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891273" y="2812270"/>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2739030"/>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3184943" y="2812270"/>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tangle 55">
            <a:extLst>
              <a:ext uri="{FF2B5EF4-FFF2-40B4-BE49-F238E27FC236}">
                <a16:creationId xmlns:a16="http://schemas.microsoft.com/office/drawing/2014/main" id="{D9FF0F48-8BA1-4352-A8D1-8CD3B18F78E0}"/>
              </a:ext>
            </a:extLst>
          </p:cNvPr>
          <p:cNvSpPr/>
          <p:nvPr/>
        </p:nvSpPr>
        <p:spPr>
          <a:xfrm>
            <a:off x="891273" y="3637871"/>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3564631"/>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
        <p:nvSpPr>
          <p:cNvPr id="28" name="Rectangle 27">
            <a:extLst>
              <a:ext uri="{FF2B5EF4-FFF2-40B4-BE49-F238E27FC236}">
                <a16:creationId xmlns:a16="http://schemas.microsoft.com/office/drawing/2014/main" id="{B3925AB3-A14F-422D-90C2-088906BB6C96}"/>
              </a:ext>
            </a:extLst>
          </p:cNvPr>
          <p:cNvSpPr>
            <a:spLocks/>
          </p:cNvSpPr>
          <p:nvPr/>
        </p:nvSpPr>
        <p:spPr>
          <a:xfrm>
            <a:off x="3184943" y="3637871"/>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1" name="Rectangle 10">
            <a:extLst>
              <a:ext uri="{FF2B5EF4-FFF2-40B4-BE49-F238E27FC236}">
                <a16:creationId xmlns:a16="http://schemas.microsoft.com/office/drawing/2014/main" id="{9FD7097F-5451-492F-AD01-AF13FE2B5CCA}"/>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cxnSp>
        <p:nvCxnSpPr>
          <p:cNvPr id="25" name="Straight Connector 24">
            <a:extLst>
              <a:ext uri="{FF2B5EF4-FFF2-40B4-BE49-F238E27FC236}">
                <a16:creationId xmlns:a16="http://schemas.microsoft.com/office/drawing/2014/main" id="{D0CD7538-EB8C-4767-AB7D-3B144FFC874E}"/>
              </a:ext>
            </a:extLst>
          </p:cNvPr>
          <p:cNvCxnSpPr/>
          <p:nvPr/>
        </p:nvCxnSpPr>
        <p:spPr>
          <a:xfrm>
            <a:off x="365682" y="4309830"/>
            <a:ext cx="7776000" cy="0"/>
          </a:xfrm>
          <a:prstGeom prst="line">
            <a:avLst/>
          </a:prstGeom>
          <a:noFill/>
          <a:ln w="22225" cap="flat" cmpd="sng" algn="ctr">
            <a:solidFill>
              <a:srgbClr val="BBBEC2"/>
            </a:solidFill>
            <a:prstDash val="solid"/>
          </a:ln>
          <a:effectLst/>
        </p:spPr>
      </p:cxnSp>
      <p:sp>
        <p:nvSpPr>
          <p:cNvPr id="29" name="Rectangle 28">
            <a:extLst>
              <a:ext uri="{FF2B5EF4-FFF2-40B4-BE49-F238E27FC236}">
                <a16:creationId xmlns:a16="http://schemas.microsoft.com/office/drawing/2014/main" id="{80FFF5FB-625A-4E0C-8904-A0ED96BB23E5}"/>
              </a:ext>
            </a:extLst>
          </p:cNvPr>
          <p:cNvSpPr/>
          <p:nvPr/>
        </p:nvSpPr>
        <p:spPr>
          <a:xfrm>
            <a:off x="891273" y="4463472"/>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0" name="RBContent19">
            <a:extLst>
              <a:ext uri="{FF2B5EF4-FFF2-40B4-BE49-F238E27FC236}">
                <a16:creationId xmlns:a16="http://schemas.microsoft.com/office/drawing/2014/main" id="{3D7031D1-4BDE-4CE0-9758-EF3201ACAC24}"/>
              </a:ext>
            </a:extLst>
          </p:cNvPr>
          <p:cNvSpPr txBox="1"/>
          <p:nvPr/>
        </p:nvSpPr>
        <p:spPr>
          <a:xfrm>
            <a:off x="365682" y="4390232"/>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4</a:t>
            </a:r>
          </a:p>
        </p:txBody>
      </p:sp>
      <p:sp>
        <p:nvSpPr>
          <p:cNvPr id="31" name="Rectangle 30">
            <a:extLst>
              <a:ext uri="{FF2B5EF4-FFF2-40B4-BE49-F238E27FC236}">
                <a16:creationId xmlns:a16="http://schemas.microsoft.com/office/drawing/2014/main" id="{2F7D4258-5B3E-4514-880A-0C61AF2A2217}"/>
              </a:ext>
            </a:extLst>
          </p:cNvPr>
          <p:cNvSpPr>
            <a:spLocks/>
          </p:cNvSpPr>
          <p:nvPr/>
        </p:nvSpPr>
        <p:spPr>
          <a:xfrm>
            <a:off x="3184943" y="4463472"/>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32" name="Straight Connector 31">
            <a:extLst>
              <a:ext uri="{FF2B5EF4-FFF2-40B4-BE49-F238E27FC236}">
                <a16:creationId xmlns:a16="http://schemas.microsoft.com/office/drawing/2014/main" id="{C16093BE-8628-4D8F-A94E-A832F00D4497}"/>
              </a:ext>
            </a:extLst>
          </p:cNvPr>
          <p:cNvCxnSpPr/>
          <p:nvPr/>
        </p:nvCxnSpPr>
        <p:spPr>
          <a:xfrm>
            <a:off x="365682" y="5135431"/>
            <a:ext cx="7776000" cy="0"/>
          </a:xfrm>
          <a:prstGeom prst="line">
            <a:avLst/>
          </a:prstGeom>
          <a:noFill/>
          <a:ln w="22225" cap="flat" cmpd="sng" algn="ctr">
            <a:solidFill>
              <a:srgbClr val="BBBEC2"/>
            </a:solidFill>
            <a:prstDash val="solid"/>
          </a:ln>
          <a:effectLst/>
        </p:spPr>
      </p:cxnSp>
      <p:sp>
        <p:nvSpPr>
          <p:cNvPr id="34" name="Rectangle 33">
            <a:extLst>
              <a:ext uri="{FF2B5EF4-FFF2-40B4-BE49-F238E27FC236}">
                <a16:creationId xmlns:a16="http://schemas.microsoft.com/office/drawing/2014/main" id="{C2DE51E0-FD07-4DBE-8111-753A81E1FA7A}"/>
              </a:ext>
            </a:extLst>
          </p:cNvPr>
          <p:cNvSpPr/>
          <p:nvPr/>
        </p:nvSpPr>
        <p:spPr>
          <a:xfrm>
            <a:off x="891273" y="5289072"/>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5" name="RBContent19">
            <a:extLst>
              <a:ext uri="{FF2B5EF4-FFF2-40B4-BE49-F238E27FC236}">
                <a16:creationId xmlns:a16="http://schemas.microsoft.com/office/drawing/2014/main" id="{DF3D7BF0-8C76-4B6A-B0C5-294C95BF2439}"/>
              </a:ext>
            </a:extLst>
          </p:cNvPr>
          <p:cNvSpPr txBox="1"/>
          <p:nvPr/>
        </p:nvSpPr>
        <p:spPr>
          <a:xfrm>
            <a:off x="365682" y="5215832"/>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5</a:t>
            </a:r>
          </a:p>
        </p:txBody>
      </p:sp>
      <p:sp>
        <p:nvSpPr>
          <p:cNvPr id="36" name="Rectangle 35">
            <a:extLst>
              <a:ext uri="{FF2B5EF4-FFF2-40B4-BE49-F238E27FC236}">
                <a16:creationId xmlns:a16="http://schemas.microsoft.com/office/drawing/2014/main" id="{267A3152-C9AC-4ABA-8FE4-7D8870B13CA5}"/>
              </a:ext>
            </a:extLst>
          </p:cNvPr>
          <p:cNvSpPr>
            <a:spLocks/>
          </p:cNvSpPr>
          <p:nvPr/>
        </p:nvSpPr>
        <p:spPr>
          <a:xfrm>
            <a:off x="3184943" y="5289072"/>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Content Placeholder 14">
            <a:extLst>
              <a:ext uri="{FF2B5EF4-FFF2-40B4-BE49-F238E27FC236}">
                <a16:creationId xmlns:a16="http://schemas.microsoft.com/office/drawing/2014/main" id="{914DF959-16C6-4FBA-AD25-C7BC67887CDB}"/>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233614556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4C5184-647C-A64D-B8B6-BB4AA4154707}"/>
              </a:ext>
            </a:extLst>
          </p:cNvPr>
          <p:cNvSpPr>
            <a:spLocks noGrp="1"/>
          </p:cNvSpPr>
          <p:nvPr>
            <p:ph type="sldNum" sz="quarter" idx="4"/>
          </p:nvPr>
        </p:nvSpPr>
        <p:spPr/>
        <p:txBody>
          <a:bodyPr/>
          <a:lstStyle/>
          <a:p>
            <a:fld id="{3D966009-6E5A-4F8C-8CA7-E37AFBF5FB92}" type="slidenum">
              <a:rPr lang="en-US" smtClean="0"/>
              <a:t>170</a:t>
            </a:fld>
            <a:endParaRPr lang="en-US"/>
          </a:p>
        </p:txBody>
      </p:sp>
      <p:sp>
        <p:nvSpPr>
          <p:cNvPr id="3" name="Title 2">
            <a:extLst>
              <a:ext uri="{FF2B5EF4-FFF2-40B4-BE49-F238E27FC236}">
                <a16:creationId xmlns:a16="http://schemas.microsoft.com/office/drawing/2014/main" id="{8DBD10AC-EA37-8F42-ABD1-83BC7843D76A}"/>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CE223EEA-C493-6648-9160-90E89A0EF4EC}"/>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098301AE-000A-C644-BB19-D5D74C1A6325}"/>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26BE544D-D8AD-DD48-80B8-B00AF1B1C499}"/>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E8130810-5152-4747-98AA-19D6EEA02907}"/>
              </a:ext>
            </a:extLst>
          </p:cNvPr>
          <p:cNvSpPr>
            <a:spLocks noGrp="1"/>
          </p:cNvSpPr>
          <p:nvPr>
            <p:ph sz="quarter" idx="14"/>
          </p:nvPr>
        </p:nvSpPr>
        <p:spPr/>
        <p:txBody>
          <a:bodyPr/>
          <a:lstStyle/>
          <a:p>
            <a:endParaRPr lang="en-GB"/>
          </a:p>
        </p:txBody>
      </p:sp>
      <p:grpSp>
        <p:nvGrpSpPr>
          <p:cNvPr id="9" name="Group 8">
            <a:extLst>
              <a:ext uri="{FF2B5EF4-FFF2-40B4-BE49-F238E27FC236}">
                <a16:creationId xmlns:a16="http://schemas.microsoft.com/office/drawing/2014/main" id="{060412F0-F804-E441-8C75-77C97B9E87D9}"/>
              </a:ext>
            </a:extLst>
          </p:cNvPr>
          <p:cNvGrpSpPr/>
          <p:nvPr/>
        </p:nvGrpSpPr>
        <p:grpSpPr>
          <a:xfrm>
            <a:off x="10243039" y="1633672"/>
            <a:ext cx="1288420" cy="4589998"/>
            <a:chOff x="9573713" y="966236"/>
            <a:chExt cx="1554585" cy="5538210"/>
          </a:xfrm>
        </p:grpSpPr>
        <p:sp>
          <p:nvSpPr>
            <p:cNvPr id="10" name="Freeform 9">
              <a:extLst>
                <a:ext uri="{FF2B5EF4-FFF2-40B4-BE49-F238E27FC236}">
                  <a16:creationId xmlns:a16="http://schemas.microsoft.com/office/drawing/2014/main" id="{308283B9-697B-9245-AC51-EE8FF5E7CF6F}"/>
                </a:ext>
              </a:extLst>
            </p:cNvPr>
            <p:cNvSpPr>
              <a:spLocks/>
            </p:cNvSpPr>
            <p:nvPr/>
          </p:nvSpPr>
          <p:spPr bwMode="auto">
            <a:xfrm>
              <a:off x="9573713" y="966236"/>
              <a:ext cx="777766" cy="5538210"/>
            </a:xfrm>
            <a:custGeom>
              <a:avLst/>
              <a:gdLst/>
              <a:ahLst/>
              <a:cxnLst/>
              <a:rect l="l" t="t" r="r" b="b"/>
              <a:pathLst>
                <a:path w="777766" h="5538209">
                  <a:moveTo>
                    <a:pt x="686205" y="0"/>
                  </a:moveTo>
                  <a:lnTo>
                    <a:pt x="759076" y="6073"/>
                  </a:lnTo>
                  <a:lnTo>
                    <a:pt x="777766" y="11499"/>
                  </a:lnTo>
                  <a:lnTo>
                    <a:pt x="777766" y="2896629"/>
                  </a:lnTo>
                  <a:lnTo>
                    <a:pt x="773245" y="2896629"/>
                  </a:lnTo>
                  <a:lnTo>
                    <a:pt x="773245" y="2906750"/>
                  </a:lnTo>
                  <a:lnTo>
                    <a:pt x="710495" y="3400655"/>
                  </a:lnTo>
                  <a:lnTo>
                    <a:pt x="645721" y="3657728"/>
                  </a:lnTo>
                  <a:lnTo>
                    <a:pt x="633575" y="3767035"/>
                  </a:lnTo>
                  <a:lnTo>
                    <a:pt x="641672" y="3874317"/>
                  </a:lnTo>
                  <a:lnTo>
                    <a:pt x="651793" y="3977552"/>
                  </a:lnTo>
                  <a:lnTo>
                    <a:pt x="667987" y="4084834"/>
                  </a:lnTo>
                  <a:lnTo>
                    <a:pt x="670011" y="4194141"/>
                  </a:lnTo>
                  <a:lnTo>
                    <a:pt x="663938" y="4305472"/>
                  </a:lnTo>
                  <a:lnTo>
                    <a:pt x="651793" y="4356077"/>
                  </a:lnTo>
                  <a:lnTo>
                    <a:pt x="641672" y="4422876"/>
                  </a:lnTo>
                  <a:lnTo>
                    <a:pt x="627503" y="4499795"/>
                  </a:lnTo>
                  <a:lnTo>
                    <a:pt x="615358" y="4580763"/>
                  </a:lnTo>
                  <a:lnTo>
                    <a:pt x="607261" y="4661731"/>
                  </a:lnTo>
                  <a:lnTo>
                    <a:pt x="605237" y="4742699"/>
                  </a:lnTo>
                  <a:lnTo>
                    <a:pt x="607261" y="4817594"/>
                  </a:lnTo>
                  <a:lnTo>
                    <a:pt x="623454" y="4880345"/>
                  </a:lnTo>
                  <a:lnTo>
                    <a:pt x="686205" y="5007869"/>
                  </a:lnTo>
                  <a:lnTo>
                    <a:pt x="663938" y="5082764"/>
                  </a:lnTo>
                  <a:lnTo>
                    <a:pt x="647745" y="5173853"/>
                  </a:lnTo>
                  <a:lnTo>
                    <a:pt x="647745" y="5268991"/>
                  </a:lnTo>
                  <a:lnTo>
                    <a:pt x="655842" y="5358056"/>
                  </a:lnTo>
                  <a:lnTo>
                    <a:pt x="655842" y="5443072"/>
                  </a:lnTo>
                  <a:lnTo>
                    <a:pt x="645721" y="5519992"/>
                  </a:lnTo>
                  <a:lnTo>
                    <a:pt x="605237" y="5534161"/>
                  </a:lnTo>
                  <a:lnTo>
                    <a:pt x="556656" y="5538209"/>
                  </a:lnTo>
                  <a:lnTo>
                    <a:pt x="512123" y="5524040"/>
                  </a:lnTo>
                  <a:lnTo>
                    <a:pt x="467591" y="5501774"/>
                  </a:lnTo>
                  <a:lnTo>
                    <a:pt x="431155" y="5465338"/>
                  </a:lnTo>
                  <a:lnTo>
                    <a:pt x="408889" y="5420806"/>
                  </a:lnTo>
                  <a:lnTo>
                    <a:pt x="402816" y="5366152"/>
                  </a:lnTo>
                  <a:lnTo>
                    <a:pt x="439252" y="5295305"/>
                  </a:lnTo>
                  <a:lnTo>
                    <a:pt x="465567" y="5210289"/>
                  </a:lnTo>
                  <a:lnTo>
                    <a:pt x="475688" y="5119200"/>
                  </a:lnTo>
                  <a:lnTo>
                    <a:pt x="483784" y="5020014"/>
                  </a:lnTo>
                  <a:lnTo>
                    <a:pt x="479736" y="4916780"/>
                  </a:lnTo>
                  <a:lnTo>
                    <a:pt x="467591" y="4809498"/>
                  </a:lnTo>
                  <a:lnTo>
                    <a:pt x="449373" y="4698167"/>
                  </a:lnTo>
                  <a:lnTo>
                    <a:pt x="431155" y="4588860"/>
                  </a:lnTo>
                  <a:lnTo>
                    <a:pt x="408889" y="4485626"/>
                  </a:lnTo>
                  <a:lnTo>
                    <a:pt x="386623" y="4382392"/>
                  </a:lnTo>
                  <a:lnTo>
                    <a:pt x="364356" y="4287254"/>
                  </a:lnTo>
                  <a:lnTo>
                    <a:pt x="346139" y="4198189"/>
                  </a:lnTo>
                  <a:lnTo>
                    <a:pt x="327921" y="4117221"/>
                  </a:lnTo>
                  <a:lnTo>
                    <a:pt x="317800" y="4007915"/>
                  </a:lnTo>
                  <a:lnTo>
                    <a:pt x="323872" y="3892535"/>
                  </a:lnTo>
                  <a:lnTo>
                    <a:pt x="340066" y="3779180"/>
                  </a:lnTo>
                  <a:lnTo>
                    <a:pt x="362332" y="3667849"/>
                  </a:lnTo>
                  <a:lnTo>
                    <a:pt x="376502" y="3554494"/>
                  </a:lnTo>
                  <a:lnTo>
                    <a:pt x="384598" y="3441139"/>
                  </a:lnTo>
                  <a:lnTo>
                    <a:pt x="368405" y="3325759"/>
                  </a:lnTo>
                  <a:lnTo>
                    <a:pt x="354235" y="3252888"/>
                  </a:lnTo>
                  <a:lnTo>
                    <a:pt x="336018" y="3167872"/>
                  </a:lnTo>
                  <a:lnTo>
                    <a:pt x="313751" y="3072735"/>
                  </a:lnTo>
                  <a:lnTo>
                    <a:pt x="291485" y="2969500"/>
                  </a:lnTo>
                  <a:lnTo>
                    <a:pt x="269219" y="2862218"/>
                  </a:lnTo>
                  <a:lnTo>
                    <a:pt x="255050" y="2758984"/>
                  </a:lnTo>
                  <a:lnTo>
                    <a:pt x="246953" y="2655750"/>
                  </a:lnTo>
                  <a:lnTo>
                    <a:pt x="246953" y="2560612"/>
                  </a:lnTo>
                  <a:lnTo>
                    <a:pt x="259098" y="2475596"/>
                  </a:lnTo>
                  <a:lnTo>
                    <a:pt x="291485" y="2354144"/>
                  </a:lnTo>
                  <a:lnTo>
                    <a:pt x="336018" y="2240789"/>
                  </a:lnTo>
                  <a:lnTo>
                    <a:pt x="384598" y="2127434"/>
                  </a:lnTo>
                  <a:lnTo>
                    <a:pt x="431155" y="2020151"/>
                  </a:lnTo>
                  <a:lnTo>
                    <a:pt x="467591" y="1908820"/>
                  </a:lnTo>
                  <a:lnTo>
                    <a:pt x="479736" y="1831900"/>
                  </a:lnTo>
                  <a:lnTo>
                    <a:pt x="475688" y="1759029"/>
                  </a:lnTo>
                  <a:lnTo>
                    <a:pt x="461518" y="1684134"/>
                  </a:lnTo>
                  <a:lnTo>
                    <a:pt x="435204" y="1619360"/>
                  </a:lnTo>
                  <a:lnTo>
                    <a:pt x="408889" y="1556609"/>
                  </a:lnTo>
                  <a:lnTo>
                    <a:pt x="386623" y="1497908"/>
                  </a:lnTo>
                  <a:lnTo>
                    <a:pt x="368405" y="1439206"/>
                  </a:lnTo>
                  <a:lnTo>
                    <a:pt x="362332" y="1439206"/>
                  </a:lnTo>
                  <a:lnTo>
                    <a:pt x="344114" y="1556609"/>
                  </a:lnTo>
                  <a:lnTo>
                    <a:pt x="317800" y="1669965"/>
                  </a:lnTo>
                  <a:lnTo>
                    <a:pt x="283388" y="1777247"/>
                  </a:lnTo>
                  <a:lnTo>
                    <a:pt x="259098" y="1884530"/>
                  </a:lnTo>
                  <a:lnTo>
                    <a:pt x="246953" y="1961449"/>
                  </a:lnTo>
                  <a:lnTo>
                    <a:pt x="246953" y="2034320"/>
                  </a:lnTo>
                  <a:lnTo>
                    <a:pt x="251001" y="2107192"/>
                  </a:lnTo>
                  <a:lnTo>
                    <a:pt x="251001" y="2182087"/>
                  </a:lnTo>
                  <a:lnTo>
                    <a:pt x="240880" y="2248885"/>
                  </a:lnTo>
                  <a:lnTo>
                    <a:pt x="222662" y="2317708"/>
                  </a:lnTo>
                  <a:lnTo>
                    <a:pt x="192299" y="2390579"/>
                  </a:lnTo>
                  <a:lnTo>
                    <a:pt x="165985" y="2475596"/>
                  </a:lnTo>
                  <a:lnTo>
                    <a:pt x="143718" y="2564661"/>
                  </a:lnTo>
                  <a:lnTo>
                    <a:pt x="129549" y="2653725"/>
                  </a:lnTo>
                  <a:lnTo>
                    <a:pt x="125501" y="2748863"/>
                  </a:lnTo>
                  <a:lnTo>
                    <a:pt x="143718" y="2839952"/>
                  </a:lnTo>
                  <a:lnTo>
                    <a:pt x="218614" y="2937113"/>
                  </a:lnTo>
                  <a:lnTo>
                    <a:pt x="210517" y="2947234"/>
                  </a:lnTo>
                  <a:lnTo>
                    <a:pt x="202420" y="2955331"/>
                  </a:lnTo>
                  <a:lnTo>
                    <a:pt x="202420" y="2961404"/>
                  </a:lnTo>
                  <a:lnTo>
                    <a:pt x="202420" y="2973549"/>
                  </a:lnTo>
                  <a:lnTo>
                    <a:pt x="200396" y="2979621"/>
                  </a:lnTo>
                  <a:lnTo>
                    <a:pt x="200396" y="2995815"/>
                  </a:lnTo>
                  <a:lnTo>
                    <a:pt x="159912" y="2997839"/>
                  </a:lnTo>
                  <a:lnTo>
                    <a:pt x="125501" y="2997839"/>
                  </a:lnTo>
                  <a:lnTo>
                    <a:pt x="97162" y="2997839"/>
                  </a:lnTo>
                  <a:lnTo>
                    <a:pt x="62750" y="3001888"/>
                  </a:lnTo>
                  <a:lnTo>
                    <a:pt x="26315" y="2939137"/>
                  </a:lnTo>
                  <a:lnTo>
                    <a:pt x="8097" y="2880436"/>
                  </a:lnTo>
                  <a:lnTo>
                    <a:pt x="0" y="2817685"/>
                  </a:lnTo>
                  <a:lnTo>
                    <a:pt x="4049" y="2754935"/>
                  </a:lnTo>
                  <a:lnTo>
                    <a:pt x="16194" y="2686112"/>
                  </a:lnTo>
                  <a:lnTo>
                    <a:pt x="30363" y="2613241"/>
                  </a:lnTo>
                  <a:lnTo>
                    <a:pt x="44533" y="2532273"/>
                  </a:lnTo>
                  <a:lnTo>
                    <a:pt x="44533" y="2097071"/>
                  </a:lnTo>
                  <a:lnTo>
                    <a:pt x="125501" y="1520174"/>
                  </a:lnTo>
                  <a:lnTo>
                    <a:pt x="137646" y="1435157"/>
                  </a:lnTo>
                  <a:lnTo>
                    <a:pt x="141694" y="1346093"/>
                  </a:lnTo>
                  <a:lnTo>
                    <a:pt x="141694" y="1261076"/>
                  </a:lnTo>
                  <a:lnTo>
                    <a:pt x="143718" y="1176060"/>
                  </a:lnTo>
                  <a:lnTo>
                    <a:pt x="151815" y="1095092"/>
                  </a:lnTo>
                  <a:lnTo>
                    <a:pt x="170033" y="1026269"/>
                  </a:lnTo>
                  <a:lnTo>
                    <a:pt x="200396" y="963519"/>
                  </a:lnTo>
                  <a:lnTo>
                    <a:pt x="236832" y="927083"/>
                  </a:lnTo>
                  <a:lnTo>
                    <a:pt x="281364" y="900769"/>
                  </a:lnTo>
                  <a:lnTo>
                    <a:pt x="331969" y="882551"/>
                  </a:lnTo>
                  <a:lnTo>
                    <a:pt x="390671" y="868382"/>
                  </a:lnTo>
                  <a:lnTo>
                    <a:pt x="449373" y="852188"/>
                  </a:lnTo>
                  <a:lnTo>
                    <a:pt x="508075" y="833970"/>
                  </a:lnTo>
                  <a:lnTo>
                    <a:pt x="556656" y="815752"/>
                  </a:lnTo>
                  <a:lnTo>
                    <a:pt x="601188" y="787414"/>
                  </a:lnTo>
                  <a:lnTo>
                    <a:pt x="629527" y="750978"/>
                  </a:lnTo>
                  <a:lnTo>
                    <a:pt x="651793" y="702397"/>
                  </a:lnTo>
                  <a:lnTo>
                    <a:pt x="647745" y="657865"/>
                  </a:lnTo>
                  <a:lnTo>
                    <a:pt x="633575" y="613332"/>
                  </a:lnTo>
                  <a:lnTo>
                    <a:pt x="605237" y="568800"/>
                  </a:lnTo>
                  <a:lnTo>
                    <a:pt x="570825" y="528316"/>
                  </a:lnTo>
                  <a:lnTo>
                    <a:pt x="538438" y="487832"/>
                  </a:lnTo>
                  <a:lnTo>
                    <a:pt x="512123" y="447348"/>
                  </a:lnTo>
                  <a:lnTo>
                    <a:pt x="502002" y="410913"/>
                  </a:lnTo>
                  <a:lnTo>
                    <a:pt x="512123" y="386622"/>
                  </a:lnTo>
                  <a:lnTo>
                    <a:pt x="512123" y="352211"/>
                  </a:lnTo>
                  <a:lnTo>
                    <a:pt x="506051" y="311727"/>
                  </a:lnTo>
                  <a:lnTo>
                    <a:pt x="506051" y="275291"/>
                  </a:lnTo>
                  <a:lnTo>
                    <a:pt x="508075" y="234807"/>
                  </a:lnTo>
                  <a:lnTo>
                    <a:pt x="530341" y="168009"/>
                  </a:lnTo>
                  <a:lnTo>
                    <a:pt x="566777" y="109307"/>
                  </a:lnTo>
                  <a:lnTo>
                    <a:pt x="611309" y="54653"/>
                  </a:lnTo>
                  <a:lnTo>
                    <a:pt x="651793" y="607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11" name="Freeform 9">
              <a:extLst>
                <a:ext uri="{FF2B5EF4-FFF2-40B4-BE49-F238E27FC236}">
                  <a16:creationId xmlns:a16="http://schemas.microsoft.com/office/drawing/2014/main" id="{CB319347-A942-AE4B-8549-DD99C3E504E3}"/>
                </a:ext>
              </a:extLst>
            </p:cNvPr>
            <p:cNvSpPr>
              <a:spLocks/>
            </p:cNvSpPr>
            <p:nvPr/>
          </p:nvSpPr>
          <p:spPr bwMode="auto">
            <a:xfrm>
              <a:off x="10351477" y="969639"/>
              <a:ext cx="776821" cy="5534807"/>
            </a:xfrm>
            <a:custGeom>
              <a:avLst/>
              <a:gdLst/>
              <a:ahLst/>
              <a:cxnLst/>
              <a:rect l="l" t="t" r="r" b="b"/>
              <a:pathLst>
                <a:path w="776821" h="5534807">
                  <a:moveTo>
                    <a:pt x="0" y="0"/>
                  </a:moveTo>
                  <a:lnTo>
                    <a:pt x="44060" y="12791"/>
                  </a:lnTo>
                  <a:lnTo>
                    <a:pt x="94665" y="43154"/>
                  </a:lnTo>
                  <a:lnTo>
                    <a:pt x="139197" y="79590"/>
                  </a:lnTo>
                  <a:lnTo>
                    <a:pt x="175633" y="128171"/>
                  </a:lnTo>
                  <a:lnTo>
                    <a:pt x="205996" y="178776"/>
                  </a:lnTo>
                  <a:lnTo>
                    <a:pt x="224214" y="237478"/>
                  </a:lnTo>
                  <a:lnTo>
                    <a:pt x="224214" y="358930"/>
                  </a:lnTo>
                  <a:lnTo>
                    <a:pt x="250528" y="393341"/>
                  </a:lnTo>
                  <a:lnTo>
                    <a:pt x="238383" y="435849"/>
                  </a:lnTo>
                  <a:lnTo>
                    <a:pt x="224214" y="474309"/>
                  </a:lnTo>
                  <a:lnTo>
                    <a:pt x="201948" y="506696"/>
                  </a:lnTo>
                  <a:lnTo>
                    <a:pt x="183730" y="537059"/>
                  </a:lnTo>
                  <a:lnTo>
                    <a:pt x="161464" y="569446"/>
                  </a:lnTo>
                  <a:lnTo>
                    <a:pt x="143246" y="601833"/>
                  </a:lnTo>
                  <a:lnTo>
                    <a:pt x="135149" y="642317"/>
                  </a:lnTo>
                  <a:lnTo>
                    <a:pt x="133125" y="694947"/>
                  </a:lnTo>
                  <a:lnTo>
                    <a:pt x="143246" y="757697"/>
                  </a:lnTo>
                  <a:lnTo>
                    <a:pt x="191827" y="775915"/>
                  </a:lnTo>
                  <a:lnTo>
                    <a:pt x="250528" y="798181"/>
                  </a:lnTo>
                  <a:lnTo>
                    <a:pt x="313279" y="816399"/>
                  </a:lnTo>
                  <a:lnTo>
                    <a:pt x="376029" y="838665"/>
                  </a:lnTo>
                  <a:lnTo>
                    <a:pt x="436755" y="860931"/>
                  </a:lnTo>
                  <a:lnTo>
                    <a:pt x="493433" y="889270"/>
                  </a:lnTo>
                  <a:lnTo>
                    <a:pt x="537965" y="919633"/>
                  </a:lnTo>
                  <a:lnTo>
                    <a:pt x="574401" y="960117"/>
                  </a:lnTo>
                  <a:lnTo>
                    <a:pt x="602740" y="1022867"/>
                  </a:lnTo>
                  <a:lnTo>
                    <a:pt x="618933" y="1091690"/>
                  </a:lnTo>
                  <a:lnTo>
                    <a:pt x="620957" y="1168609"/>
                  </a:lnTo>
                  <a:lnTo>
                    <a:pt x="625006" y="1249577"/>
                  </a:lnTo>
                  <a:lnTo>
                    <a:pt x="625006" y="1334594"/>
                  </a:lnTo>
                  <a:lnTo>
                    <a:pt x="637151" y="1419610"/>
                  </a:lnTo>
                  <a:lnTo>
                    <a:pt x="659417" y="1569401"/>
                  </a:lnTo>
                  <a:lnTo>
                    <a:pt x="677635" y="1725264"/>
                  </a:lnTo>
                  <a:lnTo>
                    <a:pt x="695853" y="1873031"/>
                  </a:lnTo>
                  <a:lnTo>
                    <a:pt x="718119" y="2012700"/>
                  </a:lnTo>
                  <a:lnTo>
                    <a:pt x="724192" y="2383129"/>
                  </a:lnTo>
                  <a:lnTo>
                    <a:pt x="724192" y="2553162"/>
                  </a:lnTo>
                  <a:lnTo>
                    <a:pt x="736337" y="2593646"/>
                  </a:lnTo>
                  <a:lnTo>
                    <a:pt x="746458" y="2642226"/>
                  </a:lnTo>
                  <a:lnTo>
                    <a:pt x="758603" y="2692831"/>
                  </a:lnTo>
                  <a:lnTo>
                    <a:pt x="764676" y="2747485"/>
                  </a:lnTo>
                  <a:lnTo>
                    <a:pt x="772773" y="2804162"/>
                  </a:lnTo>
                  <a:lnTo>
                    <a:pt x="776821" y="2854767"/>
                  </a:lnTo>
                  <a:lnTo>
                    <a:pt x="768724" y="2903348"/>
                  </a:lnTo>
                  <a:lnTo>
                    <a:pt x="754555" y="2939784"/>
                  </a:lnTo>
                  <a:lnTo>
                    <a:pt x="724192" y="2972171"/>
                  </a:lnTo>
                  <a:lnTo>
                    <a:pt x="683708" y="2990389"/>
                  </a:lnTo>
                  <a:lnTo>
                    <a:pt x="665490" y="2980268"/>
                  </a:lnTo>
                  <a:lnTo>
                    <a:pt x="637151" y="2980268"/>
                  </a:lnTo>
                  <a:lnTo>
                    <a:pt x="602740" y="2984316"/>
                  </a:lnTo>
                  <a:lnTo>
                    <a:pt x="574401" y="2984316"/>
                  </a:lnTo>
                  <a:lnTo>
                    <a:pt x="556183" y="2909421"/>
                  </a:lnTo>
                  <a:lnTo>
                    <a:pt x="592619" y="2877033"/>
                  </a:lnTo>
                  <a:lnTo>
                    <a:pt x="610836" y="2844646"/>
                  </a:lnTo>
                  <a:lnTo>
                    <a:pt x="614885" y="2810235"/>
                  </a:lnTo>
                  <a:lnTo>
                    <a:pt x="614885" y="2765702"/>
                  </a:lnTo>
                  <a:lnTo>
                    <a:pt x="614885" y="2719146"/>
                  </a:lnTo>
                  <a:lnTo>
                    <a:pt x="620957" y="2660444"/>
                  </a:lnTo>
                  <a:lnTo>
                    <a:pt x="629054" y="2630081"/>
                  </a:lnTo>
                  <a:lnTo>
                    <a:pt x="639175" y="2593646"/>
                  </a:lnTo>
                  <a:lnTo>
                    <a:pt x="637151" y="2553162"/>
                  </a:lnTo>
                  <a:lnTo>
                    <a:pt x="521772" y="2207023"/>
                  </a:lnTo>
                  <a:lnTo>
                    <a:pt x="515699" y="1879103"/>
                  </a:lnTo>
                  <a:lnTo>
                    <a:pt x="452949" y="1662514"/>
                  </a:lnTo>
                  <a:lnTo>
                    <a:pt x="444852" y="1626078"/>
                  </a:lnTo>
                  <a:lnTo>
                    <a:pt x="436755" y="1585594"/>
                  </a:lnTo>
                  <a:lnTo>
                    <a:pt x="434731" y="1541062"/>
                  </a:lnTo>
                  <a:lnTo>
                    <a:pt x="426634" y="1496529"/>
                  </a:lnTo>
                  <a:lnTo>
                    <a:pt x="412465" y="1460094"/>
                  </a:lnTo>
                  <a:lnTo>
                    <a:pt x="394247" y="1433779"/>
                  </a:lnTo>
                  <a:lnTo>
                    <a:pt x="382102" y="1488433"/>
                  </a:lnTo>
                  <a:lnTo>
                    <a:pt x="367932" y="1541062"/>
                  </a:lnTo>
                  <a:lnTo>
                    <a:pt x="345666" y="1591667"/>
                  </a:lnTo>
                  <a:lnTo>
                    <a:pt x="323400" y="1648344"/>
                  </a:lnTo>
                  <a:lnTo>
                    <a:pt x="305182" y="1707046"/>
                  </a:lnTo>
                  <a:lnTo>
                    <a:pt x="295061" y="1769796"/>
                  </a:lnTo>
                  <a:lnTo>
                    <a:pt x="295061" y="1834571"/>
                  </a:lnTo>
                  <a:lnTo>
                    <a:pt x="305182" y="1905418"/>
                  </a:lnTo>
                  <a:lnTo>
                    <a:pt x="327448" y="1978289"/>
                  </a:lnTo>
                  <a:lnTo>
                    <a:pt x="355787" y="2049136"/>
                  </a:lnTo>
                  <a:lnTo>
                    <a:pt x="390198" y="2117959"/>
                  </a:lnTo>
                  <a:lnTo>
                    <a:pt x="426634" y="2192854"/>
                  </a:lnTo>
                  <a:lnTo>
                    <a:pt x="459021" y="2265725"/>
                  </a:lnTo>
                  <a:lnTo>
                    <a:pt x="489384" y="2346693"/>
                  </a:lnTo>
                  <a:lnTo>
                    <a:pt x="511650" y="2431710"/>
                  </a:lnTo>
                  <a:lnTo>
                    <a:pt x="525820" y="2520774"/>
                  </a:lnTo>
                  <a:lnTo>
                    <a:pt x="529868" y="2619960"/>
                  </a:lnTo>
                  <a:lnTo>
                    <a:pt x="515699" y="2723194"/>
                  </a:lnTo>
                  <a:lnTo>
                    <a:pt x="400319" y="3389156"/>
                  </a:lnTo>
                  <a:lnTo>
                    <a:pt x="416513" y="3498463"/>
                  </a:lnTo>
                  <a:lnTo>
                    <a:pt x="434731" y="3615866"/>
                  </a:lnTo>
                  <a:lnTo>
                    <a:pt x="452949" y="3735294"/>
                  </a:lnTo>
                  <a:lnTo>
                    <a:pt x="471166" y="3858770"/>
                  </a:lnTo>
                  <a:lnTo>
                    <a:pt x="471166" y="3980222"/>
                  </a:lnTo>
                  <a:lnTo>
                    <a:pt x="459021" y="4105722"/>
                  </a:lnTo>
                  <a:lnTo>
                    <a:pt x="353763" y="4684643"/>
                  </a:lnTo>
                  <a:lnTo>
                    <a:pt x="337569" y="4747394"/>
                  </a:lnTo>
                  <a:lnTo>
                    <a:pt x="323400" y="4820265"/>
                  </a:lnTo>
                  <a:lnTo>
                    <a:pt x="309230" y="4897184"/>
                  </a:lnTo>
                  <a:lnTo>
                    <a:pt x="305182" y="4974104"/>
                  </a:lnTo>
                  <a:lnTo>
                    <a:pt x="313279" y="5055072"/>
                  </a:lnTo>
                  <a:lnTo>
                    <a:pt x="400319" y="5445742"/>
                  </a:lnTo>
                  <a:lnTo>
                    <a:pt x="353763" y="5476105"/>
                  </a:lnTo>
                  <a:lnTo>
                    <a:pt x="301134" y="5500396"/>
                  </a:lnTo>
                  <a:lnTo>
                    <a:pt x="242432" y="5522662"/>
                  </a:lnTo>
                  <a:lnTo>
                    <a:pt x="175633" y="5534807"/>
                  </a:lnTo>
                  <a:lnTo>
                    <a:pt x="153367" y="5482178"/>
                  </a:lnTo>
                  <a:lnTo>
                    <a:pt x="143246" y="5427525"/>
                  </a:lnTo>
                  <a:lnTo>
                    <a:pt x="139197" y="5364774"/>
                  </a:lnTo>
                  <a:lnTo>
                    <a:pt x="143246" y="5302024"/>
                  </a:lnTo>
                  <a:lnTo>
                    <a:pt x="147294" y="5233201"/>
                  </a:lnTo>
                  <a:lnTo>
                    <a:pt x="143246" y="5162354"/>
                  </a:lnTo>
                  <a:lnTo>
                    <a:pt x="135149" y="5095556"/>
                  </a:lnTo>
                  <a:lnTo>
                    <a:pt x="129076" y="5032806"/>
                  </a:lnTo>
                  <a:lnTo>
                    <a:pt x="133125" y="4970056"/>
                  </a:lnTo>
                  <a:lnTo>
                    <a:pt x="143246" y="4909330"/>
                  </a:lnTo>
                  <a:lnTo>
                    <a:pt x="153367" y="4842531"/>
                  </a:lnTo>
                  <a:lnTo>
                    <a:pt x="169560" y="4771684"/>
                  </a:lnTo>
                  <a:lnTo>
                    <a:pt x="175633" y="4698813"/>
                  </a:lnTo>
                  <a:lnTo>
                    <a:pt x="175633" y="4617845"/>
                  </a:lnTo>
                  <a:lnTo>
                    <a:pt x="169560" y="4528780"/>
                  </a:lnTo>
                  <a:lnTo>
                    <a:pt x="147294" y="4425546"/>
                  </a:lnTo>
                  <a:lnTo>
                    <a:pt x="129076" y="4312191"/>
                  </a:lnTo>
                  <a:lnTo>
                    <a:pt x="110859" y="4186690"/>
                  </a:lnTo>
                  <a:lnTo>
                    <a:pt x="106810" y="4061190"/>
                  </a:lnTo>
                  <a:lnTo>
                    <a:pt x="116931" y="3937714"/>
                  </a:lnTo>
                  <a:lnTo>
                    <a:pt x="129076" y="3885085"/>
                  </a:lnTo>
                  <a:lnTo>
                    <a:pt x="143246" y="3822334"/>
                  </a:lnTo>
                  <a:lnTo>
                    <a:pt x="147294" y="3759584"/>
                  </a:lnTo>
                  <a:lnTo>
                    <a:pt x="143246" y="3694810"/>
                  </a:lnTo>
                  <a:lnTo>
                    <a:pt x="110859" y="3538947"/>
                  </a:lnTo>
                  <a:lnTo>
                    <a:pt x="76447" y="3385107"/>
                  </a:lnTo>
                  <a:lnTo>
                    <a:pt x="44060" y="3223171"/>
                  </a:lnTo>
                  <a:lnTo>
                    <a:pt x="21794" y="3057187"/>
                  </a:lnTo>
                  <a:lnTo>
                    <a:pt x="7624" y="2885130"/>
                  </a:lnTo>
                  <a:lnTo>
                    <a:pt x="0" y="2885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grpSp>
        <p:nvGrpSpPr>
          <p:cNvPr id="12" name="Group 11">
            <a:extLst>
              <a:ext uri="{FF2B5EF4-FFF2-40B4-BE49-F238E27FC236}">
                <a16:creationId xmlns:a16="http://schemas.microsoft.com/office/drawing/2014/main" id="{C2B57243-A850-BE42-B8D9-A8553FDF964B}"/>
              </a:ext>
            </a:extLst>
          </p:cNvPr>
          <p:cNvGrpSpPr/>
          <p:nvPr/>
        </p:nvGrpSpPr>
        <p:grpSpPr>
          <a:xfrm>
            <a:off x="7093396" y="1821453"/>
            <a:ext cx="3004112" cy="2271288"/>
            <a:chOff x="384518" y="800016"/>
            <a:chExt cx="4279063" cy="3235226"/>
          </a:xfrm>
        </p:grpSpPr>
        <p:sp>
          <p:nvSpPr>
            <p:cNvPr id="13" name="Oval 12">
              <a:extLst>
                <a:ext uri="{FF2B5EF4-FFF2-40B4-BE49-F238E27FC236}">
                  <a16:creationId xmlns:a16="http://schemas.microsoft.com/office/drawing/2014/main" id="{AEAE55E7-454D-714F-88CA-04E680ED2C94}"/>
                </a:ext>
              </a:extLst>
            </p:cNvPr>
            <p:cNvSpPr/>
            <p:nvPr/>
          </p:nvSpPr>
          <p:spPr>
            <a:xfrm rot="16200000">
              <a:off x="2284394" y="318345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 name="Oval 13">
              <a:extLst>
                <a:ext uri="{FF2B5EF4-FFF2-40B4-BE49-F238E27FC236}">
                  <a16:creationId xmlns:a16="http://schemas.microsoft.com/office/drawing/2014/main" id="{5A610B07-E813-9841-A0D2-DA6A261E774D}"/>
                </a:ext>
              </a:extLst>
            </p:cNvPr>
            <p:cNvSpPr/>
            <p:nvPr/>
          </p:nvSpPr>
          <p:spPr>
            <a:xfrm rot="16200000">
              <a:off x="2388024" y="312505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 name="Oval 14">
              <a:extLst>
                <a:ext uri="{FF2B5EF4-FFF2-40B4-BE49-F238E27FC236}">
                  <a16:creationId xmlns:a16="http://schemas.microsoft.com/office/drawing/2014/main" id="{CD64837F-043B-904A-9F6A-1A032F2683CC}"/>
                </a:ext>
              </a:extLst>
            </p:cNvPr>
            <p:cNvSpPr/>
            <p:nvPr/>
          </p:nvSpPr>
          <p:spPr>
            <a:xfrm rot="16200000">
              <a:off x="2065301" y="332818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 name="Oval 15">
              <a:extLst>
                <a:ext uri="{FF2B5EF4-FFF2-40B4-BE49-F238E27FC236}">
                  <a16:creationId xmlns:a16="http://schemas.microsoft.com/office/drawing/2014/main" id="{CF8A943D-8647-5541-9796-72BE26D676AF}"/>
                </a:ext>
              </a:extLst>
            </p:cNvPr>
            <p:cNvSpPr/>
            <p:nvPr/>
          </p:nvSpPr>
          <p:spPr>
            <a:xfrm rot="5400000">
              <a:off x="2136445" y="3167076"/>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 name="Oval 16">
              <a:extLst>
                <a:ext uri="{FF2B5EF4-FFF2-40B4-BE49-F238E27FC236}">
                  <a16:creationId xmlns:a16="http://schemas.microsoft.com/office/drawing/2014/main" id="{A86BD928-CE93-E348-8005-59652E30FA16}"/>
                </a:ext>
              </a:extLst>
            </p:cNvPr>
            <p:cNvSpPr/>
            <p:nvPr/>
          </p:nvSpPr>
          <p:spPr>
            <a:xfrm rot="5400000">
              <a:off x="2322791" y="342971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 name="Oval 17">
              <a:extLst>
                <a:ext uri="{FF2B5EF4-FFF2-40B4-BE49-F238E27FC236}">
                  <a16:creationId xmlns:a16="http://schemas.microsoft.com/office/drawing/2014/main" id="{B12E76DF-64B4-344F-8906-D6658F379861}"/>
                </a:ext>
              </a:extLst>
            </p:cNvPr>
            <p:cNvSpPr/>
            <p:nvPr/>
          </p:nvSpPr>
          <p:spPr>
            <a:xfrm rot="5400000">
              <a:off x="2346003" y="331028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 name="Oval 18">
              <a:extLst>
                <a:ext uri="{FF2B5EF4-FFF2-40B4-BE49-F238E27FC236}">
                  <a16:creationId xmlns:a16="http://schemas.microsoft.com/office/drawing/2014/main" id="{42412A35-896D-214B-A64E-64F9FD7A778A}"/>
                </a:ext>
              </a:extLst>
            </p:cNvPr>
            <p:cNvSpPr/>
            <p:nvPr/>
          </p:nvSpPr>
          <p:spPr>
            <a:xfrm rot="5400000">
              <a:off x="2479082" y="3203700"/>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 name="Oval 19">
              <a:extLst>
                <a:ext uri="{FF2B5EF4-FFF2-40B4-BE49-F238E27FC236}">
                  <a16:creationId xmlns:a16="http://schemas.microsoft.com/office/drawing/2014/main" id="{1C45892A-C6B6-8249-A106-9F4E74E9018F}"/>
                </a:ext>
              </a:extLst>
            </p:cNvPr>
            <p:cNvSpPr/>
            <p:nvPr/>
          </p:nvSpPr>
          <p:spPr>
            <a:xfrm rot="5400000">
              <a:off x="2200113" y="338543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 name="Oval 20">
              <a:extLst>
                <a:ext uri="{FF2B5EF4-FFF2-40B4-BE49-F238E27FC236}">
                  <a16:creationId xmlns:a16="http://schemas.microsoft.com/office/drawing/2014/main" id="{8FCE404D-AD6A-C74F-ADA8-5D89A422EBC2}"/>
                </a:ext>
              </a:extLst>
            </p:cNvPr>
            <p:cNvSpPr/>
            <p:nvPr/>
          </p:nvSpPr>
          <p:spPr>
            <a:xfrm rot="16200000">
              <a:off x="2146009" y="331089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 name="Oval 21">
              <a:extLst>
                <a:ext uri="{FF2B5EF4-FFF2-40B4-BE49-F238E27FC236}">
                  <a16:creationId xmlns:a16="http://schemas.microsoft.com/office/drawing/2014/main" id="{A7C89813-5610-4249-BBB5-B7EE8AA569E4}"/>
                </a:ext>
              </a:extLst>
            </p:cNvPr>
            <p:cNvSpPr/>
            <p:nvPr/>
          </p:nvSpPr>
          <p:spPr>
            <a:xfrm rot="16200000">
              <a:off x="2436219" y="3513553"/>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 name="Oval 22">
              <a:extLst>
                <a:ext uri="{FF2B5EF4-FFF2-40B4-BE49-F238E27FC236}">
                  <a16:creationId xmlns:a16="http://schemas.microsoft.com/office/drawing/2014/main" id="{B10600A9-62BA-8646-ADAD-5B3A49042C7E}"/>
                </a:ext>
              </a:extLst>
            </p:cNvPr>
            <p:cNvSpPr/>
            <p:nvPr/>
          </p:nvSpPr>
          <p:spPr>
            <a:xfrm rot="16200000">
              <a:off x="2242373" y="3277237"/>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 name="Oval 23">
              <a:extLst>
                <a:ext uri="{FF2B5EF4-FFF2-40B4-BE49-F238E27FC236}">
                  <a16:creationId xmlns:a16="http://schemas.microsoft.com/office/drawing/2014/main" id="{074075B2-76F2-BA42-A872-C77C0ECB8759}"/>
                </a:ext>
              </a:extLst>
            </p:cNvPr>
            <p:cNvSpPr/>
            <p:nvPr/>
          </p:nvSpPr>
          <p:spPr>
            <a:xfrm rot="5400000">
              <a:off x="2065605" y="324786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 name="Oval 24">
              <a:extLst>
                <a:ext uri="{FF2B5EF4-FFF2-40B4-BE49-F238E27FC236}">
                  <a16:creationId xmlns:a16="http://schemas.microsoft.com/office/drawing/2014/main" id="{5D62CD0C-5B5E-EF43-AEAA-3F6A95D5D67E}"/>
                </a:ext>
              </a:extLst>
            </p:cNvPr>
            <p:cNvSpPr/>
            <p:nvPr/>
          </p:nvSpPr>
          <p:spPr>
            <a:xfrm rot="5400000">
              <a:off x="2378647" y="3228477"/>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 name="Oval 25">
              <a:extLst>
                <a:ext uri="{FF2B5EF4-FFF2-40B4-BE49-F238E27FC236}">
                  <a16:creationId xmlns:a16="http://schemas.microsoft.com/office/drawing/2014/main" id="{3D6142C4-A69C-CD49-BB54-424274B0D9B7}"/>
                </a:ext>
              </a:extLst>
            </p:cNvPr>
            <p:cNvSpPr/>
            <p:nvPr/>
          </p:nvSpPr>
          <p:spPr>
            <a:xfrm rot="5400000">
              <a:off x="2007155" y="3389073"/>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 name="Oval 26">
              <a:extLst>
                <a:ext uri="{FF2B5EF4-FFF2-40B4-BE49-F238E27FC236}">
                  <a16:creationId xmlns:a16="http://schemas.microsoft.com/office/drawing/2014/main" id="{F1C7CCB6-08E7-7A49-9FF5-260976543F80}"/>
                </a:ext>
              </a:extLst>
            </p:cNvPr>
            <p:cNvSpPr/>
            <p:nvPr/>
          </p:nvSpPr>
          <p:spPr>
            <a:xfrm rot="5400000">
              <a:off x="2458552" y="3298066"/>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 name="Oval 27">
              <a:extLst>
                <a:ext uri="{FF2B5EF4-FFF2-40B4-BE49-F238E27FC236}">
                  <a16:creationId xmlns:a16="http://schemas.microsoft.com/office/drawing/2014/main" id="{DE83EB74-3316-B940-BBC1-6D95AF4F2F60}"/>
                </a:ext>
              </a:extLst>
            </p:cNvPr>
            <p:cNvSpPr/>
            <p:nvPr/>
          </p:nvSpPr>
          <p:spPr>
            <a:xfrm rot="16200000">
              <a:off x="2204208" y="3462065"/>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 name="Oval 28">
              <a:extLst>
                <a:ext uri="{FF2B5EF4-FFF2-40B4-BE49-F238E27FC236}">
                  <a16:creationId xmlns:a16="http://schemas.microsoft.com/office/drawing/2014/main" id="{4C91D9ED-6173-1244-A0E2-C608C652BB52}"/>
                </a:ext>
              </a:extLst>
            </p:cNvPr>
            <p:cNvSpPr/>
            <p:nvPr/>
          </p:nvSpPr>
          <p:spPr>
            <a:xfrm rot="5400000">
              <a:off x="2280483" y="3368649"/>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 name="Oval 29">
              <a:extLst>
                <a:ext uri="{FF2B5EF4-FFF2-40B4-BE49-F238E27FC236}">
                  <a16:creationId xmlns:a16="http://schemas.microsoft.com/office/drawing/2014/main" id="{64CAF05F-F232-E047-8020-96F4B95E7B04}"/>
                </a:ext>
              </a:extLst>
            </p:cNvPr>
            <p:cNvSpPr/>
            <p:nvPr/>
          </p:nvSpPr>
          <p:spPr>
            <a:xfrm rot="5400000">
              <a:off x="2117624" y="3405145"/>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 name="Oval 30">
              <a:extLst>
                <a:ext uri="{FF2B5EF4-FFF2-40B4-BE49-F238E27FC236}">
                  <a16:creationId xmlns:a16="http://schemas.microsoft.com/office/drawing/2014/main" id="{3749FEC8-5FB5-2F48-B2A6-025EF62743DD}"/>
                </a:ext>
              </a:extLst>
            </p:cNvPr>
            <p:cNvSpPr/>
            <p:nvPr/>
          </p:nvSpPr>
          <p:spPr>
            <a:xfrm rot="5400000">
              <a:off x="2422672" y="3388593"/>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 name="Oval 31">
              <a:extLst>
                <a:ext uri="{FF2B5EF4-FFF2-40B4-BE49-F238E27FC236}">
                  <a16:creationId xmlns:a16="http://schemas.microsoft.com/office/drawing/2014/main" id="{715A9D3B-0433-E248-B977-CA38DB647885}"/>
                </a:ext>
              </a:extLst>
            </p:cNvPr>
            <p:cNvSpPr/>
            <p:nvPr/>
          </p:nvSpPr>
          <p:spPr>
            <a:xfrm rot="16200000">
              <a:off x="2172171" y="3571253"/>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 name="Oval 32">
              <a:extLst>
                <a:ext uri="{FF2B5EF4-FFF2-40B4-BE49-F238E27FC236}">
                  <a16:creationId xmlns:a16="http://schemas.microsoft.com/office/drawing/2014/main" id="{1B92D937-EAD0-8B4F-BE79-9C2FDA3EBC31}"/>
                </a:ext>
              </a:extLst>
            </p:cNvPr>
            <p:cNvSpPr/>
            <p:nvPr/>
          </p:nvSpPr>
          <p:spPr>
            <a:xfrm rot="16200000">
              <a:off x="1925771" y="355283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 name="Oval 33">
              <a:extLst>
                <a:ext uri="{FF2B5EF4-FFF2-40B4-BE49-F238E27FC236}">
                  <a16:creationId xmlns:a16="http://schemas.microsoft.com/office/drawing/2014/main" id="{E2E7048A-B674-8943-8790-32D0101D7EBA}"/>
                </a:ext>
              </a:extLst>
            </p:cNvPr>
            <p:cNvSpPr/>
            <p:nvPr/>
          </p:nvSpPr>
          <p:spPr>
            <a:xfrm rot="16200000">
              <a:off x="1953078" y="371598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 name="Oval 34">
              <a:extLst>
                <a:ext uri="{FF2B5EF4-FFF2-40B4-BE49-F238E27FC236}">
                  <a16:creationId xmlns:a16="http://schemas.microsoft.com/office/drawing/2014/main" id="{609F9F47-CEFA-AB45-9A99-AB45D6EC5789}"/>
                </a:ext>
              </a:extLst>
            </p:cNvPr>
            <p:cNvSpPr/>
            <p:nvPr/>
          </p:nvSpPr>
          <p:spPr>
            <a:xfrm rot="5400000">
              <a:off x="2024222" y="3554874"/>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 name="Oval 35">
              <a:extLst>
                <a:ext uri="{FF2B5EF4-FFF2-40B4-BE49-F238E27FC236}">
                  <a16:creationId xmlns:a16="http://schemas.microsoft.com/office/drawing/2014/main" id="{EE93BB10-C2C2-2843-9F40-7DBB594FBAA2}"/>
                </a:ext>
              </a:extLst>
            </p:cNvPr>
            <p:cNvSpPr/>
            <p:nvPr/>
          </p:nvSpPr>
          <p:spPr>
            <a:xfrm rot="5400000">
              <a:off x="2233780" y="3698083"/>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 name="Oval 36">
              <a:extLst>
                <a:ext uri="{FF2B5EF4-FFF2-40B4-BE49-F238E27FC236}">
                  <a16:creationId xmlns:a16="http://schemas.microsoft.com/office/drawing/2014/main" id="{970A9D09-6E12-0749-BCB1-0E54FB9C7B5E}"/>
                </a:ext>
              </a:extLst>
            </p:cNvPr>
            <p:cNvSpPr/>
            <p:nvPr/>
          </p:nvSpPr>
          <p:spPr>
            <a:xfrm rot="5400000">
              <a:off x="2317205" y="354870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 name="Oval 37">
              <a:extLst>
                <a:ext uri="{FF2B5EF4-FFF2-40B4-BE49-F238E27FC236}">
                  <a16:creationId xmlns:a16="http://schemas.microsoft.com/office/drawing/2014/main" id="{9DA00EB6-7711-A541-A57A-71F0A93790A1}"/>
                </a:ext>
              </a:extLst>
            </p:cNvPr>
            <p:cNvSpPr/>
            <p:nvPr/>
          </p:nvSpPr>
          <p:spPr>
            <a:xfrm rot="5400000">
              <a:off x="2087890" y="3773235"/>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 name="Oval 38">
              <a:extLst>
                <a:ext uri="{FF2B5EF4-FFF2-40B4-BE49-F238E27FC236}">
                  <a16:creationId xmlns:a16="http://schemas.microsoft.com/office/drawing/2014/main" id="{E57011CB-C060-D54B-ABA4-18CD4C5911B8}"/>
                </a:ext>
              </a:extLst>
            </p:cNvPr>
            <p:cNvSpPr/>
            <p:nvPr/>
          </p:nvSpPr>
          <p:spPr>
            <a:xfrm rot="16200000">
              <a:off x="2033785" y="369869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 name="Oval 39">
              <a:extLst>
                <a:ext uri="{FF2B5EF4-FFF2-40B4-BE49-F238E27FC236}">
                  <a16:creationId xmlns:a16="http://schemas.microsoft.com/office/drawing/2014/main" id="{CC39721F-31CF-1146-AB22-C2ABD348CE50}"/>
                </a:ext>
              </a:extLst>
            </p:cNvPr>
            <p:cNvSpPr/>
            <p:nvPr/>
          </p:nvSpPr>
          <p:spPr>
            <a:xfrm rot="16200000">
              <a:off x="2110819" y="3486598"/>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 name="Oval 40">
              <a:extLst>
                <a:ext uri="{FF2B5EF4-FFF2-40B4-BE49-F238E27FC236}">
                  <a16:creationId xmlns:a16="http://schemas.microsoft.com/office/drawing/2014/main" id="{36CDD18B-7974-BB46-855F-6F1815E3F55A}"/>
                </a:ext>
              </a:extLst>
            </p:cNvPr>
            <p:cNvSpPr/>
            <p:nvPr/>
          </p:nvSpPr>
          <p:spPr>
            <a:xfrm rot="16200000">
              <a:off x="2130150" y="3665035"/>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 name="Oval 41">
              <a:extLst>
                <a:ext uri="{FF2B5EF4-FFF2-40B4-BE49-F238E27FC236}">
                  <a16:creationId xmlns:a16="http://schemas.microsoft.com/office/drawing/2014/main" id="{63EFD496-0671-F048-87FB-475C8B0A40A2}"/>
                </a:ext>
              </a:extLst>
            </p:cNvPr>
            <p:cNvSpPr/>
            <p:nvPr/>
          </p:nvSpPr>
          <p:spPr>
            <a:xfrm rot="5400000">
              <a:off x="1953382" y="3635659"/>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 name="Oval 42">
              <a:extLst>
                <a:ext uri="{FF2B5EF4-FFF2-40B4-BE49-F238E27FC236}">
                  <a16:creationId xmlns:a16="http://schemas.microsoft.com/office/drawing/2014/main" id="{F1CFFDA2-965C-B947-A9EE-B996CE27019A}"/>
                </a:ext>
              </a:extLst>
            </p:cNvPr>
            <p:cNvSpPr/>
            <p:nvPr/>
          </p:nvSpPr>
          <p:spPr>
            <a:xfrm rot="5400000">
              <a:off x="2266423" y="3616275"/>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 name="Oval 43">
              <a:extLst>
                <a:ext uri="{FF2B5EF4-FFF2-40B4-BE49-F238E27FC236}">
                  <a16:creationId xmlns:a16="http://schemas.microsoft.com/office/drawing/2014/main" id="{9FE6D505-8588-9042-8E32-2B15D1A862D8}"/>
                </a:ext>
              </a:extLst>
            </p:cNvPr>
            <p:cNvSpPr/>
            <p:nvPr/>
          </p:nvSpPr>
          <p:spPr>
            <a:xfrm rot="5400000">
              <a:off x="2001155" y="3490410"/>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 name="Oval 44">
              <a:extLst>
                <a:ext uri="{FF2B5EF4-FFF2-40B4-BE49-F238E27FC236}">
                  <a16:creationId xmlns:a16="http://schemas.microsoft.com/office/drawing/2014/main" id="{F900CDD9-A33C-AE49-A870-47AA33E68BF0}"/>
                </a:ext>
              </a:extLst>
            </p:cNvPr>
            <p:cNvSpPr/>
            <p:nvPr/>
          </p:nvSpPr>
          <p:spPr>
            <a:xfrm rot="5400000">
              <a:off x="2746653" y="3329358"/>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6" name="Oval 45">
              <a:extLst>
                <a:ext uri="{FF2B5EF4-FFF2-40B4-BE49-F238E27FC236}">
                  <a16:creationId xmlns:a16="http://schemas.microsoft.com/office/drawing/2014/main" id="{501A681B-336B-E449-8E9B-521C084742BA}"/>
                </a:ext>
              </a:extLst>
            </p:cNvPr>
            <p:cNvSpPr/>
            <p:nvPr/>
          </p:nvSpPr>
          <p:spPr>
            <a:xfrm rot="5400000">
              <a:off x="2168260" y="3756447"/>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7" name="Oval 46">
              <a:extLst>
                <a:ext uri="{FF2B5EF4-FFF2-40B4-BE49-F238E27FC236}">
                  <a16:creationId xmlns:a16="http://schemas.microsoft.com/office/drawing/2014/main" id="{151622CE-2830-E848-999E-8C144D528230}"/>
                </a:ext>
              </a:extLst>
            </p:cNvPr>
            <p:cNvSpPr/>
            <p:nvPr/>
          </p:nvSpPr>
          <p:spPr>
            <a:xfrm rot="5400000">
              <a:off x="2310448" y="3776391"/>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8" name="Oval 47">
              <a:extLst>
                <a:ext uri="{FF2B5EF4-FFF2-40B4-BE49-F238E27FC236}">
                  <a16:creationId xmlns:a16="http://schemas.microsoft.com/office/drawing/2014/main" id="{735D4657-5456-CD45-B6CF-94D14316F576}"/>
                </a:ext>
              </a:extLst>
            </p:cNvPr>
            <p:cNvSpPr/>
            <p:nvPr/>
          </p:nvSpPr>
          <p:spPr>
            <a:xfrm rot="15196595">
              <a:off x="2175207" y="2454781"/>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9" name="Oval 48">
              <a:extLst>
                <a:ext uri="{FF2B5EF4-FFF2-40B4-BE49-F238E27FC236}">
                  <a16:creationId xmlns:a16="http://schemas.microsoft.com/office/drawing/2014/main" id="{B8151BA8-8CC3-4A44-AD21-4FAB866FE864}"/>
                </a:ext>
              </a:extLst>
            </p:cNvPr>
            <p:cNvSpPr/>
            <p:nvPr/>
          </p:nvSpPr>
          <p:spPr>
            <a:xfrm rot="15196595">
              <a:off x="2256360" y="237076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0" name="Oval 49">
              <a:extLst>
                <a:ext uri="{FF2B5EF4-FFF2-40B4-BE49-F238E27FC236}">
                  <a16:creationId xmlns:a16="http://schemas.microsoft.com/office/drawing/2014/main" id="{CE4A9024-9D5A-894D-BB4C-D9A934349A33}"/>
                </a:ext>
              </a:extLst>
            </p:cNvPr>
            <p:cNvSpPr/>
            <p:nvPr/>
          </p:nvSpPr>
          <p:spPr>
            <a:xfrm rot="15196595">
              <a:off x="2004449" y="2659904"/>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1" name="Oval 50">
              <a:extLst>
                <a:ext uri="{FF2B5EF4-FFF2-40B4-BE49-F238E27FC236}">
                  <a16:creationId xmlns:a16="http://schemas.microsoft.com/office/drawing/2014/main" id="{CA7313AE-C8B9-4E4F-BCE2-0A9E20DC34B4}"/>
                </a:ext>
              </a:extLst>
            </p:cNvPr>
            <p:cNvSpPr/>
            <p:nvPr/>
          </p:nvSpPr>
          <p:spPr>
            <a:xfrm rot="4396595">
              <a:off x="2031381" y="2478200"/>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2" name="Oval 51">
              <a:extLst>
                <a:ext uri="{FF2B5EF4-FFF2-40B4-BE49-F238E27FC236}">
                  <a16:creationId xmlns:a16="http://schemas.microsoft.com/office/drawing/2014/main" id="{B019FDE6-7808-304C-A6AB-D68B903831ED}"/>
                </a:ext>
              </a:extLst>
            </p:cNvPr>
            <p:cNvSpPr/>
            <p:nvPr/>
          </p:nvSpPr>
          <p:spPr>
            <a:xfrm rot="4396595">
              <a:off x="2282842" y="2679576"/>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3" name="Oval 52">
              <a:extLst>
                <a:ext uri="{FF2B5EF4-FFF2-40B4-BE49-F238E27FC236}">
                  <a16:creationId xmlns:a16="http://schemas.microsoft.com/office/drawing/2014/main" id="{CB101033-961E-5846-AA5B-B3239C8D2167}"/>
                </a:ext>
              </a:extLst>
            </p:cNvPr>
            <p:cNvSpPr/>
            <p:nvPr/>
          </p:nvSpPr>
          <p:spPr>
            <a:xfrm rot="4396595">
              <a:off x="2269417" y="2560252"/>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4" name="Oval 53">
              <a:extLst>
                <a:ext uri="{FF2B5EF4-FFF2-40B4-BE49-F238E27FC236}">
                  <a16:creationId xmlns:a16="http://schemas.microsoft.com/office/drawing/2014/main" id="{1FB26206-3564-3F42-82DB-E6C5FDBADB9B}"/>
                </a:ext>
              </a:extLst>
            </p:cNvPr>
            <p:cNvSpPr/>
            <p:nvPr/>
          </p:nvSpPr>
          <p:spPr>
            <a:xfrm rot="4396595">
              <a:off x="2364907" y="2421615"/>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5" name="Oval 54">
              <a:extLst>
                <a:ext uri="{FF2B5EF4-FFF2-40B4-BE49-F238E27FC236}">
                  <a16:creationId xmlns:a16="http://schemas.microsoft.com/office/drawing/2014/main" id="{F2B2FEAD-6701-CA47-ABF0-C10821A13A61}"/>
                </a:ext>
              </a:extLst>
            </p:cNvPr>
            <p:cNvSpPr/>
            <p:nvPr/>
          </p:nvSpPr>
          <p:spPr>
            <a:xfrm rot="4396595">
              <a:off x="2148744" y="267767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6" name="Oval 55">
              <a:extLst>
                <a:ext uri="{FF2B5EF4-FFF2-40B4-BE49-F238E27FC236}">
                  <a16:creationId xmlns:a16="http://schemas.microsoft.com/office/drawing/2014/main" id="{AF03BA47-0EB0-8942-8CF1-36B0F41FFC99}"/>
                </a:ext>
              </a:extLst>
            </p:cNvPr>
            <p:cNvSpPr/>
            <p:nvPr/>
          </p:nvSpPr>
          <p:spPr>
            <a:xfrm rot="15196595">
              <a:off x="2075477" y="2621849"/>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7" name="Oval 56">
              <a:extLst>
                <a:ext uri="{FF2B5EF4-FFF2-40B4-BE49-F238E27FC236}">
                  <a16:creationId xmlns:a16="http://schemas.microsoft.com/office/drawing/2014/main" id="{A921D9C2-E52D-B54E-A446-7D3BA5A39202}"/>
                </a:ext>
              </a:extLst>
            </p:cNvPr>
            <p:cNvSpPr/>
            <p:nvPr/>
          </p:nvSpPr>
          <p:spPr>
            <a:xfrm rot="15196595">
              <a:off x="2150548" y="2381484"/>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8" name="Oval 57">
              <a:extLst>
                <a:ext uri="{FF2B5EF4-FFF2-40B4-BE49-F238E27FC236}">
                  <a16:creationId xmlns:a16="http://schemas.microsoft.com/office/drawing/2014/main" id="{A7D51DE3-198D-C340-AFD7-8F8FA3294DEF}"/>
                </a:ext>
              </a:extLst>
            </p:cNvPr>
            <p:cNvSpPr/>
            <p:nvPr/>
          </p:nvSpPr>
          <p:spPr>
            <a:xfrm rot="15196595">
              <a:off x="2160660" y="255842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59" name="Oval 58">
              <a:extLst>
                <a:ext uri="{FF2B5EF4-FFF2-40B4-BE49-F238E27FC236}">
                  <a16:creationId xmlns:a16="http://schemas.microsoft.com/office/drawing/2014/main" id="{5A7604F2-C97D-A745-85C4-A795450E0FDA}"/>
                </a:ext>
              </a:extLst>
            </p:cNvPr>
            <p:cNvSpPr/>
            <p:nvPr/>
          </p:nvSpPr>
          <p:spPr>
            <a:xfrm rot="4396595">
              <a:off x="2002491" y="2583649"/>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0" name="Oval 59">
              <a:extLst>
                <a:ext uri="{FF2B5EF4-FFF2-40B4-BE49-F238E27FC236}">
                  <a16:creationId xmlns:a16="http://schemas.microsoft.com/office/drawing/2014/main" id="{B1A33567-1D83-9845-941C-53ADF1A9CC50}"/>
                </a:ext>
              </a:extLst>
            </p:cNvPr>
            <p:cNvSpPr/>
            <p:nvPr/>
          </p:nvSpPr>
          <p:spPr>
            <a:xfrm rot="4396595">
              <a:off x="2275850" y="2474244"/>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1" name="Oval 60">
              <a:extLst>
                <a:ext uri="{FF2B5EF4-FFF2-40B4-BE49-F238E27FC236}">
                  <a16:creationId xmlns:a16="http://schemas.microsoft.com/office/drawing/2014/main" id="{1FEB6340-EE7A-8446-A12A-28E6C300916C}"/>
                </a:ext>
              </a:extLst>
            </p:cNvPr>
            <p:cNvSpPr/>
            <p:nvPr/>
          </p:nvSpPr>
          <p:spPr>
            <a:xfrm rot="4396595">
              <a:off x="2006192" y="2726439"/>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2" name="Oval 61">
              <a:extLst>
                <a:ext uri="{FF2B5EF4-FFF2-40B4-BE49-F238E27FC236}">
                  <a16:creationId xmlns:a16="http://schemas.microsoft.com/office/drawing/2014/main" id="{FE2A3194-1FF7-4A4F-BAE0-17370B564910}"/>
                </a:ext>
              </a:extLst>
            </p:cNvPr>
            <p:cNvSpPr/>
            <p:nvPr/>
          </p:nvSpPr>
          <p:spPr>
            <a:xfrm rot="4396595">
              <a:off x="2374979" y="2514430"/>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3" name="Oval 62">
              <a:extLst>
                <a:ext uri="{FF2B5EF4-FFF2-40B4-BE49-F238E27FC236}">
                  <a16:creationId xmlns:a16="http://schemas.microsoft.com/office/drawing/2014/main" id="{A660DC4D-3F8D-8E4A-85C1-D7EAF3CA636F}"/>
                </a:ext>
              </a:extLst>
            </p:cNvPr>
            <p:cNvSpPr/>
            <p:nvPr/>
          </p:nvSpPr>
          <p:spPr>
            <a:xfrm rot="15196595">
              <a:off x="2181161" y="2741213"/>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4" name="Oval 63">
              <a:extLst>
                <a:ext uri="{FF2B5EF4-FFF2-40B4-BE49-F238E27FC236}">
                  <a16:creationId xmlns:a16="http://schemas.microsoft.com/office/drawing/2014/main" id="{32CCA323-377E-D64E-8C87-5E5191BED45D}"/>
                </a:ext>
              </a:extLst>
            </p:cNvPr>
            <p:cNvSpPr/>
            <p:nvPr/>
          </p:nvSpPr>
          <p:spPr>
            <a:xfrm rot="4396595">
              <a:off x="2222173" y="2636734"/>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5" name="Oval 64">
              <a:extLst>
                <a:ext uri="{FF2B5EF4-FFF2-40B4-BE49-F238E27FC236}">
                  <a16:creationId xmlns:a16="http://schemas.microsoft.com/office/drawing/2014/main" id="{F7AC88D5-1DDB-FB4F-9F8F-CC4AF523BA3B}"/>
                </a:ext>
              </a:extLst>
            </p:cNvPr>
            <p:cNvSpPr/>
            <p:nvPr/>
          </p:nvSpPr>
          <p:spPr>
            <a:xfrm rot="4396595">
              <a:off x="2074050" y="241763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6" name="Oval 65">
              <a:extLst>
                <a:ext uri="{FF2B5EF4-FFF2-40B4-BE49-F238E27FC236}">
                  <a16:creationId xmlns:a16="http://schemas.microsoft.com/office/drawing/2014/main" id="{87DA739B-69D3-504F-A776-88C8E7054469}"/>
                </a:ext>
              </a:extLst>
            </p:cNvPr>
            <p:cNvSpPr/>
            <p:nvPr/>
          </p:nvSpPr>
          <p:spPr>
            <a:xfrm rot="4396595">
              <a:off x="2362797" y="2616654"/>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7" name="Oval 66">
              <a:extLst>
                <a:ext uri="{FF2B5EF4-FFF2-40B4-BE49-F238E27FC236}">
                  <a16:creationId xmlns:a16="http://schemas.microsoft.com/office/drawing/2014/main" id="{7B48EE79-C191-D545-B18F-C6D6543561C5}"/>
                </a:ext>
              </a:extLst>
            </p:cNvPr>
            <p:cNvSpPr/>
            <p:nvPr/>
          </p:nvSpPr>
          <p:spPr>
            <a:xfrm rot="15196595">
              <a:off x="2179320" y="2858470"/>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8" name="Oval 67">
              <a:extLst>
                <a:ext uri="{FF2B5EF4-FFF2-40B4-BE49-F238E27FC236}">
                  <a16:creationId xmlns:a16="http://schemas.microsoft.com/office/drawing/2014/main" id="{94356509-851D-D34F-9D46-4080D2BA809B}"/>
                </a:ext>
              </a:extLst>
            </p:cNvPr>
            <p:cNvSpPr/>
            <p:nvPr/>
          </p:nvSpPr>
          <p:spPr>
            <a:xfrm rot="15196595">
              <a:off x="2095958" y="2303482"/>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69" name="Oval 68">
              <a:extLst>
                <a:ext uri="{FF2B5EF4-FFF2-40B4-BE49-F238E27FC236}">
                  <a16:creationId xmlns:a16="http://schemas.microsoft.com/office/drawing/2014/main" id="{835C9DFC-B52F-3F4D-81D8-3C6DEDEA49A5}"/>
                </a:ext>
              </a:extLst>
            </p:cNvPr>
            <p:cNvSpPr/>
            <p:nvPr/>
          </p:nvSpPr>
          <p:spPr>
            <a:xfrm rot="15196595">
              <a:off x="2008562" y="306359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0" name="Oval 69">
              <a:extLst>
                <a:ext uri="{FF2B5EF4-FFF2-40B4-BE49-F238E27FC236}">
                  <a16:creationId xmlns:a16="http://schemas.microsoft.com/office/drawing/2014/main" id="{E1E0C0F6-BF9F-5646-9FE4-05AB7534234E}"/>
                </a:ext>
              </a:extLst>
            </p:cNvPr>
            <p:cNvSpPr/>
            <p:nvPr/>
          </p:nvSpPr>
          <p:spPr>
            <a:xfrm rot="4396595">
              <a:off x="2035494" y="2881889"/>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1" name="Oval 70">
              <a:extLst>
                <a:ext uri="{FF2B5EF4-FFF2-40B4-BE49-F238E27FC236}">
                  <a16:creationId xmlns:a16="http://schemas.microsoft.com/office/drawing/2014/main" id="{05888E0C-3976-6948-B72D-5A17BAD907D1}"/>
                </a:ext>
              </a:extLst>
            </p:cNvPr>
            <p:cNvSpPr/>
            <p:nvPr/>
          </p:nvSpPr>
          <p:spPr>
            <a:xfrm rot="4396595">
              <a:off x="2286955" y="308326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2" name="Oval 71">
              <a:extLst>
                <a:ext uri="{FF2B5EF4-FFF2-40B4-BE49-F238E27FC236}">
                  <a16:creationId xmlns:a16="http://schemas.microsoft.com/office/drawing/2014/main" id="{EA4B5EE8-BC33-0440-9D39-1FE681C025D6}"/>
                </a:ext>
              </a:extLst>
            </p:cNvPr>
            <p:cNvSpPr/>
            <p:nvPr/>
          </p:nvSpPr>
          <p:spPr>
            <a:xfrm rot="4396595">
              <a:off x="2273530" y="2963941"/>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3" name="Oval 72">
              <a:extLst>
                <a:ext uri="{FF2B5EF4-FFF2-40B4-BE49-F238E27FC236}">
                  <a16:creationId xmlns:a16="http://schemas.microsoft.com/office/drawing/2014/main" id="{ED35D8EF-195F-744A-BB4E-794B91304FB8}"/>
                </a:ext>
              </a:extLst>
            </p:cNvPr>
            <p:cNvSpPr/>
            <p:nvPr/>
          </p:nvSpPr>
          <p:spPr>
            <a:xfrm rot="4396595">
              <a:off x="2309154" y="279861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4" name="Oval 73">
              <a:extLst>
                <a:ext uri="{FF2B5EF4-FFF2-40B4-BE49-F238E27FC236}">
                  <a16:creationId xmlns:a16="http://schemas.microsoft.com/office/drawing/2014/main" id="{12594950-E717-C248-B853-614C54CA2DCA}"/>
                </a:ext>
              </a:extLst>
            </p:cNvPr>
            <p:cNvSpPr/>
            <p:nvPr/>
          </p:nvSpPr>
          <p:spPr>
            <a:xfrm rot="4396595">
              <a:off x="2152857" y="3081361"/>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5" name="Oval 74">
              <a:extLst>
                <a:ext uri="{FF2B5EF4-FFF2-40B4-BE49-F238E27FC236}">
                  <a16:creationId xmlns:a16="http://schemas.microsoft.com/office/drawing/2014/main" id="{1D558FB6-9409-274E-9000-1A3720C96F17}"/>
                </a:ext>
              </a:extLst>
            </p:cNvPr>
            <p:cNvSpPr/>
            <p:nvPr/>
          </p:nvSpPr>
          <p:spPr>
            <a:xfrm rot="15196595">
              <a:off x="2079590" y="3025538"/>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6" name="Oval 75">
              <a:extLst>
                <a:ext uri="{FF2B5EF4-FFF2-40B4-BE49-F238E27FC236}">
                  <a16:creationId xmlns:a16="http://schemas.microsoft.com/office/drawing/2014/main" id="{BFA5291A-0A4D-964E-B1B4-6FAB7E97E2F8}"/>
                </a:ext>
              </a:extLst>
            </p:cNvPr>
            <p:cNvSpPr/>
            <p:nvPr/>
          </p:nvSpPr>
          <p:spPr>
            <a:xfrm rot="15196595">
              <a:off x="2093625" y="2798516"/>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7" name="Oval 76">
              <a:extLst>
                <a:ext uri="{FF2B5EF4-FFF2-40B4-BE49-F238E27FC236}">
                  <a16:creationId xmlns:a16="http://schemas.microsoft.com/office/drawing/2014/main" id="{B6116145-A618-0740-8F07-C140DD68C9AF}"/>
                </a:ext>
              </a:extLst>
            </p:cNvPr>
            <p:cNvSpPr/>
            <p:nvPr/>
          </p:nvSpPr>
          <p:spPr>
            <a:xfrm rot="15196595">
              <a:off x="2164773" y="2962110"/>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8" name="Oval 77">
              <a:extLst>
                <a:ext uri="{FF2B5EF4-FFF2-40B4-BE49-F238E27FC236}">
                  <a16:creationId xmlns:a16="http://schemas.microsoft.com/office/drawing/2014/main" id="{11F0BA8A-8CCE-9845-BBAE-8B70A62C9861}"/>
                </a:ext>
              </a:extLst>
            </p:cNvPr>
            <p:cNvSpPr/>
            <p:nvPr/>
          </p:nvSpPr>
          <p:spPr>
            <a:xfrm rot="4396595">
              <a:off x="2034887" y="282032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79" name="Oval 78">
              <a:extLst>
                <a:ext uri="{FF2B5EF4-FFF2-40B4-BE49-F238E27FC236}">
                  <a16:creationId xmlns:a16="http://schemas.microsoft.com/office/drawing/2014/main" id="{87A48B6D-EF60-9246-AD17-85DDD1E8BA43}"/>
                </a:ext>
              </a:extLst>
            </p:cNvPr>
            <p:cNvSpPr/>
            <p:nvPr/>
          </p:nvSpPr>
          <p:spPr>
            <a:xfrm rot="4396595">
              <a:off x="2279962" y="287793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0" name="Oval 79">
              <a:extLst>
                <a:ext uri="{FF2B5EF4-FFF2-40B4-BE49-F238E27FC236}">
                  <a16:creationId xmlns:a16="http://schemas.microsoft.com/office/drawing/2014/main" id="{B5E7C827-8B98-7F48-83F6-0E7CFA138E15}"/>
                </a:ext>
              </a:extLst>
            </p:cNvPr>
            <p:cNvSpPr/>
            <p:nvPr/>
          </p:nvSpPr>
          <p:spPr>
            <a:xfrm rot="4396595">
              <a:off x="1979797" y="2320903"/>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1" name="Oval 80">
              <a:extLst>
                <a:ext uri="{FF2B5EF4-FFF2-40B4-BE49-F238E27FC236}">
                  <a16:creationId xmlns:a16="http://schemas.microsoft.com/office/drawing/2014/main" id="{E8CD4064-6B33-6944-AAB1-A30CBAC45293}"/>
                </a:ext>
              </a:extLst>
            </p:cNvPr>
            <p:cNvSpPr/>
            <p:nvPr/>
          </p:nvSpPr>
          <p:spPr>
            <a:xfrm rot="4396595">
              <a:off x="2365292" y="2867432"/>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2" name="Oval 81">
              <a:extLst>
                <a:ext uri="{FF2B5EF4-FFF2-40B4-BE49-F238E27FC236}">
                  <a16:creationId xmlns:a16="http://schemas.microsoft.com/office/drawing/2014/main" id="{E3E83607-670B-F641-B3D8-21D2F23048F5}"/>
                </a:ext>
              </a:extLst>
            </p:cNvPr>
            <p:cNvSpPr/>
            <p:nvPr/>
          </p:nvSpPr>
          <p:spPr>
            <a:xfrm rot="15196595">
              <a:off x="2811425" y="3240137"/>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3" name="Oval 82">
              <a:extLst>
                <a:ext uri="{FF2B5EF4-FFF2-40B4-BE49-F238E27FC236}">
                  <a16:creationId xmlns:a16="http://schemas.microsoft.com/office/drawing/2014/main" id="{F726723D-7BFF-864D-B6D1-1FDC206A2616}"/>
                </a:ext>
              </a:extLst>
            </p:cNvPr>
            <p:cNvSpPr/>
            <p:nvPr/>
          </p:nvSpPr>
          <p:spPr>
            <a:xfrm rot="4396595">
              <a:off x="2226286" y="304042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4" name="Oval 83">
              <a:extLst>
                <a:ext uri="{FF2B5EF4-FFF2-40B4-BE49-F238E27FC236}">
                  <a16:creationId xmlns:a16="http://schemas.microsoft.com/office/drawing/2014/main" id="{C23B8E27-B457-6945-8A98-D5DD46ABD690}"/>
                </a:ext>
              </a:extLst>
            </p:cNvPr>
            <p:cNvSpPr/>
            <p:nvPr/>
          </p:nvSpPr>
          <p:spPr>
            <a:xfrm rot="4396595">
              <a:off x="2080816" y="312223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5" name="Oval 84">
              <a:extLst>
                <a:ext uri="{FF2B5EF4-FFF2-40B4-BE49-F238E27FC236}">
                  <a16:creationId xmlns:a16="http://schemas.microsoft.com/office/drawing/2014/main" id="{41E228C1-0F87-BE44-879B-E7FD240AE6A9}"/>
                </a:ext>
              </a:extLst>
            </p:cNvPr>
            <p:cNvSpPr/>
            <p:nvPr/>
          </p:nvSpPr>
          <p:spPr>
            <a:xfrm rot="4396595">
              <a:off x="2366910" y="302034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6" name="Oval 85">
              <a:extLst>
                <a:ext uri="{FF2B5EF4-FFF2-40B4-BE49-F238E27FC236}">
                  <a16:creationId xmlns:a16="http://schemas.microsoft.com/office/drawing/2014/main" id="{EB0C6E88-0A1A-6742-9848-4D066716F3E2}"/>
                </a:ext>
              </a:extLst>
            </p:cNvPr>
            <p:cNvSpPr/>
            <p:nvPr/>
          </p:nvSpPr>
          <p:spPr>
            <a:xfrm rot="15086866">
              <a:off x="2642327" y="252497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7" name="Oval 86">
              <a:extLst>
                <a:ext uri="{FF2B5EF4-FFF2-40B4-BE49-F238E27FC236}">
                  <a16:creationId xmlns:a16="http://schemas.microsoft.com/office/drawing/2014/main" id="{12859799-4D14-A84D-A4B4-1B2BC902282E}"/>
                </a:ext>
              </a:extLst>
            </p:cNvPr>
            <p:cNvSpPr/>
            <p:nvPr/>
          </p:nvSpPr>
          <p:spPr>
            <a:xfrm rot="15086866">
              <a:off x="2720592" y="2438582"/>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8" name="Oval 87">
              <a:extLst>
                <a:ext uri="{FF2B5EF4-FFF2-40B4-BE49-F238E27FC236}">
                  <a16:creationId xmlns:a16="http://schemas.microsoft.com/office/drawing/2014/main" id="{619BB080-2587-DB4E-875A-B69DD8981337}"/>
                </a:ext>
              </a:extLst>
            </p:cNvPr>
            <p:cNvSpPr/>
            <p:nvPr/>
          </p:nvSpPr>
          <p:spPr>
            <a:xfrm rot="15086866">
              <a:off x="2477872" y="2735783"/>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89" name="Oval 88">
              <a:extLst>
                <a:ext uri="{FF2B5EF4-FFF2-40B4-BE49-F238E27FC236}">
                  <a16:creationId xmlns:a16="http://schemas.microsoft.com/office/drawing/2014/main" id="{FAEDA810-D50D-AC4A-B5D0-8F78D665D8EC}"/>
                </a:ext>
              </a:extLst>
            </p:cNvPr>
            <p:cNvSpPr/>
            <p:nvPr/>
          </p:nvSpPr>
          <p:spPr>
            <a:xfrm rot="4286866">
              <a:off x="2499651" y="2552631"/>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0" name="Oval 89">
              <a:extLst>
                <a:ext uri="{FF2B5EF4-FFF2-40B4-BE49-F238E27FC236}">
                  <a16:creationId xmlns:a16="http://schemas.microsoft.com/office/drawing/2014/main" id="{5526F99A-59F9-864B-BAE4-974916F76978}"/>
                </a:ext>
              </a:extLst>
            </p:cNvPr>
            <p:cNvSpPr/>
            <p:nvPr/>
          </p:nvSpPr>
          <p:spPr>
            <a:xfrm rot="4286866">
              <a:off x="2757081" y="2746221"/>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1" name="Oval 90">
              <a:extLst>
                <a:ext uri="{FF2B5EF4-FFF2-40B4-BE49-F238E27FC236}">
                  <a16:creationId xmlns:a16="http://schemas.microsoft.com/office/drawing/2014/main" id="{53A627D0-E126-F542-A2A1-6A521356C3D3}"/>
                </a:ext>
              </a:extLst>
            </p:cNvPr>
            <p:cNvSpPr/>
            <p:nvPr/>
          </p:nvSpPr>
          <p:spPr>
            <a:xfrm rot="4286866">
              <a:off x="2739690" y="262755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2" name="Oval 91">
              <a:extLst>
                <a:ext uri="{FF2B5EF4-FFF2-40B4-BE49-F238E27FC236}">
                  <a16:creationId xmlns:a16="http://schemas.microsoft.com/office/drawing/2014/main" id="{BECD7B64-9DB4-7A47-8792-0AFDB8CA9987}"/>
                </a:ext>
              </a:extLst>
            </p:cNvPr>
            <p:cNvSpPr/>
            <p:nvPr/>
          </p:nvSpPr>
          <p:spPr>
            <a:xfrm rot="4286866">
              <a:off x="2830542" y="2486113"/>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3" name="Oval 92">
              <a:extLst>
                <a:ext uri="{FF2B5EF4-FFF2-40B4-BE49-F238E27FC236}">
                  <a16:creationId xmlns:a16="http://schemas.microsoft.com/office/drawing/2014/main" id="{13B3670A-198D-CA49-B2D3-CD8620527E01}"/>
                </a:ext>
              </a:extLst>
            </p:cNvPr>
            <p:cNvSpPr/>
            <p:nvPr/>
          </p:nvSpPr>
          <p:spPr>
            <a:xfrm rot="4286866">
              <a:off x="2622495" y="274910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4" name="Oval 93">
              <a:extLst>
                <a:ext uri="{FF2B5EF4-FFF2-40B4-BE49-F238E27FC236}">
                  <a16:creationId xmlns:a16="http://schemas.microsoft.com/office/drawing/2014/main" id="{C13AF34A-8889-3B4A-A9A1-509515CC6DA2}"/>
                </a:ext>
              </a:extLst>
            </p:cNvPr>
            <p:cNvSpPr/>
            <p:nvPr/>
          </p:nvSpPr>
          <p:spPr>
            <a:xfrm rot="15086866">
              <a:off x="2547485" y="269565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5" name="Oval 94">
              <a:extLst>
                <a:ext uri="{FF2B5EF4-FFF2-40B4-BE49-F238E27FC236}">
                  <a16:creationId xmlns:a16="http://schemas.microsoft.com/office/drawing/2014/main" id="{8B926B57-3EE3-5A4D-8BA2-032E9D3195F5}"/>
                </a:ext>
              </a:extLst>
            </p:cNvPr>
            <p:cNvSpPr/>
            <p:nvPr/>
          </p:nvSpPr>
          <p:spPr>
            <a:xfrm rot="15086866">
              <a:off x="2554432" y="2468127"/>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6" name="Oval 95">
              <a:extLst>
                <a:ext uri="{FF2B5EF4-FFF2-40B4-BE49-F238E27FC236}">
                  <a16:creationId xmlns:a16="http://schemas.microsoft.com/office/drawing/2014/main" id="{22AAB670-AFD0-7E4F-B7EC-9611A931644C}"/>
                </a:ext>
              </a:extLst>
            </p:cNvPr>
            <p:cNvSpPr/>
            <p:nvPr/>
          </p:nvSpPr>
          <p:spPr>
            <a:xfrm rot="15086866">
              <a:off x="2630930" y="2629197"/>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7" name="Oval 96">
              <a:extLst>
                <a:ext uri="{FF2B5EF4-FFF2-40B4-BE49-F238E27FC236}">
                  <a16:creationId xmlns:a16="http://schemas.microsoft.com/office/drawing/2014/main" id="{28A98555-ECF6-8944-BBBE-A004DA5062DA}"/>
                </a:ext>
              </a:extLst>
            </p:cNvPr>
            <p:cNvSpPr/>
            <p:nvPr/>
          </p:nvSpPr>
          <p:spPr>
            <a:xfrm rot="4286866">
              <a:off x="2451205" y="2661478"/>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8" name="Oval 97">
              <a:extLst>
                <a:ext uri="{FF2B5EF4-FFF2-40B4-BE49-F238E27FC236}">
                  <a16:creationId xmlns:a16="http://schemas.microsoft.com/office/drawing/2014/main" id="{7F004BD8-59C3-144D-9C98-17CB181F3944}"/>
                </a:ext>
              </a:extLst>
            </p:cNvPr>
            <p:cNvSpPr/>
            <p:nvPr/>
          </p:nvSpPr>
          <p:spPr>
            <a:xfrm rot="4286866">
              <a:off x="2743209" y="2541557"/>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99" name="Oval 98">
              <a:extLst>
                <a:ext uri="{FF2B5EF4-FFF2-40B4-BE49-F238E27FC236}">
                  <a16:creationId xmlns:a16="http://schemas.microsoft.com/office/drawing/2014/main" id="{2D9E296A-FEF8-8643-BFA2-31AAFF405BDD}"/>
                </a:ext>
              </a:extLst>
            </p:cNvPr>
            <p:cNvSpPr/>
            <p:nvPr/>
          </p:nvSpPr>
          <p:spPr>
            <a:xfrm rot="4286866">
              <a:off x="2443518" y="281006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0" name="Oval 99">
              <a:extLst>
                <a:ext uri="{FF2B5EF4-FFF2-40B4-BE49-F238E27FC236}">
                  <a16:creationId xmlns:a16="http://schemas.microsoft.com/office/drawing/2014/main" id="{30F8ED29-DDD1-314B-92E1-B1308F2126C3}"/>
                </a:ext>
              </a:extLst>
            </p:cNvPr>
            <p:cNvSpPr/>
            <p:nvPr/>
          </p:nvSpPr>
          <p:spPr>
            <a:xfrm rot="4286866">
              <a:off x="2843900" y="2578218"/>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1" name="Oval 100">
              <a:extLst>
                <a:ext uri="{FF2B5EF4-FFF2-40B4-BE49-F238E27FC236}">
                  <a16:creationId xmlns:a16="http://schemas.microsoft.com/office/drawing/2014/main" id="{CE529995-4BC3-8A43-9AF9-038275C7DF51}"/>
                </a:ext>
              </a:extLst>
            </p:cNvPr>
            <p:cNvSpPr/>
            <p:nvPr/>
          </p:nvSpPr>
          <p:spPr>
            <a:xfrm rot="15086866">
              <a:off x="2657749" y="2810731"/>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2" name="Oval 101">
              <a:extLst>
                <a:ext uri="{FF2B5EF4-FFF2-40B4-BE49-F238E27FC236}">
                  <a16:creationId xmlns:a16="http://schemas.microsoft.com/office/drawing/2014/main" id="{20A34545-A76C-3743-89E7-3B3EF9B88AF3}"/>
                </a:ext>
              </a:extLst>
            </p:cNvPr>
            <p:cNvSpPr/>
            <p:nvPr/>
          </p:nvSpPr>
          <p:spPr>
            <a:xfrm rot="4286866">
              <a:off x="2694746" y="270567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3" name="Oval 102">
              <a:extLst>
                <a:ext uri="{FF2B5EF4-FFF2-40B4-BE49-F238E27FC236}">
                  <a16:creationId xmlns:a16="http://schemas.microsoft.com/office/drawing/2014/main" id="{5C8EA019-A750-AB4C-AABF-041FD6E62F63}"/>
                </a:ext>
              </a:extLst>
            </p:cNvPr>
            <p:cNvSpPr/>
            <p:nvPr/>
          </p:nvSpPr>
          <p:spPr>
            <a:xfrm rot="4286866">
              <a:off x="2551961" y="2792094"/>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4" name="Oval 103">
              <a:extLst>
                <a:ext uri="{FF2B5EF4-FFF2-40B4-BE49-F238E27FC236}">
                  <a16:creationId xmlns:a16="http://schemas.microsoft.com/office/drawing/2014/main" id="{D6B3FFC6-BDBF-C846-B3CB-7F2D7EF0654E}"/>
                </a:ext>
              </a:extLst>
            </p:cNvPr>
            <p:cNvSpPr/>
            <p:nvPr/>
          </p:nvSpPr>
          <p:spPr>
            <a:xfrm rot="4286866">
              <a:off x="2834493" y="268129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5" name="Oval 104">
              <a:extLst>
                <a:ext uri="{FF2B5EF4-FFF2-40B4-BE49-F238E27FC236}">
                  <a16:creationId xmlns:a16="http://schemas.microsoft.com/office/drawing/2014/main" id="{6448C49A-16E8-E947-9D2D-820CAD12834A}"/>
                </a:ext>
              </a:extLst>
            </p:cNvPr>
            <p:cNvSpPr/>
            <p:nvPr/>
          </p:nvSpPr>
          <p:spPr>
            <a:xfrm rot="15086866">
              <a:off x="2659321" y="2928327"/>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6" name="Oval 105">
              <a:extLst>
                <a:ext uri="{FF2B5EF4-FFF2-40B4-BE49-F238E27FC236}">
                  <a16:creationId xmlns:a16="http://schemas.microsoft.com/office/drawing/2014/main" id="{C6B5194C-E6CF-8644-B289-C08E8127D353}"/>
                </a:ext>
              </a:extLst>
            </p:cNvPr>
            <p:cNvSpPr/>
            <p:nvPr/>
          </p:nvSpPr>
          <p:spPr>
            <a:xfrm rot="15086866">
              <a:off x="2418467" y="299120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7" name="Oval 106">
              <a:extLst>
                <a:ext uri="{FF2B5EF4-FFF2-40B4-BE49-F238E27FC236}">
                  <a16:creationId xmlns:a16="http://schemas.microsoft.com/office/drawing/2014/main" id="{BC0C983E-62A8-AC4C-9A67-D3D6E34BE2DF}"/>
                </a:ext>
              </a:extLst>
            </p:cNvPr>
            <p:cNvSpPr/>
            <p:nvPr/>
          </p:nvSpPr>
          <p:spPr>
            <a:xfrm rot="15086866">
              <a:off x="2494866" y="3139135"/>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8" name="Oval 107">
              <a:extLst>
                <a:ext uri="{FF2B5EF4-FFF2-40B4-BE49-F238E27FC236}">
                  <a16:creationId xmlns:a16="http://schemas.microsoft.com/office/drawing/2014/main" id="{DD62FBBE-DE4B-D64E-A82F-D5C45A66080C}"/>
                </a:ext>
              </a:extLst>
            </p:cNvPr>
            <p:cNvSpPr/>
            <p:nvPr/>
          </p:nvSpPr>
          <p:spPr>
            <a:xfrm rot="4286866">
              <a:off x="2516645" y="2955983"/>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9" name="Oval 108">
              <a:extLst>
                <a:ext uri="{FF2B5EF4-FFF2-40B4-BE49-F238E27FC236}">
                  <a16:creationId xmlns:a16="http://schemas.microsoft.com/office/drawing/2014/main" id="{062CCE3D-2F91-F843-AFAA-F5361AB8B0C3}"/>
                </a:ext>
              </a:extLst>
            </p:cNvPr>
            <p:cNvSpPr/>
            <p:nvPr/>
          </p:nvSpPr>
          <p:spPr>
            <a:xfrm rot="4286866">
              <a:off x="2774075" y="3149573"/>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0" name="Oval 109">
              <a:extLst>
                <a:ext uri="{FF2B5EF4-FFF2-40B4-BE49-F238E27FC236}">
                  <a16:creationId xmlns:a16="http://schemas.microsoft.com/office/drawing/2014/main" id="{6FE9AB1D-AEE3-9B44-B174-8A33A7B186A3}"/>
                </a:ext>
              </a:extLst>
            </p:cNvPr>
            <p:cNvSpPr/>
            <p:nvPr/>
          </p:nvSpPr>
          <p:spPr>
            <a:xfrm rot="4286866">
              <a:off x="2756684" y="303090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1" name="Oval 110">
              <a:extLst>
                <a:ext uri="{FF2B5EF4-FFF2-40B4-BE49-F238E27FC236}">
                  <a16:creationId xmlns:a16="http://schemas.microsoft.com/office/drawing/2014/main" id="{85EBE3F2-4554-7A41-AC23-00534DEECDDA}"/>
                </a:ext>
              </a:extLst>
            </p:cNvPr>
            <p:cNvSpPr/>
            <p:nvPr/>
          </p:nvSpPr>
          <p:spPr>
            <a:xfrm rot="4286866">
              <a:off x="2786848" y="286469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2" name="Oval 111">
              <a:extLst>
                <a:ext uri="{FF2B5EF4-FFF2-40B4-BE49-F238E27FC236}">
                  <a16:creationId xmlns:a16="http://schemas.microsoft.com/office/drawing/2014/main" id="{0141A77A-B608-064B-8941-E6C9165536E4}"/>
                </a:ext>
              </a:extLst>
            </p:cNvPr>
            <p:cNvSpPr/>
            <p:nvPr/>
          </p:nvSpPr>
          <p:spPr>
            <a:xfrm rot="4286866">
              <a:off x="2639489" y="315246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3" name="Oval 112">
              <a:extLst>
                <a:ext uri="{FF2B5EF4-FFF2-40B4-BE49-F238E27FC236}">
                  <a16:creationId xmlns:a16="http://schemas.microsoft.com/office/drawing/2014/main" id="{34561089-0563-014C-9F24-2D049A1FFC18}"/>
                </a:ext>
              </a:extLst>
            </p:cNvPr>
            <p:cNvSpPr/>
            <p:nvPr/>
          </p:nvSpPr>
          <p:spPr>
            <a:xfrm rot="15086866">
              <a:off x="2564478" y="309900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4" name="Oval 113">
              <a:extLst>
                <a:ext uri="{FF2B5EF4-FFF2-40B4-BE49-F238E27FC236}">
                  <a16:creationId xmlns:a16="http://schemas.microsoft.com/office/drawing/2014/main" id="{6A189D5C-719C-D74F-A0CF-66838BE4E3B5}"/>
                </a:ext>
              </a:extLst>
            </p:cNvPr>
            <p:cNvSpPr/>
            <p:nvPr/>
          </p:nvSpPr>
          <p:spPr>
            <a:xfrm rot="15086866">
              <a:off x="2571426" y="2871479"/>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5" name="Oval 114">
              <a:extLst>
                <a:ext uri="{FF2B5EF4-FFF2-40B4-BE49-F238E27FC236}">
                  <a16:creationId xmlns:a16="http://schemas.microsoft.com/office/drawing/2014/main" id="{251F51A2-FBA3-0B49-AABA-1D5F164A11D1}"/>
                </a:ext>
              </a:extLst>
            </p:cNvPr>
            <p:cNvSpPr/>
            <p:nvPr/>
          </p:nvSpPr>
          <p:spPr>
            <a:xfrm rot="15086866">
              <a:off x="2647924" y="3032549"/>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6" name="Oval 115">
              <a:extLst>
                <a:ext uri="{FF2B5EF4-FFF2-40B4-BE49-F238E27FC236}">
                  <a16:creationId xmlns:a16="http://schemas.microsoft.com/office/drawing/2014/main" id="{53DDA259-7758-1D49-B55C-8C1DC9DC86D4}"/>
                </a:ext>
              </a:extLst>
            </p:cNvPr>
            <p:cNvSpPr/>
            <p:nvPr/>
          </p:nvSpPr>
          <p:spPr>
            <a:xfrm rot="4286866">
              <a:off x="2468199" y="306483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7" name="Oval 116">
              <a:extLst>
                <a:ext uri="{FF2B5EF4-FFF2-40B4-BE49-F238E27FC236}">
                  <a16:creationId xmlns:a16="http://schemas.microsoft.com/office/drawing/2014/main" id="{C21077B9-DACF-814D-B521-F1F3DE50CA43}"/>
                </a:ext>
              </a:extLst>
            </p:cNvPr>
            <p:cNvSpPr/>
            <p:nvPr/>
          </p:nvSpPr>
          <p:spPr>
            <a:xfrm rot="4286866">
              <a:off x="2760203" y="2944909"/>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8" name="Oval 117">
              <a:extLst>
                <a:ext uri="{FF2B5EF4-FFF2-40B4-BE49-F238E27FC236}">
                  <a16:creationId xmlns:a16="http://schemas.microsoft.com/office/drawing/2014/main" id="{CF4D15B0-1718-BE48-8202-CE8960DA9260}"/>
                </a:ext>
              </a:extLst>
            </p:cNvPr>
            <p:cNvSpPr/>
            <p:nvPr/>
          </p:nvSpPr>
          <p:spPr>
            <a:xfrm rot="4286866">
              <a:off x="2465981" y="2913729"/>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9" name="Oval 118">
              <a:extLst>
                <a:ext uri="{FF2B5EF4-FFF2-40B4-BE49-F238E27FC236}">
                  <a16:creationId xmlns:a16="http://schemas.microsoft.com/office/drawing/2014/main" id="{97DED8F0-0307-C14E-B436-CF87E37F4469}"/>
                </a:ext>
              </a:extLst>
            </p:cNvPr>
            <p:cNvSpPr/>
            <p:nvPr/>
          </p:nvSpPr>
          <p:spPr>
            <a:xfrm rot="4286866">
              <a:off x="2438948" y="2223106"/>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0" name="Oval 119">
              <a:extLst>
                <a:ext uri="{FF2B5EF4-FFF2-40B4-BE49-F238E27FC236}">
                  <a16:creationId xmlns:a16="http://schemas.microsoft.com/office/drawing/2014/main" id="{25F6F22A-CB60-524D-AE8A-0BA25B20604C}"/>
                </a:ext>
              </a:extLst>
            </p:cNvPr>
            <p:cNvSpPr/>
            <p:nvPr/>
          </p:nvSpPr>
          <p:spPr>
            <a:xfrm rot="15086866">
              <a:off x="2674743" y="3214083"/>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1" name="Oval 120">
              <a:extLst>
                <a:ext uri="{FF2B5EF4-FFF2-40B4-BE49-F238E27FC236}">
                  <a16:creationId xmlns:a16="http://schemas.microsoft.com/office/drawing/2014/main" id="{3D5CCDB0-7C87-EE4B-B664-3661509D99B3}"/>
                </a:ext>
              </a:extLst>
            </p:cNvPr>
            <p:cNvSpPr/>
            <p:nvPr/>
          </p:nvSpPr>
          <p:spPr>
            <a:xfrm rot="4286866">
              <a:off x="2711740" y="3109030"/>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2" name="Oval 121">
              <a:extLst>
                <a:ext uri="{FF2B5EF4-FFF2-40B4-BE49-F238E27FC236}">
                  <a16:creationId xmlns:a16="http://schemas.microsoft.com/office/drawing/2014/main" id="{6ABD396F-BC01-FF4D-A25B-BF81F623C90A}"/>
                </a:ext>
              </a:extLst>
            </p:cNvPr>
            <p:cNvSpPr/>
            <p:nvPr/>
          </p:nvSpPr>
          <p:spPr>
            <a:xfrm rot="4286866">
              <a:off x="2568955" y="319544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3" name="Oval 122">
              <a:extLst>
                <a:ext uri="{FF2B5EF4-FFF2-40B4-BE49-F238E27FC236}">
                  <a16:creationId xmlns:a16="http://schemas.microsoft.com/office/drawing/2014/main" id="{D4E56937-62CF-6B4A-B1FE-FCF604C19EBC}"/>
                </a:ext>
              </a:extLst>
            </p:cNvPr>
            <p:cNvSpPr/>
            <p:nvPr/>
          </p:nvSpPr>
          <p:spPr>
            <a:xfrm rot="4286866">
              <a:off x="2851486" y="308464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4" name="Oval 123">
              <a:extLst>
                <a:ext uri="{FF2B5EF4-FFF2-40B4-BE49-F238E27FC236}">
                  <a16:creationId xmlns:a16="http://schemas.microsoft.com/office/drawing/2014/main" id="{9A9428CD-88EA-274F-9C00-ECA1DF4C82B7}"/>
                </a:ext>
              </a:extLst>
            </p:cNvPr>
            <p:cNvSpPr/>
            <p:nvPr/>
          </p:nvSpPr>
          <p:spPr>
            <a:xfrm rot="16200000">
              <a:off x="2469644" y="853949"/>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5" name="Oval 124">
              <a:extLst>
                <a:ext uri="{FF2B5EF4-FFF2-40B4-BE49-F238E27FC236}">
                  <a16:creationId xmlns:a16="http://schemas.microsoft.com/office/drawing/2014/main" id="{69F80852-C392-6040-918C-43A8042C4FF3}"/>
                </a:ext>
              </a:extLst>
            </p:cNvPr>
            <p:cNvSpPr/>
            <p:nvPr/>
          </p:nvSpPr>
          <p:spPr>
            <a:xfrm rot="16200000">
              <a:off x="2249610" y="98355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6" name="Oval 125">
              <a:extLst>
                <a:ext uri="{FF2B5EF4-FFF2-40B4-BE49-F238E27FC236}">
                  <a16:creationId xmlns:a16="http://schemas.microsoft.com/office/drawing/2014/main" id="{8A781741-6F7D-5C45-9B52-5B87EFF0B775}"/>
                </a:ext>
              </a:extLst>
            </p:cNvPr>
            <p:cNvSpPr/>
            <p:nvPr/>
          </p:nvSpPr>
          <p:spPr>
            <a:xfrm rot="5400000">
              <a:off x="2320754" y="822447"/>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7" name="Oval 126">
              <a:extLst>
                <a:ext uri="{FF2B5EF4-FFF2-40B4-BE49-F238E27FC236}">
                  <a16:creationId xmlns:a16="http://schemas.microsoft.com/office/drawing/2014/main" id="{EF7DF4D8-3EA9-D74C-A89E-22B0774F4D87}"/>
                </a:ext>
              </a:extLst>
            </p:cNvPr>
            <p:cNvSpPr/>
            <p:nvPr/>
          </p:nvSpPr>
          <p:spPr>
            <a:xfrm rot="5400000">
              <a:off x="2507100" y="108508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8" name="Oval 127">
              <a:extLst>
                <a:ext uri="{FF2B5EF4-FFF2-40B4-BE49-F238E27FC236}">
                  <a16:creationId xmlns:a16="http://schemas.microsoft.com/office/drawing/2014/main" id="{33FF37BD-C30C-EA4D-9513-11F88F01A58F}"/>
                </a:ext>
              </a:extLst>
            </p:cNvPr>
            <p:cNvSpPr/>
            <p:nvPr/>
          </p:nvSpPr>
          <p:spPr>
            <a:xfrm rot="5400000">
              <a:off x="2545700" y="974383"/>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9" name="Oval 128">
              <a:extLst>
                <a:ext uri="{FF2B5EF4-FFF2-40B4-BE49-F238E27FC236}">
                  <a16:creationId xmlns:a16="http://schemas.microsoft.com/office/drawing/2014/main" id="{408436DF-0F75-0E42-AFDC-40C166636130}"/>
                </a:ext>
              </a:extLst>
            </p:cNvPr>
            <p:cNvSpPr/>
            <p:nvPr/>
          </p:nvSpPr>
          <p:spPr>
            <a:xfrm rot="5400000">
              <a:off x="2658984" y="88393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0" name="Oval 129">
              <a:extLst>
                <a:ext uri="{FF2B5EF4-FFF2-40B4-BE49-F238E27FC236}">
                  <a16:creationId xmlns:a16="http://schemas.microsoft.com/office/drawing/2014/main" id="{FB3E15BE-DF24-8243-A0EC-9EB724177CF5}"/>
                </a:ext>
              </a:extLst>
            </p:cNvPr>
            <p:cNvSpPr/>
            <p:nvPr/>
          </p:nvSpPr>
          <p:spPr>
            <a:xfrm rot="5400000">
              <a:off x="2384422" y="1040807"/>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1" name="Oval 130">
              <a:extLst>
                <a:ext uri="{FF2B5EF4-FFF2-40B4-BE49-F238E27FC236}">
                  <a16:creationId xmlns:a16="http://schemas.microsoft.com/office/drawing/2014/main" id="{73D812C7-6C3A-104A-9373-E1A3345326A6}"/>
                </a:ext>
              </a:extLst>
            </p:cNvPr>
            <p:cNvSpPr/>
            <p:nvPr/>
          </p:nvSpPr>
          <p:spPr>
            <a:xfrm rot="16200000">
              <a:off x="2330318" y="966263"/>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2" name="Oval 131">
              <a:extLst>
                <a:ext uri="{FF2B5EF4-FFF2-40B4-BE49-F238E27FC236}">
                  <a16:creationId xmlns:a16="http://schemas.microsoft.com/office/drawing/2014/main" id="{6D653A94-43C0-0A40-AF6F-637DB9263E3C}"/>
                </a:ext>
              </a:extLst>
            </p:cNvPr>
            <p:cNvSpPr/>
            <p:nvPr/>
          </p:nvSpPr>
          <p:spPr>
            <a:xfrm rot="16200000">
              <a:off x="2445952" y="800015"/>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3" name="Oval 132">
              <a:extLst>
                <a:ext uri="{FF2B5EF4-FFF2-40B4-BE49-F238E27FC236}">
                  <a16:creationId xmlns:a16="http://schemas.microsoft.com/office/drawing/2014/main" id="{273E1228-692A-4149-86FF-0A48FEB269BC}"/>
                </a:ext>
              </a:extLst>
            </p:cNvPr>
            <p:cNvSpPr/>
            <p:nvPr/>
          </p:nvSpPr>
          <p:spPr>
            <a:xfrm rot="16200000">
              <a:off x="2426682" y="932608"/>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4" name="Oval 133">
              <a:extLst>
                <a:ext uri="{FF2B5EF4-FFF2-40B4-BE49-F238E27FC236}">
                  <a16:creationId xmlns:a16="http://schemas.microsoft.com/office/drawing/2014/main" id="{79682885-7C8D-F04A-A54F-6E97FE4887B8}"/>
                </a:ext>
              </a:extLst>
            </p:cNvPr>
            <p:cNvSpPr/>
            <p:nvPr/>
          </p:nvSpPr>
          <p:spPr>
            <a:xfrm rot="5400000">
              <a:off x="2249914" y="90323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5" name="Oval 134">
              <a:extLst>
                <a:ext uri="{FF2B5EF4-FFF2-40B4-BE49-F238E27FC236}">
                  <a16:creationId xmlns:a16="http://schemas.microsoft.com/office/drawing/2014/main" id="{2A8A11EB-0263-4B4D-9B14-C074686F5AD2}"/>
                </a:ext>
              </a:extLst>
            </p:cNvPr>
            <p:cNvSpPr/>
            <p:nvPr/>
          </p:nvSpPr>
          <p:spPr>
            <a:xfrm rot="5400000">
              <a:off x="2562956" y="88384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6" name="Oval 135">
              <a:extLst>
                <a:ext uri="{FF2B5EF4-FFF2-40B4-BE49-F238E27FC236}">
                  <a16:creationId xmlns:a16="http://schemas.microsoft.com/office/drawing/2014/main" id="{AC0D9C89-29AB-5749-AFD5-EE1ACDC98B3F}"/>
                </a:ext>
              </a:extLst>
            </p:cNvPr>
            <p:cNvSpPr/>
            <p:nvPr/>
          </p:nvSpPr>
          <p:spPr>
            <a:xfrm rot="5400000">
              <a:off x="2191464" y="1044444"/>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7" name="Oval 136">
              <a:extLst>
                <a:ext uri="{FF2B5EF4-FFF2-40B4-BE49-F238E27FC236}">
                  <a16:creationId xmlns:a16="http://schemas.microsoft.com/office/drawing/2014/main" id="{86843468-D1ED-1A49-B6E7-A4EC1C5F7BEA}"/>
                </a:ext>
              </a:extLst>
            </p:cNvPr>
            <p:cNvSpPr/>
            <p:nvPr/>
          </p:nvSpPr>
          <p:spPr>
            <a:xfrm rot="5400000">
              <a:off x="2642861" y="953437"/>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8" name="Oval 137">
              <a:extLst>
                <a:ext uri="{FF2B5EF4-FFF2-40B4-BE49-F238E27FC236}">
                  <a16:creationId xmlns:a16="http://schemas.microsoft.com/office/drawing/2014/main" id="{EF346E09-BF93-9949-BD68-B21A37056DB0}"/>
                </a:ext>
              </a:extLst>
            </p:cNvPr>
            <p:cNvSpPr/>
            <p:nvPr/>
          </p:nvSpPr>
          <p:spPr>
            <a:xfrm rot="16200000">
              <a:off x="2388517" y="1117436"/>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9" name="Oval 138">
              <a:extLst>
                <a:ext uri="{FF2B5EF4-FFF2-40B4-BE49-F238E27FC236}">
                  <a16:creationId xmlns:a16="http://schemas.microsoft.com/office/drawing/2014/main" id="{0737F665-E287-6345-BFB5-FD7B1AB8B5D4}"/>
                </a:ext>
              </a:extLst>
            </p:cNvPr>
            <p:cNvSpPr/>
            <p:nvPr/>
          </p:nvSpPr>
          <p:spPr>
            <a:xfrm rot="5400000">
              <a:off x="2464792" y="1024020"/>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0" name="Oval 139">
              <a:extLst>
                <a:ext uri="{FF2B5EF4-FFF2-40B4-BE49-F238E27FC236}">
                  <a16:creationId xmlns:a16="http://schemas.microsoft.com/office/drawing/2014/main" id="{BDD03BFA-4627-FB44-8941-64DD2BCBB862}"/>
                </a:ext>
              </a:extLst>
            </p:cNvPr>
            <p:cNvSpPr/>
            <p:nvPr/>
          </p:nvSpPr>
          <p:spPr>
            <a:xfrm rot="5400000">
              <a:off x="2301933" y="106051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1" name="Oval 140">
              <a:extLst>
                <a:ext uri="{FF2B5EF4-FFF2-40B4-BE49-F238E27FC236}">
                  <a16:creationId xmlns:a16="http://schemas.microsoft.com/office/drawing/2014/main" id="{A0F0CEA0-1F53-4541-84EF-DF3A0F3C2002}"/>
                </a:ext>
              </a:extLst>
            </p:cNvPr>
            <p:cNvSpPr/>
            <p:nvPr/>
          </p:nvSpPr>
          <p:spPr>
            <a:xfrm rot="5400000">
              <a:off x="2606981" y="1043964"/>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2" name="Oval 141">
              <a:extLst>
                <a:ext uri="{FF2B5EF4-FFF2-40B4-BE49-F238E27FC236}">
                  <a16:creationId xmlns:a16="http://schemas.microsoft.com/office/drawing/2014/main" id="{B9BC1CCA-6599-2949-BA75-0B5F26F01D17}"/>
                </a:ext>
              </a:extLst>
            </p:cNvPr>
            <p:cNvSpPr/>
            <p:nvPr/>
          </p:nvSpPr>
          <p:spPr>
            <a:xfrm rot="16200000">
              <a:off x="2356480" y="122662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3" name="Oval 142">
              <a:extLst>
                <a:ext uri="{FF2B5EF4-FFF2-40B4-BE49-F238E27FC236}">
                  <a16:creationId xmlns:a16="http://schemas.microsoft.com/office/drawing/2014/main" id="{14E4E54D-B2A9-2443-92C6-4BC2D213571B}"/>
                </a:ext>
              </a:extLst>
            </p:cNvPr>
            <p:cNvSpPr/>
            <p:nvPr/>
          </p:nvSpPr>
          <p:spPr>
            <a:xfrm rot="5400000">
              <a:off x="2208531" y="1210245"/>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4" name="Oval 143">
              <a:extLst>
                <a:ext uri="{FF2B5EF4-FFF2-40B4-BE49-F238E27FC236}">
                  <a16:creationId xmlns:a16="http://schemas.microsoft.com/office/drawing/2014/main" id="{6B4DE200-A38B-424F-8464-33CA824836E6}"/>
                </a:ext>
              </a:extLst>
            </p:cNvPr>
            <p:cNvSpPr/>
            <p:nvPr/>
          </p:nvSpPr>
          <p:spPr>
            <a:xfrm rot="5400000">
              <a:off x="2394877" y="147288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5" name="Oval 144">
              <a:extLst>
                <a:ext uri="{FF2B5EF4-FFF2-40B4-BE49-F238E27FC236}">
                  <a16:creationId xmlns:a16="http://schemas.microsoft.com/office/drawing/2014/main" id="{69FECCF3-8C92-DA45-8D30-C41674C37301}"/>
                </a:ext>
              </a:extLst>
            </p:cNvPr>
            <p:cNvSpPr/>
            <p:nvPr/>
          </p:nvSpPr>
          <p:spPr>
            <a:xfrm rot="5400000">
              <a:off x="2418089" y="135345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6" name="Oval 145">
              <a:extLst>
                <a:ext uri="{FF2B5EF4-FFF2-40B4-BE49-F238E27FC236}">
                  <a16:creationId xmlns:a16="http://schemas.microsoft.com/office/drawing/2014/main" id="{5BED06FB-147D-8A40-B883-145359E9574B}"/>
                </a:ext>
              </a:extLst>
            </p:cNvPr>
            <p:cNvSpPr/>
            <p:nvPr/>
          </p:nvSpPr>
          <p:spPr>
            <a:xfrm rot="5400000">
              <a:off x="2501514" y="120407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7" name="Oval 146">
              <a:extLst>
                <a:ext uri="{FF2B5EF4-FFF2-40B4-BE49-F238E27FC236}">
                  <a16:creationId xmlns:a16="http://schemas.microsoft.com/office/drawing/2014/main" id="{08A4C56E-B1D5-3F4A-AA7A-8765EA627551}"/>
                </a:ext>
              </a:extLst>
            </p:cNvPr>
            <p:cNvSpPr/>
            <p:nvPr/>
          </p:nvSpPr>
          <p:spPr>
            <a:xfrm rot="5400000">
              <a:off x="2272199" y="142860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8" name="Oval 147">
              <a:extLst>
                <a:ext uri="{FF2B5EF4-FFF2-40B4-BE49-F238E27FC236}">
                  <a16:creationId xmlns:a16="http://schemas.microsoft.com/office/drawing/2014/main" id="{C984007D-2E1B-5A4C-A29E-D185AB7B37DF}"/>
                </a:ext>
              </a:extLst>
            </p:cNvPr>
            <p:cNvSpPr/>
            <p:nvPr/>
          </p:nvSpPr>
          <p:spPr>
            <a:xfrm rot="16200000">
              <a:off x="2218094" y="135406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9" name="Oval 148">
              <a:extLst>
                <a:ext uri="{FF2B5EF4-FFF2-40B4-BE49-F238E27FC236}">
                  <a16:creationId xmlns:a16="http://schemas.microsoft.com/office/drawing/2014/main" id="{7475268A-231C-9648-9064-41984FB40BFA}"/>
                </a:ext>
              </a:extLst>
            </p:cNvPr>
            <p:cNvSpPr/>
            <p:nvPr/>
          </p:nvSpPr>
          <p:spPr>
            <a:xfrm rot="16200000">
              <a:off x="2295128" y="1141969"/>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0" name="Oval 149">
              <a:extLst>
                <a:ext uri="{FF2B5EF4-FFF2-40B4-BE49-F238E27FC236}">
                  <a16:creationId xmlns:a16="http://schemas.microsoft.com/office/drawing/2014/main" id="{B33D4945-0374-6A4C-AFDA-5C45E5A9831A}"/>
                </a:ext>
              </a:extLst>
            </p:cNvPr>
            <p:cNvSpPr/>
            <p:nvPr/>
          </p:nvSpPr>
          <p:spPr>
            <a:xfrm rot="16200000">
              <a:off x="2314459" y="1320406"/>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1" name="Oval 150">
              <a:extLst>
                <a:ext uri="{FF2B5EF4-FFF2-40B4-BE49-F238E27FC236}">
                  <a16:creationId xmlns:a16="http://schemas.microsoft.com/office/drawing/2014/main" id="{B8C95D55-085C-9B41-B5F6-9BABD6B14609}"/>
                </a:ext>
              </a:extLst>
            </p:cNvPr>
            <p:cNvSpPr/>
            <p:nvPr/>
          </p:nvSpPr>
          <p:spPr>
            <a:xfrm rot="5400000">
              <a:off x="2494294" y="193891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2" name="Oval 151">
              <a:extLst>
                <a:ext uri="{FF2B5EF4-FFF2-40B4-BE49-F238E27FC236}">
                  <a16:creationId xmlns:a16="http://schemas.microsoft.com/office/drawing/2014/main" id="{002E5BAD-F1A2-8448-8F77-C1DEBC452E01}"/>
                </a:ext>
              </a:extLst>
            </p:cNvPr>
            <p:cNvSpPr/>
            <p:nvPr/>
          </p:nvSpPr>
          <p:spPr>
            <a:xfrm rot="5400000">
              <a:off x="2450732" y="1271646"/>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3" name="Oval 152">
              <a:extLst>
                <a:ext uri="{FF2B5EF4-FFF2-40B4-BE49-F238E27FC236}">
                  <a16:creationId xmlns:a16="http://schemas.microsoft.com/office/drawing/2014/main" id="{7E11FD89-0D6E-084B-827C-700FEA324C1F}"/>
                </a:ext>
              </a:extLst>
            </p:cNvPr>
            <p:cNvSpPr/>
            <p:nvPr/>
          </p:nvSpPr>
          <p:spPr>
            <a:xfrm rot="5400000">
              <a:off x="2530638" y="1341235"/>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4" name="Oval 153">
              <a:extLst>
                <a:ext uri="{FF2B5EF4-FFF2-40B4-BE49-F238E27FC236}">
                  <a16:creationId xmlns:a16="http://schemas.microsoft.com/office/drawing/2014/main" id="{C00A91F0-4966-BC46-B86D-9F6726C0A542}"/>
                </a:ext>
              </a:extLst>
            </p:cNvPr>
            <p:cNvSpPr/>
            <p:nvPr/>
          </p:nvSpPr>
          <p:spPr>
            <a:xfrm rot="16200000">
              <a:off x="2276293" y="1505234"/>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5" name="Oval 154">
              <a:extLst>
                <a:ext uri="{FF2B5EF4-FFF2-40B4-BE49-F238E27FC236}">
                  <a16:creationId xmlns:a16="http://schemas.microsoft.com/office/drawing/2014/main" id="{92FF8CAE-A3D0-6349-9115-95C4E20C05DD}"/>
                </a:ext>
              </a:extLst>
            </p:cNvPr>
            <p:cNvSpPr/>
            <p:nvPr/>
          </p:nvSpPr>
          <p:spPr>
            <a:xfrm rot="5400000">
              <a:off x="2352569" y="141181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6" name="Oval 155">
              <a:extLst>
                <a:ext uri="{FF2B5EF4-FFF2-40B4-BE49-F238E27FC236}">
                  <a16:creationId xmlns:a16="http://schemas.microsoft.com/office/drawing/2014/main" id="{E26CE596-7E67-124E-A873-ACBE73A508B0}"/>
                </a:ext>
              </a:extLst>
            </p:cNvPr>
            <p:cNvSpPr/>
            <p:nvPr/>
          </p:nvSpPr>
          <p:spPr>
            <a:xfrm rot="5400000">
              <a:off x="3215996" y="2292223"/>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7" name="Oval 156">
              <a:extLst>
                <a:ext uri="{FF2B5EF4-FFF2-40B4-BE49-F238E27FC236}">
                  <a16:creationId xmlns:a16="http://schemas.microsoft.com/office/drawing/2014/main" id="{4C5B4E1D-0F53-CB4C-B21D-11169BD6A277}"/>
                </a:ext>
              </a:extLst>
            </p:cNvPr>
            <p:cNvSpPr/>
            <p:nvPr/>
          </p:nvSpPr>
          <p:spPr>
            <a:xfrm rot="5400000">
              <a:off x="2494757" y="143176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8" name="Oval 157">
              <a:extLst>
                <a:ext uri="{FF2B5EF4-FFF2-40B4-BE49-F238E27FC236}">
                  <a16:creationId xmlns:a16="http://schemas.microsoft.com/office/drawing/2014/main" id="{4EF596BC-C032-DB47-9CDA-78B7ED351072}"/>
                </a:ext>
              </a:extLst>
            </p:cNvPr>
            <p:cNvSpPr/>
            <p:nvPr/>
          </p:nvSpPr>
          <p:spPr>
            <a:xfrm rot="16200000">
              <a:off x="2974522" y="213859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59" name="Oval 158">
              <a:extLst>
                <a:ext uri="{FF2B5EF4-FFF2-40B4-BE49-F238E27FC236}">
                  <a16:creationId xmlns:a16="http://schemas.microsoft.com/office/drawing/2014/main" id="{2CF04907-683A-C646-B092-25439308D61F}"/>
                </a:ext>
              </a:extLst>
            </p:cNvPr>
            <p:cNvSpPr/>
            <p:nvPr/>
          </p:nvSpPr>
          <p:spPr>
            <a:xfrm rot="16200000">
              <a:off x="2626573" y="184428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0" name="Oval 159">
              <a:extLst>
                <a:ext uri="{FF2B5EF4-FFF2-40B4-BE49-F238E27FC236}">
                  <a16:creationId xmlns:a16="http://schemas.microsoft.com/office/drawing/2014/main" id="{2A003BE9-AADD-684F-BBE3-6AD6B0A2AE0C}"/>
                </a:ext>
              </a:extLst>
            </p:cNvPr>
            <p:cNvSpPr/>
            <p:nvPr/>
          </p:nvSpPr>
          <p:spPr>
            <a:xfrm rot="5400000">
              <a:off x="2884063" y="1945808"/>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1" name="Oval 160">
              <a:extLst>
                <a:ext uri="{FF2B5EF4-FFF2-40B4-BE49-F238E27FC236}">
                  <a16:creationId xmlns:a16="http://schemas.microsoft.com/office/drawing/2014/main" id="{0EEEE758-9954-4844-A3B5-7B22E5461D56}"/>
                </a:ext>
              </a:extLst>
            </p:cNvPr>
            <p:cNvSpPr/>
            <p:nvPr/>
          </p:nvSpPr>
          <p:spPr>
            <a:xfrm rot="5400000">
              <a:off x="2907275" y="1826379"/>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2" name="Oval 161">
              <a:extLst>
                <a:ext uri="{FF2B5EF4-FFF2-40B4-BE49-F238E27FC236}">
                  <a16:creationId xmlns:a16="http://schemas.microsoft.com/office/drawing/2014/main" id="{8CC50206-836B-2D4F-9E64-6BC85DF9CE3E}"/>
                </a:ext>
              </a:extLst>
            </p:cNvPr>
            <p:cNvSpPr/>
            <p:nvPr/>
          </p:nvSpPr>
          <p:spPr>
            <a:xfrm rot="5400000">
              <a:off x="2835786" y="298593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3" name="Oval 162">
              <a:extLst>
                <a:ext uri="{FF2B5EF4-FFF2-40B4-BE49-F238E27FC236}">
                  <a16:creationId xmlns:a16="http://schemas.microsoft.com/office/drawing/2014/main" id="{DDDDF426-13A1-EE44-92D2-1080E6C1EBF6}"/>
                </a:ext>
              </a:extLst>
            </p:cNvPr>
            <p:cNvSpPr/>
            <p:nvPr/>
          </p:nvSpPr>
          <p:spPr>
            <a:xfrm rot="5400000">
              <a:off x="2761385" y="190153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4" name="Oval 163">
              <a:extLst>
                <a:ext uri="{FF2B5EF4-FFF2-40B4-BE49-F238E27FC236}">
                  <a16:creationId xmlns:a16="http://schemas.microsoft.com/office/drawing/2014/main" id="{FEF09595-0318-AE42-9549-B15D9B08F69B}"/>
                </a:ext>
              </a:extLst>
            </p:cNvPr>
            <p:cNvSpPr/>
            <p:nvPr/>
          </p:nvSpPr>
          <p:spPr>
            <a:xfrm rot="16200000">
              <a:off x="2707281" y="1826986"/>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5" name="Oval 164">
              <a:extLst>
                <a:ext uri="{FF2B5EF4-FFF2-40B4-BE49-F238E27FC236}">
                  <a16:creationId xmlns:a16="http://schemas.microsoft.com/office/drawing/2014/main" id="{38F87C99-6C76-F74B-B904-7C7C4C2F2671}"/>
                </a:ext>
              </a:extLst>
            </p:cNvPr>
            <p:cNvSpPr/>
            <p:nvPr/>
          </p:nvSpPr>
          <p:spPr>
            <a:xfrm rot="16200000">
              <a:off x="2603441" y="1544454"/>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6" name="Oval 165">
              <a:extLst>
                <a:ext uri="{FF2B5EF4-FFF2-40B4-BE49-F238E27FC236}">
                  <a16:creationId xmlns:a16="http://schemas.microsoft.com/office/drawing/2014/main" id="{2DD3D7B5-E72A-3C42-9183-B29F9227A255}"/>
                </a:ext>
              </a:extLst>
            </p:cNvPr>
            <p:cNvSpPr/>
            <p:nvPr/>
          </p:nvSpPr>
          <p:spPr>
            <a:xfrm rot="16200000">
              <a:off x="2803645" y="179333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7" name="Oval 166">
              <a:extLst>
                <a:ext uri="{FF2B5EF4-FFF2-40B4-BE49-F238E27FC236}">
                  <a16:creationId xmlns:a16="http://schemas.microsoft.com/office/drawing/2014/main" id="{F69D3B65-1001-C34A-B9F1-7D995B4DA245}"/>
                </a:ext>
              </a:extLst>
            </p:cNvPr>
            <p:cNvSpPr/>
            <p:nvPr/>
          </p:nvSpPr>
          <p:spPr>
            <a:xfrm rot="5400000">
              <a:off x="2626877" y="1763955"/>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8" name="Oval 167">
              <a:extLst>
                <a:ext uri="{FF2B5EF4-FFF2-40B4-BE49-F238E27FC236}">
                  <a16:creationId xmlns:a16="http://schemas.microsoft.com/office/drawing/2014/main" id="{743FF6B6-12BF-A34C-BF0C-9EFAF07A37F3}"/>
                </a:ext>
              </a:extLst>
            </p:cNvPr>
            <p:cNvSpPr/>
            <p:nvPr/>
          </p:nvSpPr>
          <p:spPr>
            <a:xfrm rot="5400000">
              <a:off x="4361704" y="3441660"/>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69" name="Oval 168">
              <a:extLst>
                <a:ext uri="{FF2B5EF4-FFF2-40B4-BE49-F238E27FC236}">
                  <a16:creationId xmlns:a16="http://schemas.microsoft.com/office/drawing/2014/main" id="{7907BCBA-F550-DC4F-954A-C25A5BC91AB0}"/>
                </a:ext>
              </a:extLst>
            </p:cNvPr>
            <p:cNvSpPr/>
            <p:nvPr/>
          </p:nvSpPr>
          <p:spPr>
            <a:xfrm rot="5400000">
              <a:off x="2568427" y="1905167"/>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0" name="Oval 169">
              <a:extLst>
                <a:ext uri="{FF2B5EF4-FFF2-40B4-BE49-F238E27FC236}">
                  <a16:creationId xmlns:a16="http://schemas.microsoft.com/office/drawing/2014/main" id="{A4FFC2C1-9C02-174C-B4FC-DF42097734F7}"/>
                </a:ext>
              </a:extLst>
            </p:cNvPr>
            <p:cNvSpPr/>
            <p:nvPr/>
          </p:nvSpPr>
          <p:spPr>
            <a:xfrm rot="5400000">
              <a:off x="3019824" y="1814160"/>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1" name="Oval 170">
              <a:extLst>
                <a:ext uri="{FF2B5EF4-FFF2-40B4-BE49-F238E27FC236}">
                  <a16:creationId xmlns:a16="http://schemas.microsoft.com/office/drawing/2014/main" id="{42E5D5C2-565B-5145-9212-9C83DAD71183}"/>
                </a:ext>
              </a:extLst>
            </p:cNvPr>
            <p:cNvSpPr/>
            <p:nvPr/>
          </p:nvSpPr>
          <p:spPr>
            <a:xfrm rot="16200000">
              <a:off x="2765480" y="1978159"/>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2" name="Oval 171">
              <a:extLst>
                <a:ext uri="{FF2B5EF4-FFF2-40B4-BE49-F238E27FC236}">
                  <a16:creationId xmlns:a16="http://schemas.microsoft.com/office/drawing/2014/main" id="{61871D83-5159-3342-8F58-298C712D53B7}"/>
                </a:ext>
              </a:extLst>
            </p:cNvPr>
            <p:cNvSpPr/>
            <p:nvPr/>
          </p:nvSpPr>
          <p:spPr>
            <a:xfrm rot="5400000">
              <a:off x="2841755" y="188474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3" name="Oval 172">
              <a:extLst>
                <a:ext uri="{FF2B5EF4-FFF2-40B4-BE49-F238E27FC236}">
                  <a16:creationId xmlns:a16="http://schemas.microsoft.com/office/drawing/2014/main" id="{DF5DF32C-7B28-A841-B664-180FDCA40BE7}"/>
                </a:ext>
              </a:extLst>
            </p:cNvPr>
            <p:cNvSpPr/>
            <p:nvPr/>
          </p:nvSpPr>
          <p:spPr>
            <a:xfrm rot="5400000">
              <a:off x="2678896" y="192123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4" name="Oval 173">
              <a:extLst>
                <a:ext uri="{FF2B5EF4-FFF2-40B4-BE49-F238E27FC236}">
                  <a16:creationId xmlns:a16="http://schemas.microsoft.com/office/drawing/2014/main" id="{9EFB4187-0DCE-BF49-9758-DB952DD54E8F}"/>
                </a:ext>
              </a:extLst>
            </p:cNvPr>
            <p:cNvSpPr/>
            <p:nvPr/>
          </p:nvSpPr>
          <p:spPr>
            <a:xfrm rot="5400000">
              <a:off x="2983944" y="1904687"/>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5" name="Oval 174">
              <a:extLst>
                <a:ext uri="{FF2B5EF4-FFF2-40B4-BE49-F238E27FC236}">
                  <a16:creationId xmlns:a16="http://schemas.microsoft.com/office/drawing/2014/main" id="{01C9000C-53B4-3D40-8D73-B6C9F30FA0D0}"/>
                </a:ext>
              </a:extLst>
            </p:cNvPr>
            <p:cNvSpPr/>
            <p:nvPr/>
          </p:nvSpPr>
          <p:spPr>
            <a:xfrm rot="16200000">
              <a:off x="2733443" y="2087347"/>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6" name="Oval 175">
              <a:extLst>
                <a:ext uri="{FF2B5EF4-FFF2-40B4-BE49-F238E27FC236}">
                  <a16:creationId xmlns:a16="http://schemas.microsoft.com/office/drawing/2014/main" id="{5C00EDD0-6BD5-EC44-86B1-E6475178A8E5}"/>
                </a:ext>
              </a:extLst>
            </p:cNvPr>
            <p:cNvSpPr/>
            <p:nvPr/>
          </p:nvSpPr>
          <p:spPr>
            <a:xfrm rot="16200000">
              <a:off x="2487043" y="206892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7" name="Oval 176">
              <a:extLst>
                <a:ext uri="{FF2B5EF4-FFF2-40B4-BE49-F238E27FC236}">
                  <a16:creationId xmlns:a16="http://schemas.microsoft.com/office/drawing/2014/main" id="{0A57B53A-BBCB-634F-819A-7378B99A831B}"/>
                </a:ext>
              </a:extLst>
            </p:cNvPr>
            <p:cNvSpPr/>
            <p:nvPr/>
          </p:nvSpPr>
          <p:spPr>
            <a:xfrm rot="16200000">
              <a:off x="2514350" y="2232080"/>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8" name="Oval 177">
              <a:extLst>
                <a:ext uri="{FF2B5EF4-FFF2-40B4-BE49-F238E27FC236}">
                  <a16:creationId xmlns:a16="http://schemas.microsoft.com/office/drawing/2014/main" id="{1EAF51B7-2D88-3D42-9097-9469467DB183}"/>
                </a:ext>
              </a:extLst>
            </p:cNvPr>
            <p:cNvSpPr/>
            <p:nvPr/>
          </p:nvSpPr>
          <p:spPr>
            <a:xfrm rot="5400000">
              <a:off x="2585494" y="2070968"/>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79" name="Oval 178">
              <a:extLst>
                <a:ext uri="{FF2B5EF4-FFF2-40B4-BE49-F238E27FC236}">
                  <a16:creationId xmlns:a16="http://schemas.microsoft.com/office/drawing/2014/main" id="{B4479783-2250-0940-B610-85F63336167F}"/>
                </a:ext>
              </a:extLst>
            </p:cNvPr>
            <p:cNvSpPr/>
            <p:nvPr/>
          </p:nvSpPr>
          <p:spPr>
            <a:xfrm rot="5400000">
              <a:off x="2771840" y="2333607"/>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0" name="Oval 179">
              <a:extLst>
                <a:ext uri="{FF2B5EF4-FFF2-40B4-BE49-F238E27FC236}">
                  <a16:creationId xmlns:a16="http://schemas.microsoft.com/office/drawing/2014/main" id="{BC6EA5EB-00FC-D04C-9701-ACC8B9DB200B}"/>
                </a:ext>
              </a:extLst>
            </p:cNvPr>
            <p:cNvSpPr/>
            <p:nvPr/>
          </p:nvSpPr>
          <p:spPr>
            <a:xfrm rot="5400000">
              <a:off x="2795052" y="2214177"/>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1" name="Oval 180">
              <a:extLst>
                <a:ext uri="{FF2B5EF4-FFF2-40B4-BE49-F238E27FC236}">
                  <a16:creationId xmlns:a16="http://schemas.microsoft.com/office/drawing/2014/main" id="{D2B51BD7-914A-6547-AFA7-6C8B8D9776B0}"/>
                </a:ext>
              </a:extLst>
            </p:cNvPr>
            <p:cNvSpPr/>
            <p:nvPr/>
          </p:nvSpPr>
          <p:spPr>
            <a:xfrm rot="5400000">
              <a:off x="2878477" y="206480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2" name="Oval 181">
              <a:extLst>
                <a:ext uri="{FF2B5EF4-FFF2-40B4-BE49-F238E27FC236}">
                  <a16:creationId xmlns:a16="http://schemas.microsoft.com/office/drawing/2014/main" id="{05AA1D2D-FE40-7A48-997B-E9CFBA444DFA}"/>
                </a:ext>
              </a:extLst>
            </p:cNvPr>
            <p:cNvSpPr/>
            <p:nvPr/>
          </p:nvSpPr>
          <p:spPr>
            <a:xfrm rot="5400000">
              <a:off x="2649162" y="2289329"/>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3" name="Oval 182">
              <a:extLst>
                <a:ext uri="{FF2B5EF4-FFF2-40B4-BE49-F238E27FC236}">
                  <a16:creationId xmlns:a16="http://schemas.microsoft.com/office/drawing/2014/main" id="{F382544D-BE28-BD4A-9D79-4AC565279712}"/>
                </a:ext>
              </a:extLst>
            </p:cNvPr>
            <p:cNvSpPr/>
            <p:nvPr/>
          </p:nvSpPr>
          <p:spPr>
            <a:xfrm rot="16200000">
              <a:off x="2595057" y="221478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4" name="Oval 183">
              <a:extLst>
                <a:ext uri="{FF2B5EF4-FFF2-40B4-BE49-F238E27FC236}">
                  <a16:creationId xmlns:a16="http://schemas.microsoft.com/office/drawing/2014/main" id="{31617021-2613-F943-8605-482A1116B3B0}"/>
                </a:ext>
              </a:extLst>
            </p:cNvPr>
            <p:cNvSpPr/>
            <p:nvPr/>
          </p:nvSpPr>
          <p:spPr>
            <a:xfrm rot="16200000">
              <a:off x="2672091" y="2002692"/>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5" name="Oval 184">
              <a:extLst>
                <a:ext uri="{FF2B5EF4-FFF2-40B4-BE49-F238E27FC236}">
                  <a16:creationId xmlns:a16="http://schemas.microsoft.com/office/drawing/2014/main" id="{35179936-1FE2-A147-86E0-E4218D489E7B}"/>
                </a:ext>
              </a:extLst>
            </p:cNvPr>
            <p:cNvSpPr/>
            <p:nvPr/>
          </p:nvSpPr>
          <p:spPr>
            <a:xfrm rot="16200000">
              <a:off x="2691422" y="2181129"/>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6" name="Oval 185">
              <a:extLst>
                <a:ext uri="{FF2B5EF4-FFF2-40B4-BE49-F238E27FC236}">
                  <a16:creationId xmlns:a16="http://schemas.microsoft.com/office/drawing/2014/main" id="{7059153F-4740-4E40-A38E-FAA43D6C30CC}"/>
                </a:ext>
              </a:extLst>
            </p:cNvPr>
            <p:cNvSpPr/>
            <p:nvPr/>
          </p:nvSpPr>
          <p:spPr>
            <a:xfrm rot="5400000">
              <a:off x="2514654" y="2151753"/>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7" name="Oval 186">
              <a:extLst>
                <a:ext uri="{FF2B5EF4-FFF2-40B4-BE49-F238E27FC236}">
                  <a16:creationId xmlns:a16="http://schemas.microsoft.com/office/drawing/2014/main" id="{E88DD27B-7702-314E-BBD8-EA918F4F12E3}"/>
                </a:ext>
              </a:extLst>
            </p:cNvPr>
            <p:cNvSpPr/>
            <p:nvPr/>
          </p:nvSpPr>
          <p:spPr>
            <a:xfrm rot="5400000">
              <a:off x="2827695" y="2132369"/>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8" name="Oval 187">
              <a:extLst>
                <a:ext uri="{FF2B5EF4-FFF2-40B4-BE49-F238E27FC236}">
                  <a16:creationId xmlns:a16="http://schemas.microsoft.com/office/drawing/2014/main" id="{F9B3160E-D9ED-EE49-B43B-37F5D17D0311}"/>
                </a:ext>
              </a:extLst>
            </p:cNvPr>
            <p:cNvSpPr/>
            <p:nvPr/>
          </p:nvSpPr>
          <p:spPr>
            <a:xfrm rot="5400000">
              <a:off x="2562427" y="2006504"/>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89" name="Oval 188">
              <a:extLst>
                <a:ext uri="{FF2B5EF4-FFF2-40B4-BE49-F238E27FC236}">
                  <a16:creationId xmlns:a16="http://schemas.microsoft.com/office/drawing/2014/main" id="{7862332F-B0D6-D44B-95B5-7F7109D230DC}"/>
                </a:ext>
              </a:extLst>
            </p:cNvPr>
            <p:cNvSpPr/>
            <p:nvPr/>
          </p:nvSpPr>
          <p:spPr>
            <a:xfrm rot="5400000">
              <a:off x="2907601" y="2201958"/>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0" name="Oval 189">
              <a:extLst>
                <a:ext uri="{FF2B5EF4-FFF2-40B4-BE49-F238E27FC236}">
                  <a16:creationId xmlns:a16="http://schemas.microsoft.com/office/drawing/2014/main" id="{56818EF0-158A-F345-8C99-5E11CFA51A2A}"/>
                </a:ext>
              </a:extLst>
            </p:cNvPr>
            <p:cNvSpPr/>
            <p:nvPr/>
          </p:nvSpPr>
          <p:spPr>
            <a:xfrm rot="16200000">
              <a:off x="2653256" y="2365957"/>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1" name="Oval 190">
              <a:extLst>
                <a:ext uri="{FF2B5EF4-FFF2-40B4-BE49-F238E27FC236}">
                  <a16:creationId xmlns:a16="http://schemas.microsoft.com/office/drawing/2014/main" id="{9A0D444A-877F-0D42-A26A-B07690AD1621}"/>
                </a:ext>
              </a:extLst>
            </p:cNvPr>
            <p:cNvSpPr/>
            <p:nvPr/>
          </p:nvSpPr>
          <p:spPr>
            <a:xfrm rot="5400000">
              <a:off x="2729532" y="227254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2" name="Oval 191">
              <a:extLst>
                <a:ext uri="{FF2B5EF4-FFF2-40B4-BE49-F238E27FC236}">
                  <a16:creationId xmlns:a16="http://schemas.microsoft.com/office/drawing/2014/main" id="{A46C1510-FBEF-7C45-B753-8654155A5864}"/>
                </a:ext>
              </a:extLst>
            </p:cNvPr>
            <p:cNvSpPr/>
            <p:nvPr/>
          </p:nvSpPr>
          <p:spPr>
            <a:xfrm rot="5400000">
              <a:off x="2566672" y="230903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3" name="Oval 192">
              <a:extLst>
                <a:ext uri="{FF2B5EF4-FFF2-40B4-BE49-F238E27FC236}">
                  <a16:creationId xmlns:a16="http://schemas.microsoft.com/office/drawing/2014/main" id="{0CDC4F70-A604-1D44-A27B-9932EDDF9E3B}"/>
                </a:ext>
              </a:extLst>
            </p:cNvPr>
            <p:cNvSpPr/>
            <p:nvPr/>
          </p:nvSpPr>
          <p:spPr>
            <a:xfrm rot="5400000">
              <a:off x="2871720" y="2292485"/>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4" name="Oval 193">
              <a:extLst>
                <a:ext uri="{FF2B5EF4-FFF2-40B4-BE49-F238E27FC236}">
                  <a16:creationId xmlns:a16="http://schemas.microsoft.com/office/drawing/2014/main" id="{BFA40B7B-115C-0F47-9883-80DB13BC5BEB}"/>
                </a:ext>
              </a:extLst>
            </p:cNvPr>
            <p:cNvSpPr/>
            <p:nvPr/>
          </p:nvSpPr>
          <p:spPr>
            <a:xfrm rot="16200000">
              <a:off x="2382057" y="1607196"/>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5" name="Oval 194">
              <a:extLst>
                <a:ext uri="{FF2B5EF4-FFF2-40B4-BE49-F238E27FC236}">
                  <a16:creationId xmlns:a16="http://schemas.microsoft.com/office/drawing/2014/main" id="{B62DDFD0-4D77-E041-A7DD-327AC4E27630}"/>
                </a:ext>
              </a:extLst>
            </p:cNvPr>
            <p:cNvSpPr/>
            <p:nvPr/>
          </p:nvSpPr>
          <p:spPr>
            <a:xfrm rot="16200000">
              <a:off x="2485687" y="154879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6" name="Oval 195">
              <a:extLst>
                <a:ext uri="{FF2B5EF4-FFF2-40B4-BE49-F238E27FC236}">
                  <a16:creationId xmlns:a16="http://schemas.microsoft.com/office/drawing/2014/main" id="{6EB515E3-78C5-404C-ACAF-78C5A791298F}"/>
                </a:ext>
              </a:extLst>
            </p:cNvPr>
            <p:cNvSpPr/>
            <p:nvPr/>
          </p:nvSpPr>
          <p:spPr>
            <a:xfrm rot="16200000">
              <a:off x="2162964" y="175192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7" name="Oval 196">
              <a:extLst>
                <a:ext uri="{FF2B5EF4-FFF2-40B4-BE49-F238E27FC236}">
                  <a16:creationId xmlns:a16="http://schemas.microsoft.com/office/drawing/2014/main" id="{41CDE104-FA2A-C641-8999-279E05B6DA7F}"/>
                </a:ext>
              </a:extLst>
            </p:cNvPr>
            <p:cNvSpPr/>
            <p:nvPr/>
          </p:nvSpPr>
          <p:spPr>
            <a:xfrm rot="5400000">
              <a:off x="4397158" y="3514840"/>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8" name="Oval 197">
              <a:extLst>
                <a:ext uri="{FF2B5EF4-FFF2-40B4-BE49-F238E27FC236}">
                  <a16:creationId xmlns:a16="http://schemas.microsoft.com/office/drawing/2014/main" id="{976D918D-9B3E-0A4B-A389-10121F416F02}"/>
                </a:ext>
              </a:extLst>
            </p:cNvPr>
            <p:cNvSpPr/>
            <p:nvPr/>
          </p:nvSpPr>
          <p:spPr>
            <a:xfrm rot="5400000">
              <a:off x="2420454" y="185345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99" name="Oval 198">
              <a:extLst>
                <a:ext uri="{FF2B5EF4-FFF2-40B4-BE49-F238E27FC236}">
                  <a16:creationId xmlns:a16="http://schemas.microsoft.com/office/drawing/2014/main" id="{7C5EA4F8-944B-A74E-875F-C8009E5675BF}"/>
                </a:ext>
              </a:extLst>
            </p:cNvPr>
            <p:cNvSpPr/>
            <p:nvPr/>
          </p:nvSpPr>
          <p:spPr>
            <a:xfrm rot="5400000">
              <a:off x="2443666" y="173402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0" name="Oval 199">
              <a:extLst>
                <a:ext uri="{FF2B5EF4-FFF2-40B4-BE49-F238E27FC236}">
                  <a16:creationId xmlns:a16="http://schemas.microsoft.com/office/drawing/2014/main" id="{0B430966-A148-2F43-9C2F-EF57B6F4A3FB}"/>
                </a:ext>
              </a:extLst>
            </p:cNvPr>
            <p:cNvSpPr/>
            <p:nvPr/>
          </p:nvSpPr>
          <p:spPr>
            <a:xfrm rot="5400000">
              <a:off x="2576745" y="162744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1" name="Oval 200">
              <a:extLst>
                <a:ext uri="{FF2B5EF4-FFF2-40B4-BE49-F238E27FC236}">
                  <a16:creationId xmlns:a16="http://schemas.microsoft.com/office/drawing/2014/main" id="{A2038BB7-98D8-FC4B-8B0B-CA7FB6ACF7C7}"/>
                </a:ext>
              </a:extLst>
            </p:cNvPr>
            <p:cNvSpPr/>
            <p:nvPr/>
          </p:nvSpPr>
          <p:spPr>
            <a:xfrm rot="5400000">
              <a:off x="2297776" y="1809177"/>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2" name="Oval 201">
              <a:extLst>
                <a:ext uri="{FF2B5EF4-FFF2-40B4-BE49-F238E27FC236}">
                  <a16:creationId xmlns:a16="http://schemas.microsoft.com/office/drawing/2014/main" id="{EE30B469-7AB5-CB4C-8529-007D9B1BDA00}"/>
                </a:ext>
              </a:extLst>
            </p:cNvPr>
            <p:cNvSpPr/>
            <p:nvPr/>
          </p:nvSpPr>
          <p:spPr>
            <a:xfrm rot="16200000">
              <a:off x="2243672" y="1734633"/>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3" name="Oval 202">
              <a:extLst>
                <a:ext uri="{FF2B5EF4-FFF2-40B4-BE49-F238E27FC236}">
                  <a16:creationId xmlns:a16="http://schemas.microsoft.com/office/drawing/2014/main" id="{DE91EA8B-A391-3F42-8E82-7E0F292CB4E2}"/>
                </a:ext>
              </a:extLst>
            </p:cNvPr>
            <p:cNvSpPr/>
            <p:nvPr/>
          </p:nvSpPr>
          <p:spPr>
            <a:xfrm rot="16200000">
              <a:off x="2320705" y="1522541"/>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4" name="Oval 203">
              <a:extLst>
                <a:ext uri="{FF2B5EF4-FFF2-40B4-BE49-F238E27FC236}">
                  <a16:creationId xmlns:a16="http://schemas.microsoft.com/office/drawing/2014/main" id="{F0F6613F-59AA-2B42-A354-1CB505866EA6}"/>
                </a:ext>
              </a:extLst>
            </p:cNvPr>
            <p:cNvSpPr/>
            <p:nvPr/>
          </p:nvSpPr>
          <p:spPr>
            <a:xfrm rot="16200000">
              <a:off x="2340036" y="1700978"/>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5" name="Oval 204">
              <a:extLst>
                <a:ext uri="{FF2B5EF4-FFF2-40B4-BE49-F238E27FC236}">
                  <a16:creationId xmlns:a16="http://schemas.microsoft.com/office/drawing/2014/main" id="{CFB24576-6093-9349-9721-EBA384B11879}"/>
                </a:ext>
              </a:extLst>
            </p:cNvPr>
            <p:cNvSpPr/>
            <p:nvPr/>
          </p:nvSpPr>
          <p:spPr>
            <a:xfrm rot="5400000">
              <a:off x="2494564" y="151593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6" name="Oval 205">
              <a:extLst>
                <a:ext uri="{FF2B5EF4-FFF2-40B4-BE49-F238E27FC236}">
                  <a16:creationId xmlns:a16="http://schemas.microsoft.com/office/drawing/2014/main" id="{ACBA4C26-1C90-4E4C-BB45-19DD88EF4DE4}"/>
                </a:ext>
              </a:extLst>
            </p:cNvPr>
            <p:cNvSpPr/>
            <p:nvPr/>
          </p:nvSpPr>
          <p:spPr>
            <a:xfrm rot="5400000">
              <a:off x="2476310" y="165221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7" name="Oval 206">
              <a:extLst>
                <a:ext uri="{FF2B5EF4-FFF2-40B4-BE49-F238E27FC236}">
                  <a16:creationId xmlns:a16="http://schemas.microsoft.com/office/drawing/2014/main" id="{45688258-B23A-A242-859A-21DC0D036555}"/>
                </a:ext>
              </a:extLst>
            </p:cNvPr>
            <p:cNvSpPr/>
            <p:nvPr/>
          </p:nvSpPr>
          <p:spPr>
            <a:xfrm rot="5400000">
              <a:off x="2104818" y="1812814"/>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8" name="Oval 207">
              <a:extLst>
                <a:ext uri="{FF2B5EF4-FFF2-40B4-BE49-F238E27FC236}">
                  <a16:creationId xmlns:a16="http://schemas.microsoft.com/office/drawing/2014/main" id="{9EA778DE-9D5C-844F-B760-35260745FA58}"/>
                </a:ext>
              </a:extLst>
            </p:cNvPr>
            <p:cNvSpPr/>
            <p:nvPr/>
          </p:nvSpPr>
          <p:spPr>
            <a:xfrm rot="5400000">
              <a:off x="2551538" y="1686661"/>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09" name="Oval 208">
              <a:extLst>
                <a:ext uri="{FF2B5EF4-FFF2-40B4-BE49-F238E27FC236}">
                  <a16:creationId xmlns:a16="http://schemas.microsoft.com/office/drawing/2014/main" id="{834B6EBE-6ACF-7D49-962B-6EE79A5F5095}"/>
                </a:ext>
              </a:extLst>
            </p:cNvPr>
            <p:cNvSpPr/>
            <p:nvPr/>
          </p:nvSpPr>
          <p:spPr>
            <a:xfrm rot="16200000">
              <a:off x="2301871" y="1885806"/>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0" name="Oval 209">
              <a:extLst>
                <a:ext uri="{FF2B5EF4-FFF2-40B4-BE49-F238E27FC236}">
                  <a16:creationId xmlns:a16="http://schemas.microsoft.com/office/drawing/2014/main" id="{C72323C1-971E-DE4B-8E95-3B54C8E3545E}"/>
                </a:ext>
              </a:extLst>
            </p:cNvPr>
            <p:cNvSpPr/>
            <p:nvPr/>
          </p:nvSpPr>
          <p:spPr>
            <a:xfrm rot="5400000">
              <a:off x="2378146" y="1792390"/>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1" name="Oval 210">
              <a:extLst>
                <a:ext uri="{FF2B5EF4-FFF2-40B4-BE49-F238E27FC236}">
                  <a16:creationId xmlns:a16="http://schemas.microsoft.com/office/drawing/2014/main" id="{A7097D46-6ED9-9840-B015-4B168F1BCD2E}"/>
                </a:ext>
              </a:extLst>
            </p:cNvPr>
            <p:cNvSpPr/>
            <p:nvPr/>
          </p:nvSpPr>
          <p:spPr>
            <a:xfrm rot="5400000">
              <a:off x="2215287" y="1828886"/>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2" name="Oval 211">
              <a:extLst>
                <a:ext uri="{FF2B5EF4-FFF2-40B4-BE49-F238E27FC236}">
                  <a16:creationId xmlns:a16="http://schemas.microsoft.com/office/drawing/2014/main" id="{67D08A9A-824C-E145-8264-5FD64B88DADB}"/>
                </a:ext>
              </a:extLst>
            </p:cNvPr>
            <p:cNvSpPr/>
            <p:nvPr/>
          </p:nvSpPr>
          <p:spPr>
            <a:xfrm rot="5400000">
              <a:off x="2520335" y="1812334"/>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3" name="Oval 212">
              <a:extLst>
                <a:ext uri="{FF2B5EF4-FFF2-40B4-BE49-F238E27FC236}">
                  <a16:creationId xmlns:a16="http://schemas.microsoft.com/office/drawing/2014/main" id="{374B0328-1C0D-9F44-BDCA-AF863DE857A8}"/>
                </a:ext>
              </a:extLst>
            </p:cNvPr>
            <p:cNvSpPr/>
            <p:nvPr/>
          </p:nvSpPr>
          <p:spPr>
            <a:xfrm rot="16200000">
              <a:off x="2269834" y="199499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4" name="Oval 213">
              <a:extLst>
                <a:ext uri="{FF2B5EF4-FFF2-40B4-BE49-F238E27FC236}">
                  <a16:creationId xmlns:a16="http://schemas.microsoft.com/office/drawing/2014/main" id="{1193DA24-276B-2542-AAB6-331DBCC82130}"/>
                </a:ext>
              </a:extLst>
            </p:cNvPr>
            <p:cNvSpPr/>
            <p:nvPr/>
          </p:nvSpPr>
          <p:spPr>
            <a:xfrm rot="16200000">
              <a:off x="2041833" y="195295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5" name="Oval 214">
              <a:extLst>
                <a:ext uri="{FF2B5EF4-FFF2-40B4-BE49-F238E27FC236}">
                  <a16:creationId xmlns:a16="http://schemas.microsoft.com/office/drawing/2014/main" id="{2F1B4385-5EDB-384F-958B-70FCCEE5BF33}"/>
                </a:ext>
              </a:extLst>
            </p:cNvPr>
            <p:cNvSpPr/>
            <p:nvPr/>
          </p:nvSpPr>
          <p:spPr>
            <a:xfrm rot="16200000">
              <a:off x="2050741" y="213972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6" name="Oval 215">
              <a:extLst>
                <a:ext uri="{FF2B5EF4-FFF2-40B4-BE49-F238E27FC236}">
                  <a16:creationId xmlns:a16="http://schemas.microsoft.com/office/drawing/2014/main" id="{8E0C2F83-FF67-6B47-A771-F01805A3F065}"/>
                </a:ext>
              </a:extLst>
            </p:cNvPr>
            <p:cNvSpPr/>
            <p:nvPr/>
          </p:nvSpPr>
          <p:spPr>
            <a:xfrm rot="5400000">
              <a:off x="2121885" y="1978615"/>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7" name="Oval 216">
              <a:extLst>
                <a:ext uri="{FF2B5EF4-FFF2-40B4-BE49-F238E27FC236}">
                  <a16:creationId xmlns:a16="http://schemas.microsoft.com/office/drawing/2014/main" id="{686AC07F-E6A7-014E-88CB-72FD2DFF8409}"/>
                </a:ext>
              </a:extLst>
            </p:cNvPr>
            <p:cNvSpPr/>
            <p:nvPr/>
          </p:nvSpPr>
          <p:spPr>
            <a:xfrm rot="5400000">
              <a:off x="2308231" y="224125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8" name="Oval 217">
              <a:extLst>
                <a:ext uri="{FF2B5EF4-FFF2-40B4-BE49-F238E27FC236}">
                  <a16:creationId xmlns:a16="http://schemas.microsoft.com/office/drawing/2014/main" id="{7B83D496-60E6-3448-8835-747B7837E874}"/>
                </a:ext>
              </a:extLst>
            </p:cNvPr>
            <p:cNvSpPr/>
            <p:nvPr/>
          </p:nvSpPr>
          <p:spPr>
            <a:xfrm rot="5400000">
              <a:off x="2331443" y="212182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19" name="Oval 218">
              <a:extLst>
                <a:ext uri="{FF2B5EF4-FFF2-40B4-BE49-F238E27FC236}">
                  <a16:creationId xmlns:a16="http://schemas.microsoft.com/office/drawing/2014/main" id="{8AF81E9A-9774-2547-B2E3-363AC9AB9725}"/>
                </a:ext>
              </a:extLst>
            </p:cNvPr>
            <p:cNvSpPr/>
            <p:nvPr/>
          </p:nvSpPr>
          <p:spPr>
            <a:xfrm rot="5400000">
              <a:off x="2414868" y="197244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0" name="Oval 219">
              <a:extLst>
                <a:ext uri="{FF2B5EF4-FFF2-40B4-BE49-F238E27FC236}">
                  <a16:creationId xmlns:a16="http://schemas.microsoft.com/office/drawing/2014/main" id="{81D1699C-0280-434B-9321-033C21C76E25}"/>
                </a:ext>
              </a:extLst>
            </p:cNvPr>
            <p:cNvSpPr/>
            <p:nvPr/>
          </p:nvSpPr>
          <p:spPr>
            <a:xfrm rot="5400000">
              <a:off x="2185553" y="219697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1" name="Oval 220">
              <a:extLst>
                <a:ext uri="{FF2B5EF4-FFF2-40B4-BE49-F238E27FC236}">
                  <a16:creationId xmlns:a16="http://schemas.microsoft.com/office/drawing/2014/main" id="{D902BB33-AE4B-4D47-877D-A532BA7FE6C6}"/>
                </a:ext>
              </a:extLst>
            </p:cNvPr>
            <p:cNvSpPr/>
            <p:nvPr/>
          </p:nvSpPr>
          <p:spPr>
            <a:xfrm rot="16200000">
              <a:off x="2131448" y="212243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2" name="Oval 221">
              <a:extLst>
                <a:ext uri="{FF2B5EF4-FFF2-40B4-BE49-F238E27FC236}">
                  <a16:creationId xmlns:a16="http://schemas.microsoft.com/office/drawing/2014/main" id="{5BFF7D75-5E7B-E345-82B3-B68E06C84BDE}"/>
                </a:ext>
              </a:extLst>
            </p:cNvPr>
            <p:cNvSpPr/>
            <p:nvPr/>
          </p:nvSpPr>
          <p:spPr>
            <a:xfrm rot="16200000">
              <a:off x="2208482" y="1910339"/>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3" name="Oval 222">
              <a:extLst>
                <a:ext uri="{FF2B5EF4-FFF2-40B4-BE49-F238E27FC236}">
                  <a16:creationId xmlns:a16="http://schemas.microsoft.com/office/drawing/2014/main" id="{0B6AF514-2998-714B-AC06-EC897CE75C42}"/>
                </a:ext>
              </a:extLst>
            </p:cNvPr>
            <p:cNvSpPr/>
            <p:nvPr/>
          </p:nvSpPr>
          <p:spPr>
            <a:xfrm rot="16200000">
              <a:off x="2227813" y="2088776"/>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4" name="Oval 223">
              <a:extLst>
                <a:ext uri="{FF2B5EF4-FFF2-40B4-BE49-F238E27FC236}">
                  <a16:creationId xmlns:a16="http://schemas.microsoft.com/office/drawing/2014/main" id="{7B8F4FAA-DEFC-6F4D-A58E-8E146C2C87E7}"/>
                </a:ext>
              </a:extLst>
            </p:cNvPr>
            <p:cNvSpPr/>
            <p:nvPr/>
          </p:nvSpPr>
          <p:spPr>
            <a:xfrm rot="5400000">
              <a:off x="2051045" y="205940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5" name="Oval 224">
              <a:extLst>
                <a:ext uri="{FF2B5EF4-FFF2-40B4-BE49-F238E27FC236}">
                  <a16:creationId xmlns:a16="http://schemas.microsoft.com/office/drawing/2014/main" id="{942AE473-BEC9-444A-AA57-0114814FBE2A}"/>
                </a:ext>
              </a:extLst>
            </p:cNvPr>
            <p:cNvSpPr/>
            <p:nvPr/>
          </p:nvSpPr>
          <p:spPr>
            <a:xfrm rot="5400000">
              <a:off x="2364086" y="2040016"/>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6" name="Oval 225">
              <a:extLst>
                <a:ext uri="{FF2B5EF4-FFF2-40B4-BE49-F238E27FC236}">
                  <a16:creationId xmlns:a16="http://schemas.microsoft.com/office/drawing/2014/main" id="{A3AB0E7A-70F5-DA4D-8ACF-8D514502F05E}"/>
                </a:ext>
              </a:extLst>
            </p:cNvPr>
            <p:cNvSpPr/>
            <p:nvPr/>
          </p:nvSpPr>
          <p:spPr>
            <a:xfrm rot="5400000">
              <a:off x="2098818" y="1914151"/>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7" name="Oval 226">
              <a:extLst>
                <a:ext uri="{FF2B5EF4-FFF2-40B4-BE49-F238E27FC236}">
                  <a16:creationId xmlns:a16="http://schemas.microsoft.com/office/drawing/2014/main" id="{23CBF76E-6F32-014C-94FD-941A67AB18EC}"/>
                </a:ext>
              </a:extLst>
            </p:cNvPr>
            <p:cNvSpPr/>
            <p:nvPr/>
          </p:nvSpPr>
          <p:spPr>
            <a:xfrm rot="5400000">
              <a:off x="2443992" y="2109605"/>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8" name="Oval 227">
              <a:extLst>
                <a:ext uri="{FF2B5EF4-FFF2-40B4-BE49-F238E27FC236}">
                  <a16:creationId xmlns:a16="http://schemas.microsoft.com/office/drawing/2014/main" id="{E68F2A60-971E-9640-B308-6687B35130BC}"/>
                </a:ext>
              </a:extLst>
            </p:cNvPr>
            <p:cNvSpPr/>
            <p:nvPr/>
          </p:nvSpPr>
          <p:spPr>
            <a:xfrm rot="16200000">
              <a:off x="2189647" y="2273604"/>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29" name="Oval 228">
              <a:extLst>
                <a:ext uri="{FF2B5EF4-FFF2-40B4-BE49-F238E27FC236}">
                  <a16:creationId xmlns:a16="http://schemas.microsoft.com/office/drawing/2014/main" id="{E41C7556-7520-8C4C-B74F-A6FB41870D85}"/>
                </a:ext>
              </a:extLst>
            </p:cNvPr>
            <p:cNvSpPr/>
            <p:nvPr/>
          </p:nvSpPr>
          <p:spPr>
            <a:xfrm rot="5400000">
              <a:off x="2265923" y="218018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0" name="Oval 229">
              <a:extLst>
                <a:ext uri="{FF2B5EF4-FFF2-40B4-BE49-F238E27FC236}">
                  <a16:creationId xmlns:a16="http://schemas.microsoft.com/office/drawing/2014/main" id="{7A652F28-B04B-F54A-9A82-828C75EA4329}"/>
                </a:ext>
              </a:extLst>
            </p:cNvPr>
            <p:cNvSpPr/>
            <p:nvPr/>
          </p:nvSpPr>
          <p:spPr>
            <a:xfrm rot="5400000">
              <a:off x="2103063" y="2216684"/>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1" name="Oval 230">
              <a:extLst>
                <a:ext uri="{FF2B5EF4-FFF2-40B4-BE49-F238E27FC236}">
                  <a16:creationId xmlns:a16="http://schemas.microsoft.com/office/drawing/2014/main" id="{51EDBE5A-F4D8-F04A-9C62-BD025752CE24}"/>
                </a:ext>
              </a:extLst>
            </p:cNvPr>
            <p:cNvSpPr/>
            <p:nvPr/>
          </p:nvSpPr>
          <p:spPr>
            <a:xfrm rot="5400000">
              <a:off x="2408111" y="220013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2" name="Oval 231">
              <a:extLst>
                <a:ext uri="{FF2B5EF4-FFF2-40B4-BE49-F238E27FC236}">
                  <a16:creationId xmlns:a16="http://schemas.microsoft.com/office/drawing/2014/main" id="{34CCE03C-A275-C048-A836-E95D1F750966}"/>
                </a:ext>
              </a:extLst>
            </p:cNvPr>
            <p:cNvSpPr/>
            <p:nvPr/>
          </p:nvSpPr>
          <p:spPr>
            <a:xfrm rot="16200000">
              <a:off x="1754618" y="1897566"/>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3" name="Oval 232">
              <a:extLst>
                <a:ext uri="{FF2B5EF4-FFF2-40B4-BE49-F238E27FC236}">
                  <a16:creationId xmlns:a16="http://schemas.microsoft.com/office/drawing/2014/main" id="{72466699-FA3B-584E-B9A2-7B3B74F2430A}"/>
                </a:ext>
              </a:extLst>
            </p:cNvPr>
            <p:cNvSpPr/>
            <p:nvPr/>
          </p:nvSpPr>
          <p:spPr>
            <a:xfrm rot="16200000">
              <a:off x="1847790" y="184639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4" name="Oval 233">
              <a:extLst>
                <a:ext uri="{FF2B5EF4-FFF2-40B4-BE49-F238E27FC236}">
                  <a16:creationId xmlns:a16="http://schemas.microsoft.com/office/drawing/2014/main" id="{B5F91443-F032-DB48-9648-0C266714B3E0}"/>
                </a:ext>
              </a:extLst>
            </p:cNvPr>
            <p:cNvSpPr/>
            <p:nvPr/>
          </p:nvSpPr>
          <p:spPr>
            <a:xfrm rot="16200000">
              <a:off x="1564333" y="203781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5" name="Oval 234">
              <a:extLst>
                <a:ext uri="{FF2B5EF4-FFF2-40B4-BE49-F238E27FC236}">
                  <a16:creationId xmlns:a16="http://schemas.microsoft.com/office/drawing/2014/main" id="{EAAFB778-C4AD-DB43-99A6-7F9DB25CE0F4}"/>
                </a:ext>
              </a:extLst>
            </p:cNvPr>
            <p:cNvSpPr/>
            <p:nvPr/>
          </p:nvSpPr>
          <p:spPr>
            <a:xfrm rot="5400000" flipH="1" flipV="1">
              <a:off x="1685065" y="1965721"/>
              <a:ext cx="58730" cy="587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6" name="Oval 235">
              <a:extLst>
                <a:ext uri="{FF2B5EF4-FFF2-40B4-BE49-F238E27FC236}">
                  <a16:creationId xmlns:a16="http://schemas.microsoft.com/office/drawing/2014/main" id="{B7E5734B-290D-9B40-9149-84DE6DE405D2}"/>
                </a:ext>
              </a:extLst>
            </p:cNvPr>
            <p:cNvSpPr/>
            <p:nvPr/>
          </p:nvSpPr>
          <p:spPr>
            <a:xfrm rot="5400000">
              <a:off x="1829619" y="2134620"/>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7" name="Oval 236">
              <a:extLst>
                <a:ext uri="{FF2B5EF4-FFF2-40B4-BE49-F238E27FC236}">
                  <a16:creationId xmlns:a16="http://schemas.microsoft.com/office/drawing/2014/main" id="{CAD50ACB-FE50-3E4C-B54D-9337C0116102}"/>
                </a:ext>
              </a:extLst>
            </p:cNvPr>
            <p:cNvSpPr/>
            <p:nvPr/>
          </p:nvSpPr>
          <p:spPr>
            <a:xfrm rot="5400000">
              <a:off x="1845035" y="2019909"/>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8" name="Oval 237">
              <a:extLst>
                <a:ext uri="{FF2B5EF4-FFF2-40B4-BE49-F238E27FC236}">
                  <a16:creationId xmlns:a16="http://schemas.microsoft.com/office/drawing/2014/main" id="{0421C020-8C43-614B-967C-13093C427FD3}"/>
                </a:ext>
              </a:extLst>
            </p:cNvPr>
            <p:cNvSpPr/>
            <p:nvPr/>
          </p:nvSpPr>
          <p:spPr>
            <a:xfrm rot="5400000">
              <a:off x="1965808" y="1915673"/>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39" name="Oval 238">
              <a:extLst>
                <a:ext uri="{FF2B5EF4-FFF2-40B4-BE49-F238E27FC236}">
                  <a16:creationId xmlns:a16="http://schemas.microsoft.com/office/drawing/2014/main" id="{24D75CE3-29D1-394B-83CD-519ADD724E67}"/>
                </a:ext>
              </a:extLst>
            </p:cNvPr>
            <p:cNvSpPr/>
            <p:nvPr/>
          </p:nvSpPr>
          <p:spPr>
            <a:xfrm rot="5400000">
              <a:off x="1699145" y="209506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0" name="Oval 239">
              <a:extLst>
                <a:ext uri="{FF2B5EF4-FFF2-40B4-BE49-F238E27FC236}">
                  <a16:creationId xmlns:a16="http://schemas.microsoft.com/office/drawing/2014/main" id="{2957AE99-9B47-AF43-8B03-83677EFE0248}"/>
                </a:ext>
              </a:extLst>
            </p:cNvPr>
            <p:cNvSpPr/>
            <p:nvPr/>
          </p:nvSpPr>
          <p:spPr>
            <a:xfrm rot="16200000">
              <a:off x="1645041" y="2020516"/>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1" name="Oval 240">
              <a:extLst>
                <a:ext uri="{FF2B5EF4-FFF2-40B4-BE49-F238E27FC236}">
                  <a16:creationId xmlns:a16="http://schemas.microsoft.com/office/drawing/2014/main" id="{CFFD2E64-5F2E-A648-8E84-A2F46BA56A7B}"/>
                </a:ext>
              </a:extLst>
            </p:cNvPr>
            <p:cNvSpPr/>
            <p:nvPr/>
          </p:nvSpPr>
          <p:spPr>
            <a:xfrm rot="16200000">
              <a:off x="1922430" y="2202120"/>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2" name="Oval 241">
              <a:extLst>
                <a:ext uri="{FF2B5EF4-FFF2-40B4-BE49-F238E27FC236}">
                  <a16:creationId xmlns:a16="http://schemas.microsoft.com/office/drawing/2014/main" id="{9DF4EAD5-90CB-F943-99A2-96C911E2BC1C}"/>
                </a:ext>
              </a:extLst>
            </p:cNvPr>
            <p:cNvSpPr/>
            <p:nvPr/>
          </p:nvSpPr>
          <p:spPr>
            <a:xfrm rot="16200000">
              <a:off x="1741405" y="198686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3" name="Oval 242">
              <a:extLst>
                <a:ext uri="{FF2B5EF4-FFF2-40B4-BE49-F238E27FC236}">
                  <a16:creationId xmlns:a16="http://schemas.microsoft.com/office/drawing/2014/main" id="{B228E23A-40D6-164A-A759-DD15953F682E}"/>
                </a:ext>
              </a:extLst>
            </p:cNvPr>
            <p:cNvSpPr/>
            <p:nvPr/>
          </p:nvSpPr>
          <p:spPr>
            <a:xfrm rot="5400000">
              <a:off x="2038665" y="228029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4" name="Oval 243">
              <a:extLst>
                <a:ext uri="{FF2B5EF4-FFF2-40B4-BE49-F238E27FC236}">
                  <a16:creationId xmlns:a16="http://schemas.microsoft.com/office/drawing/2014/main" id="{8E7D1BB2-988D-D74A-B7D1-727D0DD85116}"/>
                </a:ext>
              </a:extLst>
            </p:cNvPr>
            <p:cNvSpPr/>
            <p:nvPr/>
          </p:nvSpPr>
          <p:spPr>
            <a:xfrm rot="5400000">
              <a:off x="1877679" y="193810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5" name="Oval 244">
              <a:extLst>
                <a:ext uri="{FF2B5EF4-FFF2-40B4-BE49-F238E27FC236}">
                  <a16:creationId xmlns:a16="http://schemas.microsoft.com/office/drawing/2014/main" id="{735BD11A-C0A3-B84B-8300-0A0BB4F69D88}"/>
                </a:ext>
              </a:extLst>
            </p:cNvPr>
            <p:cNvSpPr/>
            <p:nvPr/>
          </p:nvSpPr>
          <p:spPr>
            <a:xfrm rot="5400000">
              <a:off x="1521601" y="2114618"/>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6" name="Oval 245">
              <a:extLst>
                <a:ext uri="{FF2B5EF4-FFF2-40B4-BE49-F238E27FC236}">
                  <a16:creationId xmlns:a16="http://schemas.microsoft.com/office/drawing/2014/main" id="{96356575-685D-DB49-B0A3-A5AA288049D8}"/>
                </a:ext>
              </a:extLst>
            </p:cNvPr>
            <p:cNvSpPr/>
            <p:nvPr/>
          </p:nvSpPr>
          <p:spPr>
            <a:xfrm rot="5400000">
              <a:off x="1957584" y="2007690"/>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7" name="Oval 246">
              <a:extLst>
                <a:ext uri="{FF2B5EF4-FFF2-40B4-BE49-F238E27FC236}">
                  <a16:creationId xmlns:a16="http://schemas.microsoft.com/office/drawing/2014/main" id="{ECD53FA6-A133-9A4E-A774-91EBBDB86899}"/>
                </a:ext>
              </a:extLst>
            </p:cNvPr>
            <p:cNvSpPr/>
            <p:nvPr/>
          </p:nvSpPr>
          <p:spPr>
            <a:xfrm rot="16200000">
              <a:off x="1703240" y="2171689"/>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8" name="Oval 247">
              <a:extLst>
                <a:ext uri="{FF2B5EF4-FFF2-40B4-BE49-F238E27FC236}">
                  <a16:creationId xmlns:a16="http://schemas.microsoft.com/office/drawing/2014/main" id="{B8498035-2526-D640-B653-C05686EB93EE}"/>
                </a:ext>
              </a:extLst>
            </p:cNvPr>
            <p:cNvSpPr/>
            <p:nvPr/>
          </p:nvSpPr>
          <p:spPr>
            <a:xfrm rot="5400000">
              <a:off x="1779515" y="207827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49" name="Oval 248">
              <a:extLst>
                <a:ext uri="{FF2B5EF4-FFF2-40B4-BE49-F238E27FC236}">
                  <a16:creationId xmlns:a16="http://schemas.microsoft.com/office/drawing/2014/main" id="{628911F7-C9FD-A344-8185-E8DF35B45304}"/>
                </a:ext>
              </a:extLst>
            </p:cNvPr>
            <p:cNvSpPr/>
            <p:nvPr/>
          </p:nvSpPr>
          <p:spPr>
            <a:xfrm rot="5400000">
              <a:off x="1616656" y="211476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0" name="Oval 249">
              <a:extLst>
                <a:ext uri="{FF2B5EF4-FFF2-40B4-BE49-F238E27FC236}">
                  <a16:creationId xmlns:a16="http://schemas.microsoft.com/office/drawing/2014/main" id="{86975C8A-4058-B34B-9B33-ED6EDFC679CB}"/>
                </a:ext>
              </a:extLst>
            </p:cNvPr>
            <p:cNvSpPr/>
            <p:nvPr/>
          </p:nvSpPr>
          <p:spPr>
            <a:xfrm rot="5400000">
              <a:off x="1902327" y="209030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1" name="Oval 250">
              <a:extLst>
                <a:ext uri="{FF2B5EF4-FFF2-40B4-BE49-F238E27FC236}">
                  <a16:creationId xmlns:a16="http://schemas.microsoft.com/office/drawing/2014/main" id="{8AA28D37-1A97-B04E-804D-4E0A912B4CE8}"/>
                </a:ext>
              </a:extLst>
            </p:cNvPr>
            <p:cNvSpPr/>
            <p:nvPr/>
          </p:nvSpPr>
          <p:spPr>
            <a:xfrm rot="5400000">
              <a:off x="1820978" y="223115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2" name="Oval 251">
              <a:extLst>
                <a:ext uri="{FF2B5EF4-FFF2-40B4-BE49-F238E27FC236}">
                  <a16:creationId xmlns:a16="http://schemas.microsoft.com/office/drawing/2014/main" id="{867A5A7D-C584-F549-907A-D0946CA7B3EA}"/>
                </a:ext>
              </a:extLst>
            </p:cNvPr>
            <p:cNvSpPr/>
            <p:nvPr/>
          </p:nvSpPr>
          <p:spPr>
            <a:xfrm rot="16200000">
              <a:off x="1609851" y="2196222"/>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3" name="Oval 252">
              <a:extLst>
                <a:ext uri="{FF2B5EF4-FFF2-40B4-BE49-F238E27FC236}">
                  <a16:creationId xmlns:a16="http://schemas.microsoft.com/office/drawing/2014/main" id="{48E134AC-1D48-7645-BDEE-C6925E7EEFEC}"/>
                </a:ext>
              </a:extLst>
            </p:cNvPr>
            <p:cNvSpPr/>
            <p:nvPr/>
          </p:nvSpPr>
          <p:spPr>
            <a:xfrm rot="5400000">
              <a:off x="1482178" y="2192500"/>
              <a:ext cx="99630" cy="9963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4" name="Oval 253">
              <a:extLst>
                <a:ext uri="{FF2B5EF4-FFF2-40B4-BE49-F238E27FC236}">
                  <a16:creationId xmlns:a16="http://schemas.microsoft.com/office/drawing/2014/main" id="{E8BB903C-3F25-D449-8EE9-577DC6480F37}"/>
                </a:ext>
              </a:extLst>
            </p:cNvPr>
            <p:cNvSpPr/>
            <p:nvPr/>
          </p:nvSpPr>
          <p:spPr>
            <a:xfrm rot="16200000">
              <a:off x="1536546" y="2272508"/>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5" name="Oval 254">
              <a:extLst>
                <a:ext uri="{FF2B5EF4-FFF2-40B4-BE49-F238E27FC236}">
                  <a16:creationId xmlns:a16="http://schemas.microsoft.com/office/drawing/2014/main" id="{20BB7F20-E0A3-A54E-9F09-DEE766D6703B}"/>
                </a:ext>
              </a:extLst>
            </p:cNvPr>
            <p:cNvSpPr/>
            <p:nvPr/>
          </p:nvSpPr>
          <p:spPr>
            <a:xfrm rot="16200000">
              <a:off x="1317453" y="241724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6" name="Oval 255">
              <a:extLst>
                <a:ext uri="{FF2B5EF4-FFF2-40B4-BE49-F238E27FC236}">
                  <a16:creationId xmlns:a16="http://schemas.microsoft.com/office/drawing/2014/main" id="{BCA75D5B-4E9F-8A44-85B5-487F2E4E412E}"/>
                </a:ext>
              </a:extLst>
            </p:cNvPr>
            <p:cNvSpPr/>
            <p:nvPr/>
          </p:nvSpPr>
          <p:spPr>
            <a:xfrm rot="5400000">
              <a:off x="1399473" y="2253341"/>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7" name="Oval 256">
              <a:extLst>
                <a:ext uri="{FF2B5EF4-FFF2-40B4-BE49-F238E27FC236}">
                  <a16:creationId xmlns:a16="http://schemas.microsoft.com/office/drawing/2014/main" id="{6F1E5586-6CC0-6D41-9FB5-53DC7AA81737}"/>
                </a:ext>
              </a:extLst>
            </p:cNvPr>
            <p:cNvSpPr/>
            <p:nvPr/>
          </p:nvSpPr>
          <p:spPr>
            <a:xfrm rot="5400000">
              <a:off x="1558539" y="2519706"/>
              <a:ext cx="64460" cy="644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8" name="Oval 257">
              <a:extLst>
                <a:ext uri="{FF2B5EF4-FFF2-40B4-BE49-F238E27FC236}">
                  <a16:creationId xmlns:a16="http://schemas.microsoft.com/office/drawing/2014/main" id="{E47E3449-07DB-C24B-B7DC-06651D06D2B4}"/>
                </a:ext>
              </a:extLst>
            </p:cNvPr>
            <p:cNvSpPr/>
            <p:nvPr/>
          </p:nvSpPr>
          <p:spPr>
            <a:xfrm rot="5400000">
              <a:off x="1598155" y="239933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59" name="Oval 258">
              <a:extLst>
                <a:ext uri="{FF2B5EF4-FFF2-40B4-BE49-F238E27FC236}">
                  <a16:creationId xmlns:a16="http://schemas.microsoft.com/office/drawing/2014/main" id="{FA33AA71-40FA-FE4B-9315-A67468E39893}"/>
                </a:ext>
              </a:extLst>
            </p:cNvPr>
            <p:cNvSpPr/>
            <p:nvPr/>
          </p:nvSpPr>
          <p:spPr>
            <a:xfrm rot="5400000">
              <a:off x="1452265" y="247449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0" name="Oval 259">
              <a:extLst>
                <a:ext uri="{FF2B5EF4-FFF2-40B4-BE49-F238E27FC236}">
                  <a16:creationId xmlns:a16="http://schemas.microsoft.com/office/drawing/2014/main" id="{DBF848FE-AE9B-0345-81D5-422ECEBC85BB}"/>
                </a:ext>
              </a:extLst>
            </p:cNvPr>
            <p:cNvSpPr/>
            <p:nvPr/>
          </p:nvSpPr>
          <p:spPr>
            <a:xfrm rot="16200000">
              <a:off x="1398160" y="2399945"/>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1" name="Oval 260">
              <a:extLst>
                <a:ext uri="{FF2B5EF4-FFF2-40B4-BE49-F238E27FC236}">
                  <a16:creationId xmlns:a16="http://schemas.microsoft.com/office/drawing/2014/main" id="{C16710B6-6F9E-6846-B210-35E8EEAC22C6}"/>
                </a:ext>
              </a:extLst>
            </p:cNvPr>
            <p:cNvSpPr/>
            <p:nvPr/>
          </p:nvSpPr>
          <p:spPr>
            <a:xfrm rot="16200000">
              <a:off x="1494525" y="2366290"/>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2" name="Oval 261">
              <a:extLst>
                <a:ext uri="{FF2B5EF4-FFF2-40B4-BE49-F238E27FC236}">
                  <a16:creationId xmlns:a16="http://schemas.microsoft.com/office/drawing/2014/main" id="{DAD2AEED-561C-A443-A298-6DAF05F27714}"/>
                </a:ext>
              </a:extLst>
            </p:cNvPr>
            <p:cNvSpPr/>
            <p:nvPr/>
          </p:nvSpPr>
          <p:spPr>
            <a:xfrm rot="5400000">
              <a:off x="1349581" y="2341888"/>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3" name="Oval 262">
              <a:extLst>
                <a:ext uri="{FF2B5EF4-FFF2-40B4-BE49-F238E27FC236}">
                  <a16:creationId xmlns:a16="http://schemas.microsoft.com/office/drawing/2014/main" id="{0DB10B97-A223-B04E-A36B-25BF080649D2}"/>
                </a:ext>
              </a:extLst>
            </p:cNvPr>
            <p:cNvSpPr/>
            <p:nvPr/>
          </p:nvSpPr>
          <p:spPr>
            <a:xfrm rot="5400000">
              <a:off x="1630798" y="2317530"/>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4" name="Oval 263">
              <a:extLst>
                <a:ext uri="{FF2B5EF4-FFF2-40B4-BE49-F238E27FC236}">
                  <a16:creationId xmlns:a16="http://schemas.microsoft.com/office/drawing/2014/main" id="{D02FE747-E105-BC46-A09D-780762E2DDF5}"/>
                </a:ext>
              </a:extLst>
            </p:cNvPr>
            <p:cNvSpPr/>
            <p:nvPr/>
          </p:nvSpPr>
          <p:spPr>
            <a:xfrm rot="5400000">
              <a:off x="1694347" y="2338104"/>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5" name="Oval 264">
              <a:extLst>
                <a:ext uri="{FF2B5EF4-FFF2-40B4-BE49-F238E27FC236}">
                  <a16:creationId xmlns:a16="http://schemas.microsoft.com/office/drawing/2014/main" id="{EB59E582-3C78-4941-BC0D-DE72D0CB6777}"/>
                </a:ext>
              </a:extLst>
            </p:cNvPr>
            <p:cNvSpPr/>
            <p:nvPr/>
          </p:nvSpPr>
          <p:spPr>
            <a:xfrm rot="16200000">
              <a:off x="1456359" y="2551118"/>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6" name="Oval 265">
              <a:extLst>
                <a:ext uri="{FF2B5EF4-FFF2-40B4-BE49-F238E27FC236}">
                  <a16:creationId xmlns:a16="http://schemas.microsoft.com/office/drawing/2014/main" id="{47611D2B-CF8A-CD4F-9A4E-049F741FC4A1}"/>
                </a:ext>
              </a:extLst>
            </p:cNvPr>
            <p:cNvSpPr/>
            <p:nvPr/>
          </p:nvSpPr>
          <p:spPr>
            <a:xfrm rot="5400000">
              <a:off x="1523884" y="2451097"/>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7" name="Oval 266">
              <a:extLst>
                <a:ext uri="{FF2B5EF4-FFF2-40B4-BE49-F238E27FC236}">
                  <a16:creationId xmlns:a16="http://schemas.microsoft.com/office/drawing/2014/main" id="{F9059327-DB17-8E4F-8C00-0FA0493FE5CD}"/>
                </a:ext>
              </a:extLst>
            </p:cNvPr>
            <p:cNvSpPr/>
            <p:nvPr/>
          </p:nvSpPr>
          <p:spPr>
            <a:xfrm rot="5400000">
              <a:off x="1974809" y="222539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8" name="Oval 267">
              <a:extLst>
                <a:ext uri="{FF2B5EF4-FFF2-40B4-BE49-F238E27FC236}">
                  <a16:creationId xmlns:a16="http://schemas.microsoft.com/office/drawing/2014/main" id="{E85CDC34-8012-574C-A06F-E2BF419F2C96}"/>
                </a:ext>
              </a:extLst>
            </p:cNvPr>
            <p:cNvSpPr/>
            <p:nvPr/>
          </p:nvSpPr>
          <p:spPr>
            <a:xfrm rot="5400000">
              <a:off x="1756899" y="228088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69" name="Oval 268">
              <a:extLst>
                <a:ext uri="{FF2B5EF4-FFF2-40B4-BE49-F238E27FC236}">
                  <a16:creationId xmlns:a16="http://schemas.microsoft.com/office/drawing/2014/main" id="{FCB22C2D-6870-FE4E-8B8B-C7A24D523804}"/>
                </a:ext>
              </a:extLst>
            </p:cNvPr>
            <p:cNvSpPr/>
            <p:nvPr/>
          </p:nvSpPr>
          <p:spPr>
            <a:xfrm rot="16200000">
              <a:off x="1439111" y="2673083"/>
              <a:ext cx="45720" cy="457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0" name="Oval 269">
              <a:extLst>
                <a:ext uri="{FF2B5EF4-FFF2-40B4-BE49-F238E27FC236}">
                  <a16:creationId xmlns:a16="http://schemas.microsoft.com/office/drawing/2014/main" id="{86AF7EB7-FF10-A14C-9184-9ECB214FC868}"/>
                </a:ext>
              </a:extLst>
            </p:cNvPr>
            <p:cNvSpPr/>
            <p:nvPr/>
          </p:nvSpPr>
          <p:spPr>
            <a:xfrm rot="16200000">
              <a:off x="2875458" y="341366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1" name="Oval 270">
              <a:extLst>
                <a:ext uri="{FF2B5EF4-FFF2-40B4-BE49-F238E27FC236}">
                  <a16:creationId xmlns:a16="http://schemas.microsoft.com/office/drawing/2014/main" id="{42286B66-D8B3-9448-A758-87D2FF9EA282}"/>
                </a:ext>
              </a:extLst>
            </p:cNvPr>
            <p:cNvSpPr/>
            <p:nvPr/>
          </p:nvSpPr>
          <p:spPr>
            <a:xfrm rot="16200000">
              <a:off x="1256954" y="251133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2" name="Oval 271">
              <a:extLst>
                <a:ext uri="{FF2B5EF4-FFF2-40B4-BE49-F238E27FC236}">
                  <a16:creationId xmlns:a16="http://schemas.microsoft.com/office/drawing/2014/main" id="{7160FC13-5F61-A54E-BCF1-0A31B0E818F5}"/>
                </a:ext>
              </a:extLst>
            </p:cNvPr>
            <p:cNvSpPr/>
            <p:nvPr/>
          </p:nvSpPr>
          <p:spPr>
            <a:xfrm rot="5400000">
              <a:off x="1213423" y="2761492"/>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3" name="Oval 272">
              <a:extLst>
                <a:ext uri="{FF2B5EF4-FFF2-40B4-BE49-F238E27FC236}">
                  <a16:creationId xmlns:a16="http://schemas.microsoft.com/office/drawing/2014/main" id="{A4B7298E-7687-984B-ABAE-BF0D256B8C33}"/>
                </a:ext>
              </a:extLst>
            </p:cNvPr>
            <p:cNvSpPr/>
            <p:nvPr/>
          </p:nvSpPr>
          <p:spPr>
            <a:xfrm rot="5400000">
              <a:off x="1251588" y="267782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4" name="Oval 273">
              <a:extLst>
                <a:ext uri="{FF2B5EF4-FFF2-40B4-BE49-F238E27FC236}">
                  <a16:creationId xmlns:a16="http://schemas.microsoft.com/office/drawing/2014/main" id="{0BE948BB-5680-B74D-BBDA-E5EF32C9EB47}"/>
                </a:ext>
              </a:extLst>
            </p:cNvPr>
            <p:cNvSpPr/>
            <p:nvPr/>
          </p:nvSpPr>
          <p:spPr>
            <a:xfrm rot="5400000">
              <a:off x="1087767" y="2711179"/>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5" name="Oval 274">
              <a:extLst>
                <a:ext uri="{FF2B5EF4-FFF2-40B4-BE49-F238E27FC236}">
                  <a16:creationId xmlns:a16="http://schemas.microsoft.com/office/drawing/2014/main" id="{785B5B1C-AD86-2C42-A4B4-EA410C50BFAE}"/>
                </a:ext>
              </a:extLst>
            </p:cNvPr>
            <p:cNvSpPr/>
            <p:nvPr/>
          </p:nvSpPr>
          <p:spPr>
            <a:xfrm rot="16200000">
              <a:off x="1022045" y="281535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6" name="Oval 275">
              <a:extLst>
                <a:ext uri="{FF2B5EF4-FFF2-40B4-BE49-F238E27FC236}">
                  <a16:creationId xmlns:a16="http://schemas.microsoft.com/office/drawing/2014/main" id="{03018D13-4688-5B47-9B86-9FC8E49F4A74}"/>
                </a:ext>
              </a:extLst>
            </p:cNvPr>
            <p:cNvSpPr/>
            <p:nvPr/>
          </p:nvSpPr>
          <p:spPr>
            <a:xfrm rot="16200000">
              <a:off x="1168013" y="260504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7" name="Oval 276">
              <a:extLst>
                <a:ext uri="{FF2B5EF4-FFF2-40B4-BE49-F238E27FC236}">
                  <a16:creationId xmlns:a16="http://schemas.microsoft.com/office/drawing/2014/main" id="{423442EF-4D22-0A42-B702-1D057EC3F48D}"/>
                </a:ext>
              </a:extLst>
            </p:cNvPr>
            <p:cNvSpPr/>
            <p:nvPr/>
          </p:nvSpPr>
          <p:spPr>
            <a:xfrm rot="5400000">
              <a:off x="1231753" y="2860818"/>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8" name="Oval 277">
              <a:extLst>
                <a:ext uri="{FF2B5EF4-FFF2-40B4-BE49-F238E27FC236}">
                  <a16:creationId xmlns:a16="http://schemas.microsoft.com/office/drawing/2014/main" id="{9D9B5A64-F0EA-6B40-8EC3-979BDE0A8E23}"/>
                </a:ext>
              </a:extLst>
            </p:cNvPr>
            <p:cNvSpPr/>
            <p:nvPr/>
          </p:nvSpPr>
          <p:spPr>
            <a:xfrm rot="5400000">
              <a:off x="1265957" y="2594435"/>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79" name="Oval 278">
              <a:extLst>
                <a:ext uri="{FF2B5EF4-FFF2-40B4-BE49-F238E27FC236}">
                  <a16:creationId xmlns:a16="http://schemas.microsoft.com/office/drawing/2014/main" id="{51564B6A-BC7F-5C4F-A953-C5FA57B44780}"/>
                </a:ext>
              </a:extLst>
            </p:cNvPr>
            <p:cNvSpPr/>
            <p:nvPr/>
          </p:nvSpPr>
          <p:spPr>
            <a:xfrm rot="5400000">
              <a:off x="1333137" y="2609452"/>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0" name="Oval 279">
              <a:extLst>
                <a:ext uri="{FF2B5EF4-FFF2-40B4-BE49-F238E27FC236}">
                  <a16:creationId xmlns:a16="http://schemas.microsoft.com/office/drawing/2014/main" id="{68A93154-85A7-9341-BCFF-F3689434B4B3}"/>
                </a:ext>
              </a:extLst>
            </p:cNvPr>
            <p:cNvSpPr/>
            <p:nvPr/>
          </p:nvSpPr>
          <p:spPr>
            <a:xfrm rot="16200000">
              <a:off x="1091861" y="2787807"/>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1" name="Oval 280">
              <a:extLst>
                <a:ext uri="{FF2B5EF4-FFF2-40B4-BE49-F238E27FC236}">
                  <a16:creationId xmlns:a16="http://schemas.microsoft.com/office/drawing/2014/main" id="{E8A1213D-E83C-4843-82E2-A242C613D2D2}"/>
                </a:ext>
              </a:extLst>
            </p:cNvPr>
            <p:cNvSpPr/>
            <p:nvPr/>
          </p:nvSpPr>
          <p:spPr>
            <a:xfrm rot="5400000">
              <a:off x="1168137" y="269439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2" name="Oval 281">
              <a:extLst>
                <a:ext uri="{FF2B5EF4-FFF2-40B4-BE49-F238E27FC236}">
                  <a16:creationId xmlns:a16="http://schemas.microsoft.com/office/drawing/2014/main" id="{CF38B58B-9BB1-9449-A95E-C7AE1B855BF0}"/>
                </a:ext>
              </a:extLst>
            </p:cNvPr>
            <p:cNvSpPr/>
            <p:nvPr/>
          </p:nvSpPr>
          <p:spPr>
            <a:xfrm rot="5400000">
              <a:off x="1050276" y="2891044"/>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3" name="Oval 282">
              <a:extLst>
                <a:ext uri="{FF2B5EF4-FFF2-40B4-BE49-F238E27FC236}">
                  <a16:creationId xmlns:a16="http://schemas.microsoft.com/office/drawing/2014/main" id="{1259D4CC-86E0-AB4E-A6CE-8A8253391D3E}"/>
                </a:ext>
              </a:extLst>
            </p:cNvPr>
            <p:cNvSpPr/>
            <p:nvPr/>
          </p:nvSpPr>
          <p:spPr>
            <a:xfrm rot="5400000">
              <a:off x="1370223" y="2717533"/>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4" name="Oval 283">
              <a:extLst>
                <a:ext uri="{FF2B5EF4-FFF2-40B4-BE49-F238E27FC236}">
                  <a16:creationId xmlns:a16="http://schemas.microsoft.com/office/drawing/2014/main" id="{3CBAD135-3924-C442-9DBB-A9D6A909F5DF}"/>
                </a:ext>
              </a:extLst>
            </p:cNvPr>
            <p:cNvSpPr/>
            <p:nvPr/>
          </p:nvSpPr>
          <p:spPr>
            <a:xfrm rot="16200000">
              <a:off x="1031366" y="2969551"/>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5" name="Oval 284">
              <a:extLst>
                <a:ext uri="{FF2B5EF4-FFF2-40B4-BE49-F238E27FC236}">
                  <a16:creationId xmlns:a16="http://schemas.microsoft.com/office/drawing/2014/main" id="{C60CF28B-532D-244A-84AD-AB043FC445F4}"/>
                </a:ext>
              </a:extLst>
            </p:cNvPr>
            <p:cNvSpPr/>
            <p:nvPr/>
          </p:nvSpPr>
          <p:spPr>
            <a:xfrm rot="16200000">
              <a:off x="1134996" y="2911151"/>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6" name="Oval 285">
              <a:extLst>
                <a:ext uri="{FF2B5EF4-FFF2-40B4-BE49-F238E27FC236}">
                  <a16:creationId xmlns:a16="http://schemas.microsoft.com/office/drawing/2014/main" id="{35E7D36F-4D66-E247-A606-601CE7A38A22}"/>
                </a:ext>
              </a:extLst>
            </p:cNvPr>
            <p:cNvSpPr/>
            <p:nvPr/>
          </p:nvSpPr>
          <p:spPr>
            <a:xfrm rot="16200000">
              <a:off x="829445" y="312985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7" name="Oval 286">
              <a:extLst>
                <a:ext uri="{FF2B5EF4-FFF2-40B4-BE49-F238E27FC236}">
                  <a16:creationId xmlns:a16="http://schemas.microsoft.com/office/drawing/2014/main" id="{8E854FCF-E0F3-BE47-8386-FCD635635387}"/>
                </a:ext>
              </a:extLst>
            </p:cNvPr>
            <p:cNvSpPr/>
            <p:nvPr/>
          </p:nvSpPr>
          <p:spPr>
            <a:xfrm rot="5400000">
              <a:off x="911262" y="2963616"/>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8" name="Oval 287">
              <a:extLst>
                <a:ext uri="{FF2B5EF4-FFF2-40B4-BE49-F238E27FC236}">
                  <a16:creationId xmlns:a16="http://schemas.microsoft.com/office/drawing/2014/main" id="{7BBB80E8-0A25-9443-B9C3-F00B7EBFCA70}"/>
                </a:ext>
              </a:extLst>
            </p:cNvPr>
            <p:cNvSpPr/>
            <p:nvPr/>
          </p:nvSpPr>
          <p:spPr>
            <a:xfrm rot="5400000">
              <a:off x="1066109" y="3076950"/>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89" name="Oval 288">
              <a:extLst>
                <a:ext uri="{FF2B5EF4-FFF2-40B4-BE49-F238E27FC236}">
                  <a16:creationId xmlns:a16="http://schemas.microsoft.com/office/drawing/2014/main" id="{001A1471-15C3-EB4C-8C8D-9B5351D1A7AD}"/>
                </a:ext>
              </a:extLst>
            </p:cNvPr>
            <p:cNvSpPr/>
            <p:nvPr/>
          </p:nvSpPr>
          <p:spPr>
            <a:xfrm rot="5400000">
              <a:off x="2451423" y="246667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0" name="Oval 289">
              <a:extLst>
                <a:ext uri="{FF2B5EF4-FFF2-40B4-BE49-F238E27FC236}">
                  <a16:creationId xmlns:a16="http://schemas.microsoft.com/office/drawing/2014/main" id="{5A0BA0AC-348E-1141-82AB-51D3C8773E9C}"/>
                </a:ext>
              </a:extLst>
            </p:cNvPr>
            <p:cNvSpPr/>
            <p:nvPr/>
          </p:nvSpPr>
          <p:spPr>
            <a:xfrm rot="5400000">
              <a:off x="928466" y="309541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1" name="Oval 290">
              <a:extLst>
                <a:ext uri="{FF2B5EF4-FFF2-40B4-BE49-F238E27FC236}">
                  <a16:creationId xmlns:a16="http://schemas.microsoft.com/office/drawing/2014/main" id="{34E2B20B-763E-F449-9C7E-414EDC9A7F57}"/>
                </a:ext>
              </a:extLst>
            </p:cNvPr>
            <p:cNvSpPr/>
            <p:nvPr/>
          </p:nvSpPr>
          <p:spPr>
            <a:xfrm rot="16200000">
              <a:off x="895362" y="3161815"/>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2" name="Oval 291">
              <a:extLst>
                <a:ext uri="{FF2B5EF4-FFF2-40B4-BE49-F238E27FC236}">
                  <a16:creationId xmlns:a16="http://schemas.microsoft.com/office/drawing/2014/main" id="{963BA3AC-DF47-E247-9910-217922DCF647}"/>
                </a:ext>
              </a:extLst>
            </p:cNvPr>
            <p:cNvSpPr/>
            <p:nvPr/>
          </p:nvSpPr>
          <p:spPr>
            <a:xfrm rot="16200000">
              <a:off x="970014" y="2884896"/>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3" name="Oval 292">
              <a:extLst>
                <a:ext uri="{FF2B5EF4-FFF2-40B4-BE49-F238E27FC236}">
                  <a16:creationId xmlns:a16="http://schemas.microsoft.com/office/drawing/2014/main" id="{F57BF44A-B943-9B4C-A994-FF2DB0A08E6D}"/>
                </a:ext>
              </a:extLst>
            </p:cNvPr>
            <p:cNvSpPr/>
            <p:nvPr/>
          </p:nvSpPr>
          <p:spPr>
            <a:xfrm rot="16200000">
              <a:off x="989345" y="3063333"/>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4" name="Oval 293">
              <a:extLst>
                <a:ext uri="{FF2B5EF4-FFF2-40B4-BE49-F238E27FC236}">
                  <a16:creationId xmlns:a16="http://schemas.microsoft.com/office/drawing/2014/main" id="{6AEAFB37-09B2-CC4A-9CC9-3EA0CF57FFEC}"/>
                </a:ext>
              </a:extLst>
            </p:cNvPr>
            <p:cNvSpPr/>
            <p:nvPr/>
          </p:nvSpPr>
          <p:spPr>
            <a:xfrm rot="5400000">
              <a:off x="860230" y="3061275"/>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5" name="Oval 294">
              <a:extLst>
                <a:ext uri="{FF2B5EF4-FFF2-40B4-BE49-F238E27FC236}">
                  <a16:creationId xmlns:a16="http://schemas.microsoft.com/office/drawing/2014/main" id="{AD77A14A-CC1E-C346-A42E-811821FCF856}"/>
                </a:ext>
              </a:extLst>
            </p:cNvPr>
            <p:cNvSpPr/>
            <p:nvPr/>
          </p:nvSpPr>
          <p:spPr>
            <a:xfrm rot="5400000">
              <a:off x="1125619" y="301457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6" name="Oval 295">
              <a:extLst>
                <a:ext uri="{FF2B5EF4-FFF2-40B4-BE49-F238E27FC236}">
                  <a16:creationId xmlns:a16="http://schemas.microsoft.com/office/drawing/2014/main" id="{2E626BED-9216-F543-BB62-2BA129B4337D}"/>
                </a:ext>
              </a:extLst>
            </p:cNvPr>
            <p:cNvSpPr/>
            <p:nvPr/>
          </p:nvSpPr>
          <p:spPr>
            <a:xfrm rot="5400000">
              <a:off x="760111" y="3239146"/>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7" name="Oval 296">
              <a:extLst>
                <a:ext uri="{FF2B5EF4-FFF2-40B4-BE49-F238E27FC236}">
                  <a16:creationId xmlns:a16="http://schemas.microsoft.com/office/drawing/2014/main" id="{0D1E7839-D1B2-9A4C-B0C9-9999EE8A1644}"/>
                </a:ext>
              </a:extLst>
            </p:cNvPr>
            <p:cNvSpPr/>
            <p:nvPr/>
          </p:nvSpPr>
          <p:spPr>
            <a:xfrm rot="5400000">
              <a:off x="1349789" y="2497161"/>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8" name="Oval 297">
              <a:extLst>
                <a:ext uri="{FF2B5EF4-FFF2-40B4-BE49-F238E27FC236}">
                  <a16:creationId xmlns:a16="http://schemas.microsoft.com/office/drawing/2014/main" id="{60CB2927-5E79-C545-8E41-161BFC71A5A9}"/>
                </a:ext>
              </a:extLst>
            </p:cNvPr>
            <p:cNvSpPr/>
            <p:nvPr/>
          </p:nvSpPr>
          <p:spPr>
            <a:xfrm rot="16200000">
              <a:off x="919239" y="3207466"/>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299" name="Oval 298">
              <a:extLst>
                <a:ext uri="{FF2B5EF4-FFF2-40B4-BE49-F238E27FC236}">
                  <a16:creationId xmlns:a16="http://schemas.microsoft.com/office/drawing/2014/main" id="{45C288BD-3F69-504F-9122-F8FB2C122D2F}"/>
                </a:ext>
              </a:extLst>
            </p:cNvPr>
            <p:cNvSpPr/>
            <p:nvPr/>
          </p:nvSpPr>
          <p:spPr>
            <a:xfrm rot="5400000">
              <a:off x="1019168" y="315781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0" name="Oval 299">
              <a:extLst>
                <a:ext uri="{FF2B5EF4-FFF2-40B4-BE49-F238E27FC236}">
                  <a16:creationId xmlns:a16="http://schemas.microsoft.com/office/drawing/2014/main" id="{9EE932C2-3046-4744-A8D9-FA1A5B904146}"/>
                </a:ext>
              </a:extLst>
            </p:cNvPr>
            <p:cNvSpPr/>
            <p:nvPr/>
          </p:nvSpPr>
          <p:spPr>
            <a:xfrm rot="5400000">
              <a:off x="855781" y="3233815"/>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1" name="Oval 300">
              <a:extLst>
                <a:ext uri="{FF2B5EF4-FFF2-40B4-BE49-F238E27FC236}">
                  <a16:creationId xmlns:a16="http://schemas.microsoft.com/office/drawing/2014/main" id="{BC0B9424-3C6E-874B-AF22-ACDE6CCE712C}"/>
                </a:ext>
              </a:extLst>
            </p:cNvPr>
            <p:cNvSpPr/>
            <p:nvPr/>
          </p:nvSpPr>
          <p:spPr>
            <a:xfrm rot="5400000">
              <a:off x="468364" y="381360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2" name="Oval 301">
              <a:extLst>
                <a:ext uri="{FF2B5EF4-FFF2-40B4-BE49-F238E27FC236}">
                  <a16:creationId xmlns:a16="http://schemas.microsoft.com/office/drawing/2014/main" id="{4A40E901-0AC0-6649-AC70-1DD7CA4D2E4E}"/>
                </a:ext>
              </a:extLst>
            </p:cNvPr>
            <p:cNvSpPr/>
            <p:nvPr/>
          </p:nvSpPr>
          <p:spPr>
            <a:xfrm rot="5400000">
              <a:off x="2495303" y="2385241"/>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3" name="Oval 302">
              <a:extLst>
                <a:ext uri="{FF2B5EF4-FFF2-40B4-BE49-F238E27FC236}">
                  <a16:creationId xmlns:a16="http://schemas.microsoft.com/office/drawing/2014/main" id="{655CC88A-0920-904E-876A-38A835CDB2E5}"/>
                </a:ext>
              </a:extLst>
            </p:cNvPr>
            <p:cNvSpPr/>
            <p:nvPr/>
          </p:nvSpPr>
          <p:spPr>
            <a:xfrm rot="16200000">
              <a:off x="857844" y="3310025"/>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4" name="Oval 303">
              <a:extLst>
                <a:ext uri="{FF2B5EF4-FFF2-40B4-BE49-F238E27FC236}">
                  <a16:creationId xmlns:a16="http://schemas.microsoft.com/office/drawing/2014/main" id="{444EB9F9-CF2D-544D-B9D8-71A861E3C962}"/>
                </a:ext>
              </a:extLst>
            </p:cNvPr>
            <p:cNvSpPr/>
            <p:nvPr/>
          </p:nvSpPr>
          <p:spPr>
            <a:xfrm rot="5400000">
              <a:off x="779017" y="3319500"/>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5" name="Oval 304">
              <a:extLst>
                <a:ext uri="{FF2B5EF4-FFF2-40B4-BE49-F238E27FC236}">
                  <a16:creationId xmlns:a16="http://schemas.microsoft.com/office/drawing/2014/main" id="{4C9E645F-B7BB-E04A-9CE3-E92B6C344BFF}"/>
                </a:ext>
              </a:extLst>
            </p:cNvPr>
            <p:cNvSpPr/>
            <p:nvPr/>
          </p:nvSpPr>
          <p:spPr>
            <a:xfrm rot="16200000">
              <a:off x="704074" y="3421439"/>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6" name="Oval 305">
              <a:extLst>
                <a:ext uri="{FF2B5EF4-FFF2-40B4-BE49-F238E27FC236}">
                  <a16:creationId xmlns:a16="http://schemas.microsoft.com/office/drawing/2014/main" id="{233D2A6B-E67B-D742-973B-20827D14B1C7}"/>
                </a:ext>
              </a:extLst>
            </p:cNvPr>
            <p:cNvSpPr/>
            <p:nvPr/>
          </p:nvSpPr>
          <p:spPr>
            <a:xfrm rot="16200000">
              <a:off x="778232" y="3370732"/>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7" name="Oval 306">
              <a:extLst>
                <a:ext uri="{FF2B5EF4-FFF2-40B4-BE49-F238E27FC236}">
                  <a16:creationId xmlns:a16="http://schemas.microsoft.com/office/drawing/2014/main" id="{E075BEB6-C3F9-0447-8138-6B23317309AB}"/>
                </a:ext>
              </a:extLst>
            </p:cNvPr>
            <p:cNvSpPr/>
            <p:nvPr/>
          </p:nvSpPr>
          <p:spPr>
            <a:xfrm rot="16200000">
              <a:off x="499653" y="356595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8" name="Oval 307">
              <a:extLst>
                <a:ext uri="{FF2B5EF4-FFF2-40B4-BE49-F238E27FC236}">
                  <a16:creationId xmlns:a16="http://schemas.microsoft.com/office/drawing/2014/main" id="{F1F24B3B-EC07-CB49-B3B8-FE596B2012DE}"/>
                </a:ext>
              </a:extLst>
            </p:cNvPr>
            <p:cNvSpPr/>
            <p:nvPr/>
          </p:nvSpPr>
          <p:spPr>
            <a:xfrm rot="5400000">
              <a:off x="1993855" y="2408311"/>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09" name="Oval 308">
              <a:extLst>
                <a:ext uri="{FF2B5EF4-FFF2-40B4-BE49-F238E27FC236}">
                  <a16:creationId xmlns:a16="http://schemas.microsoft.com/office/drawing/2014/main" id="{4E9FA365-1BCB-A84A-9EEF-D06A854E987D}"/>
                </a:ext>
              </a:extLst>
            </p:cNvPr>
            <p:cNvSpPr/>
            <p:nvPr/>
          </p:nvSpPr>
          <p:spPr>
            <a:xfrm rot="5400000">
              <a:off x="2380787" y="274403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0" name="Oval 309">
              <a:extLst>
                <a:ext uri="{FF2B5EF4-FFF2-40B4-BE49-F238E27FC236}">
                  <a16:creationId xmlns:a16="http://schemas.microsoft.com/office/drawing/2014/main" id="{9566C539-F0A8-B146-8567-9DFD37E37DAE}"/>
                </a:ext>
              </a:extLst>
            </p:cNvPr>
            <p:cNvSpPr/>
            <p:nvPr/>
          </p:nvSpPr>
          <p:spPr>
            <a:xfrm rot="5400000">
              <a:off x="619793" y="362342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1" name="Oval 310">
              <a:extLst>
                <a:ext uri="{FF2B5EF4-FFF2-40B4-BE49-F238E27FC236}">
                  <a16:creationId xmlns:a16="http://schemas.microsoft.com/office/drawing/2014/main" id="{6CB1953E-688E-944D-ADF0-CD227C2F20F9}"/>
                </a:ext>
              </a:extLst>
            </p:cNvPr>
            <p:cNvSpPr/>
            <p:nvPr/>
          </p:nvSpPr>
          <p:spPr>
            <a:xfrm rot="16200000">
              <a:off x="570953" y="3564853"/>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2" name="Oval 311">
              <a:extLst>
                <a:ext uri="{FF2B5EF4-FFF2-40B4-BE49-F238E27FC236}">
                  <a16:creationId xmlns:a16="http://schemas.microsoft.com/office/drawing/2014/main" id="{EC71BC34-7532-1742-95B6-A022125CD6FC}"/>
                </a:ext>
              </a:extLst>
            </p:cNvPr>
            <p:cNvSpPr/>
            <p:nvPr/>
          </p:nvSpPr>
          <p:spPr>
            <a:xfrm rot="16200000" flipH="1">
              <a:off x="679980" y="3385161"/>
              <a:ext cx="45720" cy="4572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3" name="Oval 312">
              <a:extLst>
                <a:ext uri="{FF2B5EF4-FFF2-40B4-BE49-F238E27FC236}">
                  <a16:creationId xmlns:a16="http://schemas.microsoft.com/office/drawing/2014/main" id="{5014C31F-A510-3342-A8CC-18BA7A326AD7}"/>
                </a:ext>
              </a:extLst>
            </p:cNvPr>
            <p:cNvSpPr/>
            <p:nvPr/>
          </p:nvSpPr>
          <p:spPr>
            <a:xfrm rot="16200000">
              <a:off x="662053" y="351522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4" name="Oval 313">
              <a:extLst>
                <a:ext uri="{FF2B5EF4-FFF2-40B4-BE49-F238E27FC236}">
                  <a16:creationId xmlns:a16="http://schemas.microsoft.com/office/drawing/2014/main" id="{7003094D-6673-244E-A510-E95242C90B0E}"/>
                </a:ext>
              </a:extLst>
            </p:cNvPr>
            <p:cNvSpPr/>
            <p:nvPr/>
          </p:nvSpPr>
          <p:spPr>
            <a:xfrm rot="5400000">
              <a:off x="574150" y="349193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5" name="Oval 314">
              <a:extLst>
                <a:ext uri="{FF2B5EF4-FFF2-40B4-BE49-F238E27FC236}">
                  <a16:creationId xmlns:a16="http://schemas.microsoft.com/office/drawing/2014/main" id="{5B21A0B9-E004-764B-AF9A-169A857FF3A5}"/>
                </a:ext>
              </a:extLst>
            </p:cNvPr>
            <p:cNvSpPr/>
            <p:nvPr/>
          </p:nvSpPr>
          <p:spPr>
            <a:xfrm rot="5400000">
              <a:off x="668547" y="3681092"/>
              <a:ext cx="45720" cy="457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6" name="Oval 315">
              <a:extLst>
                <a:ext uri="{FF2B5EF4-FFF2-40B4-BE49-F238E27FC236}">
                  <a16:creationId xmlns:a16="http://schemas.microsoft.com/office/drawing/2014/main" id="{76DD99B4-2CDD-DD40-8B82-E83F8296BDB5}"/>
                </a:ext>
              </a:extLst>
            </p:cNvPr>
            <p:cNvSpPr/>
            <p:nvPr/>
          </p:nvSpPr>
          <p:spPr>
            <a:xfrm rot="5400000">
              <a:off x="440075" y="3635099"/>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7" name="Oval 316">
              <a:extLst>
                <a:ext uri="{FF2B5EF4-FFF2-40B4-BE49-F238E27FC236}">
                  <a16:creationId xmlns:a16="http://schemas.microsoft.com/office/drawing/2014/main" id="{6C93710A-9D36-AD41-A034-7BD62769D71B}"/>
                </a:ext>
              </a:extLst>
            </p:cNvPr>
            <p:cNvSpPr/>
            <p:nvPr/>
          </p:nvSpPr>
          <p:spPr>
            <a:xfrm rot="5400000">
              <a:off x="1958200" y="2117222"/>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8" name="Oval 317">
              <a:extLst>
                <a:ext uri="{FF2B5EF4-FFF2-40B4-BE49-F238E27FC236}">
                  <a16:creationId xmlns:a16="http://schemas.microsoft.com/office/drawing/2014/main" id="{8CC0F674-9276-1C42-B358-A577CC8B6ACC}"/>
                </a:ext>
              </a:extLst>
            </p:cNvPr>
            <p:cNvSpPr/>
            <p:nvPr/>
          </p:nvSpPr>
          <p:spPr>
            <a:xfrm rot="16200000">
              <a:off x="575905" y="3814517"/>
              <a:ext cx="45720" cy="457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19" name="Oval 318">
              <a:extLst>
                <a:ext uri="{FF2B5EF4-FFF2-40B4-BE49-F238E27FC236}">
                  <a16:creationId xmlns:a16="http://schemas.microsoft.com/office/drawing/2014/main" id="{8AECED4B-ABB0-174E-892D-E86D8C2BC1F0}"/>
                </a:ext>
              </a:extLst>
            </p:cNvPr>
            <p:cNvSpPr/>
            <p:nvPr/>
          </p:nvSpPr>
          <p:spPr>
            <a:xfrm rot="5400000">
              <a:off x="697888" y="3608467"/>
              <a:ext cx="45720" cy="457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0" name="Oval 319">
              <a:extLst>
                <a:ext uri="{FF2B5EF4-FFF2-40B4-BE49-F238E27FC236}">
                  <a16:creationId xmlns:a16="http://schemas.microsoft.com/office/drawing/2014/main" id="{1C84DF0E-44F7-8D4A-B857-41E05D2890BA}"/>
                </a:ext>
              </a:extLst>
            </p:cNvPr>
            <p:cNvSpPr/>
            <p:nvPr/>
          </p:nvSpPr>
          <p:spPr>
            <a:xfrm rot="5400000">
              <a:off x="537304" y="364312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1" name="Oval 320">
              <a:extLst>
                <a:ext uri="{FF2B5EF4-FFF2-40B4-BE49-F238E27FC236}">
                  <a16:creationId xmlns:a16="http://schemas.microsoft.com/office/drawing/2014/main" id="{8F5FAA26-A56C-3D45-BB52-3F54B4D72200}"/>
                </a:ext>
              </a:extLst>
            </p:cNvPr>
            <p:cNvSpPr/>
            <p:nvPr/>
          </p:nvSpPr>
          <p:spPr>
            <a:xfrm rot="5400000">
              <a:off x="384518" y="377919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2" name="Oval 321">
              <a:extLst>
                <a:ext uri="{FF2B5EF4-FFF2-40B4-BE49-F238E27FC236}">
                  <a16:creationId xmlns:a16="http://schemas.microsoft.com/office/drawing/2014/main" id="{E16000A6-A8BB-3C49-A576-3E3A7A9AB0CF}"/>
                </a:ext>
              </a:extLst>
            </p:cNvPr>
            <p:cNvSpPr/>
            <p:nvPr/>
          </p:nvSpPr>
          <p:spPr>
            <a:xfrm rot="5400000">
              <a:off x="586549" y="374223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3" name="Oval 322">
              <a:extLst>
                <a:ext uri="{FF2B5EF4-FFF2-40B4-BE49-F238E27FC236}">
                  <a16:creationId xmlns:a16="http://schemas.microsoft.com/office/drawing/2014/main" id="{FABB1566-6AC2-3048-AF30-89DE67164C73}"/>
                </a:ext>
              </a:extLst>
            </p:cNvPr>
            <p:cNvSpPr/>
            <p:nvPr/>
          </p:nvSpPr>
          <p:spPr>
            <a:xfrm rot="16200000">
              <a:off x="2855395" y="2754117"/>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4" name="Oval 323">
              <a:extLst>
                <a:ext uri="{FF2B5EF4-FFF2-40B4-BE49-F238E27FC236}">
                  <a16:creationId xmlns:a16="http://schemas.microsoft.com/office/drawing/2014/main" id="{E791442C-BE30-9842-842F-BE2904815961}"/>
                </a:ext>
              </a:extLst>
            </p:cNvPr>
            <p:cNvSpPr/>
            <p:nvPr/>
          </p:nvSpPr>
          <p:spPr>
            <a:xfrm rot="5400000">
              <a:off x="407548" y="3710507"/>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5" name="Oval 324">
              <a:extLst>
                <a:ext uri="{FF2B5EF4-FFF2-40B4-BE49-F238E27FC236}">
                  <a16:creationId xmlns:a16="http://schemas.microsoft.com/office/drawing/2014/main" id="{5CEAA02D-6F24-E044-878A-7D2B6FFD5132}"/>
                </a:ext>
              </a:extLst>
            </p:cNvPr>
            <p:cNvSpPr/>
            <p:nvPr/>
          </p:nvSpPr>
          <p:spPr>
            <a:xfrm rot="16200000">
              <a:off x="2559264" y="3299481"/>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6" name="Oval 325">
              <a:extLst>
                <a:ext uri="{FF2B5EF4-FFF2-40B4-BE49-F238E27FC236}">
                  <a16:creationId xmlns:a16="http://schemas.microsoft.com/office/drawing/2014/main" id="{D5BD91DF-55EA-8145-A568-B36F8313C46A}"/>
                </a:ext>
              </a:extLst>
            </p:cNvPr>
            <p:cNvSpPr/>
            <p:nvPr/>
          </p:nvSpPr>
          <p:spPr>
            <a:xfrm rot="16200000">
              <a:off x="611502" y="3419526"/>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7" name="Oval 326">
              <a:extLst>
                <a:ext uri="{FF2B5EF4-FFF2-40B4-BE49-F238E27FC236}">
                  <a16:creationId xmlns:a16="http://schemas.microsoft.com/office/drawing/2014/main" id="{AD708E9E-F6B9-1141-A5B3-96EFF1C1560D}"/>
                </a:ext>
              </a:extLst>
            </p:cNvPr>
            <p:cNvSpPr/>
            <p:nvPr/>
          </p:nvSpPr>
          <p:spPr>
            <a:xfrm rot="16200000" flipH="1" flipV="1">
              <a:off x="494392" y="3711059"/>
              <a:ext cx="45720" cy="457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8" name="Oval 327">
              <a:extLst>
                <a:ext uri="{FF2B5EF4-FFF2-40B4-BE49-F238E27FC236}">
                  <a16:creationId xmlns:a16="http://schemas.microsoft.com/office/drawing/2014/main" id="{050D1AE3-8AB8-EF4D-921C-142242F2E555}"/>
                </a:ext>
              </a:extLst>
            </p:cNvPr>
            <p:cNvSpPr/>
            <p:nvPr/>
          </p:nvSpPr>
          <p:spPr>
            <a:xfrm rot="5400000">
              <a:off x="710782" y="3331894"/>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29" name="Oval 328">
              <a:extLst>
                <a:ext uri="{FF2B5EF4-FFF2-40B4-BE49-F238E27FC236}">
                  <a16:creationId xmlns:a16="http://schemas.microsoft.com/office/drawing/2014/main" id="{5CE1EFB1-A46C-5D48-BBAF-FC214D1A3E1A}"/>
                </a:ext>
              </a:extLst>
            </p:cNvPr>
            <p:cNvSpPr/>
            <p:nvPr/>
          </p:nvSpPr>
          <p:spPr>
            <a:xfrm rot="16200000">
              <a:off x="442727" y="397221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0" name="Oval 329">
              <a:extLst>
                <a:ext uri="{FF2B5EF4-FFF2-40B4-BE49-F238E27FC236}">
                  <a16:creationId xmlns:a16="http://schemas.microsoft.com/office/drawing/2014/main" id="{0C1B13DB-6AE9-8649-B89F-2F1DAC13C6E6}"/>
                </a:ext>
              </a:extLst>
            </p:cNvPr>
            <p:cNvSpPr/>
            <p:nvPr/>
          </p:nvSpPr>
          <p:spPr>
            <a:xfrm rot="16200000">
              <a:off x="466574" y="3762918"/>
              <a:ext cx="45720" cy="457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1" name="Oval 330">
              <a:extLst>
                <a:ext uri="{FF2B5EF4-FFF2-40B4-BE49-F238E27FC236}">
                  <a16:creationId xmlns:a16="http://schemas.microsoft.com/office/drawing/2014/main" id="{A2B20937-F23B-BE47-B3D4-67023658CA62}"/>
                </a:ext>
              </a:extLst>
            </p:cNvPr>
            <p:cNvSpPr/>
            <p:nvPr/>
          </p:nvSpPr>
          <p:spPr>
            <a:xfrm rot="5400000">
              <a:off x="401544" y="384400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2" name="Oval 331">
              <a:extLst>
                <a:ext uri="{FF2B5EF4-FFF2-40B4-BE49-F238E27FC236}">
                  <a16:creationId xmlns:a16="http://schemas.microsoft.com/office/drawing/2014/main" id="{CFFAF5A4-8DCE-2B4C-8292-D6EA397518C6}"/>
                </a:ext>
              </a:extLst>
            </p:cNvPr>
            <p:cNvSpPr/>
            <p:nvPr/>
          </p:nvSpPr>
          <p:spPr>
            <a:xfrm rot="5400000">
              <a:off x="606838" y="3691231"/>
              <a:ext cx="45720" cy="457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3" name="Oval 332">
              <a:extLst>
                <a:ext uri="{FF2B5EF4-FFF2-40B4-BE49-F238E27FC236}">
                  <a16:creationId xmlns:a16="http://schemas.microsoft.com/office/drawing/2014/main" id="{6D92D6D6-D671-1045-A0F1-F180092A17C8}"/>
                </a:ext>
              </a:extLst>
            </p:cNvPr>
            <p:cNvSpPr/>
            <p:nvPr/>
          </p:nvSpPr>
          <p:spPr>
            <a:xfrm rot="5400000">
              <a:off x="468993" y="3884046"/>
              <a:ext cx="51496" cy="514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4" name="Oval 333">
              <a:extLst>
                <a:ext uri="{FF2B5EF4-FFF2-40B4-BE49-F238E27FC236}">
                  <a16:creationId xmlns:a16="http://schemas.microsoft.com/office/drawing/2014/main" id="{D18A3949-6717-5744-AA1B-99CA5F184C43}"/>
                </a:ext>
              </a:extLst>
            </p:cNvPr>
            <p:cNvSpPr/>
            <p:nvPr/>
          </p:nvSpPr>
          <p:spPr>
            <a:xfrm rot="5400000">
              <a:off x="1303700" y="275103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5" name="Oval 334">
              <a:extLst>
                <a:ext uri="{FF2B5EF4-FFF2-40B4-BE49-F238E27FC236}">
                  <a16:creationId xmlns:a16="http://schemas.microsoft.com/office/drawing/2014/main" id="{90844791-91BB-8D44-8426-4FFD3E7EC798}"/>
                </a:ext>
              </a:extLst>
            </p:cNvPr>
            <p:cNvSpPr/>
            <p:nvPr/>
          </p:nvSpPr>
          <p:spPr>
            <a:xfrm rot="5400000" flipH="1">
              <a:off x="816019" y="3206061"/>
              <a:ext cx="45720" cy="457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6" name="Oval 335">
              <a:extLst>
                <a:ext uri="{FF2B5EF4-FFF2-40B4-BE49-F238E27FC236}">
                  <a16:creationId xmlns:a16="http://schemas.microsoft.com/office/drawing/2014/main" id="{B935E189-28D2-7443-824B-EA6B6FEE6B8A}"/>
                </a:ext>
              </a:extLst>
            </p:cNvPr>
            <p:cNvSpPr/>
            <p:nvPr/>
          </p:nvSpPr>
          <p:spPr>
            <a:xfrm rot="5400000">
              <a:off x="412005" y="3915757"/>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7" name="Oval 336">
              <a:extLst>
                <a:ext uri="{FF2B5EF4-FFF2-40B4-BE49-F238E27FC236}">
                  <a16:creationId xmlns:a16="http://schemas.microsoft.com/office/drawing/2014/main" id="{29496547-553C-324C-A8D6-FBA84DEDAE03}"/>
                </a:ext>
              </a:extLst>
            </p:cNvPr>
            <p:cNvSpPr/>
            <p:nvPr/>
          </p:nvSpPr>
          <p:spPr>
            <a:xfrm rot="16200000">
              <a:off x="3237773" y="189124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8" name="Oval 337">
              <a:extLst>
                <a:ext uri="{FF2B5EF4-FFF2-40B4-BE49-F238E27FC236}">
                  <a16:creationId xmlns:a16="http://schemas.microsoft.com/office/drawing/2014/main" id="{6A37583C-2790-1B4D-B704-C3A77E7A380A}"/>
                </a:ext>
              </a:extLst>
            </p:cNvPr>
            <p:cNvSpPr/>
            <p:nvPr/>
          </p:nvSpPr>
          <p:spPr>
            <a:xfrm rot="16200000">
              <a:off x="3018680" y="203597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39" name="Oval 338">
              <a:extLst>
                <a:ext uri="{FF2B5EF4-FFF2-40B4-BE49-F238E27FC236}">
                  <a16:creationId xmlns:a16="http://schemas.microsoft.com/office/drawing/2014/main" id="{D4F4E40D-51F4-1B4F-9E62-01D169D1CDDB}"/>
                </a:ext>
              </a:extLst>
            </p:cNvPr>
            <p:cNvSpPr/>
            <p:nvPr/>
          </p:nvSpPr>
          <p:spPr>
            <a:xfrm rot="5400000">
              <a:off x="3089824" y="1874866"/>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0" name="Oval 339">
              <a:extLst>
                <a:ext uri="{FF2B5EF4-FFF2-40B4-BE49-F238E27FC236}">
                  <a16:creationId xmlns:a16="http://schemas.microsoft.com/office/drawing/2014/main" id="{A88F48DC-372A-0545-9541-367FCE78E63D}"/>
                </a:ext>
              </a:extLst>
            </p:cNvPr>
            <p:cNvSpPr/>
            <p:nvPr/>
          </p:nvSpPr>
          <p:spPr>
            <a:xfrm rot="5400000">
              <a:off x="3276170" y="213750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1" name="Oval 340">
              <a:extLst>
                <a:ext uri="{FF2B5EF4-FFF2-40B4-BE49-F238E27FC236}">
                  <a16:creationId xmlns:a16="http://schemas.microsoft.com/office/drawing/2014/main" id="{C53BAACF-A242-5049-A5A0-04FD9318F0AD}"/>
                </a:ext>
              </a:extLst>
            </p:cNvPr>
            <p:cNvSpPr/>
            <p:nvPr/>
          </p:nvSpPr>
          <p:spPr>
            <a:xfrm rot="5400000">
              <a:off x="3299382" y="201807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2" name="Oval 341">
              <a:extLst>
                <a:ext uri="{FF2B5EF4-FFF2-40B4-BE49-F238E27FC236}">
                  <a16:creationId xmlns:a16="http://schemas.microsoft.com/office/drawing/2014/main" id="{EF6CE3AC-058F-174A-9B9B-C75B9542D73D}"/>
                </a:ext>
              </a:extLst>
            </p:cNvPr>
            <p:cNvSpPr/>
            <p:nvPr/>
          </p:nvSpPr>
          <p:spPr>
            <a:xfrm rot="5400000">
              <a:off x="3153492" y="209322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3" name="Oval 342">
              <a:extLst>
                <a:ext uri="{FF2B5EF4-FFF2-40B4-BE49-F238E27FC236}">
                  <a16:creationId xmlns:a16="http://schemas.microsoft.com/office/drawing/2014/main" id="{BC5E61A8-1965-7F49-9C3A-064756E812E6}"/>
                </a:ext>
              </a:extLst>
            </p:cNvPr>
            <p:cNvSpPr/>
            <p:nvPr/>
          </p:nvSpPr>
          <p:spPr>
            <a:xfrm rot="16200000">
              <a:off x="3099388" y="201868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4" name="Oval 343">
              <a:extLst>
                <a:ext uri="{FF2B5EF4-FFF2-40B4-BE49-F238E27FC236}">
                  <a16:creationId xmlns:a16="http://schemas.microsoft.com/office/drawing/2014/main" id="{E778EF13-4C22-EC4C-BC50-0BD5AEE91BC0}"/>
                </a:ext>
              </a:extLst>
            </p:cNvPr>
            <p:cNvSpPr/>
            <p:nvPr/>
          </p:nvSpPr>
          <p:spPr>
            <a:xfrm rot="16200000">
              <a:off x="4313712" y="3494017"/>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5" name="Oval 344">
              <a:extLst>
                <a:ext uri="{FF2B5EF4-FFF2-40B4-BE49-F238E27FC236}">
                  <a16:creationId xmlns:a16="http://schemas.microsoft.com/office/drawing/2014/main" id="{75961C10-EA5D-654F-9F7A-F3B8296F8DEB}"/>
                </a:ext>
              </a:extLst>
            </p:cNvPr>
            <p:cNvSpPr/>
            <p:nvPr/>
          </p:nvSpPr>
          <p:spPr>
            <a:xfrm rot="16200000">
              <a:off x="3195752" y="1985027"/>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6" name="Oval 345">
              <a:extLst>
                <a:ext uri="{FF2B5EF4-FFF2-40B4-BE49-F238E27FC236}">
                  <a16:creationId xmlns:a16="http://schemas.microsoft.com/office/drawing/2014/main" id="{52B42EE9-97AE-9240-B53E-7BE602703369}"/>
                </a:ext>
              </a:extLst>
            </p:cNvPr>
            <p:cNvSpPr/>
            <p:nvPr/>
          </p:nvSpPr>
          <p:spPr>
            <a:xfrm rot="5400000">
              <a:off x="3018984" y="1955651"/>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7" name="Oval 346">
              <a:extLst>
                <a:ext uri="{FF2B5EF4-FFF2-40B4-BE49-F238E27FC236}">
                  <a16:creationId xmlns:a16="http://schemas.microsoft.com/office/drawing/2014/main" id="{4EDD3596-B136-F745-BCBF-07D68AB9A4F6}"/>
                </a:ext>
              </a:extLst>
            </p:cNvPr>
            <p:cNvSpPr/>
            <p:nvPr/>
          </p:nvSpPr>
          <p:spPr>
            <a:xfrm rot="5400000">
              <a:off x="3332026" y="1936267"/>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8" name="Oval 347">
              <a:extLst>
                <a:ext uri="{FF2B5EF4-FFF2-40B4-BE49-F238E27FC236}">
                  <a16:creationId xmlns:a16="http://schemas.microsoft.com/office/drawing/2014/main" id="{B325B562-C57D-B043-A55F-91B7429488C5}"/>
                </a:ext>
              </a:extLst>
            </p:cNvPr>
            <p:cNvSpPr/>
            <p:nvPr/>
          </p:nvSpPr>
          <p:spPr>
            <a:xfrm rot="5400000">
              <a:off x="3163153" y="1820645"/>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49" name="Oval 348">
              <a:extLst>
                <a:ext uri="{FF2B5EF4-FFF2-40B4-BE49-F238E27FC236}">
                  <a16:creationId xmlns:a16="http://schemas.microsoft.com/office/drawing/2014/main" id="{544E97FD-6D26-854F-80B5-92D307C1A05C}"/>
                </a:ext>
              </a:extLst>
            </p:cNvPr>
            <p:cNvSpPr/>
            <p:nvPr/>
          </p:nvSpPr>
          <p:spPr>
            <a:xfrm rot="5400000">
              <a:off x="3411931" y="2005856"/>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0" name="Oval 349">
              <a:extLst>
                <a:ext uri="{FF2B5EF4-FFF2-40B4-BE49-F238E27FC236}">
                  <a16:creationId xmlns:a16="http://schemas.microsoft.com/office/drawing/2014/main" id="{922F94EF-26B0-4D40-9CE9-175B2360EFCB}"/>
                </a:ext>
              </a:extLst>
            </p:cNvPr>
            <p:cNvSpPr/>
            <p:nvPr/>
          </p:nvSpPr>
          <p:spPr>
            <a:xfrm rot="16200000">
              <a:off x="3157587" y="2169855"/>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1" name="Oval 350">
              <a:extLst>
                <a:ext uri="{FF2B5EF4-FFF2-40B4-BE49-F238E27FC236}">
                  <a16:creationId xmlns:a16="http://schemas.microsoft.com/office/drawing/2014/main" id="{87E294C1-77E9-1448-B590-E63FCF930EE1}"/>
                </a:ext>
              </a:extLst>
            </p:cNvPr>
            <p:cNvSpPr/>
            <p:nvPr/>
          </p:nvSpPr>
          <p:spPr>
            <a:xfrm rot="5400000">
              <a:off x="3233862" y="2076439"/>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2" name="Oval 351">
              <a:extLst>
                <a:ext uri="{FF2B5EF4-FFF2-40B4-BE49-F238E27FC236}">
                  <a16:creationId xmlns:a16="http://schemas.microsoft.com/office/drawing/2014/main" id="{CB328031-7CEA-8048-87F0-97A597CBD5F9}"/>
                </a:ext>
              </a:extLst>
            </p:cNvPr>
            <p:cNvSpPr/>
            <p:nvPr/>
          </p:nvSpPr>
          <p:spPr>
            <a:xfrm rot="5400000">
              <a:off x="3071003" y="2112935"/>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3" name="Oval 352">
              <a:extLst>
                <a:ext uri="{FF2B5EF4-FFF2-40B4-BE49-F238E27FC236}">
                  <a16:creationId xmlns:a16="http://schemas.microsoft.com/office/drawing/2014/main" id="{8D1922AC-571D-8542-8F1C-22ECE1912705}"/>
                </a:ext>
              </a:extLst>
            </p:cNvPr>
            <p:cNvSpPr/>
            <p:nvPr/>
          </p:nvSpPr>
          <p:spPr>
            <a:xfrm rot="5400000">
              <a:off x="3376051" y="2096383"/>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4" name="Oval 353">
              <a:extLst>
                <a:ext uri="{FF2B5EF4-FFF2-40B4-BE49-F238E27FC236}">
                  <a16:creationId xmlns:a16="http://schemas.microsoft.com/office/drawing/2014/main" id="{3A366AB8-473A-CF48-BA6F-9DD3883E7FDD}"/>
                </a:ext>
              </a:extLst>
            </p:cNvPr>
            <p:cNvSpPr/>
            <p:nvPr/>
          </p:nvSpPr>
          <p:spPr>
            <a:xfrm rot="5400000">
              <a:off x="3270584" y="225649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5" name="Oval 354">
              <a:extLst>
                <a:ext uri="{FF2B5EF4-FFF2-40B4-BE49-F238E27FC236}">
                  <a16:creationId xmlns:a16="http://schemas.microsoft.com/office/drawing/2014/main" id="{682F274F-09CE-C544-B392-C11FD6D10309}"/>
                </a:ext>
              </a:extLst>
            </p:cNvPr>
            <p:cNvSpPr/>
            <p:nvPr/>
          </p:nvSpPr>
          <p:spPr>
            <a:xfrm rot="16200000">
              <a:off x="3064198" y="2194388"/>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6" name="Oval 355">
              <a:extLst>
                <a:ext uri="{FF2B5EF4-FFF2-40B4-BE49-F238E27FC236}">
                  <a16:creationId xmlns:a16="http://schemas.microsoft.com/office/drawing/2014/main" id="{0C7C1E0E-87B8-0A4C-8E3F-E6304AF5D1B6}"/>
                </a:ext>
              </a:extLst>
            </p:cNvPr>
            <p:cNvSpPr/>
            <p:nvPr/>
          </p:nvSpPr>
          <p:spPr>
            <a:xfrm rot="5400000">
              <a:off x="2954534" y="2198200"/>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7" name="Oval 356">
              <a:extLst>
                <a:ext uri="{FF2B5EF4-FFF2-40B4-BE49-F238E27FC236}">
                  <a16:creationId xmlns:a16="http://schemas.microsoft.com/office/drawing/2014/main" id="{8AF887E0-3EA9-1340-BB50-41E1515869F9}"/>
                </a:ext>
              </a:extLst>
            </p:cNvPr>
            <p:cNvSpPr/>
            <p:nvPr/>
          </p:nvSpPr>
          <p:spPr>
            <a:xfrm rot="15340465">
              <a:off x="3706370" y="253948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8" name="Oval 357">
              <a:extLst>
                <a:ext uri="{FF2B5EF4-FFF2-40B4-BE49-F238E27FC236}">
                  <a16:creationId xmlns:a16="http://schemas.microsoft.com/office/drawing/2014/main" id="{49B07706-33F4-7047-B06F-92E5CE0CCF8E}"/>
                </a:ext>
              </a:extLst>
            </p:cNvPr>
            <p:cNvSpPr/>
            <p:nvPr/>
          </p:nvSpPr>
          <p:spPr>
            <a:xfrm rot="15340465">
              <a:off x="3461938" y="258406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59" name="Oval 358">
              <a:extLst>
                <a:ext uri="{FF2B5EF4-FFF2-40B4-BE49-F238E27FC236}">
                  <a16:creationId xmlns:a16="http://schemas.microsoft.com/office/drawing/2014/main" id="{7C38D66B-A863-D544-A787-E49197DD2AC0}"/>
                </a:ext>
              </a:extLst>
            </p:cNvPr>
            <p:cNvSpPr/>
            <p:nvPr/>
          </p:nvSpPr>
          <p:spPr>
            <a:xfrm rot="4540465">
              <a:off x="3561241" y="2557296"/>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0" name="Oval 359">
              <a:extLst>
                <a:ext uri="{FF2B5EF4-FFF2-40B4-BE49-F238E27FC236}">
                  <a16:creationId xmlns:a16="http://schemas.microsoft.com/office/drawing/2014/main" id="{89B5226D-53E8-3B40-B244-B254E6520225}"/>
                </a:ext>
              </a:extLst>
            </p:cNvPr>
            <p:cNvSpPr/>
            <p:nvPr/>
          </p:nvSpPr>
          <p:spPr>
            <a:xfrm rot="4540465">
              <a:off x="3804505" y="2768586"/>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1" name="Oval 360">
              <a:extLst>
                <a:ext uri="{FF2B5EF4-FFF2-40B4-BE49-F238E27FC236}">
                  <a16:creationId xmlns:a16="http://schemas.microsoft.com/office/drawing/2014/main" id="{7EDC9556-1273-B748-83B7-5C738B681359}"/>
                </a:ext>
              </a:extLst>
            </p:cNvPr>
            <p:cNvSpPr/>
            <p:nvPr/>
          </p:nvSpPr>
          <p:spPr>
            <a:xfrm rot="4540465">
              <a:off x="3796309" y="2648590"/>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2" name="Oval 361">
              <a:extLst>
                <a:ext uri="{FF2B5EF4-FFF2-40B4-BE49-F238E27FC236}">
                  <a16:creationId xmlns:a16="http://schemas.microsoft.com/office/drawing/2014/main" id="{F60E29F2-D271-AB4D-9107-BA54A4AA9D03}"/>
                </a:ext>
              </a:extLst>
            </p:cNvPr>
            <p:cNvSpPr/>
            <p:nvPr/>
          </p:nvSpPr>
          <p:spPr>
            <a:xfrm rot="4540465">
              <a:off x="3671277" y="2760429"/>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3" name="Oval 362">
              <a:extLst>
                <a:ext uri="{FF2B5EF4-FFF2-40B4-BE49-F238E27FC236}">
                  <a16:creationId xmlns:a16="http://schemas.microsoft.com/office/drawing/2014/main" id="{CB37E3DC-BF78-5B49-8D31-5D49902B5BA4}"/>
                </a:ext>
              </a:extLst>
            </p:cNvPr>
            <p:cNvSpPr/>
            <p:nvPr/>
          </p:nvSpPr>
          <p:spPr>
            <a:xfrm rot="15340465">
              <a:off x="3600410" y="2701589"/>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4" name="Oval 363">
              <a:extLst>
                <a:ext uri="{FF2B5EF4-FFF2-40B4-BE49-F238E27FC236}">
                  <a16:creationId xmlns:a16="http://schemas.microsoft.com/office/drawing/2014/main" id="{EF429D5C-7AD3-B244-9446-A6839D3E8C14}"/>
                </a:ext>
              </a:extLst>
            </p:cNvPr>
            <p:cNvSpPr/>
            <p:nvPr/>
          </p:nvSpPr>
          <p:spPr>
            <a:xfrm rot="15340465">
              <a:off x="3687724" y="264221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5" name="Oval 364">
              <a:extLst>
                <a:ext uri="{FF2B5EF4-FFF2-40B4-BE49-F238E27FC236}">
                  <a16:creationId xmlns:a16="http://schemas.microsoft.com/office/drawing/2014/main" id="{1FA000E7-D497-2041-AF9E-3162466F16B2}"/>
                </a:ext>
              </a:extLst>
            </p:cNvPr>
            <p:cNvSpPr/>
            <p:nvPr/>
          </p:nvSpPr>
          <p:spPr>
            <a:xfrm rot="4540465">
              <a:off x="3506911" y="266041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6" name="Oval 365">
              <a:extLst>
                <a:ext uri="{FF2B5EF4-FFF2-40B4-BE49-F238E27FC236}">
                  <a16:creationId xmlns:a16="http://schemas.microsoft.com/office/drawing/2014/main" id="{AF8D116A-C611-8E40-A013-08974F992EFF}"/>
                </a:ext>
              </a:extLst>
            </p:cNvPr>
            <p:cNvSpPr/>
            <p:nvPr/>
          </p:nvSpPr>
          <p:spPr>
            <a:xfrm rot="4540465">
              <a:off x="3806558" y="256271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7" name="Oval 366">
              <a:extLst>
                <a:ext uri="{FF2B5EF4-FFF2-40B4-BE49-F238E27FC236}">
                  <a16:creationId xmlns:a16="http://schemas.microsoft.com/office/drawing/2014/main" id="{1A59E63B-C2F8-0241-8422-88E66239ECD7}"/>
                </a:ext>
              </a:extLst>
            </p:cNvPr>
            <p:cNvSpPr/>
            <p:nvPr/>
          </p:nvSpPr>
          <p:spPr>
            <a:xfrm rot="15340465">
              <a:off x="3699886" y="2826346"/>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8" name="Oval 367">
              <a:extLst>
                <a:ext uri="{FF2B5EF4-FFF2-40B4-BE49-F238E27FC236}">
                  <a16:creationId xmlns:a16="http://schemas.microsoft.com/office/drawing/2014/main" id="{FDFF2F90-1CAD-044E-8D66-7E1DE51C210D}"/>
                </a:ext>
              </a:extLst>
            </p:cNvPr>
            <p:cNvSpPr/>
            <p:nvPr/>
          </p:nvSpPr>
          <p:spPr>
            <a:xfrm rot="4540465">
              <a:off x="3746131" y="2722814"/>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69" name="Oval 368">
              <a:extLst>
                <a:ext uri="{FF2B5EF4-FFF2-40B4-BE49-F238E27FC236}">
                  <a16:creationId xmlns:a16="http://schemas.microsoft.com/office/drawing/2014/main" id="{ED7B2AA6-D604-E044-AA0E-576E9405E85A}"/>
                </a:ext>
              </a:extLst>
            </p:cNvPr>
            <p:cNvSpPr/>
            <p:nvPr/>
          </p:nvSpPr>
          <p:spPr>
            <a:xfrm rot="4540465">
              <a:off x="3887696" y="2708419"/>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0" name="Oval 369">
              <a:extLst>
                <a:ext uri="{FF2B5EF4-FFF2-40B4-BE49-F238E27FC236}">
                  <a16:creationId xmlns:a16="http://schemas.microsoft.com/office/drawing/2014/main" id="{0BC9A3EC-C28A-604E-8471-9F1496946DAF}"/>
                </a:ext>
              </a:extLst>
            </p:cNvPr>
            <p:cNvSpPr/>
            <p:nvPr/>
          </p:nvSpPr>
          <p:spPr>
            <a:xfrm rot="4739662">
              <a:off x="3456021" y="247246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1" name="Oval 370">
              <a:extLst>
                <a:ext uri="{FF2B5EF4-FFF2-40B4-BE49-F238E27FC236}">
                  <a16:creationId xmlns:a16="http://schemas.microsoft.com/office/drawing/2014/main" id="{FA88ADA2-5DDB-B744-8ED3-63645EAF38BF}"/>
                </a:ext>
              </a:extLst>
            </p:cNvPr>
            <p:cNvSpPr/>
            <p:nvPr/>
          </p:nvSpPr>
          <p:spPr>
            <a:xfrm rot="4739662">
              <a:off x="3712816" y="2452911"/>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2" name="Oval 371">
              <a:extLst>
                <a:ext uri="{FF2B5EF4-FFF2-40B4-BE49-F238E27FC236}">
                  <a16:creationId xmlns:a16="http://schemas.microsoft.com/office/drawing/2014/main" id="{AA2967FD-95D9-C047-B701-4ED458D5C9AC}"/>
                </a:ext>
              </a:extLst>
            </p:cNvPr>
            <p:cNvSpPr/>
            <p:nvPr/>
          </p:nvSpPr>
          <p:spPr>
            <a:xfrm rot="15539662">
              <a:off x="3581553" y="2441486"/>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3" name="Oval 372">
              <a:extLst>
                <a:ext uri="{FF2B5EF4-FFF2-40B4-BE49-F238E27FC236}">
                  <a16:creationId xmlns:a16="http://schemas.microsoft.com/office/drawing/2014/main" id="{14D1C868-D90A-8848-8231-92CE7A52B734}"/>
                </a:ext>
              </a:extLst>
            </p:cNvPr>
            <p:cNvSpPr/>
            <p:nvPr/>
          </p:nvSpPr>
          <p:spPr>
            <a:xfrm rot="15539662">
              <a:off x="3371318" y="2238063"/>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4" name="Oval 373">
              <a:extLst>
                <a:ext uri="{FF2B5EF4-FFF2-40B4-BE49-F238E27FC236}">
                  <a16:creationId xmlns:a16="http://schemas.microsoft.com/office/drawing/2014/main" id="{2D31F053-1F58-9749-9D3A-B232F50EAA32}"/>
                </a:ext>
              </a:extLst>
            </p:cNvPr>
            <p:cNvSpPr/>
            <p:nvPr/>
          </p:nvSpPr>
          <p:spPr>
            <a:xfrm rot="15539662">
              <a:off x="3382743" y="236913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5" name="Oval 374">
              <a:extLst>
                <a:ext uri="{FF2B5EF4-FFF2-40B4-BE49-F238E27FC236}">
                  <a16:creationId xmlns:a16="http://schemas.microsoft.com/office/drawing/2014/main" id="{5DA4031A-14F2-A648-B2A0-DEE8E6B0F605}"/>
                </a:ext>
              </a:extLst>
            </p:cNvPr>
            <p:cNvSpPr/>
            <p:nvPr/>
          </p:nvSpPr>
          <p:spPr>
            <a:xfrm rot="15539662">
              <a:off x="3534427" y="2286325"/>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6" name="Oval 375">
              <a:extLst>
                <a:ext uri="{FF2B5EF4-FFF2-40B4-BE49-F238E27FC236}">
                  <a16:creationId xmlns:a16="http://schemas.microsoft.com/office/drawing/2014/main" id="{1BEECF81-FBF9-AE4B-AB35-EA85192E4FFB}"/>
                </a:ext>
              </a:extLst>
            </p:cNvPr>
            <p:cNvSpPr/>
            <p:nvPr/>
          </p:nvSpPr>
          <p:spPr>
            <a:xfrm rot="4739662">
              <a:off x="3601768" y="234917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7" name="Oval 376">
              <a:extLst>
                <a:ext uri="{FF2B5EF4-FFF2-40B4-BE49-F238E27FC236}">
                  <a16:creationId xmlns:a16="http://schemas.microsoft.com/office/drawing/2014/main" id="{074F5F84-BB0F-C44F-B8D9-FF3D1A8D5C21}"/>
                </a:ext>
              </a:extLst>
            </p:cNvPr>
            <p:cNvSpPr/>
            <p:nvPr/>
          </p:nvSpPr>
          <p:spPr>
            <a:xfrm rot="4739662">
              <a:off x="3490777" y="2381790"/>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8" name="Oval 377">
              <a:extLst>
                <a:ext uri="{FF2B5EF4-FFF2-40B4-BE49-F238E27FC236}">
                  <a16:creationId xmlns:a16="http://schemas.microsoft.com/office/drawing/2014/main" id="{D6156F7E-25D5-6B4F-8974-E0A3BE56575A}"/>
                </a:ext>
              </a:extLst>
            </p:cNvPr>
            <p:cNvSpPr/>
            <p:nvPr/>
          </p:nvSpPr>
          <p:spPr>
            <a:xfrm rot="15539662">
              <a:off x="3692725" y="239569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79" name="Oval 378">
              <a:extLst>
                <a:ext uri="{FF2B5EF4-FFF2-40B4-BE49-F238E27FC236}">
                  <a16:creationId xmlns:a16="http://schemas.microsoft.com/office/drawing/2014/main" id="{6A142F6B-B341-B142-AC33-E11FDDC018D1}"/>
                </a:ext>
              </a:extLst>
            </p:cNvPr>
            <p:cNvSpPr/>
            <p:nvPr/>
          </p:nvSpPr>
          <p:spPr>
            <a:xfrm rot="15539662">
              <a:off x="3377729" y="2465074"/>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0" name="Oval 379">
              <a:extLst>
                <a:ext uri="{FF2B5EF4-FFF2-40B4-BE49-F238E27FC236}">
                  <a16:creationId xmlns:a16="http://schemas.microsoft.com/office/drawing/2014/main" id="{817A00F2-C781-3A43-A9F1-2A3FC366E0CF}"/>
                </a:ext>
              </a:extLst>
            </p:cNvPr>
            <p:cNvSpPr/>
            <p:nvPr/>
          </p:nvSpPr>
          <p:spPr>
            <a:xfrm rot="15539662">
              <a:off x="3263186" y="2393208"/>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1" name="Oval 380">
              <a:extLst>
                <a:ext uri="{FF2B5EF4-FFF2-40B4-BE49-F238E27FC236}">
                  <a16:creationId xmlns:a16="http://schemas.microsoft.com/office/drawing/2014/main" id="{9965C994-DA30-BA4D-B136-19524D555AB6}"/>
                </a:ext>
              </a:extLst>
            </p:cNvPr>
            <p:cNvSpPr/>
            <p:nvPr/>
          </p:nvSpPr>
          <p:spPr>
            <a:xfrm rot="4739662">
              <a:off x="3458723" y="2164858"/>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2" name="Oval 381">
              <a:extLst>
                <a:ext uri="{FF2B5EF4-FFF2-40B4-BE49-F238E27FC236}">
                  <a16:creationId xmlns:a16="http://schemas.microsoft.com/office/drawing/2014/main" id="{A498C3CB-BB5D-EB44-97B1-0700CBC2F823}"/>
                </a:ext>
              </a:extLst>
            </p:cNvPr>
            <p:cNvSpPr/>
            <p:nvPr/>
          </p:nvSpPr>
          <p:spPr>
            <a:xfrm rot="15539662">
              <a:off x="3447328" y="230874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3" name="Oval 382">
              <a:extLst>
                <a:ext uri="{FF2B5EF4-FFF2-40B4-BE49-F238E27FC236}">
                  <a16:creationId xmlns:a16="http://schemas.microsoft.com/office/drawing/2014/main" id="{FCF8A262-A0A5-A443-AC52-628ABE759AB7}"/>
                </a:ext>
              </a:extLst>
            </p:cNvPr>
            <p:cNvSpPr/>
            <p:nvPr/>
          </p:nvSpPr>
          <p:spPr>
            <a:xfrm rot="15539662">
              <a:off x="3315359" y="2325714"/>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4" name="Oval 383">
              <a:extLst>
                <a:ext uri="{FF2B5EF4-FFF2-40B4-BE49-F238E27FC236}">
                  <a16:creationId xmlns:a16="http://schemas.microsoft.com/office/drawing/2014/main" id="{72075AA9-6A36-014C-BC28-3B0373802A1F}"/>
                </a:ext>
              </a:extLst>
            </p:cNvPr>
            <p:cNvSpPr/>
            <p:nvPr/>
          </p:nvSpPr>
          <p:spPr>
            <a:xfrm rot="15340465">
              <a:off x="4158705" y="3170568"/>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5" name="Oval 384">
              <a:extLst>
                <a:ext uri="{FF2B5EF4-FFF2-40B4-BE49-F238E27FC236}">
                  <a16:creationId xmlns:a16="http://schemas.microsoft.com/office/drawing/2014/main" id="{DD227F31-A826-294A-BE36-322335C7F941}"/>
                </a:ext>
              </a:extLst>
            </p:cNvPr>
            <p:cNvSpPr/>
            <p:nvPr/>
          </p:nvSpPr>
          <p:spPr>
            <a:xfrm rot="4540465">
              <a:off x="4013576" y="3188380"/>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6" name="Oval 385">
              <a:extLst>
                <a:ext uri="{FF2B5EF4-FFF2-40B4-BE49-F238E27FC236}">
                  <a16:creationId xmlns:a16="http://schemas.microsoft.com/office/drawing/2014/main" id="{86AF3FE6-FCE8-E344-9C69-7E317161F27C}"/>
                </a:ext>
              </a:extLst>
            </p:cNvPr>
            <p:cNvSpPr/>
            <p:nvPr/>
          </p:nvSpPr>
          <p:spPr>
            <a:xfrm rot="4540465">
              <a:off x="4256840" y="3399670"/>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7" name="Oval 386">
              <a:extLst>
                <a:ext uri="{FF2B5EF4-FFF2-40B4-BE49-F238E27FC236}">
                  <a16:creationId xmlns:a16="http://schemas.microsoft.com/office/drawing/2014/main" id="{5E768837-E1C8-9E4E-8852-E28413130774}"/>
                </a:ext>
              </a:extLst>
            </p:cNvPr>
            <p:cNvSpPr/>
            <p:nvPr/>
          </p:nvSpPr>
          <p:spPr>
            <a:xfrm rot="4540465">
              <a:off x="4248644" y="3279674"/>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8" name="Oval 387">
              <a:extLst>
                <a:ext uri="{FF2B5EF4-FFF2-40B4-BE49-F238E27FC236}">
                  <a16:creationId xmlns:a16="http://schemas.microsoft.com/office/drawing/2014/main" id="{3EA4E94D-CF53-804D-B52C-DACBC4EFE9BA}"/>
                </a:ext>
              </a:extLst>
            </p:cNvPr>
            <p:cNvSpPr/>
            <p:nvPr/>
          </p:nvSpPr>
          <p:spPr>
            <a:xfrm rot="15340465">
              <a:off x="4374189" y="362450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89" name="Oval 388">
              <a:extLst>
                <a:ext uri="{FF2B5EF4-FFF2-40B4-BE49-F238E27FC236}">
                  <a16:creationId xmlns:a16="http://schemas.microsoft.com/office/drawing/2014/main" id="{60CDCE11-2580-764B-AA40-48315B4CC349}"/>
                </a:ext>
              </a:extLst>
            </p:cNvPr>
            <p:cNvSpPr/>
            <p:nvPr/>
          </p:nvSpPr>
          <p:spPr>
            <a:xfrm rot="15340465">
              <a:off x="4140059" y="3273295"/>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0" name="Oval 389">
              <a:extLst>
                <a:ext uri="{FF2B5EF4-FFF2-40B4-BE49-F238E27FC236}">
                  <a16:creationId xmlns:a16="http://schemas.microsoft.com/office/drawing/2014/main" id="{4AB4B51B-960B-374D-A7C4-0833683F6CE5}"/>
                </a:ext>
              </a:extLst>
            </p:cNvPr>
            <p:cNvSpPr/>
            <p:nvPr/>
          </p:nvSpPr>
          <p:spPr>
            <a:xfrm rot="15340465">
              <a:off x="2384889" y="2326017"/>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1" name="Oval 390">
              <a:extLst>
                <a:ext uri="{FF2B5EF4-FFF2-40B4-BE49-F238E27FC236}">
                  <a16:creationId xmlns:a16="http://schemas.microsoft.com/office/drawing/2014/main" id="{2A90266D-9B4E-1647-8F5D-920B9573D857}"/>
                </a:ext>
              </a:extLst>
            </p:cNvPr>
            <p:cNvSpPr/>
            <p:nvPr/>
          </p:nvSpPr>
          <p:spPr>
            <a:xfrm rot="4540465">
              <a:off x="4198466" y="3353898"/>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2" name="Oval 391">
              <a:extLst>
                <a:ext uri="{FF2B5EF4-FFF2-40B4-BE49-F238E27FC236}">
                  <a16:creationId xmlns:a16="http://schemas.microsoft.com/office/drawing/2014/main" id="{48B42EB9-1C2C-B248-B65B-24AA307BC135}"/>
                </a:ext>
              </a:extLst>
            </p:cNvPr>
            <p:cNvSpPr/>
            <p:nvPr/>
          </p:nvSpPr>
          <p:spPr>
            <a:xfrm rot="4540465">
              <a:off x="4299837" y="3571698"/>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3" name="Oval 392">
              <a:extLst>
                <a:ext uri="{FF2B5EF4-FFF2-40B4-BE49-F238E27FC236}">
                  <a16:creationId xmlns:a16="http://schemas.microsoft.com/office/drawing/2014/main" id="{6DFE26FF-EA5E-C24C-A19B-F5EC6D245988}"/>
                </a:ext>
              </a:extLst>
            </p:cNvPr>
            <p:cNvSpPr/>
            <p:nvPr/>
          </p:nvSpPr>
          <p:spPr>
            <a:xfrm rot="4540465">
              <a:off x="4340031" y="3339503"/>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4" name="Oval 393">
              <a:extLst>
                <a:ext uri="{FF2B5EF4-FFF2-40B4-BE49-F238E27FC236}">
                  <a16:creationId xmlns:a16="http://schemas.microsoft.com/office/drawing/2014/main" id="{FF7CAEA6-A886-DB4F-BA75-21A8F56B2200}"/>
                </a:ext>
              </a:extLst>
            </p:cNvPr>
            <p:cNvSpPr/>
            <p:nvPr/>
          </p:nvSpPr>
          <p:spPr>
            <a:xfrm rot="4739662">
              <a:off x="3943871" y="3123286"/>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5" name="Oval 394">
              <a:extLst>
                <a:ext uri="{FF2B5EF4-FFF2-40B4-BE49-F238E27FC236}">
                  <a16:creationId xmlns:a16="http://schemas.microsoft.com/office/drawing/2014/main" id="{38235BD3-7AF6-B04A-A2A2-53363BF27ABC}"/>
                </a:ext>
              </a:extLst>
            </p:cNvPr>
            <p:cNvSpPr/>
            <p:nvPr/>
          </p:nvSpPr>
          <p:spPr>
            <a:xfrm rot="4739662">
              <a:off x="4165151" y="308399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6" name="Oval 395">
              <a:extLst>
                <a:ext uri="{FF2B5EF4-FFF2-40B4-BE49-F238E27FC236}">
                  <a16:creationId xmlns:a16="http://schemas.microsoft.com/office/drawing/2014/main" id="{000259CB-6785-9543-AC2F-658CF54D0EC2}"/>
                </a:ext>
              </a:extLst>
            </p:cNvPr>
            <p:cNvSpPr/>
            <p:nvPr/>
          </p:nvSpPr>
          <p:spPr>
            <a:xfrm rot="15539662">
              <a:off x="4033888" y="3072570"/>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7" name="Oval 396">
              <a:extLst>
                <a:ext uri="{FF2B5EF4-FFF2-40B4-BE49-F238E27FC236}">
                  <a16:creationId xmlns:a16="http://schemas.microsoft.com/office/drawing/2014/main" id="{D74DD644-2A4E-D44E-A8C8-D73EC965BA10}"/>
                </a:ext>
              </a:extLst>
            </p:cNvPr>
            <p:cNvSpPr/>
            <p:nvPr/>
          </p:nvSpPr>
          <p:spPr>
            <a:xfrm rot="15539662">
              <a:off x="3823653" y="2869147"/>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8" name="Oval 397">
              <a:extLst>
                <a:ext uri="{FF2B5EF4-FFF2-40B4-BE49-F238E27FC236}">
                  <a16:creationId xmlns:a16="http://schemas.microsoft.com/office/drawing/2014/main" id="{8315FDAE-B925-D04B-AE2F-972E65F9BCC3}"/>
                </a:ext>
              </a:extLst>
            </p:cNvPr>
            <p:cNvSpPr/>
            <p:nvPr/>
          </p:nvSpPr>
          <p:spPr>
            <a:xfrm rot="15539662">
              <a:off x="3835078" y="300021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399" name="Oval 398">
              <a:extLst>
                <a:ext uri="{FF2B5EF4-FFF2-40B4-BE49-F238E27FC236}">
                  <a16:creationId xmlns:a16="http://schemas.microsoft.com/office/drawing/2014/main" id="{CB751830-25E3-1E47-AD85-736964D2AADD}"/>
                </a:ext>
              </a:extLst>
            </p:cNvPr>
            <p:cNvSpPr/>
            <p:nvPr/>
          </p:nvSpPr>
          <p:spPr>
            <a:xfrm rot="15539662">
              <a:off x="3986762" y="2917409"/>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0" name="Oval 399">
              <a:extLst>
                <a:ext uri="{FF2B5EF4-FFF2-40B4-BE49-F238E27FC236}">
                  <a16:creationId xmlns:a16="http://schemas.microsoft.com/office/drawing/2014/main" id="{15F257B9-49DD-A944-AD7E-E3CA91F1FDC1}"/>
                </a:ext>
              </a:extLst>
            </p:cNvPr>
            <p:cNvSpPr/>
            <p:nvPr/>
          </p:nvSpPr>
          <p:spPr>
            <a:xfrm rot="4739662">
              <a:off x="4054103" y="2980254"/>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1" name="Oval 400">
              <a:extLst>
                <a:ext uri="{FF2B5EF4-FFF2-40B4-BE49-F238E27FC236}">
                  <a16:creationId xmlns:a16="http://schemas.microsoft.com/office/drawing/2014/main" id="{D7A18B2F-6D47-B34C-B375-A4D4AFB5DDF4}"/>
                </a:ext>
              </a:extLst>
            </p:cNvPr>
            <p:cNvSpPr/>
            <p:nvPr/>
          </p:nvSpPr>
          <p:spPr>
            <a:xfrm rot="4739662">
              <a:off x="3943112" y="3012874"/>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2" name="Oval 401">
              <a:extLst>
                <a:ext uri="{FF2B5EF4-FFF2-40B4-BE49-F238E27FC236}">
                  <a16:creationId xmlns:a16="http://schemas.microsoft.com/office/drawing/2014/main" id="{AAD35CFC-8C64-B947-8FC8-2084638EC36F}"/>
                </a:ext>
              </a:extLst>
            </p:cNvPr>
            <p:cNvSpPr/>
            <p:nvPr/>
          </p:nvSpPr>
          <p:spPr>
            <a:xfrm rot="15539662">
              <a:off x="3878336" y="3081461"/>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3" name="Oval 402">
              <a:extLst>
                <a:ext uri="{FF2B5EF4-FFF2-40B4-BE49-F238E27FC236}">
                  <a16:creationId xmlns:a16="http://schemas.microsoft.com/office/drawing/2014/main" id="{3B1997F1-C8CA-5448-A015-A6206828C633}"/>
                </a:ext>
              </a:extLst>
            </p:cNvPr>
            <p:cNvSpPr/>
            <p:nvPr/>
          </p:nvSpPr>
          <p:spPr>
            <a:xfrm rot="4739662">
              <a:off x="3911058" y="2795942"/>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4" name="Oval 403">
              <a:extLst>
                <a:ext uri="{FF2B5EF4-FFF2-40B4-BE49-F238E27FC236}">
                  <a16:creationId xmlns:a16="http://schemas.microsoft.com/office/drawing/2014/main" id="{B60E63D4-4EFF-7B40-AD0E-69CA6102E155}"/>
                </a:ext>
              </a:extLst>
            </p:cNvPr>
            <p:cNvSpPr/>
            <p:nvPr/>
          </p:nvSpPr>
          <p:spPr>
            <a:xfrm rot="15539662">
              <a:off x="3899663" y="2939825"/>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5" name="Oval 404">
              <a:extLst>
                <a:ext uri="{FF2B5EF4-FFF2-40B4-BE49-F238E27FC236}">
                  <a16:creationId xmlns:a16="http://schemas.microsoft.com/office/drawing/2014/main" id="{0C7DBEAE-B9B8-D346-9848-075D0F6EBF1D}"/>
                </a:ext>
              </a:extLst>
            </p:cNvPr>
            <p:cNvSpPr/>
            <p:nvPr/>
          </p:nvSpPr>
          <p:spPr>
            <a:xfrm rot="15539662">
              <a:off x="3767694" y="2956798"/>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6" name="Oval 405">
              <a:extLst>
                <a:ext uri="{FF2B5EF4-FFF2-40B4-BE49-F238E27FC236}">
                  <a16:creationId xmlns:a16="http://schemas.microsoft.com/office/drawing/2014/main" id="{417818AE-614F-8341-8BA6-7326C4E2E00E}"/>
                </a:ext>
              </a:extLst>
            </p:cNvPr>
            <p:cNvSpPr/>
            <p:nvPr/>
          </p:nvSpPr>
          <p:spPr>
            <a:xfrm rot="9903218">
              <a:off x="2621259" y="122729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7" name="Oval 406">
              <a:extLst>
                <a:ext uri="{FF2B5EF4-FFF2-40B4-BE49-F238E27FC236}">
                  <a16:creationId xmlns:a16="http://schemas.microsoft.com/office/drawing/2014/main" id="{D5AFE82C-A710-DD4E-81B4-FDBEB1C4F366}"/>
                </a:ext>
              </a:extLst>
            </p:cNvPr>
            <p:cNvSpPr/>
            <p:nvPr/>
          </p:nvSpPr>
          <p:spPr>
            <a:xfrm rot="9903218">
              <a:off x="2562986" y="1451609"/>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8" name="Oval 407">
              <a:extLst>
                <a:ext uri="{FF2B5EF4-FFF2-40B4-BE49-F238E27FC236}">
                  <a16:creationId xmlns:a16="http://schemas.microsoft.com/office/drawing/2014/main" id="{3C58BA6E-77DD-8345-A9DA-B7032C50C16E}"/>
                </a:ext>
              </a:extLst>
            </p:cNvPr>
            <p:cNvSpPr/>
            <p:nvPr/>
          </p:nvSpPr>
          <p:spPr>
            <a:xfrm rot="9903218">
              <a:off x="2650215" y="1458354"/>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9" name="Oval 408">
              <a:extLst>
                <a:ext uri="{FF2B5EF4-FFF2-40B4-BE49-F238E27FC236}">
                  <a16:creationId xmlns:a16="http://schemas.microsoft.com/office/drawing/2014/main" id="{434DCF48-5035-5A49-A351-45AF61C5F01E}"/>
                </a:ext>
              </a:extLst>
            </p:cNvPr>
            <p:cNvSpPr/>
            <p:nvPr/>
          </p:nvSpPr>
          <p:spPr>
            <a:xfrm rot="20703218">
              <a:off x="2640528" y="1351098"/>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0" name="Oval 409">
              <a:extLst>
                <a:ext uri="{FF2B5EF4-FFF2-40B4-BE49-F238E27FC236}">
                  <a16:creationId xmlns:a16="http://schemas.microsoft.com/office/drawing/2014/main" id="{15C1ECFF-86DA-6C48-9C11-B09F4CF4E6BB}"/>
                </a:ext>
              </a:extLst>
            </p:cNvPr>
            <p:cNvSpPr/>
            <p:nvPr/>
          </p:nvSpPr>
          <p:spPr>
            <a:xfrm rot="20703218">
              <a:off x="2272600" y="162949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1" name="Oval 410">
              <a:extLst>
                <a:ext uri="{FF2B5EF4-FFF2-40B4-BE49-F238E27FC236}">
                  <a16:creationId xmlns:a16="http://schemas.microsoft.com/office/drawing/2014/main" id="{95442551-110D-FC4F-BE31-FCBC634E8D5A}"/>
                </a:ext>
              </a:extLst>
            </p:cNvPr>
            <p:cNvSpPr/>
            <p:nvPr/>
          </p:nvSpPr>
          <p:spPr>
            <a:xfrm rot="20703218">
              <a:off x="2561006" y="1177903"/>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2" name="Oval 411">
              <a:extLst>
                <a:ext uri="{FF2B5EF4-FFF2-40B4-BE49-F238E27FC236}">
                  <a16:creationId xmlns:a16="http://schemas.microsoft.com/office/drawing/2014/main" id="{CEC09E64-6CA2-D149-8E7F-2A340D68C6F2}"/>
                </a:ext>
              </a:extLst>
            </p:cNvPr>
            <p:cNvSpPr/>
            <p:nvPr/>
          </p:nvSpPr>
          <p:spPr>
            <a:xfrm rot="9903218">
              <a:off x="2634287" y="1317657"/>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3" name="Oval 412">
              <a:extLst>
                <a:ext uri="{FF2B5EF4-FFF2-40B4-BE49-F238E27FC236}">
                  <a16:creationId xmlns:a16="http://schemas.microsoft.com/office/drawing/2014/main" id="{C53B2356-F532-CA44-A1ED-8FB6D8904548}"/>
                </a:ext>
              </a:extLst>
            </p:cNvPr>
            <p:cNvSpPr/>
            <p:nvPr/>
          </p:nvSpPr>
          <p:spPr>
            <a:xfrm rot="9903218">
              <a:off x="2724239" y="1255388"/>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4" name="Oval 413">
              <a:extLst>
                <a:ext uri="{FF2B5EF4-FFF2-40B4-BE49-F238E27FC236}">
                  <a16:creationId xmlns:a16="http://schemas.microsoft.com/office/drawing/2014/main" id="{E6F0BD9F-1419-3A47-9D8D-C0C6DAD578FE}"/>
                </a:ext>
              </a:extLst>
            </p:cNvPr>
            <p:cNvSpPr/>
            <p:nvPr/>
          </p:nvSpPr>
          <p:spPr>
            <a:xfrm rot="20703218">
              <a:off x="2957579" y="205980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5" name="Oval 414">
              <a:extLst>
                <a:ext uri="{FF2B5EF4-FFF2-40B4-BE49-F238E27FC236}">
                  <a16:creationId xmlns:a16="http://schemas.microsoft.com/office/drawing/2014/main" id="{8100DB1F-3D1C-3842-8580-7A7E7626C3AE}"/>
                </a:ext>
              </a:extLst>
            </p:cNvPr>
            <p:cNvSpPr/>
            <p:nvPr/>
          </p:nvSpPr>
          <p:spPr>
            <a:xfrm rot="20703218">
              <a:off x="2643514" y="114798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6" name="Oval 415">
              <a:extLst>
                <a:ext uri="{FF2B5EF4-FFF2-40B4-BE49-F238E27FC236}">
                  <a16:creationId xmlns:a16="http://schemas.microsoft.com/office/drawing/2014/main" id="{5DE615F4-FB23-1E49-B25A-09116463C896}"/>
                </a:ext>
              </a:extLst>
            </p:cNvPr>
            <p:cNvSpPr/>
            <p:nvPr/>
          </p:nvSpPr>
          <p:spPr>
            <a:xfrm rot="20703218">
              <a:off x="2692637" y="1070448"/>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7" name="Oval 416">
              <a:extLst>
                <a:ext uri="{FF2B5EF4-FFF2-40B4-BE49-F238E27FC236}">
                  <a16:creationId xmlns:a16="http://schemas.microsoft.com/office/drawing/2014/main" id="{F933C3AF-E7FC-A14B-A38F-7CA19734EF75}"/>
                </a:ext>
              </a:extLst>
            </p:cNvPr>
            <p:cNvSpPr/>
            <p:nvPr/>
          </p:nvSpPr>
          <p:spPr>
            <a:xfrm rot="20703218">
              <a:off x="2719246" y="1004494"/>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8" name="Oval 417">
              <a:extLst>
                <a:ext uri="{FF2B5EF4-FFF2-40B4-BE49-F238E27FC236}">
                  <a16:creationId xmlns:a16="http://schemas.microsoft.com/office/drawing/2014/main" id="{5FA0FEB0-6BEE-1646-BAF7-774DD985D183}"/>
                </a:ext>
              </a:extLst>
            </p:cNvPr>
            <p:cNvSpPr/>
            <p:nvPr/>
          </p:nvSpPr>
          <p:spPr>
            <a:xfrm rot="20703218">
              <a:off x="2575876" y="126759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19" name="Oval 418">
              <a:extLst>
                <a:ext uri="{FF2B5EF4-FFF2-40B4-BE49-F238E27FC236}">
                  <a16:creationId xmlns:a16="http://schemas.microsoft.com/office/drawing/2014/main" id="{27ECA778-1657-1A48-B643-EC0A4E6BFEDF}"/>
                </a:ext>
              </a:extLst>
            </p:cNvPr>
            <p:cNvSpPr/>
            <p:nvPr/>
          </p:nvSpPr>
          <p:spPr>
            <a:xfrm rot="20703218">
              <a:off x="2711862" y="1185235"/>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0" name="Oval 419">
              <a:extLst>
                <a:ext uri="{FF2B5EF4-FFF2-40B4-BE49-F238E27FC236}">
                  <a16:creationId xmlns:a16="http://schemas.microsoft.com/office/drawing/2014/main" id="{0DAF436A-F01E-7143-B74A-B890A33410BB}"/>
                </a:ext>
              </a:extLst>
            </p:cNvPr>
            <p:cNvSpPr/>
            <p:nvPr/>
          </p:nvSpPr>
          <p:spPr>
            <a:xfrm rot="4739662">
              <a:off x="4536730" y="3910958"/>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1" name="Oval 420">
              <a:extLst>
                <a:ext uri="{FF2B5EF4-FFF2-40B4-BE49-F238E27FC236}">
                  <a16:creationId xmlns:a16="http://schemas.microsoft.com/office/drawing/2014/main" id="{9F470DEC-5484-6C4F-B8D1-4500690696DE}"/>
                </a:ext>
              </a:extLst>
            </p:cNvPr>
            <p:cNvSpPr/>
            <p:nvPr/>
          </p:nvSpPr>
          <p:spPr>
            <a:xfrm rot="15539662">
              <a:off x="4437441" y="3661684"/>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2" name="Oval 421">
              <a:extLst>
                <a:ext uri="{FF2B5EF4-FFF2-40B4-BE49-F238E27FC236}">
                  <a16:creationId xmlns:a16="http://schemas.microsoft.com/office/drawing/2014/main" id="{BC2A68FB-338C-4844-B3A6-F189442F6D2A}"/>
                </a:ext>
              </a:extLst>
            </p:cNvPr>
            <p:cNvSpPr/>
            <p:nvPr/>
          </p:nvSpPr>
          <p:spPr>
            <a:xfrm rot="15539662">
              <a:off x="4409046" y="376251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3" name="Oval 422">
              <a:extLst>
                <a:ext uri="{FF2B5EF4-FFF2-40B4-BE49-F238E27FC236}">
                  <a16:creationId xmlns:a16="http://schemas.microsoft.com/office/drawing/2014/main" id="{7626B19B-08A4-464A-B44A-133BC05291D4}"/>
                </a:ext>
              </a:extLst>
            </p:cNvPr>
            <p:cNvSpPr/>
            <p:nvPr/>
          </p:nvSpPr>
          <p:spPr>
            <a:xfrm rot="15539662">
              <a:off x="4600550" y="3709946"/>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4" name="Oval 423">
              <a:extLst>
                <a:ext uri="{FF2B5EF4-FFF2-40B4-BE49-F238E27FC236}">
                  <a16:creationId xmlns:a16="http://schemas.microsoft.com/office/drawing/2014/main" id="{FEB9EE1B-D38A-174E-860E-203EBD1D9CF2}"/>
                </a:ext>
              </a:extLst>
            </p:cNvPr>
            <p:cNvSpPr/>
            <p:nvPr/>
          </p:nvSpPr>
          <p:spPr>
            <a:xfrm rot="4739662">
              <a:off x="3381509" y="2172822"/>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5" name="Oval 424">
              <a:extLst>
                <a:ext uri="{FF2B5EF4-FFF2-40B4-BE49-F238E27FC236}">
                  <a16:creationId xmlns:a16="http://schemas.microsoft.com/office/drawing/2014/main" id="{5482FC10-081F-DD4E-9877-A2DEDC442BF5}"/>
                </a:ext>
              </a:extLst>
            </p:cNvPr>
            <p:cNvSpPr/>
            <p:nvPr/>
          </p:nvSpPr>
          <p:spPr>
            <a:xfrm rot="4739662">
              <a:off x="4556900" y="380541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6" name="Oval 425">
              <a:extLst>
                <a:ext uri="{FF2B5EF4-FFF2-40B4-BE49-F238E27FC236}">
                  <a16:creationId xmlns:a16="http://schemas.microsoft.com/office/drawing/2014/main" id="{4B643E17-4869-B540-8A04-7AA28C3A5C97}"/>
                </a:ext>
              </a:extLst>
            </p:cNvPr>
            <p:cNvSpPr/>
            <p:nvPr/>
          </p:nvSpPr>
          <p:spPr>
            <a:xfrm rot="15539662">
              <a:off x="4127897" y="317742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7" name="Oval 426">
              <a:extLst>
                <a:ext uri="{FF2B5EF4-FFF2-40B4-BE49-F238E27FC236}">
                  <a16:creationId xmlns:a16="http://schemas.microsoft.com/office/drawing/2014/main" id="{5D6F3035-9EE8-5844-B0E3-0F6918233EEB}"/>
                </a:ext>
              </a:extLst>
            </p:cNvPr>
            <p:cNvSpPr/>
            <p:nvPr/>
          </p:nvSpPr>
          <p:spPr>
            <a:xfrm rot="15539662">
              <a:off x="4372436" y="3705523"/>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8" name="Oval 427">
              <a:extLst>
                <a:ext uri="{FF2B5EF4-FFF2-40B4-BE49-F238E27FC236}">
                  <a16:creationId xmlns:a16="http://schemas.microsoft.com/office/drawing/2014/main" id="{FAA6ACE1-C520-DF4B-9A3A-CA1E49A56AE7}"/>
                </a:ext>
              </a:extLst>
            </p:cNvPr>
            <p:cNvSpPr/>
            <p:nvPr/>
          </p:nvSpPr>
          <p:spPr>
            <a:xfrm rot="4739662">
              <a:off x="4550459" y="3614093"/>
              <a:ext cx="64330" cy="643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29" name="Oval 428">
              <a:extLst>
                <a:ext uri="{FF2B5EF4-FFF2-40B4-BE49-F238E27FC236}">
                  <a16:creationId xmlns:a16="http://schemas.microsoft.com/office/drawing/2014/main" id="{B81994EE-D53A-BC45-A165-9B4CDF4FAF7C}"/>
                </a:ext>
              </a:extLst>
            </p:cNvPr>
            <p:cNvSpPr/>
            <p:nvPr/>
          </p:nvSpPr>
          <p:spPr>
            <a:xfrm rot="15539662">
              <a:off x="4531009" y="3740150"/>
              <a:ext cx="80692" cy="6718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0" name="Oval 429">
              <a:extLst>
                <a:ext uri="{FF2B5EF4-FFF2-40B4-BE49-F238E27FC236}">
                  <a16:creationId xmlns:a16="http://schemas.microsoft.com/office/drawing/2014/main" id="{A7D9D9BA-AC6E-DC48-8A74-CEADB8424825}"/>
                </a:ext>
              </a:extLst>
            </p:cNvPr>
            <p:cNvSpPr/>
            <p:nvPr/>
          </p:nvSpPr>
          <p:spPr>
            <a:xfrm rot="15539662">
              <a:off x="4500535" y="385182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1" name="Oval 430">
              <a:extLst>
                <a:ext uri="{FF2B5EF4-FFF2-40B4-BE49-F238E27FC236}">
                  <a16:creationId xmlns:a16="http://schemas.microsoft.com/office/drawing/2014/main" id="{1736FC4D-9C98-1E47-8D56-23308EEFFE80}"/>
                </a:ext>
              </a:extLst>
            </p:cNvPr>
            <p:cNvSpPr/>
            <p:nvPr/>
          </p:nvSpPr>
          <p:spPr>
            <a:xfrm rot="15539662">
              <a:off x="4320340" y="3643090"/>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2" name="Oval 431">
              <a:extLst>
                <a:ext uri="{FF2B5EF4-FFF2-40B4-BE49-F238E27FC236}">
                  <a16:creationId xmlns:a16="http://schemas.microsoft.com/office/drawing/2014/main" id="{D31A3E4E-FB0A-574B-AC61-DF9F3B66E801}"/>
                </a:ext>
              </a:extLst>
            </p:cNvPr>
            <p:cNvSpPr/>
            <p:nvPr/>
          </p:nvSpPr>
          <p:spPr>
            <a:xfrm rot="17847352">
              <a:off x="2843011" y="3492625"/>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3" name="Oval 432">
              <a:extLst>
                <a:ext uri="{FF2B5EF4-FFF2-40B4-BE49-F238E27FC236}">
                  <a16:creationId xmlns:a16="http://schemas.microsoft.com/office/drawing/2014/main" id="{EB535CAC-4DD5-4944-A74A-458E9347DA27}"/>
                </a:ext>
              </a:extLst>
            </p:cNvPr>
            <p:cNvSpPr/>
            <p:nvPr/>
          </p:nvSpPr>
          <p:spPr>
            <a:xfrm rot="17847352">
              <a:off x="2652171" y="3337828"/>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4" name="Oval 433">
              <a:extLst>
                <a:ext uri="{FF2B5EF4-FFF2-40B4-BE49-F238E27FC236}">
                  <a16:creationId xmlns:a16="http://schemas.microsoft.com/office/drawing/2014/main" id="{9DE56E23-CD6A-4043-B230-1CD2D7D3C448}"/>
                </a:ext>
              </a:extLst>
            </p:cNvPr>
            <p:cNvSpPr/>
            <p:nvPr/>
          </p:nvSpPr>
          <p:spPr>
            <a:xfrm rot="17847352">
              <a:off x="2587891" y="3516379"/>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5" name="Oval 434">
              <a:extLst>
                <a:ext uri="{FF2B5EF4-FFF2-40B4-BE49-F238E27FC236}">
                  <a16:creationId xmlns:a16="http://schemas.microsoft.com/office/drawing/2014/main" id="{E46EC4AF-388B-9A4E-BDEE-C0050D85D8D2}"/>
                </a:ext>
              </a:extLst>
            </p:cNvPr>
            <p:cNvSpPr/>
            <p:nvPr/>
          </p:nvSpPr>
          <p:spPr>
            <a:xfrm rot="7047352">
              <a:off x="2713251" y="3413537"/>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6" name="Oval 435">
              <a:extLst>
                <a:ext uri="{FF2B5EF4-FFF2-40B4-BE49-F238E27FC236}">
                  <a16:creationId xmlns:a16="http://schemas.microsoft.com/office/drawing/2014/main" id="{87E01C2C-54DB-544D-98F6-8EC49C6EC395}"/>
                </a:ext>
              </a:extLst>
            </p:cNvPr>
            <p:cNvSpPr/>
            <p:nvPr/>
          </p:nvSpPr>
          <p:spPr>
            <a:xfrm rot="7047352">
              <a:off x="2763542" y="3728851"/>
              <a:ext cx="94547" cy="945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7" name="Oval 436">
              <a:extLst>
                <a:ext uri="{FF2B5EF4-FFF2-40B4-BE49-F238E27FC236}">
                  <a16:creationId xmlns:a16="http://schemas.microsoft.com/office/drawing/2014/main" id="{4B589306-3405-624A-AC8D-A9D9BF48C223}"/>
                </a:ext>
              </a:extLst>
            </p:cNvPr>
            <p:cNvSpPr/>
            <p:nvPr/>
          </p:nvSpPr>
          <p:spPr>
            <a:xfrm rot="7047352">
              <a:off x="2842218" y="3631745"/>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8" name="Oval 437">
              <a:extLst>
                <a:ext uri="{FF2B5EF4-FFF2-40B4-BE49-F238E27FC236}">
                  <a16:creationId xmlns:a16="http://schemas.microsoft.com/office/drawing/2014/main" id="{38589ACD-051F-B141-B8D3-EF5EFD4704D2}"/>
                </a:ext>
              </a:extLst>
            </p:cNvPr>
            <p:cNvSpPr/>
            <p:nvPr/>
          </p:nvSpPr>
          <p:spPr>
            <a:xfrm rot="7047352">
              <a:off x="2047350" y="1853593"/>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39" name="Oval 438">
              <a:extLst>
                <a:ext uri="{FF2B5EF4-FFF2-40B4-BE49-F238E27FC236}">
                  <a16:creationId xmlns:a16="http://schemas.microsoft.com/office/drawing/2014/main" id="{EB491380-9F32-0A40-B1CD-B218D0B72102}"/>
                </a:ext>
              </a:extLst>
            </p:cNvPr>
            <p:cNvSpPr/>
            <p:nvPr/>
          </p:nvSpPr>
          <p:spPr>
            <a:xfrm rot="7047352">
              <a:off x="2684137" y="3627507"/>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0" name="Oval 439">
              <a:extLst>
                <a:ext uri="{FF2B5EF4-FFF2-40B4-BE49-F238E27FC236}">
                  <a16:creationId xmlns:a16="http://schemas.microsoft.com/office/drawing/2014/main" id="{B4295FDA-23CB-5348-A026-06387D8C1936}"/>
                </a:ext>
              </a:extLst>
            </p:cNvPr>
            <p:cNvSpPr/>
            <p:nvPr/>
          </p:nvSpPr>
          <p:spPr>
            <a:xfrm rot="17847352">
              <a:off x="2670496" y="3536413"/>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1" name="Oval 440">
              <a:extLst>
                <a:ext uri="{FF2B5EF4-FFF2-40B4-BE49-F238E27FC236}">
                  <a16:creationId xmlns:a16="http://schemas.microsoft.com/office/drawing/2014/main" id="{627C2109-2D54-9847-A6C1-C4EBEE727D40}"/>
                </a:ext>
              </a:extLst>
            </p:cNvPr>
            <p:cNvSpPr/>
            <p:nvPr/>
          </p:nvSpPr>
          <p:spPr>
            <a:xfrm rot="17847352">
              <a:off x="2833628" y="3385557"/>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2" name="Oval 441">
              <a:extLst>
                <a:ext uri="{FF2B5EF4-FFF2-40B4-BE49-F238E27FC236}">
                  <a16:creationId xmlns:a16="http://schemas.microsoft.com/office/drawing/2014/main" id="{0E272307-B494-BF44-95A0-0D4B66E4A017}"/>
                </a:ext>
              </a:extLst>
            </p:cNvPr>
            <p:cNvSpPr/>
            <p:nvPr/>
          </p:nvSpPr>
          <p:spPr>
            <a:xfrm rot="17847352">
              <a:off x="2765497" y="3554639"/>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3" name="Oval 442">
              <a:extLst>
                <a:ext uri="{FF2B5EF4-FFF2-40B4-BE49-F238E27FC236}">
                  <a16:creationId xmlns:a16="http://schemas.microsoft.com/office/drawing/2014/main" id="{B591DD74-D922-6B4A-BD03-0E7676C8C266}"/>
                </a:ext>
              </a:extLst>
            </p:cNvPr>
            <p:cNvSpPr/>
            <p:nvPr/>
          </p:nvSpPr>
          <p:spPr>
            <a:xfrm rot="7047352">
              <a:off x="2628210" y="3443410"/>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4" name="Oval 443">
              <a:extLst>
                <a:ext uri="{FF2B5EF4-FFF2-40B4-BE49-F238E27FC236}">
                  <a16:creationId xmlns:a16="http://schemas.microsoft.com/office/drawing/2014/main" id="{9D2A2E8B-4225-974B-8576-A71A0F7239DF}"/>
                </a:ext>
              </a:extLst>
            </p:cNvPr>
            <p:cNvSpPr/>
            <p:nvPr/>
          </p:nvSpPr>
          <p:spPr>
            <a:xfrm rot="7047352">
              <a:off x="2911917" y="3572372"/>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5" name="Oval 444">
              <a:extLst>
                <a:ext uri="{FF2B5EF4-FFF2-40B4-BE49-F238E27FC236}">
                  <a16:creationId xmlns:a16="http://schemas.microsoft.com/office/drawing/2014/main" id="{45ECB05B-34E2-8349-82D0-1E2FC9482F19}"/>
                </a:ext>
              </a:extLst>
            </p:cNvPr>
            <p:cNvSpPr/>
            <p:nvPr/>
          </p:nvSpPr>
          <p:spPr>
            <a:xfrm rot="7047352">
              <a:off x="2505209" y="3545428"/>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6" name="Oval 445">
              <a:extLst>
                <a:ext uri="{FF2B5EF4-FFF2-40B4-BE49-F238E27FC236}">
                  <a16:creationId xmlns:a16="http://schemas.microsoft.com/office/drawing/2014/main" id="{F7FCFF5F-59DB-6245-B295-16B0E247506D}"/>
                </a:ext>
              </a:extLst>
            </p:cNvPr>
            <p:cNvSpPr/>
            <p:nvPr/>
          </p:nvSpPr>
          <p:spPr>
            <a:xfrm rot="7047352">
              <a:off x="2944710" y="3674625"/>
              <a:ext cx="94547" cy="9454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7" name="Oval 446">
              <a:extLst>
                <a:ext uri="{FF2B5EF4-FFF2-40B4-BE49-F238E27FC236}">
                  <a16:creationId xmlns:a16="http://schemas.microsoft.com/office/drawing/2014/main" id="{62197F1C-E675-E746-967C-DEA0A2F13C04}"/>
                </a:ext>
              </a:extLst>
            </p:cNvPr>
            <p:cNvSpPr/>
            <p:nvPr/>
          </p:nvSpPr>
          <p:spPr>
            <a:xfrm rot="17847352">
              <a:off x="2637372" y="3706543"/>
              <a:ext cx="115557" cy="1155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8" name="Oval 447">
              <a:extLst>
                <a:ext uri="{FF2B5EF4-FFF2-40B4-BE49-F238E27FC236}">
                  <a16:creationId xmlns:a16="http://schemas.microsoft.com/office/drawing/2014/main" id="{104254D5-9D37-7F41-8403-9DD337F4AA42}"/>
                </a:ext>
              </a:extLst>
            </p:cNvPr>
            <p:cNvSpPr/>
            <p:nvPr/>
          </p:nvSpPr>
          <p:spPr>
            <a:xfrm rot="7047352">
              <a:off x="2760181" y="3651496"/>
              <a:ext cx="73537"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49" name="Oval 448">
              <a:extLst>
                <a:ext uri="{FF2B5EF4-FFF2-40B4-BE49-F238E27FC236}">
                  <a16:creationId xmlns:a16="http://schemas.microsoft.com/office/drawing/2014/main" id="{50E20F5F-652C-C846-A50B-730CC4F831D3}"/>
                </a:ext>
              </a:extLst>
            </p:cNvPr>
            <p:cNvSpPr/>
            <p:nvPr/>
          </p:nvSpPr>
          <p:spPr>
            <a:xfrm rot="7047352">
              <a:off x="2598838" y="3608792"/>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0" name="Oval 449">
              <a:extLst>
                <a:ext uri="{FF2B5EF4-FFF2-40B4-BE49-F238E27FC236}">
                  <a16:creationId xmlns:a16="http://schemas.microsoft.com/office/drawing/2014/main" id="{6158653B-5E79-DC47-A3C0-A83099A14F38}"/>
                </a:ext>
              </a:extLst>
            </p:cNvPr>
            <p:cNvSpPr/>
            <p:nvPr/>
          </p:nvSpPr>
          <p:spPr>
            <a:xfrm rot="7047352">
              <a:off x="2880172" y="3732922"/>
              <a:ext cx="63031" cy="630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1" name="Oval 450">
              <a:extLst>
                <a:ext uri="{FF2B5EF4-FFF2-40B4-BE49-F238E27FC236}">
                  <a16:creationId xmlns:a16="http://schemas.microsoft.com/office/drawing/2014/main" id="{663B0896-494E-BE42-B514-C7F9FCFBF5BB}"/>
                </a:ext>
              </a:extLst>
            </p:cNvPr>
            <p:cNvSpPr/>
            <p:nvPr/>
          </p:nvSpPr>
          <p:spPr>
            <a:xfrm rot="17847352">
              <a:off x="2379349" y="3586512"/>
              <a:ext cx="84042" cy="840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2" name="Oval 451">
              <a:extLst>
                <a:ext uri="{FF2B5EF4-FFF2-40B4-BE49-F238E27FC236}">
                  <a16:creationId xmlns:a16="http://schemas.microsoft.com/office/drawing/2014/main" id="{D2E03526-6C11-BD4A-A4F2-129C65C0202F}"/>
                </a:ext>
              </a:extLst>
            </p:cNvPr>
            <p:cNvSpPr/>
            <p:nvPr/>
          </p:nvSpPr>
          <p:spPr>
            <a:xfrm rot="17847352">
              <a:off x="2352824" y="3661107"/>
              <a:ext cx="73536" cy="735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3" name="Oval 452">
              <a:extLst>
                <a:ext uri="{FF2B5EF4-FFF2-40B4-BE49-F238E27FC236}">
                  <a16:creationId xmlns:a16="http://schemas.microsoft.com/office/drawing/2014/main" id="{06EB0C34-B9E9-ED4B-B2FE-F4F5A22797D5}"/>
                </a:ext>
              </a:extLst>
            </p:cNvPr>
            <p:cNvSpPr/>
            <p:nvPr/>
          </p:nvSpPr>
          <p:spPr>
            <a:xfrm rot="7047352">
              <a:off x="2434868" y="3705913"/>
              <a:ext cx="115557" cy="1155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4" name="Oval 453">
              <a:extLst>
                <a:ext uri="{FF2B5EF4-FFF2-40B4-BE49-F238E27FC236}">
                  <a16:creationId xmlns:a16="http://schemas.microsoft.com/office/drawing/2014/main" id="{E931935E-8524-6043-88E7-C7FF6AB7C84B}"/>
                </a:ext>
              </a:extLst>
            </p:cNvPr>
            <p:cNvSpPr/>
            <p:nvPr/>
          </p:nvSpPr>
          <p:spPr>
            <a:xfrm rot="17847352">
              <a:off x="2555245" y="3677934"/>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5" name="Oval 454">
              <a:extLst>
                <a:ext uri="{FF2B5EF4-FFF2-40B4-BE49-F238E27FC236}">
                  <a16:creationId xmlns:a16="http://schemas.microsoft.com/office/drawing/2014/main" id="{172C0FF4-CD56-BB4A-BCD7-FF0D33C3BF47}"/>
                </a:ext>
              </a:extLst>
            </p:cNvPr>
            <p:cNvSpPr/>
            <p:nvPr/>
          </p:nvSpPr>
          <p:spPr>
            <a:xfrm rot="7047352">
              <a:off x="2349827" y="3735787"/>
              <a:ext cx="63031" cy="630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6" name="Oval 455">
              <a:extLst>
                <a:ext uri="{FF2B5EF4-FFF2-40B4-BE49-F238E27FC236}">
                  <a16:creationId xmlns:a16="http://schemas.microsoft.com/office/drawing/2014/main" id="{1A574FBE-A974-F34A-87FC-24A5D3544B62}"/>
                </a:ext>
              </a:extLst>
            </p:cNvPr>
            <p:cNvSpPr/>
            <p:nvPr/>
          </p:nvSpPr>
          <p:spPr>
            <a:xfrm rot="7047352">
              <a:off x="2461978" y="3627230"/>
              <a:ext cx="53307" cy="5330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7" name="Oval 456">
              <a:extLst>
                <a:ext uri="{FF2B5EF4-FFF2-40B4-BE49-F238E27FC236}">
                  <a16:creationId xmlns:a16="http://schemas.microsoft.com/office/drawing/2014/main" id="{C09CEE73-D68A-274A-B989-4F8514DFD071}"/>
                </a:ext>
              </a:extLst>
            </p:cNvPr>
            <p:cNvSpPr/>
            <p:nvPr/>
          </p:nvSpPr>
          <p:spPr>
            <a:xfrm rot="16200000">
              <a:off x="2527620" y="3428536"/>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8" name="Oval 457">
              <a:extLst>
                <a:ext uri="{FF2B5EF4-FFF2-40B4-BE49-F238E27FC236}">
                  <a16:creationId xmlns:a16="http://schemas.microsoft.com/office/drawing/2014/main" id="{262C9A8B-ED29-8841-AA82-FFA6704DBBAF}"/>
                </a:ext>
              </a:extLst>
            </p:cNvPr>
            <p:cNvSpPr/>
            <p:nvPr/>
          </p:nvSpPr>
          <p:spPr>
            <a:xfrm rot="4396595">
              <a:off x="1961255" y="1842031"/>
              <a:ext cx="84042" cy="840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59" name="Oval 458">
              <a:extLst>
                <a:ext uri="{FF2B5EF4-FFF2-40B4-BE49-F238E27FC236}">
                  <a16:creationId xmlns:a16="http://schemas.microsoft.com/office/drawing/2014/main" id="{DA6B277C-61B8-D84D-B0D1-2EFB07FCC171}"/>
                </a:ext>
              </a:extLst>
            </p:cNvPr>
            <p:cNvSpPr/>
            <p:nvPr/>
          </p:nvSpPr>
          <p:spPr>
            <a:xfrm rot="15196595">
              <a:off x="2857129" y="2406859"/>
              <a:ext cx="73536" cy="735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grpSp>
      <p:grpSp>
        <p:nvGrpSpPr>
          <p:cNvPr id="460" name="Group 459">
            <a:extLst>
              <a:ext uri="{FF2B5EF4-FFF2-40B4-BE49-F238E27FC236}">
                <a16:creationId xmlns:a16="http://schemas.microsoft.com/office/drawing/2014/main" id="{41C87CC7-F676-D648-9293-83DD0282918A}"/>
              </a:ext>
            </a:extLst>
          </p:cNvPr>
          <p:cNvGrpSpPr/>
          <p:nvPr/>
        </p:nvGrpSpPr>
        <p:grpSpPr>
          <a:xfrm>
            <a:off x="8161519" y="4459432"/>
            <a:ext cx="1277746" cy="1454006"/>
            <a:chOff x="4758721" y="2305561"/>
            <a:chExt cx="2590429" cy="2947770"/>
          </a:xfrm>
          <a:effectLst/>
        </p:grpSpPr>
        <p:sp>
          <p:nvSpPr>
            <p:cNvPr id="461" name="Freeform 18">
              <a:extLst>
                <a:ext uri="{FF2B5EF4-FFF2-40B4-BE49-F238E27FC236}">
                  <a16:creationId xmlns:a16="http://schemas.microsoft.com/office/drawing/2014/main" id="{D29D41C3-176D-0849-91CC-674DA6D66995}"/>
                </a:ext>
              </a:extLst>
            </p:cNvPr>
            <p:cNvSpPr>
              <a:spLocks/>
            </p:cNvSpPr>
            <p:nvPr/>
          </p:nvSpPr>
          <p:spPr bwMode="auto">
            <a:xfrm>
              <a:off x="4808306" y="2306489"/>
              <a:ext cx="1276351" cy="1459538"/>
            </a:xfrm>
            <a:custGeom>
              <a:avLst/>
              <a:gdLst/>
              <a:ahLst/>
              <a:cxnLst/>
              <a:rect l="l" t="t" r="r" b="b"/>
              <a:pathLst>
                <a:path w="1095957" h="1253252">
                  <a:moveTo>
                    <a:pt x="1095957" y="0"/>
                  </a:moveTo>
                  <a:lnTo>
                    <a:pt x="1095957" y="1253252"/>
                  </a:lnTo>
                  <a:lnTo>
                    <a:pt x="0" y="1253252"/>
                  </a:lnTo>
                  <a:lnTo>
                    <a:pt x="2876" y="1250470"/>
                  </a:lnTo>
                  <a:lnTo>
                    <a:pt x="12723" y="1241092"/>
                  </a:lnTo>
                  <a:lnTo>
                    <a:pt x="41507" y="1206703"/>
                  </a:lnTo>
                  <a:lnTo>
                    <a:pt x="71806" y="1175441"/>
                  </a:lnTo>
                  <a:lnTo>
                    <a:pt x="102105" y="1144179"/>
                  </a:lnTo>
                  <a:lnTo>
                    <a:pt x="130889" y="1109790"/>
                  </a:lnTo>
                  <a:lnTo>
                    <a:pt x="158159" y="1076184"/>
                  </a:lnTo>
                  <a:lnTo>
                    <a:pt x="183155" y="1037887"/>
                  </a:lnTo>
                  <a:lnTo>
                    <a:pt x="203607" y="996465"/>
                  </a:lnTo>
                  <a:lnTo>
                    <a:pt x="214969" y="962077"/>
                  </a:lnTo>
                  <a:lnTo>
                    <a:pt x="218757" y="928470"/>
                  </a:lnTo>
                  <a:lnTo>
                    <a:pt x="218757" y="892518"/>
                  </a:lnTo>
                  <a:lnTo>
                    <a:pt x="217999" y="854222"/>
                  </a:lnTo>
                  <a:lnTo>
                    <a:pt x="216484" y="815926"/>
                  </a:lnTo>
                  <a:lnTo>
                    <a:pt x="217999" y="774503"/>
                  </a:lnTo>
                  <a:lnTo>
                    <a:pt x="221787" y="730736"/>
                  </a:lnTo>
                  <a:lnTo>
                    <a:pt x="264205" y="550197"/>
                  </a:lnTo>
                  <a:lnTo>
                    <a:pt x="290717" y="484547"/>
                  </a:lnTo>
                  <a:lnTo>
                    <a:pt x="322531" y="423585"/>
                  </a:lnTo>
                  <a:lnTo>
                    <a:pt x="359647" y="366532"/>
                  </a:lnTo>
                  <a:lnTo>
                    <a:pt x="402066" y="312605"/>
                  </a:lnTo>
                  <a:lnTo>
                    <a:pt x="449030" y="263367"/>
                  </a:lnTo>
                  <a:lnTo>
                    <a:pt x="499781" y="218036"/>
                  </a:lnTo>
                  <a:lnTo>
                    <a:pt x="555076" y="176614"/>
                  </a:lnTo>
                  <a:lnTo>
                    <a:pt x="612645" y="139881"/>
                  </a:lnTo>
                  <a:lnTo>
                    <a:pt x="674758" y="107056"/>
                  </a:lnTo>
                  <a:lnTo>
                    <a:pt x="738386" y="79701"/>
                  </a:lnTo>
                  <a:lnTo>
                    <a:pt x="802771" y="55473"/>
                  </a:lnTo>
                  <a:lnTo>
                    <a:pt x="1019410" y="623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462" name="Freeform 18">
              <a:extLst>
                <a:ext uri="{FF2B5EF4-FFF2-40B4-BE49-F238E27FC236}">
                  <a16:creationId xmlns:a16="http://schemas.microsoft.com/office/drawing/2014/main" id="{CCBBC729-7A3D-674E-9153-DA32F15691CC}"/>
                </a:ext>
              </a:extLst>
            </p:cNvPr>
            <p:cNvSpPr>
              <a:spLocks/>
            </p:cNvSpPr>
            <p:nvPr/>
          </p:nvSpPr>
          <p:spPr bwMode="auto">
            <a:xfrm>
              <a:off x="6079772" y="3758384"/>
              <a:ext cx="1209309" cy="1494947"/>
            </a:xfrm>
            <a:custGeom>
              <a:avLst/>
              <a:gdLst/>
              <a:ahLst/>
              <a:cxnLst/>
              <a:rect l="l" t="t" r="r" b="b"/>
              <a:pathLst>
                <a:path w="1038389" h="1283657">
                  <a:moveTo>
                    <a:pt x="0" y="0"/>
                  </a:moveTo>
                  <a:lnTo>
                    <a:pt x="1038389" y="0"/>
                  </a:lnTo>
                  <a:lnTo>
                    <a:pt x="1037701" y="1908"/>
                  </a:lnTo>
                  <a:lnTo>
                    <a:pt x="1011189" y="58961"/>
                  </a:lnTo>
                  <a:lnTo>
                    <a:pt x="979375" y="111325"/>
                  </a:lnTo>
                  <a:lnTo>
                    <a:pt x="946804" y="162126"/>
                  </a:lnTo>
                  <a:lnTo>
                    <a:pt x="910445" y="212146"/>
                  </a:lnTo>
                  <a:lnTo>
                    <a:pt x="874844" y="259039"/>
                  </a:lnTo>
                  <a:lnTo>
                    <a:pt x="839242" y="307495"/>
                  </a:lnTo>
                  <a:lnTo>
                    <a:pt x="804398" y="355952"/>
                  </a:lnTo>
                  <a:lnTo>
                    <a:pt x="780917" y="395030"/>
                  </a:lnTo>
                  <a:lnTo>
                    <a:pt x="761980" y="439578"/>
                  </a:lnTo>
                  <a:lnTo>
                    <a:pt x="746830" y="486471"/>
                  </a:lnTo>
                  <a:lnTo>
                    <a:pt x="734710" y="537273"/>
                  </a:lnTo>
                  <a:lnTo>
                    <a:pt x="733196" y="561501"/>
                  </a:lnTo>
                  <a:lnTo>
                    <a:pt x="734710" y="590418"/>
                  </a:lnTo>
                  <a:lnTo>
                    <a:pt x="738498" y="625588"/>
                  </a:lnTo>
                  <a:lnTo>
                    <a:pt x="743800" y="662321"/>
                  </a:lnTo>
                  <a:lnTo>
                    <a:pt x="752132" y="702181"/>
                  </a:lnTo>
                  <a:lnTo>
                    <a:pt x="761980" y="742040"/>
                  </a:lnTo>
                  <a:lnTo>
                    <a:pt x="771827" y="780336"/>
                  </a:lnTo>
                  <a:lnTo>
                    <a:pt x="782432" y="817069"/>
                  </a:lnTo>
                  <a:lnTo>
                    <a:pt x="792279" y="849894"/>
                  </a:lnTo>
                  <a:lnTo>
                    <a:pt x="802126" y="878812"/>
                  </a:lnTo>
                  <a:lnTo>
                    <a:pt x="810458" y="899914"/>
                  </a:lnTo>
                  <a:lnTo>
                    <a:pt x="822578" y="931176"/>
                  </a:lnTo>
                  <a:lnTo>
                    <a:pt x="833940" y="969472"/>
                  </a:lnTo>
                  <a:lnTo>
                    <a:pt x="846060" y="1012458"/>
                  </a:lnTo>
                  <a:lnTo>
                    <a:pt x="858179" y="1056225"/>
                  </a:lnTo>
                  <a:lnTo>
                    <a:pt x="871814" y="1096084"/>
                  </a:lnTo>
                  <a:lnTo>
                    <a:pt x="886206" y="1131254"/>
                  </a:lnTo>
                  <a:lnTo>
                    <a:pt x="756677" y="1174240"/>
                  </a:lnTo>
                  <a:lnTo>
                    <a:pt x="630936" y="1210973"/>
                  </a:lnTo>
                  <a:lnTo>
                    <a:pt x="511255" y="1240672"/>
                  </a:lnTo>
                  <a:lnTo>
                    <a:pt x="394603" y="1262555"/>
                  </a:lnTo>
                  <a:lnTo>
                    <a:pt x="280982" y="1278186"/>
                  </a:lnTo>
                  <a:lnTo>
                    <a:pt x="171148" y="1283657"/>
                  </a:lnTo>
                  <a:lnTo>
                    <a:pt x="63586" y="1282094"/>
                  </a:lnTo>
                  <a:lnTo>
                    <a:pt x="0" y="12759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463" name="Freeform 18">
              <a:extLst>
                <a:ext uri="{FF2B5EF4-FFF2-40B4-BE49-F238E27FC236}">
                  <a16:creationId xmlns:a16="http://schemas.microsoft.com/office/drawing/2014/main" id="{933DE5E5-DB15-774F-A96F-CF898D49F7EB}"/>
                </a:ext>
              </a:extLst>
            </p:cNvPr>
            <p:cNvSpPr>
              <a:spLocks/>
            </p:cNvSpPr>
            <p:nvPr/>
          </p:nvSpPr>
          <p:spPr bwMode="auto">
            <a:xfrm>
              <a:off x="4758721" y="3758385"/>
              <a:ext cx="1325933" cy="1485930"/>
            </a:xfrm>
            <a:custGeom>
              <a:avLst/>
              <a:gdLst/>
              <a:ahLst/>
              <a:cxnLst/>
              <a:rect l="l" t="t" r="r" b="b"/>
              <a:pathLst>
                <a:path w="1138530" h="1275914">
                  <a:moveTo>
                    <a:pt x="42573" y="0"/>
                  </a:moveTo>
                  <a:lnTo>
                    <a:pt x="1138530" y="0"/>
                  </a:lnTo>
                  <a:lnTo>
                    <a:pt x="1138530" y="1275914"/>
                  </a:lnTo>
                  <a:lnTo>
                    <a:pt x="1097584" y="1271934"/>
                  </a:lnTo>
                  <a:lnTo>
                    <a:pt x="994567" y="1253958"/>
                  </a:lnTo>
                  <a:lnTo>
                    <a:pt x="990022" y="1228167"/>
                  </a:lnTo>
                  <a:lnTo>
                    <a:pt x="984720" y="1198468"/>
                  </a:lnTo>
                  <a:lnTo>
                    <a:pt x="977903" y="1162516"/>
                  </a:lnTo>
                  <a:lnTo>
                    <a:pt x="972600" y="1124220"/>
                  </a:lnTo>
                  <a:lnTo>
                    <a:pt x="965026" y="1082798"/>
                  </a:lnTo>
                  <a:lnTo>
                    <a:pt x="957451" y="1040594"/>
                  </a:lnTo>
                  <a:lnTo>
                    <a:pt x="949118" y="999171"/>
                  </a:lnTo>
                  <a:lnTo>
                    <a:pt x="939271" y="959312"/>
                  </a:lnTo>
                  <a:lnTo>
                    <a:pt x="929424" y="921016"/>
                  </a:lnTo>
                  <a:lnTo>
                    <a:pt x="917304" y="887409"/>
                  </a:lnTo>
                  <a:lnTo>
                    <a:pt x="904427" y="858491"/>
                  </a:lnTo>
                  <a:lnTo>
                    <a:pt x="890793" y="835826"/>
                  </a:lnTo>
                  <a:lnTo>
                    <a:pt x="875643" y="821758"/>
                  </a:lnTo>
                  <a:lnTo>
                    <a:pt x="858979" y="814724"/>
                  </a:lnTo>
                  <a:lnTo>
                    <a:pt x="840042" y="811598"/>
                  </a:lnTo>
                  <a:lnTo>
                    <a:pt x="818075" y="813161"/>
                  </a:lnTo>
                  <a:lnTo>
                    <a:pt x="796108" y="816288"/>
                  </a:lnTo>
                  <a:lnTo>
                    <a:pt x="775656" y="821758"/>
                  </a:lnTo>
                  <a:lnTo>
                    <a:pt x="755962" y="827229"/>
                  </a:lnTo>
                  <a:lnTo>
                    <a:pt x="737782" y="832700"/>
                  </a:lnTo>
                  <a:lnTo>
                    <a:pt x="724148" y="837390"/>
                  </a:lnTo>
                  <a:lnTo>
                    <a:pt x="691576" y="848331"/>
                  </a:lnTo>
                  <a:lnTo>
                    <a:pt x="654460" y="858491"/>
                  </a:lnTo>
                  <a:lnTo>
                    <a:pt x="612799" y="867089"/>
                  </a:lnTo>
                  <a:lnTo>
                    <a:pt x="568865" y="872559"/>
                  </a:lnTo>
                  <a:lnTo>
                    <a:pt x="524932" y="877249"/>
                  </a:lnTo>
                  <a:lnTo>
                    <a:pt x="480240" y="878812"/>
                  </a:lnTo>
                  <a:lnTo>
                    <a:pt x="437822" y="875686"/>
                  </a:lnTo>
                  <a:lnTo>
                    <a:pt x="397675" y="868652"/>
                  </a:lnTo>
                  <a:lnTo>
                    <a:pt x="375709" y="863181"/>
                  </a:lnTo>
                  <a:lnTo>
                    <a:pt x="353742" y="853021"/>
                  </a:lnTo>
                  <a:lnTo>
                    <a:pt x="331775" y="841297"/>
                  </a:lnTo>
                  <a:lnTo>
                    <a:pt x="312838" y="827229"/>
                  </a:lnTo>
                  <a:lnTo>
                    <a:pt x="293144" y="810035"/>
                  </a:lnTo>
                  <a:lnTo>
                    <a:pt x="277994" y="792059"/>
                  </a:lnTo>
                  <a:lnTo>
                    <a:pt x="267390" y="769394"/>
                  </a:lnTo>
                  <a:lnTo>
                    <a:pt x="259057" y="743603"/>
                  </a:lnTo>
                  <a:lnTo>
                    <a:pt x="256027" y="715467"/>
                  </a:lnTo>
                  <a:lnTo>
                    <a:pt x="259057" y="684205"/>
                  </a:lnTo>
                  <a:lnTo>
                    <a:pt x="262845" y="662321"/>
                  </a:lnTo>
                  <a:lnTo>
                    <a:pt x="268147" y="638093"/>
                  </a:lnTo>
                  <a:lnTo>
                    <a:pt x="274207" y="613083"/>
                  </a:lnTo>
                  <a:lnTo>
                    <a:pt x="276479" y="588855"/>
                  </a:lnTo>
                  <a:lnTo>
                    <a:pt x="276479" y="563064"/>
                  </a:lnTo>
                  <a:lnTo>
                    <a:pt x="269662" y="540399"/>
                  </a:lnTo>
                  <a:lnTo>
                    <a:pt x="262845" y="527894"/>
                  </a:lnTo>
                  <a:lnTo>
                    <a:pt x="250725" y="516171"/>
                  </a:lnTo>
                  <a:lnTo>
                    <a:pt x="237848" y="507573"/>
                  </a:lnTo>
                  <a:lnTo>
                    <a:pt x="224213" y="500539"/>
                  </a:lnTo>
                  <a:lnTo>
                    <a:pt x="210579" y="490379"/>
                  </a:lnTo>
                  <a:lnTo>
                    <a:pt x="199974" y="479437"/>
                  </a:lnTo>
                  <a:lnTo>
                    <a:pt x="191642" y="465369"/>
                  </a:lnTo>
                  <a:lnTo>
                    <a:pt x="188612" y="449738"/>
                  </a:lnTo>
                  <a:lnTo>
                    <a:pt x="190127" y="434107"/>
                  </a:lnTo>
                  <a:lnTo>
                    <a:pt x="195429" y="419258"/>
                  </a:lnTo>
                  <a:lnTo>
                    <a:pt x="202247" y="406753"/>
                  </a:lnTo>
                  <a:lnTo>
                    <a:pt x="206791" y="394248"/>
                  </a:lnTo>
                  <a:lnTo>
                    <a:pt x="184825" y="378617"/>
                  </a:lnTo>
                  <a:lnTo>
                    <a:pt x="169675" y="362986"/>
                  </a:lnTo>
                  <a:lnTo>
                    <a:pt x="161343" y="347355"/>
                  </a:lnTo>
                  <a:lnTo>
                    <a:pt x="159828" y="330161"/>
                  </a:lnTo>
                  <a:lnTo>
                    <a:pt x="162100" y="314529"/>
                  </a:lnTo>
                  <a:lnTo>
                    <a:pt x="168160" y="297335"/>
                  </a:lnTo>
                  <a:lnTo>
                    <a:pt x="176492" y="280141"/>
                  </a:lnTo>
                  <a:lnTo>
                    <a:pt x="185582" y="262947"/>
                  </a:lnTo>
                  <a:lnTo>
                    <a:pt x="193914" y="244971"/>
                  </a:lnTo>
                  <a:lnTo>
                    <a:pt x="202247" y="227777"/>
                  </a:lnTo>
                  <a:lnTo>
                    <a:pt x="206791" y="209020"/>
                  </a:lnTo>
                  <a:lnTo>
                    <a:pt x="191642" y="194952"/>
                  </a:lnTo>
                  <a:lnTo>
                    <a:pt x="170433" y="184010"/>
                  </a:lnTo>
                  <a:lnTo>
                    <a:pt x="146951" y="173850"/>
                  </a:lnTo>
                  <a:lnTo>
                    <a:pt x="122711" y="165252"/>
                  </a:lnTo>
                  <a:lnTo>
                    <a:pt x="97715" y="156655"/>
                  </a:lnTo>
                  <a:lnTo>
                    <a:pt x="72718" y="148058"/>
                  </a:lnTo>
                  <a:lnTo>
                    <a:pt x="49236" y="137898"/>
                  </a:lnTo>
                  <a:lnTo>
                    <a:pt x="30299" y="126956"/>
                  </a:lnTo>
                  <a:lnTo>
                    <a:pt x="13635" y="111325"/>
                  </a:lnTo>
                  <a:lnTo>
                    <a:pt x="3788" y="92568"/>
                  </a:lnTo>
                  <a:lnTo>
                    <a:pt x="0" y="73029"/>
                  </a:lnTo>
                  <a:lnTo>
                    <a:pt x="3030" y="54272"/>
                  </a:lnTo>
                  <a:lnTo>
                    <a:pt x="9847" y="37078"/>
                  </a:lnTo>
                  <a:lnTo>
                    <a:pt x="20452" y="23010"/>
                  </a:lnTo>
                  <a:lnTo>
                    <a:pt x="33329" y="89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2701"/>
            </a:p>
          </p:txBody>
        </p:sp>
        <p:sp>
          <p:nvSpPr>
            <p:cNvPr id="464" name="Freeform 18">
              <a:extLst>
                <a:ext uri="{FF2B5EF4-FFF2-40B4-BE49-F238E27FC236}">
                  <a16:creationId xmlns:a16="http://schemas.microsoft.com/office/drawing/2014/main" id="{4A800495-7B8A-C940-8570-D1D76DD2D16A}"/>
                </a:ext>
              </a:extLst>
            </p:cNvPr>
            <p:cNvSpPr>
              <a:spLocks/>
            </p:cNvSpPr>
            <p:nvPr/>
          </p:nvSpPr>
          <p:spPr bwMode="auto">
            <a:xfrm>
              <a:off x="6079775" y="2305561"/>
              <a:ext cx="1269375" cy="1460469"/>
            </a:xfrm>
            <a:custGeom>
              <a:avLst/>
              <a:gdLst/>
              <a:ahLst/>
              <a:cxnLst/>
              <a:rect l="l" t="t" r="r" b="b"/>
              <a:pathLst>
                <a:path w="1089967" h="1254051">
                  <a:moveTo>
                    <a:pt x="9805" y="0"/>
                  </a:moveTo>
                  <a:lnTo>
                    <a:pt x="106762" y="782"/>
                  </a:lnTo>
                  <a:lnTo>
                    <a:pt x="197659" y="7816"/>
                  </a:lnTo>
                  <a:lnTo>
                    <a:pt x="284012" y="19539"/>
                  </a:lnTo>
                  <a:lnTo>
                    <a:pt x="366576" y="36733"/>
                  </a:lnTo>
                  <a:lnTo>
                    <a:pt x="445354" y="57835"/>
                  </a:lnTo>
                  <a:lnTo>
                    <a:pt x="518072" y="85190"/>
                  </a:lnTo>
                  <a:lnTo>
                    <a:pt x="588517" y="114889"/>
                  </a:lnTo>
                  <a:lnTo>
                    <a:pt x="652903" y="150059"/>
                  </a:lnTo>
                  <a:lnTo>
                    <a:pt x="713501" y="189918"/>
                  </a:lnTo>
                  <a:lnTo>
                    <a:pt x="771827" y="234467"/>
                  </a:lnTo>
                  <a:lnTo>
                    <a:pt x="824093" y="282141"/>
                  </a:lnTo>
                  <a:lnTo>
                    <a:pt x="871814" y="335287"/>
                  </a:lnTo>
                  <a:lnTo>
                    <a:pt x="916505" y="390777"/>
                  </a:lnTo>
                  <a:lnTo>
                    <a:pt x="955894" y="450176"/>
                  </a:lnTo>
                  <a:lnTo>
                    <a:pt x="992252" y="512700"/>
                  </a:lnTo>
                  <a:lnTo>
                    <a:pt x="1016492" y="565064"/>
                  </a:lnTo>
                  <a:lnTo>
                    <a:pt x="1037701" y="623681"/>
                  </a:lnTo>
                  <a:lnTo>
                    <a:pt x="1056638" y="687768"/>
                  </a:lnTo>
                  <a:lnTo>
                    <a:pt x="1071788" y="757327"/>
                  </a:lnTo>
                  <a:lnTo>
                    <a:pt x="1083150" y="828448"/>
                  </a:lnTo>
                  <a:lnTo>
                    <a:pt x="1088452" y="901914"/>
                  </a:lnTo>
                  <a:lnTo>
                    <a:pt x="1089967" y="976944"/>
                  </a:lnTo>
                  <a:lnTo>
                    <a:pt x="1085422" y="1051191"/>
                  </a:lnTo>
                  <a:lnTo>
                    <a:pt x="1076332" y="1123876"/>
                  </a:lnTo>
                  <a:lnTo>
                    <a:pt x="1059668" y="1194997"/>
                  </a:lnTo>
                  <a:lnTo>
                    <a:pt x="1038388" y="1254051"/>
                  </a:lnTo>
                  <a:lnTo>
                    <a:pt x="0" y="1254051"/>
                  </a:lnTo>
                  <a:lnTo>
                    <a:pt x="0" y="79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ko-KR" altLang="en-US" sz="2701"/>
            </a:p>
          </p:txBody>
        </p:sp>
      </p:grpSp>
    </p:spTree>
    <p:extLst>
      <p:ext uri="{BB962C8B-B14F-4D97-AF65-F5344CB8AC3E}">
        <p14:creationId xmlns:p14="http://schemas.microsoft.com/office/powerpoint/2010/main" val="2408804040"/>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 name="Object 108" hidden="1">
            <a:extLst>
              <a:ext uri="{FF2B5EF4-FFF2-40B4-BE49-F238E27FC236}">
                <a16:creationId xmlns:a16="http://schemas.microsoft.com/office/drawing/2014/main" id="{4D82E542-5CAE-CD49-B210-7E4C936A3A7C}"/>
              </a:ext>
            </a:extLst>
          </p:cNvPr>
          <p:cNvGraphicFramePr>
            <a:graphicFrameLocks noChangeAspect="1"/>
          </p:cNvGraphicFramePr>
          <p:nvPr>
            <p:custDataLst>
              <p:tags r:id="rId1"/>
            </p:custDataLst>
            <p:extLst>
              <p:ext uri="{D42A27DB-BD31-4B8C-83A1-F6EECF244321}">
                <p14:modId xmlns:p14="http://schemas.microsoft.com/office/powerpoint/2010/main" val="2550361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09" name="Object 108" hidden="1">
                        <a:extLst>
                          <a:ext uri="{FF2B5EF4-FFF2-40B4-BE49-F238E27FC236}">
                            <a16:creationId xmlns:a16="http://schemas.microsoft.com/office/drawing/2014/main" id="{4D82E542-5CAE-CD49-B210-7E4C936A3A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2908869-CF64-1640-ABC7-AF8FD537BCBA}"/>
              </a:ext>
            </a:extLst>
          </p:cNvPr>
          <p:cNvSpPr>
            <a:spLocks noGrp="1"/>
          </p:cNvSpPr>
          <p:nvPr>
            <p:ph type="sldNum" sz="quarter" idx="4"/>
          </p:nvPr>
        </p:nvSpPr>
        <p:spPr/>
        <p:txBody>
          <a:bodyPr/>
          <a:lstStyle/>
          <a:p>
            <a:fld id="{3D966009-6E5A-4F8C-8CA7-E37AFBF5FB92}" type="slidenum">
              <a:rPr lang="en-US" smtClean="0"/>
              <a:t>171</a:t>
            </a:fld>
            <a:endParaRPr lang="en-US"/>
          </a:p>
        </p:txBody>
      </p:sp>
      <p:sp>
        <p:nvSpPr>
          <p:cNvPr id="3" name="Title 2">
            <a:extLst>
              <a:ext uri="{FF2B5EF4-FFF2-40B4-BE49-F238E27FC236}">
                <a16:creationId xmlns:a16="http://schemas.microsoft.com/office/drawing/2014/main" id="{AF2DC750-63C8-9E48-8AD1-9BB433B1F1A1}"/>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D6540590-8691-EB44-B6AF-63902990D0D9}"/>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0848E8E-76B5-B84D-B6A5-D7971B7C1308}"/>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35F9640-BF3C-044D-BF3B-A5DA7005A6DA}"/>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676E1E7D-1CD1-944C-88C3-E986D7987E93}"/>
              </a:ext>
            </a:extLst>
          </p:cNvPr>
          <p:cNvSpPr>
            <a:spLocks noGrp="1"/>
          </p:cNvSpPr>
          <p:nvPr>
            <p:ph sz="quarter" idx="14"/>
          </p:nvPr>
        </p:nvSpPr>
        <p:spPr/>
        <p:txBody>
          <a:bodyPr/>
          <a:lstStyle/>
          <a:p>
            <a:endParaRPr lang="en-GB"/>
          </a:p>
        </p:txBody>
      </p:sp>
      <p:grpSp>
        <p:nvGrpSpPr>
          <p:cNvPr id="23" name="Group 22">
            <a:extLst>
              <a:ext uri="{FF2B5EF4-FFF2-40B4-BE49-F238E27FC236}">
                <a16:creationId xmlns:a16="http://schemas.microsoft.com/office/drawing/2014/main" id="{104875F6-2DDF-FC43-8212-486B66ACB5FA}"/>
              </a:ext>
            </a:extLst>
          </p:cNvPr>
          <p:cNvGrpSpPr>
            <a:grpSpLocks noChangeAspect="1"/>
          </p:cNvGrpSpPr>
          <p:nvPr/>
        </p:nvGrpSpPr>
        <p:grpSpPr>
          <a:xfrm>
            <a:off x="535720" y="3482780"/>
            <a:ext cx="2184237" cy="2398989"/>
            <a:chOff x="5369718" y="2683668"/>
            <a:chExt cx="1452563" cy="1595377"/>
          </a:xfrm>
        </p:grpSpPr>
        <p:sp>
          <p:nvSpPr>
            <p:cNvPr id="24" name="Freeform: Shape 7">
              <a:extLst>
                <a:ext uri="{FF2B5EF4-FFF2-40B4-BE49-F238E27FC236}">
                  <a16:creationId xmlns:a16="http://schemas.microsoft.com/office/drawing/2014/main" id="{FB360E2A-957E-A942-AC4C-9E02F4937576}"/>
                </a:ext>
              </a:extLst>
            </p:cNvPr>
            <p:cNvSpPr/>
            <p:nvPr/>
          </p:nvSpPr>
          <p:spPr>
            <a:xfrm>
              <a:off x="6075509" y="4015008"/>
              <a:ext cx="264037" cy="264037"/>
            </a:xfrm>
            <a:custGeom>
              <a:avLst/>
              <a:gdLst>
                <a:gd name="connsiteX0" fmla="*/ 7144 w 228600"/>
                <a:gd name="connsiteY0" fmla="*/ 114776 h 228600"/>
                <a:gd name="connsiteX1" fmla="*/ 114776 w 228600"/>
                <a:gd name="connsiteY1" fmla="*/ 222409 h 228600"/>
                <a:gd name="connsiteX2" fmla="*/ 222409 w 228600"/>
                <a:gd name="connsiteY2" fmla="*/ 114776 h 228600"/>
                <a:gd name="connsiteX3" fmla="*/ 114776 w 228600"/>
                <a:gd name="connsiteY3" fmla="*/ 7144 h 228600"/>
                <a:gd name="connsiteX4" fmla="*/ 7144 w 228600"/>
                <a:gd name="connsiteY4" fmla="*/ 114776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7144" y="114776"/>
                  </a:moveTo>
                  <a:cubicBezTo>
                    <a:pt x="7144" y="173831"/>
                    <a:pt x="55721" y="222409"/>
                    <a:pt x="114776" y="222409"/>
                  </a:cubicBezTo>
                  <a:cubicBezTo>
                    <a:pt x="173831" y="222409"/>
                    <a:pt x="222409" y="173831"/>
                    <a:pt x="222409" y="114776"/>
                  </a:cubicBezTo>
                  <a:cubicBezTo>
                    <a:pt x="222409" y="55721"/>
                    <a:pt x="173831" y="7144"/>
                    <a:pt x="114776" y="7144"/>
                  </a:cubicBezTo>
                  <a:cubicBezTo>
                    <a:pt x="54769" y="7144"/>
                    <a:pt x="7144" y="54769"/>
                    <a:pt x="7144" y="114776"/>
                  </a:cubicBezTo>
                  <a:close/>
                </a:path>
              </a:pathLst>
            </a:custGeom>
            <a:solidFill>
              <a:srgbClr val="8D8EA7"/>
            </a:solidFill>
            <a:ln w="9525" cap="flat">
              <a:noFill/>
              <a:prstDash val="solid"/>
              <a:miter/>
            </a:ln>
          </p:spPr>
          <p:txBody>
            <a:bodyPr rtlCol="0" anchor="ctr"/>
            <a:lstStyle/>
            <a:p>
              <a:endParaRPr lang="en-US"/>
            </a:p>
          </p:txBody>
        </p:sp>
        <p:sp>
          <p:nvSpPr>
            <p:cNvPr id="25" name="Freeform: Shape 8">
              <a:extLst>
                <a:ext uri="{FF2B5EF4-FFF2-40B4-BE49-F238E27FC236}">
                  <a16:creationId xmlns:a16="http://schemas.microsoft.com/office/drawing/2014/main" id="{5CFBC449-58C5-F644-BFF9-9CDA70285D79}"/>
                </a:ext>
              </a:extLst>
            </p:cNvPr>
            <p:cNvSpPr/>
            <p:nvPr/>
          </p:nvSpPr>
          <p:spPr>
            <a:xfrm>
              <a:off x="5820521" y="4015008"/>
              <a:ext cx="264037" cy="264037"/>
            </a:xfrm>
            <a:custGeom>
              <a:avLst/>
              <a:gdLst>
                <a:gd name="connsiteX0" fmla="*/ 222409 w 228600"/>
                <a:gd name="connsiteY0" fmla="*/ 114776 h 228600"/>
                <a:gd name="connsiteX1" fmla="*/ 114776 w 228600"/>
                <a:gd name="connsiteY1" fmla="*/ 222409 h 228600"/>
                <a:gd name="connsiteX2" fmla="*/ 7144 w 228600"/>
                <a:gd name="connsiteY2" fmla="*/ 114776 h 228600"/>
                <a:gd name="connsiteX3" fmla="*/ 114776 w 228600"/>
                <a:gd name="connsiteY3" fmla="*/ 7144 h 228600"/>
                <a:gd name="connsiteX4" fmla="*/ 222409 w 228600"/>
                <a:gd name="connsiteY4" fmla="*/ 114776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2409" y="114776"/>
                  </a:moveTo>
                  <a:cubicBezTo>
                    <a:pt x="222409" y="173831"/>
                    <a:pt x="173831" y="222409"/>
                    <a:pt x="114776" y="222409"/>
                  </a:cubicBezTo>
                  <a:cubicBezTo>
                    <a:pt x="55721" y="222409"/>
                    <a:pt x="7144" y="173831"/>
                    <a:pt x="7144" y="114776"/>
                  </a:cubicBezTo>
                  <a:cubicBezTo>
                    <a:pt x="7144" y="55721"/>
                    <a:pt x="55721" y="7144"/>
                    <a:pt x="114776" y="7144"/>
                  </a:cubicBezTo>
                  <a:cubicBezTo>
                    <a:pt x="174784" y="7144"/>
                    <a:pt x="222409" y="54769"/>
                    <a:pt x="222409" y="114776"/>
                  </a:cubicBezTo>
                  <a:close/>
                </a:path>
              </a:pathLst>
            </a:custGeom>
            <a:solidFill>
              <a:srgbClr val="8D8EA7"/>
            </a:solidFill>
            <a:ln w="9525" cap="flat">
              <a:noFill/>
              <a:prstDash val="solid"/>
              <a:miter/>
            </a:ln>
          </p:spPr>
          <p:txBody>
            <a:bodyPr rtlCol="0" anchor="ctr"/>
            <a:lstStyle/>
            <a:p>
              <a:endParaRPr lang="en-US"/>
            </a:p>
          </p:txBody>
        </p:sp>
        <p:sp>
          <p:nvSpPr>
            <p:cNvPr id="26" name="Freeform: Shape 9">
              <a:extLst>
                <a:ext uri="{FF2B5EF4-FFF2-40B4-BE49-F238E27FC236}">
                  <a16:creationId xmlns:a16="http://schemas.microsoft.com/office/drawing/2014/main" id="{77624518-F945-4648-8B0A-CE6009F6FAA2}"/>
                </a:ext>
              </a:extLst>
            </p:cNvPr>
            <p:cNvSpPr/>
            <p:nvPr/>
          </p:nvSpPr>
          <p:spPr>
            <a:xfrm>
              <a:off x="5420716" y="3610451"/>
              <a:ext cx="333375" cy="285750"/>
            </a:xfrm>
            <a:custGeom>
              <a:avLst/>
              <a:gdLst>
                <a:gd name="connsiteX0" fmla="*/ 299046 w 333375"/>
                <a:gd name="connsiteY0" fmla="*/ 7144 h 285750"/>
                <a:gd name="connsiteX1" fmla="*/ 42823 w 333375"/>
                <a:gd name="connsiteY1" fmla="*/ 103346 h 285750"/>
                <a:gd name="connsiteX2" fmla="*/ 12343 w 333375"/>
                <a:gd name="connsiteY2" fmla="*/ 273844 h 285750"/>
                <a:gd name="connsiteX3" fmla="*/ 80923 w 333375"/>
                <a:gd name="connsiteY3" fmla="*/ 270034 h 285750"/>
                <a:gd name="connsiteX4" fmla="*/ 80923 w 333375"/>
                <a:gd name="connsiteY4" fmla="*/ 279559 h 285750"/>
                <a:gd name="connsiteX5" fmla="*/ 97116 w 333375"/>
                <a:gd name="connsiteY5" fmla="*/ 147161 h 285750"/>
                <a:gd name="connsiteX6" fmla="*/ 298093 w 333375"/>
                <a:gd name="connsiteY6" fmla="*/ 77629 h 285750"/>
                <a:gd name="connsiteX7" fmla="*/ 333336 w 333375"/>
                <a:gd name="connsiteY7" fmla="*/ 42386 h 285750"/>
                <a:gd name="connsiteX8" fmla="*/ 299046 w 333375"/>
                <a:gd name="connsiteY8" fmla="*/ 714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75" h="285750">
                  <a:moveTo>
                    <a:pt x="299046" y="7144"/>
                  </a:moveTo>
                  <a:cubicBezTo>
                    <a:pt x="162838" y="7144"/>
                    <a:pt x="96163" y="39529"/>
                    <a:pt x="42823" y="103346"/>
                  </a:cubicBezTo>
                  <a:cubicBezTo>
                    <a:pt x="-11469" y="169069"/>
                    <a:pt x="12343" y="270986"/>
                    <a:pt x="12343" y="273844"/>
                  </a:cubicBezTo>
                  <a:lnTo>
                    <a:pt x="80923" y="270034"/>
                  </a:lnTo>
                  <a:lnTo>
                    <a:pt x="80923" y="279559"/>
                  </a:lnTo>
                  <a:cubicBezTo>
                    <a:pt x="80923" y="277654"/>
                    <a:pt x="63778" y="186214"/>
                    <a:pt x="97116" y="147161"/>
                  </a:cubicBezTo>
                  <a:cubicBezTo>
                    <a:pt x="135216" y="101441"/>
                    <a:pt x="186651" y="77629"/>
                    <a:pt x="298093" y="77629"/>
                  </a:cubicBezTo>
                  <a:cubicBezTo>
                    <a:pt x="317143" y="77629"/>
                    <a:pt x="333336" y="62389"/>
                    <a:pt x="333336" y="42386"/>
                  </a:cubicBezTo>
                  <a:cubicBezTo>
                    <a:pt x="334288" y="22384"/>
                    <a:pt x="318096" y="7144"/>
                    <a:pt x="299046" y="7144"/>
                  </a:cubicBezTo>
                  <a:close/>
                </a:path>
              </a:pathLst>
            </a:custGeom>
            <a:solidFill>
              <a:srgbClr val="004149"/>
            </a:solidFill>
            <a:ln w="9525" cap="flat">
              <a:noFill/>
              <a:prstDash val="solid"/>
              <a:miter/>
            </a:ln>
          </p:spPr>
          <p:txBody>
            <a:bodyPr rtlCol="0" anchor="ctr"/>
            <a:lstStyle/>
            <a:p>
              <a:endParaRPr lang="en-US"/>
            </a:p>
          </p:txBody>
        </p:sp>
        <p:sp>
          <p:nvSpPr>
            <p:cNvPr id="27" name="Freeform: Shape 10">
              <a:extLst>
                <a:ext uri="{FF2B5EF4-FFF2-40B4-BE49-F238E27FC236}">
                  <a16:creationId xmlns:a16="http://schemas.microsoft.com/office/drawing/2014/main" id="{F7CE3157-CCA8-ED40-BDD7-4FC991D054EE}"/>
                </a:ext>
              </a:extLst>
            </p:cNvPr>
            <p:cNvSpPr/>
            <p:nvPr/>
          </p:nvSpPr>
          <p:spPr>
            <a:xfrm>
              <a:off x="5426868" y="3847623"/>
              <a:ext cx="85725" cy="76200"/>
            </a:xfrm>
            <a:custGeom>
              <a:avLst/>
              <a:gdLst>
                <a:gd name="connsiteX0" fmla="*/ 82391 w 85725"/>
                <a:gd name="connsiteY0" fmla="*/ 60484 h 76200"/>
                <a:gd name="connsiteX1" fmla="*/ 51911 w 85725"/>
                <a:gd name="connsiteY1" fmla="*/ 74771 h 76200"/>
                <a:gd name="connsiteX2" fmla="*/ 37624 w 85725"/>
                <a:gd name="connsiteY2" fmla="*/ 74771 h 76200"/>
                <a:gd name="connsiteX3" fmla="*/ 7144 w 85725"/>
                <a:gd name="connsiteY3" fmla="*/ 60484 h 76200"/>
                <a:gd name="connsiteX4" fmla="*/ 7144 w 85725"/>
                <a:gd name="connsiteY4" fmla="*/ 21431 h 76200"/>
                <a:gd name="connsiteX5" fmla="*/ 37624 w 85725"/>
                <a:gd name="connsiteY5" fmla="*/ 7144 h 76200"/>
                <a:gd name="connsiteX6" fmla="*/ 51911 w 85725"/>
                <a:gd name="connsiteY6" fmla="*/ 7144 h 76200"/>
                <a:gd name="connsiteX7" fmla="*/ 82391 w 85725"/>
                <a:gd name="connsiteY7" fmla="*/ 21431 h 76200"/>
                <a:gd name="connsiteX8" fmla="*/ 82391 w 85725"/>
                <a:gd name="connsiteY8" fmla="*/ 6048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76200">
                  <a:moveTo>
                    <a:pt x="82391" y="60484"/>
                  </a:moveTo>
                  <a:cubicBezTo>
                    <a:pt x="82391" y="68104"/>
                    <a:pt x="69056" y="74771"/>
                    <a:pt x="51911" y="74771"/>
                  </a:cubicBezTo>
                  <a:lnTo>
                    <a:pt x="37624" y="74771"/>
                  </a:lnTo>
                  <a:cubicBezTo>
                    <a:pt x="21431" y="74771"/>
                    <a:pt x="7144" y="68104"/>
                    <a:pt x="7144" y="60484"/>
                  </a:cubicBezTo>
                  <a:lnTo>
                    <a:pt x="7144" y="21431"/>
                  </a:lnTo>
                  <a:cubicBezTo>
                    <a:pt x="7144" y="13811"/>
                    <a:pt x="20479" y="7144"/>
                    <a:pt x="37624" y="7144"/>
                  </a:cubicBezTo>
                  <a:lnTo>
                    <a:pt x="51911" y="7144"/>
                  </a:lnTo>
                  <a:cubicBezTo>
                    <a:pt x="68104" y="7144"/>
                    <a:pt x="82391" y="13811"/>
                    <a:pt x="82391" y="21431"/>
                  </a:cubicBezTo>
                  <a:lnTo>
                    <a:pt x="82391" y="60484"/>
                  </a:lnTo>
                  <a:close/>
                </a:path>
              </a:pathLst>
            </a:custGeom>
            <a:solidFill>
              <a:srgbClr val="8D8EA7"/>
            </a:solidFill>
            <a:ln w="9525" cap="flat">
              <a:noFill/>
              <a:prstDash val="solid"/>
              <a:miter/>
            </a:ln>
          </p:spPr>
          <p:txBody>
            <a:bodyPr rtlCol="0" anchor="ctr"/>
            <a:lstStyle/>
            <a:p>
              <a:endParaRPr lang="en-US"/>
            </a:p>
          </p:txBody>
        </p:sp>
        <p:sp>
          <p:nvSpPr>
            <p:cNvPr id="28" name="Freeform: Shape 11">
              <a:extLst>
                <a:ext uri="{FF2B5EF4-FFF2-40B4-BE49-F238E27FC236}">
                  <a16:creationId xmlns:a16="http://schemas.microsoft.com/office/drawing/2014/main" id="{F4ABBE0C-673E-D64B-BBC8-A64D76977892}"/>
                </a:ext>
              </a:extLst>
            </p:cNvPr>
            <p:cNvSpPr/>
            <p:nvPr/>
          </p:nvSpPr>
          <p:spPr>
            <a:xfrm>
              <a:off x="5369718" y="3911100"/>
              <a:ext cx="209550" cy="171450"/>
            </a:xfrm>
            <a:custGeom>
              <a:avLst/>
              <a:gdLst>
                <a:gd name="connsiteX0" fmla="*/ 203359 w 209550"/>
                <a:gd name="connsiteY0" fmla="*/ 134167 h 171450"/>
                <a:gd name="connsiteX1" fmla="*/ 203359 w 209550"/>
                <a:gd name="connsiteY1" fmla="*/ 105592 h 171450"/>
                <a:gd name="connsiteX2" fmla="*/ 95726 w 209550"/>
                <a:gd name="connsiteY2" fmla="*/ 7485 h 171450"/>
                <a:gd name="connsiteX3" fmla="*/ 7144 w 209550"/>
                <a:gd name="connsiteY3" fmla="*/ 108450 h 171450"/>
                <a:gd name="connsiteX4" fmla="*/ 7144 w 209550"/>
                <a:gd name="connsiteY4" fmla="*/ 132263 h 171450"/>
                <a:gd name="connsiteX5" fmla="*/ 39529 w 209550"/>
                <a:gd name="connsiteY5" fmla="*/ 167505 h 171450"/>
                <a:gd name="connsiteX6" fmla="*/ 74771 w 209550"/>
                <a:gd name="connsiteY6" fmla="*/ 134167 h 171450"/>
                <a:gd name="connsiteX7" fmla="*/ 74771 w 209550"/>
                <a:gd name="connsiteY7" fmla="*/ 106545 h 171450"/>
                <a:gd name="connsiteX8" fmla="*/ 99536 w 209550"/>
                <a:gd name="connsiteY8" fmla="*/ 75112 h 171450"/>
                <a:gd name="connsiteX9" fmla="*/ 135731 w 209550"/>
                <a:gd name="connsiteY9" fmla="*/ 104640 h 171450"/>
                <a:gd name="connsiteX10" fmla="*/ 135731 w 209550"/>
                <a:gd name="connsiteY10" fmla="*/ 131310 h 171450"/>
                <a:gd name="connsiteX11" fmla="*/ 163354 w 209550"/>
                <a:gd name="connsiteY11" fmla="*/ 166553 h 171450"/>
                <a:gd name="connsiteX12" fmla="*/ 203359 w 209550"/>
                <a:gd name="connsiteY12" fmla="*/ 134167 h 171450"/>
                <a:gd name="connsiteX13" fmla="*/ 123349 w 209550"/>
                <a:gd name="connsiteY13" fmla="*/ 39870 h 171450"/>
                <a:gd name="connsiteX14" fmla="*/ 103346 w 209550"/>
                <a:gd name="connsiteY14" fmla="*/ 59872 h 171450"/>
                <a:gd name="connsiteX15" fmla="*/ 83344 w 209550"/>
                <a:gd name="connsiteY15" fmla="*/ 39870 h 171450"/>
                <a:gd name="connsiteX16" fmla="*/ 103346 w 209550"/>
                <a:gd name="connsiteY16" fmla="*/ 19867 h 171450"/>
                <a:gd name="connsiteX17" fmla="*/ 123349 w 209550"/>
                <a:gd name="connsiteY17" fmla="*/ 3987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550" h="171450">
                  <a:moveTo>
                    <a:pt x="203359" y="134167"/>
                  </a:moveTo>
                  <a:lnTo>
                    <a:pt x="203359" y="105592"/>
                  </a:lnTo>
                  <a:cubicBezTo>
                    <a:pt x="203359" y="48442"/>
                    <a:pt x="153829" y="2722"/>
                    <a:pt x="95726" y="7485"/>
                  </a:cubicBezTo>
                  <a:cubicBezTo>
                    <a:pt x="45244" y="12247"/>
                    <a:pt x="7144" y="57015"/>
                    <a:pt x="7144" y="108450"/>
                  </a:cubicBezTo>
                  <a:lnTo>
                    <a:pt x="7144" y="132263"/>
                  </a:lnTo>
                  <a:cubicBezTo>
                    <a:pt x="7144" y="150360"/>
                    <a:pt x="20479" y="166553"/>
                    <a:pt x="39529" y="167505"/>
                  </a:cubicBezTo>
                  <a:cubicBezTo>
                    <a:pt x="58579" y="168458"/>
                    <a:pt x="74771" y="153217"/>
                    <a:pt x="74771" y="134167"/>
                  </a:cubicBezTo>
                  <a:lnTo>
                    <a:pt x="74771" y="106545"/>
                  </a:lnTo>
                  <a:cubicBezTo>
                    <a:pt x="74771" y="91305"/>
                    <a:pt x="84296" y="77970"/>
                    <a:pt x="99536" y="75112"/>
                  </a:cubicBezTo>
                  <a:cubicBezTo>
                    <a:pt x="118586" y="71303"/>
                    <a:pt x="135731" y="86542"/>
                    <a:pt x="135731" y="104640"/>
                  </a:cubicBezTo>
                  <a:lnTo>
                    <a:pt x="135731" y="131310"/>
                  </a:lnTo>
                  <a:cubicBezTo>
                    <a:pt x="135731" y="148455"/>
                    <a:pt x="147161" y="163695"/>
                    <a:pt x="163354" y="166553"/>
                  </a:cubicBezTo>
                  <a:cubicBezTo>
                    <a:pt x="185261" y="171315"/>
                    <a:pt x="203359" y="155122"/>
                    <a:pt x="203359" y="134167"/>
                  </a:cubicBezTo>
                  <a:close/>
                  <a:moveTo>
                    <a:pt x="123349" y="39870"/>
                  </a:moveTo>
                  <a:cubicBezTo>
                    <a:pt x="123349" y="51300"/>
                    <a:pt x="113824" y="59872"/>
                    <a:pt x="103346" y="59872"/>
                  </a:cubicBezTo>
                  <a:cubicBezTo>
                    <a:pt x="92869" y="59872"/>
                    <a:pt x="83344" y="50347"/>
                    <a:pt x="83344" y="39870"/>
                  </a:cubicBezTo>
                  <a:cubicBezTo>
                    <a:pt x="83344" y="28440"/>
                    <a:pt x="92869" y="19867"/>
                    <a:pt x="103346" y="19867"/>
                  </a:cubicBezTo>
                  <a:cubicBezTo>
                    <a:pt x="113824" y="19867"/>
                    <a:pt x="123349" y="28440"/>
                    <a:pt x="123349" y="39870"/>
                  </a:cubicBezTo>
                  <a:close/>
                </a:path>
              </a:pathLst>
            </a:custGeom>
            <a:solidFill>
              <a:schemeClr val="accent5"/>
            </a:solidFill>
            <a:ln w="9525" cap="flat">
              <a:noFill/>
              <a:prstDash val="solid"/>
              <a:miter/>
            </a:ln>
          </p:spPr>
          <p:txBody>
            <a:bodyPr rtlCol="0" anchor="ctr"/>
            <a:lstStyle/>
            <a:p>
              <a:endParaRPr lang="en-US"/>
            </a:p>
          </p:txBody>
        </p:sp>
        <p:sp>
          <p:nvSpPr>
            <p:cNvPr id="29" name="Freeform: Shape 12">
              <a:extLst>
                <a:ext uri="{FF2B5EF4-FFF2-40B4-BE49-F238E27FC236}">
                  <a16:creationId xmlns:a16="http://schemas.microsoft.com/office/drawing/2014/main" id="{C92A7546-D6CA-0D40-BB9E-111533D755C9}"/>
                </a:ext>
              </a:extLst>
            </p:cNvPr>
            <p:cNvSpPr/>
            <p:nvPr/>
          </p:nvSpPr>
          <p:spPr>
            <a:xfrm>
              <a:off x="6389803" y="3429476"/>
              <a:ext cx="371475" cy="247650"/>
            </a:xfrm>
            <a:custGeom>
              <a:avLst/>
              <a:gdLst>
                <a:gd name="connsiteX0" fmla="*/ 41476 w 371475"/>
                <a:gd name="connsiteY0" fmla="*/ 245269 h 247650"/>
                <a:gd name="connsiteX1" fmla="*/ 326274 w 371475"/>
                <a:gd name="connsiteY1" fmla="*/ 149066 h 247650"/>
                <a:gd name="connsiteX2" fmla="*/ 366279 w 371475"/>
                <a:gd name="connsiteY2" fmla="*/ 7144 h 247650"/>
                <a:gd name="connsiteX3" fmla="*/ 297699 w 371475"/>
                <a:gd name="connsiteY3" fmla="*/ 20479 h 247650"/>
                <a:gd name="connsiteX4" fmla="*/ 297699 w 371475"/>
                <a:gd name="connsiteY4" fmla="*/ 20479 h 247650"/>
                <a:gd name="connsiteX5" fmla="*/ 271981 w 371475"/>
                <a:gd name="connsiteY5" fmla="*/ 105251 h 247650"/>
                <a:gd name="connsiteX6" fmla="*/ 42429 w 371475"/>
                <a:gd name="connsiteY6" fmla="*/ 174784 h 247650"/>
                <a:gd name="connsiteX7" fmla="*/ 7186 w 371475"/>
                <a:gd name="connsiteY7" fmla="*/ 210026 h 247650"/>
                <a:gd name="connsiteX8" fmla="*/ 41476 w 371475"/>
                <a:gd name="connsiteY8" fmla="*/ 24526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247650">
                  <a:moveTo>
                    <a:pt x="41476" y="245269"/>
                  </a:moveTo>
                  <a:cubicBezTo>
                    <a:pt x="177684" y="245269"/>
                    <a:pt x="272934" y="212884"/>
                    <a:pt x="326274" y="149066"/>
                  </a:cubicBezTo>
                  <a:cubicBezTo>
                    <a:pt x="380566" y="83344"/>
                    <a:pt x="366279" y="10001"/>
                    <a:pt x="366279" y="7144"/>
                  </a:cubicBezTo>
                  <a:lnTo>
                    <a:pt x="297699" y="20479"/>
                  </a:lnTo>
                  <a:lnTo>
                    <a:pt x="297699" y="20479"/>
                  </a:lnTo>
                  <a:cubicBezTo>
                    <a:pt x="297699" y="22384"/>
                    <a:pt x="305319" y="66199"/>
                    <a:pt x="271981" y="105251"/>
                  </a:cubicBezTo>
                  <a:cubicBezTo>
                    <a:pt x="233881" y="150971"/>
                    <a:pt x="153871" y="174784"/>
                    <a:pt x="42429" y="174784"/>
                  </a:cubicBezTo>
                  <a:cubicBezTo>
                    <a:pt x="23379" y="174784"/>
                    <a:pt x="7186" y="190024"/>
                    <a:pt x="7186" y="210026"/>
                  </a:cubicBezTo>
                  <a:cubicBezTo>
                    <a:pt x="6234" y="229076"/>
                    <a:pt x="21474" y="245269"/>
                    <a:pt x="41476" y="245269"/>
                  </a:cubicBezTo>
                  <a:close/>
                </a:path>
              </a:pathLst>
            </a:custGeom>
            <a:solidFill>
              <a:srgbClr val="004149"/>
            </a:solidFill>
            <a:ln w="9525" cap="flat">
              <a:noFill/>
              <a:prstDash val="solid"/>
              <a:miter/>
            </a:ln>
          </p:spPr>
          <p:txBody>
            <a:bodyPr rtlCol="0" anchor="ctr"/>
            <a:lstStyle/>
            <a:p>
              <a:endParaRPr lang="en-US"/>
            </a:p>
          </p:txBody>
        </p:sp>
        <p:sp>
          <p:nvSpPr>
            <p:cNvPr id="30" name="Freeform: Shape 13">
              <a:extLst>
                <a:ext uri="{FF2B5EF4-FFF2-40B4-BE49-F238E27FC236}">
                  <a16:creationId xmlns:a16="http://schemas.microsoft.com/office/drawing/2014/main" id="{DA9F3C6F-0112-7B4F-AA63-3287810E6B50}"/>
                </a:ext>
              </a:extLst>
            </p:cNvPr>
            <p:cNvSpPr/>
            <p:nvPr/>
          </p:nvSpPr>
          <p:spPr>
            <a:xfrm>
              <a:off x="6677501" y="3390423"/>
              <a:ext cx="85725" cy="76200"/>
            </a:xfrm>
            <a:custGeom>
              <a:avLst/>
              <a:gdLst>
                <a:gd name="connsiteX0" fmla="*/ 7144 w 85725"/>
                <a:gd name="connsiteY0" fmla="*/ 21431 h 76200"/>
                <a:gd name="connsiteX1" fmla="*/ 37624 w 85725"/>
                <a:gd name="connsiteY1" fmla="*/ 7144 h 76200"/>
                <a:gd name="connsiteX2" fmla="*/ 51911 w 85725"/>
                <a:gd name="connsiteY2" fmla="*/ 7144 h 76200"/>
                <a:gd name="connsiteX3" fmla="*/ 82391 w 85725"/>
                <a:gd name="connsiteY3" fmla="*/ 21431 h 76200"/>
                <a:gd name="connsiteX4" fmla="*/ 82391 w 85725"/>
                <a:gd name="connsiteY4" fmla="*/ 60484 h 76200"/>
                <a:gd name="connsiteX5" fmla="*/ 51911 w 85725"/>
                <a:gd name="connsiteY5" fmla="*/ 74771 h 76200"/>
                <a:gd name="connsiteX6" fmla="*/ 37624 w 85725"/>
                <a:gd name="connsiteY6" fmla="*/ 74771 h 76200"/>
                <a:gd name="connsiteX7" fmla="*/ 7144 w 85725"/>
                <a:gd name="connsiteY7" fmla="*/ 60484 h 76200"/>
                <a:gd name="connsiteX8" fmla="*/ 7144 w 85725"/>
                <a:gd name="connsiteY8" fmla="*/ 2143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76200">
                  <a:moveTo>
                    <a:pt x="7144" y="21431"/>
                  </a:moveTo>
                  <a:cubicBezTo>
                    <a:pt x="7144" y="13811"/>
                    <a:pt x="20479" y="7144"/>
                    <a:pt x="37624" y="7144"/>
                  </a:cubicBezTo>
                  <a:lnTo>
                    <a:pt x="51911" y="7144"/>
                  </a:lnTo>
                  <a:cubicBezTo>
                    <a:pt x="68104" y="7144"/>
                    <a:pt x="82391" y="13811"/>
                    <a:pt x="82391" y="21431"/>
                  </a:cubicBezTo>
                  <a:lnTo>
                    <a:pt x="82391" y="60484"/>
                  </a:lnTo>
                  <a:cubicBezTo>
                    <a:pt x="82391" y="68104"/>
                    <a:pt x="69056" y="74771"/>
                    <a:pt x="51911" y="74771"/>
                  </a:cubicBezTo>
                  <a:lnTo>
                    <a:pt x="37624" y="74771"/>
                  </a:lnTo>
                  <a:cubicBezTo>
                    <a:pt x="21431" y="74771"/>
                    <a:pt x="7144" y="68104"/>
                    <a:pt x="7144" y="60484"/>
                  </a:cubicBezTo>
                  <a:lnTo>
                    <a:pt x="7144" y="21431"/>
                  </a:lnTo>
                  <a:close/>
                </a:path>
              </a:pathLst>
            </a:custGeom>
            <a:solidFill>
              <a:srgbClr val="8D8EA7"/>
            </a:solidFill>
            <a:ln w="9525" cap="flat">
              <a:noFill/>
              <a:prstDash val="solid"/>
              <a:miter/>
            </a:ln>
          </p:spPr>
          <p:txBody>
            <a:bodyPr rtlCol="0" anchor="ctr"/>
            <a:lstStyle/>
            <a:p>
              <a:endParaRPr lang="en-US"/>
            </a:p>
          </p:txBody>
        </p:sp>
        <p:sp>
          <p:nvSpPr>
            <p:cNvPr id="31" name="Freeform: Shape 14">
              <a:extLst>
                <a:ext uri="{FF2B5EF4-FFF2-40B4-BE49-F238E27FC236}">
                  <a16:creationId xmlns:a16="http://schemas.microsoft.com/office/drawing/2014/main" id="{93BF6812-C8D1-B047-969B-A00EAF898A6B}"/>
                </a:ext>
              </a:extLst>
            </p:cNvPr>
            <p:cNvSpPr/>
            <p:nvPr/>
          </p:nvSpPr>
          <p:spPr>
            <a:xfrm>
              <a:off x="6612731" y="3234171"/>
              <a:ext cx="209550" cy="171450"/>
            </a:xfrm>
            <a:custGeom>
              <a:avLst/>
              <a:gdLst>
                <a:gd name="connsiteX0" fmla="*/ 7144 w 209550"/>
                <a:gd name="connsiteY0" fmla="*/ 40524 h 171450"/>
                <a:gd name="connsiteX1" fmla="*/ 7144 w 209550"/>
                <a:gd name="connsiteY1" fmla="*/ 69099 h 171450"/>
                <a:gd name="connsiteX2" fmla="*/ 114776 w 209550"/>
                <a:gd name="connsiteY2" fmla="*/ 167206 h 171450"/>
                <a:gd name="connsiteX3" fmla="*/ 203359 w 209550"/>
                <a:gd name="connsiteY3" fmla="*/ 66241 h 171450"/>
                <a:gd name="connsiteX4" fmla="*/ 203359 w 209550"/>
                <a:gd name="connsiteY4" fmla="*/ 42429 h 171450"/>
                <a:gd name="connsiteX5" fmla="*/ 170974 w 209550"/>
                <a:gd name="connsiteY5" fmla="*/ 7186 h 171450"/>
                <a:gd name="connsiteX6" fmla="*/ 135731 w 209550"/>
                <a:gd name="connsiteY6" fmla="*/ 40524 h 171450"/>
                <a:gd name="connsiteX7" fmla="*/ 135731 w 209550"/>
                <a:gd name="connsiteY7" fmla="*/ 68146 h 171450"/>
                <a:gd name="connsiteX8" fmla="*/ 110966 w 209550"/>
                <a:gd name="connsiteY8" fmla="*/ 99579 h 171450"/>
                <a:gd name="connsiteX9" fmla="*/ 74771 w 209550"/>
                <a:gd name="connsiteY9" fmla="*/ 70051 h 171450"/>
                <a:gd name="connsiteX10" fmla="*/ 74771 w 209550"/>
                <a:gd name="connsiteY10" fmla="*/ 43381 h 171450"/>
                <a:gd name="connsiteX11" fmla="*/ 47149 w 209550"/>
                <a:gd name="connsiteY11" fmla="*/ 8139 h 171450"/>
                <a:gd name="connsiteX12" fmla="*/ 7144 w 209550"/>
                <a:gd name="connsiteY12" fmla="*/ 40524 h 171450"/>
                <a:gd name="connsiteX13" fmla="*/ 87154 w 209550"/>
                <a:gd name="connsiteY13" fmla="*/ 134821 h 171450"/>
                <a:gd name="connsiteX14" fmla="*/ 107156 w 209550"/>
                <a:gd name="connsiteY14" fmla="*/ 114819 h 171450"/>
                <a:gd name="connsiteX15" fmla="*/ 127159 w 209550"/>
                <a:gd name="connsiteY15" fmla="*/ 134821 h 171450"/>
                <a:gd name="connsiteX16" fmla="*/ 107156 w 209550"/>
                <a:gd name="connsiteY16" fmla="*/ 154824 h 171450"/>
                <a:gd name="connsiteX17" fmla="*/ 87154 w 209550"/>
                <a:gd name="connsiteY17" fmla="*/ 13482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9550" h="171450">
                  <a:moveTo>
                    <a:pt x="7144" y="40524"/>
                  </a:moveTo>
                  <a:lnTo>
                    <a:pt x="7144" y="69099"/>
                  </a:lnTo>
                  <a:cubicBezTo>
                    <a:pt x="7144" y="126249"/>
                    <a:pt x="56674" y="171969"/>
                    <a:pt x="114776" y="167206"/>
                  </a:cubicBezTo>
                  <a:cubicBezTo>
                    <a:pt x="165259" y="162444"/>
                    <a:pt x="203359" y="117676"/>
                    <a:pt x="203359" y="66241"/>
                  </a:cubicBezTo>
                  <a:lnTo>
                    <a:pt x="203359" y="42429"/>
                  </a:lnTo>
                  <a:cubicBezTo>
                    <a:pt x="203359" y="24331"/>
                    <a:pt x="190024" y="8139"/>
                    <a:pt x="170974" y="7186"/>
                  </a:cubicBezTo>
                  <a:cubicBezTo>
                    <a:pt x="151924" y="6234"/>
                    <a:pt x="135731" y="21474"/>
                    <a:pt x="135731" y="40524"/>
                  </a:cubicBezTo>
                  <a:lnTo>
                    <a:pt x="135731" y="68146"/>
                  </a:lnTo>
                  <a:cubicBezTo>
                    <a:pt x="135731" y="83386"/>
                    <a:pt x="126206" y="96721"/>
                    <a:pt x="110966" y="99579"/>
                  </a:cubicBezTo>
                  <a:cubicBezTo>
                    <a:pt x="91916" y="103389"/>
                    <a:pt x="74771" y="88149"/>
                    <a:pt x="74771" y="70051"/>
                  </a:cubicBezTo>
                  <a:lnTo>
                    <a:pt x="74771" y="43381"/>
                  </a:lnTo>
                  <a:cubicBezTo>
                    <a:pt x="74771" y="26236"/>
                    <a:pt x="63341" y="10996"/>
                    <a:pt x="47149" y="8139"/>
                  </a:cubicBezTo>
                  <a:cubicBezTo>
                    <a:pt x="26194" y="3376"/>
                    <a:pt x="7144" y="19569"/>
                    <a:pt x="7144" y="40524"/>
                  </a:cubicBezTo>
                  <a:close/>
                  <a:moveTo>
                    <a:pt x="87154" y="134821"/>
                  </a:moveTo>
                  <a:cubicBezTo>
                    <a:pt x="87154" y="123391"/>
                    <a:pt x="96679" y="114819"/>
                    <a:pt x="107156" y="114819"/>
                  </a:cubicBezTo>
                  <a:cubicBezTo>
                    <a:pt x="117634" y="114819"/>
                    <a:pt x="127159" y="124344"/>
                    <a:pt x="127159" y="134821"/>
                  </a:cubicBezTo>
                  <a:cubicBezTo>
                    <a:pt x="127159" y="146251"/>
                    <a:pt x="117634" y="154824"/>
                    <a:pt x="107156" y="154824"/>
                  </a:cubicBezTo>
                  <a:cubicBezTo>
                    <a:pt x="96679" y="154824"/>
                    <a:pt x="87154" y="146251"/>
                    <a:pt x="87154" y="134821"/>
                  </a:cubicBezTo>
                  <a:close/>
                </a:path>
              </a:pathLst>
            </a:custGeom>
            <a:solidFill>
              <a:schemeClr val="accent5"/>
            </a:solidFill>
            <a:ln w="9525" cap="flat">
              <a:noFill/>
              <a:prstDash val="solid"/>
              <a:miter/>
            </a:ln>
          </p:spPr>
          <p:txBody>
            <a:bodyPr rtlCol="0" anchor="ctr"/>
            <a:lstStyle/>
            <a:p>
              <a:endParaRPr lang="en-US"/>
            </a:p>
          </p:txBody>
        </p:sp>
        <p:sp>
          <p:nvSpPr>
            <p:cNvPr id="32" name="Freeform: Shape 15">
              <a:extLst>
                <a:ext uri="{FF2B5EF4-FFF2-40B4-BE49-F238E27FC236}">
                  <a16:creationId xmlns:a16="http://schemas.microsoft.com/office/drawing/2014/main" id="{B66A4DC3-B115-7F47-AF64-A3C6C137FBC6}"/>
                </a:ext>
              </a:extLst>
            </p:cNvPr>
            <p:cNvSpPr/>
            <p:nvPr/>
          </p:nvSpPr>
          <p:spPr>
            <a:xfrm>
              <a:off x="6213633" y="3518058"/>
              <a:ext cx="228600" cy="228600"/>
            </a:xfrm>
            <a:custGeom>
              <a:avLst/>
              <a:gdLst>
                <a:gd name="connsiteX0" fmla="*/ 7144 w 228600"/>
                <a:gd name="connsiteY0" fmla="*/ 114776 h 228600"/>
                <a:gd name="connsiteX1" fmla="*/ 114776 w 228600"/>
                <a:gd name="connsiteY1" fmla="*/ 222409 h 228600"/>
                <a:gd name="connsiteX2" fmla="*/ 222409 w 228600"/>
                <a:gd name="connsiteY2" fmla="*/ 114776 h 228600"/>
                <a:gd name="connsiteX3" fmla="*/ 114776 w 228600"/>
                <a:gd name="connsiteY3" fmla="*/ 7144 h 228600"/>
                <a:gd name="connsiteX4" fmla="*/ 7144 w 228600"/>
                <a:gd name="connsiteY4" fmla="*/ 114776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7144" y="114776"/>
                  </a:moveTo>
                  <a:cubicBezTo>
                    <a:pt x="7144" y="173831"/>
                    <a:pt x="55721" y="222409"/>
                    <a:pt x="114776" y="222409"/>
                  </a:cubicBezTo>
                  <a:cubicBezTo>
                    <a:pt x="173831" y="222409"/>
                    <a:pt x="222409" y="173831"/>
                    <a:pt x="222409" y="114776"/>
                  </a:cubicBezTo>
                  <a:cubicBezTo>
                    <a:pt x="222409" y="55721"/>
                    <a:pt x="173831" y="7144"/>
                    <a:pt x="114776" y="7144"/>
                  </a:cubicBezTo>
                  <a:cubicBezTo>
                    <a:pt x="54769" y="7144"/>
                    <a:pt x="7144" y="54769"/>
                    <a:pt x="7144" y="114776"/>
                  </a:cubicBezTo>
                  <a:close/>
                </a:path>
              </a:pathLst>
            </a:custGeom>
            <a:solidFill>
              <a:srgbClr val="8D8EA7"/>
            </a:solidFill>
            <a:ln w="9525" cap="flat">
              <a:noFill/>
              <a:prstDash val="solid"/>
              <a:miter/>
            </a:ln>
          </p:spPr>
          <p:txBody>
            <a:bodyPr rtlCol="0" anchor="ctr"/>
            <a:lstStyle/>
            <a:p>
              <a:endParaRPr lang="en-US"/>
            </a:p>
          </p:txBody>
        </p:sp>
        <p:sp>
          <p:nvSpPr>
            <p:cNvPr id="33" name="Freeform: Shape 16">
              <a:extLst>
                <a:ext uri="{FF2B5EF4-FFF2-40B4-BE49-F238E27FC236}">
                  <a16:creationId xmlns:a16="http://schemas.microsoft.com/office/drawing/2014/main" id="{BD78DC38-5449-764E-AA60-5C3895659626}"/>
                </a:ext>
              </a:extLst>
            </p:cNvPr>
            <p:cNvSpPr/>
            <p:nvPr/>
          </p:nvSpPr>
          <p:spPr>
            <a:xfrm>
              <a:off x="5699283" y="3522821"/>
              <a:ext cx="228600" cy="228600"/>
            </a:xfrm>
            <a:custGeom>
              <a:avLst/>
              <a:gdLst>
                <a:gd name="connsiteX0" fmla="*/ 222409 w 228600"/>
                <a:gd name="connsiteY0" fmla="*/ 114776 h 228600"/>
                <a:gd name="connsiteX1" fmla="*/ 114776 w 228600"/>
                <a:gd name="connsiteY1" fmla="*/ 222409 h 228600"/>
                <a:gd name="connsiteX2" fmla="*/ 7144 w 228600"/>
                <a:gd name="connsiteY2" fmla="*/ 114776 h 228600"/>
                <a:gd name="connsiteX3" fmla="*/ 114776 w 228600"/>
                <a:gd name="connsiteY3" fmla="*/ 7144 h 228600"/>
                <a:gd name="connsiteX4" fmla="*/ 222409 w 228600"/>
                <a:gd name="connsiteY4" fmla="*/ 114776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2409" y="114776"/>
                  </a:moveTo>
                  <a:cubicBezTo>
                    <a:pt x="222409" y="173831"/>
                    <a:pt x="173831" y="222409"/>
                    <a:pt x="114776" y="222409"/>
                  </a:cubicBezTo>
                  <a:cubicBezTo>
                    <a:pt x="55721" y="222409"/>
                    <a:pt x="7144" y="173831"/>
                    <a:pt x="7144" y="114776"/>
                  </a:cubicBezTo>
                  <a:cubicBezTo>
                    <a:pt x="7144" y="55721"/>
                    <a:pt x="55721" y="7144"/>
                    <a:pt x="114776" y="7144"/>
                  </a:cubicBezTo>
                  <a:cubicBezTo>
                    <a:pt x="174784" y="7144"/>
                    <a:pt x="222409" y="54769"/>
                    <a:pt x="222409" y="114776"/>
                  </a:cubicBezTo>
                  <a:close/>
                </a:path>
              </a:pathLst>
            </a:custGeom>
            <a:solidFill>
              <a:srgbClr val="8D8EA7"/>
            </a:solidFill>
            <a:ln w="9525" cap="flat">
              <a:noFill/>
              <a:prstDash val="solid"/>
              <a:miter/>
            </a:ln>
          </p:spPr>
          <p:txBody>
            <a:bodyPr rtlCol="0" anchor="ctr"/>
            <a:lstStyle/>
            <a:p>
              <a:endParaRPr lang="en-US"/>
            </a:p>
          </p:txBody>
        </p:sp>
        <p:sp>
          <p:nvSpPr>
            <p:cNvPr id="34" name="Freeform: Shape 17">
              <a:extLst>
                <a:ext uri="{FF2B5EF4-FFF2-40B4-BE49-F238E27FC236}">
                  <a16:creationId xmlns:a16="http://schemas.microsoft.com/office/drawing/2014/main" id="{F6964DF4-D1CF-3340-A200-ACEEF6078B75}"/>
                </a:ext>
              </a:extLst>
            </p:cNvPr>
            <p:cNvSpPr/>
            <p:nvPr/>
          </p:nvSpPr>
          <p:spPr>
            <a:xfrm>
              <a:off x="5790723" y="3423761"/>
              <a:ext cx="561975" cy="504825"/>
            </a:xfrm>
            <a:custGeom>
              <a:avLst/>
              <a:gdLst>
                <a:gd name="connsiteX0" fmla="*/ 381476 w 561975"/>
                <a:gd name="connsiteY0" fmla="*/ 7144 h 504825"/>
                <a:gd name="connsiteX1" fmla="*/ 381476 w 561975"/>
                <a:gd name="connsiteY1" fmla="*/ 7144 h 504825"/>
                <a:gd name="connsiteX2" fmla="*/ 183356 w 561975"/>
                <a:gd name="connsiteY2" fmla="*/ 7144 h 504825"/>
                <a:gd name="connsiteX3" fmla="*/ 183356 w 561975"/>
                <a:gd name="connsiteY3" fmla="*/ 7144 h 504825"/>
                <a:gd name="connsiteX4" fmla="*/ 7144 w 561975"/>
                <a:gd name="connsiteY4" fmla="*/ 255746 h 504825"/>
                <a:gd name="connsiteX5" fmla="*/ 7144 w 561975"/>
                <a:gd name="connsiteY5" fmla="*/ 504349 h 504825"/>
                <a:gd name="connsiteX6" fmla="*/ 200501 w 561975"/>
                <a:gd name="connsiteY6" fmla="*/ 504349 h 504825"/>
                <a:gd name="connsiteX7" fmla="*/ 363379 w 561975"/>
                <a:gd name="connsiteY7" fmla="*/ 504349 h 504825"/>
                <a:gd name="connsiteX8" fmla="*/ 557689 w 561975"/>
                <a:gd name="connsiteY8" fmla="*/ 504349 h 504825"/>
                <a:gd name="connsiteX9" fmla="*/ 557689 w 561975"/>
                <a:gd name="connsiteY9" fmla="*/ 255746 h 504825"/>
                <a:gd name="connsiteX10" fmla="*/ 381476 w 561975"/>
                <a:gd name="connsiteY10" fmla="*/ 714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1975" h="504825">
                  <a:moveTo>
                    <a:pt x="381476" y="7144"/>
                  </a:moveTo>
                  <a:lnTo>
                    <a:pt x="381476" y="7144"/>
                  </a:lnTo>
                  <a:lnTo>
                    <a:pt x="183356" y="7144"/>
                  </a:lnTo>
                  <a:lnTo>
                    <a:pt x="183356" y="7144"/>
                  </a:lnTo>
                  <a:cubicBezTo>
                    <a:pt x="86201" y="9049"/>
                    <a:pt x="7144" y="119539"/>
                    <a:pt x="7144" y="255746"/>
                  </a:cubicBezTo>
                  <a:lnTo>
                    <a:pt x="7144" y="504349"/>
                  </a:lnTo>
                  <a:lnTo>
                    <a:pt x="200501" y="504349"/>
                  </a:lnTo>
                  <a:lnTo>
                    <a:pt x="363379" y="504349"/>
                  </a:lnTo>
                  <a:lnTo>
                    <a:pt x="557689" y="504349"/>
                  </a:lnTo>
                  <a:lnTo>
                    <a:pt x="557689" y="255746"/>
                  </a:lnTo>
                  <a:cubicBezTo>
                    <a:pt x="557689" y="119539"/>
                    <a:pt x="478631" y="9049"/>
                    <a:pt x="381476" y="7144"/>
                  </a:cubicBezTo>
                  <a:close/>
                </a:path>
              </a:pathLst>
            </a:custGeom>
            <a:solidFill>
              <a:schemeClr val="accent5">
                <a:lumMod val="20000"/>
                <a:lumOff val="80000"/>
              </a:schemeClr>
            </a:solidFill>
            <a:ln w="9525" cap="flat">
              <a:noFill/>
              <a:prstDash val="solid"/>
              <a:miter/>
            </a:ln>
          </p:spPr>
          <p:txBody>
            <a:bodyPr rtlCol="0" anchor="ctr"/>
            <a:lstStyle/>
            <a:p>
              <a:endParaRPr lang="en-US"/>
            </a:p>
          </p:txBody>
        </p:sp>
        <p:sp>
          <p:nvSpPr>
            <p:cNvPr id="35" name="Freeform: Shape 18">
              <a:extLst>
                <a:ext uri="{FF2B5EF4-FFF2-40B4-BE49-F238E27FC236}">
                  <a16:creationId xmlns:a16="http://schemas.microsoft.com/office/drawing/2014/main" id="{8C77A2E3-64C8-A24E-8EFA-B121F0299AB1}"/>
                </a:ext>
              </a:extLst>
            </p:cNvPr>
            <p:cNvSpPr/>
            <p:nvPr/>
          </p:nvSpPr>
          <p:spPr>
            <a:xfrm>
              <a:off x="5790723" y="3661886"/>
              <a:ext cx="561975" cy="504825"/>
            </a:xfrm>
            <a:custGeom>
              <a:avLst/>
              <a:gdLst>
                <a:gd name="connsiteX0" fmla="*/ 352901 w 561975"/>
                <a:gd name="connsiteY0" fmla="*/ 504349 h 504825"/>
                <a:gd name="connsiteX1" fmla="*/ 381476 w 561975"/>
                <a:gd name="connsiteY1" fmla="*/ 504349 h 504825"/>
                <a:gd name="connsiteX2" fmla="*/ 221456 w 561975"/>
                <a:gd name="connsiteY2" fmla="*/ 504349 h 504825"/>
                <a:gd name="connsiteX3" fmla="*/ 211931 w 561975"/>
                <a:gd name="connsiteY3" fmla="*/ 504349 h 504825"/>
                <a:gd name="connsiteX4" fmla="*/ 7144 w 561975"/>
                <a:gd name="connsiteY4" fmla="*/ 255746 h 504825"/>
                <a:gd name="connsiteX5" fmla="*/ 7144 w 561975"/>
                <a:gd name="connsiteY5" fmla="*/ 7144 h 504825"/>
                <a:gd name="connsiteX6" fmla="*/ 200501 w 561975"/>
                <a:gd name="connsiteY6" fmla="*/ 7144 h 504825"/>
                <a:gd name="connsiteX7" fmla="*/ 363379 w 561975"/>
                <a:gd name="connsiteY7" fmla="*/ 7144 h 504825"/>
                <a:gd name="connsiteX8" fmla="*/ 557689 w 561975"/>
                <a:gd name="connsiteY8" fmla="*/ 7144 h 504825"/>
                <a:gd name="connsiteX9" fmla="*/ 557689 w 561975"/>
                <a:gd name="connsiteY9" fmla="*/ 255746 h 504825"/>
                <a:gd name="connsiteX10" fmla="*/ 352901 w 561975"/>
                <a:gd name="connsiteY10" fmla="*/ 5043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1975" h="504825">
                  <a:moveTo>
                    <a:pt x="352901" y="504349"/>
                  </a:moveTo>
                  <a:lnTo>
                    <a:pt x="381476" y="504349"/>
                  </a:lnTo>
                  <a:lnTo>
                    <a:pt x="221456" y="504349"/>
                  </a:lnTo>
                  <a:lnTo>
                    <a:pt x="211931" y="504349"/>
                  </a:lnTo>
                  <a:cubicBezTo>
                    <a:pt x="114776" y="502444"/>
                    <a:pt x="7144" y="391954"/>
                    <a:pt x="7144" y="255746"/>
                  </a:cubicBezTo>
                  <a:lnTo>
                    <a:pt x="7144" y="7144"/>
                  </a:lnTo>
                  <a:lnTo>
                    <a:pt x="200501" y="7144"/>
                  </a:lnTo>
                  <a:lnTo>
                    <a:pt x="363379" y="7144"/>
                  </a:lnTo>
                  <a:lnTo>
                    <a:pt x="557689" y="7144"/>
                  </a:lnTo>
                  <a:lnTo>
                    <a:pt x="557689" y="255746"/>
                  </a:lnTo>
                  <a:cubicBezTo>
                    <a:pt x="557689" y="391954"/>
                    <a:pt x="450056" y="502444"/>
                    <a:pt x="352901" y="504349"/>
                  </a:cubicBezTo>
                  <a:close/>
                </a:path>
              </a:pathLst>
            </a:custGeom>
            <a:solidFill>
              <a:schemeClr val="accent5">
                <a:lumMod val="20000"/>
                <a:lumOff val="80000"/>
              </a:schemeClr>
            </a:solidFill>
            <a:ln w="9525" cap="flat">
              <a:noFill/>
              <a:prstDash val="solid"/>
              <a:miter/>
            </a:ln>
          </p:spPr>
          <p:txBody>
            <a:bodyPr rtlCol="0" anchor="ctr"/>
            <a:lstStyle/>
            <a:p>
              <a:endParaRPr lang="en-US"/>
            </a:p>
          </p:txBody>
        </p:sp>
        <p:sp>
          <p:nvSpPr>
            <p:cNvPr id="36" name="Freeform: Shape 19">
              <a:extLst>
                <a:ext uri="{FF2B5EF4-FFF2-40B4-BE49-F238E27FC236}">
                  <a16:creationId xmlns:a16="http://schemas.microsoft.com/office/drawing/2014/main" id="{57EF109D-58E1-3147-A79B-569268A291EE}"/>
                </a:ext>
              </a:extLst>
            </p:cNvPr>
            <p:cNvSpPr/>
            <p:nvPr/>
          </p:nvSpPr>
          <p:spPr>
            <a:xfrm>
              <a:off x="6311741" y="3046571"/>
              <a:ext cx="152400" cy="228600"/>
            </a:xfrm>
            <a:custGeom>
              <a:avLst/>
              <a:gdLst>
                <a:gd name="connsiteX0" fmla="*/ 148114 w 152400"/>
                <a:gd name="connsiteY0" fmla="*/ 155734 h 228600"/>
                <a:gd name="connsiteX1" fmla="*/ 77629 w 152400"/>
                <a:gd name="connsiteY1" fmla="*/ 226219 h 228600"/>
                <a:gd name="connsiteX2" fmla="*/ 77629 w 152400"/>
                <a:gd name="connsiteY2" fmla="*/ 226219 h 228600"/>
                <a:gd name="connsiteX3" fmla="*/ 7144 w 152400"/>
                <a:gd name="connsiteY3" fmla="*/ 155734 h 228600"/>
                <a:gd name="connsiteX4" fmla="*/ 7144 w 152400"/>
                <a:gd name="connsiteY4" fmla="*/ 77629 h 228600"/>
                <a:gd name="connsiteX5" fmla="*/ 77629 w 152400"/>
                <a:gd name="connsiteY5" fmla="*/ 7144 h 228600"/>
                <a:gd name="connsiteX6" fmla="*/ 77629 w 152400"/>
                <a:gd name="connsiteY6" fmla="*/ 7144 h 228600"/>
                <a:gd name="connsiteX7" fmla="*/ 148114 w 152400"/>
                <a:gd name="connsiteY7" fmla="*/ 77629 h 228600"/>
                <a:gd name="connsiteX8" fmla="*/ 148114 w 152400"/>
                <a:gd name="connsiteY8" fmla="*/ 15573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400" h="228600">
                  <a:moveTo>
                    <a:pt x="148114" y="155734"/>
                  </a:moveTo>
                  <a:cubicBezTo>
                    <a:pt x="148114" y="194786"/>
                    <a:pt x="116681" y="226219"/>
                    <a:pt x="77629" y="226219"/>
                  </a:cubicBezTo>
                  <a:lnTo>
                    <a:pt x="77629" y="226219"/>
                  </a:lnTo>
                  <a:cubicBezTo>
                    <a:pt x="38576" y="226219"/>
                    <a:pt x="7144" y="194786"/>
                    <a:pt x="7144" y="155734"/>
                  </a:cubicBezTo>
                  <a:lnTo>
                    <a:pt x="7144" y="77629"/>
                  </a:lnTo>
                  <a:cubicBezTo>
                    <a:pt x="7144" y="38576"/>
                    <a:pt x="38576" y="7144"/>
                    <a:pt x="77629" y="7144"/>
                  </a:cubicBezTo>
                  <a:lnTo>
                    <a:pt x="77629" y="7144"/>
                  </a:lnTo>
                  <a:cubicBezTo>
                    <a:pt x="116681" y="7144"/>
                    <a:pt x="148114" y="38576"/>
                    <a:pt x="148114" y="77629"/>
                  </a:cubicBezTo>
                  <a:lnTo>
                    <a:pt x="148114" y="155734"/>
                  </a:lnTo>
                  <a:close/>
                </a:path>
              </a:pathLst>
            </a:custGeom>
            <a:solidFill>
              <a:schemeClr val="accent5"/>
            </a:solidFill>
            <a:ln w="9525" cap="flat">
              <a:noFill/>
              <a:prstDash val="solid"/>
              <a:miter/>
            </a:ln>
          </p:spPr>
          <p:txBody>
            <a:bodyPr rtlCol="0" anchor="ctr"/>
            <a:lstStyle/>
            <a:p>
              <a:endParaRPr lang="en-US"/>
            </a:p>
          </p:txBody>
        </p:sp>
        <p:sp>
          <p:nvSpPr>
            <p:cNvPr id="37" name="Freeform: Shape 20">
              <a:extLst>
                <a:ext uri="{FF2B5EF4-FFF2-40B4-BE49-F238E27FC236}">
                  <a16:creationId xmlns:a16="http://schemas.microsoft.com/office/drawing/2014/main" id="{215E2FAC-29EF-DE4E-AD7D-3A4219CD4F95}"/>
                </a:ext>
              </a:extLst>
            </p:cNvPr>
            <p:cNvSpPr/>
            <p:nvPr/>
          </p:nvSpPr>
          <p:spPr>
            <a:xfrm>
              <a:off x="5679281" y="3046571"/>
              <a:ext cx="152400" cy="228600"/>
            </a:xfrm>
            <a:custGeom>
              <a:avLst/>
              <a:gdLst>
                <a:gd name="connsiteX0" fmla="*/ 148114 w 152400"/>
                <a:gd name="connsiteY0" fmla="*/ 155734 h 228600"/>
                <a:gd name="connsiteX1" fmla="*/ 77629 w 152400"/>
                <a:gd name="connsiteY1" fmla="*/ 226219 h 228600"/>
                <a:gd name="connsiteX2" fmla="*/ 77629 w 152400"/>
                <a:gd name="connsiteY2" fmla="*/ 226219 h 228600"/>
                <a:gd name="connsiteX3" fmla="*/ 7144 w 152400"/>
                <a:gd name="connsiteY3" fmla="*/ 155734 h 228600"/>
                <a:gd name="connsiteX4" fmla="*/ 7144 w 152400"/>
                <a:gd name="connsiteY4" fmla="*/ 77629 h 228600"/>
                <a:gd name="connsiteX5" fmla="*/ 77629 w 152400"/>
                <a:gd name="connsiteY5" fmla="*/ 7144 h 228600"/>
                <a:gd name="connsiteX6" fmla="*/ 77629 w 152400"/>
                <a:gd name="connsiteY6" fmla="*/ 7144 h 228600"/>
                <a:gd name="connsiteX7" fmla="*/ 148114 w 152400"/>
                <a:gd name="connsiteY7" fmla="*/ 77629 h 228600"/>
                <a:gd name="connsiteX8" fmla="*/ 148114 w 152400"/>
                <a:gd name="connsiteY8" fmla="*/ 15573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400" h="228600">
                  <a:moveTo>
                    <a:pt x="148114" y="155734"/>
                  </a:moveTo>
                  <a:cubicBezTo>
                    <a:pt x="148114" y="194786"/>
                    <a:pt x="116681" y="226219"/>
                    <a:pt x="77629" y="226219"/>
                  </a:cubicBezTo>
                  <a:lnTo>
                    <a:pt x="77629" y="226219"/>
                  </a:lnTo>
                  <a:cubicBezTo>
                    <a:pt x="38576" y="226219"/>
                    <a:pt x="7144" y="194786"/>
                    <a:pt x="7144" y="155734"/>
                  </a:cubicBezTo>
                  <a:lnTo>
                    <a:pt x="7144" y="77629"/>
                  </a:lnTo>
                  <a:cubicBezTo>
                    <a:pt x="7144" y="38576"/>
                    <a:pt x="38576" y="7144"/>
                    <a:pt x="77629" y="7144"/>
                  </a:cubicBezTo>
                  <a:lnTo>
                    <a:pt x="77629" y="7144"/>
                  </a:lnTo>
                  <a:cubicBezTo>
                    <a:pt x="116681" y="7144"/>
                    <a:pt x="148114" y="38576"/>
                    <a:pt x="148114" y="77629"/>
                  </a:cubicBezTo>
                  <a:lnTo>
                    <a:pt x="148114" y="155734"/>
                  </a:lnTo>
                  <a:close/>
                </a:path>
              </a:pathLst>
            </a:custGeom>
            <a:solidFill>
              <a:schemeClr val="accent5"/>
            </a:solidFill>
            <a:ln w="9525" cap="flat">
              <a:noFill/>
              <a:prstDash val="solid"/>
              <a:miter/>
            </a:ln>
          </p:spPr>
          <p:txBody>
            <a:bodyPr rtlCol="0" anchor="ctr"/>
            <a:lstStyle/>
            <a:p>
              <a:endParaRPr lang="en-US"/>
            </a:p>
          </p:txBody>
        </p:sp>
        <p:sp>
          <p:nvSpPr>
            <p:cNvPr id="38" name="Freeform: Shape 21">
              <a:extLst>
                <a:ext uri="{FF2B5EF4-FFF2-40B4-BE49-F238E27FC236}">
                  <a16:creationId xmlns:a16="http://schemas.microsoft.com/office/drawing/2014/main" id="{50D66A7E-F3BE-214B-9673-D3934DC9DDFC}"/>
                </a:ext>
              </a:extLst>
            </p:cNvPr>
            <p:cNvSpPr/>
            <p:nvPr/>
          </p:nvSpPr>
          <p:spPr>
            <a:xfrm>
              <a:off x="5749766" y="2922746"/>
              <a:ext cx="638175" cy="466725"/>
            </a:xfrm>
            <a:custGeom>
              <a:avLst/>
              <a:gdLst>
                <a:gd name="connsiteX0" fmla="*/ 639604 w 638175"/>
                <a:gd name="connsiteY0" fmla="*/ 273844 h 466725"/>
                <a:gd name="connsiteX1" fmla="*/ 451009 w 638175"/>
                <a:gd name="connsiteY1" fmla="*/ 462439 h 466725"/>
                <a:gd name="connsiteX2" fmla="*/ 195739 w 638175"/>
                <a:gd name="connsiteY2" fmla="*/ 462439 h 466725"/>
                <a:gd name="connsiteX3" fmla="*/ 7144 w 638175"/>
                <a:gd name="connsiteY3" fmla="*/ 273844 h 466725"/>
                <a:gd name="connsiteX4" fmla="*/ 7144 w 638175"/>
                <a:gd name="connsiteY4" fmla="*/ 195739 h 466725"/>
                <a:gd name="connsiteX5" fmla="*/ 195739 w 638175"/>
                <a:gd name="connsiteY5" fmla="*/ 7144 h 466725"/>
                <a:gd name="connsiteX6" fmla="*/ 451009 w 638175"/>
                <a:gd name="connsiteY6" fmla="*/ 7144 h 466725"/>
                <a:gd name="connsiteX7" fmla="*/ 639604 w 638175"/>
                <a:gd name="connsiteY7" fmla="*/ 195739 h 466725"/>
                <a:gd name="connsiteX8" fmla="*/ 639604 w 638175"/>
                <a:gd name="connsiteY8" fmla="*/ 27384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175" h="466725">
                  <a:moveTo>
                    <a:pt x="639604" y="273844"/>
                  </a:moveTo>
                  <a:cubicBezTo>
                    <a:pt x="639604" y="377666"/>
                    <a:pt x="554831" y="462439"/>
                    <a:pt x="451009" y="462439"/>
                  </a:cubicBezTo>
                  <a:lnTo>
                    <a:pt x="195739" y="462439"/>
                  </a:lnTo>
                  <a:cubicBezTo>
                    <a:pt x="91916" y="462439"/>
                    <a:pt x="7144" y="377666"/>
                    <a:pt x="7144" y="273844"/>
                  </a:cubicBezTo>
                  <a:lnTo>
                    <a:pt x="7144" y="195739"/>
                  </a:lnTo>
                  <a:cubicBezTo>
                    <a:pt x="7144" y="91916"/>
                    <a:pt x="91916" y="7144"/>
                    <a:pt x="195739" y="7144"/>
                  </a:cubicBezTo>
                  <a:lnTo>
                    <a:pt x="451009" y="7144"/>
                  </a:lnTo>
                  <a:cubicBezTo>
                    <a:pt x="554831" y="7144"/>
                    <a:pt x="639604" y="91916"/>
                    <a:pt x="639604" y="195739"/>
                  </a:cubicBezTo>
                  <a:lnTo>
                    <a:pt x="639604" y="273844"/>
                  </a:lnTo>
                  <a:close/>
                </a:path>
              </a:pathLst>
            </a:custGeom>
            <a:solidFill>
              <a:schemeClr val="accent5">
                <a:lumMod val="20000"/>
                <a:lumOff val="80000"/>
              </a:schemeClr>
            </a:solidFill>
            <a:ln w="9525" cap="flat">
              <a:noFill/>
              <a:prstDash val="solid"/>
              <a:miter/>
            </a:ln>
          </p:spPr>
          <p:txBody>
            <a:bodyPr rtlCol="0" anchor="ctr"/>
            <a:lstStyle/>
            <a:p>
              <a:endParaRPr lang="en-US"/>
            </a:p>
          </p:txBody>
        </p:sp>
        <p:sp>
          <p:nvSpPr>
            <p:cNvPr id="39" name="Freeform: Shape 22">
              <a:extLst>
                <a:ext uri="{FF2B5EF4-FFF2-40B4-BE49-F238E27FC236}">
                  <a16:creationId xmlns:a16="http://schemas.microsoft.com/office/drawing/2014/main" id="{F5C3E257-4814-6B43-9C7B-BD72C0A2AA8A}"/>
                </a:ext>
              </a:extLst>
            </p:cNvPr>
            <p:cNvSpPr/>
            <p:nvPr/>
          </p:nvSpPr>
          <p:spPr>
            <a:xfrm>
              <a:off x="5949791" y="2833211"/>
              <a:ext cx="228600" cy="95250"/>
            </a:xfrm>
            <a:custGeom>
              <a:avLst/>
              <a:gdLst>
                <a:gd name="connsiteX0" fmla="*/ 191929 w 228600"/>
                <a:gd name="connsiteY0" fmla="*/ 7144 h 95250"/>
                <a:gd name="connsiteX1" fmla="*/ 43339 w 228600"/>
                <a:gd name="connsiteY1" fmla="*/ 7144 h 95250"/>
                <a:gd name="connsiteX2" fmla="*/ 7144 w 228600"/>
                <a:gd name="connsiteY2" fmla="*/ 51911 h 95250"/>
                <a:gd name="connsiteX3" fmla="*/ 43339 w 228600"/>
                <a:gd name="connsiteY3" fmla="*/ 96679 h 95250"/>
                <a:gd name="connsiteX4" fmla="*/ 191929 w 228600"/>
                <a:gd name="connsiteY4" fmla="*/ 96679 h 95250"/>
                <a:gd name="connsiteX5" fmla="*/ 228124 w 228600"/>
                <a:gd name="connsiteY5" fmla="*/ 51911 h 95250"/>
                <a:gd name="connsiteX6" fmla="*/ 191929 w 228600"/>
                <a:gd name="connsiteY6" fmla="*/ 71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95250">
                  <a:moveTo>
                    <a:pt x="191929" y="7144"/>
                  </a:moveTo>
                  <a:lnTo>
                    <a:pt x="43339" y="7144"/>
                  </a:lnTo>
                  <a:cubicBezTo>
                    <a:pt x="23336" y="7144"/>
                    <a:pt x="7144" y="27146"/>
                    <a:pt x="7144" y="51911"/>
                  </a:cubicBezTo>
                  <a:cubicBezTo>
                    <a:pt x="7144" y="76676"/>
                    <a:pt x="23336" y="96679"/>
                    <a:pt x="43339" y="96679"/>
                  </a:cubicBezTo>
                  <a:lnTo>
                    <a:pt x="191929" y="96679"/>
                  </a:lnTo>
                  <a:cubicBezTo>
                    <a:pt x="211931" y="96679"/>
                    <a:pt x="228124" y="76676"/>
                    <a:pt x="228124" y="51911"/>
                  </a:cubicBezTo>
                  <a:cubicBezTo>
                    <a:pt x="228124" y="27146"/>
                    <a:pt x="211931" y="7144"/>
                    <a:pt x="191929" y="7144"/>
                  </a:cubicBezTo>
                  <a:close/>
                </a:path>
              </a:pathLst>
            </a:custGeom>
            <a:solidFill>
              <a:srgbClr val="004149"/>
            </a:solidFill>
            <a:ln w="9525" cap="flat">
              <a:noFill/>
              <a:prstDash val="solid"/>
              <a:miter/>
            </a:ln>
          </p:spPr>
          <p:txBody>
            <a:bodyPr rtlCol="0" anchor="ctr"/>
            <a:lstStyle/>
            <a:p>
              <a:endParaRPr lang="en-US"/>
            </a:p>
          </p:txBody>
        </p:sp>
        <p:sp>
          <p:nvSpPr>
            <p:cNvPr id="40" name="Freeform: Shape 23">
              <a:extLst>
                <a:ext uri="{FF2B5EF4-FFF2-40B4-BE49-F238E27FC236}">
                  <a16:creationId xmlns:a16="http://schemas.microsoft.com/office/drawing/2014/main" id="{D128E378-EEDD-D84B-840B-B7D15B1CD6F0}"/>
                </a:ext>
              </a:extLst>
            </p:cNvPr>
            <p:cNvSpPr/>
            <p:nvPr/>
          </p:nvSpPr>
          <p:spPr>
            <a:xfrm>
              <a:off x="6037355" y="2683668"/>
              <a:ext cx="57150" cy="190500"/>
            </a:xfrm>
            <a:custGeom>
              <a:avLst/>
              <a:gdLst>
                <a:gd name="connsiteX0" fmla="*/ 21497 w 57150"/>
                <a:gd name="connsiteY0" fmla="*/ 35719 h 190500"/>
                <a:gd name="connsiteX1" fmla="*/ 7209 w 57150"/>
                <a:gd name="connsiteY1" fmla="*/ 158591 h 190500"/>
                <a:gd name="connsiteX2" fmla="*/ 28164 w 57150"/>
                <a:gd name="connsiteY2" fmla="*/ 189071 h 190500"/>
                <a:gd name="connsiteX3" fmla="*/ 50072 w 57150"/>
                <a:gd name="connsiteY3" fmla="*/ 159544 h 190500"/>
                <a:gd name="connsiteX4" fmla="*/ 43404 w 57150"/>
                <a:gd name="connsiteY4" fmla="*/ 37624 h 190500"/>
                <a:gd name="connsiteX5" fmla="*/ 33879 w 57150"/>
                <a:gd name="connsiteY5" fmla="*/ 7144 h 190500"/>
                <a:gd name="connsiteX6" fmla="*/ 21497 w 57150"/>
                <a:gd name="connsiteY6" fmla="*/ 357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0">
                  <a:moveTo>
                    <a:pt x="21497" y="35719"/>
                  </a:moveTo>
                  <a:lnTo>
                    <a:pt x="7209" y="158591"/>
                  </a:lnTo>
                  <a:cubicBezTo>
                    <a:pt x="6257" y="174784"/>
                    <a:pt x="15782" y="189071"/>
                    <a:pt x="28164" y="189071"/>
                  </a:cubicBezTo>
                  <a:cubicBezTo>
                    <a:pt x="39594" y="189071"/>
                    <a:pt x="50072" y="176689"/>
                    <a:pt x="50072" y="159544"/>
                  </a:cubicBezTo>
                  <a:lnTo>
                    <a:pt x="43404" y="37624"/>
                  </a:lnTo>
                  <a:cubicBezTo>
                    <a:pt x="44357" y="21431"/>
                    <a:pt x="45309" y="7144"/>
                    <a:pt x="33879" y="7144"/>
                  </a:cubicBezTo>
                  <a:cubicBezTo>
                    <a:pt x="21497" y="7144"/>
                    <a:pt x="22449" y="19526"/>
                    <a:pt x="21497" y="35719"/>
                  </a:cubicBezTo>
                  <a:close/>
                </a:path>
              </a:pathLst>
            </a:custGeom>
            <a:solidFill>
              <a:srgbClr val="004149"/>
            </a:solidFill>
            <a:ln w="9525" cap="flat">
              <a:noFill/>
              <a:prstDash val="solid"/>
              <a:miter/>
            </a:ln>
          </p:spPr>
          <p:txBody>
            <a:bodyPr rtlCol="0" anchor="ctr"/>
            <a:lstStyle/>
            <a:p>
              <a:endParaRPr lang="en-US"/>
            </a:p>
          </p:txBody>
        </p:sp>
        <p:sp>
          <p:nvSpPr>
            <p:cNvPr id="41" name="Freeform: Shape 24">
              <a:extLst>
                <a:ext uri="{FF2B5EF4-FFF2-40B4-BE49-F238E27FC236}">
                  <a16:creationId xmlns:a16="http://schemas.microsoft.com/office/drawing/2014/main" id="{88C1A0F2-63E7-704A-A882-22298AE58D3D}"/>
                </a:ext>
              </a:extLst>
            </p:cNvPr>
            <p:cNvSpPr/>
            <p:nvPr/>
          </p:nvSpPr>
          <p:spPr>
            <a:xfrm>
              <a:off x="5975508" y="3546561"/>
              <a:ext cx="47625" cy="47625"/>
            </a:xfrm>
            <a:custGeom>
              <a:avLst/>
              <a:gdLst>
                <a:gd name="connsiteX0" fmla="*/ 41434 w 47625"/>
                <a:gd name="connsiteY0" fmla="*/ 24361 h 47625"/>
                <a:gd name="connsiteX1" fmla="*/ 24289 w 47625"/>
                <a:gd name="connsiteY1" fmla="*/ 41506 h 47625"/>
                <a:gd name="connsiteX2" fmla="*/ 7144 w 47625"/>
                <a:gd name="connsiteY2" fmla="*/ 24361 h 47625"/>
                <a:gd name="connsiteX3" fmla="*/ 24289 w 47625"/>
                <a:gd name="connsiteY3" fmla="*/ 7216 h 47625"/>
                <a:gd name="connsiteX4" fmla="*/ 41434 w 47625"/>
                <a:gd name="connsiteY4" fmla="*/ 2436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434" y="24361"/>
                  </a:moveTo>
                  <a:cubicBezTo>
                    <a:pt x="41434" y="33886"/>
                    <a:pt x="33814" y="41506"/>
                    <a:pt x="24289" y="41506"/>
                  </a:cubicBezTo>
                  <a:cubicBezTo>
                    <a:pt x="14764" y="41506"/>
                    <a:pt x="7144" y="33886"/>
                    <a:pt x="7144" y="24361"/>
                  </a:cubicBezTo>
                  <a:cubicBezTo>
                    <a:pt x="7144" y="14836"/>
                    <a:pt x="14764" y="7216"/>
                    <a:pt x="24289" y="7216"/>
                  </a:cubicBezTo>
                  <a:cubicBezTo>
                    <a:pt x="32861" y="6264"/>
                    <a:pt x="41434" y="14836"/>
                    <a:pt x="41434" y="24361"/>
                  </a:cubicBezTo>
                  <a:close/>
                </a:path>
              </a:pathLst>
            </a:custGeom>
            <a:solidFill>
              <a:srgbClr val="8D8EA7"/>
            </a:solidFill>
            <a:ln w="9525" cap="flat">
              <a:noFill/>
              <a:prstDash val="solid"/>
              <a:miter/>
            </a:ln>
          </p:spPr>
          <p:txBody>
            <a:bodyPr rtlCol="0" anchor="ctr"/>
            <a:lstStyle/>
            <a:p>
              <a:endParaRPr lang="en-US"/>
            </a:p>
          </p:txBody>
        </p:sp>
        <p:sp>
          <p:nvSpPr>
            <p:cNvPr id="42" name="Freeform: Shape 25">
              <a:extLst>
                <a:ext uri="{FF2B5EF4-FFF2-40B4-BE49-F238E27FC236}">
                  <a16:creationId xmlns:a16="http://schemas.microsoft.com/office/drawing/2014/main" id="{407C7E7C-FF58-994D-9BF3-B581B5A31EC8}"/>
                </a:ext>
              </a:extLst>
            </p:cNvPr>
            <p:cNvSpPr/>
            <p:nvPr/>
          </p:nvSpPr>
          <p:spPr>
            <a:xfrm>
              <a:off x="6029801" y="3546561"/>
              <a:ext cx="47625" cy="47625"/>
            </a:xfrm>
            <a:custGeom>
              <a:avLst/>
              <a:gdLst>
                <a:gd name="connsiteX0" fmla="*/ 41434 w 47625"/>
                <a:gd name="connsiteY0" fmla="*/ 24361 h 47625"/>
                <a:gd name="connsiteX1" fmla="*/ 24289 w 47625"/>
                <a:gd name="connsiteY1" fmla="*/ 41506 h 47625"/>
                <a:gd name="connsiteX2" fmla="*/ 7144 w 47625"/>
                <a:gd name="connsiteY2" fmla="*/ 24361 h 47625"/>
                <a:gd name="connsiteX3" fmla="*/ 24289 w 47625"/>
                <a:gd name="connsiteY3" fmla="*/ 7216 h 47625"/>
                <a:gd name="connsiteX4" fmla="*/ 41434 w 47625"/>
                <a:gd name="connsiteY4" fmla="*/ 2436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434" y="24361"/>
                  </a:moveTo>
                  <a:cubicBezTo>
                    <a:pt x="41434" y="33886"/>
                    <a:pt x="33814" y="41506"/>
                    <a:pt x="24289" y="41506"/>
                  </a:cubicBezTo>
                  <a:cubicBezTo>
                    <a:pt x="14764" y="41506"/>
                    <a:pt x="7144" y="33886"/>
                    <a:pt x="7144" y="24361"/>
                  </a:cubicBezTo>
                  <a:cubicBezTo>
                    <a:pt x="7144" y="14836"/>
                    <a:pt x="14764" y="7216"/>
                    <a:pt x="24289" y="7216"/>
                  </a:cubicBezTo>
                  <a:cubicBezTo>
                    <a:pt x="33814" y="6264"/>
                    <a:pt x="41434" y="14836"/>
                    <a:pt x="41434" y="24361"/>
                  </a:cubicBezTo>
                  <a:close/>
                </a:path>
              </a:pathLst>
            </a:custGeom>
            <a:solidFill>
              <a:srgbClr val="8D8EA7"/>
            </a:solidFill>
            <a:ln w="9525" cap="flat">
              <a:noFill/>
              <a:prstDash val="solid"/>
              <a:miter/>
            </a:ln>
          </p:spPr>
          <p:txBody>
            <a:bodyPr rtlCol="0" anchor="ctr"/>
            <a:lstStyle/>
            <a:p>
              <a:endParaRPr lang="en-US"/>
            </a:p>
          </p:txBody>
        </p:sp>
        <p:sp>
          <p:nvSpPr>
            <p:cNvPr id="43" name="Freeform: Shape 26">
              <a:extLst>
                <a:ext uri="{FF2B5EF4-FFF2-40B4-BE49-F238E27FC236}">
                  <a16:creationId xmlns:a16="http://schemas.microsoft.com/office/drawing/2014/main" id="{7D591851-FEDC-AE42-A678-8718703CECBE}"/>
                </a:ext>
              </a:extLst>
            </p:cNvPr>
            <p:cNvSpPr/>
            <p:nvPr/>
          </p:nvSpPr>
          <p:spPr>
            <a:xfrm>
              <a:off x="6081236" y="3546561"/>
              <a:ext cx="47625" cy="47625"/>
            </a:xfrm>
            <a:custGeom>
              <a:avLst/>
              <a:gdLst>
                <a:gd name="connsiteX0" fmla="*/ 41434 w 47625"/>
                <a:gd name="connsiteY0" fmla="*/ 24361 h 47625"/>
                <a:gd name="connsiteX1" fmla="*/ 24289 w 47625"/>
                <a:gd name="connsiteY1" fmla="*/ 41506 h 47625"/>
                <a:gd name="connsiteX2" fmla="*/ 7144 w 47625"/>
                <a:gd name="connsiteY2" fmla="*/ 24361 h 47625"/>
                <a:gd name="connsiteX3" fmla="*/ 24289 w 47625"/>
                <a:gd name="connsiteY3" fmla="*/ 7216 h 47625"/>
                <a:gd name="connsiteX4" fmla="*/ 41434 w 47625"/>
                <a:gd name="connsiteY4" fmla="*/ 2436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434" y="24361"/>
                  </a:moveTo>
                  <a:cubicBezTo>
                    <a:pt x="41434" y="33886"/>
                    <a:pt x="33814" y="41506"/>
                    <a:pt x="24289" y="41506"/>
                  </a:cubicBezTo>
                  <a:cubicBezTo>
                    <a:pt x="14764" y="41506"/>
                    <a:pt x="7144" y="33886"/>
                    <a:pt x="7144" y="24361"/>
                  </a:cubicBezTo>
                  <a:cubicBezTo>
                    <a:pt x="7144" y="14836"/>
                    <a:pt x="14764" y="7216"/>
                    <a:pt x="24289" y="7216"/>
                  </a:cubicBezTo>
                  <a:cubicBezTo>
                    <a:pt x="32861" y="6264"/>
                    <a:pt x="41434" y="14836"/>
                    <a:pt x="41434" y="24361"/>
                  </a:cubicBezTo>
                  <a:close/>
                </a:path>
              </a:pathLst>
            </a:custGeom>
            <a:solidFill>
              <a:srgbClr val="8D8EA7"/>
            </a:solidFill>
            <a:ln w="9525" cap="flat">
              <a:noFill/>
              <a:prstDash val="solid"/>
              <a:miter/>
            </a:ln>
          </p:spPr>
          <p:txBody>
            <a:bodyPr rtlCol="0" anchor="ctr"/>
            <a:lstStyle/>
            <a:p>
              <a:endParaRPr lang="en-US"/>
            </a:p>
          </p:txBody>
        </p:sp>
        <p:sp>
          <p:nvSpPr>
            <p:cNvPr id="44" name="Freeform: Shape 27">
              <a:extLst>
                <a:ext uri="{FF2B5EF4-FFF2-40B4-BE49-F238E27FC236}">
                  <a16:creationId xmlns:a16="http://schemas.microsoft.com/office/drawing/2014/main" id="{C6E82529-9AF5-BC49-90EE-A0B6C9A6FC05}"/>
                </a:ext>
              </a:extLst>
            </p:cNvPr>
            <p:cNvSpPr/>
            <p:nvPr/>
          </p:nvSpPr>
          <p:spPr>
            <a:xfrm>
              <a:off x="6135528" y="3546561"/>
              <a:ext cx="47625" cy="47625"/>
            </a:xfrm>
            <a:custGeom>
              <a:avLst/>
              <a:gdLst>
                <a:gd name="connsiteX0" fmla="*/ 41434 w 47625"/>
                <a:gd name="connsiteY0" fmla="*/ 24361 h 47625"/>
                <a:gd name="connsiteX1" fmla="*/ 24289 w 47625"/>
                <a:gd name="connsiteY1" fmla="*/ 41506 h 47625"/>
                <a:gd name="connsiteX2" fmla="*/ 7144 w 47625"/>
                <a:gd name="connsiteY2" fmla="*/ 24361 h 47625"/>
                <a:gd name="connsiteX3" fmla="*/ 24289 w 47625"/>
                <a:gd name="connsiteY3" fmla="*/ 7216 h 47625"/>
                <a:gd name="connsiteX4" fmla="*/ 41434 w 47625"/>
                <a:gd name="connsiteY4" fmla="*/ 24361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41434" y="24361"/>
                  </a:moveTo>
                  <a:cubicBezTo>
                    <a:pt x="41434" y="33886"/>
                    <a:pt x="33814" y="41506"/>
                    <a:pt x="24289" y="41506"/>
                  </a:cubicBezTo>
                  <a:cubicBezTo>
                    <a:pt x="14764" y="41506"/>
                    <a:pt x="7144" y="33886"/>
                    <a:pt x="7144" y="24361"/>
                  </a:cubicBezTo>
                  <a:cubicBezTo>
                    <a:pt x="7144" y="14836"/>
                    <a:pt x="14764" y="7216"/>
                    <a:pt x="24289" y="7216"/>
                  </a:cubicBezTo>
                  <a:cubicBezTo>
                    <a:pt x="33814" y="6264"/>
                    <a:pt x="41434" y="14836"/>
                    <a:pt x="41434" y="24361"/>
                  </a:cubicBezTo>
                  <a:close/>
                </a:path>
              </a:pathLst>
            </a:custGeom>
            <a:solidFill>
              <a:srgbClr val="8D8EA7"/>
            </a:solidFill>
            <a:ln w="9525" cap="flat">
              <a:noFill/>
              <a:prstDash val="solid"/>
              <a:miter/>
            </a:ln>
          </p:spPr>
          <p:txBody>
            <a:bodyPr rtlCol="0" anchor="ctr"/>
            <a:lstStyle/>
            <a:p>
              <a:endParaRPr lang="en-US"/>
            </a:p>
          </p:txBody>
        </p:sp>
        <p:sp>
          <p:nvSpPr>
            <p:cNvPr id="45" name="Freeform: Shape 28">
              <a:extLst>
                <a:ext uri="{FF2B5EF4-FFF2-40B4-BE49-F238E27FC236}">
                  <a16:creationId xmlns:a16="http://schemas.microsoft.com/office/drawing/2014/main" id="{73AA7ABB-158C-B54A-A2C6-60DA57F9DD63}"/>
                </a:ext>
              </a:extLst>
            </p:cNvPr>
            <p:cNvSpPr/>
            <p:nvPr/>
          </p:nvSpPr>
          <p:spPr>
            <a:xfrm>
              <a:off x="5829776" y="3046571"/>
              <a:ext cx="485775" cy="161925"/>
            </a:xfrm>
            <a:custGeom>
              <a:avLst/>
              <a:gdLst>
                <a:gd name="connsiteX0" fmla="*/ 401479 w 485775"/>
                <a:gd name="connsiteY0" fmla="*/ 7144 h 161925"/>
                <a:gd name="connsiteX1" fmla="*/ 84296 w 485775"/>
                <a:gd name="connsiteY1" fmla="*/ 7144 h 161925"/>
                <a:gd name="connsiteX2" fmla="*/ 7144 w 485775"/>
                <a:gd name="connsiteY2" fmla="*/ 84296 h 161925"/>
                <a:gd name="connsiteX3" fmla="*/ 84296 w 485775"/>
                <a:gd name="connsiteY3" fmla="*/ 161449 h 161925"/>
                <a:gd name="connsiteX4" fmla="*/ 401479 w 485775"/>
                <a:gd name="connsiteY4" fmla="*/ 161449 h 161925"/>
                <a:gd name="connsiteX5" fmla="*/ 478631 w 485775"/>
                <a:gd name="connsiteY5" fmla="*/ 84296 h 161925"/>
                <a:gd name="connsiteX6" fmla="*/ 401479 w 485775"/>
                <a:gd name="connsiteY6" fmla="*/ 7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161925">
                  <a:moveTo>
                    <a:pt x="401479" y="7144"/>
                  </a:moveTo>
                  <a:lnTo>
                    <a:pt x="84296" y="7144"/>
                  </a:lnTo>
                  <a:cubicBezTo>
                    <a:pt x="41434" y="7144"/>
                    <a:pt x="7144" y="41434"/>
                    <a:pt x="7144" y="84296"/>
                  </a:cubicBezTo>
                  <a:cubicBezTo>
                    <a:pt x="7144" y="127159"/>
                    <a:pt x="41434" y="161449"/>
                    <a:pt x="84296" y="161449"/>
                  </a:cubicBezTo>
                  <a:lnTo>
                    <a:pt x="401479" y="161449"/>
                  </a:lnTo>
                  <a:cubicBezTo>
                    <a:pt x="444341" y="161449"/>
                    <a:pt x="478631" y="127159"/>
                    <a:pt x="478631" y="84296"/>
                  </a:cubicBezTo>
                  <a:cubicBezTo>
                    <a:pt x="478631" y="41434"/>
                    <a:pt x="444341" y="7144"/>
                    <a:pt x="401479" y="7144"/>
                  </a:cubicBezTo>
                  <a:close/>
                </a:path>
              </a:pathLst>
            </a:custGeom>
            <a:solidFill>
              <a:schemeClr val="accent5"/>
            </a:solidFill>
            <a:ln w="9525" cap="flat">
              <a:noFill/>
              <a:prstDash val="solid"/>
              <a:miter/>
            </a:ln>
          </p:spPr>
          <p:txBody>
            <a:bodyPr rtlCol="0" anchor="ctr"/>
            <a:lstStyle/>
            <a:p>
              <a:endParaRPr lang="en-US"/>
            </a:p>
          </p:txBody>
        </p:sp>
        <p:sp>
          <p:nvSpPr>
            <p:cNvPr id="46" name="Freeform: Shape 29">
              <a:extLst>
                <a:ext uri="{FF2B5EF4-FFF2-40B4-BE49-F238E27FC236}">
                  <a16:creationId xmlns:a16="http://schemas.microsoft.com/office/drawing/2014/main" id="{2BA21FDF-9F8E-8643-A801-EA8500DAD80D}"/>
                </a:ext>
              </a:extLst>
            </p:cNvPr>
            <p:cNvSpPr/>
            <p:nvPr/>
          </p:nvSpPr>
          <p:spPr>
            <a:xfrm>
              <a:off x="5923121" y="3090386"/>
              <a:ext cx="57150" cy="57150"/>
            </a:xfrm>
            <a:custGeom>
              <a:avLst/>
              <a:gdLst>
                <a:gd name="connsiteX0" fmla="*/ 56674 w 57150"/>
                <a:gd name="connsiteY0" fmla="*/ 31909 h 57150"/>
                <a:gd name="connsiteX1" fmla="*/ 31909 w 57150"/>
                <a:gd name="connsiteY1" fmla="*/ 56674 h 57150"/>
                <a:gd name="connsiteX2" fmla="*/ 7144 w 57150"/>
                <a:gd name="connsiteY2" fmla="*/ 31909 h 57150"/>
                <a:gd name="connsiteX3" fmla="*/ 31909 w 57150"/>
                <a:gd name="connsiteY3" fmla="*/ 7144 h 57150"/>
                <a:gd name="connsiteX4" fmla="*/ 56674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6674" y="31909"/>
                  </a:moveTo>
                  <a:cubicBezTo>
                    <a:pt x="56674" y="46196"/>
                    <a:pt x="45244" y="56674"/>
                    <a:pt x="31909" y="56674"/>
                  </a:cubicBezTo>
                  <a:cubicBezTo>
                    <a:pt x="17621" y="56674"/>
                    <a:pt x="7144" y="45244"/>
                    <a:pt x="7144" y="31909"/>
                  </a:cubicBezTo>
                  <a:cubicBezTo>
                    <a:pt x="7144" y="17621"/>
                    <a:pt x="18574" y="7144"/>
                    <a:pt x="31909" y="7144"/>
                  </a:cubicBezTo>
                  <a:cubicBezTo>
                    <a:pt x="45244" y="7144"/>
                    <a:pt x="56674" y="18574"/>
                    <a:pt x="56674" y="31909"/>
                  </a:cubicBezTo>
                  <a:close/>
                </a:path>
              </a:pathLst>
            </a:custGeom>
            <a:solidFill>
              <a:srgbClr val="004149"/>
            </a:solidFill>
            <a:ln w="9525" cap="flat">
              <a:noFill/>
              <a:prstDash val="solid"/>
              <a:miter/>
            </a:ln>
          </p:spPr>
          <p:txBody>
            <a:bodyPr rtlCol="0" anchor="ctr"/>
            <a:lstStyle/>
            <a:p>
              <a:endParaRPr lang="en-US"/>
            </a:p>
          </p:txBody>
        </p:sp>
        <p:sp>
          <p:nvSpPr>
            <p:cNvPr id="47" name="Freeform: Shape 30">
              <a:extLst>
                <a:ext uri="{FF2B5EF4-FFF2-40B4-BE49-F238E27FC236}">
                  <a16:creationId xmlns:a16="http://schemas.microsoft.com/office/drawing/2014/main" id="{2191D959-FE5B-BF4D-A6AB-9410DD86DFDF}"/>
                </a:ext>
              </a:extLst>
            </p:cNvPr>
            <p:cNvSpPr/>
            <p:nvPr/>
          </p:nvSpPr>
          <p:spPr>
            <a:xfrm>
              <a:off x="6164103" y="3090386"/>
              <a:ext cx="57150" cy="57150"/>
            </a:xfrm>
            <a:custGeom>
              <a:avLst/>
              <a:gdLst>
                <a:gd name="connsiteX0" fmla="*/ 56674 w 57150"/>
                <a:gd name="connsiteY0" fmla="*/ 31909 h 57150"/>
                <a:gd name="connsiteX1" fmla="*/ 31909 w 57150"/>
                <a:gd name="connsiteY1" fmla="*/ 56674 h 57150"/>
                <a:gd name="connsiteX2" fmla="*/ 7144 w 57150"/>
                <a:gd name="connsiteY2" fmla="*/ 31909 h 57150"/>
                <a:gd name="connsiteX3" fmla="*/ 31909 w 57150"/>
                <a:gd name="connsiteY3" fmla="*/ 7144 h 57150"/>
                <a:gd name="connsiteX4" fmla="*/ 56674 w 57150"/>
                <a:gd name="connsiteY4" fmla="*/ 3190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6674" y="31909"/>
                  </a:moveTo>
                  <a:cubicBezTo>
                    <a:pt x="56674" y="46196"/>
                    <a:pt x="45244" y="56674"/>
                    <a:pt x="31909" y="56674"/>
                  </a:cubicBezTo>
                  <a:cubicBezTo>
                    <a:pt x="17621" y="56674"/>
                    <a:pt x="7144" y="45244"/>
                    <a:pt x="7144" y="31909"/>
                  </a:cubicBezTo>
                  <a:cubicBezTo>
                    <a:pt x="7144" y="17621"/>
                    <a:pt x="18574" y="7144"/>
                    <a:pt x="31909" y="7144"/>
                  </a:cubicBezTo>
                  <a:cubicBezTo>
                    <a:pt x="45244" y="7144"/>
                    <a:pt x="56674" y="18574"/>
                    <a:pt x="56674" y="31909"/>
                  </a:cubicBezTo>
                  <a:close/>
                </a:path>
              </a:pathLst>
            </a:custGeom>
            <a:solidFill>
              <a:srgbClr val="004149"/>
            </a:solidFill>
            <a:ln w="9525" cap="flat">
              <a:noFill/>
              <a:prstDash val="solid"/>
              <a:miter/>
            </a:ln>
          </p:spPr>
          <p:txBody>
            <a:bodyPr rtlCol="0" anchor="ctr"/>
            <a:lstStyle/>
            <a:p>
              <a:endParaRPr lang="en-US"/>
            </a:p>
          </p:txBody>
        </p:sp>
        <p:sp>
          <p:nvSpPr>
            <p:cNvPr id="48" name="Freeform: Shape 31">
              <a:extLst>
                <a:ext uri="{FF2B5EF4-FFF2-40B4-BE49-F238E27FC236}">
                  <a16:creationId xmlns:a16="http://schemas.microsoft.com/office/drawing/2014/main" id="{53322A08-A85F-8F49-8227-24EC451D5D88}"/>
                </a:ext>
              </a:extLst>
            </p:cNvPr>
            <p:cNvSpPr/>
            <p:nvPr/>
          </p:nvSpPr>
          <p:spPr>
            <a:xfrm>
              <a:off x="5936456" y="3367563"/>
              <a:ext cx="276225" cy="66675"/>
            </a:xfrm>
            <a:custGeom>
              <a:avLst/>
              <a:gdLst>
                <a:gd name="connsiteX0" fmla="*/ 273844 w 276225"/>
                <a:gd name="connsiteY0" fmla="*/ 35719 h 66675"/>
                <a:gd name="connsiteX1" fmla="*/ 245269 w 276225"/>
                <a:gd name="connsiteY1" fmla="*/ 64294 h 66675"/>
                <a:gd name="connsiteX2" fmla="*/ 35719 w 276225"/>
                <a:gd name="connsiteY2" fmla="*/ 64294 h 66675"/>
                <a:gd name="connsiteX3" fmla="*/ 7144 w 276225"/>
                <a:gd name="connsiteY3" fmla="*/ 35719 h 66675"/>
                <a:gd name="connsiteX4" fmla="*/ 7144 w 276225"/>
                <a:gd name="connsiteY4" fmla="*/ 35719 h 66675"/>
                <a:gd name="connsiteX5" fmla="*/ 35719 w 276225"/>
                <a:gd name="connsiteY5" fmla="*/ 7144 h 66675"/>
                <a:gd name="connsiteX6" fmla="*/ 245269 w 276225"/>
                <a:gd name="connsiteY6" fmla="*/ 7144 h 66675"/>
                <a:gd name="connsiteX7" fmla="*/ 273844 w 276225"/>
                <a:gd name="connsiteY7" fmla="*/ 35719 h 66675"/>
                <a:gd name="connsiteX8" fmla="*/ 273844 w 276225"/>
                <a:gd name="connsiteY8" fmla="*/ 35719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225" h="66675">
                  <a:moveTo>
                    <a:pt x="273844" y="35719"/>
                  </a:moveTo>
                  <a:cubicBezTo>
                    <a:pt x="273844" y="50959"/>
                    <a:pt x="261461" y="64294"/>
                    <a:pt x="245269" y="64294"/>
                  </a:cubicBezTo>
                  <a:lnTo>
                    <a:pt x="35719" y="64294"/>
                  </a:lnTo>
                  <a:cubicBezTo>
                    <a:pt x="20479" y="64294"/>
                    <a:pt x="7144" y="51911"/>
                    <a:pt x="7144" y="35719"/>
                  </a:cubicBezTo>
                  <a:lnTo>
                    <a:pt x="7144" y="35719"/>
                  </a:lnTo>
                  <a:cubicBezTo>
                    <a:pt x="7144" y="20479"/>
                    <a:pt x="19526" y="7144"/>
                    <a:pt x="35719" y="7144"/>
                  </a:cubicBezTo>
                  <a:lnTo>
                    <a:pt x="245269" y="7144"/>
                  </a:lnTo>
                  <a:cubicBezTo>
                    <a:pt x="260509" y="7144"/>
                    <a:pt x="273844" y="19526"/>
                    <a:pt x="273844" y="35719"/>
                  </a:cubicBezTo>
                  <a:lnTo>
                    <a:pt x="273844" y="35719"/>
                  </a:lnTo>
                  <a:close/>
                </a:path>
              </a:pathLst>
            </a:custGeom>
            <a:solidFill>
              <a:schemeClr val="accent5"/>
            </a:solidFill>
            <a:ln w="9525" cap="flat">
              <a:noFill/>
              <a:prstDash val="solid"/>
              <a:miter/>
            </a:ln>
          </p:spPr>
          <p:txBody>
            <a:bodyPr rtlCol="0" anchor="ctr"/>
            <a:lstStyle/>
            <a:p>
              <a:endParaRPr lang="en-US"/>
            </a:p>
          </p:txBody>
        </p:sp>
        <p:sp>
          <p:nvSpPr>
            <p:cNvPr id="49" name="Freeform: Shape 32">
              <a:extLst>
                <a:ext uri="{FF2B5EF4-FFF2-40B4-BE49-F238E27FC236}">
                  <a16:creationId xmlns:a16="http://schemas.microsoft.com/office/drawing/2014/main" id="{35E30592-FE2B-7C4B-95A9-889B241228D5}"/>
                </a:ext>
              </a:extLst>
            </p:cNvPr>
            <p:cNvSpPr/>
            <p:nvPr/>
          </p:nvSpPr>
          <p:spPr>
            <a:xfrm>
              <a:off x="5853588" y="3629501"/>
              <a:ext cx="438150" cy="304800"/>
            </a:xfrm>
            <a:custGeom>
              <a:avLst/>
              <a:gdLst>
                <a:gd name="connsiteX0" fmla="*/ 392906 w 438150"/>
                <a:gd name="connsiteY0" fmla="*/ 298609 h 304800"/>
                <a:gd name="connsiteX1" fmla="*/ 48101 w 438150"/>
                <a:gd name="connsiteY1" fmla="*/ 298609 h 304800"/>
                <a:gd name="connsiteX2" fmla="*/ 7144 w 438150"/>
                <a:gd name="connsiteY2" fmla="*/ 257651 h 304800"/>
                <a:gd name="connsiteX3" fmla="*/ 7144 w 438150"/>
                <a:gd name="connsiteY3" fmla="*/ 48101 h 304800"/>
                <a:gd name="connsiteX4" fmla="*/ 48101 w 438150"/>
                <a:gd name="connsiteY4" fmla="*/ 7144 h 304800"/>
                <a:gd name="connsiteX5" fmla="*/ 393859 w 438150"/>
                <a:gd name="connsiteY5" fmla="*/ 7144 h 304800"/>
                <a:gd name="connsiteX6" fmla="*/ 434816 w 438150"/>
                <a:gd name="connsiteY6" fmla="*/ 48101 h 304800"/>
                <a:gd name="connsiteX7" fmla="*/ 434816 w 438150"/>
                <a:gd name="connsiteY7" fmla="*/ 257651 h 304800"/>
                <a:gd name="connsiteX8" fmla="*/ 392906 w 438150"/>
                <a:gd name="connsiteY8" fmla="*/ 298609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150" h="304800">
                  <a:moveTo>
                    <a:pt x="392906" y="298609"/>
                  </a:moveTo>
                  <a:lnTo>
                    <a:pt x="48101" y="298609"/>
                  </a:lnTo>
                  <a:cubicBezTo>
                    <a:pt x="26194" y="298609"/>
                    <a:pt x="7144" y="280511"/>
                    <a:pt x="7144" y="257651"/>
                  </a:cubicBezTo>
                  <a:lnTo>
                    <a:pt x="7144" y="48101"/>
                  </a:lnTo>
                  <a:cubicBezTo>
                    <a:pt x="7144" y="26194"/>
                    <a:pt x="25241" y="7144"/>
                    <a:pt x="48101" y="7144"/>
                  </a:cubicBezTo>
                  <a:lnTo>
                    <a:pt x="393859" y="7144"/>
                  </a:lnTo>
                  <a:cubicBezTo>
                    <a:pt x="415766" y="7144"/>
                    <a:pt x="434816" y="25241"/>
                    <a:pt x="434816" y="48101"/>
                  </a:cubicBezTo>
                  <a:lnTo>
                    <a:pt x="434816" y="257651"/>
                  </a:lnTo>
                  <a:cubicBezTo>
                    <a:pt x="433864" y="280511"/>
                    <a:pt x="414814" y="298609"/>
                    <a:pt x="392906" y="298609"/>
                  </a:cubicBezTo>
                  <a:close/>
                </a:path>
              </a:pathLst>
            </a:custGeom>
            <a:solidFill>
              <a:srgbClr val="004149"/>
            </a:solidFill>
            <a:ln w="9525" cap="flat">
              <a:noFill/>
              <a:prstDash val="solid"/>
              <a:miter/>
            </a:ln>
          </p:spPr>
          <p:txBody>
            <a:bodyPr rtlCol="0" anchor="ctr"/>
            <a:lstStyle/>
            <a:p>
              <a:endParaRPr lang="en-US"/>
            </a:p>
          </p:txBody>
        </p:sp>
      </p:grpSp>
      <p:sp>
        <p:nvSpPr>
          <p:cNvPr id="63" name="Freeform: Shape 34">
            <a:extLst>
              <a:ext uri="{FF2B5EF4-FFF2-40B4-BE49-F238E27FC236}">
                <a16:creationId xmlns:a16="http://schemas.microsoft.com/office/drawing/2014/main" id="{8D17200A-6577-5E4E-83F5-D7BF2BDD95DD}"/>
              </a:ext>
            </a:extLst>
          </p:cNvPr>
          <p:cNvSpPr/>
          <p:nvPr/>
        </p:nvSpPr>
        <p:spPr>
          <a:xfrm>
            <a:off x="8994778" y="1716195"/>
            <a:ext cx="2927626" cy="944737"/>
          </a:xfrm>
          <a:custGeom>
            <a:avLst/>
            <a:gdLst>
              <a:gd name="connsiteX0" fmla="*/ 858917 w 1888549"/>
              <a:gd name="connsiteY0" fmla="*/ 185738 h 775335"/>
              <a:gd name="connsiteX1" fmla="*/ 874990 w 1888549"/>
              <a:gd name="connsiteY1" fmla="*/ 192525 h 775335"/>
              <a:gd name="connsiteX2" fmla="*/ 876147 w 1888549"/>
              <a:gd name="connsiteY2" fmla="*/ 195263 h 775335"/>
              <a:gd name="connsiteX3" fmla="*/ 1272302 w 1888549"/>
              <a:gd name="connsiteY3" fmla="*/ 195263 h 775335"/>
              <a:gd name="connsiteX4" fmla="*/ 1449467 w 1888549"/>
              <a:gd name="connsiteY4" fmla="*/ 372428 h 775335"/>
              <a:gd name="connsiteX5" fmla="*/ 1529477 w 1888549"/>
              <a:gd name="connsiteY5" fmla="*/ 372428 h 775335"/>
              <a:gd name="connsiteX6" fmla="*/ 1598058 w 1888549"/>
              <a:gd name="connsiteY6" fmla="*/ 265748 h 775335"/>
              <a:gd name="connsiteX7" fmla="*/ 1790447 w 1888549"/>
              <a:gd name="connsiteY7" fmla="*/ 265748 h 775335"/>
              <a:gd name="connsiteX8" fmla="*/ 1793319 w 1888549"/>
              <a:gd name="connsiteY8" fmla="*/ 262890 h 775335"/>
              <a:gd name="connsiteX9" fmla="*/ 1796177 w 1888549"/>
              <a:gd name="connsiteY9" fmla="*/ 265748 h 775335"/>
              <a:gd name="connsiteX10" fmla="*/ 1888549 w 1888549"/>
              <a:gd name="connsiteY10" fmla="*/ 265748 h 775335"/>
              <a:gd name="connsiteX11" fmla="*/ 1888549 w 1888549"/>
              <a:gd name="connsiteY11" fmla="*/ 291465 h 775335"/>
              <a:gd name="connsiteX12" fmla="*/ 1800989 w 1888549"/>
              <a:gd name="connsiteY12" fmla="*/ 291465 h 775335"/>
              <a:gd name="connsiteX13" fmla="*/ 1614249 w 1888549"/>
              <a:gd name="connsiteY13" fmla="*/ 479107 h 775335"/>
              <a:gd name="connsiteX14" fmla="*/ 1321832 w 1888549"/>
              <a:gd name="connsiteY14" fmla="*/ 479107 h 775335"/>
              <a:gd name="connsiteX15" fmla="*/ 1088382 w 1888549"/>
              <a:gd name="connsiteY15" fmla="*/ 747795 h 775335"/>
              <a:gd name="connsiteX16" fmla="*/ 1090137 w 1888549"/>
              <a:gd name="connsiteY16" fmla="*/ 752118 h 775335"/>
              <a:gd name="connsiteX17" fmla="*/ 1083707 w 1888549"/>
              <a:gd name="connsiteY17" fmla="*/ 768667 h 775335"/>
              <a:gd name="connsiteX18" fmla="*/ 1067515 w 1888549"/>
              <a:gd name="connsiteY18" fmla="*/ 775335 h 775335"/>
              <a:gd name="connsiteX19" fmla="*/ 1051323 w 1888549"/>
              <a:gd name="connsiteY19" fmla="*/ 768667 h 775335"/>
              <a:gd name="connsiteX20" fmla="*/ 1044655 w 1888549"/>
              <a:gd name="connsiteY20" fmla="*/ 752475 h 775335"/>
              <a:gd name="connsiteX21" fmla="*/ 1051323 w 1888549"/>
              <a:gd name="connsiteY21" fmla="*/ 736282 h 775335"/>
              <a:gd name="connsiteX22" fmla="*/ 1067515 w 1888549"/>
              <a:gd name="connsiteY22" fmla="*/ 729615 h 775335"/>
              <a:gd name="connsiteX23" fmla="*/ 1069567 w 1888549"/>
              <a:gd name="connsiteY23" fmla="*/ 730460 h 775335"/>
              <a:gd name="connsiteX24" fmla="*/ 1310402 w 1888549"/>
              <a:gd name="connsiteY24" fmla="*/ 452437 h 775335"/>
              <a:gd name="connsiteX25" fmla="*/ 1602819 w 1888549"/>
              <a:gd name="connsiteY25" fmla="*/ 452437 h 775335"/>
              <a:gd name="connsiteX26" fmla="*/ 1764600 w 1888549"/>
              <a:gd name="connsiteY26" fmla="*/ 291465 h 775335"/>
              <a:gd name="connsiteX27" fmla="*/ 1611392 w 1888549"/>
              <a:gd name="connsiteY27" fmla="*/ 291465 h 775335"/>
              <a:gd name="connsiteX28" fmla="*/ 1542813 w 1888549"/>
              <a:gd name="connsiteY28" fmla="*/ 398145 h 775335"/>
              <a:gd name="connsiteX29" fmla="*/ 1442800 w 1888549"/>
              <a:gd name="connsiteY29" fmla="*/ 398145 h 775335"/>
              <a:gd name="connsiteX30" fmla="*/ 1440895 w 1888549"/>
              <a:gd name="connsiteY30" fmla="*/ 400050 h 775335"/>
              <a:gd name="connsiteX31" fmla="*/ 1438990 w 1888549"/>
              <a:gd name="connsiteY31" fmla="*/ 398145 h 775335"/>
              <a:gd name="connsiteX32" fmla="*/ 1159908 w 1888549"/>
              <a:gd name="connsiteY32" fmla="*/ 398145 h 775335"/>
              <a:gd name="connsiteX33" fmla="*/ 1135200 w 1888549"/>
              <a:gd name="connsiteY33" fmla="*/ 368334 h 775335"/>
              <a:gd name="connsiteX34" fmla="*/ 1064657 w 1888549"/>
              <a:gd name="connsiteY34" fmla="*/ 438150 h 775335"/>
              <a:gd name="connsiteX35" fmla="*/ 814637 w 1888549"/>
              <a:gd name="connsiteY35" fmla="*/ 438150 h 775335"/>
              <a:gd name="connsiteX36" fmla="*/ 813078 w 1888549"/>
              <a:gd name="connsiteY36" fmla="*/ 441842 h 775335"/>
              <a:gd name="connsiteX37" fmla="*/ 797005 w 1888549"/>
              <a:gd name="connsiteY37" fmla="*/ 448628 h 775335"/>
              <a:gd name="connsiteX38" fmla="*/ 774145 w 1888549"/>
              <a:gd name="connsiteY38" fmla="*/ 425768 h 775335"/>
              <a:gd name="connsiteX39" fmla="*/ 797005 w 1888549"/>
              <a:gd name="connsiteY39" fmla="*/ 402908 h 775335"/>
              <a:gd name="connsiteX40" fmla="*/ 813078 w 1888549"/>
              <a:gd name="connsiteY40" fmla="*/ 409695 h 775335"/>
              <a:gd name="connsiteX41" fmla="*/ 814234 w 1888549"/>
              <a:gd name="connsiteY41" fmla="*/ 412432 h 775335"/>
              <a:gd name="connsiteX42" fmla="*/ 1053227 w 1888549"/>
              <a:gd name="connsiteY42" fmla="*/ 412432 h 775335"/>
              <a:gd name="connsiteX43" fmla="*/ 1118035 w 1888549"/>
              <a:gd name="connsiteY43" fmla="*/ 347625 h 775335"/>
              <a:gd name="connsiteX44" fmla="*/ 1072278 w 1888549"/>
              <a:gd name="connsiteY44" fmla="*/ 292418 h 775335"/>
              <a:gd name="connsiteX45" fmla="*/ 1019035 w 1888549"/>
              <a:gd name="connsiteY45" fmla="*/ 292418 h 775335"/>
              <a:gd name="connsiteX46" fmla="*/ 929403 w 1888549"/>
              <a:gd name="connsiteY46" fmla="*/ 382905 h 775335"/>
              <a:gd name="connsiteX47" fmla="*/ 662702 w 1888549"/>
              <a:gd name="connsiteY47" fmla="*/ 382905 h 775335"/>
              <a:gd name="connsiteX48" fmla="*/ 493157 w 1888549"/>
              <a:gd name="connsiteY48" fmla="*/ 552450 h 775335"/>
              <a:gd name="connsiteX49" fmla="*/ 321708 w 1888549"/>
              <a:gd name="connsiteY49" fmla="*/ 552450 h 775335"/>
              <a:gd name="connsiteX50" fmla="*/ 43766 w 1888549"/>
              <a:gd name="connsiteY50" fmla="*/ 694962 h 775335"/>
              <a:gd name="connsiteX51" fmla="*/ 38814 w 1888549"/>
              <a:gd name="connsiteY51" fmla="*/ 707707 h 775335"/>
              <a:gd name="connsiteX52" fmla="*/ 22622 w 1888549"/>
              <a:gd name="connsiteY52" fmla="*/ 714375 h 775335"/>
              <a:gd name="connsiteX53" fmla="*/ 6429 w 1888549"/>
              <a:gd name="connsiteY53" fmla="*/ 707707 h 775335"/>
              <a:gd name="connsiteX54" fmla="*/ 6429 w 1888549"/>
              <a:gd name="connsiteY54" fmla="*/ 675322 h 775335"/>
              <a:gd name="connsiteX55" fmla="*/ 22622 w 1888549"/>
              <a:gd name="connsiteY55" fmla="*/ 668655 h 775335"/>
              <a:gd name="connsiteX56" fmla="*/ 31555 w 1888549"/>
              <a:gd name="connsiteY56" fmla="*/ 672333 h 775335"/>
              <a:gd name="connsiteX57" fmla="*/ 314088 w 1888549"/>
              <a:gd name="connsiteY57" fmla="*/ 526733 h 775335"/>
              <a:gd name="connsiteX58" fmla="*/ 481728 w 1888549"/>
              <a:gd name="connsiteY58" fmla="*/ 526733 h 775335"/>
              <a:gd name="connsiteX59" fmla="*/ 652224 w 1888549"/>
              <a:gd name="connsiteY59" fmla="*/ 356235 h 775335"/>
              <a:gd name="connsiteX60" fmla="*/ 917972 w 1888549"/>
              <a:gd name="connsiteY60" fmla="*/ 356235 h 775335"/>
              <a:gd name="connsiteX61" fmla="*/ 982448 w 1888549"/>
              <a:gd name="connsiteY61" fmla="*/ 292418 h 775335"/>
              <a:gd name="connsiteX62" fmla="*/ 487443 w 1888549"/>
              <a:gd name="connsiteY62" fmla="*/ 292418 h 775335"/>
              <a:gd name="connsiteX63" fmla="*/ 137060 w 1888549"/>
              <a:gd name="connsiteY63" fmla="*/ 470305 h 775335"/>
              <a:gd name="connsiteX64" fmla="*/ 132160 w 1888549"/>
              <a:gd name="connsiteY64" fmla="*/ 482917 h 775335"/>
              <a:gd name="connsiteX65" fmla="*/ 115968 w 1888549"/>
              <a:gd name="connsiteY65" fmla="*/ 489585 h 775335"/>
              <a:gd name="connsiteX66" fmla="*/ 99775 w 1888549"/>
              <a:gd name="connsiteY66" fmla="*/ 482917 h 775335"/>
              <a:gd name="connsiteX67" fmla="*/ 99775 w 1888549"/>
              <a:gd name="connsiteY67" fmla="*/ 450532 h 775335"/>
              <a:gd name="connsiteX68" fmla="*/ 115968 w 1888549"/>
              <a:gd name="connsiteY68" fmla="*/ 443865 h 775335"/>
              <a:gd name="connsiteX69" fmla="*/ 125063 w 1888549"/>
              <a:gd name="connsiteY69" fmla="*/ 447610 h 775335"/>
              <a:gd name="connsiteX70" fmla="*/ 479823 w 1888549"/>
              <a:gd name="connsiteY70" fmla="*/ 266700 h 775335"/>
              <a:gd name="connsiteX71" fmla="*/ 1008431 w 1888549"/>
              <a:gd name="connsiteY71" fmla="*/ 266700 h 775335"/>
              <a:gd name="connsiteX72" fmla="*/ 1011317 w 1888549"/>
              <a:gd name="connsiteY72" fmla="*/ 263843 h 775335"/>
              <a:gd name="connsiteX73" fmla="*/ 1014174 w 1888549"/>
              <a:gd name="connsiteY73" fmla="*/ 266700 h 775335"/>
              <a:gd name="connsiteX74" fmla="*/ 1084660 w 1888549"/>
              <a:gd name="connsiteY74" fmla="*/ 266700 h 775335"/>
              <a:gd name="connsiteX75" fmla="*/ 1136151 w 1888549"/>
              <a:gd name="connsiteY75" fmla="*/ 329508 h 775335"/>
              <a:gd name="connsiteX76" fmla="*/ 1137999 w 1888549"/>
              <a:gd name="connsiteY76" fmla="*/ 327660 h 775335"/>
              <a:gd name="connsiteX77" fmla="*/ 1157049 w 1888549"/>
              <a:gd name="connsiteY77" fmla="*/ 346710 h 775335"/>
              <a:gd name="connsiteX78" fmla="*/ 1153297 w 1888549"/>
              <a:gd name="connsiteY78" fmla="*/ 350423 h 775335"/>
              <a:gd name="connsiteX79" fmla="*/ 1171338 w 1888549"/>
              <a:gd name="connsiteY79" fmla="*/ 372428 h 775335"/>
              <a:gd name="connsiteX80" fmla="*/ 1413273 w 1888549"/>
              <a:gd name="connsiteY80" fmla="*/ 372428 h 775335"/>
              <a:gd name="connsiteX81" fmla="*/ 1261825 w 1888549"/>
              <a:gd name="connsiteY81" fmla="*/ 220980 h 775335"/>
              <a:gd name="connsiteX82" fmla="*/ 876549 w 1888549"/>
              <a:gd name="connsiteY82" fmla="*/ 220980 h 775335"/>
              <a:gd name="connsiteX83" fmla="*/ 874990 w 1888549"/>
              <a:gd name="connsiteY83" fmla="*/ 224672 h 775335"/>
              <a:gd name="connsiteX84" fmla="*/ 858917 w 1888549"/>
              <a:gd name="connsiteY84" fmla="*/ 231458 h 775335"/>
              <a:gd name="connsiteX85" fmla="*/ 836057 w 1888549"/>
              <a:gd name="connsiteY85" fmla="*/ 208598 h 775335"/>
              <a:gd name="connsiteX86" fmla="*/ 858917 w 1888549"/>
              <a:gd name="connsiteY86" fmla="*/ 185738 h 775335"/>
              <a:gd name="connsiteX87" fmla="*/ 271226 w 1888549"/>
              <a:gd name="connsiteY87" fmla="*/ 0 h 775335"/>
              <a:gd name="connsiteX88" fmla="*/ 287390 w 1888549"/>
              <a:gd name="connsiteY88" fmla="*/ 6695 h 775335"/>
              <a:gd name="connsiteX89" fmla="*/ 288562 w 1888549"/>
              <a:gd name="connsiteY89" fmla="*/ 9525 h 775335"/>
              <a:gd name="connsiteX90" fmla="*/ 369333 w 1888549"/>
              <a:gd name="connsiteY90" fmla="*/ 9525 h 775335"/>
              <a:gd name="connsiteX91" fmla="*/ 489348 w 1888549"/>
              <a:gd name="connsiteY91" fmla="*/ 130492 h 775335"/>
              <a:gd name="connsiteX92" fmla="*/ 1072278 w 1888549"/>
              <a:gd name="connsiteY92" fmla="*/ 130492 h 775335"/>
              <a:gd name="connsiteX93" fmla="*/ 1139905 w 1888549"/>
              <a:gd name="connsiteY93" fmla="*/ 23812 h 775335"/>
              <a:gd name="connsiteX94" fmla="*/ 1284828 w 1888549"/>
              <a:gd name="connsiteY94" fmla="*/ 23812 h 775335"/>
              <a:gd name="connsiteX95" fmla="*/ 1287542 w 1888549"/>
              <a:gd name="connsiteY95" fmla="*/ 20955 h 775335"/>
              <a:gd name="connsiteX96" fmla="*/ 1290384 w 1888549"/>
              <a:gd name="connsiteY96" fmla="*/ 23812 h 775335"/>
              <a:gd name="connsiteX97" fmla="*/ 1553289 w 1888549"/>
              <a:gd name="connsiteY97" fmla="*/ 23812 h 775335"/>
              <a:gd name="connsiteX98" fmla="*/ 1612344 w 1888549"/>
              <a:gd name="connsiteY98" fmla="*/ 131445 h 775335"/>
              <a:gd name="connsiteX99" fmla="*/ 1888549 w 1888549"/>
              <a:gd name="connsiteY99" fmla="*/ 131445 h 775335"/>
              <a:gd name="connsiteX100" fmla="*/ 1888549 w 1888549"/>
              <a:gd name="connsiteY100" fmla="*/ 157162 h 775335"/>
              <a:gd name="connsiteX101" fmla="*/ 1598058 w 1888549"/>
              <a:gd name="connsiteY101" fmla="*/ 157162 h 775335"/>
              <a:gd name="connsiteX102" fmla="*/ 1539002 w 1888549"/>
              <a:gd name="connsiteY102" fmla="*/ 50482 h 775335"/>
              <a:gd name="connsiteX103" fmla="*/ 1316918 w 1888549"/>
              <a:gd name="connsiteY103" fmla="*/ 50482 h 775335"/>
              <a:gd name="connsiteX104" fmla="*/ 1472327 w 1888549"/>
              <a:gd name="connsiteY104" fmla="*/ 206692 h 775335"/>
              <a:gd name="connsiteX105" fmla="*/ 1888549 w 1888549"/>
              <a:gd name="connsiteY105" fmla="*/ 206692 h 775335"/>
              <a:gd name="connsiteX106" fmla="*/ 1888549 w 1888549"/>
              <a:gd name="connsiteY106" fmla="*/ 233054 h 775335"/>
              <a:gd name="connsiteX107" fmla="*/ 1461850 w 1888549"/>
              <a:gd name="connsiteY107" fmla="*/ 232410 h 775335"/>
              <a:gd name="connsiteX108" fmla="*/ 1279922 w 1888549"/>
              <a:gd name="connsiteY108" fmla="*/ 50482 h 775335"/>
              <a:gd name="connsiteX109" fmla="*/ 1153240 w 1888549"/>
              <a:gd name="connsiteY109" fmla="*/ 50482 h 775335"/>
              <a:gd name="connsiteX110" fmla="*/ 1085613 w 1888549"/>
              <a:gd name="connsiteY110" fmla="*/ 156210 h 775335"/>
              <a:gd name="connsiteX111" fmla="*/ 478870 w 1888549"/>
              <a:gd name="connsiteY111" fmla="*/ 156210 h 775335"/>
              <a:gd name="connsiteX112" fmla="*/ 357903 w 1888549"/>
              <a:gd name="connsiteY112" fmla="*/ 36195 h 775335"/>
              <a:gd name="connsiteX113" fmla="*/ 288562 w 1888549"/>
              <a:gd name="connsiteY113" fmla="*/ 36195 h 775335"/>
              <a:gd name="connsiteX114" fmla="*/ 287390 w 1888549"/>
              <a:gd name="connsiteY114" fmla="*/ 39024 h 775335"/>
              <a:gd name="connsiteX115" fmla="*/ 271226 w 1888549"/>
              <a:gd name="connsiteY115" fmla="*/ 45720 h 775335"/>
              <a:gd name="connsiteX116" fmla="*/ 248366 w 1888549"/>
              <a:gd name="connsiteY116" fmla="*/ 22860 h 775335"/>
              <a:gd name="connsiteX117" fmla="*/ 271226 w 1888549"/>
              <a:gd name="connsiteY117" fmla="*/ 0 h 77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888549" h="775335">
                <a:moveTo>
                  <a:pt x="858917" y="185738"/>
                </a:moveTo>
                <a:cubicBezTo>
                  <a:pt x="865108" y="185738"/>
                  <a:pt x="870823" y="188357"/>
                  <a:pt x="874990" y="192525"/>
                </a:cubicBezTo>
                <a:lnTo>
                  <a:pt x="876147" y="195263"/>
                </a:lnTo>
                <a:lnTo>
                  <a:pt x="1272302" y="195263"/>
                </a:lnTo>
                <a:lnTo>
                  <a:pt x="1449467" y="372428"/>
                </a:lnTo>
                <a:lnTo>
                  <a:pt x="1529477" y="372428"/>
                </a:lnTo>
                <a:lnTo>
                  <a:pt x="1598058" y="265748"/>
                </a:lnTo>
                <a:lnTo>
                  <a:pt x="1790447" y="265748"/>
                </a:lnTo>
                <a:lnTo>
                  <a:pt x="1793319" y="262890"/>
                </a:lnTo>
                <a:lnTo>
                  <a:pt x="1796177" y="265748"/>
                </a:lnTo>
                <a:lnTo>
                  <a:pt x="1888549" y="265748"/>
                </a:lnTo>
                <a:lnTo>
                  <a:pt x="1888549" y="291465"/>
                </a:lnTo>
                <a:lnTo>
                  <a:pt x="1800989" y="291465"/>
                </a:lnTo>
                <a:lnTo>
                  <a:pt x="1614249" y="479107"/>
                </a:lnTo>
                <a:lnTo>
                  <a:pt x="1321832" y="479107"/>
                </a:lnTo>
                <a:lnTo>
                  <a:pt x="1088382" y="747795"/>
                </a:lnTo>
                <a:lnTo>
                  <a:pt x="1090137" y="752118"/>
                </a:lnTo>
                <a:cubicBezTo>
                  <a:pt x="1090137" y="757952"/>
                  <a:pt x="1087994" y="763905"/>
                  <a:pt x="1083707" y="768667"/>
                </a:cubicBezTo>
                <a:cubicBezTo>
                  <a:pt x="1078946" y="773430"/>
                  <a:pt x="1073230" y="775335"/>
                  <a:pt x="1067515" y="775335"/>
                </a:cubicBezTo>
                <a:cubicBezTo>
                  <a:pt x="1061801" y="775335"/>
                  <a:pt x="1056085" y="773430"/>
                  <a:pt x="1051323" y="768667"/>
                </a:cubicBezTo>
                <a:cubicBezTo>
                  <a:pt x="1046561" y="764857"/>
                  <a:pt x="1044655" y="759142"/>
                  <a:pt x="1044655" y="752475"/>
                </a:cubicBezTo>
                <a:cubicBezTo>
                  <a:pt x="1044655" y="746760"/>
                  <a:pt x="1046561" y="741045"/>
                  <a:pt x="1051323" y="736282"/>
                </a:cubicBezTo>
                <a:cubicBezTo>
                  <a:pt x="1055133" y="732472"/>
                  <a:pt x="1060848" y="729615"/>
                  <a:pt x="1067515" y="729615"/>
                </a:cubicBezTo>
                <a:lnTo>
                  <a:pt x="1069567" y="730460"/>
                </a:lnTo>
                <a:lnTo>
                  <a:pt x="1310402" y="452437"/>
                </a:lnTo>
                <a:lnTo>
                  <a:pt x="1602819" y="452437"/>
                </a:lnTo>
                <a:lnTo>
                  <a:pt x="1764600" y="291465"/>
                </a:lnTo>
                <a:lnTo>
                  <a:pt x="1611392" y="291465"/>
                </a:lnTo>
                <a:lnTo>
                  <a:pt x="1542813" y="398145"/>
                </a:lnTo>
                <a:lnTo>
                  <a:pt x="1442800" y="398145"/>
                </a:lnTo>
                <a:lnTo>
                  <a:pt x="1440895" y="400050"/>
                </a:lnTo>
                <a:lnTo>
                  <a:pt x="1438990" y="398145"/>
                </a:lnTo>
                <a:lnTo>
                  <a:pt x="1159908" y="398145"/>
                </a:lnTo>
                <a:lnTo>
                  <a:pt x="1135200" y="368334"/>
                </a:lnTo>
                <a:lnTo>
                  <a:pt x="1064657" y="438150"/>
                </a:lnTo>
                <a:lnTo>
                  <a:pt x="814637" y="438150"/>
                </a:lnTo>
                <a:lnTo>
                  <a:pt x="813078" y="441842"/>
                </a:lnTo>
                <a:cubicBezTo>
                  <a:pt x="808911" y="446009"/>
                  <a:pt x="803196" y="448628"/>
                  <a:pt x="797005" y="448628"/>
                </a:cubicBezTo>
                <a:cubicBezTo>
                  <a:pt x="784622" y="448628"/>
                  <a:pt x="774145" y="438150"/>
                  <a:pt x="774145" y="425768"/>
                </a:cubicBezTo>
                <a:cubicBezTo>
                  <a:pt x="774145" y="413385"/>
                  <a:pt x="784622" y="402908"/>
                  <a:pt x="797005" y="402908"/>
                </a:cubicBezTo>
                <a:cubicBezTo>
                  <a:pt x="803196" y="402908"/>
                  <a:pt x="808911" y="405527"/>
                  <a:pt x="813078" y="409695"/>
                </a:cubicBezTo>
                <a:lnTo>
                  <a:pt x="814234" y="412432"/>
                </a:lnTo>
                <a:lnTo>
                  <a:pt x="1053227" y="412432"/>
                </a:lnTo>
                <a:lnTo>
                  <a:pt x="1118035" y="347625"/>
                </a:lnTo>
                <a:lnTo>
                  <a:pt x="1072278" y="292418"/>
                </a:lnTo>
                <a:lnTo>
                  <a:pt x="1019035" y="292418"/>
                </a:lnTo>
                <a:lnTo>
                  <a:pt x="929403" y="382905"/>
                </a:lnTo>
                <a:lnTo>
                  <a:pt x="662702" y="382905"/>
                </a:lnTo>
                <a:lnTo>
                  <a:pt x="493157" y="552450"/>
                </a:lnTo>
                <a:lnTo>
                  <a:pt x="321708" y="552450"/>
                </a:lnTo>
                <a:lnTo>
                  <a:pt x="43766" y="694962"/>
                </a:lnTo>
                <a:lnTo>
                  <a:pt x="38814" y="707707"/>
                </a:lnTo>
                <a:cubicBezTo>
                  <a:pt x="34052" y="711517"/>
                  <a:pt x="28337" y="714375"/>
                  <a:pt x="22622" y="714375"/>
                </a:cubicBezTo>
                <a:cubicBezTo>
                  <a:pt x="16907" y="714375"/>
                  <a:pt x="11192" y="712470"/>
                  <a:pt x="6429" y="707707"/>
                </a:cubicBezTo>
                <a:cubicBezTo>
                  <a:pt x="-2143" y="699135"/>
                  <a:pt x="-2143" y="684847"/>
                  <a:pt x="6429" y="675322"/>
                </a:cubicBezTo>
                <a:cubicBezTo>
                  <a:pt x="10239" y="670560"/>
                  <a:pt x="15954" y="668655"/>
                  <a:pt x="22622" y="668655"/>
                </a:cubicBezTo>
                <a:lnTo>
                  <a:pt x="31555" y="672333"/>
                </a:lnTo>
                <a:lnTo>
                  <a:pt x="314088" y="526733"/>
                </a:lnTo>
                <a:lnTo>
                  <a:pt x="481728" y="526733"/>
                </a:lnTo>
                <a:lnTo>
                  <a:pt x="652224" y="356235"/>
                </a:lnTo>
                <a:lnTo>
                  <a:pt x="917972" y="356235"/>
                </a:lnTo>
                <a:lnTo>
                  <a:pt x="982448" y="292418"/>
                </a:lnTo>
                <a:lnTo>
                  <a:pt x="487443" y="292418"/>
                </a:lnTo>
                <a:lnTo>
                  <a:pt x="137060" y="470305"/>
                </a:lnTo>
                <a:lnTo>
                  <a:pt x="132160" y="482917"/>
                </a:lnTo>
                <a:cubicBezTo>
                  <a:pt x="127398" y="486727"/>
                  <a:pt x="121683" y="489585"/>
                  <a:pt x="115968" y="489585"/>
                </a:cubicBezTo>
                <a:cubicBezTo>
                  <a:pt x="110253" y="489585"/>
                  <a:pt x="104538" y="487680"/>
                  <a:pt x="99775" y="482917"/>
                </a:cubicBezTo>
                <a:cubicBezTo>
                  <a:pt x="91203" y="474345"/>
                  <a:pt x="91203" y="460057"/>
                  <a:pt x="99775" y="450532"/>
                </a:cubicBezTo>
                <a:cubicBezTo>
                  <a:pt x="104538" y="445770"/>
                  <a:pt x="109300" y="443865"/>
                  <a:pt x="115968" y="443865"/>
                </a:cubicBezTo>
                <a:lnTo>
                  <a:pt x="125063" y="447610"/>
                </a:lnTo>
                <a:lnTo>
                  <a:pt x="479823" y="266700"/>
                </a:lnTo>
                <a:lnTo>
                  <a:pt x="1008431" y="266700"/>
                </a:lnTo>
                <a:lnTo>
                  <a:pt x="1011317" y="263843"/>
                </a:lnTo>
                <a:lnTo>
                  <a:pt x="1014174" y="266700"/>
                </a:lnTo>
                <a:lnTo>
                  <a:pt x="1084660" y="266700"/>
                </a:lnTo>
                <a:lnTo>
                  <a:pt x="1136151" y="329508"/>
                </a:lnTo>
                <a:lnTo>
                  <a:pt x="1137999" y="327660"/>
                </a:lnTo>
                <a:lnTo>
                  <a:pt x="1157049" y="346710"/>
                </a:lnTo>
                <a:lnTo>
                  <a:pt x="1153297" y="350423"/>
                </a:lnTo>
                <a:lnTo>
                  <a:pt x="1171338" y="372428"/>
                </a:lnTo>
                <a:lnTo>
                  <a:pt x="1413273" y="372428"/>
                </a:lnTo>
                <a:lnTo>
                  <a:pt x="1261825" y="220980"/>
                </a:lnTo>
                <a:lnTo>
                  <a:pt x="876549" y="220980"/>
                </a:lnTo>
                <a:lnTo>
                  <a:pt x="874990" y="224672"/>
                </a:lnTo>
                <a:cubicBezTo>
                  <a:pt x="870823" y="228839"/>
                  <a:pt x="865108" y="231458"/>
                  <a:pt x="858917" y="231458"/>
                </a:cubicBezTo>
                <a:cubicBezTo>
                  <a:pt x="846534" y="231458"/>
                  <a:pt x="836057" y="220980"/>
                  <a:pt x="836057" y="208598"/>
                </a:cubicBezTo>
                <a:cubicBezTo>
                  <a:pt x="836057" y="196215"/>
                  <a:pt x="846534" y="185738"/>
                  <a:pt x="858917" y="185738"/>
                </a:cubicBezTo>
                <a:close/>
                <a:moveTo>
                  <a:pt x="271226" y="0"/>
                </a:moveTo>
                <a:cubicBezTo>
                  <a:pt x="277538" y="0"/>
                  <a:pt x="283253" y="2559"/>
                  <a:pt x="287390" y="6695"/>
                </a:cubicBezTo>
                <a:lnTo>
                  <a:pt x="288562" y="9525"/>
                </a:lnTo>
                <a:lnTo>
                  <a:pt x="369333" y="9525"/>
                </a:lnTo>
                <a:lnTo>
                  <a:pt x="489348" y="130492"/>
                </a:lnTo>
                <a:lnTo>
                  <a:pt x="1072278" y="130492"/>
                </a:lnTo>
                <a:lnTo>
                  <a:pt x="1139905" y="23812"/>
                </a:lnTo>
                <a:lnTo>
                  <a:pt x="1284828" y="23812"/>
                </a:lnTo>
                <a:lnTo>
                  <a:pt x="1287542" y="20955"/>
                </a:lnTo>
                <a:lnTo>
                  <a:pt x="1290384" y="23812"/>
                </a:lnTo>
                <a:lnTo>
                  <a:pt x="1553289" y="23812"/>
                </a:lnTo>
                <a:lnTo>
                  <a:pt x="1612344" y="131445"/>
                </a:lnTo>
                <a:lnTo>
                  <a:pt x="1888549" y="131445"/>
                </a:lnTo>
                <a:lnTo>
                  <a:pt x="1888549" y="157162"/>
                </a:lnTo>
                <a:lnTo>
                  <a:pt x="1598058" y="157162"/>
                </a:lnTo>
                <a:lnTo>
                  <a:pt x="1539002" y="50482"/>
                </a:lnTo>
                <a:lnTo>
                  <a:pt x="1316918" y="50482"/>
                </a:lnTo>
                <a:lnTo>
                  <a:pt x="1472327" y="206692"/>
                </a:lnTo>
                <a:lnTo>
                  <a:pt x="1888549" y="206692"/>
                </a:lnTo>
                <a:lnTo>
                  <a:pt x="1888549" y="233054"/>
                </a:lnTo>
                <a:lnTo>
                  <a:pt x="1461850" y="232410"/>
                </a:lnTo>
                <a:lnTo>
                  <a:pt x="1279922" y="50482"/>
                </a:lnTo>
                <a:lnTo>
                  <a:pt x="1153240" y="50482"/>
                </a:lnTo>
                <a:lnTo>
                  <a:pt x="1085613" y="156210"/>
                </a:lnTo>
                <a:lnTo>
                  <a:pt x="478870" y="156210"/>
                </a:lnTo>
                <a:lnTo>
                  <a:pt x="357903" y="36195"/>
                </a:lnTo>
                <a:lnTo>
                  <a:pt x="288562" y="36195"/>
                </a:lnTo>
                <a:lnTo>
                  <a:pt x="287390" y="39024"/>
                </a:lnTo>
                <a:cubicBezTo>
                  <a:pt x="283253" y="43161"/>
                  <a:pt x="277538" y="45720"/>
                  <a:pt x="271226" y="45720"/>
                </a:cubicBezTo>
                <a:cubicBezTo>
                  <a:pt x="258601" y="45720"/>
                  <a:pt x="248366" y="35485"/>
                  <a:pt x="248366" y="22860"/>
                </a:cubicBezTo>
                <a:cubicBezTo>
                  <a:pt x="248366" y="10235"/>
                  <a:pt x="258601" y="0"/>
                  <a:pt x="271226" y="0"/>
                </a:cubicBezTo>
                <a:close/>
              </a:path>
            </a:pathLst>
          </a:custGeom>
          <a:solidFill>
            <a:srgbClr val="004149"/>
          </a:solidFill>
          <a:ln w="9525" cap="flat">
            <a:noFill/>
            <a:prstDash val="solid"/>
            <a:miter/>
          </a:ln>
        </p:spPr>
        <p:txBody>
          <a:bodyPr rtlCol="0" anchor="ctr"/>
          <a:lstStyle/>
          <a:p>
            <a:endParaRPr lang="en-US"/>
          </a:p>
        </p:txBody>
      </p:sp>
      <p:grpSp>
        <p:nvGrpSpPr>
          <p:cNvPr id="130" name="Group 129">
            <a:extLst>
              <a:ext uri="{FF2B5EF4-FFF2-40B4-BE49-F238E27FC236}">
                <a16:creationId xmlns:a16="http://schemas.microsoft.com/office/drawing/2014/main" id="{AAB8D4F3-DA21-6843-9B44-16054E9C9A61}"/>
              </a:ext>
            </a:extLst>
          </p:cNvPr>
          <p:cNvGrpSpPr/>
          <p:nvPr/>
        </p:nvGrpSpPr>
        <p:grpSpPr>
          <a:xfrm>
            <a:off x="3265719" y="1790797"/>
            <a:ext cx="661791" cy="1023494"/>
            <a:chOff x="3265719" y="1790797"/>
            <a:chExt cx="661791" cy="1023494"/>
          </a:xfrm>
        </p:grpSpPr>
        <p:grpSp>
          <p:nvGrpSpPr>
            <p:cNvPr id="73" name="Group 72">
              <a:extLst>
                <a:ext uri="{FF2B5EF4-FFF2-40B4-BE49-F238E27FC236}">
                  <a16:creationId xmlns:a16="http://schemas.microsoft.com/office/drawing/2014/main" id="{AA0690B2-70BB-434D-8009-8947F13C321C}"/>
                </a:ext>
              </a:extLst>
            </p:cNvPr>
            <p:cNvGrpSpPr/>
            <p:nvPr/>
          </p:nvGrpSpPr>
          <p:grpSpPr>
            <a:xfrm flipH="1">
              <a:off x="3458379" y="2549235"/>
              <a:ext cx="276470" cy="265056"/>
              <a:chOff x="4964627" y="3703863"/>
              <a:chExt cx="393594" cy="377344"/>
            </a:xfrm>
            <a:solidFill>
              <a:schemeClr val="tx2">
                <a:lumMod val="50000"/>
                <a:alpha val="70000"/>
              </a:schemeClr>
            </a:solidFill>
          </p:grpSpPr>
          <p:sp>
            <p:nvSpPr>
              <p:cNvPr id="74" name="Oval 1">
                <a:extLst>
                  <a:ext uri="{FF2B5EF4-FFF2-40B4-BE49-F238E27FC236}">
                    <a16:creationId xmlns:a16="http://schemas.microsoft.com/office/drawing/2014/main" id="{E2E702BA-EE8E-AE4F-8732-3A74D9C6A169}"/>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5" name="Oval 1">
                <a:extLst>
                  <a:ext uri="{FF2B5EF4-FFF2-40B4-BE49-F238E27FC236}">
                    <a16:creationId xmlns:a16="http://schemas.microsoft.com/office/drawing/2014/main" id="{FB55B9B0-4924-0B40-A499-425FE4E87012}"/>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6" name="Oval 1">
                <a:extLst>
                  <a:ext uri="{FF2B5EF4-FFF2-40B4-BE49-F238E27FC236}">
                    <a16:creationId xmlns:a16="http://schemas.microsoft.com/office/drawing/2014/main" id="{D87D1D6D-67BB-2246-8352-2034FF0638A3}"/>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7" name="Oval 1">
                <a:extLst>
                  <a:ext uri="{FF2B5EF4-FFF2-40B4-BE49-F238E27FC236}">
                    <a16:creationId xmlns:a16="http://schemas.microsoft.com/office/drawing/2014/main" id="{DF4DA67D-2C0A-5140-9B1D-E2626442CCD4}"/>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78" name="Oval 3">
              <a:extLst>
                <a:ext uri="{FF2B5EF4-FFF2-40B4-BE49-F238E27FC236}">
                  <a16:creationId xmlns:a16="http://schemas.microsoft.com/office/drawing/2014/main" id="{26704E7B-6D40-824F-AE86-95C5B13BDCE9}"/>
                </a:ext>
              </a:extLst>
            </p:cNvPr>
            <p:cNvSpPr/>
            <p:nvPr/>
          </p:nvSpPr>
          <p:spPr>
            <a:xfrm>
              <a:off x="3265719" y="1790797"/>
              <a:ext cx="661791" cy="730083"/>
            </a:xfrm>
            <a:custGeom>
              <a:avLst/>
              <a:gdLst/>
              <a:ahLst/>
              <a:cxnLst/>
              <a:rect l="l" t="t" r="r" b="b"/>
              <a:pathLst>
                <a:path w="790861" h="872472">
                  <a:moveTo>
                    <a:pt x="394689" y="0"/>
                  </a:moveTo>
                  <a:lnTo>
                    <a:pt x="395430" y="57"/>
                  </a:lnTo>
                  <a:lnTo>
                    <a:pt x="396172" y="0"/>
                  </a:lnTo>
                  <a:cubicBezTo>
                    <a:pt x="614153" y="0"/>
                    <a:pt x="790861" y="176708"/>
                    <a:pt x="790861" y="394689"/>
                  </a:cubicBezTo>
                  <a:cubicBezTo>
                    <a:pt x="790861" y="542198"/>
                    <a:pt x="685540" y="687780"/>
                    <a:pt x="602673" y="754231"/>
                  </a:cubicBezTo>
                  <a:cubicBezTo>
                    <a:pt x="577986" y="782673"/>
                    <a:pt x="588881" y="797618"/>
                    <a:pt x="583576" y="834696"/>
                  </a:cubicBezTo>
                  <a:cubicBezTo>
                    <a:pt x="569784" y="863319"/>
                    <a:pt x="557447" y="872472"/>
                    <a:pt x="533068" y="872472"/>
                  </a:cubicBezTo>
                  <a:lnTo>
                    <a:pt x="395430" y="871979"/>
                  </a:lnTo>
                  <a:lnTo>
                    <a:pt x="257793" y="872472"/>
                  </a:lnTo>
                  <a:cubicBezTo>
                    <a:pt x="233414" y="872472"/>
                    <a:pt x="221078" y="863319"/>
                    <a:pt x="207286" y="834696"/>
                  </a:cubicBezTo>
                  <a:cubicBezTo>
                    <a:pt x="201981" y="797618"/>
                    <a:pt x="212876" y="782673"/>
                    <a:pt x="188188" y="754231"/>
                  </a:cubicBezTo>
                  <a:cubicBezTo>
                    <a:pt x="105322" y="687780"/>
                    <a:pt x="0" y="542198"/>
                    <a:pt x="0" y="394689"/>
                  </a:cubicBezTo>
                  <a:cubicBezTo>
                    <a:pt x="0" y="176708"/>
                    <a:pt x="176709" y="0"/>
                    <a:pt x="394689"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132" name="Group 131">
            <a:extLst>
              <a:ext uri="{FF2B5EF4-FFF2-40B4-BE49-F238E27FC236}">
                <a16:creationId xmlns:a16="http://schemas.microsoft.com/office/drawing/2014/main" id="{FE9D7572-C9A6-1142-AF56-C83A46C35D11}"/>
              </a:ext>
            </a:extLst>
          </p:cNvPr>
          <p:cNvGrpSpPr/>
          <p:nvPr/>
        </p:nvGrpSpPr>
        <p:grpSpPr>
          <a:xfrm>
            <a:off x="1321731" y="1739866"/>
            <a:ext cx="428330" cy="1074425"/>
            <a:chOff x="1321731" y="1739866"/>
            <a:chExt cx="428330" cy="1074425"/>
          </a:xfrm>
        </p:grpSpPr>
        <p:grpSp>
          <p:nvGrpSpPr>
            <p:cNvPr id="79" name="Group 78">
              <a:extLst>
                <a:ext uri="{FF2B5EF4-FFF2-40B4-BE49-F238E27FC236}">
                  <a16:creationId xmlns:a16="http://schemas.microsoft.com/office/drawing/2014/main" id="{988C823C-B25D-BC4A-B964-820F77AC9650}"/>
                </a:ext>
              </a:extLst>
            </p:cNvPr>
            <p:cNvGrpSpPr/>
            <p:nvPr/>
          </p:nvGrpSpPr>
          <p:grpSpPr>
            <a:xfrm flipH="1">
              <a:off x="1397662" y="2549235"/>
              <a:ext cx="276470" cy="265056"/>
              <a:chOff x="4964627" y="3703863"/>
              <a:chExt cx="393594" cy="377344"/>
            </a:xfrm>
            <a:solidFill>
              <a:schemeClr val="tx2">
                <a:lumMod val="50000"/>
                <a:alpha val="70000"/>
              </a:schemeClr>
            </a:solidFill>
          </p:grpSpPr>
          <p:sp>
            <p:nvSpPr>
              <p:cNvPr id="80" name="Oval 1">
                <a:extLst>
                  <a:ext uri="{FF2B5EF4-FFF2-40B4-BE49-F238E27FC236}">
                    <a16:creationId xmlns:a16="http://schemas.microsoft.com/office/drawing/2014/main" id="{092D8068-1970-DC48-9F90-943F55F5106E}"/>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1" name="Oval 1">
                <a:extLst>
                  <a:ext uri="{FF2B5EF4-FFF2-40B4-BE49-F238E27FC236}">
                    <a16:creationId xmlns:a16="http://schemas.microsoft.com/office/drawing/2014/main" id="{D77C13BE-97E8-2F4A-A126-961B475F3783}"/>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2" name="Oval 1">
                <a:extLst>
                  <a:ext uri="{FF2B5EF4-FFF2-40B4-BE49-F238E27FC236}">
                    <a16:creationId xmlns:a16="http://schemas.microsoft.com/office/drawing/2014/main" id="{9B0CCD0B-EB51-2543-A8D1-9B1875A2A4F5}"/>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3" name="Oval 1">
                <a:extLst>
                  <a:ext uri="{FF2B5EF4-FFF2-40B4-BE49-F238E27FC236}">
                    <a16:creationId xmlns:a16="http://schemas.microsoft.com/office/drawing/2014/main" id="{3C80C5D7-E384-404C-9091-C2661F1DB887}"/>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grpSp>
          <p:nvGrpSpPr>
            <p:cNvPr id="84" name="Group 83">
              <a:extLst>
                <a:ext uri="{FF2B5EF4-FFF2-40B4-BE49-F238E27FC236}">
                  <a16:creationId xmlns:a16="http://schemas.microsoft.com/office/drawing/2014/main" id="{BCAF8967-FA03-C844-99AC-657D01443309}"/>
                </a:ext>
              </a:extLst>
            </p:cNvPr>
            <p:cNvGrpSpPr/>
            <p:nvPr/>
          </p:nvGrpSpPr>
          <p:grpSpPr>
            <a:xfrm>
              <a:off x="1321731" y="1739866"/>
              <a:ext cx="428330" cy="734931"/>
              <a:chOff x="4874689" y="2348880"/>
              <a:chExt cx="914401" cy="1354872"/>
            </a:xfrm>
            <a:solidFill>
              <a:schemeClr val="accent1"/>
            </a:solidFill>
          </p:grpSpPr>
          <p:sp>
            <p:nvSpPr>
              <p:cNvPr id="85" name="Block Arc 84">
                <a:extLst>
                  <a:ext uri="{FF2B5EF4-FFF2-40B4-BE49-F238E27FC236}">
                    <a16:creationId xmlns:a16="http://schemas.microsoft.com/office/drawing/2014/main" id="{A179CFB8-754F-544F-8840-C2D7C9904E72}"/>
                  </a:ext>
                </a:extLst>
              </p:cNvPr>
              <p:cNvSpPr/>
              <p:nvPr/>
            </p:nvSpPr>
            <p:spPr>
              <a:xfrm>
                <a:off x="4874690" y="2348880"/>
                <a:ext cx="914400" cy="914400"/>
              </a:xfrm>
              <a:prstGeom prst="blockArc">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86" name="Round Same Side Corner Rectangle 30">
                <a:extLst>
                  <a:ext uri="{FF2B5EF4-FFF2-40B4-BE49-F238E27FC236}">
                    <a16:creationId xmlns:a16="http://schemas.microsoft.com/office/drawing/2014/main" id="{F8963EE8-4555-A544-8E15-50DAAFE929B5}"/>
                  </a:ext>
                </a:extLst>
              </p:cNvPr>
              <p:cNvSpPr/>
              <p:nvPr/>
            </p:nvSpPr>
            <p:spPr>
              <a:xfrm rot="10800000">
                <a:off x="4874689" y="2789352"/>
                <a:ext cx="228508" cy="9144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7" name="Round Same Side Corner Rectangle 33">
                <a:extLst>
                  <a:ext uri="{FF2B5EF4-FFF2-40B4-BE49-F238E27FC236}">
                    <a16:creationId xmlns:a16="http://schemas.microsoft.com/office/drawing/2014/main" id="{0D4625EC-037C-3B4A-84E3-AC06887456DC}"/>
                  </a:ext>
                </a:extLst>
              </p:cNvPr>
              <p:cNvSpPr/>
              <p:nvPr/>
            </p:nvSpPr>
            <p:spPr>
              <a:xfrm rot="10800000">
                <a:off x="5560582" y="2789352"/>
                <a:ext cx="228508" cy="9144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grpSp>
        <p:nvGrpSpPr>
          <p:cNvPr id="133" name="Group 132">
            <a:extLst>
              <a:ext uri="{FF2B5EF4-FFF2-40B4-BE49-F238E27FC236}">
                <a16:creationId xmlns:a16="http://schemas.microsoft.com/office/drawing/2014/main" id="{B12E573B-9585-364C-A2CB-80233B097075}"/>
              </a:ext>
            </a:extLst>
          </p:cNvPr>
          <p:cNvGrpSpPr/>
          <p:nvPr/>
        </p:nvGrpSpPr>
        <p:grpSpPr>
          <a:xfrm>
            <a:off x="365682" y="1767755"/>
            <a:ext cx="573976" cy="1046537"/>
            <a:chOff x="365682" y="1767755"/>
            <a:chExt cx="573976" cy="1046537"/>
          </a:xfrm>
        </p:grpSpPr>
        <p:grpSp>
          <p:nvGrpSpPr>
            <p:cNvPr id="88" name="그룹 14">
              <a:extLst>
                <a:ext uri="{FF2B5EF4-FFF2-40B4-BE49-F238E27FC236}">
                  <a16:creationId xmlns:a16="http://schemas.microsoft.com/office/drawing/2014/main" id="{A9184E91-871E-C344-9391-A402E9FFF9E8}"/>
                </a:ext>
              </a:extLst>
            </p:cNvPr>
            <p:cNvGrpSpPr/>
            <p:nvPr/>
          </p:nvGrpSpPr>
          <p:grpSpPr>
            <a:xfrm>
              <a:off x="486870" y="2549236"/>
              <a:ext cx="276470" cy="265056"/>
              <a:chOff x="1869148" y="3350721"/>
              <a:chExt cx="511666" cy="490542"/>
            </a:xfrm>
          </p:grpSpPr>
          <p:sp>
            <p:nvSpPr>
              <p:cNvPr id="89" name="Oval 1">
                <a:extLst>
                  <a:ext uri="{FF2B5EF4-FFF2-40B4-BE49-F238E27FC236}">
                    <a16:creationId xmlns:a16="http://schemas.microsoft.com/office/drawing/2014/main" id="{6EAC0A70-F185-6C4A-AF7D-4B977428C813}"/>
                  </a:ext>
                </a:extLst>
              </p:cNvPr>
              <p:cNvSpPr/>
              <p:nvPr/>
            </p:nvSpPr>
            <p:spPr>
              <a:xfrm>
                <a:off x="1886204" y="3468755"/>
                <a:ext cx="477554" cy="85287"/>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0" name="Oval 1">
                <a:extLst>
                  <a:ext uri="{FF2B5EF4-FFF2-40B4-BE49-F238E27FC236}">
                    <a16:creationId xmlns:a16="http://schemas.microsoft.com/office/drawing/2014/main" id="{3F6D9627-599A-1445-9470-B7C4694A1EFC}"/>
                  </a:ext>
                </a:extLst>
              </p:cNvPr>
              <p:cNvSpPr/>
              <p:nvPr/>
            </p:nvSpPr>
            <p:spPr>
              <a:xfrm>
                <a:off x="1937372" y="3704819"/>
                <a:ext cx="375220" cy="136444"/>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1" name="Oval 1">
                <a:extLst>
                  <a:ext uri="{FF2B5EF4-FFF2-40B4-BE49-F238E27FC236}">
                    <a16:creationId xmlns:a16="http://schemas.microsoft.com/office/drawing/2014/main" id="{8039E298-32CB-BA4F-83DC-5450E735CE81}"/>
                  </a:ext>
                </a:extLst>
              </p:cNvPr>
              <p:cNvSpPr/>
              <p:nvPr/>
            </p:nvSpPr>
            <p:spPr>
              <a:xfrm>
                <a:off x="1903260" y="3586787"/>
                <a:ext cx="443443" cy="85287"/>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2" name="Oval 1">
                <a:extLst>
                  <a:ext uri="{FF2B5EF4-FFF2-40B4-BE49-F238E27FC236}">
                    <a16:creationId xmlns:a16="http://schemas.microsoft.com/office/drawing/2014/main" id="{55E06B59-1D8F-F74E-BCF8-F96B79986AD8}"/>
                  </a:ext>
                </a:extLst>
              </p:cNvPr>
              <p:cNvSpPr/>
              <p:nvPr/>
            </p:nvSpPr>
            <p:spPr>
              <a:xfrm>
                <a:off x="1869148" y="3350721"/>
                <a:ext cx="511666" cy="85287"/>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solidFill>
                <a:schemeClr val="tx2">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93" name="Block Arc 37">
              <a:extLst>
                <a:ext uri="{FF2B5EF4-FFF2-40B4-BE49-F238E27FC236}">
                  <a16:creationId xmlns:a16="http://schemas.microsoft.com/office/drawing/2014/main" id="{8C372251-F58A-714E-B625-A0D8BB2FC1D7}"/>
                </a:ext>
              </a:extLst>
            </p:cNvPr>
            <p:cNvSpPr/>
            <p:nvPr/>
          </p:nvSpPr>
          <p:spPr>
            <a:xfrm>
              <a:off x="365682" y="1767755"/>
              <a:ext cx="573976" cy="749058"/>
            </a:xfrm>
            <a:custGeom>
              <a:avLst/>
              <a:gdLst>
                <a:gd name="connsiteX0" fmla="*/ 555039 w 1128574"/>
                <a:gd name="connsiteY0" fmla="*/ 83 h 1471472"/>
                <a:gd name="connsiteX1" fmla="*/ 1114657 w 1128574"/>
                <a:gd name="connsiteY1" fmla="*/ 440104 h 1471472"/>
                <a:gd name="connsiteX2" fmla="*/ 772429 w 1128574"/>
                <a:gd name="connsiteY2" fmla="*/ 1088053 h 1471472"/>
                <a:gd name="connsiteX3" fmla="*/ 772726 w 1128574"/>
                <a:gd name="connsiteY3" fmla="*/ 1088985 h 1471472"/>
                <a:gd name="connsiteX4" fmla="*/ 574598 w 1128574"/>
                <a:gd name="connsiteY4" fmla="*/ 1360143 h 1471472"/>
                <a:gd name="connsiteX5" fmla="*/ 569907 w 1128574"/>
                <a:gd name="connsiteY5" fmla="*/ 1360143 h 1471472"/>
                <a:gd name="connsiteX6" fmla="*/ 434237 w 1128574"/>
                <a:gd name="connsiteY6" fmla="*/ 1471472 h 1471472"/>
                <a:gd name="connsiteX7" fmla="*/ 298567 w 1128574"/>
                <a:gd name="connsiteY7" fmla="*/ 1360143 h 1471472"/>
                <a:gd name="connsiteX8" fmla="*/ 294969 w 1128574"/>
                <a:gd name="connsiteY8" fmla="*/ 1360143 h 1471472"/>
                <a:gd name="connsiteX9" fmla="*/ 295961 w 1128574"/>
                <a:gd name="connsiteY9" fmla="*/ 1347236 h 1471472"/>
                <a:gd name="connsiteX10" fmla="*/ 292410 w 1128574"/>
                <a:gd name="connsiteY10" fmla="*/ 1329645 h 1471472"/>
                <a:gd name="connsiteX11" fmla="*/ 300331 w 1128574"/>
                <a:gd name="connsiteY11" fmla="*/ 1290412 h 1471472"/>
                <a:gd name="connsiteX12" fmla="*/ 657787 w 1128574"/>
                <a:gd name="connsiteY12" fmla="*/ 834864 h 1471472"/>
                <a:gd name="connsiteX13" fmla="*/ 656254 w 1128574"/>
                <a:gd name="connsiteY13" fmla="*/ 830430 h 1471472"/>
                <a:gd name="connsiteX14" fmla="*/ 838945 w 1128574"/>
                <a:gd name="connsiteY14" fmla="*/ 502307 h 1471472"/>
                <a:gd name="connsiteX15" fmla="*/ 533067 w 1128574"/>
                <a:gd name="connsiteY15" fmla="*/ 284409 h 1471472"/>
                <a:gd name="connsiteX16" fmla="*/ 282643 w 1128574"/>
                <a:gd name="connsiteY16" fmla="*/ 564282 h 1471472"/>
                <a:gd name="connsiteX17" fmla="*/ 279666 w 1128574"/>
                <a:gd name="connsiteY17" fmla="*/ 564282 h 1471472"/>
                <a:gd name="connsiteX18" fmla="*/ 280029 w 1128574"/>
                <a:gd name="connsiteY18" fmla="*/ 567621 h 1471472"/>
                <a:gd name="connsiteX19" fmla="*/ 140015 w 1128574"/>
                <a:gd name="connsiteY19" fmla="*/ 697359 h 1471472"/>
                <a:gd name="connsiteX20" fmla="*/ 0 w 1128574"/>
                <a:gd name="connsiteY20" fmla="*/ 567621 h 1471472"/>
                <a:gd name="connsiteX21" fmla="*/ 363 w 1128574"/>
                <a:gd name="connsiteY21" fmla="*/ 564281 h 1471472"/>
                <a:gd name="connsiteX22" fmla="*/ 1 w 1128574"/>
                <a:gd name="connsiteY22" fmla="*/ 564281 h 1471472"/>
                <a:gd name="connsiteX23" fmla="*/ 501773 w 1128574"/>
                <a:gd name="connsiteY23" fmla="*/ 3505 h 1471472"/>
                <a:gd name="connsiteX24" fmla="*/ 555039 w 1128574"/>
                <a:gd name="connsiteY24" fmla="*/ 83 h 1471472"/>
                <a:gd name="connsiteX0" fmla="*/ 555039 w 1128574"/>
                <a:gd name="connsiteY0" fmla="*/ 83 h 1471472"/>
                <a:gd name="connsiteX1" fmla="*/ 1114657 w 1128574"/>
                <a:gd name="connsiteY1" fmla="*/ 440104 h 1471472"/>
                <a:gd name="connsiteX2" fmla="*/ 772429 w 1128574"/>
                <a:gd name="connsiteY2" fmla="*/ 1088053 h 1471472"/>
                <a:gd name="connsiteX3" fmla="*/ 772726 w 1128574"/>
                <a:gd name="connsiteY3" fmla="*/ 1088985 h 1471472"/>
                <a:gd name="connsiteX4" fmla="*/ 574598 w 1128574"/>
                <a:gd name="connsiteY4" fmla="*/ 1360143 h 1471472"/>
                <a:gd name="connsiteX5" fmla="*/ 569907 w 1128574"/>
                <a:gd name="connsiteY5" fmla="*/ 1360143 h 1471472"/>
                <a:gd name="connsiteX6" fmla="*/ 434237 w 1128574"/>
                <a:gd name="connsiteY6" fmla="*/ 1471472 h 1471472"/>
                <a:gd name="connsiteX7" fmla="*/ 298567 w 1128574"/>
                <a:gd name="connsiteY7" fmla="*/ 1360143 h 1471472"/>
                <a:gd name="connsiteX8" fmla="*/ 294969 w 1128574"/>
                <a:gd name="connsiteY8" fmla="*/ 1360143 h 1471472"/>
                <a:gd name="connsiteX9" fmla="*/ 292410 w 1128574"/>
                <a:gd name="connsiteY9" fmla="*/ 1329645 h 1471472"/>
                <a:gd name="connsiteX10" fmla="*/ 300331 w 1128574"/>
                <a:gd name="connsiteY10" fmla="*/ 1290412 h 1471472"/>
                <a:gd name="connsiteX11" fmla="*/ 657787 w 1128574"/>
                <a:gd name="connsiteY11" fmla="*/ 834864 h 1471472"/>
                <a:gd name="connsiteX12" fmla="*/ 656254 w 1128574"/>
                <a:gd name="connsiteY12" fmla="*/ 830430 h 1471472"/>
                <a:gd name="connsiteX13" fmla="*/ 838945 w 1128574"/>
                <a:gd name="connsiteY13" fmla="*/ 502307 h 1471472"/>
                <a:gd name="connsiteX14" fmla="*/ 533067 w 1128574"/>
                <a:gd name="connsiteY14" fmla="*/ 284409 h 1471472"/>
                <a:gd name="connsiteX15" fmla="*/ 282643 w 1128574"/>
                <a:gd name="connsiteY15" fmla="*/ 564282 h 1471472"/>
                <a:gd name="connsiteX16" fmla="*/ 279666 w 1128574"/>
                <a:gd name="connsiteY16" fmla="*/ 564282 h 1471472"/>
                <a:gd name="connsiteX17" fmla="*/ 280029 w 1128574"/>
                <a:gd name="connsiteY17" fmla="*/ 567621 h 1471472"/>
                <a:gd name="connsiteX18" fmla="*/ 140015 w 1128574"/>
                <a:gd name="connsiteY18" fmla="*/ 697359 h 1471472"/>
                <a:gd name="connsiteX19" fmla="*/ 0 w 1128574"/>
                <a:gd name="connsiteY19" fmla="*/ 567621 h 1471472"/>
                <a:gd name="connsiteX20" fmla="*/ 363 w 1128574"/>
                <a:gd name="connsiteY20" fmla="*/ 564281 h 1471472"/>
                <a:gd name="connsiteX21" fmla="*/ 1 w 1128574"/>
                <a:gd name="connsiteY21" fmla="*/ 564281 h 1471472"/>
                <a:gd name="connsiteX22" fmla="*/ 501773 w 1128574"/>
                <a:gd name="connsiteY22" fmla="*/ 3505 h 1471472"/>
                <a:gd name="connsiteX23" fmla="*/ 555039 w 1128574"/>
                <a:gd name="connsiteY23" fmla="*/ 83 h 1471472"/>
                <a:gd name="connsiteX0" fmla="*/ 555039 w 1128574"/>
                <a:gd name="connsiteY0" fmla="*/ 83 h 1471472"/>
                <a:gd name="connsiteX1" fmla="*/ 1114657 w 1128574"/>
                <a:gd name="connsiteY1" fmla="*/ 440104 h 1471472"/>
                <a:gd name="connsiteX2" fmla="*/ 772429 w 1128574"/>
                <a:gd name="connsiteY2" fmla="*/ 1088053 h 1471472"/>
                <a:gd name="connsiteX3" fmla="*/ 772726 w 1128574"/>
                <a:gd name="connsiteY3" fmla="*/ 1088985 h 1471472"/>
                <a:gd name="connsiteX4" fmla="*/ 574598 w 1128574"/>
                <a:gd name="connsiteY4" fmla="*/ 1360143 h 1471472"/>
                <a:gd name="connsiteX5" fmla="*/ 569907 w 1128574"/>
                <a:gd name="connsiteY5" fmla="*/ 1360143 h 1471472"/>
                <a:gd name="connsiteX6" fmla="*/ 434237 w 1128574"/>
                <a:gd name="connsiteY6" fmla="*/ 1471472 h 1471472"/>
                <a:gd name="connsiteX7" fmla="*/ 298567 w 1128574"/>
                <a:gd name="connsiteY7" fmla="*/ 1360143 h 1471472"/>
                <a:gd name="connsiteX8" fmla="*/ 294969 w 1128574"/>
                <a:gd name="connsiteY8" fmla="*/ 1360143 h 1471472"/>
                <a:gd name="connsiteX9" fmla="*/ 300331 w 1128574"/>
                <a:gd name="connsiteY9" fmla="*/ 1290412 h 1471472"/>
                <a:gd name="connsiteX10" fmla="*/ 657787 w 1128574"/>
                <a:gd name="connsiteY10" fmla="*/ 834864 h 1471472"/>
                <a:gd name="connsiteX11" fmla="*/ 656254 w 1128574"/>
                <a:gd name="connsiteY11" fmla="*/ 830430 h 1471472"/>
                <a:gd name="connsiteX12" fmla="*/ 838945 w 1128574"/>
                <a:gd name="connsiteY12" fmla="*/ 502307 h 1471472"/>
                <a:gd name="connsiteX13" fmla="*/ 533067 w 1128574"/>
                <a:gd name="connsiteY13" fmla="*/ 284409 h 1471472"/>
                <a:gd name="connsiteX14" fmla="*/ 282643 w 1128574"/>
                <a:gd name="connsiteY14" fmla="*/ 564282 h 1471472"/>
                <a:gd name="connsiteX15" fmla="*/ 279666 w 1128574"/>
                <a:gd name="connsiteY15" fmla="*/ 564282 h 1471472"/>
                <a:gd name="connsiteX16" fmla="*/ 280029 w 1128574"/>
                <a:gd name="connsiteY16" fmla="*/ 567621 h 1471472"/>
                <a:gd name="connsiteX17" fmla="*/ 140015 w 1128574"/>
                <a:gd name="connsiteY17" fmla="*/ 697359 h 1471472"/>
                <a:gd name="connsiteX18" fmla="*/ 0 w 1128574"/>
                <a:gd name="connsiteY18" fmla="*/ 567621 h 1471472"/>
                <a:gd name="connsiteX19" fmla="*/ 363 w 1128574"/>
                <a:gd name="connsiteY19" fmla="*/ 564281 h 1471472"/>
                <a:gd name="connsiteX20" fmla="*/ 1 w 1128574"/>
                <a:gd name="connsiteY20" fmla="*/ 564281 h 1471472"/>
                <a:gd name="connsiteX21" fmla="*/ 501773 w 1128574"/>
                <a:gd name="connsiteY21" fmla="*/ 3505 h 1471472"/>
                <a:gd name="connsiteX22" fmla="*/ 555039 w 1128574"/>
                <a:gd name="connsiteY22" fmla="*/ 83 h 1471472"/>
                <a:gd name="connsiteX0" fmla="*/ 555039 w 1128574"/>
                <a:gd name="connsiteY0" fmla="*/ 83 h 1471472"/>
                <a:gd name="connsiteX1" fmla="*/ 1114657 w 1128574"/>
                <a:gd name="connsiteY1" fmla="*/ 440104 h 1471472"/>
                <a:gd name="connsiteX2" fmla="*/ 772429 w 1128574"/>
                <a:gd name="connsiteY2" fmla="*/ 1088053 h 1471472"/>
                <a:gd name="connsiteX3" fmla="*/ 772726 w 1128574"/>
                <a:gd name="connsiteY3" fmla="*/ 1088985 h 1471472"/>
                <a:gd name="connsiteX4" fmla="*/ 574598 w 1128574"/>
                <a:gd name="connsiteY4" fmla="*/ 1360143 h 1471472"/>
                <a:gd name="connsiteX5" fmla="*/ 569907 w 1128574"/>
                <a:gd name="connsiteY5" fmla="*/ 1360143 h 1471472"/>
                <a:gd name="connsiteX6" fmla="*/ 434237 w 1128574"/>
                <a:gd name="connsiteY6" fmla="*/ 1471472 h 1471472"/>
                <a:gd name="connsiteX7" fmla="*/ 298567 w 1128574"/>
                <a:gd name="connsiteY7" fmla="*/ 1360143 h 1471472"/>
                <a:gd name="connsiteX8" fmla="*/ 300331 w 1128574"/>
                <a:gd name="connsiteY8" fmla="*/ 1290412 h 1471472"/>
                <a:gd name="connsiteX9" fmla="*/ 657787 w 1128574"/>
                <a:gd name="connsiteY9" fmla="*/ 834864 h 1471472"/>
                <a:gd name="connsiteX10" fmla="*/ 656254 w 1128574"/>
                <a:gd name="connsiteY10" fmla="*/ 830430 h 1471472"/>
                <a:gd name="connsiteX11" fmla="*/ 838945 w 1128574"/>
                <a:gd name="connsiteY11" fmla="*/ 502307 h 1471472"/>
                <a:gd name="connsiteX12" fmla="*/ 533067 w 1128574"/>
                <a:gd name="connsiteY12" fmla="*/ 284409 h 1471472"/>
                <a:gd name="connsiteX13" fmla="*/ 282643 w 1128574"/>
                <a:gd name="connsiteY13" fmla="*/ 564282 h 1471472"/>
                <a:gd name="connsiteX14" fmla="*/ 279666 w 1128574"/>
                <a:gd name="connsiteY14" fmla="*/ 564282 h 1471472"/>
                <a:gd name="connsiteX15" fmla="*/ 280029 w 1128574"/>
                <a:gd name="connsiteY15" fmla="*/ 567621 h 1471472"/>
                <a:gd name="connsiteX16" fmla="*/ 140015 w 1128574"/>
                <a:gd name="connsiteY16" fmla="*/ 697359 h 1471472"/>
                <a:gd name="connsiteX17" fmla="*/ 0 w 1128574"/>
                <a:gd name="connsiteY17" fmla="*/ 567621 h 1471472"/>
                <a:gd name="connsiteX18" fmla="*/ 363 w 1128574"/>
                <a:gd name="connsiteY18" fmla="*/ 564281 h 1471472"/>
                <a:gd name="connsiteX19" fmla="*/ 1 w 1128574"/>
                <a:gd name="connsiteY19" fmla="*/ 564281 h 1471472"/>
                <a:gd name="connsiteX20" fmla="*/ 501773 w 1128574"/>
                <a:gd name="connsiteY20" fmla="*/ 3505 h 1471472"/>
                <a:gd name="connsiteX21" fmla="*/ 555039 w 1128574"/>
                <a:gd name="connsiteY21" fmla="*/ 83 h 1471472"/>
                <a:gd name="connsiteX0" fmla="*/ 555039 w 1128574"/>
                <a:gd name="connsiteY0" fmla="*/ 83 h 1471472"/>
                <a:gd name="connsiteX1" fmla="*/ 1114657 w 1128574"/>
                <a:gd name="connsiteY1" fmla="*/ 440104 h 1471472"/>
                <a:gd name="connsiteX2" fmla="*/ 772429 w 1128574"/>
                <a:gd name="connsiteY2" fmla="*/ 1088053 h 1471472"/>
                <a:gd name="connsiteX3" fmla="*/ 574598 w 1128574"/>
                <a:gd name="connsiteY3" fmla="*/ 1360143 h 1471472"/>
                <a:gd name="connsiteX4" fmla="*/ 569907 w 1128574"/>
                <a:gd name="connsiteY4" fmla="*/ 1360143 h 1471472"/>
                <a:gd name="connsiteX5" fmla="*/ 434237 w 1128574"/>
                <a:gd name="connsiteY5" fmla="*/ 1471472 h 1471472"/>
                <a:gd name="connsiteX6" fmla="*/ 298567 w 1128574"/>
                <a:gd name="connsiteY6" fmla="*/ 1360143 h 1471472"/>
                <a:gd name="connsiteX7" fmla="*/ 300331 w 1128574"/>
                <a:gd name="connsiteY7" fmla="*/ 1290412 h 1471472"/>
                <a:gd name="connsiteX8" fmla="*/ 657787 w 1128574"/>
                <a:gd name="connsiteY8" fmla="*/ 834864 h 1471472"/>
                <a:gd name="connsiteX9" fmla="*/ 656254 w 1128574"/>
                <a:gd name="connsiteY9" fmla="*/ 830430 h 1471472"/>
                <a:gd name="connsiteX10" fmla="*/ 838945 w 1128574"/>
                <a:gd name="connsiteY10" fmla="*/ 502307 h 1471472"/>
                <a:gd name="connsiteX11" fmla="*/ 533067 w 1128574"/>
                <a:gd name="connsiteY11" fmla="*/ 284409 h 1471472"/>
                <a:gd name="connsiteX12" fmla="*/ 282643 w 1128574"/>
                <a:gd name="connsiteY12" fmla="*/ 564282 h 1471472"/>
                <a:gd name="connsiteX13" fmla="*/ 279666 w 1128574"/>
                <a:gd name="connsiteY13" fmla="*/ 564282 h 1471472"/>
                <a:gd name="connsiteX14" fmla="*/ 280029 w 1128574"/>
                <a:gd name="connsiteY14" fmla="*/ 567621 h 1471472"/>
                <a:gd name="connsiteX15" fmla="*/ 140015 w 1128574"/>
                <a:gd name="connsiteY15" fmla="*/ 697359 h 1471472"/>
                <a:gd name="connsiteX16" fmla="*/ 0 w 1128574"/>
                <a:gd name="connsiteY16" fmla="*/ 567621 h 1471472"/>
                <a:gd name="connsiteX17" fmla="*/ 363 w 1128574"/>
                <a:gd name="connsiteY17" fmla="*/ 564281 h 1471472"/>
                <a:gd name="connsiteX18" fmla="*/ 1 w 1128574"/>
                <a:gd name="connsiteY18" fmla="*/ 564281 h 1471472"/>
                <a:gd name="connsiteX19" fmla="*/ 501773 w 1128574"/>
                <a:gd name="connsiteY19" fmla="*/ 3505 h 1471472"/>
                <a:gd name="connsiteX20" fmla="*/ 555039 w 1128574"/>
                <a:gd name="connsiteY20" fmla="*/ 83 h 1471472"/>
                <a:gd name="connsiteX0" fmla="*/ 555039 w 1128574"/>
                <a:gd name="connsiteY0" fmla="*/ 83 h 1471472"/>
                <a:gd name="connsiteX1" fmla="*/ 1114657 w 1128574"/>
                <a:gd name="connsiteY1" fmla="*/ 440104 h 1471472"/>
                <a:gd name="connsiteX2" fmla="*/ 772429 w 1128574"/>
                <a:gd name="connsiteY2" fmla="*/ 1088053 h 1471472"/>
                <a:gd name="connsiteX3" fmla="*/ 574598 w 1128574"/>
                <a:gd name="connsiteY3" fmla="*/ 1360143 h 1471472"/>
                <a:gd name="connsiteX4" fmla="*/ 569907 w 1128574"/>
                <a:gd name="connsiteY4" fmla="*/ 1360143 h 1471472"/>
                <a:gd name="connsiteX5" fmla="*/ 434237 w 1128574"/>
                <a:gd name="connsiteY5" fmla="*/ 1471472 h 1471472"/>
                <a:gd name="connsiteX6" fmla="*/ 298567 w 1128574"/>
                <a:gd name="connsiteY6" fmla="*/ 1360143 h 1471472"/>
                <a:gd name="connsiteX7" fmla="*/ 300331 w 1128574"/>
                <a:gd name="connsiteY7" fmla="*/ 1290412 h 1471472"/>
                <a:gd name="connsiteX8" fmla="*/ 657787 w 1128574"/>
                <a:gd name="connsiteY8" fmla="*/ 834864 h 1471472"/>
                <a:gd name="connsiteX9" fmla="*/ 656254 w 1128574"/>
                <a:gd name="connsiteY9" fmla="*/ 830430 h 1471472"/>
                <a:gd name="connsiteX10" fmla="*/ 838945 w 1128574"/>
                <a:gd name="connsiteY10" fmla="*/ 502307 h 1471472"/>
                <a:gd name="connsiteX11" fmla="*/ 533067 w 1128574"/>
                <a:gd name="connsiteY11" fmla="*/ 284409 h 1471472"/>
                <a:gd name="connsiteX12" fmla="*/ 282643 w 1128574"/>
                <a:gd name="connsiteY12" fmla="*/ 564282 h 1471472"/>
                <a:gd name="connsiteX13" fmla="*/ 279666 w 1128574"/>
                <a:gd name="connsiteY13" fmla="*/ 564282 h 1471472"/>
                <a:gd name="connsiteX14" fmla="*/ 280029 w 1128574"/>
                <a:gd name="connsiteY14" fmla="*/ 567621 h 1471472"/>
                <a:gd name="connsiteX15" fmla="*/ 140015 w 1128574"/>
                <a:gd name="connsiteY15" fmla="*/ 697359 h 1471472"/>
                <a:gd name="connsiteX16" fmla="*/ 0 w 1128574"/>
                <a:gd name="connsiteY16" fmla="*/ 567621 h 1471472"/>
                <a:gd name="connsiteX17" fmla="*/ 363 w 1128574"/>
                <a:gd name="connsiteY17" fmla="*/ 564281 h 1471472"/>
                <a:gd name="connsiteX18" fmla="*/ 1 w 1128574"/>
                <a:gd name="connsiteY18" fmla="*/ 564281 h 1471472"/>
                <a:gd name="connsiteX19" fmla="*/ 501773 w 1128574"/>
                <a:gd name="connsiteY19" fmla="*/ 3505 h 1471472"/>
                <a:gd name="connsiteX20" fmla="*/ 555039 w 1128574"/>
                <a:gd name="connsiteY20" fmla="*/ 83 h 1471472"/>
                <a:gd name="connsiteX0" fmla="*/ 555039 w 1128574"/>
                <a:gd name="connsiteY0" fmla="*/ 83 h 1471551"/>
                <a:gd name="connsiteX1" fmla="*/ 1114657 w 1128574"/>
                <a:gd name="connsiteY1" fmla="*/ 440104 h 1471551"/>
                <a:gd name="connsiteX2" fmla="*/ 772429 w 1128574"/>
                <a:gd name="connsiteY2" fmla="*/ 1088053 h 1471551"/>
                <a:gd name="connsiteX3" fmla="*/ 574598 w 1128574"/>
                <a:gd name="connsiteY3" fmla="*/ 1360143 h 1471551"/>
                <a:gd name="connsiteX4" fmla="*/ 567462 w 1128574"/>
                <a:gd name="connsiteY4" fmla="*/ 1372368 h 1471551"/>
                <a:gd name="connsiteX5" fmla="*/ 434237 w 1128574"/>
                <a:gd name="connsiteY5" fmla="*/ 1471472 h 1471551"/>
                <a:gd name="connsiteX6" fmla="*/ 298567 w 1128574"/>
                <a:gd name="connsiteY6" fmla="*/ 1360143 h 1471551"/>
                <a:gd name="connsiteX7" fmla="*/ 300331 w 1128574"/>
                <a:gd name="connsiteY7" fmla="*/ 1290412 h 1471551"/>
                <a:gd name="connsiteX8" fmla="*/ 657787 w 1128574"/>
                <a:gd name="connsiteY8" fmla="*/ 834864 h 1471551"/>
                <a:gd name="connsiteX9" fmla="*/ 656254 w 1128574"/>
                <a:gd name="connsiteY9" fmla="*/ 830430 h 1471551"/>
                <a:gd name="connsiteX10" fmla="*/ 838945 w 1128574"/>
                <a:gd name="connsiteY10" fmla="*/ 502307 h 1471551"/>
                <a:gd name="connsiteX11" fmla="*/ 533067 w 1128574"/>
                <a:gd name="connsiteY11" fmla="*/ 284409 h 1471551"/>
                <a:gd name="connsiteX12" fmla="*/ 282643 w 1128574"/>
                <a:gd name="connsiteY12" fmla="*/ 564282 h 1471551"/>
                <a:gd name="connsiteX13" fmla="*/ 279666 w 1128574"/>
                <a:gd name="connsiteY13" fmla="*/ 564282 h 1471551"/>
                <a:gd name="connsiteX14" fmla="*/ 280029 w 1128574"/>
                <a:gd name="connsiteY14" fmla="*/ 567621 h 1471551"/>
                <a:gd name="connsiteX15" fmla="*/ 140015 w 1128574"/>
                <a:gd name="connsiteY15" fmla="*/ 697359 h 1471551"/>
                <a:gd name="connsiteX16" fmla="*/ 0 w 1128574"/>
                <a:gd name="connsiteY16" fmla="*/ 567621 h 1471551"/>
                <a:gd name="connsiteX17" fmla="*/ 363 w 1128574"/>
                <a:gd name="connsiteY17" fmla="*/ 564281 h 1471551"/>
                <a:gd name="connsiteX18" fmla="*/ 1 w 1128574"/>
                <a:gd name="connsiteY18" fmla="*/ 564281 h 1471551"/>
                <a:gd name="connsiteX19" fmla="*/ 501773 w 1128574"/>
                <a:gd name="connsiteY19" fmla="*/ 3505 h 1471551"/>
                <a:gd name="connsiteX20" fmla="*/ 555039 w 1128574"/>
                <a:gd name="connsiteY20" fmla="*/ 83 h 1471551"/>
                <a:gd name="connsiteX0" fmla="*/ 555039 w 1128574"/>
                <a:gd name="connsiteY0" fmla="*/ 83 h 1471551"/>
                <a:gd name="connsiteX1" fmla="*/ 1114657 w 1128574"/>
                <a:gd name="connsiteY1" fmla="*/ 440104 h 1471551"/>
                <a:gd name="connsiteX2" fmla="*/ 772429 w 1128574"/>
                <a:gd name="connsiteY2" fmla="*/ 1088053 h 1471551"/>
                <a:gd name="connsiteX3" fmla="*/ 567462 w 1128574"/>
                <a:gd name="connsiteY3" fmla="*/ 1372368 h 1471551"/>
                <a:gd name="connsiteX4" fmla="*/ 434237 w 1128574"/>
                <a:gd name="connsiteY4" fmla="*/ 1471472 h 1471551"/>
                <a:gd name="connsiteX5" fmla="*/ 298567 w 1128574"/>
                <a:gd name="connsiteY5" fmla="*/ 1360143 h 1471551"/>
                <a:gd name="connsiteX6" fmla="*/ 300331 w 1128574"/>
                <a:gd name="connsiteY6" fmla="*/ 1290412 h 1471551"/>
                <a:gd name="connsiteX7" fmla="*/ 657787 w 1128574"/>
                <a:gd name="connsiteY7" fmla="*/ 834864 h 1471551"/>
                <a:gd name="connsiteX8" fmla="*/ 656254 w 1128574"/>
                <a:gd name="connsiteY8" fmla="*/ 830430 h 1471551"/>
                <a:gd name="connsiteX9" fmla="*/ 838945 w 1128574"/>
                <a:gd name="connsiteY9" fmla="*/ 502307 h 1471551"/>
                <a:gd name="connsiteX10" fmla="*/ 533067 w 1128574"/>
                <a:gd name="connsiteY10" fmla="*/ 284409 h 1471551"/>
                <a:gd name="connsiteX11" fmla="*/ 282643 w 1128574"/>
                <a:gd name="connsiteY11" fmla="*/ 564282 h 1471551"/>
                <a:gd name="connsiteX12" fmla="*/ 279666 w 1128574"/>
                <a:gd name="connsiteY12" fmla="*/ 564282 h 1471551"/>
                <a:gd name="connsiteX13" fmla="*/ 280029 w 1128574"/>
                <a:gd name="connsiteY13" fmla="*/ 567621 h 1471551"/>
                <a:gd name="connsiteX14" fmla="*/ 140015 w 1128574"/>
                <a:gd name="connsiteY14" fmla="*/ 697359 h 1471551"/>
                <a:gd name="connsiteX15" fmla="*/ 0 w 1128574"/>
                <a:gd name="connsiteY15" fmla="*/ 567621 h 1471551"/>
                <a:gd name="connsiteX16" fmla="*/ 363 w 1128574"/>
                <a:gd name="connsiteY16" fmla="*/ 564281 h 1471551"/>
                <a:gd name="connsiteX17" fmla="*/ 1 w 1128574"/>
                <a:gd name="connsiteY17" fmla="*/ 564281 h 1471551"/>
                <a:gd name="connsiteX18" fmla="*/ 501773 w 1128574"/>
                <a:gd name="connsiteY18" fmla="*/ 3505 h 1471551"/>
                <a:gd name="connsiteX19" fmla="*/ 555039 w 1128574"/>
                <a:gd name="connsiteY19" fmla="*/ 83 h 1471551"/>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56"/>
                <a:gd name="connsiteX1" fmla="*/ 1114657 w 1128574"/>
                <a:gd name="connsiteY1" fmla="*/ 440104 h 1471556"/>
                <a:gd name="connsiteX2" fmla="*/ 772429 w 1128574"/>
                <a:gd name="connsiteY2" fmla="*/ 1088053 h 1471556"/>
                <a:gd name="connsiteX3" fmla="*/ 567462 w 1128574"/>
                <a:gd name="connsiteY3" fmla="*/ 1372368 h 1471556"/>
                <a:gd name="connsiteX4" fmla="*/ 434237 w 1128574"/>
                <a:gd name="connsiteY4" fmla="*/ 1471472 h 1471556"/>
                <a:gd name="connsiteX5" fmla="*/ 298567 w 1128574"/>
                <a:gd name="connsiteY5" fmla="*/ 1360143 h 1471556"/>
                <a:gd name="connsiteX6" fmla="*/ 300331 w 1128574"/>
                <a:gd name="connsiteY6" fmla="*/ 1290412 h 1471556"/>
                <a:gd name="connsiteX7" fmla="*/ 657787 w 1128574"/>
                <a:gd name="connsiteY7" fmla="*/ 834864 h 1471556"/>
                <a:gd name="connsiteX8" fmla="*/ 656254 w 1128574"/>
                <a:gd name="connsiteY8" fmla="*/ 830430 h 1471556"/>
                <a:gd name="connsiteX9" fmla="*/ 838945 w 1128574"/>
                <a:gd name="connsiteY9" fmla="*/ 502307 h 1471556"/>
                <a:gd name="connsiteX10" fmla="*/ 533067 w 1128574"/>
                <a:gd name="connsiteY10" fmla="*/ 284409 h 1471556"/>
                <a:gd name="connsiteX11" fmla="*/ 282643 w 1128574"/>
                <a:gd name="connsiteY11" fmla="*/ 564282 h 1471556"/>
                <a:gd name="connsiteX12" fmla="*/ 279666 w 1128574"/>
                <a:gd name="connsiteY12" fmla="*/ 564282 h 1471556"/>
                <a:gd name="connsiteX13" fmla="*/ 280029 w 1128574"/>
                <a:gd name="connsiteY13" fmla="*/ 567621 h 1471556"/>
                <a:gd name="connsiteX14" fmla="*/ 140015 w 1128574"/>
                <a:gd name="connsiteY14" fmla="*/ 697359 h 1471556"/>
                <a:gd name="connsiteX15" fmla="*/ 0 w 1128574"/>
                <a:gd name="connsiteY15" fmla="*/ 567621 h 1471556"/>
                <a:gd name="connsiteX16" fmla="*/ 363 w 1128574"/>
                <a:gd name="connsiteY16" fmla="*/ 564281 h 1471556"/>
                <a:gd name="connsiteX17" fmla="*/ 1 w 1128574"/>
                <a:gd name="connsiteY17" fmla="*/ 564281 h 1471556"/>
                <a:gd name="connsiteX18" fmla="*/ 501773 w 1128574"/>
                <a:gd name="connsiteY18" fmla="*/ 3505 h 1471556"/>
                <a:gd name="connsiteX19" fmla="*/ 555039 w 1128574"/>
                <a:gd name="connsiteY19" fmla="*/ 83 h 147155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7787 w 1128574"/>
                <a:gd name="connsiteY7" fmla="*/ 834864 h 1471576"/>
                <a:gd name="connsiteX8" fmla="*/ 656254 w 1128574"/>
                <a:gd name="connsiteY8" fmla="*/ 830430 h 1471576"/>
                <a:gd name="connsiteX9" fmla="*/ 838945 w 1128574"/>
                <a:gd name="connsiteY9" fmla="*/ 502307 h 1471576"/>
                <a:gd name="connsiteX10" fmla="*/ 533067 w 1128574"/>
                <a:gd name="connsiteY10" fmla="*/ 284409 h 1471576"/>
                <a:gd name="connsiteX11" fmla="*/ 282643 w 1128574"/>
                <a:gd name="connsiteY11" fmla="*/ 564282 h 1471576"/>
                <a:gd name="connsiteX12" fmla="*/ 279666 w 1128574"/>
                <a:gd name="connsiteY12" fmla="*/ 564282 h 1471576"/>
                <a:gd name="connsiteX13" fmla="*/ 280029 w 1128574"/>
                <a:gd name="connsiteY13" fmla="*/ 567621 h 1471576"/>
                <a:gd name="connsiteX14" fmla="*/ 140015 w 1128574"/>
                <a:gd name="connsiteY14" fmla="*/ 697359 h 1471576"/>
                <a:gd name="connsiteX15" fmla="*/ 0 w 1128574"/>
                <a:gd name="connsiteY15" fmla="*/ 567621 h 1471576"/>
                <a:gd name="connsiteX16" fmla="*/ 363 w 1128574"/>
                <a:gd name="connsiteY16" fmla="*/ 564281 h 1471576"/>
                <a:gd name="connsiteX17" fmla="*/ 1 w 1128574"/>
                <a:gd name="connsiteY17" fmla="*/ 564281 h 1471576"/>
                <a:gd name="connsiteX18" fmla="*/ 501773 w 1128574"/>
                <a:gd name="connsiteY18" fmla="*/ 3505 h 1471576"/>
                <a:gd name="connsiteX19" fmla="*/ 555039 w 1128574"/>
                <a:gd name="connsiteY19"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8430"/>
                <a:gd name="connsiteY0" fmla="*/ 83 h 1471576"/>
                <a:gd name="connsiteX1" fmla="*/ 1114657 w 1128430"/>
                <a:gd name="connsiteY1" fmla="*/ 440104 h 1471576"/>
                <a:gd name="connsiteX2" fmla="*/ 772429 w 1128430"/>
                <a:gd name="connsiteY2" fmla="*/ 1088053 h 1471576"/>
                <a:gd name="connsiteX3" fmla="*/ 567462 w 1128430"/>
                <a:gd name="connsiteY3" fmla="*/ 1372368 h 1471576"/>
                <a:gd name="connsiteX4" fmla="*/ 434237 w 1128430"/>
                <a:gd name="connsiteY4" fmla="*/ 1471472 h 1471576"/>
                <a:gd name="connsiteX5" fmla="*/ 298567 w 1128430"/>
                <a:gd name="connsiteY5" fmla="*/ 1360143 h 1471576"/>
                <a:gd name="connsiteX6" fmla="*/ 300331 w 1128430"/>
                <a:gd name="connsiteY6" fmla="*/ 1290412 h 1471576"/>
                <a:gd name="connsiteX7" fmla="*/ 656254 w 1128430"/>
                <a:gd name="connsiteY7" fmla="*/ 830430 h 1471576"/>
                <a:gd name="connsiteX8" fmla="*/ 838945 w 1128430"/>
                <a:gd name="connsiteY8" fmla="*/ 502307 h 1471576"/>
                <a:gd name="connsiteX9" fmla="*/ 533067 w 1128430"/>
                <a:gd name="connsiteY9" fmla="*/ 284409 h 1471576"/>
                <a:gd name="connsiteX10" fmla="*/ 282643 w 1128430"/>
                <a:gd name="connsiteY10" fmla="*/ 564282 h 1471576"/>
                <a:gd name="connsiteX11" fmla="*/ 279666 w 1128430"/>
                <a:gd name="connsiteY11" fmla="*/ 564282 h 1471576"/>
                <a:gd name="connsiteX12" fmla="*/ 280029 w 1128430"/>
                <a:gd name="connsiteY12" fmla="*/ 567621 h 1471576"/>
                <a:gd name="connsiteX13" fmla="*/ 140015 w 1128430"/>
                <a:gd name="connsiteY13" fmla="*/ 697359 h 1471576"/>
                <a:gd name="connsiteX14" fmla="*/ 0 w 1128430"/>
                <a:gd name="connsiteY14" fmla="*/ 567621 h 1471576"/>
                <a:gd name="connsiteX15" fmla="*/ 363 w 1128430"/>
                <a:gd name="connsiteY15" fmla="*/ 564281 h 1471576"/>
                <a:gd name="connsiteX16" fmla="*/ 1 w 1128430"/>
                <a:gd name="connsiteY16" fmla="*/ 564281 h 1471576"/>
                <a:gd name="connsiteX17" fmla="*/ 501773 w 1128430"/>
                <a:gd name="connsiteY17" fmla="*/ 3505 h 1471576"/>
                <a:gd name="connsiteX18" fmla="*/ 555039 w 1128430"/>
                <a:gd name="connsiteY18" fmla="*/ 83 h 1471576"/>
                <a:gd name="connsiteX0" fmla="*/ 555039 w 1128430"/>
                <a:gd name="connsiteY0" fmla="*/ 83 h 1471576"/>
                <a:gd name="connsiteX1" fmla="*/ 1114657 w 1128430"/>
                <a:gd name="connsiteY1" fmla="*/ 440104 h 1471576"/>
                <a:gd name="connsiteX2" fmla="*/ 772429 w 1128430"/>
                <a:gd name="connsiteY2" fmla="*/ 1088053 h 1471576"/>
                <a:gd name="connsiteX3" fmla="*/ 567462 w 1128430"/>
                <a:gd name="connsiteY3" fmla="*/ 1372368 h 1471576"/>
                <a:gd name="connsiteX4" fmla="*/ 434237 w 1128430"/>
                <a:gd name="connsiteY4" fmla="*/ 1471472 h 1471576"/>
                <a:gd name="connsiteX5" fmla="*/ 298567 w 1128430"/>
                <a:gd name="connsiteY5" fmla="*/ 1360143 h 1471576"/>
                <a:gd name="connsiteX6" fmla="*/ 300331 w 1128430"/>
                <a:gd name="connsiteY6" fmla="*/ 1290412 h 1471576"/>
                <a:gd name="connsiteX7" fmla="*/ 656254 w 1128430"/>
                <a:gd name="connsiteY7" fmla="*/ 830430 h 1471576"/>
                <a:gd name="connsiteX8" fmla="*/ 838945 w 1128430"/>
                <a:gd name="connsiteY8" fmla="*/ 502307 h 1471576"/>
                <a:gd name="connsiteX9" fmla="*/ 533067 w 1128430"/>
                <a:gd name="connsiteY9" fmla="*/ 284409 h 1471576"/>
                <a:gd name="connsiteX10" fmla="*/ 282643 w 1128430"/>
                <a:gd name="connsiteY10" fmla="*/ 564282 h 1471576"/>
                <a:gd name="connsiteX11" fmla="*/ 279666 w 1128430"/>
                <a:gd name="connsiteY11" fmla="*/ 564282 h 1471576"/>
                <a:gd name="connsiteX12" fmla="*/ 280029 w 1128430"/>
                <a:gd name="connsiteY12" fmla="*/ 567621 h 1471576"/>
                <a:gd name="connsiteX13" fmla="*/ 140015 w 1128430"/>
                <a:gd name="connsiteY13" fmla="*/ 697359 h 1471576"/>
                <a:gd name="connsiteX14" fmla="*/ 0 w 1128430"/>
                <a:gd name="connsiteY14" fmla="*/ 567621 h 1471576"/>
                <a:gd name="connsiteX15" fmla="*/ 363 w 1128430"/>
                <a:gd name="connsiteY15" fmla="*/ 564281 h 1471576"/>
                <a:gd name="connsiteX16" fmla="*/ 1 w 1128430"/>
                <a:gd name="connsiteY16" fmla="*/ 564281 h 1471576"/>
                <a:gd name="connsiteX17" fmla="*/ 501773 w 1128430"/>
                <a:gd name="connsiteY17" fmla="*/ 3505 h 1471576"/>
                <a:gd name="connsiteX18" fmla="*/ 555039 w 1128430"/>
                <a:gd name="connsiteY18" fmla="*/ 83 h 1471576"/>
                <a:gd name="connsiteX0" fmla="*/ 555039 w 1128430"/>
                <a:gd name="connsiteY0" fmla="*/ 83 h 1471576"/>
                <a:gd name="connsiteX1" fmla="*/ 1114657 w 1128430"/>
                <a:gd name="connsiteY1" fmla="*/ 440104 h 1471576"/>
                <a:gd name="connsiteX2" fmla="*/ 772429 w 1128430"/>
                <a:gd name="connsiteY2" fmla="*/ 1088053 h 1471576"/>
                <a:gd name="connsiteX3" fmla="*/ 567462 w 1128430"/>
                <a:gd name="connsiteY3" fmla="*/ 1372368 h 1471576"/>
                <a:gd name="connsiteX4" fmla="*/ 434237 w 1128430"/>
                <a:gd name="connsiteY4" fmla="*/ 1471472 h 1471576"/>
                <a:gd name="connsiteX5" fmla="*/ 298567 w 1128430"/>
                <a:gd name="connsiteY5" fmla="*/ 1360143 h 1471576"/>
                <a:gd name="connsiteX6" fmla="*/ 300331 w 1128430"/>
                <a:gd name="connsiteY6" fmla="*/ 1290412 h 1471576"/>
                <a:gd name="connsiteX7" fmla="*/ 656254 w 1128430"/>
                <a:gd name="connsiteY7" fmla="*/ 830430 h 1471576"/>
                <a:gd name="connsiteX8" fmla="*/ 838945 w 1128430"/>
                <a:gd name="connsiteY8" fmla="*/ 502307 h 1471576"/>
                <a:gd name="connsiteX9" fmla="*/ 533067 w 1128430"/>
                <a:gd name="connsiteY9" fmla="*/ 284409 h 1471576"/>
                <a:gd name="connsiteX10" fmla="*/ 282643 w 1128430"/>
                <a:gd name="connsiteY10" fmla="*/ 564282 h 1471576"/>
                <a:gd name="connsiteX11" fmla="*/ 279666 w 1128430"/>
                <a:gd name="connsiteY11" fmla="*/ 564282 h 1471576"/>
                <a:gd name="connsiteX12" fmla="*/ 280029 w 1128430"/>
                <a:gd name="connsiteY12" fmla="*/ 567621 h 1471576"/>
                <a:gd name="connsiteX13" fmla="*/ 140015 w 1128430"/>
                <a:gd name="connsiteY13" fmla="*/ 697359 h 1471576"/>
                <a:gd name="connsiteX14" fmla="*/ 0 w 1128430"/>
                <a:gd name="connsiteY14" fmla="*/ 567621 h 1471576"/>
                <a:gd name="connsiteX15" fmla="*/ 363 w 1128430"/>
                <a:gd name="connsiteY15" fmla="*/ 564281 h 1471576"/>
                <a:gd name="connsiteX16" fmla="*/ 1 w 1128430"/>
                <a:gd name="connsiteY16" fmla="*/ 564281 h 1471576"/>
                <a:gd name="connsiteX17" fmla="*/ 501773 w 1128430"/>
                <a:gd name="connsiteY17" fmla="*/ 3505 h 1471576"/>
                <a:gd name="connsiteX18" fmla="*/ 555039 w 1128430"/>
                <a:gd name="connsiteY18" fmla="*/ 83 h 1471576"/>
                <a:gd name="connsiteX0" fmla="*/ 555039 w 1128430"/>
                <a:gd name="connsiteY0" fmla="*/ 83 h 1471576"/>
                <a:gd name="connsiteX1" fmla="*/ 1114657 w 1128430"/>
                <a:gd name="connsiteY1" fmla="*/ 440104 h 1471576"/>
                <a:gd name="connsiteX2" fmla="*/ 772429 w 1128430"/>
                <a:gd name="connsiteY2" fmla="*/ 1088053 h 1471576"/>
                <a:gd name="connsiteX3" fmla="*/ 567462 w 1128430"/>
                <a:gd name="connsiteY3" fmla="*/ 1372368 h 1471576"/>
                <a:gd name="connsiteX4" fmla="*/ 434237 w 1128430"/>
                <a:gd name="connsiteY4" fmla="*/ 1471472 h 1471576"/>
                <a:gd name="connsiteX5" fmla="*/ 298567 w 1128430"/>
                <a:gd name="connsiteY5" fmla="*/ 1360143 h 1471576"/>
                <a:gd name="connsiteX6" fmla="*/ 300331 w 1128430"/>
                <a:gd name="connsiteY6" fmla="*/ 1290412 h 1471576"/>
                <a:gd name="connsiteX7" fmla="*/ 656254 w 1128430"/>
                <a:gd name="connsiteY7" fmla="*/ 830430 h 1471576"/>
                <a:gd name="connsiteX8" fmla="*/ 838945 w 1128430"/>
                <a:gd name="connsiteY8" fmla="*/ 502307 h 1471576"/>
                <a:gd name="connsiteX9" fmla="*/ 533067 w 1128430"/>
                <a:gd name="connsiteY9" fmla="*/ 284409 h 1471576"/>
                <a:gd name="connsiteX10" fmla="*/ 282643 w 1128430"/>
                <a:gd name="connsiteY10" fmla="*/ 564282 h 1471576"/>
                <a:gd name="connsiteX11" fmla="*/ 279666 w 1128430"/>
                <a:gd name="connsiteY11" fmla="*/ 564282 h 1471576"/>
                <a:gd name="connsiteX12" fmla="*/ 280029 w 1128430"/>
                <a:gd name="connsiteY12" fmla="*/ 567621 h 1471576"/>
                <a:gd name="connsiteX13" fmla="*/ 140015 w 1128430"/>
                <a:gd name="connsiteY13" fmla="*/ 697359 h 1471576"/>
                <a:gd name="connsiteX14" fmla="*/ 0 w 1128430"/>
                <a:gd name="connsiteY14" fmla="*/ 567621 h 1471576"/>
                <a:gd name="connsiteX15" fmla="*/ 363 w 1128430"/>
                <a:gd name="connsiteY15" fmla="*/ 564281 h 1471576"/>
                <a:gd name="connsiteX16" fmla="*/ 1 w 1128430"/>
                <a:gd name="connsiteY16" fmla="*/ 564281 h 1471576"/>
                <a:gd name="connsiteX17" fmla="*/ 501773 w 1128430"/>
                <a:gd name="connsiteY17" fmla="*/ 3505 h 1471576"/>
                <a:gd name="connsiteX18" fmla="*/ 555039 w 1128430"/>
                <a:gd name="connsiteY18" fmla="*/ 83 h 1471576"/>
                <a:gd name="connsiteX0" fmla="*/ 555039 w 1128574"/>
                <a:gd name="connsiteY0" fmla="*/ 83 h 1471576"/>
                <a:gd name="connsiteX1" fmla="*/ 1114657 w 1128574"/>
                <a:gd name="connsiteY1" fmla="*/ 440104 h 1471576"/>
                <a:gd name="connsiteX2" fmla="*/ 772429 w 1128574"/>
                <a:gd name="connsiteY2" fmla="*/ 1088053 h 1471576"/>
                <a:gd name="connsiteX3" fmla="*/ 567462 w 1128574"/>
                <a:gd name="connsiteY3" fmla="*/ 1372368 h 1471576"/>
                <a:gd name="connsiteX4" fmla="*/ 434237 w 1128574"/>
                <a:gd name="connsiteY4" fmla="*/ 1471472 h 1471576"/>
                <a:gd name="connsiteX5" fmla="*/ 298567 w 1128574"/>
                <a:gd name="connsiteY5" fmla="*/ 1360143 h 1471576"/>
                <a:gd name="connsiteX6" fmla="*/ 300331 w 1128574"/>
                <a:gd name="connsiteY6" fmla="*/ 1290412 h 1471576"/>
                <a:gd name="connsiteX7" fmla="*/ 656254 w 1128574"/>
                <a:gd name="connsiteY7" fmla="*/ 830430 h 1471576"/>
                <a:gd name="connsiteX8" fmla="*/ 838945 w 1128574"/>
                <a:gd name="connsiteY8" fmla="*/ 502307 h 1471576"/>
                <a:gd name="connsiteX9" fmla="*/ 533067 w 1128574"/>
                <a:gd name="connsiteY9" fmla="*/ 284409 h 1471576"/>
                <a:gd name="connsiteX10" fmla="*/ 282643 w 1128574"/>
                <a:gd name="connsiteY10" fmla="*/ 564282 h 1471576"/>
                <a:gd name="connsiteX11" fmla="*/ 279666 w 1128574"/>
                <a:gd name="connsiteY11" fmla="*/ 564282 h 1471576"/>
                <a:gd name="connsiteX12" fmla="*/ 280029 w 1128574"/>
                <a:gd name="connsiteY12" fmla="*/ 567621 h 1471576"/>
                <a:gd name="connsiteX13" fmla="*/ 140015 w 1128574"/>
                <a:gd name="connsiteY13" fmla="*/ 697359 h 1471576"/>
                <a:gd name="connsiteX14" fmla="*/ 0 w 1128574"/>
                <a:gd name="connsiteY14" fmla="*/ 567621 h 1471576"/>
                <a:gd name="connsiteX15" fmla="*/ 363 w 1128574"/>
                <a:gd name="connsiteY15" fmla="*/ 564281 h 1471576"/>
                <a:gd name="connsiteX16" fmla="*/ 1 w 1128574"/>
                <a:gd name="connsiteY16" fmla="*/ 564281 h 1471576"/>
                <a:gd name="connsiteX17" fmla="*/ 501773 w 1128574"/>
                <a:gd name="connsiteY17" fmla="*/ 3505 h 1471576"/>
                <a:gd name="connsiteX18" fmla="*/ 555039 w 1128574"/>
                <a:gd name="connsiteY18" fmla="*/ 83 h 1471576"/>
                <a:gd name="connsiteX0" fmla="*/ 555039 w 1127615"/>
                <a:gd name="connsiteY0" fmla="*/ 83 h 1471576"/>
                <a:gd name="connsiteX1" fmla="*/ 1114657 w 1127615"/>
                <a:gd name="connsiteY1" fmla="*/ 440104 h 1471576"/>
                <a:gd name="connsiteX2" fmla="*/ 772429 w 1127615"/>
                <a:gd name="connsiteY2" fmla="*/ 1088053 h 1471576"/>
                <a:gd name="connsiteX3" fmla="*/ 567462 w 1127615"/>
                <a:gd name="connsiteY3" fmla="*/ 1372368 h 1471576"/>
                <a:gd name="connsiteX4" fmla="*/ 434237 w 1127615"/>
                <a:gd name="connsiteY4" fmla="*/ 1471472 h 1471576"/>
                <a:gd name="connsiteX5" fmla="*/ 298567 w 1127615"/>
                <a:gd name="connsiteY5" fmla="*/ 1360143 h 1471576"/>
                <a:gd name="connsiteX6" fmla="*/ 300331 w 1127615"/>
                <a:gd name="connsiteY6" fmla="*/ 1290412 h 1471576"/>
                <a:gd name="connsiteX7" fmla="*/ 656254 w 1127615"/>
                <a:gd name="connsiteY7" fmla="*/ 830430 h 1471576"/>
                <a:gd name="connsiteX8" fmla="*/ 838945 w 1127615"/>
                <a:gd name="connsiteY8" fmla="*/ 502307 h 1471576"/>
                <a:gd name="connsiteX9" fmla="*/ 533067 w 1127615"/>
                <a:gd name="connsiteY9" fmla="*/ 284409 h 1471576"/>
                <a:gd name="connsiteX10" fmla="*/ 282643 w 1127615"/>
                <a:gd name="connsiteY10" fmla="*/ 564282 h 1471576"/>
                <a:gd name="connsiteX11" fmla="*/ 279666 w 1127615"/>
                <a:gd name="connsiteY11" fmla="*/ 564282 h 1471576"/>
                <a:gd name="connsiteX12" fmla="*/ 280029 w 1127615"/>
                <a:gd name="connsiteY12" fmla="*/ 567621 h 1471576"/>
                <a:gd name="connsiteX13" fmla="*/ 140015 w 1127615"/>
                <a:gd name="connsiteY13" fmla="*/ 697359 h 1471576"/>
                <a:gd name="connsiteX14" fmla="*/ 0 w 1127615"/>
                <a:gd name="connsiteY14" fmla="*/ 567621 h 1471576"/>
                <a:gd name="connsiteX15" fmla="*/ 363 w 1127615"/>
                <a:gd name="connsiteY15" fmla="*/ 564281 h 1471576"/>
                <a:gd name="connsiteX16" fmla="*/ 1 w 1127615"/>
                <a:gd name="connsiteY16" fmla="*/ 564281 h 1471576"/>
                <a:gd name="connsiteX17" fmla="*/ 501773 w 1127615"/>
                <a:gd name="connsiteY17" fmla="*/ 3505 h 1471576"/>
                <a:gd name="connsiteX18" fmla="*/ 555039 w 1127615"/>
                <a:gd name="connsiteY18" fmla="*/ 83 h 147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27615" h="1471576">
                  <a:moveTo>
                    <a:pt x="555039" y="83"/>
                  </a:moveTo>
                  <a:cubicBezTo>
                    <a:pt x="819662" y="-4458"/>
                    <a:pt x="1055349" y="177228"/>
                    <a:pt x="1114657" y="440104"/>
                  </a:cubicBezTo>
                  <a:cubicBezTo>
                    <a:pt x="1176026" y="712121"/>
                    <a:pt x="1012387" y="928036"/>
                    <a:pt x="772429" y="1088053"/>
                  </a:cubicBezTo>
                  <a:cubicBezTo>
                    <a:pt x="669004" y="1165193"/>
                    <a:pt x="628716" y="1262011"/>
                    <a:pt x="567462" y="1372368"/>
                  </a:cubicBezTo>
                  <a:cubicBezTo>
                    <a:pt x="530657" y="1446051"/>
                    <a:pt x="479053" y="1473509"/>
                    <a:pt x="434237" y="1471472"/>
                  </a:cubicBezTo>
                  <a:cubicBezTo>
                    <a:pt x="389421" y="1469435"/>
                    <a:pt x="310014" y="1424120"/>
                    <a:pt x="298567" y="1360143"/>
                  </a:cubicBezTo>
                  <a:lnTo>
                    <a:pt x="300331" y="1290412"/>
                  </a:lnTo>
                  <a:cubicBezTo>
                    <a:pt x="335496" y="1172787"/>
                    <a:pt x="473578" y="1003344"/>
                    <a:pt x="656254" y="830430"/>
                  </a:cubicBezTo>
                  <a:cubicBezTo>
                    <a:pt x="746023" y="699079"/>
                    <a:pt x="870517" y="642249"/>
                    <a:pt x="838945" y="502307"/>
                  </a:cubicBezTo>
                  <a:cubicBezTo>
                    <a:pt x="807373" y="362364"/>
                    <a:pt x="675644" y="268526"/>
                    <a:pt x="533067" y="284409"/>
                  </a:cubicBezTo>
                  <a:cubicBezTo>
                    <a:pt x="390490" y="300293"/>
                    <a:pt x="282643" y="420822"/>
                    <a:pt x="282643" y="564282"/>
                  </a:cubicBezTo>
                  <a:lnTo>
                    <a:pt x="279666" y="564282"/>
                  </a:lnTo>
                  <a:cubicBezTo>
                    <a:pt x="280014" y="565385"/>
                    <a:pt x="280029" y="566502"/>
                    <a:pt x="280029" y="567621"/>
                  </a:cubicBezTo>
                  <a:cubicBezTo>
                    <a:pt x="280029" y="639273"/>
                    <a:pt x="217342" y="697359"/>
                    <a:pt x="140015" y="697359"/>
                  </a:cubicBezTo>
                  <a:cubicBezTo>
                    <a:pt x="62687" y="697359"/>
                    <a:pt x="0" y="639273"/>
                    <a:pt x="0" y="567621"/>
                  </a:cubicBezTo>
                  <a:lnTo>
                    <a:pt x="363" y="564281"/>
                  </a:lnTo>
                  <a:lnTo>
                    <a:pt x="1" y="564281"/>
                  </a:lnTo>
                  <a:cubicBezTo>
                    <a:pt x="1" y="276833"/>
                    <a:pt x="216092" y="35331"/>
                    <a:pt x="501773" y="3505"/>
                  </a:cubicBezTo>
                  <a:cubicBezTo>
                    <a:pt x="519628" y="1516"/>
                    <a:pt x="537398" y="386"/>
                    <a:pt x="555039" y="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grpSp>
        <p:nvGrpSpPr>
          <p:cNvPr id="131" name="Group 130">
            <a:extLst>
              <a:ext uri="{FF2B5EF4-FFF2-40B4-BE49-F238E27FC236}">
                <a16:creationId xmlns:a16="http://schemas.microsoft.com/office/drawing/2014/main" id="{EB6D17CB-DB32-8F4B-88A2-DD9200A7433B}"/>
              </a:ext>
            </a:extLst>
          </p:cNvPr>
          <p:cNvGrpSpPr/>
          <p:nvPr/>
        </p:nvGrpSpPr>
        <p:grpSpPr>
          <a:xfrm>
            <a:off x="2112154" y="1767755"/>
            <a:ext cx="804292" cy="1046537"/>
            <a:chOff x="2112154" y="1767755"/>
            <a:chExt cx="804292" cy="1046537"/>
          </a:xfrm>
        </p:grpSpPr>
        <p:grpSp>
          <p:nvGrpSpPr>
            <p:cNvPr id="94" name="Group 93">
              <a:extLst>
                <a:ext uri="{FF2B5EF4-FFF2-40B4-BE49-F238E27FC236}">
                  <a16:creationId xmlns:a16="http://schemas.microsoft.com/office/drawing/2014/main" id="{8BFCEA73-81F8-9748-B84A-ECAAF88D6775}"/>
                </a:ext>
              </a:extLst>
            </p:cNvPr>
            <p:cNvGrpSpPr/>
            <p:nvPr/>
          </p:nvGrpSpPr>
          <p:grpSpPr>
            <a:xfrm flipH="1">
              <a:off x="2306695" y="2549236"/>
              <a:ext cx="276470" cy="265056"/>
              <a:chOff x="4964627" y="3703863"/>
              <a:chExt cx="393594" cy="377344"/>
            </a:xfrm>
            <a:solidFill>
              <a:schemeClr val="tx2">
                <a:lumMod val="50000"/>
                <a:alpha val="70000"/>
              </a:schemeClr>
            </a:solidFill>
          </p:grpSpPr>
          <p:sp>
            <p:nvSpPr>
              <p:cNvPr id="95" name="Oval 1">
                <a:extLst>
                  <a:ext uri="{FF2B5EF4-FFF2-40B4-BE49-F238E27FC236}">
                    <a16:creationId xmlns:a16="http://schemas.microsoft.com/office/drawing/2014/main" id="{4FAB942B-0F3C-1C49-B175-881945B07EDB}"/>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6" name="Oval 1">
                <a:extLst>
                  <a:ext uri="{FF2B5EF4-FFF2-40B4-BE49-F238E27FC236}">
                    <a16:creationId xmlns:a16="http://schemas.microsoft.com/office/drawing/2014/main" id="{8271A053-312F-944B-8C22-D4E1D42B870A}"/>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7" name="Oval 1">
                <a:extLst>
                  <a:ext uri="{FF2B5EF4-FFF2-40B4-BE49-F238E27FC236}">
                    <a16:creationId xmlns:a16="http://schemas.microsoft.com/office/drawing/2014/main" id="{1E6BD411-EF7C-E148-BC56-A45CB7BC892E}"/>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98" name="Oval 1">
                <a:extLst>
                  <a:ext uri="{FF2B5EF4-FFF2-40B4-BE49-F238E27FC236}">
                    <a16:creationId xmlns:a16="http://schemas.microsoft.com/office/drawing/2014/main" id="{2224345A-22E9-674E-B5DF-3B617694DCF0}"/>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99" name="Chevron 2">
              <a:extLst>
                <a:ext uri="{FF2B5EF4-FFF2-40B4-BE49-F238E27FC236}">
                  <a16:creationId xmlns:a16="http://schemas.microsoft.com/office/drawing/2014/main" id="{35A55D7B-62B0-AA48-B1A1-6E34B69875B0}"/>
                </a:ext>
              </a:extLst>
            </p:cNvPr>
            <p:cNvSpPr/>
            <p:nvPr/>
          </p:nvSpPr>
          <p:spPr>
            <a:xfrm rot="5400000">
              <a:off x="2139354" y="1740555"/>
              <a:ext cx="749892" cy="804292"/>
            </a:xfrm>
            <a:custGeom>
              <a:avLst/>
              <a:gdLst/>
              <a:ahLst/>
              <a:cxnLst/>
              <a:rect l="l" t="t" r="r" b="b"/>
              <a:pathLst>
                <a:path w="3010478" h="2971924">
                  <a:moveTo>
                    <a:pt x="0" y="0"/>
                  </a:moveTo>
                  <a:cubicBezTo>
                    <a:pt x="597789" y="631968"/>
                    <a:pt x="1954851" y="1281936"/>
                    <a:pt x="3010478" y="1750136"/>
                  </a:cubicBezTo>
                  <a:lnTo>
                    <a:pt x="3010478" y="1766533"/>
                  </a:lnTo>
                  <a:cubicBezTo>
                    <a:pt x="2556291" y="2057095"/>
                    <a:pt x="1750264" y="2348261"/>
                    <a:pt x="1695591" y="2971924"/>
                  </a:cubicBezTo>
                  <a:lnTo>
                    <a:pt x="1167606" y="2794065"/>
                  </a:lnTo>
                  <a:cubicBezTo>
                    <a:pt x="1356560" y="2217270"/>
                    <a:pt x="1563728" y="2059107"/>
                    <a:pt x="1967797" y="1771109"/>
                  </a:cubicBezTo>
                  <a:cubicBezTo>
                    <a:pt x="1212626" y="1431720"/>
                    <a:pt x="908197" y="1282487"/>
                    <a:pt x="19210" y="696594"/>
                  </a:cubicBezTo>
                  <a:cubicBezTo>
                    <a:pt x="12874" y="464793"/>
                    <a:pt x="13037" y="31157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grpSp>
        <p:nvGrpSpPr>
          <p:cNvPr id="101" name="Graphic 234">
            <a:extLst>
              <a:ext uri="{FF2B5EF4-FFF2-40B4-BE49-F238E27FC236}">
                <a16:creationId xmlns:a16="http://schemas.microsoft.com/office/drawing/2014/main" id="{9BA31DAB-795F-B640-A3E2-F47E8277E7A8}"/>
              </a:ext>
            </a:extLst>
          </p:cNvPr>
          <p:cNvGrpSpPr/>
          <p:nvPr/>
        </p:nvGrpSpPr>
        <p:grpSpPr>
          <a:xfrm>
            <a:off x="6242338" y="1786235"/>
            <a:ext cx="2837585" cy="1047376"/>
            <a:chOff x="7540326" y="1358451"/>
            <a:chExt cx="4257675" cy="1447800"/>
          </a:xfrm>
          <a:solidFill>
            <a:srgbClr val="004149"/>
          </a:solidFill>
        </p:grpSpPr>
        <p:sp>
          <p:nvSpPr>
            <p:cNvPr id="102" name="Freeform: Shape 175">
              <a:extLst>
                <a:ext uri="{FF2B5EF4-FFF2-40B4-BE49-F238E27FC236}">
                  <a16:creationId xmlns:a16="http://schemas.microsoft.com/office/drawing/2014/main" id="{EAC52673-767C-6147-871B-BA8A2AE06E54}"/>
                </a:ext>
              </a:extLst>
            </p:cNvPr>
            <p:cNvSpPr/>
            <p:nvPr/>
          </p:nvSpPr>
          <p:spPr>
            <a:xfrm>
              <a:off x="8179930" y="1579907"/>
              <a:ext cx="3581400" cy="762000"/>
            </a:xfrm>
            <a:custGeom>
              <a:avLst/>
              <a:gdLst>
                <a:gd name="connsiteX0" fmla="*/ 37624 w 3581400"/>
                <a:gd name="connsiteY0" fmla="*/ 761524 h 762000"/>
                <a:gd name="connsiteX1" fmla="*/ 7144 w 3581400"/>
                <a:gd name="connsiteY1" fmla="*/ 731044 h 762000"/>
                <a:gd name="connsiteX2" fmla="*/ 37624 w 3581400"/>
                <a:gd name="connsiteY2" fmla="*/ 700564 h 762000"/>
                <a:gd name="connsiteX3" fmla="*/ 64294 w 3581400"/>
                <a:gd name="connsiteY3" fmla="*/ 715804 h 762000"/>
                <a:gd name="connsiteX4" fmla="*/ 1177766 w 3581400"/>
                <a:gd name="connsiteY4" fmla="*/ 715804 h 762000"/>
                <a:gd name="connsiteX5" fmla="*/ 1060609 w 3581400"/>
                <a:gd name="connsiteY5" fmla="*/ 597694 h 762000"/>
                <a:gd name="connsiteX6" fmla="*/ 376714 w 3581400"/>
                <a:gd name="connsiteY6" fmla="*/ 597694 h 762000"/>
                <a:gd name="connsiteX7" fmla="*/ 350044 w 3581400"/>
                <a:gd name="connsiteY7" fmla="*/ 612934 h 762000"/>
                <a:gd name="connsiteX8" fmla="*/ 319564 w 3581400"/>
                <a:gd name="connsiteY8" fmla="*/ 582454 h 762000"/>
                <a:gd name="connsiteX9" fmla="*/ 350044 w 3581400"/>
                <a:gd name="connsiteY9" fmla="*/ 551974 h 762000"/>
                <a:gd name="connsiteX10" fmla="*/ 376714 w 3581400"/>
                <a:gd name="connsiteY10" fmla="*/ 567214 h 762000"/>
                <a:gd name="connsiteX11" fmla="*/ 804386 w 3581400"/>
                <a:gd name="connsiteY11" fmla="*/ 567214 h 762000"/>
                <a:gd name="connsiteX12" fmla="*/ 755809 w 3581400"/>
                <a:gd name="connsiteY12" fmla="*/ 518636 h 762000"/>
                <a:gd name="connsiteX13" fmla="*/ 469106 w 3581400"/>
                <a:gd name="connsiteY13" fmla="*/ 518636 h 762000"/>
                <a:gd name="connsiteX14" fmla="*/ 442436 w 3581400"/>
                <a:gd name="connsiteY14" fmla="*/ 533876 h 762000"/>
                <a:gd name="connsiteX15" fmla="*/ 411956 w 3581400"/>
                <a:gd name="connsiteY15" fmla="*/ 503396 h 762000"/>
                <a:gd name="connsiteX16" fmla="*/ 442436 w 3581400"/>
                <a:gd name="connsiteY16" fmla="*/ 472916 h 762000"/>
                <a:gd name="connsiteX17" fmla="*/ 469106 w 3581400"/>
                <a:gd name="connsiteY17" fmla="*/ 488156 h 762000"/>
                <a:gd name="connsiteX18" fmla="*/ 768191 w 3581400"/>
                <a:gd name="connsiteY18" fmla="*/ 488156 h 762000"/>
                <a:gd name="connsiteX19" fmla="*/ 846296 w 3581400"/>
                <a:gd name="connsiteY19" fmla="*/ 566261 h 762000"/>
                <a:gd name="connsiteX20" fmla="*/ 1072039 w 3581400"/>
                <a:gd name="connsiteY20" fmla="*/ 566261 h 762000"/>
                <a:gd name="connsiteX21" fmla="*/ 1219676 w 3581400"/>
                <a:gd name="connsiteY21" fmla="*/ 713899 h 762000"/>
                <a:gd name="connsiteX22" fmla="*/ 1376839 w 3581400"/>
                <a:gd name="connsiteY22" fmla="*/ 713899 h 762000"/>
                <a:gd name="connsiteX23" fmla="*/ 1540669 w 3581400"/>
                <a:gd name="connsiteY23" fmla="*/ 550069 h 762000"/>
                <a:gd name="connsiteX24" fmla="*/ 2015014 w 3581400"/>
                <a:gd name="connsiteY24" fmla="*/ 550069 h 762000"/>
                <a:gd name="connsiteX25" fmla="*/ 2253139 w 3581400"/>
                <a:gd name="connsiteY25" fmla="*/ 311944 h 762000"/>
                <a:gd name="connsiteX26" fmla="*/ 2012156 w 3581400"/>
                <a:gd name="connsiteY26" fmla="*/ 311944 h 762000"/>
                <a:gd name="connsiteX27" fmla="*/ 1900714 w 3581400"/>
                <a:gd name="connsiteY27" fmla="*/ 426244 h 762000"/>
                <a:gd name="connsiteX28" fmla="*/ 1742599 w 3581400"/>
                <a:gd name="connsiteY28" fmla="*/ 426244 h 762000"/>
                <a:gd name="connsiteX29" fmla="*/ 1715929 w 3581400"/>
                <a:gd name="connsiteY29" fmla="*/ 441484 h 762000"/>
                <a:gd name="connsiteX30" fmla="*/ 1685449 w 3581400"/>
                <a:gd name="connsiteY30" fmla="*/ 411004 h 762000"/>
                <a:gd name="connsiteX31" fmla="*/ 1715929 w 3581400"/>
                <a:gd name="connsiteY31" fmla="*/ 380524 h 762000"/>
                <a:gd name="connsiteX32" fmla="*/ 1742599 w 3581400"/>
                <a:gd name="connsiteY32" fmla="*/ 395764 h 762000"/>
                <a:gd name="connsiteX33" fmla="*/ 1888331 w 3581400"/>
                <a:gd name="connsiteY33" fmla="*/ 395764 h 762000"/>
                <a:gd name="connsiteX34" fmla="*/ 1970246 w 3581400"/>
                <a:gd name="connsiteY34" fmla="*/ 313849 h 762000"/>
                <a:gd name="connsiteX35" fmla="*/ 1623536 w 3581400"/>
                <a:gd name="connsiteY35" fmla="*/ 313849 h 762000"/>
                <a:gd name="connsiteX36" fmla="*/ 1400651 w 3581400"/>
                <a:gd name="connsiteY36" fmla="*/ 536734 h 762000"/>
                <a:gd name="connsiteX37" fmla="*/ 1393031 w 3581400"/>
                <a:gd name="connsiteY37" fmla="*/ 566261 h 762000"/>
                <a:gd name="connsiteX38" fmla="*/ 1371124 w 3581400"/>
                <a:gd name="connsiteY38" fmla="*/ 574834 h 762000"/>
                <a:gd name="connsiteX39" fmla="*/ 1349216 w 3581400"/>
                <a:gd name="connsiteY39" fmla="*/ 566261 h 762000"/>
                <a:gd name="connsiteX40" fmla="*/ 1340644 w 3581400"/>
                <a:gd name="connsiteY40" fmla="*/ 544354 h 762000"/>
                <a:gd name="connsiteX41" fmla="*/ 1349216 w 3581400"/>
                <a:gd name="connsiteY41" fmla="*/ 522446 h 762000"/>
                <a:gd name="connsiteX42" fmla="*/ 1371124 w 3581400"/>
                <a:gd name="connsiteY42" fmla="*/ 513874 h 762000"/>
                <a:gd name="connsiteX43" fmla="*/ 1379696 w 3581400"/>
                <a:gd name="connsiteY43" fmla="*/ 514826 h 762000"/>
                <a:gd name="connsiteX44" fmla="*/ 1439704 w 3581400"/>
                <a:gd name="connsiteY44" fmla="*/ 454819 h 762000"/>
                <a:gd name="connsiteX45" fmla="*/ 1025366 w 3581400"/>
                <a:gd name="connsiteY45" fmla="*/ 454819 h 762000"/>
                <a:gd name="connsiteX46" fmla="*/ 988219 w 3581400"/>
                <a:gd name="connsiteY46" fmla="*/ 417671 h 762000"/>
                <a:gd name="connsiteX47" fmla="*/ 979646 w 3581400"/>
                <a:gd name="connsiteY47" fmla="*/ 418624 h 762000"/>
                <a:gd name="connsiteX48" fmla="*/ 957739 w 3581400"/>
                <a:gd name="connsiteY48" fmla="*/ 410051 h 762000"/>
                <a:gd name="connsiteX49" fmla="*/ 949166 w 3581400"/>
                <a:gd name="connsiteY49" fmla="*/ 388144 h 762000"/>
                <a:gd name="connsiteX50" fmla="*/ 957739 w 3581400"/>
                <a:gd name="connsiteY50" fmla="*/ 366236 h 762000"/>
                <a:gd name="connsiteX51" fmla="*/ 979646 w 3581400"/>
                <a:gd name="connsiteY51" fmla="*/ 357664 h 762000"/>
                <a:gd name="connsiteX52" fmla="*/ 1001554 w 3581400"/>
                <a:gd name="connsiteY52" fmla="*/ 366236 h 762000"/>
                <a:gd name="connsiteX53" fmla="*/ 1009174 w 3581400"/>
                <a:gd name="connsiteY53" fmla="*/ 395764 h 762000"/>
                <a:gd name="connsiteX54" fmla="*/ 1037749 w 3581400"/>
                <a:gd name="connsiteY54" fmla="*/ 424339 h 762000"/>
                <a:gd name="connsiteX55" fmla="*/ 1470184 w 3581400"/>
                <a:gd name="connsiteY55" fmla="*/ 424339 h 762000"/>
                <a:gd name="connsiteX56" fmla="*/ 1611154 w 3581400"/>
                <a:gd name="connsiteY56" fmla="*/ 283369 h 762000"/>
                <a:gd name="connsiteX57" fmla="*/ 2285524 w 3581400"/>
                <a:gd name="connsiteY57" fmla="*/ 283369 h 762000"/>
                <a:gd name="connsiteX58" fmla="*/ 2289334 w 3581400"/>
                <a:gd name="connsiteY58" fmla="*/ 279559 h 762000"/>
                <a:gd name="connsiteX59" fmla="*/ 2294096 w 3581400"/>
                <a:gd name="connsiteY59" fmla="*/ 283369 h 762000"/>
                <a:gd name="connsiteX60" fmla="*/ 2574131 w 3581400"/>
                <a:gd name="connsiteY60" fmla="*/ 283369 h 762000"/>
                <a:gd name="connsiteX61" fmla="*/ 2774156 w 3581400"/>
                <a:gd name="connsiteY61" fmla="*/ 83344 h 762000"/>
                <a:gd name="connsiteX62" fmla="*/ 2961799 w 3581400"/>
                <a:gd name="connsiteY62" fmla="*/ 83344 h 762000"/>
                <a:gd name="connsiteX63" fmla="*/ 3022759 w 3581400"/>
                <a:gd name="connsiteY63" fmla="*/ 22384 h 762000"/>
                <a:gd name="connsiteX64" fmla="*/ 3525679 w 3581400"/>
                <a:gd name="connsiteY64" fmla="*/ 22384 h 762000"/>
                <a:gd name="connsiteX65" fmla="*/ 3552349 w 3581400"/>
                <a:gd name="connsiteY65" fmla="*/ 7144 h 762000"/>
                <a:gd name="connsiteX66" fmla="*/ 3582829 w 3581400"/>
                <a:gd name="connsiteY66" fmla="*/ 37624 h 762000"/>
                <a:gd name="connsiteX67" fmla="*/ 3552349 w 3581400"/>
                <a:gd name="connsiteY67" fmla="*/ 68104 h 762000"/>
                <a:gd name="connsiteX68" fmla="*/ 3525679 w 3581400"/>
                <a:gd name="connsiteY68" fmla="*/ 52864 h 762000"/>
                <a:gd name="connsiteX69" fmla="*/ 3036094 w 3581400"/>
                <a:gd name="connsiteY69" fmla="*/ 52864 h 762000"/>
                <a:gd name="connsiteX70" fmla="*/ 2975134 w 3581400"/>
                <a:gd name="connsiteY70" fmla="*/ 113824 h 762000"/>
                <a:gd name="connsiteX71" fmla="*/ 2787491 w 3581400"/>
                <a:gd name="connsiteY71" fmla="*/ 113824 h 762000"/>
                <a:gd name="connsiteX72" fmla="*/ 2588419 w 3581400"/>
                <a:gd name="connsiteY72" fmla="*/ 312896 h 762000"/>
                <a:gd name="connsiteX73" fmla="*/ 2299811 w 3581400"/>
                <a:gd name="connsiteY73" fmla="*/ 312896 h 762000"/>
                <a:gd name="connsiteX74" fmla="*/ 2206466 w 3581400"/>
                <a:gd name="connsiteY74" fmla="*/ 406241 h 762000"/>
                <a:gd name="connsiteX75" fmla="*/ 2329339 w 3581400"/>
                <a:gd name="connsiteY75" fmla="*/ 406241 h 762000"/>
                <a:gd name="connsiteX76" fmla="*/ 2387441 w 3581400"/>
                <a:gd name="connsiteY76" fmla="*/ 464344 h 762000"/>
                <a:gd name="connsiteX77" fmla="*/ 2396014 w 3581400"/>
                <a:gd name="connsiteY77" fmla="*/ 463391 h 762000"/>
                <a:gd name="connsiteX78" fmla="*/ 2417921 w 3581400"/>
                <a:gd name="connsiteY78" fmla="*/ 471964 h 762000"/>
                <a:gd name="connsiteX79" fmla="*/ 2426494 w 3581400"/>
                <a:gd name="connsiteY79" fmla="*/ 493871 h 762000"/>
                <a:gd name="connsiteX80" fmla="*/ 2417921 w 3581400"/>
                <a:gd name="connsiteY80" fmla="*/ 515779 h 762000"/>
                <a:gd name="connsiteX81" fmla="*/ 2396014 w 3581400"/>
                <a:gd name="connsiteY81" fmla="*/ 524351 h 762000"/>
                <a:gd name="connsiteX82" fmla="*/ 2374106 w 3581400"/>
                <a:gd name="connsiteY82" fmla="*/ 515779 h 762000"/>
                <a:gd name="connsiteX83" fmla="*/ 2366486 w 3581400"/>
                <a:gd name="connsiteY83" fmla="*/ 486251 h 762000"/>
                <a:gd name="connsiteX84" fmla="*/ 2317909 w 3581400"/>
                <a:gd name="connsiteY84" fmla="*/ 437674 h 762000"/>
                <a:gd name="connsiteX85" fmla="*/ 2176939 w 3581400"/>
                <a:gd name="connsiteY85" fmla="*/ 437674 h 762000"/>
                <a:gd name="connsiteX86" fmla="*/ 2032159 w 3581400"/>
                <a:gd name="connsiteY86" fmla="*/ 582454 h 762000"/>
                <a:gd name="connsiteX87" fmla="*/ 1557814 w 3581400"/>
                <a:gd name="connsiteY87" fmla="*/ 582454 h 762000"/>
                <a:gd name="connsiteX88" fmla="*/ 1393984 w 3581400"/>
                <a:gd name="connsiteY88" fmla="*/ 746284 h 762000"/>
                <a:gd name="connsiteX89" fmla="*/ 64294 w 3581400"/>
                <a:gd name="connsiteY89" fmla="*/ 746284 h 762000"/>
                <a:gd name="connsiteX90" fmla="*/ 37624 w 3581400"/>
                <a:gd name="connsiteY90" fmla="*/ 761524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81400" h="762000">
                  <a:moveTo>
                    <a:pt x="37624" y="761524"/>
                  </a:moveTo>
                  <a:cubicBezTo>
                    <a:pt x="20479" y="761524"/>
                    <a:pt x="7144" y="748189"/>
                    <a:pt x="7144" y="731044"/>
                  </a:cubicBezTo>
                  <a:cubicBezTo>
                    <a:pt x="7144" y="713899"/>
                    <a:pt x="20479" y="700564"/>
                    <a:pt x="37624" y="700564"/>
                  </a:cubicBezTo>
                  <a:cubicBezTo>
                    <a:pt x="49054" y="700564"/>
                    <a:pt x="58579" y="706279"/>
                    <a:pt x="64294" y="715804"/>
                  </a:cubicBezTo>
                  <a:lnTo>
                    <a:pt x="1177766" y="715804"/>
                  </a:lnTo>
                  <a:lnTo>
                    <a:pt x="1060609" y="597694"/>
                  </a:lnTo>
                  <a:lnTo>
                    <a:pt x="376714" y="597694"/>
                  </a:lnTo>
                  <a:cubicBezTo>
                    <a:pt x="370999" y="607219"/>
                    <a:pt x="361474" y="612934"/>
                    <a:pt x="350044" y="612934"/>
                  </a:cubicBezTo>
                  <a:cubicBezTo>
                    <a:pt x="332899" y="612934"/>
                    <a:pt x="319564" y="599599"/>
                    <a:pt x="319564" y="582454"/>
                  </a:cubicBezTo>
                  <a:cubicBezTo>
                    <a:pt x="319564" y="565309"/>
                    <a:pt x="332899" y="551974"/>
                    <a:pt x="350044" y="551974"/>
                  </a:cubicBezTo>
                  <a:cubicBezTo>
                    <a:pt x="361474" y="551974"/>
                    <a:pt x="370999" y="557689"/>
                    <a:pt x="376714" y="567214"/>
                  </a:cubicBezTo>
                  <a:lnTo>
                    <a:pt x="804386" y="567214"/>
                  </a:lnTo>
                  <a:lnTo>
                    <a:pt x="755809" y="518636"/>
                  </a:lnTo>
                  <a:lnTo>
                    <a:pt x="469106" y="518636"/>
                  </a:lnTo>
                  <a:cubicBezTo>
                    <a:pt x="463391" y="528161"/>
                    <a:pt x="453866" y="533876"/>
                    <a:pt x="442436" y="533876"/>
                  </a:cubicBezTo>
                  <a:cubicBezTo>
                    <a:pt x="425291" y="533876"/>
                    <a:pt x="411956" y="520541"/>
                    <a:pt x="411956" y="503396"/>
                  </a:cubicBezTo>
                  <a:cubicBezTo>
                    <a:pt x="411956" y="486251"/>
                    <a:pt x="425291" y="472916"/>
                    <a:pt x="442436" y="472916"/>
                  </a:cubicBezTo>
                  <a:cubicBezTo>
                    <a:pt x="453866" y="472916"/>
                    <a:pt x="463391" y="478631"/>
                    <a:pt x="469106" y="488156"/>
                  </a:cubicBezTo>
                  <a:lnTo>
                    <a:pt x="768191" y="488156"/>
                  </a:lnTo>
                  <a:lnTo>
                    <a:pt x="846296" y="566261"/>
                  </a:lnTo>
                  <a:lnTo>
                    <a:pt x="1072039" y="566261"/>
                  </a:lnTo>
                  <a:lnTo>
                    <a:pt x="1219676" y="713899"/>
                  </a:lnTo>
                  <a:lnTo>
                    <a:pt x="1376839" y="713899"/>
                  </a:lnTo>
                  <a:lnTo>
                    <a:pt x="1540669" y="550069"/>
                  </a:lnTo>
                  <a:lnTo>
                    <a:pt x="2015014" y="550069"/>
                  </a:lnTo>
                  <a:lnTo>
                    <a:pt x="2253139" y="311944"/>
                  </a:lnTo>
                  <a:lnTo>
                    <a:pt x="2012156" y="311944"/>
                  </a:lnTo>
                  <a:lnTo>
                    <a:pt x="1900714" y="426244"/>
                  </a:lnTo>
                  <a:lnTo>
                    <a:pt x="1742599" y="426244"/>
                  </a:lnTo>
                  <a:cubicBezTo>
                    <a:pt x="1736884" y="435769"/>
                    <a:pt x="1727359" y="441484"/>
                    <a:pt x="1715929" y="441484"/>
                  </a:cubicBezTo>
                  <a:cubicBezTo>
                    <a:pt x="1698784" y="441484"/>
                    <a:pt x="1685449" y="428149"/>
                    <a:pt x="1685449" y="411004"/>
                  </a:cubicBezTo>
                  <a:cubicBezTo>
                    <a:pt x="1685449" y="393859"/>
                    <a:pt x="1698784" y="380524"/>
                    <a:pt x="1715929" y="380524"/>
                  </a:cubicBezTo>
                  <a:cubicBezTo>
                    <a:pt x="1727359" y="380524"/>
                    <a:pt x="1736884" y="386239"/>
                    <a:pt x="1742599" y="395764"/>
                  </a:cubicBezTo>
                  <a:lnTo>
                    <a:pt x="1888331" y="395764"/>
                  </a:lnTo>
                  <a:lnTo>
                    <a:pt x="1970246" y="313849"/>
                  </a:lnTo>
                  <a:lnTo>
                    <a:pt x="1623536" y="313849"/>
                  </a:lnTo>
                  <a:lnTo>
                    <a:pt x="1400651" y="536734"/>
                  </a:lnTo>
                  <a:cubicBezTo>
                    <a:pt x="1403509" y="547211"/>
                    <a:pt x="1400651" y="558641"/>
                    <a:pt x="1393031" y="566261"/>
                  </a:cubicBezTo>
                  <a:cubicBezTo>
                    <a:pt x="1387316" y="571976"/>
                    <a:pt x="1379696" y="574834"/>
                    <a:pt x="1371124" y="574834"/>
                  </a:cubicBezTo>
                  <a:cubicBezTo>
                    <a:pt x="1362551" y="574834"/>
                    <a:pt x="1354931" y="571976"/>
                    <a:pt x="1349216" y="566261"/>
                  </a:cubicBezTo>
                  <a:cubicBezTo>
                    <a:pt x="1343501" y="560546"/>
                    <a:pt x="1340644" y="552926"/>
                    <a:pt x="1340644" y="544354"/>
                  </a:cubicBezTo>
                  <a:cubicBezTo>
                    <a:pt x="1340644" y="535781"/>
                    <a:pt x="1343501" y="528161"/>
                    <a:pt x="1349216" y="522446"/>
                  </a:cubicBezTo>
                  <a:cubicBezTo>
                    <a:pt x="1354931" y="516731"/>
                    <a:pt x="1362551" y="513874"/>
                    <a:pt x="1371124" y="513874"/>
                  </a:cubicBezTo>
                  <a:cubicBezTo>
                    <a:pt x="1373981" y="513874"/>
                    <a:pt x="1376839" y="513874"/>
                    <a:pt x="1379696" y="514826"/>
                  </a:cubicBezTo>
                  <a:lnTo>
                    <a:pt x="1439704" y="454819"/>
                  </a:lnTo>
                  <a:lnTo>
                    <a:pt x="1025366" y="454819"/>
                  </a:lnTo>
                  <a:lnTo>
                    <a:pt x="988219" y="417671"/>
                  </a:lnTo>
                  <a:cubicBezTo>
                    <a:pt x="985361" y="418624"/>
                    <a:pt x="982504" y="418624"/>
                    <a:pt x="979646" y="418624"/>
                  </a:cubicBezTo>
                  <a:cubicBezTo>
                    <a:pt x="971074" y="418624"/>
                    <a:pt x="963454" y="415766"/>
                    <a:pt x="957739" y="410051"/>
                  </a:cubicBezTo>
                  <a:cubicBezTo>
                    <a:pt x="952024" y="404336"/>
                    <a:pt x="949166" y="396716"/>
                    <a:pt x="949166" y="388144"/>
                  </a:cubicBezTo>
                  <a:cubicBezTo>
                    <a:pt x="949166" y="379571"/>
                    <a:pt x="952024" y="371951"/>
                    <a:pt x="957739" y="366236"/>
                  </a:cubicBezTo>
                  <a:cubicBezTo>
                    <a:pt x="963454" y="360521"/>
                    <a:pt x="971074" y="357664"/>
                    <a:pt x="979646" y="357664"/>
                  </a:cubicBezTo>
                  <a:cubicBezTo>
                    <a:pt x="988219" y="357664"/>
                    <a:pt x="995839" y="360521"/>
                    <a:pt x="1001554" y="366236"/>
                  </a:cubicBezTo>
                  <a:cubicBezTo>
                    <a:pt x="1009174" y="373856"/>
                    <a:pt x="1012031" y="385286"/>
                    <a:pt x="1009174" y="395764"/>
                  </a:cubicBezTo>
                  <a:lnTo>
                    <a:pt x="1037749" y="424339"/>
                  </a:lnTo>
                  <a:lnTo>
                    <a:pt x="1470184" y="424339"/>
                  </a:lnTo>
                  <a:lnTo>
                    <a:pt x="1611154" y="283369"/>
                  </a:lnTo>
                  <a:lnTo>
                    <a:pt x="2285524" y="283369"/>
                  </a:lnTo>
                  <a:lnTo>
                    <a:pt x="2289334" y="279559"/>
                  </a:lnTo>
                  <a:lnTo>
                    <a:pt x="2294096" y="283369"/>
                  </a:lnTo>
                  <a:lnTo>
                    <a:pt x="2574131" y="283369"/>
                  </a:lnTo>
                  <a:lnTo>
                    <a:pt x="2774156" y="83344"/>
                  </a:lnTo>
                  <a:lnTo>
                    <a:pt x="2961799" y="83344"/>
                  </a:lnTo>
                  <a:lnTo>
                    <a:pt x="3022759" y="22384"/>
                  </a:lnTo>
                  <a:lnTo>
                    <a:pt x="3525679" y="22384"/>
                  </a:lnTo>
                  <a:cubicBezTo>
                    <a:pt x="3531394" y="12859"/>
                    <a:pt x="3540919" y="7144"/>
                    <a:pt x="3552349" y="7144"/>
                  </a:cubicBezTo>
                  <a:cubicBezTo>
                    <a:pt x="3569494" y="7144"/>
                    <a:pt x="3582829" y="20479"/>
                    <a:pt x="3582829" y="37624"/>
                  </a:cubicBezTo>
                  <a:cubicBezTo>
                    <a:pt x="3582829" y="54769"/>
                    <a:pt x="3569494" y="68104"/>
                    <a:pt x="3552349" y="68104"/>
                  </a:cubicBezTo>
                  <a:cubicBezTo>
                    <a:pt x="3540919" y="68104"/>
                    <a:pt x="3531394" y="62389"/>
                    <a:pt x="3525679" y="52864"/>
                  </a:cubicBezTo>
                  <a:lnTo>
                    <a:pt x="3036094" y="52864"/>
                  </a:lnTo>
                  <a:lnTo>
                    <a:pt x="2975134" y="113824"/>
                  </a:lnTo>
                  <a:lnTo>
                    <a:pt x="2787491" y="113824"/>
                  </a:lnTo>
                  <a:lnTo>
                    <a:pt x="2588419" y="312896"/>
                  </a:lnTo>
                  <a:lnTo>
                    <a:pt x="2299811" y="312896"/>
                  </a:lnTo>
                  <a:lnTo>
                    <a:pt x="2206466" y="406241"/>
                  </a:lnTo>
                  <a:lnTo>
                    <a:pt x="2329339" y="406241"/>
                  </a:lnTo>
                  <a:lnTo>
                    <a:pt x="2387441" y="464344"/>
                  </a:lnTo>
                  <a:cubicBezTo>
                    <a:pt x="2390299" y="463391"/>
                    <a:pt x="2393156" y="463391"/>
                    <a:pt x="2396014" y="463391"/>
                  </a:cubicBezTo>
                  <a:cubicBezTo>
                    <a:pt x="2404586" y="463391"/>
                    <a:pt x="2412206" y="466249"/>
                    <a:pt x="2417921" y="471964"/>
                  </a:cubicBezTo>
                  <a:cubicBezTo>
                    <a:pt x="2423636" y="477679"/>
                    <a:pt x="2426494" y="485299"/>
                    <a:pt x="2426494" y="493871"/>
                  </a:cubicBezTo>
                  <a:cubicBezTo>
                    <a:pt x="2426494" y="502444"/>
                    <a:pt x="2423636" y="510064"/>
                    <a:pt x="2417921" y="515779"/>
                  </a:cubicBezTo>
                  <a:cubicBezTo>
                    <a:pt x="2412206" y="521494"/>
                    <a:pt x="2404586" y="524351"/>
                    <a:pt x="2396014" y="524351"/>
                  </a:cubicBezTo>
                  <a:cubicBezTo>
                    <a:pt x="2387441" y="524351"/>
                    <a:pt x="2379821" y="521494"/>
                    <a:pt x="2374106" y="515779"/>
                  </a:cubicBezTo>
                  <a:cubicBezTo>
                    <a:pt x="2366486" y="508159"/>
                    <a:pt x="2363629" y="496729"/>
                    <a:pt x="2366486" y="486251"/>
                  </a:cubicBezTo>
                  <a:lnTo>
                    <a:pt x="2317909" y="437674"/>
                  </a:lnTo>
                  <a:lnTo>
                    <a:pt x="2176939" y="437674"/>
                  </a:lnTo>
                  <a:lnTo>
                    <a:pt x="2032159" y="582454"/>
                  </a:lnTo>
                  <a:lnTo>
                    <a:pt x="1557814" y="582454"/>
                  </a:lnTo>
                  <a:lnTo>
                    <a:pt x="1393984" y="746284"/>
                  </a:lnTo>
                  <a:lnTo>
                    <a:pt x="64294" y="746284"/>
                  </a:lnTo>
                  <a:cubicBezTo>
                    <a:pt x="59531" y="754856"/>
                    <a:pt x="49054" y="761524"/>
                    <a:pt x="37624" y="761524"/>
                  </a:cubicBezTo>
                  <a:close/>
                </a:path>
              </a:pathLst>
            </a:custGeom>
            <a:grpFill/>
            <a:ln w="9525" cap="flat">
              <a:noFill/>
              <a:prstDash val="solid"/>
              <a:miter/>
            </a:ln>
          </p:spPr>
          <p:txBody>
            <a:bodyPr rtlCol="0" anchor="ctr"/>
            <a:lstStyle/>
            <a:p>
              <a:endParaRPr lang="en-US"/>
            </a:p>
          </p:txBody>
        </p:sp>
        <p:sp>
          <p:nvSpPr>
            <p:cNvPr id="103" name="Freeform: Shape 176">
              <a:extLst>
                <a:ext uri="{FF2B5EF4-FFF2-40B4-BE49-F238E27FC236}">
                  <a16:creationId xmlns:a16="http://schemas.microsoft.com/office/drawing/2014/main" id="{3A433900-A8E5-A947-BBA2-2D8A960D1253}"/>
                </a:ext>
              </a:extLst>
            </p:cNvPr>
            <p:cNvSpPr/>
            <p:nvPr/>
          </p:nvSpPr>
          <p:spPr>
            <a:xfrm>
              <a:off x="8190407" y="1590385"/>
              <a:ext cx="3562350" cy="742950"/>
            </a:xfrm>
            <a:custGeom>
              <a:avLst/>
              <a:gdLst>
                <a:gd name="connsiteX0" fmla="*/ 2567464 w 3562350"/>
                <a:gd name="connsiteY0" fmla="*/ 282416 h 742950"/>
                <a:gd name="connsiteX1" fmla="*/ 2279809 w 3562350"/>
                <a:gd name="connsiteY1" fmla="*/ 282416 h 742950"/>
                <a:gd name="connsiteX2" fmla="*/ 2278856 w 3562350"/>
                <a:gd name="connsiteY2" fmla="*/ 281464 h 742950"/>
                <a:gd name="connsiteX3" fmla="*/ 2277904 w 3562350"/>
                <a:gd name="connsiteY3" fmla="*/ 282416 h 742950"/>
                <a:gd name="connsiteX4" fmla="*/ 1603534 w 3562350"/>
                <a:gd name="connsiteY4" fmla="*/ 282416 h 742950"/>
                <a:gd name="connsiteX5" fmla="*/ 1461611 w 3562350"/>
                <a:gd name="connsiteY5" fmla="*/ 424339 h 742950"/>
                <a:gd name="connsiteX6" fmla="*/ 1021556 w 3562350"/>
                <a:gd name="connsiteY6" fmla="*/ 424339 h 742950"/>
                <a:gd name="connsiteX7" fmla="*/ 986314 w 3562350"/>
                <a:gd name="connsiteY7" fmla="*/ 389096 h 742950"/>
                <a:gd name="connsiteX8" fmla="*/ 982504 w 3562350"/>
                <a:gd name="connsiteY8" fmla="*/ 363379 h 742950"/>
                <a:gd name="connsiteX9" fmla="*/ 952024 w 3562350"/>
                <a:gd name="connsiteY9" fmla="*/ 363379 h 742950"/>
                <a:gd name="connsiteX10" fmla="*/ 952024 w 3562350"/>
                <a:gd name="connsiteY10" fmla="*/ 392906 h 742950"/>
                <a:gd name="connsiteX11" fmla="*/ 977741 w 3562350"/>
                <a:gd name="connsiteY11" fmla="*/ 396716 h 742950"/>
                <a:gd name="connsiteX12" fmla="*/ 1016794 w 3562350"/>
                <a:gd name="connsiteY12" fmla="*/ 435769 h 742950"/>
                <a:gd name="connsiteX13" fmla="*/ 1450181 w 3562350"/>
                <a:gd name="connsiteY13" fmla="*/ 435769 h 742950"/>
                <a:gd name="connsiteX14" fmla="*/ 1370171 w 3562350"/>
                <a:gd name="connsiteY14" fmla="*/ 515779 h 742950"/>
                <a:gd name="connsiteX15" fmla="*/ 1344454 w 3562350"/>
                <a:gd name="connsiteY15" fmla="*/ 519589 h 742950"/>
                <a:gd name="connsiteX16" fmla="*/ 1344454 w 3562350"/>
                <a:gd name="connsiteY16" fmla="*/ 549116 h 742950"/>
                <a:gd name="connsiteX17" fmla="*/ 1373981 w 3562350"/>
                <a:gd name="connsiteY17" fmla="*/ 549116 h 742950"/>
                <a:gd name="connsiteX18" fmla="*/ 1377791 w 3562350"/>
                <a:gd name="connsiteY18" fmla="*/ 523399 h 742950"/>
                <a:gd name="connsiteX19" fmla="*/ 1608296 w 3562350"/>
                <a:gd name="connsiteY19" fmla="*/ 292894 h 742950"/>
                <a:gd name="connsiteX20" fmla="*/ 1982629 w 3562350"/>
                <a:gd name="connsiteY20" fmla="*/ 292894 h 742950"/>
                <a:gd name="connsiteX21" fmla="*/ 1881664 w 3562350"/>
                <a:gd name="connsiteY21" fmla="*/ 393859 h 742950"/>
                <a:gd name="connsiteX22" fmla="*/ 1726406 w 3562350"/>
                <a:gd name="connsiteY22" fmla="*/ 393859 h 742950"/>
                <a:gd name="connsiteX23" fmla="*/ 1706404 w 3562350"/>
                <a:gd name="connsiteY23" fmla="*/ 378619 h 742950"/>
                <a:gd name="connsiteX24" fmla="*/ 1685449 w 3562350"/>
                <a:gd name="connsiteY24" fmla="*/ 399574 h 742950"/>
                <a:gd name="connsiteX25" fmla="*/ 1706404 w 3562350"/>
                <a:gd name="connsiteY25" fmla="*/ 420529 h 742950"/>
                <a:gd name="connsiteX26" fmla="*/ 1726406 w 3562350"/>
                <a:gd name="connsiteY26" fmla="*/ 405289 h 742950"/>
                <a:gd name="connsiteX27" fmla="*/ 1886426 w 3562350"/>
                <a:gd name="connsiteY27" fmla="*/ 405289 h 742950"/>
                <a:gd name="connsiteX28" fmla="*/ 1998821 w 3562350"/>
                <a:gd name="connsiteY28" fmla="*/ 292894 h 742950"/>
                <a:gd name="connsiteX29" fmla="*/ 2267426 w 3562350"/>
                <a:gd name="connsiteY29" fmla="*/ 292894 h 742950"/>
                <a:gd name="connsiteX30" fmla="*/ 2010251 w 3562350"/>
                <a:gd name="connsiteY30" fmla="*/ 550069 h 742950"/>
                <a:gd name="connsiteX31" fmla="*/ 1535906 w 3562350"/>
                <a:gd name="connsiteY31" fmla="*/ 550069 h 742950"/>
                <a:gd name="connsiteX32" fmla="*/ 1372076 w 3562350"/>
                <a:gd name="connsiteY32" fmla="*/ 713899 h 742950"/>
                <a:gd name="connsiteX33" fmla="*/ 1207294 w 3562350"/>
                <a:gd name="connsiteY33" fmla="*/ 713899 h 742950"/>
                <a:gd name="connsiteX34" fmla="*/ 1059656 w 3562350"/>
                <a:gd name="connsiteY34" fmla="*/ 566261 h 742950"/>
                <a:gd name="connsiteX35" fmla="*/ 833914 w 3562350"/>
                <a:gd name="connsiteY35" fmla="*/ 566261 h 742950"/>
                <a:gd name="connsiteX36" fmla="*/ 833914 w 3562350"/>
                <a:gd name="connsiteY36" fmla="*/ 566261 h 742950"/>
                <a:gd name="connsiteX37" fmla="*/ 755809 w 3562350"/>
                <a:gd name="connsiteY37" fmla="*/ 488156 h 742950"/>
                <a:gd name="connsiteX38" fmla="*/ 453866 w 3562350"/>
                <a:gd name="connsiteY38" fmla="*/ 488156 h 742950"/>
                <a:gd name="connsiteX39" fmla="*/ 433864 w 3562350"/>
                <a:gd name="connsiteY39" fmla="*/ 472916 h 742950"/>
                <a:gd name="connsiteX40" fmla="*/ 412909 w 3562350"/>
                <a:gd name="connsiteY40" fmla="*/ 493871 h 742950"/>
                <a:gd name="connsiteX41" fmla="*/ 433864 w 3562350"/>
                <a:gd name="connsiteY41" fmla="*/ 514826 h 742950"/>
                <a:gd name="connsiteX42" fmla="*/ 453866 w 3562350"/>
                <a:gd name="connsiteY42" fmla="*/ 499586 h 742950"/>
                <a:gd name="connsiteX43" fmla="*/ 750094 w 3562350"/>
                <a:gd name="connsiteY43" fmla="*/ 499586 h 742950"/>
                <a:gd name="connsiteX44" fmla="*/ 817721 w 3562350"/>
                <a:gd name="connsiteY44" fmla="*/ 567214 h 742950"/>
                <a:gd name="connsiteX45" fmla="*/ 360521 w 3562350"/>
                <a:gd name="connsiteY45" fmla="*/ 567214 h 742950"/>
                <a:gd name="connsiteX46" fmla="*/ 340519 w 3562350"/>
                <a:gd name="connsiteY46" fmla="*/ 551974 h 742950"/>
                <a:gd name="connsiteX47" fmla="*/ 319564 w 3562350"/>
                <a:gd name="connsiteY47" fmla="*/ 572929 h 742950"/>
                <a:gd name="connsiteX48" fmla="*/ 340519 w 3562350"/>
                <a:gd name="connsiteY48" fmla="*/ 593884 h 742950"/>
                <a:gd name="connsiteX49" fmla="*/ 360521 w 3562350"/>
                <a:gd name="connsiteY49" fmla="*/ 578644 h 742950"/>
                <a:gd name="connsiteX50" fmla="*/ 1054894 w 3562350"/>
                <a:gd name="connsiteY50" fmla="*/ 578644 h 742950"/>
                <a:gd name="connsiteX51" fmla="*/ 1191101 w 3562350"/>
                <a:gd name="connsiteY51" fmla="*/ 714851 h 742950"/>
                <a:gd name="connsiteX52" fmla="*/ 48101 w 3562350"/>
                <a:gd name="connsiteY52" fmla="*/ 714851 h 742950"/>
                <a:gd name="connsiteX53" fmla="*/ 28099 w 3562350"/>
                <a:gd name="connsiteY53" fmla="*/ 699611 h 742950"/>
                <a:gd name="connsiteX54" fmla="*/ 7144 w 3562350"/>
                <a:gd name="connsiteY54" fmla="*/ 720566 h 742950"/>
                <a:gd name="connsiteX55" fmla="*/ 28099 w 3562350"/>
                <a:gd name="connsiteY55" fmla="*/ 741521 h 742950"/>
                <a:gd name="connsiteX56" fmla="*/ 48101 w 3562350"/>
                <a:gd name="connsiteY56" fmla="*/ 726281 h 742950"/>
                <a:gd name="connsiteX57" fmla="*/ 1376839 w 3562350"/>
                <a:gd name="connsiteY57" fmla="*/ 726281 h 742950"/>
                <a:gd name="connsiteX58" fmla="*/ 1540669 w 3562350"/>
                <a:gd name="connsiteY58" fmla="*/ 561499 h 742950"/>
                <a:gd name="connsiteX59" fmla="*/ 2015014 w 3562350"/>
                <a:gd name="connsiteY59" fmla="*/ 561499 h 742950"/>
                <a:gd name="connsiteX60" fmla="*/ 2159794 w 3562350"/>
                <a:gd name="connsiteY60" fmla="*/ 417671 h 742950"/>
                <a:gd name="connsiteX61" fmla="*/ 2308384 w 3562350"/>
                <a:gd name="connsiteY61" fmla="*/ 417671 h 742950"/>
                <a:gd name="connsiteX62" fmla="*/ 2364581 w 3562350"/>
                <a:gd name="connsiteY62" fmla="*/ 473869 h 742950"/>
                <a:gd name="connsiteX63" fmla="*/ 2368391 w 3562350"/>
                <a:gd name="connsiteY63" fmla="*/ 499586 h 742950"/>
                <a:gd name="connsiteX64" fmla="*/ 2397919 w 3562350"/>
                <a:gd name="connsiteY64" fmla="*/ 499586 h 742950"/>
                <a:gd name="connsiteX65" fmla="*/ 2397919 w 3562350"/>
                <a:gd name="connsiteY65" fmla="*/ 470059 h 742950"/>
                <a:gd name="connsiteX66" fmla="*/ 2372201 w 3562350"/>
                <a:gd name="connsiteY66" fmla="*/ 466249 h 742950"/>
                <a:gd name="connsiteX67" fmla="*/ 2313146 w 3562350"/>
                <a:gd name="connsiteY67" fmla="*/ 407194 h 742950"/>
                <a:gd name="connsiteX68" fmla="*/ 2170271 w 3562350"/>
                <a:gd name="connsiteY68" fmla="*/ 407194 h 742950"/>
                <a:gd name="connsiteX69" fmla="*/ 2283619 w 3562350"/>
                <a:gd name="connsiteY69" fmla="*/ 293846 h 742950"/>
                <a:gd name="connsiteX70" fmla="*/ 2572226 w 3562350"/>
                <a:gd name="connsiteY70" fmla="*/ 293846 h 742950"/>
                <a:gd name="connsiteX71" fmla="*/ 2771299 w 3562350"/>
                <a:gd name="connsiteY71" fmla="*/ 94774 h 742950"/>
                <a:gd name="connsiteX72" fmla="*/ 2959894 w 3562350"/>
                <a:gd name="connsiteY72" fmla="*/ 94774 h 742950"/>
                <a:gd name="connsiteX73" fmla="*/ 3020854 w 3562350"/>
                <a:gd name="connsiteY73" fmla="*/ 33814 h 742950"/>
                <a:gd name="connsiteX74" fmla="*/ 3520916 w 3562350"/>
                <a:gd name="connsiteY74" fmla="*/ 33814 h 742950"/>
                <a:gd name="connsiteX75" fmla="*/ 3540919 w 3562350"/>
                <a:gd name="connsiteY75" fmla="*/ 49054 h 742950"/>
                <a:gd name="connsiteX76" fmla="*/ 3561874 w 3562350"/>
                <a:gd name="connsiteY76" fmla="*/ 28099 h 742950"/>
                <a:gd name="connsiteX77" fmla="*/ 3540919 w 3562350"/>
                <a:gd name="connsiteY77" fmla="*/ 7144 h 742950"/>
                <a:gd name="connsiteX78" fmla="*/ 3520916 w 3562350"/>
                <a:gd name="connsiteY78" fmla="*/ 22384 h 742950"/>
                <a:gd name="connsiteX79" fmla="*/ 3016091 w 3562350"/>
                <a:gd name="connsiteY79" fmla="*/ 22384 h 742950"/>
                <a:gd name="connsiteX80" fmla="*/ 2955131 w 3562350"/>
                <a:gd name="connsiteY80" fmla="*/ 83344 h 742950"/>
                <a:gd name="connsiteX81" fmla="*/ 2767489 w 3562350"/>
                <a:gd name="connsiteY81" fmla="*/ 83344 h 742950"/>
                <a:gd name="connsiteX82" fmla="*/ 2567464 w 3562350"/>
                <a:gd name="connsiteY82" fmla="*/ 282416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562350" h="742950">
                  <a:moveTo>
                    <a:pt x="2567464" y="282416"/>
                  </a:moveTo>
                  <a:lnTo>
                    <a:pt x="2279809" y="282416"/>
                  </a:lnTo>
                  <a:lnTo>
                    <a:pt x="2278856" y="281464"/>
                  </a:lnTo>
                  <a:lnTo>
                    <a:pt x="2277904" y="282416"/>
                  </a:lnTo>
                  <a:lnTo>
                    <a:pt x="1603534" y="282416"/>
                  </a:lnTo>
                  <a:lnTo>
                    <a:pt x="1461611" y="424339"/>
                  </a:lnTo>
                  <a:lnTo>
                    <a:pt x="1021556" y="424339"/>
                  </a:lnTo>
                  <a:lnTo>
                    <a:pt x="986314" y="389096"/>
                  </a:lnTo>
                  <a:cubicBezTo>
                    <a:pt x="991076" y="381476"/>
                    <a:pt x="990124" y="370999"/>
                    <a:pt x="982504" y="363379"/>
                  </a:cubicBezTo>
                  <a:cubicBezTo>
                    <a:pt x="973931" y="354806"/>
                    <a:pt x="960596" y="354806"/>
                    <a:pt x="952024" y="363379"/>
                  </a:cubicBezTo>
                  <a:cubicBezTo>
                    <a:pt x="943451" y="371951"/>
                    <a:pt x="943451" y="385286"/>
                    <a:pt x="952024" y="392906"/>
                  </a:cubicBezTo>
                  <a:cubicBezTo>
                    <a:pt x="958691" y="399574"/>
                    <a:pt x="969169" y="400526"/>
                    <a:pt x="977741" y="396716"/>
                  </a:cubicBezTo>
                  <a:lnTo>
                    <a:pt x="1016794" y="435769"/>
                  </a:lnTo>
                  <a:lnTo>
                    <a:pt x="1450181" y="435769"/>
                  </a:lnTo>
                  <a:lnTo>
                    <a:pt x="1370171" y="515779"/>
                  </a:lnTo>
                  <a:cubicBezTo>
                    <a:pt x="1362551" y="511016"/>
                    <a:pt x="1352074" y="511969"/>
                    <a:pt x="1344454" y="519589"/>
                  </a:cubicBezTo>
                  <a:cubicBezTo>
                    <a:pt x="1335881" y="528161"/>
                    <a:pt x="1335881" y="541496"/>
                    <a:pt x="1344454" y="549116"/>
                  </a:cubicBezTo>
                  <a:cubicBezTo>
                    <a:pt x="1353026" y="557689"/>
                    <a:pt x="1366361" y="557689"/>
                    <a:pt x="1373981" y="549116"/>
                  </a:cubicBezTo>
                  <a:cubicBezTo>
                    <a:pt x="1380649" y="542449"/>
                    <a:pt x="1381601" y="531971"/>
                    <a:pt x="1377791" y="523399"/>
                  </a:cubicBezTo>
                  <a:lnTo>
                    <a:pt x="1608296" y="292894"/>
                  </a:lnTo>
                  <a:lnTo>
                    <a:pt x="1982629" y="292894"/>
                  </a:lnTo>
                  <a:lnTo>
                    <a:pt x="1881664" y="393859"/>
                  </a:lnTo>
                  <a:lnTo>
                    <a:pt x="1726406" y="393859"/>
                  </a:lnTo>
                  <a:cubicBezTo>
                    <a:pt x="1723549" y="385286"/>
                    <a:pt x="1715929" y="378619"/>
                    <a:pt x="1706404" y="378619"/>
                  </a:cubicBezTo>
                  <a:cubicBezTo>
                    <a:pt x="1694974" y="378619"/>
                    <a:pt x="1685449" y="388144"/>
                    <a:pt x="1685449" y="399574"/>
                  </a:cubicBezTo>
                  <a:cubicBezTo>
                    <a:pt x="1685449" y="411004"/>
                    <a:pt x="1694974" y="420529"/>
                    <a:pt x="1706404" y="420529"/>
                  </a:cubicBezTo>
                  <a:cubicBezTo>
                    <a:pt x="1715929" y="420529"/>
                    <a:pt x="1724501" y="413861"/>
                    <a:pt x="1726406" y="405289"/>
                  </a:cubicBezTo>
                  <a:lnTo>
                    <a:pt x="1886426" y="405289"/>
                  </a:lnTo>
                  <a:lnTo>
                    <a:pt x="1998821" y="292894"/>
                  </a:lnTo>
                  <a:lnTo>
                    <a:pt x="2267426" y="292894"/>
                  </a:lnTo>
                  <a:lnTo>
                    <a:pt x="2010251" y="550069"/>
                  </a:lnTo>
                  <a:lnTo>
                    <a:pt x="1535906" y="550069"/>
                  </a:lnTo>
                  <a:lnTo>
                    <a:pt x="1372076" y="713899"/>
                  </a:lnTo>
                  <a:lnTo>
                    <a:pt x="1207294" y="713899"/>
                  </a:lnTo>
                  <a:lnTo>
                    <a:pt x="1059656" y="566261"/>
                  </a:lnTo>
                  <a:lnTo>
                    <a:pt x="833914" y="566261"/>
                  </a:lnTo>
                  <a:lnTo>
                    <a:pt x="833914" y="566261"/>
                  </a:lnTo>
                  <a:lnTo>
                    <a:pt x="755809" y="488156"/>
                  </a:lnTo>
                  <a:lnTo>
                    <a:pt x="453866" y="488156"/>
                  </a:lnTo>
                  <a:cubicBezTo>
                    <a:pt x="451009" y="479584"/>
                    <a:pt x="443389" y="472916"/>
                    <a:pt x="433864" y="472916"/>
                  </a:cubicBezTo>
                  <a:cubicBezTo>
                    <a:pt x="422434" y="472916"/>
                    <a:pt x="412909" y="482441"/>
                    <a:pt x="412909" y="493871"/>
                  </a:cubicBezTo>
                  <a:cubicBezTo>
                    <a:pt x="412909" y="505301"/>
                    <a:pt x="422434" y="514826"/>
                    <a:pt x="433864" y="514826"/>
                  </a:cubicBezTo>
                  <a:cubicBezTo>
                    <a:pt x="443389" y="514826"/>
                    <a:pt x="451961" y="508159"/>
                    <a:pt x="453866" y="499586"/>
                  </a:cubicBezTo>
                  <a:lnTo>
                    <a:pt x="750094" y="499586"/>
                  </a:lnTo>
                  <a:lnTo>
                    <a:pt x="817721" y="567214"/>
                  </a:lnTo>
                  <a:lnTo>
                    <a:pt x="360521" y="567214"/>
                  </a:lnTo>
                  <a:cubicBezTo>
                    <a:pt x="357664" y="558641"/>
                    <a:pt x="350044" y="551974"/>
                    <a:pt x="340519" y="551974"/>
                  </a:cubicBezTo>
                  <a:cubicBezTo>
                    <a:pt x="329089" y="551974"/>
                    <a:pt x="319564" y="561499"/>
                    <a:pt x="319564" y="572929"/>
                  </a:cubicBezTo>
                  <a:cubicBezTo>
                    <a:pt x="319564" y="584359"/>
                    <a:pt x="329089" y="593884"/>
                    <a:pt x="340519" y="593884"/>
                  </a:cubicBezTo>
                  <a:cubicBezTo>
                    <a:pt x="350044" y="593884"/>
                    <a:pt x="358616" y="587216"/>
                    <a:pt x="360521" y="578644"/>
                  </a:cubicBezTo>
                  <a:lnTo>
                    <a:pt x="1054894" y="578644"/>
                  </a:lnTo>
                  <a:lnTo>
                    <a:pt x="1191101" y="714851"/>
                  </a:lnTo>
                  <a:lnTo>
                    <a:pt x="48101" y="714851"/>
                  </a:lnTo>
                  <a:cubicBezTo>
                    <a:pt x="45244" y="706279"/>
                    <a:pt x="37624" y="699611"/>
                    <a:pt x="28099" y="699611"/>
                  </a:cubicBezTo>
                  <a:cubicBezTo>
                    <a:pt x="16669" y="699611"/>
                    <a:pt x="7144" y="709136"/>
                    <a:pt x="7144" y="720566"/>
                  </a:cubicBezTo>
                  <a:cubicBezTo>
                    <a:pt x="7144" y="731996"/>
                    <a:pt x="16669" y="741521"/>
                    <a:pt x="28099" y="741521"/>
                  </a:cubicBezTo>
                  <a:cubicBezTo>
                    <a:pt x="37624" y="741521"/>
                    <a:pt x="46196" y="734854"/>
                    <a:pt x="48101" y="726281"/>
                  </a:cubicBezTo>
                  <a:lnTo>
                    <a:pt x="1376839" y="726281"/>
                  </a:lnTo>
                  <a:lnTo>
                    <a:pt x="1540669" y="561499"/>
                  </a:lnTo>
                  <a:lnTo>
                    <a:pt x="2015014" y="561499"/>
                  </a:lnTo>
                  <a:lnTo>
                    <a:pt x="2159794" y="417671"/>
                  </a:lnTo>
                  <a:lnTo>
                    <a:pt x="2308384" y="417671"/>
                  </a:lnTo>
                  <a:lnTo>
                    <a:pt x="2364581" y="473869"/>
                  </a:lnTo>
                  <a:cubicBezTo>
                    <a:pt x="2359819" y="481489"/>
                    <a:pt x="2360771" y="491966"/>
                    <a:pt x="2368391" y="499586"/>
                  </a:cubicBezTo>
                  <a:cubicBezTo>
                    <a:pt x="2376964" y="508159"/>
                    <a:pt x="2390299" y="508159"/>
                    <a:pt x="2397919" y="499586"/>
                  </a:cubicBezTo>
                  <a:cubicBezTo>
                    <a:pt x="2406491" y="491014"/>
                    <a:pt x="2406491" y="477679"/>
                    <a:pt x="2397919" y="470059"/>
                  </a:cubicBezTo>
                  <a:cubicBezTo>
                    <a:pt x="2391251" y="463391"/>
                    <a:pt x="2380774" y="462439"/>
                    <a:pt x="2372201" y="466249"/>
                  </a:cubicBezTo>
                  <a:lnTo>
                    <a:pt x="2313146" y="407194"/>
                  </a:lnTo>
                  <a:lnTo>
                    <a:pt x="2170271" y="407194"/>
                  </a:lnTo>
                  <a:lnTo>
                    <a:pt x="2283619" y="293846"/>
                  </a:lnTo>
                  <a:lnTo>
                    <a:pt x="2572226" y="293846"/>
                  </a:lnTo>
                  <a:lnTo>
                    <a:pt x="2771299" y="94774"/>
                  </a:lnTo>
                  <a:lnTo>
                    <a:pt x="2959894" y="94774"/>
                  </a:lnTo>
                  <a:lnTo>
                    <a:pt x="3020854" y="33814"/>
                  </a:lnTo>
                  <a:lnTo>
                    <a:pt x="3520916" y="33814"/>
                  </a:lnTo>
                  <a:cubicBezTo>
                    <a:pt x="3523774" y="42386"/>
                    <a:pt x="3531394" y="49054"/>
                    <a:pt x="3540919" y="49054"/>
                  </a:cubicBezTo>
                  <a:cubicBezTo>
                    <a:pt x="3552349" y="49054"/>
                    <a:pt x="3561874" y="39529"/>
                    <a:pt x="3561874" y="28099"/>
                  </a:cubicBezTo>
                  <a:cubicBezTo>
                    <a:pt x="3561874" y="16669"/>
                    <a:pt x="3552349" y="7144"/>
                    <a:pt x="3540919" y="7144"/>
                  </a:cubicBezTo>
                  <a:cubicBezTo>
                    <a:pt x="3531394" y="7144"/>
                    <a:pt x="3522821" y="13811"/>
                    <a:pt x="3520916" y="22384"/>
                  </a:cubicBezTo>
                  <a:lnTo>
                    <a:pt x="3016091" y="22384"/>
                  </a:lnTo>
                  <a:lnTo>
                    <a:pt x="2955131" y="83344"/>
                  </a:lnTo>
                  <a:lnTo>
                    <a:pt x="2767489" y="83344"/>
                  </a:lnTo>
                  <a:lnTo>
                    <a:pt x="2567464" y="282416"/>
                  </a:lnTo>
                  <a:close/>
                </a:path>
              </a:pathLst>
            </a:custGeom>
            <a:grpFill/>
            <a:ln w="9525" cap="flat">
              <a:noFill/>
              <a:prstDash val="solid"/>
              <a:miter/>
            </a:ln>
          </p:spPr>
          <p:txBody>
            <a:bodyPr rtlCol="0" anchor="ctr"/>
            <a:lstStyle/>
            <a:p>
              <a:endParaRPr lang="en-US"/>
            </a:p>
          </p:txBody>
        </p:sp>
        <p:sp>
          <p:nvSpPr>
            <p:cNvPr id="104" name="Freeform: Shape 177">
              <a:extLst>
                <a:ext uri="{FF2B5EF4-FFF2-40B4-BE49-F238E27FC236}">
                  <a16:creationId xmlns:a16="http://schemas.microsoft.com/office/drawing/2014/main" id="{93982523-0D47-4A4A-9EBE-FB46DB50B802}"/>
                </a:ext>
              </a:extLst>
            </p:cNvPr>
            <p:cNvSpPr/>
            <p:nvPr/>
          </p:nvSpPr>
          <p:spPr>
            <a:xfrm>
              <a:off x="7533182" y="1351307"/>
              <a:ext cx="3552825" cy="771525"/>
            </a:xfrm>
            <a:custGeom>
              <a:avLst/>
              <a:gdLst>
                <a:gd name="connsiteX0" fmla="*/ 271939 w 3552825"/>
                <a:gd name="connsiteY0" fmla="*/ 772954 h 771525"/>
                <a:gd name="connsiteX1" fmla="*/ 241459 w 3552825"/>
                <a:gd name="connsiteY1" fmla="*/ 742474 h 771525"/>
                <a:gd name="connsiteX2" fmla="*/ 271939 w 3552825"/>
                <a:gd name="connsiteY2" fmla="*/ 711994 h 771525"/>
                <a:gd name="connsiteX3" fmla="*/ 298609 w 3552825"/>
                <a:gd name="connsiteY3" fmla="*/ 727234 h 771525"/>
                <a:gd name="connsiteX4" fmla="*/ 817721 w 3552825"/>
                <a:gd name="connsiteY4" fmla="*/ 727234 h 771525"/>
                <a:gd name="connsiteX5" fmla="*/ 890111 w 3552825"/>
                <a:gd name="connsiteY5" fmla="*/ 653891 h 771525"/>
                <a:gd name="connsiteX6" fmla="*/ 64294 w 3552825"/>
                <a:gd name="connsiteY6" fmla="*/ 653891 h 771525"/>
                <a:gd name="connsiteX7" fmla="*/ 37624 w 3552825"/>
                <a:gd name="connsiteY7" fmla="*/ 669131 h 771525"/>
                <a:gd name="connsiteX8" fmla="*/ 7144 w 3552825"/>
                <a:gd name="connsiteY8" fmla="*/ 638651 h 771525"/>
                <a:gd name="connsiteX9" fmla="*/ 37624 w 3552825"/>
                <a:gd name="connsiteY9" fmla="*/ 608171 h 771525"/>
                <a:gd name="connsiteX10" fmla="*/ 64294 w 3552825"/>
                <a:gd name="connsiteY10" fmla="*/ 623411 h 771525"/>
                <a:gd name="connsiteX11" fmla="*/ 1397794 w 3552825"/>
                <a:gd name="connsiteY11" fmla="*/ 623411 h 771525"/>
                <a:gd name="connsiteX12" fmla="*/ 1762601 w 3552825"/>
                <a:gd name="connsiteY12" fmla="*/ 258604 h 771525"/>
                <a:gd name="connsiteX13" fmla="*/ 2255044 w 3552825"/>
                <a:gd name="connsiteY13" fmla="*/ 258604 h 771525"/>
                <a:gd name="connsiteX14" fmla="*/ 2179796 w 3552825"/>
                <a:gd name="connsiteY14" fmla="*/ 183356 h 771525"/>
                <a:gd name="connsiteX15" fmla="*/ 1637824 w 3552825"/>
                <a:gd name="connsiteY15" fmla="*/ 183356 h 771525"/>
                <a:gd name="connsiteX16" fmla="*/ 1289209 w 3552825"/>
                <a:gd name="connsiteY16" fmla="*/ 531971 h 771525"/>
                <a:gd name="connsiteX17" fmla="*/ 803434 w 3552825"/>
                <a:gd name="connsiteY17" fmla="*/ 531971 h 771525"/>
                <a:gd name="connsiteX18" fmla="*/ 776764 w 3552825"/>
                <a:gd name="connsiteY18" fmla="*/ 547211 h 771525"/>
                <a:gd name="connsiteX19" fmla="*/ 746284 w 3552825"/>
                <a:gd name="connsiteY19" fmla="*/ 516731 h 771525"/>
                <a:gd name="connsiteX20" fmla="*/ 776764 w 3552825"/>
                <a:gd name="connsiteY20" fmla="*/ 486251 h 771525"/>
                <a:gd name="connsiteX21" fmla="*/ 803434 w 3552825"/>
                <a:gd name="connsiteY21" fmla="*/ 501491 h 771525"/>
                <a:gd name="connsiteX22" fmla="*/ 1117759 w 3552825"/>
                <a:gd name="connsiteY22" fmla="*/ 501491 h 771525"/>
                <a:gd name="connsiteX23" fmla="*/ 1021556 w 3552825"/>
                <a:gd name="connsiteY23" fmla="*/ 405289 h 771525"/>
                <a:gd name="connsiteX24" fmla="*/ 211931 w 3552825"/>
                <a:gd name="connsiteY24" fmla="*/ 405289 h 771525"/>
                <a:gd name="connsiteX25" fmla="*/ 100489 w 3552825"/>
                <a:gd name="connsiteY25" fmla="*/ 294799 h 771525"/>
                <a:gd name="connsiteX26" fmla="*/ 91916 w 3552825"/>
                <a:gd name="connsiteY26" fmla="*/ 295751 h 771525"/>
                <a:gd name="connsiteX27" fmla="*/ 70009 w 3552825"/>
                <a:gd name="connsiteY27" fmla="*/ 287179 h 771525"/>
                <a:gd name="connsiteX28" fmla="*/ 70009 w 3552825"/>
                <a:gd name="connsiteY28" fmla="*/ 243364 h 771525"/>
                <a:gd name="connsiteX29" fmla="*/ 91916 w 3552825"/>
                <a:gd name="connsiteY29" fmla="*/ 234791 h 771525"/>
                <a:gd name="connsiteX30" fmla="*/ 113824 w 3552825"/>
                <a:gd name="connsiteY30" fmla="*/ 243364 h 771525"/>
                <a:gd name="connsiteX31" fmla="*/ 121444 w 3552825"/>
                <a:gd name="connsiteY31" fmla="*/ 272891 h 771525"/>
                <a:gd name="connsiteX32" fmla="*/ 224314 w 3552825"/>
                <a:gd name="connsiteY32" fmla="*/ 375761 h 771525"/>
                <a:gd name="connsiteX33" fmla="*/ 1033939 w 3552825"/>
                <a:gd name="connsiteY33" fmla="*/ 375761 h 771525"/>
                <a:gd name="connsiteX34" fmla="*/ 1160621 w 3552825"/>
                <a:gd name="connsiteY34" fmla="*/ 502444 h 771525"/>
                <a:gd name="connsiteX35" fmla="*/ 1276826 w 3552825"/>
                <a:gd name="connsiteY35" fmla="*/ 502444 h 771525"/>
                <a:gd name="connsiteX36" fmla="*/ 1625441 w 3552825"/>
                <a:gd name="connsiteY36" fmla="*/ 153829 h 771525"/>
                <a:gd name="connsiteX37" fmla="*/ 2193131 w 3552825"/>
                <a:gd name="connsiteY37" fmla="*/ 153829 h 771525"/>
                <a:gd name="connsiteX38" fmla="*/ 2298859 w 3552825"/>
                <a:gd name="connsiteY38" fmla="*/ 259556 h 771525"/>
                <a:gd name="connsiteX39" fmla="*/ 2721769 w 3552825"/>
                <a:gd name="connsiteY39" fmla="*/ 259556 h 771525"/>
                <a:gd name="connsiteX40" fmla="*/ 2973229 w 3552825"/>
                <a:gd name="connsiteY40" fmla="*/ 7144 h 771525"/>
                <a:gd name="connsiteX41" fmla="*/ 3548539 w 3552825"/>
                <a:gd name="connsiteY41" fmla="*/ 7144 h 771525"/>
                <a:gd name="connsiteX42" fmla="*/ 3548539 w 3552825"/>
                <a:gd name="connsiteY42" fmla="*/ 37624 h 771525"/>
                <a:gd name="connsiteX43" fmla="*/ 2985611 w 3552825"/>
                <a:gd name="connsiteY43" fmla="*/ 37624 h 771525"/>
                <a:gd name="connsiteX44" fmla="*/ 2733199 w 3552825"/>
                <a:gd name="connsiteY44" fmla="*/ 290036 h 771525"/>
                <a:gd name="connsiteX45" fmla="*/ 1774984 w 3552825"/>
                <a:gd name="connsiteY45" fmla="*/ 290036 h 771525"/>
                <a:gd name="connsiteX46" fmla="*/ 1635919 w 3552825"/>
                <a:gd name="connsiteY46" fmla="*/ 429101 h 771525"/>
                <a:gd name="connsiteX47" fmla="*/ 1871186 w 3552825"/>
                <a:gd name="connsiteY47" fmla="*/ 429101 h 771525"/>
                <a:gd name="connsiteX48" fmla="*/ 1968341 w 3552825"/>
                <a:gd name="connsiteY48" fmla="*/ 526256 h 771525"/>
                <a:gd name="connsiteX49" fmla="*/ 1976914 w 3552825"/>
                <a:gd name="connsiteY49" fmla="*/ 525304 h 771525"/>
                <a:gd name="connsiteX50" fmla="*/ 1998821 w 3552825"/>
                <a:gd name="connsiteY50" fmla="*/ 533876 h 771525"/>
                <a:gd name="connsiteX51" fmla="*/ 2007394 w 3552825"/>
                <a:gd name="connsiteY51" fmla="*/ 555784 h 771525"/>
                <a:gd name="connsiteX52" fmla="*/ 1998821 w 3552825"/>
                <a:gd name="connsiteY52" fmla="*/ 577691 h 771525"/>
                <a:gd name="connsiteX53" fmla="*/ 1976914 w 3552825"/>
                <a:gd name="connsiteY53" fmla="*/ 586264 h 771525"/>
                <a:gd name="connsiteX54" fmla="*/ 1955006 w 3552825"/>
                <a:gd name="connsiteY54" fmla="*/ 577691 h 771525"/>
                <a:gd name="connsiteX55" fmla="*/ 1947386 w 3552825"/>
                <a:gd name="connsiteY55" fmla="*/ 548164 h 771525"/>
                <a:gd name="connsiteX56" fmla="*/ 1859756 w 3552825"/>
                <a:gd name="connsiteY56" fmla="*/ 460534 h 771525"/>
                <a:gd name="connsiteX57" fmla="*/ 1606391 w 3552825"/>
                <a:gd name="connsiteY57" fmla="*/ 460534 h 771525"/>
                <a:gd name="connsiteX58" fmla="*/ 1410176 w 3552825"/>
                <a:gd name="connsiteY58" fmla="*/ 654844 h 771525"/>
                <a:gd name="connsiteX59" fmla="*/ 932974 w 3552825"/>
                <a:gd name="connsiteY59" fmla="*/ 654844 h 771525"/>
                <a:gd name="connsiteX60" fmla="*/ 830104 w 3552825"/>
                <a:gd name="connsiteY60" fmla="*/ 757714 h 771525"/>
                <a:gd name="connsiteX61" fmla="*/ 298609 w 3552825"/>
                <a:gd name="connsiteY61" fmla="*/ 757714 h 771525"/>
                <a:gd name="connsiteX62" fmla="*/ 271939 w 3552825"/>
                <a:gd name="connsiteY62" fmla="*/ 772954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52825" h="771525">
                  <a:moveTo>
                    <a:pt x="271939" y="772954"/>
                  </a:moveTo>
                  <a:cubicBezTo>
                    <a:pt x="254794" y="772954"/>
                    <a:pt x="241459" y="759619"/>
                    <a:pt x="241459" y="742474"/>
                  </a:cubicBezTo>
                  <a:cubicBezTo>
                    <a:pt x="241459" y="725329"/>
                    <a:pt x="254794" y="711994"/>
                    <a:pt x="271939" y="711994"/>
                  </a:cubicBezTo>
                  <a:cubicBezTo>
                    <a:pt x="283369" y="711994"/>
                    <a:pt x="292894" y="717709"/>
                    <a:pt x="298609" y="727234"/>
                  </a:cubicBezTo>
                  <a:lnTo>
                    <a:pt x="817721" y="727234"/>
                  </a:lnTo>
                  <a:lnTo>
                    <a:pt x="890111" y="653891"/>
                  </a:lnTo>
                  <a:lnTo>
                    <a:pt x="64294" y="653891"/>
                  </a:lnTo>
                  <a:cubicBezTo>
                    <a:pt x="58579" y="663416"/>
                    <a:pt x="49054" y="669131"/>
                    <a:pt x="37624" y="669131"/>
                  </a:cubicBezTo>
                  <a:cubicBezTo>
                    <a:pt x="20479" y="669131"/>
                    <a:pt x="7144" y="655796"/>
                    <a:pt x="7144" y="638651"/>
                  </a:cubicBezTo>
                  <a:cubicBezTo>
                    <a:pt x="7144" y="621506"/>
                    <a:pt x="20479" y="608171"/>
                    <a:pt x="37624" y="608171"/>
                  </a:cubicBezTo>
                  <a:cubicBezTo>
                    <a:pt x="49054" y="608171"/>
                    <a:pt x="58579" y="613886"/>
                    <a:pt x="64294" y="623411"/>
                  </a:cubicBezTo>
                  <a:lnTo>
                    <a:pt x="1397794" y="623411"/>
                  </a:lnTo>
                  <a:lnTo>
                    <a:pt x="1762601" y="258604"/>
                  </a:lnTo>
                  <a:lnTo>
                    <a:pt x="2255044" y="258604"/>
                  </a:lnTo>
                  <a:lnTo>
                    <a:pt x="2179796" y="183356"/>
                  </a:lnTo>
                  <a:lnTo>
                    <a:pt x="1637824" y="183356"/>
                  </a:lnTo>
                  <a:lnTo>
                    <a:pt x="1289209" y="531971"/>
                  </a:lnTo>
                  <a:lnTo>
                    <a:pt x="803434" y="531971"/>
                  </a:lnTo>
                  <a:cubicBezTo>
                    <a:pt x="797719" y="541496"/>
                    <a:pt x="788194" y="547211"/>
                    <a:pt x="776764" y="547211"/>
                  </a:cubicBezTo>
                  <a:cubicBezTo>
                    <a:pt x="759619" y="547211"/>
                    <a:pt x="746284" y="533876"/>
                    <a:pt x="746284" y="516731"/>
                  </a:cubicBezTo>
                  <a:cubicBezTo>
                    <a:pt x="746284" y="499586"/>
                    <a:pt x="759619" y="486251"/>
                    <a:pt x="776764" y="486251"/>
                  </a:cubicBezTo>
                  <a:cubicBezTo>
                    <a:pt x="788194" y="486251"/>
                    <a:pt x="797719" y="491966"/>
                    <a:pt x="803434" y="501491"/>
                  </a:cubicBezTo>
                  <a:lnTo>
                    <a:pt x="1117759" y="501491"/>
                  </a:lnTo>
                  <a:lnTo>
                    <a:pt x="1021556" y="405289"/>
                  </a:lnTo>
                  <a:lnTo>
                    <a:pt x="211931" y="405289"/>
                  </a:lnTo>
                  <a:lnTo>
                    <a:pt x="100489" y="294799"/>
                  </a:lnTo>
                  <a:cubicBezTo>
                    <a:pt x="97631" y="295751"/>
                    <a:pt x="94774" y="295751"/>
                    <a:pt x="91916" y="295751"/>
                  </a:cubicBezTo>
                  <a:cubicBezTo>
                    <a:pt x="83344" y="295751"/>
                    <a:pt x="75724" y="292894"/>
                    <a:pt x="70009" y="287179"/>
                  </a:cubicBezTo>
                  <a:cubicBezTo>
                    <a:pt x="57626" y="274796"/>
                    <a:pt x="57626" y="255746"/>
                    <a:pt x="70009" y="243364"/>
                  </a:cubicBezTo>
                  <a:cubicBezTo>
                    <a:pt x="75724" y="237649"/>
                    <a:pt x="83344" y="234791"/>
                    <a:pt x="91916" y="234791"/>
                  </a:cubicBezTo>
                  <a:cubicBezTo>
                    <a:pt x="100489" y="234791"/>
                    <a:pt x="108109" y="237649"/>
                    <a:pt x="113824" y="243364"/>
                  </a:cubicBezTo>
                  <a:cubicBezTo>
                    <a:pt x="121444" y="250984"/>
                    <a:pt x="124301" y="262414"/>
                    <a:pt x="121444" y="272891"/>
                  </a:cubicBezTo>
                  <a:lnTo>
                    <a:pt x="224314" y="375761"/>
                  </a:lnTo>
                  <a:lnTo>
                    <a:pt x="1033939" y="375761"/>
                  </a:lnTo>
                  <a:lnTo>
                    <a:pt x="1160621" y="502444"/>
                  </a:lnTo>
                  <a:lnTo>
                    <a:pt x="1276826" y="502444"/>
                  </a:lnTo>
                  <a:lnTo>
                    <a:pt x="1625441" y="153829"/>
                  </a:lnTo>
                  <a:lnTo>
                    <a:pt x="2193131" y="153829"/>
                  </a:lnTo>
                  <a:lnTo>
                    <a:pt x="2298859" y="259556"/>
                  </a:lnTo>
                  <a:lnTo>
                    <a:pt x="2721769" y="259556"/>
                  </a:lnTo>
                  <a:lnTo>
                    <a:pt x="2973229" y="7144"/>
                  </a:lnTo>
                  <a:lnTo>
                    <a:pt x="3548539" y="7144"/>
                  </a:lnTo>
                  <a:lnTo>
                    <a:pt x="3548539" y="37624"/>
                  </a:lnTo>
                  <a:lnTo>
                    <a:pt x="2985611" y="37624"/>
                  </a:lnTo>
                  <a:lnTo>
                    <a:pt x="2733199" y="290036"/>
                  </a:lnTo>
                  <a:lnTo>
                    <a:pt x="1774984" y="290036"/>
                  </a:lnTo>
                  <a:lnTo>
                    <a:pt x="1635919" y="429101"/>
                  </a:lnTo>
                  <a:lnTo>
                    <a:pt x="1871186" y="429101"/>
                  </a:lnTo>
                  <a:lnTo>
                    <a:pt x="1968341" y="526256"/>
                  </a:lnTo>
                  <a:cubicBezTo>
                    <a:pt x="1971199" y="525304"/>
                    <a:pt x="1974056" y="525304"/>
                    <a:pt x="1976914" y="525304"/>
                  </a:cubicBezTo>
                  <a:cubicBezTo>
                    <a:pt x="1985486" y="525304"/>
                    <a:pt x="1993106" y="528161"/>
                    <a:pt x="1998821" y="533876"/>
                  </a:cubicBezTo>
                  <a:cubicBezTo>
                    <a:pt x="2004536" y="539591"/>
                    <a:pt x="2007394" y="547211"/>
                    <a:pt x="2007394" y="555784"/>
                  </a:cubicBezTo>
                  <a:cubicBezTo>
                    <a:pt x="2007394" y="564356"/>
                    <a:pt x="2004536" y="571976"/>
                    <a:pt x="1998821" y="577691"/>
                  </a:cubicBezTo>
                  <a:cubicBezTo>
                    <a:pt x="1993106" y="583406"/>
                    <a:pt x="1985486" y="586264"/>
                    <a:pt x="1976914" y="586264"/>
                  </a:cubicBezTo>
                  <a:cubicBezTo>
                    <a:pt x="1968341" y="586264"/>
                    <a:pt x="1960721" y="583406"/>
                    <a:pt x="1955006" y="577691"/>
                  </a:cubicBezTo>
                  <a:cubicBezTo>
                    <a:pt x="1947386" y="570071"/>
                    <a:pt x="1944529" y="558641"/>
                    <a:pt x="1947386" y="548164"/>
                  </a:cubicBezTo>
                  <a:lnTo>
                    <a:pt x="1859756" y="460534"/>
                  </a:lnTo>
                  <a:lnTo>
                    <a:pt x="1606391" y="460534"/>
                  </a:lnTo>
                  <a:lnTo>
                    <a:pt x="1410176" y="654844"/>
                  </a:lnTo>
                  <a:lnTo>
                    <a:pt x="932974" y="654844"/>
                  </a:lnTo>
                  <a:lnTo>
                    <a:pt x="830104" y="757714"/>
                  </a:lnTo>
                  <a:lnTo>
                    <a:pt x="298609" y="757714"/>
                  </a:lnTo>
                  <a:cubicBezTo>
                    <a:pt x="292894" y="767239"/>
                    <a:pt x="283369" y="772954"/>
                    <a:pt x="271939" y="772954"/>
                  </a:cubicBezTo>
                  <a:close/>
                </a:path>
              </a:pathLst>
            </a:custGeom>
            <a:grpFill/>
            <a:ln w="9525" cap="flat">
              <a:noFill/>
              <a:prstDash val="solid"/>
              <a:miter/>
            </a:ln>
          </p:spPr>
          <p:txBody>
            <a:bodyPr rtlCol="0" anchor="ctr"/>
            <a:lstStyle/>
            <a:p>
              <a:endParaRPr lang="en-US"/>
            </a:p>
          </p:txBody>
        </p:sp>
        <p:sp>
          <p:nvSpPr>
            <p:cNvPr id="105" name="Freeform: Shape 178">
              <a:extLst>
                <a:ext uri="{FF2B5EF4-FFF2-40B4-BE49-F238E27FC236}">
                  <a16:creationId xmlns:a16="http://schemas.microsoft.com/office/drawing/2014/main" id="{D4DEFACB-AC7B-F041-8405-EBB5448C69A5}"/>
                </a:ext>
              </a:extLst>
            </p:cNvPr>
            <p:cNvSpPr/>
            <p:nvPr/>
          </p:nvSpPr>
          <p:spPr>
            <a:xfrm>
              <a:off x="7543660" y="1360832"/>
              <a:ext cx="3533775" cy="752475"/>
            </a:xfrm>
            <a:custGeom>
              <a:avLst/>
              <a:gdLst>
                <a:gd name="connsiteX0" fmla="*/ 903446 w 3533775"/>
                <a:gd name="connsiteY0" fmla="*/ 634841 h 752475"/>
                <a:gd name="connsiteX1" fmla="*/ 812006 w 3533775"/>
                <a:gd name="connsiteY1" fmla="*/ 727234 h 752475"/>
                <a:gd name="connsiteX2" fmla="*/ 281464 w 3533775"/>
                <a:gd name="connsiteY2" fmla="*/ 727234 h 752475"/>
                <a:gd name="connsiteX3" fmla="*/ 261461 w 3533775"/>
                <a:gd name="connsiteY3" fmla="*/ 711994 h 752475"/>
                <a:gd name="connsiteX4" fmla="*/ 240506 w 3533775"/>
                <a:gd name="connsiteY4" fmla="*/ 732949 h 752475"/>
                <a:gd name="connsiteX5" fmla="*/ 261461 w 3533775"/>
                <a:gd name="connsiteY5" fmla="*/ 753904 h 752475"/>
                <a:gd name="connsiteX6" fmla="*/ 281464 w 3533775"/>
                <a:gd name="connsiteY6" fmla="*/ 738664 h 752475"/>
                <a:gd name="connsiteX7" fmla="*/ 815816 w 3533775"/>
                <a:gd name="connsiteY7" fmla="*/ 738664 h 752475"/>
                <a:gd name="connsiteX8" fmla="*/ 918686 w 3533775"/>
                <a:gd name="connsiteY8" fmla="*/ 635794 h 752475"/>
                <a:gd name="connsiteX9" fmla="*/ 917734 w 3533775"/>
                <a:gd name="connsiteY9" fmla="*/ 634841 h 752475"/>
                <a:gd name="connsiteX10" fmla="*/ 1395889 w 3533775"/>
                <a:gd name="connsiteY10" fmla="*/ 634841 h 752475"/>
                <a:gd name="connsiteX11" fmla="*/ 1591151 w 3533775"/>
                <a:gd name="connsiteY11" fmla="*/ 439579 h 752475"/>
                <a:gd name="connsiteX12" fmla="*/ 1852136 w 3533775"/>
                <a:gd name="connsiteY12" fmla="*/ 439579 h 752475"/>
                <a:gd name="connsiteX13" fmla="*/ 1947386 w 3533775"/>
                <a:gd name="connsiteY13" fmla="*/ 534829 h 752475"/>
                <a:gd name="connsiteX14" fmla="*/ 1951196 w 3533775"/>
                <a:gd name="connsiteY14" fmla="*/ 560546 h 752475"/>
                <a:gd name="connsiteX15" fmla="*/ 1980724 w 3533775"/>
                <a:gd name="connsiteY15" fmla="*/ 560546 h 752475"/>
                <a:gd name="connsiteX16" fmla="*/ 1980724 w 3533775"/>
                <a:gd name="connsiteY16" fmla="*/ 531019 h 752475"/>
                <a:gd name="connsiteX17" fmla="*/ 1955006 w 3533775"/>
                <a:gd name="connsiteY17" fmla="*/ 527209 h 752475"/>
                <a:gd name="connsiteX18" fmla="*/ 1856899 w 3533775"/>
                <a:gd name="connsiteY18" fmla="*/ 429101 h 752475"/>
                <a:gd name="connsiteX19" fmla="*/ 1602581 w 3533775"/>
                <a:gd name="connsiteY19" fmla="*/ 429101 h 752475"/>
                <a:gd name="connsiteX20" fmla="*/ 1760696 w 3533775"/>
                <a:gd name="connsiteY20" fmla="*/ 270986 h 752475"/>
                <a:gd name="connsiteX21" fmla="*/ 2718911 w 3533775"/>
                <a:gd name="connsiteY21" fmla="*/ 270986 h 752475"/>
                <a:gd name="connsiteX22" fmla="*/ 2971324 w 3533775"/>
                <a:gd name="connsiteY22" fmla="*/ 18574 h 752475"/>
                <a:gd name="connsiteX23" fmla="*/ 3528536 w 3533775"/>
                <a:gd name="connsiteY23" fmla="*/ 18574 h 752475"/>
                <a:gd name="connsiteX24" fmla="*/ 3528536 w 3533775"/>
                <a:gd name="connsiteY24" fmla="*/ 7144 h 752475"/>
                <a:gd name="connsiteX25" fmla="*/ 2966561 w 3533775"/>
                <a:gd name="connsiteY25" fmla="*/ 7144 h 752475"/>
                <a:gd name="connsiteX26" fmla="*/ 2714149 w 3533775"/>
                <a:gd name="connsiteY26" fmla="*/ 259556 h 752475"/>
                <a:gd name="connsiteX27" fmla="*/ 2282666 w 3533775"/>
                <a:gd name="connsiteY27" fmla="*/ 259556 h 752475"/>
                <a:gd name="connsiteX28" fmla="*/ 2282666 w 3533775"/>
                <a:gd name="connsiteY28" fmla="*/ 259556 h 752475"/>
                <a:gd name="connsiteX29" fmla="*/ 2177891 w 3533775"/>
                <a:gd name="connsiteY29" fmla="*/ 153829 h 752475"/>
                <a:gd name="connsiteX30" fmla="*/ 1617821 w 3533775"/>
                <a:gd name="connsiteY30" fmla="*/ 153829 h 752475"/>
                <a:gd name="connsiteX31" fmla="*/ 1270159 w 3533775"/>
                <a:gd name="connsiteY31" fmla="*/ 502444 h 752475"/>
                <a:gd name="connsiteX32" fmla="*/ 1146334 w 3533775"/>
                <a:gd name="connsiteY32" fmla="*/ 502444 h 752475"/>
                <a:gd name="connsiteX33" fmla="*/ 1020604 w 3533775"/>
                <a:gd name="connsiteY33" fmla="*/ 376714 h 752475"/>
                <a:gd name="connsiteX34" fmla="*/ 210979 w 3533775"/>
                <a:gd name="connsiteY34" fmla="*/ 376714 h 752475"/>
                <a:gd name="connsiteX35" fmla="*/ 100489 w 3533775"/>
                <a:gd name="connsiteY35" fmla="*/ 266224 h 752475"/>
                <a:gd name="connsiteX36" fmla="*/ 96679 w 3533775"/>
                <a:gd name="connsiteY36" fmla="*/ 240506 h 752475"/>
                <a:gd name="connsiteX37" fmla="*/ 67151 w 3533775"/>
                <a:gd name="connsiteY37" fmla="*/ 240506 h 752475"/>
                <a:gd name="connsiteX38" fmla="*/ 67151 w 3533775"/>
                <a:gd name="connsiteY38" fmla="*/ 270034 h 752475"/>
                <a:gd name="connsiteX39" fmla="*/ 92869 w 3533775"/>
                <a:gd name="connsiteY39" fmla="*/ 273844 h 752475"/>
                <a:gd name="connsiteX40" fmla="*/ 206216 w 3533775"/>
                <a:gd name="connsiteY40" fmla="*/ 387191 h 752475"/>
                <a:gd name="connsiteX41" fmla="*/ 1015841 w 3533775"/>
                <a:gd name="connsiteY41" fmla="*/ 387191 h 752475"/>
                <a:gd name="connsiteX42" fmla="*/ 1130141 w 3533775"/>
                <a:gd name="connsiteY42" fmla="*/ 502444 h 752475"/>
                <a:gd name="connsiteX43" fmla="*/ 786289 w 3533775"/>
                <a:gd name="connsiteY43" fmla="*/ 502444 h 752475"/>
                <a:gd name="connsiteX44" fmla="*/ 766286 w 3533775"/>
                <a:gd name="connsiteY44" fmla="*/ 487204 h 752475"/>
                <a:gd name="connsiteX45" fmla="*/ 745331 w 3533775"/>
                <a:gd name="connsiteY45" fmla="*/ 508159 h 752475"/>
                <a:gd name="connsiteX46" fmla="*/ 766286 w 3533775"/>
                <a:gd name="connsiteY46" fmla="*/ 529114 h 752475"/>
                <a:gd name="connsiteX47" fmla="*/ 786289 w 3533775"/>
                <a:gd name="connsiteY47" fmla="*/ 513874 h 752475"/>
                <a:gd name="connsiteX48" fmla="*/ 1274921 w 3533775"/>
                <a:gd name="connsiteY48" fmla="*/ 513874 h 752475"/>
                <a:gd name="connsiteX49" fmla="*/ 1623536 w 3533775"/>
                <a:gd name="connsiteY49" fmla="*/ 165259 h 752475"/>
                <a:gd name="connsiteX50" fmla="*/ 2174081 w 3533775"/>
                <a:gd name="connsiteY50" fmla="*/ 165259 h 752475"/>
                <a:gd name="connsiteX51" fmla="*/ 2268379 w 3533775"/>
                <a:gd name="connsiteY51" fmla="*/ 259556 h 752475"/>
                <a:gd name="connsiteX52" fmla="*/ 1756886 w 3533775"/>
                <a:gd name="connsiteY52" fmla="*/ 259556 h 752475"/>
                <a:gd name="connsiteX53" fmla="*/ 1392079 w 3533775"/>
                <a:gd name="connsiteY53" fmla="*/ 624364 h 752475"/>
                <a:gd name="connsiteX54" fmla="*/ 48101 w 3533775"/>
                <a:gd name="connsiteY54" fmla="*/ 624364 h 752475"/>
                <a:gd name="connsiteX55" fmla="*/ 28099 w 3533775"/>
                <a:gd name="connsiteY55" fmla="*/ 609124 h 752475"/>
                <a:gd name="connsiteX56" fmla="*/ 7144 w 3533775"/>
                <a:gd name="connsiteY56" fmla="*/ 630079 h 752475"/>
                <a:gd name="connsiteX57" fmla="*/ 28099 w 3533775"/>
                <a:gd name="connsiteY57" fmla="*/ 651034 h 752475"/>
                <a:gd name="connsiteX58" fmla="*/ 48101 w 3533775"/>
                <a:gd name="connsiteY58" fmla="*/ 635794 h 752475"/>
                <a:gd name="connsiteX59" fmla="*/ 903446 w 3533775"/>
                <a:gd name="connsiteY59" fmla="*/ 63579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33775" h="752475">
                  <a:moveTo>
                    <a:pt x="903446" y="634841"/>
                  </a:moveTo>
                  <a:lnTo>
                    <a:pt x="812006" y="727234"/>
                  </a:lnTo>
                  <a:lnTo>
                    <a:pt x="281464" y="727234"/>
                  </a:lnTo>
                  <a:cubicBezTo>
                    <a:pt x="278606" y="718661"/>
                    <a:pt x="270986" y="711994"/>
                    <a:pt x="261461" y="711994"/>
                  </a:cubicBezTo>
                  <a:cubicBezTo>
                    <a:pt x="250031" y="711994"/>
                    <a:pt x="240506" y="721519"/>
                    <a:pt x="240506" y="732949"/>
                  </a:cubicBezTo>
                  <a:cubicBezTo>
                    <a:pt x="240506" y="744379"/>
                    <a:pt x="250031" y="753904"/>
                    <a:pt x="261461" y="753904"/>
                  </a:cubicBezTo>
                  <a:cubicBezTo>
                    <a:pt x="270986" y="753904"/>
                    <a:pt x="279559" y="747236"/>
                    <a:pt x="281464" y="738664"/>
                  </a:cubicBezTo>
                  <a:lnTo>
                    <a:pt x="815816" y="738664"/>
                  </a:lnTo>
                  <a:lnTo>
                    <a:pt x="918686" y="635794"/>
                  </a:lnTo>
                  <a:lnTo>
                    <a:pt x="917734" y="634841"/>
                  </a:lnTo>
                  <a:lnTo>
                    <a:pt x="1395889" y="634841"/>
                  </a:lnTo>
                  <a:lnTo>
                    <a:pt x="1591151" y="439579"/>
                  </a:lnTo>
                  <a:lnTo>
                    <a:pt x="1852136" y="439579"/>
                  </a:lnTo>
                  <a:lnTo>
                    <a:pt x="1947386" y="534829"/>
                  </a:lnTo>
                  <a:cubicBezTo>
                    <a:pt x="1942624" y="542449"/>
                    <a:pt x="1943576" y="552926"/>
                    <a:pt x="1951196" y="560546"/>
                  </a:cubicBezTo>
                  <a:cubicBezTo>
                    <a:pt x="1959769" y="569119"/>
                    <a:pt x="1973104" y="569119"/>
                    <a:pt x="1980724" y="560546"/>
                  </a:cubicBezTo>
                  <a:cubicBezTo>
                    <a:pt x="1989296" y="551974"/>
                    <a:pt x="1989296" y="538639"/>
                    <a:pt x="1980724" y="531019"/>
                  </a:cubicBezTo>
                  <a:cubicBezTo>
                    <a:pt x="1974056" y="524351"/>
                    <a:pt x="1963579" y="523399"/>
                    <a:pt x="1955006" y="527209"/>
                  </a:cubicBezTo>
                  <a:lnTo>
                    <a:pt x="1856899" y="429101"/>
                  </a:lnTo>
                  <a:lnTo>
                    <a:pt x="1602581" y="429101"/>
                  </a:lnTo>
                  <a:lnTo>
                    <a:pt x="1760696" y="270986"/>
                  </a:lnTo>
                  <a:lnTo>
                    <a:pt x="2718911" y="270986"/>
                  </a:lnTo>
                  <a:lnTo>
                    <a:pt x="2971324" y="18574"/>
                  </a:lnTo>
                  <a:lnTo>
                    <a:pt x="3528536" y="18574"/>
                  </a:lnTo>
                  <a:lnTo>
                    <a:pt x="3528536" y="7144"/>
                  </a:lnTo>
                  <a:lnTo>
                    <a:pt x="2966561" y="7144"/>
                  </a:lnTo>
                  <a:lnTo>
                    <a:pt x="2714149" y="259556"/>
                  </a:lnTo>
                  <a:lnTo>
                    <a:pt x="2282666" y="259556"/>
                  </a:lnTo>
                  <a:lnTo>
                    <a:pt x="2282666" y="259556"/>
                  </a:lnTo>
                  <a:lnTo>
                    <a:pt x="2177891" y="153829"/>
                  </a:lnTo>
                  <a:lnTo>
                    <a:pt x="1617821" y="153829"/>
                  </a:lnTo>
                  <a:lnTo>
                    <a:pt x="1270159" y="502444"/>
                  </a:lnTo>
                  <a:lnTo>
                    <a:pt x="1146334" y="502444"/>
                  </a:lnTo>
                  <a:lnTo>
                    <a:pt x="1020604" y="376714"/>
                  </a:lnTo>
                  <a:lnTo>
                    <a:pt x="210979" y="376714"/>
                  </a:lnTo>
                  <a:lnTo>
                    <a:pt x="100489" y="266224"/>
                  </a:lnTo>
                  <a:cubicBezTo>
                    <a:pt x="105251" y="258604"/>
                    <a:pt x="104299" y="248126"/>
                    <a:pt x="96679" y="240506"/>
                  </a:cubicBezTo>
                  <a:cubicBezTo>
                    <a:pt x="88106" y="231934"/>
                    <a:pt x="74771" y="231934"/>
                    <a:pt x="67151" y="240506"/>
                  </a:cubicBezTo>
                  <a:cubicBezTo>
                    <a:pt x="58579" y="249079"/>
                    <a:pt x="58579" y="262414"/>
                    <a:pt x="67151" y="270034"/>
                  </a:cubicBezTo>
                  <a:cubicBezTo>
                    <a:pt x="73819" y="276701"/>
                    <a:pt x="84296" y="277654"/>
                    <a:pt x="92869" y="273844"/>
                  </a:cubicBezTo>
                  <a:lnTo>
                    <a:pt x="206216" y="387191"/>
                  </a:lnTo>
                  <a:lnTo>
                    <a:pt x="1015841" y="387191"/>
                  </a:lnTo>
                  <a:lnTo>
                    <a:pt x="1130141" y="502444"/>
                  </a:lnTo>
                  <a:lnTo>
                    <a:pt x="786289" y="502444"/>
                  </a:lnTo>
                  <a:cubicBezTo>
                    <a:pt x="783431" y="493871"/>
                    <a:pt x="775811" y="487204"/>
                    <a:pt x="766286" y="487204"/>
                  </a:cubicBezTo>
                  <a:cubicBezTo>
                    <a:pt x="754856" y="487204"/>
                    <a:pt x="745331" y="496729"/>
                    <a:pt x="745331" y="508159"/>
                  </a:cubicBezTo>
                  <a:cubicBezTo>
                    <a:pt x="745331" y="519589"/>
                    <a:pt x="754856" y="529114"/>
                    <a:pt x="766286" y="529114"/>
                  </a:cubicBezTo>
                  <a:cubicBezTo>
                    <a:pt x="775811" y="529114"/>
                    <a:pt x="784384" y="522446"/>
                    <a:pt x="786289" y="513874"/>
                  </a:cubicBezTo>
                  <a:lnTo>
                    <a:pt x="1274921" y="513874"/>
                  </a:lnTo>
                  <a:lnTo>
                    <a:pt x="1623536" y="165259"/>
                  </a:lnTo>
                  <a:lnTo>
                    <a:pt x="2174081" y="165259"/>
                  </a:lnTo>
                  <a:lnTo>
                    <a:pt x="2268379" y="259556"/>
                  </a:lnTo>
                  <a:lnTo>
                    <a:pt x="1756886" y="259556"/>
                  </a:lnTo>
                  <a:lnTo>
                    <a:pt x="1392079" y="624364"/>
                  </a:lnTo>
                  <a:lnTo>
                    <a:pt x="48101" y="624364"/>
                  </a:lnTo>
                  <a:cubicBezTo>
                    <a:pt x="45244" y="615791"/>
                    <a:pt x="37624" y="609124"/>
                    <a:pt x="28099" y="609124"/>
                  </a:cubicBezTo>
                  <a:cubicBezTo>
                    <a:pt x="16669" y="609124"/>
                    <a:pt x="7144" y="618649"/>
                    <a:pt x="7144" y="630079"/>
                  </a:cubicBezTo>
                  <a:cubicBezTo>
                    <a:pt x="7144" y="641509"/>
                    <a:pt x="16669" y="651034"/>
                    <a:pt x="28099" y="651034"/>
                  </a:cubicBezTo>
                  <a:cubicBezTo>
                    <a:pt x="37624" y="651034"/>
                    <a:pt x="46196" y="644366"/>
                    <a:pt x="48101" y="635794"/>
                  </a:cubicBezTo>
                  <a:lnTo>
                    <a:pt x="903446" y="635794"/>
                  </a:lnTo>
                  <a:close/>
                </a:path>
              </a:pathLst>
            </a:custGeom>
            <a:grpFill/>
            <a:ln w="9525" cap="flat">
              <a:noFill/>
              <a:prstDash val="solid"/>
              <a:miter/>
            </a:ln>
          </p:spPr>
          <p:txBody>
            <a:bodyPr rtlCol="0" anchor="ctr"/>
            <a:lstStyle/>
            <a:p>
              <a:endParaRPr lang="en-US"/>
            </a:p>
          </p:txBody>
        </p:sp>
        <p:sp>
          <p:nvSpPr>
            <p:cNvPr id="106" name="Freeform: Shape 179">
              <a:extLst>
                <a:ext uri="{FF2B5EF4-FFF2-40B4-BE49-F238E27FC236}">
                  <a16:creationId xmlns:a16="http://schemas.microsoft.com/office/drawing/2014/main" id="{23E03CDF-271E-FD48-9FF1-F4342ECAE66B}"/>
                </a:ext>
              </a:extLst>
            </p:cNvPr>
            <p:cNvSpPr/>
            <p:nvPr/>
          </p:nvSpPr>
          <p:spPr>
            <a:xfrm>
              <a:off x="7588427" y="1653250"/>
              <a:ext cx="4210050" cy="1152525"/>
            </a:xfrm>
            <a:custGeom>
              <a:avLst/>
              <a:gdLst>
                <a:gd name="connsiteX0" fmla="*/ 37624 w 4210050"/>
                <a:gd name="connsiteY0" fmla="*/ 1153954 h 1152525"/>
                <a:gd name="connsiteX1" fmla="*/ 15716 w 4210050"/>
                <a:gd name="connsiteY1" fmla="*/ 1145381 h 1152525"/>
                <a:gd name="connsiteX2" fmla="*/ 7144 w 4210050"/>
                <a:gd name="connsiteY2" fmla="*/ 1123474 h 1152525"/>
                <a:gd name="connsiteX3" fmla="*/ 16669 w 4210050"/>
                <a:gd name="connsiteY3" fmla="*/ 1101566 h 1152525"/>
                <a:gd name="connsiteX4" fmla="*/ 38576 w 4210050"/>
                <a:gd name="connsiteY4" fmla="*/ 1092994 h 1152525"/>
                <a:gd name="connsiteX5" fmla="*/ 47149 w 4210050"/>
                <a:gd name="connsiteY5" fmla="*/ 1093946 h 1152525"/>
                <a:gd name="connsiteX6" fmla="*/ 185261 w 4210050"/>
                <a:gd name="connsiteY6" fmla="*/ 955834 h 1152525"/>
                <a:gd name="connsiteX7" fmla="*/ 1015841 w 4210050"/>
                <a:gd name="connsiteY7" fmla="*/ 955834 h 1152525"/>
                <a:gd name="connsiteX8" fmla="*/ 1182529 w 4210050"/>
                <a:gd name="connsiteY8" fmla="*/ 789146 h 1152525"/>
                <a:gd name="connsiteX9" fmla="*/ 524351 w 4210050"/>
                <a:gd name="connsiteY9" fmla="*/ 789146 h 1152525"/>
                <a:gd name="connsiteX10" fmla="*/ 455771 w 4210050"/>
                <a:gd name="connsiteY10" fmla="*/ 720566 h 1152525"/>
                <a:gd name="connsiteX11" fmla="*/ 447199 w 4210050"/>
                <a:gd name="connsiteY11" fmla="*/ 721519 h 1152525"/>
                <a:gd name="connsiteX12" fmla="*/ 425291 w 4210050"/>
                <a:gd name="connsiteY12" fmla="*/ 712946 h 1152525"/>
                <a:gd name="connsiteX13" fmla="*/ 416719 w 4210050"/>
                <a:gd name="connsiteY13" fmla="*/ 691039 h 1152525"/>
                <a:gd name="connsiteX14" fmla="*/ 425291 w 4210050"/>
                <a:gd name="connsiteY14" fmla="*/ 669131 h 1152525"/>
                <a:gd name="connsiteX15" fmla="*/ 447199 w 4210050"/>
                <a:gd name="connsiteY15" fmla="*/ 660559 h 1152525"/>
                <a:gd name="connsiteX16" fmla="*/ 469106 w 4210050"/>
                <a:gd name="connsiteY16" fmla="*/ 669131 h 1152525"/>
                <a:gd name="connsiteX17" fmla="*/ 476726 w 4210050"/>
                <a:gd name="connsiteY17" fmla="*/ 698659 h 1152525"/>
                <a:gd name="connsiteX18" fmla="*/ 536734 w 4210050"/>
                <a:gd name="connsiteY18" fmla="*/ 758666 h 1152525"/>
                <a:gd name="connsiteX19" fmla="*/ 1423511 w 4210050"/>
                <a:gd name="connsiteY19" fmla="*/ 758666 h 1152525"/>
                <a:gd name="connsiteX20" fmla="*/ 1546384 w 4210050"/>
                <a:gd name="connsiteY20" fmla="*/ 881539 h 1152525"/>
                <a:gd name="connsiteX21" fmla="*/ 1890236 w 4210050"/>
                <a:gd name="connsiteY21" fmla="*/ 881539 h 1152525"/>
                <a:gd name="connsiteX22" fmla="*/ 1800701 w 4210050"/>
                <a:gd name="connsiteY22" fmla="*/ 792004 h 1152525"/>
                <a:gd name="connsiteX23" fmla="*/ 1578769 w 4210050"/>
                <a:gd name="connsiteY23" fmla="*/ 792004 h 1152525"/>
                <a:gd name="connsiteX24" fmla="*/ 1552099 w 4210050"/>
                <a:gd name="connsiteY24" fmla="*/ 807244 h 1152525"/>
                <a:gd name="connsiteX25" fmla="*/ 1521619 w 4210050"/>
                <a:gd name="connsiteY25" fmla="*/ 776764 h 1152525"/>
                <a:gd name="connsiteX26" fmla="*/ 1552099 w 4210050"/>
                <a:gd name="connsiteY26" fmla="*/ 746284 h 1152525"/>
                <a:gd name="connsiteX27" fmla="*/ 1578769 w 4210050"/>
                <a:gd name="connsiteY27" fmla="*/ 761524 h 1152525"/>
                <a:gd name="connsiteX28" fmla="*/ 1813084 w 4210050"/>
                <a:gd name="connsiteY28" fmla="*/ 761524 h 1152525"/>
                <a:gd name="connsiteX29" fmla="*/ 1932146 w 4210050"/>
                <a:gd name="connsiteY29" fmla="*/ 880586 h 1152525"/>
                <a:gd name="connsiteX30" fmla="*/ 2062639 w 4210050"/>
                <a:gd name="connsiteY30" fmla="*/ 880586 h 1152525"/>
                <a:gd name="connsiteX31" fmla="*/ 2237899 w 4210050"/>
                <a:gd name="connsiteY31" fmla="*/ 705326 h 1152525"/>
                <a:gd name="connsiteX32" fmla="*/ 2118836 w 4210050"/>
                <a:gd name="connsiteY32" fmla="*/ 705326 h 1152525"/>
                <a:gd name="connsiteX33" fmla="*/ 2095024 w 4210050"/>
                <a:gd name="connsiteY33" fmla="*/ 729139 h 1152525"/>
                <a:gd name="connsiteX34" fmla="*/ 2087404 w 4210050"/>
                <a:gd name="connsiteY34" fmla="*/ 758666 h 1152525"/>
                <a:gd name="connsiteX35" fmla="*/ 2065496 w 4210050"/>
                <a:gd name="connsiteY35" fmla="*/ 767239 h 1152525"/>
                <a:gd name="connsiteX36" fmla="*/ 2043589 w 4210050"/>
                <a:gd name="connsiteY36" fmla="*/ 758666 h 1152525"/>
                <a:gd name="connsiteX37" fmla="*/ 2035016 w 4210050"/>
                <a:gd name="connsiteY37" fmla="*/ 736759 h 1152525"/>
                <a:gd name="connsiteX38" fmla="*/ 2043589 w 4210050"/>
                <a:gd name="connsiteY38" fmla="*/ 714851 h 1152525"/>
                <a:gd name="connsiteX39" fmla="*/ 2065496 w 4210050"/>
                <a:gd name="connsiteY39" fmla="*/ 706279 h 1152525"/>
                <a:gd name="connsiteX40" fmla="*/ 2074069 w 4210050"/>
                <a:gd name="connsiteY40" fmla="*/ 707231 h 1152525"/>
                <a:gd name="connsiteX41" fmla="*/ 2107406 w 4210050"/>
                <a:gd name="connsiteY41" fmla="*/ 673894 h 1152525"/>
                <a:gd name="connsiteX42" fmla="*/ 2380774 w 4210050"/>
                <a:gd name="connsiteY42" fmla="*/ 673894 h 1152525"/>
                <a:gd name="connsiteX43" fmla="*/ 2480786 w 4210050"/>
                <a:gd name="connsiteY43" fmla="*/ 573881 h 1152525"/>
                <a:gd name="connsiteX44" fmla="*/ 2959894 w 4210050"/>
                <a:gd name="connsiteY44" fmla="*/ 573881 h 1152525"/>
                <a:gd name="connsiteX45" fmla="*/ 3093244 w 4210050"/>
                <a:gd name="connsiteY45" fmla="*/ 440531 h 1152525"/>
                <a:gd name="connsiteX46" fmla="*/ 3409474 w 4210050"/>
                <a:gd name="connsiteY46" fmla="*/ 440531 h 1152525"/>
                <a:gd name="connsiteX47" fmla="*/ 3698081 w 4210050"/>
                <a:gd name="connsiteY47" fmla="*/ 151924 h 1152525"/>
                <a:gd name="connsiteX48" fmla="*/ 3527584 w 4210050"/>
                <a:gd name="connsiteY48" fmla="*/ 151924 h 1152525"/>
                <a:gd name="connsiteX49" fmla="*/ 3337084 w 4210050"/>
                <a:gd name="connsiteY49" fmla="*/ 342424 h 1152525"/>
                <a:gd name="connsiteX50" fmla="*/ 3170396 w 4210050"/>
                <a:gd name="connsiteY50" fmla="*/ 342424 h 1152525"/>
                <a:gd name="connsiteX51" fmla="*/ 3143726 w 4210050"/>
                <a:gd name="connsiteY51" fmla="*/ 357664 h 1152525"/>
                <a:gd name="connsiteX52" fmla="*/ 3113246 w 4210050"/>
                <a:gd name="connsiteY52" fmla="*/ 327184 h 1152525"/>
                <a:gd name="connsiteX53" fmla="*/ 3143726 w 4210050"/>
                <a:gd name="connsiteY53" fmla="*/ 296704 h 1152525"/>
                <a:gd name="connsiteX54" fmla="*/ 3170396 w 4210050"/>
                <a:gd name="connsiteY54" fmla="*/ 311944 h 1152525"/>
                <a:gd name="connsiteX55" fmla="*/ 3323749 w 4210050"/>
                <a:gd name="connsiteY55" fmla="*/ 311944 h 1152525"/>
                <a:gd name="connsiteX56" fmla="*/ 3514249 w 4210050"/>
                <a:gd name="connsiteY56" fmla="*/ 121444 h 1152525"/>
                <a:gd name="connsiteX57" fmla="*/ 3727609 w 4210050"/>
                <a:gd name="connsiteY57" fmla="*/ 121444 h 1152525"/>
                <a:gd name="connsiteX58" fmla="*/ 3841909 w 4210050"/>
                <a:gd name="connsiteY58" fmla="*/ 7144 h 1152525"/>
                <a:gd name="connsiteX59" fmla="*/ 4072414 w 4210050"/>
                <a:gd name="connsiteY59" fmla="*/ 7144 h 1152525"/>
                <a:gd name="connsiteX60" fmla="*/ 4172426 w 4210050"/>
                <a:gd name="connsiteY60" fmla="*/ 107156 h 1152525"/>
                <a:gd name="connsiteX61" fmla="*/ 4180999 w 4210050"/>
                <a:gd name="connsiteY61" fmla="*/ 106204 h 1152525"/>
                <a:gd name="connsiteX62" fmla="*/ 4202906 w 4210050"/>
                <a:gd name="connsiteY62" fmla="*/ 114776 h 1152525"/>
                <a:gd name="connsiteX63" fmla="*/ 4211479 w 4210050"/>
                <a:gd name="connsiteY63" fmla="*/ 136684 h 1152525"/>
                <a:gd name="connsiteX64" fmla="*/ 4202906 w 4210050"/>
                <a:gd name="connsiteY64" fmla="*/ 158591 h 1152525"/>
                <a:gd name="connsiteX65" fmla="*/ 4180999 w 4210050"/>
                <a:gd name="connsiteY65" fmla="*/ 167164 h 1152525"/>
                <a:gd name="connsiteX66" fmla="*/ 4159091 w 4210050"/>
                <a:gd name="connsiteY66" fmla="*/ 158591 h 1152525"/>
                <a:gd name="connsiteX67" fmla="*/ 4151471 w 4210050"/>
                <a:gd name="connsiteY67" fmla="*/ 129064 h 1152525"/>
                <a:gd name="connsiteX68" fmla="*/ 4060984 w 4210050"/>
                <a:gd name="connsiteY68" fmla="*/ 38576 h 1152525"/>
                <a:gd name="connsiteX69" fmla="*/ 3856196 w 4210050"/>
                <a:gd name="connsiteY69" fmla="*/ 38576 h 1152525"/>
                <a:gd name="connsiteX70" fmla="*/ 3422809 w 4210050"/>
                <a:gd name="connsiteY70" fmla="*/ 471964 h 1152525"/>
                <a:gd name="connsiteX71" fmla="*/ 3104674 w 4210050"/>
                <a:gd name="connsiteY71" fmla="*/ 471964 h 1152525"/>
                <a:gd name="connsiteX72" fmla="*/ 2767489 w 4210050"/>
                <a:gd name="connsiteY72" fmla="*/ 809149 h 1152525"/>
                <a:gd name="connsiteX73" fmla="*/ 2343626 w 4210050"/>
                <a:gd name="connsiteY73" fmla="*/ 809149 h 1152525"/>
                <a:gd name="connsiteX74" fmla="*/ 2316956 w 4210050"/>
                <a:gd name="connsiteY74" fmla="*/ 824389 h 1152525"/>
                <a:gd name="connsiteX75" fmla="*/ 2286476 w 4210050"/>
                <a:gd name="connsiteY75" fmla="*/ 793909 h 1152525"/>
                <a:gd name="connsiteX76" fmla="*/ 2316956 w 4210050"/>
                <a:gd name="connsiteY76" fmla="*/ 763429 h 1152525"/>
                <a:gd name="connsiteX77" fmla="*/ 2343626 w 4210050"/>
                <a:gd name="connsiteY77" fmla="*/ 778669 h 1152525"/>
                <a:gd name="connsiteX78" fmla="*/ 2755106 w 4210050"/>
                <a:gd name="connsiteY78" fmla="*/ 778669 h 1152525"/>
                <a:gd name="connsiteX79" fmla="*/ 2928461 w 4210050"/>
                <a:gd name="connsiteY79" fmla="*/ 605314 h 1152525"/>
                <a:gd name="connsiteX80" fmla="*/ 2492216 w 4210050"/>
                <a:gd name="connsiteY80" fmla="*/ 605314 h 1152525"/>
                <a:gd name="connsiteX81" fmla="*/ 2392204 w 4210050"/>
                <a:gd name="connsiteY81" fmla="*/ 705326 h 1152525"/>
                <a:gd name="connsiteX82" fmla="*/ 2279809 w 4210050"/>
                <a:gd name="connsiteY82" fmla="*/ 705326 h 1152525"/>
                <a:gd name="connsiteX83" fmla="*/ 2075021 w 4210050"/>
                <a:gd name="connsiteY83" fmla="*/ 910114 h 1152525"/>
                <a:gd name="connsiteX84" fmla="*/ 1533049 w 4210050"/>
                <a:gd name="connsiteY84" fmla="*/ 910114 h 1152525"/>
                <a:gd name="connsiteX85" fmla="*/ 1410176 w 4210050"/>
                <a:gd name="connsiteY85" fmla="*/ 787241 h 1152525"/>
                <a:gd name="connsiteX86" fmla="*/ 1222534 w 4210050"/>
                <a:gd name="connsiteY86" fmla="*/ 787241 h 1152525"/>
                <a:gd name="connsiteX87" fmla="*/ 1026319 w 4210050"/>
                <a:gd name="connsiteY87" fmla="*/ 983456 h 1152525"/>
                <a:gd name="connsiteX88" fmla="*/ 195739 w 4210050"/>
                <a:gd name="connsiteY88" fmla="*/ 983456 h 1152525"/>
                <a:gd name="connsiteX89" fmla="*/ 67151 w 4210050"/>
                <a:gd name="connsiteY89" fmla="*/ 1114901 h 1152525"/>
                <a:gd name="connsiteX90" fmla="*/ 59531 w 4210050"/>
                <a:gd name="connsiteY90" fmla="*/ 1144429 h 1152525"/>
                <a:gd name="connsiteX91" fmla="*/ 37624 w 4210050"/>
                <a:gd name="connsiteY91" fmla="*/ 1153954 h 11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210050" h="1152525">
                  <a:moveTo>
                    <a:pt x="37624" y="1153954"/>
                  </a:moveTo>
                  <a:cubicBezTo>
                    <a:pt x="29051" y="1153954"/>
                    <a:pt x="21431" y="1151096"/>
                    <a:pt x="15716" y="1145381"/>
                  </a:cubicBezTo>
                  <a:cubicBezTo>
                    <a:pt x="10001" y="1139666"/>
                    <a:pt x="7144" y="1132046"/>
                    <a:pt x="7144" y="1123474"/>
                  </a:cubicBezTo>
                  <a:cubicBezTo>
                    <a:pt x="7144" y="1114901"/>
                    <a:pt x="10001" y="1107281"/>
                    <a:pt x="16669" y="1101566"/>
                  </a:cubicBezTo>
                  <a:cubicBezTo>
                    <a:pt x="22384" y="1095851"/>
                    <a:pt x="30004" y="1092994"/>
                    <a:pt x="38576" y="1092994"/>
                  </a:cubicBezTo>
                  <a:cubicBezTo>
                    <a:pt x="41434" y="1092994"/>
                    <a:pt x="44291" y="1092994"/>
                    <a:pt x="47149" y="1093946"/>
                  </a:cubicBezTo>
                  <a:lnTo>
                    <a:pt x="185261" y="955834"/>
                  </a:lnTo>
                  <a:lnTo>
                    <a:pt x="1015841" y="955834"/>
                  </a:lnTo>
                  <a:lnTo>
                    <a:pt x="1182529" y="789146"/>
                  </a:lnTo>
                  <a:lnTo>
                    <a:pt x="524351" y="789146"/>
                  </a:lnTo>
                  <a:lnTo>
                    <a:pt x="455771" y="720566"/>
                  </a:lnTo>
                  <a:cubicBezTo>
                    <a:pt x="452914" y="721519"/>
                    <a:pt x="450056" y="721519"/>
                    <a:pt x="447199" y="721519"/>
                  </a:cubicBezTo>
                  <a:cubicBezTo>
                    <a:pt x="438626" y="721519"/>
                    <a:pt x="431006" y="718661"/>
                    <a:pt x="425291" y="712946"/>
                  </a:cubicBezTo>
                  <a:cubicBezTo>
                    <a:pt x="419576" y="707231"/>
                    <a:pt x="416719" y="699611"/>
                    <a:pt x="416719" y="691039"/>
                  </a:cubicBezTo>
                  <a:cubicBezTo>
                    <a:pt x="416719" y="682466"/>
                    <a:pt x="419576" y="674846"/>
                    <a:pt x="425291" y="669131"/>
                  </a:cubicBezTo>
                  <a:cubicBezTo>
                    <a:pt x="431006" y="663416"/>
                    <a:pt x="438626" y="660559"/>
                    <a:pt x="447199" y="660559"/>
                  </a:cubicBezTo>
                  <a:cubicBezTo>
                    <a:pt x="455771" y="660559"/>
                    <a:pt x="463391" y="663416"/>
                    <a:pt x="469106" y="669131"/>
                  </a:cubicBezTo>
                  <a:cubicBezTo>
                    <a:pt x="476726" y="676751"/>
                    <a:pt x="479584" y="688181"/>
                    <a:pt x="476726" y="698659"/>
                  </a:cubicBezTo>
                  <a:lnTo>
                    <a:pt x="536734" y="758666"/>
                  </a:lnTo>
                  <a:lnTo>
                    <a:pt x="1423511" y="758666"/>
                  </a:lnTo>
                  <a:lnTo>
                    <a:pt x="1546384" y="881539"/>
                  </a:lnTo>
                  <a:lnTo>
                    <a:pt x="1890236" y="881539"/>
                  </a:lnTo>
                  <a:lnTo>
                    <a:pt x="1800701" y="792004"/>
                  </a:lnTo>
                  <a:lnTo>
                    <a:pt x="1578769" y="792004"/>
                  </a:lnTo>
                  <a:cubicBezTo>
                    <a:pt x="1573054" y="801529"/>
                    <a:pt x="1563529" y="807244"/>
                    <a:pt x="1552099" y="807244"/>
                  </a:cubicBezTo>
                  <a:cubicBezTo>
                    <a:pt x="1534954" y="807244"/>
                    <a:pt x="1521619" y="793909"/>
                    <a:pt x="1521619" y="776764"/>
                  </a:cubicBezTo>
                  <a:cubicBezTo>
                    <a:pt x="1521619" y="759619"/>
                    <a:pt x="1534954" y="746284"/>
                    <a:pt x="1552099" y="746284"/>
                  </a:cubicBezTo>
                  <a:cubicBezTo>
                    <a:pt x="1563529" y="746284"/>
                    <a:pt x="1573054" y="751999"/>
                    <a:pt x="1578769" y="761524"/>
                  </a:cubicBezTo>
                  <a:lnTo>
                    <a:pt x="1813084" y="761524"/>
                  </a:lnTo>
                  <a:lnTo>
                    <a:pt x="1932146" y="880586"/>
                  </a:lnTo>
                  <a:lnTo>
                    <a:pt x="2062639" y="880586"/>
                  </a:lnTo>
                  <a:lnTo>
                    <a:pt x="2237899" y="705326"/>
                  </a:lnTo>
                  <a:lnTo>
                    <a:pt x="2118836" y="705326"/>
                  </a:lnTo>
                  <a:lnTo>
                    <a:pt x="2095024" y="729139"/>
                  </a:lnTo>
                  <a:cubicBezTo>
                    <a:pt x="2097881" y="739616"/>
                    <a:pt x="2095024" y="751046"/>
                    <a:pt x="2087404" y="758666"/>
                  </a:cubicBezTo>
                  <a:cubicBezTo>
                    <a:pt x="2081689" y="764381"/>
                    <a:pt x="2074069" y="767239"/>
                    <a:pt x="2065496" y="767239"/>
                  </a:cubicBezTo>
                  <a:cubicBezTo>
                    <a:pt x="2056924" y="767239"/>
                    <a:pt x="2049304" y="764381"/>
                    <a:pt x="2043589" y="758666"/>
                  </a:cubicBezTo>
                  <a:cubicBezTo>
                    <a:pt x="2037874" y="752951"/>
                    <a:pt x="2035016" y="745331"/>
                    <a:pt x="2035016" y="736759"/>
                  </a:cubicBezTo>
                  <a:cubicBezTo>
                    <a:pt x="2035016" y="728186"/>
                    <a:pt x="2037874" y="720566"/>
                    <a:pt x="2043589" y="714851"/>
                  </a:cubicBezTo>
                  <a:cubicBezTo>
                    <a:pt x="2049304" y="709136"/>
                    <a:pt x="2056924" y="706279"/>
                    <a:pt x="2065496" y="706279"/>
                  </a:cubicBezTo>
                  <a:cubicBezTo>
                    <a:pt x="2068354" y="706279"/>
                    <a:pt x="2071211" y="706279"/>
                    <a:pt x="2074069" y="707231"/>
                  </a:cubicBezTo>
                  <a:lnTo>
                    <a:pt x="2107406" y="673894"/>
                  </a:lnTo>
                  <a:lnTo>
                    <a:pt x="2380774" y="673894"/>
                  </a:lnTo>
                  <a:lnTo>
                    <a:pt x="2480786" y="573881"/>
                  </a:lnTo>
                  <a:lnTo>
                    <a:pt x="2959894" y="573881"/>
                  </a:lnTo>
                  <a:lnTo>
                    <a:pt x="3093244" y="440531"/>
                  </a:lnTo>
                  <a:lnTo>
                    <a:pt x="3409474" y="440531"/>
                  </a:lnTo>
                  <a:lnTo>
                    <a:pt x="3698081" y="151924"/>
                  </a:lnTo>
                  <a:lnTo>
                    <a:pt x="3527584" y="151924"/>
                  </a:lnTo>
                  <a:lnTo>
                    <a:pt x="3337084" y="342424"/>
                  </a:lnTo>
                  <a:lnTo>
                    <a:pt x="3170396" y="342424"/>
                  </a:lnTo>
                  <a:cubicBezTo>
                    <a:pt x="3164681" y="351949"/>
                    <a:pt x="3155156" y="357664"/>
                    <a:pt x="3143726" y="357664"/>
                  </a:cubicBezTo>
                  <a:cubicBezTo>
                    <a:pt x="3126581" y="357664"/>
                    <a:pt x="3113246" y="344329"/>
                    <a:pt x="3113246" y="327184"/>
                  </a:cubicBezTo>
                  <a:cubicBezTo>
                    <a:pt x="3113246" y="310039"/>
                    <a:pt x="3126581" y="296704"/>
                    <a:pt x="3143726" y="296704"/>
                  </a:cubicBezTo>
                  <a:cubicBezTo>
                    <a:pt x="3155156" y="296704"/>
                    <a:pt x="3164681" y="302419"/>
                    <a:pt x="3170396" y="311944"/>
                  </a:cubicBezTo>
                  <a:lnTo>
                    <a:pt x="3323749" y="311944"/>
                  </a:lnTo>
                  <a:lnTo>
                    <a:pt x="3514249" y="121444"/>
                  </a:lnTo>
                  <a:lnTo>
                    <a:pt x="3727609" y="121444"/>
                  </a:lnTo>
                  <a:lnTo>
                    <a:pt x="3841909" y="7144"/>
                  </a:lnTo>
                  <a:lnTo>
                    <a:pt x="4072414" y="7144"/>
                  </a:lnTo>
                  <a:lnTo>
                    <a:pt x="4172426" y="107156"/>
                  </a:lnTo>
                  <a:cubicBezTo>
                    <a:pt x="4175284" y="106204"/>
                    <a:pt x="4178141" y="106204"/>
                    <a:pt x="4180999" y="106204"/>
                  </a:cubicBezTo>
                  <a:cubicBezTo>
                    <a:pt x="4189571" y="106204"/>
                    <a:pt x="4197192" y="109061"/>
                    <a:pt x="4202906" y="114776"/>
                  </a:cubicBezTo>
                  <a:cubicBezTo>
                    <a:pt x="4208621" y="120491"/>
                    <a:pt x="4211479" y="128111"/>
                    <a:pt x="4211479" y="136684"/>
                  </a:cubicBezTo>
                  <a:cubicBezTo>
                    <a:pt x="4211479" y="145256"/>
                    <a:pt x="4208621" y="152876"/>
                    <a:pt x="4202906" y="158591"/>
                  </a:cubicBezTo>
                  <a:cubicBezTo>
                    <a:pt x="4197192" y="164306"/>
                    <a:pt x="4189571" y="167164"/>
                    <a:pt x="4180999" y="167164"/>
                  </a:cubicBezTo>
                  <a:cubicBezTo>
                    <a:pt x="4172426" y="167164"/>
                    <a:pt x="4164806" y="164306"/>
                    <a:pt x="4159091" y="158591"/>
                  </a:cubicBezTo>
                  <a:cubicBezTo>
                    <a:pt x="4151471" y="150971"/>
                    <a:pt x="4148614" y="139541"/>
                    <a:pt x="4151471" y="129064"/>
                  </a:cubicBezTo>
                  <a:lnTo>
                    <a:pt x="4060984" y="38576"/>
                  </a:lnTo>
                  <a:lnTo>
                    <a:pt x="3856196" y="38576"/>
                  </a:lnTo>
                  <a:lnTo>
                    <a:pt x="3422809" y="471964"/>
                  </a:lnTo>
                  <a:lnTo>
                    <a:pt x="3104674" y="471964"/>
                  </a:lnTo>
                  <a:lnTo>
                    <a:pt x="2767489" y="809149"/>
                  </a:lnTo>
                  <a:lnTo>
                    <a:pt x="2343626" y="809149"/>
                  </a:lnTo>
                  <a:cubicBezTo>
                    <a:pt x="2337911" y="818674"/>
                    <a:pt x="2328386" y="824389"/>
                    <a:pt x="2316956" y="824389"/>
                  </a:cubicBezTo>
                  <a:cubicBezTo>
                    <a:pt x="2299811" y="824389"/>
                    <a:pt x="2286476" y="811054"/>
                    <a:pt x="2286476" y="793909"/>
                  </a:cubicBezTo>
                  <a:cubicBezTo>
                    <a:pt x="2286476" y="776764"/>
                    <a:pt x="2299811" y="763429"/>
                    <a:pt x="2316956" y="763429"/>
                  </a:cubicBezTo>
                  <a:cubicBezTo>
                    <a:pt x="2328386" y="763429"/>
                    <a:pt x="2337911" y="769144"/>
                    <a:pt x="2343626" y="778669"/>
                  </a:cubicBezTo>
                  <a:lnTo>
                    <a:pt x="2755106" y="778669"/>
                  </a:lnTo>
                  <a:lnTo>
                    <a:pt x="2928461" y="605314"/>
                  </a:lnTo>
                  <a:lnTo>
                    <a:pt x="2492216" y="605314"/>
                  </a:lnTo>
                  <a:lnTo>
                    <a:pt x="2392204" y="705326"/>
                  </a:lnTo>
                  <a:lnTo>
                    <a:pt x="2279809" y="705326"/>
                  </a:lnTo>
                  <a:lnTo>
                    <a:pt x="2075021" y="910114"/>
                  </a:lnTo>
                  <a:lnTo>
                    <a:pt x="1533049" y="910114"/>
                  </a:lnTo>
                  <a:lnTo>
                    <a:pt x="1410176" y="787241"/>
                  </a:lnTo>
                  <a:lnTo>
                    <a:pt x="1222534" y="787241"/>
                  </a:lnTo>
                  <a:lnTo>
                    <a:pt x="1026319" y="983456"/>
                  </a:lnTo>
                  <a:lnTo>
                    <a:pt x="195739" y="983456"/>
                  </a:lnTo>
                  <a:lnTo>
                    <a:pt x="67151" y="1114901"/>
                  </a:lnTo>
                  <a:cubicBezTo>
                    <a:pt x="70009" y="1125379"/>
                    <a:pt x="67151" y="1136809"/>
                    <a:pt x="59531" y="1144429"/>
                  </a:cubicBezTo>
                  <a:cubicBezTo>
                    <a:pt x="52864" y="1150144"/>
                    <a:pt x="45244" y="1153954"/>
                    <a:pt x="37624" y="1153954"/>
                  </a:cubicBezTo>
                  <a:close/>
                </a:path>
              </a:pathLst>
            </a:custGeom>
            <a:grpFill/>
            <a:ln w="9525" cap="flat">
              <a:noFill/>
              <a:prstDash val="solid"/>
              <a:miter/>
            </a:ln>
          </p:spPr>
          <p:txBody>
            <a:bodyPr rtlCol="0" anchor="ctr"/>
            <a:lstStyle/>
            <a:p>
              <a:endParaRPr lang="en-US"/>
            </a:p>
          </p:txBody>
        </p:sp>
        <p:sp>
          <p:nvSpPr>
            <p:cNvPr id="107" name="Freeform: Shape 180">
              <a:extLst>
                <a:ext uri="{FF2B5EF4-FFF2-40B4-BE49-F238E27FC236}">
                  <a16:creationId xmlns:a16="http://schemas.microsoft.com/office/drawing/2014/main" id="{97F5CE7D-22AB-554B-A9D8-35E40AAB02CA}"/>
                </a:ext>
              </a:extLst>
            </p:cNvPr>
            <p:cNvSpPr/>
            <p:nvPr/>
          </p:nvSpPr>
          <p:spPr>
            <a:xfrm>
              <a:off x="7596285" y="1665632"/>
              <a:ext cx="4200525" cy="1133475"/>
            </a:xfrm>
            <a:custGeom>
              <a:avLst/>
              <a:gdLst>
                <a:gd name="connsiteX0" fmla="*/ 4187428 w 4200525"/>
                <a:gd name="connsiteY0" fmla="*/ 111919 h 1133475"/>
                <a:gd name="connsiteX1" fmla="*/ 4161711 w 4200525"/>
                <a:gd name="connsiteY1" fmla="*/ 108109 h 1133475"/>
                <a:gd name="connsiteX2" fmla="*/ 4060746 w 4200525"/>
                <a:gd name="connsiteY2" fmla="*/ 7144 h 1133475"/>
                <a:gd name="connsiteX3" fmla="*/ 3838813 w 4200525"/>
                <a:gd name="connsiteY3" fmla="*/ 7144 h 1133475"/>
                <a:gd name="connsiteX4" fmla="*/ 3724513 w 4200525"/>
                <a:gd name="connsiteY4" fmla="*/ 121444 h 1133475"/>
                <a:gd name="connsiteX5" fmla="*/ 3511153 w 4200525"/>
                <a:gd name="connsiteY5" fmla="*/ 121444 h 1133475"/>
                <a:gd name="connsiteX6" fmla="*/ 3320653 w 4200525"/>
                <a:gd name="connsiteY6" fmla="*/ 311944 h 1133475"/>
                <a:gd name="connsiteX7" fmla="*/ 3155871 w 4200525"/>
                <a:gd name="connsiteY7" fmla="*/ 311944 h 1133475"/>
                <a:gd name="connsiteX8" fmla="*/ 3135868 w 4200525"/>
                <a:gd name="connsiteY8" fmla="*/ 296704 h 1133475"/>
                <a:gd name="connsiteX9" fmla="*/ 3114913 w 4200525"/>
                <a:gd name="connsiteY9" fmla="*/ 317659 h 1133475"/>
                <a:gd name="connsiteX10" fmla="*/ 3135868 w 4200525"/>
                <a:gd name="connsiteY10" fmla="*/ 338614 h 1133475"/>
                <a:gd name="connsiteX11" fmla="*/ 3155871 w 4200525"/>
                <a:gd name="connsiteY11" fmla="*/ 323374 h 1133475"/>
                <a:gd name="connsiteX12" fmla="*/ 3325416 w 4200525"/>
                <a:gd name="connsiteY12" fmla="*/ 323374 h 1133475"/>
                <a:gd name="connsiteX13" fmla="*/ 3515916 w 4200525"/>
                <a:gd name="connsiteY13" fmla="*/ 132874 h 1133475"/>
                <a:gd name="connsiteX14" fmla="*/ 3713083 w 4200525"/>
                <a:gd name="connsiteY14" fmla="*/ 132874 h 1133475"/>
                <a:gd name="connsiteX15" fmla="*/ 3405426 w 4200525"/>
                <a:gd name="connsiteY15" fmla="*/ 440531 h 1133475"/>
                <a:gd name="connsiteX16" fmla="*/ 3089196 w 4200525"/>
                <a:gd name="connsiteY16" fmla="*/ 440531 h 1133475"/>
                <a:gd name="connsiteX17" fmla="*/ 2955846 w 4200525"/>
                <a:gd name="connsiteY17" fmla="*/ 573881 h 1133475"/>
                <a:gd name="connsiteX18" fmla="*/ 2476738 w 4200525"/>
                <a:gd name="connsiteY18" fmla="*/ 573881 h 1133475"/>
                <a:gd name="connsiteX19" fmla="*/ 2376726 w 4200525"/>
                <a:gd name="connsiteY19" fmla="*/ 673894 h 1133475"/>
                <a:gd name="connsiteX20" fmla="*/ 2102406 w 4200525"/>
                <a:gd name="connsiteY20" fmla="*/ 673894 h 1133475"/>
                <a:gd name="connsiteX21" fmla="*/ 2067163 w 4200525"/>
                <a:gd name="connsiteY21" fmla="*/ 709136 h 1133475"/>
                <a:gd name="connsiteX22" fmla="*/ 2041446 w 4200525"/>
                <a:gd name="connsiteY22" fmla="*/ 712946 h 1133475"/>
                <a:gd name="connsiteX23" fmla="*/ 2041446 w 4200525"/>
                <a:gd name="connsiteY23" fmla="*/ 742474 h 1133475"/>
                <a:gd name="connsiteX24" fmla="*/ 2070973 w 4200525"/>
                <a:gd name="connsiteY24" fmla="*/ 742474 h 1133475"/>
                <a:gd name="connsiteX25" fmla="*/ 2074783 w 4200525"/>
                <a:gd name="connsiteY25" fmla="*/ 716756 h 1133475"/>
                <a:gd name="connsiteX26" fmla="*/ 2106216 w 4200525"/>
                <a:gd name="connsiteY26" fmla="*/ 685324 h 1133475"/>
                <a:gd name="connsiteX27" fmla="*/ 2251948 w 4200525"/>
                <a:gd name="connsiteY27" fmla="*/ 685324 h 1133475"/>
                <a:gd name="connsiteX28" fmla="*/ 2058591 w 4200525"/>
                <a:gd name="connsiteY28" fmla="*/ 878681 h 1133475"/>
                <a:gd name="connsiteX29" fmla="*/ 1920478 w 4200525"/>
                <a:gd name="connsiteY29" fmla="*/ 878681 h 1133475"/>
                <a:gd name="connsiteX30" fmla="*/ 1801416 w 4200525"/>
                <a:gd name="connsiteY30" fmla="*/ 759619 h 1133475"/>
                <a:gd name="connsiteX31" fmla="*/ 1564243 w 4200525"/>
                <a:gd name="connsiteY31" fmla="*/ 759619 h 1133475"/>
                <a:gd name="connsiteX32" fmla="*/ 1544241 w 4200525"/>
                <a:gd name="connsiteY32" fmla="*/ 744379 h 1133475"/>
                <a:gd name="connsiteX33" fmla="*/ 1523286 w 4200525"/>
                <a:gd name="connsiteY33" fmla="*/ 765334 h 1133475"/>
                <a:gd name="connsiteX34" fmla="*/ 1544241 w 4200525"/>
                <a:gd name="connsiteY34" fmla="*/ 786289 h 1133475"/>
                <a:gd name="connsiteX35" fmla="*/ 1564243 w 4200525"/>
                <a:gd name="connsiteY35" fmla="*/ 771049 h 1133475"/>
                <a:gd name="connsiteX36" fmla="*/ 1796653 w 4200525"/>
                <a:gd name="connsiteY36" fmla="*/ 771049 h 1133475"/>
                <a:gd name="connsiteX37" fmla="*/ 1905238 w 4200525"/>
                <a:gd name="connsiteY37" fmla="*/ 879634 h 1133475"/>
                <a:gd name="connsiteX38" fmla="*/ 1533763 w 4200525"/>
                <a:gd name="connsiteY38" fmla="*/ 879634 h 1133475"/>
                <a:gd name="connsiteX39" fmla="*/ 1410891 w 4200525"/>
                <a:gd name="connsiteY39" fmla="*/ 755809 h 1133475"/>
                <a:gd name="connsiteX40" fmla="*/ 525066 w 4200525"/>
                <a:gd name="connsiteY40" fmla="*/ 755809 h 1133475"/>
                <a:gd name="connsiteX41" fmla="*/ 458391 w 4200525"/>
                <a:gd name="connsiteY41" fmla="*/ 689134 h 1133475"/>
                <a:gd name="connsiteX42" fmla="*/ 454581 w 4200525"/>
                <a:gd name="connsiteY42" fmla="*/ 663416 h 1133475"/>
                <a:gd name="connsiteX43" fmla="*/ 425053 w 4200525"/>
                <a:gd name="connsiteY43" fmla="*/ 663416 h 1133475"/>
                <a:gd name="connsiteX44" fmla="*/ 425053 w 4200525"/>
                <a:gd name="connsiteY44" fmla="*/ 692944 h 1133475"/>
                <a:gd name="connsiteX45" fmla="*/ 450771 w 4200525"/>
                <a:gd name="connsiteY45" fmla="*/ 696754 h 1133475"/>
                <a:gd name="connsiteX46" fmla="*/ 521256 w 4200525"/>
                <a:gd name="connsiteY46" fmla="*/ 767239 h 1133475"/>
                <a:gd name="connsiteX47" fmla="*/ 1195626 w 4200525"/>
                <a:gd name="connsiteY47" fmla="*/ 767239 h 1133475"/>
                <a:gd name="connsiteX48" fmla="*/ 1009888 w 4200525"/>
                <a:gd name="connsiteY48" fmla="*/ 952976 h 1133475"/>
                <a:gd name="connsiteX49" fmla="*/ 179308 w 4200525"/>
                <a:gd name="connsiteY49" fmla="*/ 952976 h 1133475"/>
                <a:gd name="connsiteX50" fmla="*/ 39291 w 4200525"/>
                <a:gd name="connsiteY50" fmla="*/ 1092041 h 1133475"/>
                <a:gd name="connsiteX51" fmla="*/ 13573 w 4200525"/>
                <a:gd name="connsiteY51" fmla="*/ 1095851 h 1133475"/>
                <a:gd name="connsiteX52" fmla="*/ 13573 w 4200525"/>
                <a:gd name="connsiteY52" fmla="*/ 1125379 h 1133475"/>
                <a:gd name="connsiteX53" fmla="*/ 43101 w 4200525"/>
                <a:gd name="connsiteY53" fmla="*/ 1125379 h 1133475"/>
                <a:gd name="connsiteX54" fmla="*/ 46911 w 4200525"/>
                <a:gd name="connsiteY54" fmla="*/ 1099661 h 1133475"/>
                <a:gd name="connsiteX55" fmla="*/ 183118 w 4200525"/>
                <a:gd name="connsiteY55" fmla="*/ 963454 h 1133475"/>
                <a:gd name="connsiteX56" fmla="*/ 1013698 w 4200525"/>
                <a:gd name="connsiteY56" fmla="*/ 963454 h 1133475"/>
                <a:gd name="connsiteX57" fmla="*/ 1209913 w 4200525"/>
                <a:gd name="connsiteY57" fmla="*/ 767239 h 1133475"/>
                <a:gd name="connsiteX58" fmla="*/ 1405176 w 4200525"/>
                <a:gd name="connsiteY58" fmla="*/ 767239 h 1133475"/>
                <a:gd name="connsiteX59" fmla="*/ 1528048 w 4200525"/>
                <a:gd name="connsiteY59" fmla="*/ 890111 h 1133475"/>
                <a:gd name="connsiteX60" fmla="*/ 2062401 w 4200525"/>
                <a:gd name="connsiteY60" fmla="*/ 890111 h 1133475"/>
                <a:gd name="connsiteX61" fmla="*/ 2267188 w 4200525"/>
                <a:gd name="connsiteY61" fmla="*/ 685324 h 1133475"/>
                <a:gd name="connsiteX62" fmla="*/ 2379583 w 4200525"/>
                <a:gd name="connsiteY62" fmla="*/ 685324 h 1133475"/>
                <a:gd name="connsiteX63" fmla="*/ 2479596 w 4200525"/>
                <a:gd name="connsiteY63" fmla="*/ 585311 h 1133475"/>
                <a:gd name="connsiteX64" fmla="*/ 2944416 w 4200525"/>
                <a:gd name="connsiteY64" fmla="*/ 585311 h 1133475"/>
                <a:gd name="connsiteX65" fmla="*/ 2752011 w 4200525"/>
                <a:gd name="connsiteY65" fmla="*/ 777716 h 1133475"/>
                <a:gd name="connsiteX66" fmla="*/ 2330053 w 4200525"/>
                <a:gd name="connsiteY66" fmla="*/ 777716 h 1133475"/>
                <a:gd name="connsiteX67" fmla="*/ 2310051 w 4200525"/>
                <a:gd name="connsiteY67" fmla="*/ 762476 h 1133475"/>
                <a:gd name="connsiteX68" fmla="*/ 2289096 w 4200525"/>
                <a:gd name="connsiteY68" fmla="*/ 783431 h 1133475"/>
                <a:gd name="connsiteX69" fmla="*/ 2310051 w 4200525"/>
                <a:gd name="connsiteY69" fmla="*/ 804386 h 1133475"/>
                <a:gd name="connsiteX70" fmla="*/ 2330053 w 4200525"/>
                <a:gd name="connsiteY70" fmla="*/ 789146 h 1133475"/>
                <a:gd name="connsiteX71" fmla="*/ 2756773 w 4200525"/>
                <a:gd name="connsiteY71" fmla="*/ 789146 h 1133475"/>
                <a:gd name="connsiteX72" fmla="*/ 3093958 w 4200525"/>
                <a:gd name="connsiteY72" fmla="*/ 451961 h 1133475"/>
                <a:gd name="connsiteX73" fmla="*/ 3410188 w 4200525"/>
                <a:gd name="connsiteY73" fmla="*/ 451961 h 1133475"/>
                <a:gd name="connsiteX74" fmla="*/ 3843576 w 4200525"/>
                <a:gd name="connsiteY74" fmla="*/ 18574 h 1133475"/>
                <a:gd name="connsiteX75" fmla="*/ 4056936 w 4200525"/>
                <a:gd name="connsiteY75" fmla="*/ 18574 h 1133475"/>
                <a:gd name="connsiteX76" fmla="*/ 4154091 w 4200525"/>
                <a:gd name="connsiteY76" fmla="*/ 116681 h 1133475"/>
                <a:gd name="connsiteX77" fmla="*/ 4157901 w 4200525"/>
                <a:gd name="connsiteY77" fmla="*/ 142399 h 1133475"/>
                <a:gd name="connsiteX78" fmla="*/ 4187428 w 4200525"/>
                <a:gd name="connsiteY78" fmla="*/ 142399 h 1133475"/>
                <a:gd name="connsiteX79" fmla="*/ 4187428 w 4200525"/>
                <a:gd name="connsiteY79" fmla="*/ 111919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200525" h="1133475">
                  <a:moveTo>
                    <a:pt x="4187428" y="111919"/>
                  </a:moveTo>
                  <a:cubicBezTo>
                    <a:pt x="4180761" y="105251"/>
                    <a:pt x="4170283" y="104299"/>
                    <a:pt x="4161711" y="108109"/>
                  </a:cubicBezTo>
                  <a:lnTo>
                    <a:pt x="4060746" y="7144"/>
                  </a:lnTo>
                  <a:lnTo>
                    <a:pt x="3838813" y="7144"/>
                  </a:lnTo>
                  <a:lnTo>
                    <a:pt x="3724513" y="121444"/>
                  </a:lnTo>
                  <a:lnTo>
                    <a:pt x="3511153" y="121444"/>
                  </a:lnTo>
                  <a:lnTo>
                    <a:pt x="3320653" y="311944"/>
                  </a:lnTo>
                  <a:lnTo>
                    <a:pt x="3155871" y="311944"/>
                  </a:lnTo>
                  <a:cubicBezTo>
                    <a:pt x="3153013" y="303371"/>
                    <a:pt x="3145393" y="296704"/>
                    <a:pt x="3135868" y="296704"/>
                  </a:cubicBezTo>
                  <a:cubicBezTo>
                    <a:pt x="3124438" y="296704"/>
                    <a:pt x="3114913" y="306229"/>
                    <a:pt x="3114913" y="317659"/>
                  </a:cubicBezTo>
                  <a:cubicBezTo>
                    <a:pt x="3114913" y="329089"/>
                    <a:pt x="3124438" y="338614"/>
                    <a:pt x="3135868" y="338614"/>
                  </a:cubicBezTo>
                  <a:cubicBezTo>
                    <a:pt x="3145393" y="338614"/>
                    <a:pt x="3153966" y="331946"/>
                    <a:pt x="3155871" y="323374"/>
                  </a:cubicBezTo>
                  <a:lnTo>
                    <a:pt x="3325416" y="323374"/>
                  </a:lnTo>
                  <a:lnTo>
                    <a:pt x="3515916" y="132874"/>
                  </a:lnTo>
                  <a:lnTo>
                    <a:pt x="3713083" y="132874"/>
                  </a:lnTo>
                  <a:lnTo>
                    <a:pt x="3405426" y="440531"/>
                  </a:lnTo>
                  <a:lnTo>
                    <a:pt x="3089196" y="440531"/>
                  </a:lnTo>
                  <a:lnTo>
                    <a:pt x="2955846" y="573881"/>
                  </a:lnTo>
                  <a:lnTo>
                    <a:pt x="2476738" y="573881"/>
                  </a:lnTo>
                  <a:lnTo>
                    <a:pt x="2376726" y="673894"/>
                  </a:lnTo>
                  <a:lnTo>
                    <a:pt x="2102406" y="673894"/>
                  </a:lnTo>
                  <a:lnTo>
                    <a:pt x="2067163" y="709136"/>
                  </a:lnTo>
                  <a:cubicBezTo>
                    <a:pt x="2059543" y="704374"/>
                    <a:pt x="2049066" y="705326"/>
                    <a:pt x="2041446" y="712946"/>
                  </a:cubicBezTo>
                  <a:cubicBezTo>
                    <a:pt x="2032873" y="721519"/>
                    <a:pt x="2032873" y="734854"/>
                    <a:pt x="2041446" y="742474"/>
                  </a:cubicBezTo>
                  <a:cubicBezTo>
                    <a:pt x="2050018" y="751046"/>
                    <a:pt x="2063353" y="751046"/>
                    <a:pt x="2070973" y="742474"/>
                  </a:cubicBezTo>
                  <a:cubicBezTo>
                    <a:pt x="2077641" y="735806"/>
                    <a:pt x="2078593" y="725329"/>
                    <a:pt x="2074783" y="716756"/>
                  </a:cubicBezTo>
                  <a:lnTo>
                    <a:pt x="2106216" y="685324"/>
                  </a:lnTo>
                  <a:lnTo>
                    <a:pt x="2251948" y="685324"/>
                  </a:lnTo>
                  <a:lnTo>
                    <a:pt x="2058591" y="878681"/>
                  </a:lnTo>
                  <a:lnTo>
                    <a:pt x="1920478" y="878681"/>
                  </a:lnTo>
                  <a:lnTo>
                    <a:pt x="1801416" y="759619"/>
                  </a:lnTo>
                  <a:lnTo>
                    <a:pt x="1564243" y="759619"/>
                  </a:lnTo>
                  <a:cubicBezTo>
                    <a:pt x="1561386" y="751046"/>
                    <a:pt x="1553766" y="744379"/>
                    <a:pt x="1544241" y="744379"/>
                  </a:cubicBezTo>
                  <a:cubicBezTo>
                    <a:pt x="1532811" y="744379"/>
                    <a:pt x="1523286" y="753904"/>
                    <a:pt x="1523286" y="765334"/>
                  </a:cubicBezTo>
                  <a:cubicBezTo>
                    <a:pt x="1523286" y="776764"/>
                    <a:pt x="1532811" y="786289"/>
                    <a:pt x="1544241" y="786289"/>
                  </a:cubicBezTo>
                  <a:cubicBezTo>
                    <a:pt x="1553766" y="786289"/>
                    <a:pt x="1562338" y="779621"/>
                    <a:pt x="1564243" y="771049"/>
                  </a:cubicBezTo>
                  <a:lnTo>
                    <a:pt x="1796653" y="771049"/>
                  </a:lnTo>
                  <a:lnTo>
                    <a:pt x="1905238" y="879634"/>
                  </a:lnTo>
                  <a:lnTo>
                    <a:pt x="1533763" y="879634"/>
                  </a:lnTo>
                  <a:lnTo>
                    <a:pt x="1410891" y="755809"/>
                  </a:lnTo>
                  <a:lnTo>
                    <a:pt x="525066" y="755809"/>
                  </a:lnTo>
                  <a:lnTo>
                    <a:pt x="458391" y="689134"/>
                  </a:lnTo>
                  <a:cubicBezTo>
                    <a:pt x="463153" y="681514"/>
                    <a:pt x="462201" y="671036"/>
                    <a:pt x="454581" y="663416"/>
                  </a:cubicBezTo>
                  <a:cubicBezTo>
                    <a:pt x="446008" y="654844"/>
                    <a:pt x="432673" y="654844"/>
                    <a:pt x="425053" y="663416"/>
                  </a:cubicBezTo>
                  <a:cubicBezTo>
                    <a:pt x="416481" y="671989"/>
                    <a:pt x="416481" y="685324"/>
                    <a:pt x="425053" y="692944"/>
                  </a:cubicBezTo>
                  <a:cubicBezTo>
                    <a:pt x="431721" y="699611"/>
                    <a:pt x="442198" y="700564"/>
                    <a:pt x="450771" y="696754"/>
                  </a:cubicBezTo>
                  <a:lnTo>
                    <a:pt x="521256" y="767239"/>
                  </a:lnTo>
                  <a:lnTo>
                    <a:pt x="1195626" y="767239"/>
                  </a:lnTo>
                  <a:lnTo>
                    <a:pt x="1009888" y="952976"/>
                  </a:lnTo>
                  <a:lnTo>
                    <a:pt x="179308" y="952976"/>
                  </a:lnTo>
                  <a:lnTo>
                    <a:pt x="39291" y="1092041"/>
                  </a:lnTo>
                  <a:cubicBezTo>
                    <a:pt x="31671" y="1087279"/>
                    <a:pt x="21193" y="1088231"/>
                    <a:pt x="13573" y="1095851"/>
                  </a:cubicBezTo>
                  <a:cubicBezTo>
                    <a:pt x="5001" y="1104424"/>
                    <a:pt x="5001" y="1117759"/>
                    <a:pt x="13573" y="1125379"/>
                  </a:cubicBezTo>
                  <a:cubicBezTo>
                    <a:pt x="22146" y="1133951"/>
                    <a:pt x="35481" y="1133951"/>
                    <a:pt x="43101" y="1125379"/>
                  </a:cubicBezTo>
                  <a:cubicBezTo>
                    <a:pt x="49768" y="1118711"/>
                    <a:pt x="50721" y="1108234"/>
                    <a:pt x="46911" y="1099661"/>
                  </a:cubicBezTo>
                  <a:lnTo>
                    <a:pt x="183118" y="963454"/>
                  </a:lnTo>
                  <a:lnTo>
                    <a:pt x="1013698" y="963454"/>
                  </a:lnTo>
                  <a:lnTo>
                    <a:pt x="1209913" y="767239"/>
                  </a:lnTo>
                  <a:lnTo>
                    <a:pt x="1405176" y="767239"/>
                  </a:lnTo>
                  <a:lnTo>
                    <a:pt x="1528048" y="890111"/>
                  </a:lnTo>
                  <a:lnTo>
                    <a:pt x="2062401" y="890111"/>
                  </a:lnTo>
                  <a:lnTo>
                    <a:pt x="2267188" y="685324"/>
                  </a:lnTo>
                  <a:lnTo>
                    <a:pt x="2379583" y="685324"/>
                  </a:lnTo>
                  <a:lnTo>
                    <a:pt x="2479596" y="585311"/>
                  </a:lnTo>
                  <a:lnTo>
                    <a:pt x="2944416" y="585311"/>
                  </a:lnTo>
                  <a:lnTo>
                    <a:pt x="2752011" y="777716"/>
                  </a:lnTo>
                  <a:lnTo>
                    <a:pt x="2330053" y="777716"/>
                  </a:lnTo>
                  <a:cubicBezTo>
                    <a:pt x="2327196" y="769144"/>
                    <a:pt x="2319576" y="762476"/>
                    <a:pt x="2310051" y="762476"/>
                  </a:cubicBezTo>
                  <a:cubicBezTo>
                    <a:pt x="2298621" y="762476"/>
                    <a:pt x="2289096" y="772001"/>
                    <a:pt x="2289096" y="783431"/>
                  </a:cubicBezTo>
                  <a:cubicBezTo>
                    <a:pt x="2289096" y="794861"/>
                    <a:pt x="2298621" y="804386"/>
                    <a:pt x="2310051" y="804386"/>
                  </a:cubicBezTo>
                  <a:cubicBezTo>
                    <a:pt x="2319576" y="804386"/>
                    <a:pt x="2328148" y="797719"/>
                    <a:pt x="2330053" y="789146"/>
                  </a:cubicBezTo>
                  <a:lnTo>
                    <a:pt x="2756773" y="789146"/>
                  </a:lnTo>
                  <a:lnTo>
                    <a:pt x="3093958" y="451961"/>
                  </a:lnTo>
                  <a:lnTo>
                    <a:pt x="3410188" y="451961"/>
                  </a:lnTo>
                  <a:lnTo>
                    <a:pt x="3843576" y="18574"/>
                  </a:lnTo>
                  <a:lnTo>
                    <a:pt x="4056936" y="18574"/>
                  </a:lnTo>
                  <a:lnTo>
                    <a:pt x="4154091" y="116681"/>
                  </a:lnTo>
                  <a:cubicBezTo>
                    <a:pt x="4149328" y="124301"/>
                    <a:pt x="4150281" y="134779"/>
                    <a:pt x="4157901" y="142399"/>
                  </a:cubicBezTo>
                  <a:cubicBezTo>
                    <a:pt x="4166473" y="150971"/>
                    <a:pt x="4179808" y="150971"/>
                    <a:pt x="4187428" y="142399"/>
                  </a:cubicBezTo>
                  <a:cubicBezTo>
                    <a:pt x="4196001" y="133826"/>
                    <a:pt x="4196001" y="120491"/>
                    <a:pt x="4187428" y="111919"/>
                  </a:cubicBezTo>
                  <a:close/>
                </a:path>
              </a:pathLst>
            </a:custGeom>
            <a:grpFill/>
            <a:ln w="9525" cap="flat">
              <a:noFill/>
              <a:prstDash val="solid"/>
              <a:miter/>
            </a:ln>
          </p:spPr>
          <p:txBody>
            <a:bodyPr rtlCol="0" anchor="ctr"/>
            <a:lstStyle/>
            <a:p>
              <a:endParaRPr lang="en-US"/>
            </a:p>
          </p:txBody>
        </p:sp>
      </p:grpSp>
      <p:pic>
        <p:nvPicPr>
          <p:cNvPr id="108" name="Picture 3" descr="D:\KBM-정애\014-Fullppt\PNG이미지\노트북2.png">
            <a:extLst>
              <a:ext uri="{FF2B5EF4-FFF2-40B4-BE49-F238E27FC236}">
                <a16:creationId xmlns:a16="http://schemas.microsoft.com/office/drawing/2014/main" id="{E6B311B8-4738-544F-939C-0B7C9FB7198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04551" y="3472632"/>
            <a:ext cx="1267168" cy="1088439"/>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7" descr="E:\002-KIMS BUSINESS\000-B-KIMS-소스 분류-2014\02-OBJECTS-모컴-액션-이미지\05-모니터\01-imac-kims수정-모니터.png">
            <a:extLst>
              <a:ext uri="{FF2B5EF4-FFF2-40B4-BE49-F238E27FC236}">
                <a16:creationId xmlns:a16="http://schemas.microsoft.com/office/drawing/2014/main" id="{09AB757C-E08C-0D42-9027-DCEAC2823CE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4133755" y="4064648"/>
            <a:ext cx="1501345" cy="1565492"/>
          </a:xfrm>
          <a:prstGeom prst="rect">
            <a:avLst/>
          </a:prstGeom>
          <a:noFill/>
          <a:extLst>
            <a:ext uri="{909E8E84-426E-40DD-AFC4-6F175D3DCCD1}">
              <a14:hiddenFill xmlns:a14="http://schemas.microsoft.com/office/drawing/2010/main">
                <a:solidFill>
                  <a:srgbClr val="FFFFFF"/>
                </a:solidFill>
              </a14:hiddenFill>
            </a:ext>
          </a:extLst>
        </p:spPr>
      </p:pic>
      <p:sp>
        <p:nvSpPr>
          <p:cNvPr id="128" name="Freeform: Shape 25">
            <a:extLst>
              <a:ext uri="{FF2B5EF4-FFF2-40B4-BE49-F238E27FC236}">
                <a16:creationId xmlns:a16="http://schemas.microsoft.com/office/drawing/2014/main" id="{7AF2E691-6017-E442-870D-5F0C80F591DB}"/>
              </a:ext>
            </a:extLst>
          </p:cNvPr>
          <p:cNvSpPr>
            <a:spLocks noChangeAspect="1"/>
          </p:cNvSpPr>
          <p:nvPr/>
        </p:nvSpPr>
        <p:spPr bwMode="auto">
          <a:xfrm>
            <a:off x="5401878" y="4918495"/>
            <a:ext cx="5193095" cy="983616"/>
          </a:xfrm>
          <a:custGeom>
            <a:avLst/>
            <a:gdLst>
              <a:gd name="connsiteX0" fmla="*/ 1649375 w 8882887"/>
              <a:gd name="connsiteY0" fmla="*/ 0 h 1682495"/>
              <a:gd name="connsiteX1" fmla="*/ 1652414 w 8882887"/>
              <a:gd name="connsiteY1" fmla="*/ 369665 h 1682495"/>
              <a:gd name="connsiteX2" fmla="*/ 1710174 w 8882887"/>
              <a:gd name="connsiteY2" fmla="*/ 489644 h 1682495"/>
              <a:gd name="connsiteX3" fmla="*/ 1713215 w 8882887"/>
              <a:gd name="connsiteY3" fmla="*/ 489644 h 1682495"/>
              <a:gd name="connsiteX4" fmla="*/ 1734495 w 8882887"/>
              <a:gd name="connsiteY4" fmla="*/ 489644 h 1682495"/>
              <a:gd name="connsiteX5" fmla="*/ 1734495 w 8882887"/>
              <a:gd name="connsiteY5" fmla="*/ 525312 h 1682495"/>
              <a:gd name="connsiteX6" fmla="*/ 1735256 w 8882887"/>
              <a:gd name="connsiteY6" fmla="*/ 526529 h 1682495"/>
              <a:gd name="connsiteX7" fmla="*/ 1740575 w 8882887"/>
              <a:gd name="connsiteY7" fmla="*/ 535041 h 1682495"/>
              <a:gd name="connsiteX8" fmla="*/ 1740575 w 8882887"/>
              <a:gd name="connsiteY8" fmla="*/ 706902 h 1682495"/>
              <a:gd name="connsiteX9" fmla="*/ 1743995 w 8882887"/>
              <a:gd name="connsiteY9" fmla="*/ 706902 h 1682495"/>
              <a:gd name="connsiteX10" fmla="*/ 1767936 w 8882887"/>
              <a:gd name="connsiteY10" fmla="*/ 706902 h 1682495"/>
              <a:gd name="connsiteX11" fmla="*/ 1767936 w 8882887"/>
              <a:gd name="connsiteY11" fmla="*/ 917675 h 1682495"/>
              <a:gd name="connsiteX12" fmla="*/ 1770216 w 8882887"/>
              <a:gd name="connsiteY12" fmla="*/ 917270 h 1682495"/>
              <a:gd name="connsiteX13" fmla="*/ 1786176 w 8882887"/>
              <a:gd name="connsiteY13" fmla="*/ 914433 h 1682495"/>
              <a:gd name="connsiteX14" fmla="*/ 1783136 w 8882887"/>
              <a:gd name="connsiteY14" fmla="*/ 1047381 h 1682495"/>
              <a:gd name="connsiteX15" fmla="*/ 1785416 w 8882887"/>
              <a:gd name="connsiteY15" fmla="*/ 1047788 h 1682495"/>
              <a:gd name="connsiteX16" fmla="*/ 1801376 w 8882887"/>
              <a:gd name="connsiteY16" fmla="*/ 1050624 h 1682495"/>
              <a:gd name="connsiteX17" fmla="*/ 1801755 w 8882887"/>
              <a:gd name="connsiteY17" fmla="*/ 1051841 h 1682495"/>
              <a:gd name="connsiteX18" fmla="*/ 1804416 w 8882887"/>
              <a:gd name="connsiteY18" fmla="*/ 1060353 h 1682495"/>
              <a:gd name="connsiteX19" fmla="*/ 1805556 w 8882887"/>
              <a:gd name="connsiteY19" fmla="*/ 1056705 h 1682495"/>
              <a:gd name="connsiteX20" fmla="*/ 1813536 w 8882887"/>
              <a:gd name="connsiteY20" fmla="*/ 1031169 h 1682495"/>
              <a:gd name="connsiteX21" fmla="*/ 1816196 w 8882887"/>
              <a:gd name="connsiteY21" fmla="*/ 1031169 h 1682495"/>
              <a:gd name="connsiteX22" fmla="*/ 1834817 w 8882887"/>
              <a:gd name="connsiteY22" fmla="*/ 1031169 h 1682495"/>
              <a:gd name="connsiteX23" fmla="*/ 1834817 w 8882887"/>
              <a:gd name="connsiteY23" fmla="*/ 1079808 h 1682495"/>
              <a:gd name="connsiteX24" fmla="*/ 1836336 w 8882887"/>
              <a:gd name="connsiteY24" fmla="*/ 1080620 h 1682495"/>
              <a:gd name="connsiteX25" fmla="*/ 1846977 w 8882887"/>
              <a:gd name="connsiteY25" fmla="*/ 1086294 h 1682495"/>
              <a:gd name="connsiteX26" fmla="*/ 1846977 w 8882887"/>
              <a:gd name="connsiteY26" fmla="*/ 1088321 h 1682495"/>
              <a:gd name="connsiteX27" fmla="*/ 1846977 w 8882887"/>
              <a:gd name="connsiteY27" fmla="*/ 1102508 h 1682495"/>
              <a:gd name="connsiteX28" fmla="*/ 1913858 w 8882887"/>
              <a:gd name="connsiteY28" fmla="*/ 1102508 h 1682495"/>
              <a:gd name="connsiteX29" fmla="*/ 1913858 w 8882887"/>
              <a:gd name="connsiteY29" fmla="*/ 1104129 h 1682495"/>
              <a:gd name="connsiteX30" fmla="*/ 1913858 w 8882887"/>
              <a:gd name="connsiteY30" fmla="*/ 1115478 h 1682495"/>
              <a:gd name="connsiteX31" fmla="*/ 1916897 w 8882887"/>
              <a:gd name="connsiteY31" fmla="*/ 1115478 h 1682495"/>
              <a:gd name="connsiteX32" fmla="*/ 1938177 w 8882887"/>
              <a:gd name="connsiteY32" fmla="*/ 1115478 h 1682495"/>
              <a:gd name="connsiteX33" fmla="*/ 1938177 w 8882887"/>
              <a:gd name="connsiteY33" fmla="*/ 1070081 h 1682495"/>
              <a:gd name="connsiteX34" fmla="*/ 2005058 w 8882887"/>
              <a:gd name="connsiteY34" fmla="*/ 1070081 h 1682495"/>
              <a:gd name="connsiteX35" fmla="*/ 2005058 w 8882887"/>
              <a:gd name="connsiteY35" fmla="*/ 1068054 h 1682495"/>
              <a:gd name="connsiteX36" fmla="*/ 2005058 w 8882887"/>
              <a:gd name="connsiteY36" fmla="*/ 1053867 h 1682495"/>
              <a:gd name="connsiteX37" fmla="*/ 2006579 w 8882887"/>
              <a:gd name="connsiteY37" fmla="*/ 1053867 h 1682495"/>
              <a:gd name="connsiteX38" fmla="*/ 2017218 w 8882887"/>
              <a:gd name="connsiteY38" fmla="*/ 1053867 h 1682495"/>
              <a:gd name="connsiteX39" fmla="*/ 2017218 w 8882887"/>
              <a:gd name="connsiteY39" fmla="*/ 1051031 h 1682495"/>
              <a:gd name="connsiteX40" fmla="*/ 2017218 w 8882887"/>
              <a:gd name="connsiteY40" fmla="*/ 1031169 h 1682495"/>
              <a:gd name="connsiteX41" fmla="*/ 2018358 w 8882887"/>
              <a:gd name="connsiteY41" fmla="*/ 1031169 h 1682495"/>
              <a:gd name="connsiteX42" fmla="*/ 2026338 w 8882887"/>
              <a:gd name="connsiteY42" fmla="*/ 1031169 h 1682495"/>
              <a:gd name="connsiteX43" fmla="*/ 2026338 w 8882887"/>
              <a:gd name="connsiteY43" fmla="*/ 1029548 h 1682495"/>
              <a:gd name="connsiteX44" fmla="*/ 2026338 w 8882887"/>
              <a:gd name="connsiteY44" fmla="*/ 1018197 h 1682495"/>
              <a:gd name="connsiteX45" fmla="*/ 2029379 w 8882887"/>
              <a:gd name="connsiteY45" fmla="*/ 1018197 h 1682495"/>
              <a:gd name="connsiteX46" fmla="*/ 2050659 w 8882887"/>
              <a:gd name="connsiteY46" fmla="*/ 1018197 h 1682495"/>
              <a:gd name="connsiteX47" fmla="*/ 2050659 w 8882887"/>
              <a:gd name="connsiteY47" fmla="*/ 1019819 h 1682495"/>
              <a:gd name="connsiteX48" fmla="*/ 2050659 w 8882887"/>
              <a:gd name="connsiteY48" fmla="*/ 1031169 h 1682495"/>
              <a:gd name="connsiteX49" fmla="*/ 2084099 w 8882887"/>
              <a:gd name="connsiteY49" fmla="*/ 1031169 h 1682495"/>
              <a:gd name="connsiteX50" fmla="*/ 2084099 w 8882887"/>
              <a:gd name="connsiteY50" fmla="*/ 1028331 h 1682495"/>
              <a:gd name="connsiteX51" fmla="*/ 2084099 w 8882887"/>
              <a:gd name="connsiteY51" fmla="*/ 1008470 h 1682495"/>
              <a:gd name="connsiteX52" fmla="*/ 2086760 w 8882887"/>
              <a:gd name="connsiteY52" fmla="*/ 1008470 h 1682495"/>
              <a:gd name="connsiteX53" fmla="*/ 2105379 w 8882887"/>
              <a:gd name="connsiteY53" fmla="*/ 1008470 h 1682495"/>
              <a:gd name="connsiteX54" fmla="*/ 2105379 w 8882887"/>
              <a:gd name="connsiteY54" fmla="*/ 1044140 h 1682495"/>
              <a:gd name="connsiteX55" fmla="*/ 2106900 w 8882887"/>
              <a:gd name="connsiteY55" fmla="*/ 1044140 h 1682495"/>
              <a:gd name="connsiteX56" fmla="*/ 2117540 w 8882887"/>
              <a:gd name="connsiteY56" fmla="*/ 1044140 h 1682495"/>
              <a:gd name="connsiteX57" fmla="*/ 2117540 w 8882887"/>
              <a:gd name="connsiteY57" fmla="*/ 1042518 h 1682495"/>
              <a:gd name="connsiteX58" fmla="*/ 2117540 w 8882887"/>
              <a:gd name="connsiteY58" fmla="*/ 1031169 h 1682495"/>
              <a:gd name="connsiteX59" fmla="*/ 2120199 w 8882887"/>
              <a:gd name="connsiteY59" fmla="*/ 1031169 h 1682495"/>
              <a:gd name="connsiteX60" fmla="*/ 2138820 w 8882887"/>
              <a:gd name="connsiteY60" fmla="*/ 1031169 h 1682495"/>
              <a:gd name="connsiteX61" fmla="*/ 2138820 w 8882887"/>
              <a:gd name="connsiteY61" fmla="*/ 1070081 h 1682495"/>
              <a:gd name="connsiteX62" fmla="*/ 2141861 w 8882887"/>
              <a:gd name="connsiteY62" fmla="*/ 1070081 h 1682495"/>
              <a:gd name="connsiteX63" fmla="*/ 2163140 w 8882887"/>
              <a:gd name="connsiteY63" fmla="*/ 1070081 h 1682495"/>
              <a:gd name="connsiteX64" fmla="*/ 2163140 w 8882887"/>
              <a:gd name="connsiteY64" fmla="*/ 1072512 h 1682495"/>
              <a:gd name="connsiteX65" fmla="*/ 2163140 w 8882887"/>
              <a:gd name="connsiteY65" fmla="*/ 1089537 h 1682495"/>
              <a:gd name="connsiteX66" fmla="*/ 2164280 w 8882887"/>
              <a:gd name="connsiteY66" fmla="*/ 1089537 h 1682495"/>
              <a:gd name="connsiteX67" fmla="*/ 2172261 w 8882887"/>
              <a:gd name="connsiteY67" fmla="*/ 1089537 h 1682495"/>
              <a:gd name="connsiteX68" fmla="*/ 2172261 w 8882887"/>
              <a:gd name="connsiteY68" fmla="*/ 1088321 h 1682495"/>
              <a:gd name="connsiteX69" fmla="*/ 2172261 w 8882887"/>
              <a:gd name="connsiteY69" fmla="*/ 1079808 h 1682495"/>
              <a:gd name="connsiteX70" fmla="*/ 2217861 w 8882887"/>
              <a:gd name="connsiteY70" fmla="*/ 1079808 h 1682495"/>
              <a:gd name="connsiteX71" fmla="*/ 2217861 w 8882887"/>
              <a:gd name="connsiteY71" fmla="*/ 1115478 h 1682495"/>
              <a:gd name="connsiteX72" fmla="*/ 2219381 w 8882887"/>
              <a:gd name="connsiteY72" fmla="*/ 1115478 h 1682495"/>
              <a:gd name="connsiteX73" fmla="*/ 2230022 w 8882887"/>
              <a:gd name="connsiteY73" fmla="*/ 1115478 h 1682495"/>
              <a:gd name="connsiteX74" fmla="*/ 2230022 w 8882887"/>
              <a:gd name="connsiteY74" fmla="*/ 1117100 h 1682495"/>
              <a:gd name="connsiteX75" fmla="*/ 2230022 w 8882887"/>
              <a:gd name="connsiteY75" fmla="*/ 1128449 h 1682495"/>
              <a:gd name="connsiteX76" fmla="*/ 2231162 w 8882887"/>
              <a:gd name="connsiteY76" fmla="*/ 1128449 h 1682495"/>
              <a:gd name="connsiteX77" fmla="*/ 2239142 w 8882887"/>
              <a:gd name="connsiteY77" fmla="*/ 1128449 h 1682495"/>
              <a:gd name="connsiteX78" fmla="*/ 2239142 w 8882887"/>
              <a:gd name="connsiteY78" fmla="*/ 1125206 h 1682495"/>
              <a:gd name="connsiteX79" fmla="*/ 2239142 w 8882887"/>
              <a:gd name="connsiteY79" fmla="*/ 1102508 h 1682495"/>
              <a:gd name="connsiteX80" fmla="*/ 2240661 w 8882887"/>
              <a:gd name="connsiteY80" fmla="*/ 1102508 h 1682495"/>
              <a:gd name="connsiteX81" fmla="*/ 2251302 w 8882887"/>
              <a:gd name="connsiteY81" fmla="*/ 1102508 h 1682495"/>
              <a:gd name="connsiteX82" fmla="*/ 2251302 w 8882887"/>
              <a:gd name="connsiteY82" fmla="*/ 1104129 h 1682495"/>
              <a:gd name="connsiteX83" fmla="*/ 2251302 w 8882887"/>
              <a:gd name="connsiteY83" fmla="*/ 1115478 h 1682495"/>
              <a:gd name="connsiteX84" fmla="*/ 2259282 w 8882887"/>
              <a:gd name="connsiteY84" fmla="*/ 1112489 h 1682495"/>
              <a:gd name="connsiteX85" fmla="*/ 2260422 w 8882887"/>
              <a:gd name="connsiteY85" fmla="*/ 1111019 h 1682495"/>
              <a:gd name="connsiteX86" fmla="*/ 2260422 w 8882887"/>
              <a:gd name="connsiteY86" fmla="*/ 1102508 h 1682495"/>
              <a:gd name="connsiteX87" fmla="*/ 2318183 w 8882887"/>
              <a:gd name="connsiteY87" fmla="*/ 1102508 h 1682495"/>
              <a:gd name="connsiteX88" fmla="*/ 2318183 w 8882887"/>
              <a:gd name="connsiteY88" fmla="*/ 1138176 h 1682495"/>
              <a:gd name="connsiteX89" fmla="*/ 2321222 w 8882887"/>
              <a:gd name="connsiteY89" fmla="*/ 1138176 h 1682495"/>
              <a:gd name="connsiteX90" fmla="*/ 2342502 w 8882887"/>
              <a:gd name="connsiteY90" fmla="*/ 1138176 h 1682495"/>
              <a:gd name="connsiteX91" fmla="*/ 2342502 w 8882887"/>
              <a:gd name="connsiteY91" fmla="*/ 1139798 h 1682495"/>
              <a:gd name="connsiteX92" fmla="*/ 2342502 w 8882887"/>
              <a:gd name="connsiteY92" fmla="*/ 1151147 h 1682495"/>
              <a:gd name="connsiteX93" fmla="*/ 2345163 w 8882887"/>
              <a:gd name="connsiteY93" fmla="*/ 1151147 h 1682495"/>
              <a:gd name="connsiteX94" fmla="*/ 2363783 w 8882887"/>
              <a:gd name="connsiteY94" fmla="*/ 1151147 h 1682495"/>
              <a:gd name="connsiteX95" fmla="*/ 2363783 w 8882887"/>
              <a:gd name="connsiteY95" fmla="*/ 1115478 h 1682495"/>
              <a:gd name="connsiteX96" fmla="*/ 2365302 w 8882887"/>
              <a:gd name="connsiteY96" fmla="*/ 1115478 h 1682495"/>
              <a:gd name="connsiteX97" fmla="*/ 2375943 w 8882887"/>
              <a:gd name="connsiteY97" fmla="*/ 1115478 h 1682495"/>
              <a:gd name="connsiteX98" fmla="*/ 2375943 w 8882887"/>
              <a:gd name="connsiteY98" fmla="*/ 1066838 h 1682495"/>
              <a:gd name="connsiteX99" fmla="*/ 2377463 w 8882887"/>
              <a:gd name="connsiteY99" fmla="*/ 1066838 h 1682495"/>
              <a:gd name="connsiteX100" fmla="*/ 2388104 w 8882887"/>
              <a:gd name="connsiteY100" fmla="*/ 1066838 h 1682495"/>
              <a:gd name="connsiteX101" fmla="*/ 2388104 w 8882887"/>
              <a:gd name="connsiteY101" fmla="*/ 1064001 h 1682495"/>
              <a:gd name="connsiteX102" fmla="*/ 2388104 w 8882887"/>
              <a:gd name="connsiteY102" fmla="*/ 1044140 h 1682495"/>
              <a:gd name="connsiteX103" fmla="*/ 2386203 w 8882887"/>
              <a:gd name="connsiteY103" fmla="*/ 1041707 h 1682495"/>
              <a:gd name="connsiteX104" fmla="*/ 2394183 w 8882887"/>
              <a:gd name="connsiteY104" fmla="*/ 1024683 h 1682495"/>
              <a:gd name="connsiteX105" fmla="*/ 2406344 w 8882887"/>
              <a:gd name="connsiteY105" fmla="*/ 1066838 h 1682495"/>
              <a:gd name="connsiteX106" fmla="*/ 2407484 w 8882887"/>
              <a:gd name="connsiteY106" fmla="*/ 1066838 h 1682495"/>
              <a:gd name="connsiteX107" fmla="*/ 2415464 w 8882887"/>
              <a:gd name="connsiteY107" fmla="*/ 1066838 h 1682495"/>
              <a:gd name="connsiteX108" fmla="*/ 2415464 w 8882887"/>
              <a:gd name="connsiteY108" fmla="*/ 907947 h 1682495"/>
              <a:gd name="connsiteX109" fmla="*/ 2417744 w 8882887"/>
              <a:gd name="connsiteY109" fmla="*/ 907947 h 1682495"/>
              <a:gd name="connsiteX110" fmla="*/ 2433704 w 8882887"/>
              <a:gd name="connsiteY110" fmla="*/ 907947 h 1682495"/>
              <a:gd name="connsiteX111" fmla="*/ 2433704 w 8882887"/>
              <a:gd name="connsiteY111" fmla="*/ 836609 h 1682495"/>
              <a:gd name="connsiteX112" fmla="*/ 2473224 w 8882887"/>
              <a:gd name="connsiteY112" fmla="*/ 836609 h 1682495"/>
              <a:gd name="connsiteX113" fmla="*/ 2473224 w 8882887"/>
              <a:gd name="connsiteY113" fmla="*/ 804182 h 1682495"/>
              <a:gd name="connsiteX114" fmla="*/ 2524905 w 8882887"/>
              <a:gd name="connsiteY114" fmla="*/ 804182 h 1682495"/>
              <a:gd name="connsiteX115" fmla="*/ 2524905 w 8882887"/>
              <a:gd name="connsiteY115" fmla="*/ 807830 h 1682495"/>
              <a:gd name="connsiteX116" fmla="*/ 2524905 w 8882887"/>
              <a:gd name="connsiteY116" fmla="*/ 833366 h 1682495"/>
              <a:gd name="connsiteX117" fmla="*/ 2528325 w 8882887"/>
              <a:gd name="connsiteY117" fmla="*/ 833366 h 1682495"/>
              <a:gd name="connsiteX118" fmla="*/ 2552265 w 8882887"/>
              <a:gd name="connsiteY118" fmla="*/ 833366 h 1682495"/>
              <a:gd name="connsiteX119" fmla="*/ 2552265 w 8882887"/>
              <a:gd name="connsiteY119" fmla="*/ 904704 h 1682495"/>
              <a:gd name="connsiteX120" fmla="*/ 2553785 w 8882887"/>
              <a:gd name="connsiteY120" fmla="*/ 904704 h 1682495"/>
              <a:gd name="connsiteX121" fmla="*/ 2564426 w 8882887"/>
              <a:gd name="connsiteY121" fmla="*/ 904704 h 1682495"/>
              <a:gd name="connsiteX122" fmla="*/ 2585706 w 8882887"/>
              <a:gd name="connsiteY122" fmla="*/ 911190 h 1682495"/>
              <a:gd name="connsiteX123" fmla="*/ 2585706 w 8882887"/>
              <a:gd name="connsiteY123" fmla="*/ 969558 h 1682495"/>
              <a:gd name="connsiteX124" fmla="*/ 2587226 w 8882887"/>
              <a:gd name="connsiteY124" fmla="*/ 969558 h 1682495"/>
              <a:gd name="connsiteX125" fmla="*/ 2597865 w 8882887"/>
              <a:gd name="connsiteY125" fmla="*/ 969558 h 1682495"/>
              <a:gd name="connsiteX126" fmla="*/ 2597865 w 8882887"/>
              <a:gd name="connsiteY126" fmla="*/ 971990 h 1682495"/>
              <a:gd name="connsiteX127" fmla="*/ 2597865 w 8882887"/>
              <a:gd name="connsiteY127" fmla="*/ 989013 h 1682495"/>
              <a:gd name="connsiteX128" fmla="*/ 2600906 w 8882887"/>
              <a:gd name="connsiteY128" fmla="*/ 989013 h 1682495"/>
              <a:gd name="connsiteX129" fmla="*/ 2622186 w 8882887"/>
              <a:gd name="connsiteY129" fmla="*/ 989013 h 1682495"/>
              <a:gd name="connsiteX130" fmla="*/ 2631306 w 8882887"/>
              <a:gd name="connsiteY130" fmla="*/ 998742 h 1682495"/>
              <a:gd name="connsiteX131" fmla="*/ 2631306 w 8882887"/>
              <a:gd name="connsiteY131" fmla="*/ 1031169 h 1682495"/>
              <a:gd name="connsiteX132" fmla="*/ 2634726 w 8882887"/>
              <a:gd name="connsiteY132" fmla="*/ 1031169 h 1682495"/>
              <a:gd name="connsiteX133" fmla="*/ 2658666 w 8882887"/>
              <a:gd name="connsiteY133" fmla="*/ 1031169 h 1682495"/>
              <a:gd name="connsiteX134" fmla="*/ 2658666 w 8882887"/>
              <a:gd name="connsiteY134" fmla="*/ 1032789 h 1682495"/>
              <a:gd name="connsiteX135" fmla="*/ 2658666 w 8882887"/>
              <a:gd name="connsiteY135" fmla="*/ 1044140 h 1682495"/>
              <a:gd name="connsiteX136" fmla="*/ 2660567 w 8882887"/>
              <a:gd name="connsiteY136" fmla="*/ 1044140 h 1682495"/>
              <a:gd name="connsiteX137" fmla="*/ 2673867 w 8882887"/>
              <a:gd name="connsiteY137" fmla="*/ 1044140 h 1682495"/>
              <a:gd name="connsiteX138" fmla="*/ 2673867 w 8882887"/>
              <a:gd name="connsiteY138" fmla="*/ 1047381 h 1682495"/>
              <a:gd name="connsiteX139" fmla="*/ 2673867 w 8882887"/>
              <a:gd name="connsiteY139" fmla="*/ 1070081 h 1682495"/>
              <a:gd name="connsiteX140" fmla="*/ 2679947 w 8882887"/>
              <a:gd name="connsiteY140" fmla="*/ 1067243 h 1682495"/>
              <a:gd name="connsiteX141" fmla="*/ 2679947 w 8882887"/>
              <a:gd name="connsiteY141" fmla="*/ 1047381 h 1682495"/>
              <a:gd name="connsiteX142" fmla="*/ 2681466 w 8882887"/>
              <a:gd name="connsiteY142" fmla="*/ 1047381 h 1682495"/>
              <a:gd name="connsiteX143" fmla="*/ 2692107 w 8882887"/>
              <a:gd name="connsiteY143" fmla="*/ 1047381 h 1682495"/>
              <a:gd name="connsiteX144" fmla="*/ 2692107 w 8882887"/>
              <a:gd name="connsiteY144" fmla="*/ 1049814 h 1682495"/>
              <a:gd name="connsiteX145" fmla="*/ 2692107 w 8882887"/>
              <a:gd name="connsiteY145" fmla="*/ 1066838 h 1682495"/>
              <a:gd name="connsiteX146" fmla="*/ 2693247 w 8882887"/>
              <a:gd name="connsiteY146" fmla="*/ 1066838 h 1682495"/>
              <a:gd name="connsiteX147" fmla="*/ 2701227 w 8882887"/>
              <a:gd name="connsiteY147" fmla="*/ 1066838 h 1682495"/>
              <a:gd name="connsiteX148" fmla="*/ 2774187 w 8882887"/>
              <a:gd name="connsiteY148" fmla="*/ 1060353 h 1682495"/>
              <a:gd name="connsiteX149" fmla="*/ 2774187 w 8882887"/>
              <a:gd name="connsiteY149" fmla="*/ 1062380 h 1682495"/>
              <a:gd name="connsiteX150" fmla="*/ 2774187 w 8882887"/>
              <a:gd name="connsiteY150" fmla="*/ 1076565 h 1682495"/>
              <a:gd name="connsiteX151" fmla="*/ 2775327 w 8882887"/>
              <a:gd name="connsiteY151" fmla="*/ 1076565 h 1682495"/>
              <a:gd name="connsiteX152" fmla="*/ 2783309 w 8882887"/>
              <a:gd name="connsiteY152" fmla="*/ 1076565 h 1682495"/>
              <a:gd name="connsiteX153" fmla="*/ 2783309 w 8882887"/>
              <a:gd name="connsiteY153" fmla="*/ 1079808 h 1682495"/>
              <a:gd name="connsiteX154" fmla="*/ 2783309 w 8882887"/>
              <a:gd name="connsiteY154" fmla="*/ 1102508 h 1682495"/>
              <a:gd name="connsiteX155" fmla="*/ 2786348 w 8882887"/>
              <a:gd name="connsiteY155" fmla="*/ 1100481 h 1682495"/>
              <a:gd name="connsiteX156" fmla="*/ 2807628 w 8882887"/>
              <a:gd name="connsiteY156" fmla="*/ 1086294 h 1682495"/>
              <a:gd name="connsiteX157" fmla="*/ 2816748 w 8882887"/>
              <a:gd name="connsiteY157" fmla="*/ 1024683 h 1682495"/>
              <a:gd name="connsiteX158" fmla="*/ 2817888 w 8882887"/>
              <a:gd name="connsiteY158" fmla="*/ 1024278 h 1682495"/>
              <a:gd name="connsiteX159" fmla="*/ 2825868 w 8882887"/>
              <a:gd name="connsiteY159" fmla="*/ 1021440 h 1682495"/>
              <a:gd name="connsiteX160" fmla="*/ 2828909 w 8882887"/>
              <a:gd name="connsiteY160" fmla="*/ 917675 h 1682495"/>
              <a:gd name="connsiteX161" fmla="*/ 2831949 w 8882887"/>
              <a:gd name="connsiteY161" fmla="*/ 1021440 h 1682495"/>
              <a:gd name="connsiteX162" fmla="*/ 2833089 w 8882887"/>
              <a:gd name="connsiteY162" fmla="*/ 1021845 h 1682495"/>
              <a:gd name="connsiteX163" fmla="*/ 2841069 w 8882887"/>
              <a:gd name="connsiteY163" fmla="*/ 1024683 h 1682495"/>
              <a:gd name="connsiteX164" fmla="*/ 2841069 w 8882887"/>
              <a:gd name="connsiteY164" fmla="*/ 894977 h 1682495"/>
              <a:gd name="connsiteX165" fmla="*/ 2847149 w 8882887"/>
              <a:gd name="connsiteY165" fmla="*/ 846336 h 1682495"/>
              <a:gd name="connsiteX166" fmla="*/ 2904909 w 8882887"/>
              <a:gd name="connsiteY166" fmla="*/ 846336 h 1682495"/>
              <a:gd name="connsiteX167" fmla="*/ 2904909 w 8882887"/>
              <a:gd name="connsiteY167" fmla="*/ 894977 h 1682495"/>
              <a:gd name="connsiteX168" fmla="*/ 2906049 w 8882887"/>
              <a:gd name="connsiteY168" fmla="*/ 894977 h 1682495"/>
              <a:gd name="connsiteX169" fmla="*/ 2914029 w 8882887"/>
              <a:gd name="connsiteY169" fmla="*/ 894977 h 1682495"/>
              <a:gd name="connsiteX170" fmla="*/ 2914029 w 8882887"/>
              <a:gd name="connsiteY170" fmla="*/ 771755 h 1682495"/>
              <a:gd name="connsiteX171" fmla="*/ 2916690 w 8882887"/>
              <a:gd name="connsiteY171" fmla="*/ 771755 h 1682495"/>
              <a:gd name="connsiteX172" fmla="*/ 2935310 w 8882887"/>
              <a:gd name="connsiteY172" fmla="*/ 771755 h 1682495"/>
              <a:gd name="connsiteX173" fmla="*/ 2935310 w 8882887"/>
              <a:gd name="connsiteY173" fmla="*/ 768918 h 1682495"/>
              <a:gd name="connsiteX174" fmla="*/ 2935310 w 8882887"/>
              <a:gd name="connsiteY174" fmla="*/ 749057 h 1682495"/>
              <a:gd name="connsiteX175" fmla="*/ 2968751 w 8882887"/>
              <a:gd name="connsiteY175" fmla="*/ 749057 h 1682495"/>
              <a:gd name="connsiteX176" fmla="*/ 2968751 w 8882887"/>
              <a:gd name="connsiteY176" fmla="*/ 747435 h 1682495"/>
              <a:gd name="connsiteX177" fmla="*/ 2968751 w 8882887"/>
              <a:gd name="connsiteY177" fmla="*/ 736086 h 1682495"/>
              <a:gd name="connsiteX178" fmla="*/ 2971410 w 8882887"/>
              <a:gd name="connsiteY178" fmla="*/ 736086 h 1682495"/>
              <a:gd name="connsiteX179" fmla="*/ 2990031 w 8882887"/>
              <a:gd name="connsiteY179" fmla="*/ 736086 h 1682495"/>
              <a:gd name="connsiteX180" fmla="*/ 2990031 w 8882887"/>
              <a:gd name="connsiteY180" fmla="*/ 737708 h 1682495"/>
              <a:gd name="connsiteX181" fmla="*/ 2990031 w 8882887"/>
              <a:gd name="connsiteY181" fmla="*/ 749057 h 1682495"/>
              <a:gd name="connsiteX182" fmla="*/ 2991171 w 8882887"/>
              <a:gd name="connsiteY182" fmla="*/ 749057 h 1682495"/>
              <a:gd name="connsiteX183" fmla="*/ 2999151 w 8882887"/>
              <a:gd name="connsiteY183" fmla="*/ 749057 h 1682495"/>
              <a:gd name="connsiteX184" fmla="*/ 3014351 w 8882887"/>
              <a:gd name="connsiteY184" fmla="*/ 742571 h 1682495"/>
              <a:gd name="connsiteX185" fmla="*/ 3020430 w 8882887"/>
              <a:gd name="connsiteY185" fmla="*/ 747435 h 1682495"/>
              <a:gd name="connsiteX186" fmla="*/ 3020430 w 8882887"/>
              <a:gd name="connsiteY186" fmla="*/ 736086 h 1682495"/>
              <a:gd name="connsiteX187" fmla="*/ 3023850 w 8882887"/>
              <a:gd name="connsiteY187" fmla="*/ 736086 h 1682495"/>
              <a:gd name="connsiteX188" fmla="*/ 3047792 w 8882887"/>
              <a:gd name="connsiteY188" fmla="*/ 736086 h 1682495"/>
              <a:gd name="connsiteX189" fmla="*/ 3047792 w 8882887"/>
              <a:gd name="connsiteY189" fmla="*/ 737708 h 1682495"/>
              <a:gd name="connsiteX190" fmla="*/ 3047792 w 8882887"/>
              <a:gd name="connsiteY190" fmla="*/ 749057 h 1682495"/>
              <a:gd name="connsiteX191" fmla="*/ 3093392 w 8882887"/>
              <a:gd name="connsiteY191" fmla="*/ 749057 h 1682495"/>
              <a:gd name="connsiteX192" fmla="*/ 3093392 w 8882887"/>
              <a:gd name="connsiteY192" fmla="*/ 751488 h 1682495"/>
              <a:gd name="connsiteX193" fmla="*/ 3093392 w 8882887"/>
              <a:gd name="connsiteY193" fmla="*/ 768513 h 1682495"/>
              <a:gd name="connsiteX194" fmla="*/ 3132912 w 8882887"/>
              <a:gd name="connsiteY194" fmla="*/ 768513 h 1682495"/>
              <a:gd name="connsiteX195" fmla="*/ 3132912 w 8882887"/>
              <a:gd name="connsiteY195" fmla="*/ 813909 h 1682495"/>
              <a:gd name="connsiteX196" fmla="*/ 3134052 w 8882887"/>
              <a:gd name="connsiteY196" fmla="*/ 813909 h 1682495"/>
              <a:gd name="connsiteX197" fmla="*/ 3142032 w 8882887"/>
              <a:gd name="connsiteY197" fmla="*/ 813909 h 1682495"/>
              <a:gd name="connsiteX198" fmla="*/ 3142032 w 8882887"/>
              <a:gd name="connsiteY198" fmla="*/ 815531 h 1682495"/>
              <a:gd name="connsiteX199" fmla="*/ 3142032 w 8882887"/>
              <a:gd name="connsiteY199" fmla="*/ 826881 h 1682495"/>
              <a:gd name="connsiteX200" fmla="*/ 3148113 w 8882887"/>
              <a:gd name="connsiteY200" fmla="*/ 872277 h 1682495"/>
              <a:gd name="connsiteX201" fmla="*/ 3149253 w 8882887"/>
              <a:gd name="connsiteY201" fmla="*/ 872277 h 1682495"/>
              <a:gd name="connsiteX202" fmla="*/ 3157233 w 8882887"/>
              <a:gd name="connsiteY202" fmla="*/ 872277 h 1682495"/>
              <a:gd name="connsiteX203" fmla="*/ 3157233 w 8882887"/>
              <a:gd name="connsiteY203" fmla="*/ 873494 h 1682495"/>
              <a:gd name="connsiteX204" fmla="*/ 3157233 w 8882887"/>
              <a:gd name="connsiteY204" fmla="*/ 882006 h 1682495"/>
              <a:gd name="connsiteX205" fmla="*/ 3158753 w 8882887"/>
              <a:gd name="connsiteY205" fmla="*/ 882006 h 1682495"/>
              <a:gd name="connsiteX206" fmla="*/ 3169392 w 8882887"/>
              <a:gd name="connsiteY206" fmla="*/ 882006 h 1682495"/>
              <a:gd name="connsiteX207" fmla="*/ 3169392 w 8882887"/>
              <a:gd name="connsiteY207" fmla="*/ 927404 h 1682495"/>
              <a:gd name="connsiteX208" fmla="*/ 3172433 w 8882887"/>
              <a:gd name="connsiteY208" fmla="*/ 927404 h 1682495"/>
              <a:gd name="connsiteX209" fmla="*/ 3193713 w 8882887"/>
              <a:gd name="connsiteY209" fmla="*/ 927404 h 1682495"/>
              <a:gd name="connsiteX210" fmla="*/ 3193713 w 8882887"/>
              <a:gd name="connsiteY210" fmla="*/ 963072 h 1682495"/>
              <a:gd name="connsiteX211" fmla="*/ 3196754 w 8882887"/>
              <a:gd name="connsiteY211" fmla="*/ 965504 h 1682495"/>
              <a:gd name="connsiteX212" fmla="*/ 3196754 w 8882887"/>
              <a:gd name="connsiteY212" fmla="*/ 982529 h 1682495"/>
              <a:gd name="connsiteX213" fmla="*/ 3197894 w 8882887"/>
              <a:gd name="connsiteY213" fmla="*/ 982529 h 1682495"/>
              <a:gd name="connsiteX214" fmla="*/ 3205874 w 8882887"/>
              <a:gd name="connsiteY214" fmla="*/ 982529 h 1682495"/>
              <a:gd name="connsiteX215" fmla="*/ 3205874 w 8882887"/>
              <a:gd name="connsiteY215" fmla="*/ 1018197 h 1682495"/>
              <a:gd name="connsiteX216" fmla="*/ 3207773 w 8882887"/>
              <a:gd name="connsiteY216" fmla="*/ 1018197 h 1682495"/>
              <a:gd name="connsiteX217" fmla="*/ 3221073 w 8882887"/>
              <a:gd name="connsiteY217" fmla="*/ 1018197 h 1682495"/>
              <a:gd name="connsiteX218" fmla="*/ 3224114 w 8882887"/>
              <a:gd name="connsiteY218" fmla="*/ 1024278 h 1682495"/>
              <a:gd name="connsiteX219" fmla="*/ 3224114 w 8882887"/>
              <a:gd name="connsiteY219" fmla="*/ 1044140 h 1682495"/>
              <a:gd name="connsiteX220" fmla="*/ 3226394 w 8882887"/>
              <a:gd name="connsiteY220" fmla="*/ 1041302 h 1682495"/>
              <a:gd name="connsiteX221" fmla="*/ 3242354 w 8882887"/>
              <a:gd name="connsiteY221" fmla="*/ 1021440 h 1682495"/>
              <a:gd name="connsiteX222" fmla="*/ 3284915 w 8882887"/>
              <a:gd name="connsiteY222" fmla="*/ 1021440 h 1682495"/>
              <a:gd name="connsiteX223" fmla="*/ 3284915 w 8882887"/>
              <a:gd name="connsiteY223" fmla="*/ 1151147 h 1682495"/>
              <a:gd name="connsiteX224" fmla="*/ 3286055 w 8882887"/>
              <a:gd name="connsiteY224" fmla="*/ 1151147 h 1682495"/>
              <a:gd name="connsiteX225" fmla="*/ 3294035 w 8882887"/>
              <a:gd name="connsiteY225" fmla="*/ 1151147 h 1682495"/>
              <a:gd name="connsiteX226" fmla="*/ 3295175 w 8882887"/>
              <a:gd name="connsiteY226" fmla="*/ 1149120 h 1682495"/>
              <a:gd name="connsiteX227" fmla="*/ 3303155 w 8882887"/>
              <a:gd name="connsiteY227" fmla="*/ 1134933 h 1682495"/>
              <a:gd name="connsiteX228" fmla="*/ 3303155 w 8882887"/>
              <a:gd name="connsiteY228" fmla="*/ 1137771 h 1682495"/>
              <a:gd name="connsiteX229" fmla="*/ 3303155 w 8882887"/>
              <a:gd name="connsiteY229" fmla="*/ 1157633 h 1682495"/>
              <a:gd name="connsiteX230" fmla="*/ 3309234 w 8882887"/>
              <a:gd name="connsiteY230" fmla="*/ 1089537 h 1682495"/>
              <a:gd name="connsiteX231" fmla="*/ 3310374 w 8882887"/>
              <a:gd name="connsiteY231" fmla="*/ 1089537 h 1682495"/>
              <a:gd name="connsiteX232" fmla="*/ 3318354 w 8882887"/>
              <a:gd name="connsiteY232" fmla="*/ 1089537 h 1682495"/>
              <a:gd name="connsiteX233" fmla="*/ 3318354 w 8882887"/>
              <a:gd name="connsiteY233" fmla="*/ 992256 h 1682495"/>
              <a:gd name="connsiteX234" fmla="*/ 3319875 w 8882887"/>
              <a:gd name="connsiteY234" fmla="*/ 992256 h 1682495"/>
              <a:gd name="connsiteX235" fmla="*/ 3330515 w 8882887"/>
              <a:gd name="connsiteY235" fmla="*/ 992256 h 1682495"/>
              <a:gd name="connsiteX236" fmla="*/ 3348755 w 8882887"/>
              <a:gd name="connsiteY236" fmla="*/ 927404 h 1682495"/>
              <a:gd name="connsiteX237" fmla="*/ 3350655 w 8882887"/>
              <a:gd name="connsiteY237" fmla="*/ 927404 h 1682495"/>
              <a:gd name="connsiteX238" fmla="*/ 3363956 w 8882887"/>
              <a:gd name="connsiteY238" fmla="*/ 927404 h 1682495"/>
              <a:gd name="connsiteX239" fmla="*/ 3379155 w 8882887"/>
              <a:gd name="connsiteY239" fmla="*/ 992256 h 1682495"/>
              <a:gd name="connsiteX240" fmla="*/ 3380675 w 8882887"/>
              <a:gd name="connsiteY240" fmla="*/ 992256 h 1682495"/>
              <a:gd name="connsiteX241" fmla="*/ 3391316 w 8882887"/>
              <a:gd name="connsiteY241" fmla="*/ 992256 h 1682495"/>
              <a:gd name="connsiteX242" fmla="*/ 3391316 w 8882887"/>
              <a:gd name="connsiteY242" fmla="*/ 1050624 h 1682495"/>
              <a:gd name="connsiteX243" fmla="*/ 3393975 w 8882887"/>
              <a:gd name="connsiteY243" fmla="*/ 1050624 h 1682495"/>
              <a:gd name="connsiteX244" fmla="*/ 3412596 w 8882887"/>
              <a:gd name="connsiteY244" fmla="*/ 1050624 h 1682495"/>
              <a:gd name="connsiteX245" fmla="*/ 3412596 w 8882887"/>
              <a:gd name="connsiteY245" fmla="*/ 1053867 h 1682495"/>
              <a:gd name="connsiteX246" fmla="*/ 3412596 w 8882887"/>
              <a:gd name="connsiteY246" fmla="*/ 1076565 h 1682495"/>
              <a:gd name="connsiteX247" fmla="*/ 3418676 w 8882887"/>
              <a:gd name="connsiteY247" fmla="*/ 1073324 h 1682495"/>
              <a:gd name="connsiteX248" fmla="*/ 3418676 w 8882887"/>
              <a:gd name="connsiteY248" fmla="*/ 1050624 h 1682495"/>
              <a:gd name="connsiteX249" fmla="*/ 3420956 w 8882887"/>
              <a:gd name="connsiteY249" fmla="*/ 1050624 h 1682495"/>
              <a:gd name="connsiteX250" fmla="*/ 3436916 w 8882887"/>
              <a:gd name="connsiteY250" fmla="*/ 1050624 h 1682495"/>
              <a:gd name="connsiteX251" fmla="*/ 3436916 w 8882887"/>
              <a:gd name="connsiteY251" fmla="*/ 1053056 h 1682495"/>
              <a:gd name="connsiteX252" fmla="*/ 3436916 w 8882887"/>
              <a:gd name="connsiteY252" fmla="*/ 1070081 h 1682495"/>
              <a:gd name="connsiteX253" fmla="*/ 3482517 w 8882887"/>
              <a:gd name="connsiteY253" fmla="*/ 1070081 h 1682495"/>
              <a:gd name="connsiteX254" fmla="*/ 3482517 w 8882887"/>
              <a:gd name="connsiteY254" fmla="*/ 1014956 h 1682495"/>
              <a:gd name="connsiteX255" fmla="*/ 3484416 w 8882887"/>
              <a:gd name="connsiteY255" fmla="*/ 1014956 h 1682495"/>
              <a:gd name="connsiteX256" fmla="*/ 3497717 w 8882887"/>
              <a:gd name="connsiteY256" fmla="*/ 1014956 h 1682495"/>
              <a:gd name="connsiteX257" fmla="*/ 3497717 w 8882887"/>
              <a:gd name="connsiteY257" fmla="*/ 1047381 h 1682495"/>
              <a:gd name="connsiteX258" fmla="*/ 3500757 w 8882887"/>
              <a:gd name="connsiteY258" fmla="*/ 998742 h 1682495"/>
              <a:gd name="connsiteX259" fmla="*/ 3534197 w 8882887"/>
              <a:gd name="connsiteY259" fmla="*/ 998742 h 1682495"/>
              <a:gd name="connsiteX260" fmla="*/ 3534197 w 8882887"/>
              <a:gd name="connsiteY260" fmla="*/ 996309 h 1682495"/>
              <a:gd name="connsiteX261" fmla="*/ 3534197 w 8882887"/>
              <a:gd name="connsiteY261" fmla="*/ 979286 h 1682495"/>
              <a:gd name="connsiteX262" fmla="*/ 3535337 w 8882887"/>
              <a:gd name="connsiteY262" fmla="*/ 979286 h 1682495"/>
              <a:gd name="connsiteX263" fmla="*/ 3543317 w 8882887"/>
              <a:gd name="connsiteY263" fmla="*/ 979286 h 1682495"/>
              <a:gd name="connsiteX264" fmla="*/ 3543317 w 8882887"/>
              <a:gd name="connsiteY264" fmla="*/ 976449 h 1682495"/>
              <a:gd name="connsiteX265" fmla="*/ 3543317 w 8882887"/>
              <a:gd name="connsiteY265" fmla="*/ 956588 h 1682495"/>
              <a:gd name="connsiteX266" fmla="*/ 3549398 w 8882887"/>
              <a:gd name="connsiteY266" fmla="*/ 966315 h 1682495"/>
              <a:gd name="connsiteX267" fmla="*/ 3552818 w 8882887"/>
              <a:gd name="connsiteY267" fmla="*/ 966315 h 1682495"/>
              <a:gd name="connsiteX268" fmla="*/ 3576758 w 8882887"/>
              <a:gd name="connsiteY268" fmla="*/ 966315 h 1682495"/>
              <a:gd name="connsiteX269" fmla="*/ 3576758 w 8882887"/>
              <a:gd name="connsiteY269" fmla="*/ 965099 h 1682495"/>
              <a:gd name="connsiteX270" fmla="*/ 3576758 w 8882887"/>
              <a:gd name="connsiteY270" fmla="*/ 956588 h 1682495"/>
              <a:gd name="connsiteX271" fmla="*/ 3577898 w 8882887"/>
              <a:gd name="connsiteY271" fmla="*/ 956588 h 1682495"/>
              <a:gd name="connsiteX272" fmla="*/ 3585878 w 8882887"/>
              <a:gd name="connsiteY272" fmla="*/ 956588 h 1682495"/>
              <a:gd name="connsiteX273" fmla="*/ 3585878 w 8882887"/>
              <a:gd name="connsiteY273" fmla="*/ 958614 h 1682495"/>
              <a:gd name="connsiteX274" fmla="*/ 3585878 w 8882887"/>
              <a:gd name="connsiteY274" fmla="*/ 972801 h 1682495"/>
              <a:gd name="connsiteX275" fmla="*/ 3643638 w 8882887"/>
              <a:gd name="connsiteY275" fmla="*/ 972801 h 1682495"/>
              <a:gd name="connsiteX276" fmla="*/ 3643638 w 8882887"/>
              <a:gd name="connsiteY276" fmla="*/ 1180331 h 1682495"/>
              <a:gd name="connsiteX277" fmla="*/ 3645918 w 8882887"/>
              <a:gd name="connsiteY277" fmla="*/ 1180331 h 1682495"/>
              <a:gd name="connsiteX278" fmla="*/ 3661878 w 8882887"/>
              <a:gd name="connsiteY278" fmla="*/ 1180331 h 1682495"/>
              <a:gd name="connsiteX279" fmla="*/ 3661878 w 8882887"/>
              <a:gd name="connsiteY279" fmla="*/ 1160876 h 1682495"/>
              <a:gd name="connsiteX280" fmla="*/ 3667959 w 8882887"/>
              <a:gd name="connsiteY280" fmla="*/ 1160876 h 1682495"/>
              <a:gd name="connsiteX281" fmla="*/ 3667959 w 8882887"/>
              <a:gd name="connsiteY281" fmla="*/ 1180331 h 1682495"/>
              <a:gd name="connsiteX282" fmla="*/ 3713559 w 8882887"/>
              <a:gd name="connsiteY282" fmla="*/ 1180331 h 1682495"/>
              <a:gd name="connsiteX283" fmla="*/ 3713559 w 8882887"/>
              <a:gd name="connsiteY283" fmla="*/ 1134933 h 1682495"/>
              <a:gd name="connsiteX284" fmla="*/ 3731799 w 8882887"/>
              <a:gd name="connsiteY284" fmla="*/ 1134933 h 1682495"/>
              <a:gd name="connsiteX285" fmla="*/ 3750039 w 8882887"/>
              <a:gd name="connsiteY285" fmla="*/ 1131692 h 1682495"/>
              <a:gd name="connsiteX286" fmla="*/ 3756120 w 8882887"/>
              <a:gd name="connsiteY286" fmla="*/ 1134933 h 1682495"/>
              <a:gd name="connsiteX287" fmla="*/ 3771320 w 8882887"/>
              <a:gd name="connsiteY287" fmla="*/ 1134933 h 1682495"/>
              <a:gd name="connsiteX288" fmla="*/ 3771320 w 8882887"/>
              <a:gd name="connsiteY288" fmla="*/ 1180331 h 1682495"/>
              <a:gd name="connsiteX289" fmla="*/ 3783480 w 8882887"/>
              <a:gd name="connsiteY289" fmla="*/ 1180331 h 1682495"/>
              <a:gd name="connsiteX290" fmla="*/ 3783480 w 8882887"/>
              <a:gd name="connsiteY290" fmla="*/ 1206273 h 1682495"/>
              <a:gd name="connsiteX291" fmla="*/ 3797484 w 8882887"/>
              <a:gd name="connsiteY291" fmla="*/ 1207631 h 1682495"/>
              <a:gd name="connsiteX292" fmla="*/ 3816921 w 8882887"/>
              <a:gd name="connsiteY292" fmla="*/ 1207631 h 1682495"/>
              <a:gd name="connsiteX293" fmla="*/ 3816921 w 8882887"/>
              <a:gd name="connsiteY293" fmla="*/ 1183574 h 1682495"/>
              <a:gd name="connsiteX294" fmla="*/ 3918855 w 8882887"/>
              <a:gd name="connsiteY294" fmla="*/ 1183574 h 1682495"/>
              <a:gd name="connsiteX295" fmla="*/ 3918855 w 8882887"/>
              <a:gd name="connsiteY295" fmla="*/ 1055694 h 1682495"/>
              <a:gd name="connsiteX296" fmla="*/ 4026867 w 8882887"/>
              <a:gd name="connsiteY296" fmla="*/ 1055694 h 1682495"/>
              <a:gd name="connsiteX297" fmla="*/ 4026867 w 8882887"/>
              <a:gd name="connsiteY297" fmla="*/ 1173846 h 1682495"/>
              <a:gd name="connsiteX298" fmla="*/ 4029723 w 8882887"/>
              <a:gd name="connsiteY298" fmla="*/ 1173846 h 1682495"/>
              <a:gd name="connsiteX299" fmla="*/ 4031586 w 8882887"/>
              <a:gd name="connsiteY299" fmla="*/ 1207631 h 1682495"/>
              <a:gd name="connsiteX300" fmla="*/ 4046100 w 8882887"/>
              <a:gd name="connsiteY300" fmla="*/ 1207631 h 1682495"/>
              <a:gd name="connsiteX301" fmla="*/ 4047963 w 8882887"/>
              <a:gd name="connsiteY301" fmla="*/ 1173846 h 1682495"/>
              <a:gd name="connsiteX302" fmla="*/ 4057083 w 8882887"/>
              <a:gd name="connsiteY302" fmla="*/ 1173846 h 1682495"/>
              <a:gd name="connsiteX303" fmla="*/ 4058946 w 8882887"/>
              <a:gd name="connsiteY303" fmla="*/ 1207631 h 1682495"/>
              <a:gd name="connsiteX304" fmla="*/ 4134879 w 8882887"/>
              <a:gd name="connsiteY304" fmla="*/ 1207631 h 1682495"/>
              <a:gd name="connsiteX305" fmla="*/ 4134879 w 8882887"/>
              <a:gd name="connsiteY305" fmla="*/ 963089 h 1682495"/>
              <a:gd name="connsiteX306" fmla="*/ 4430870 w 8882887"/>
              <a:gd name="connsiteY306" fmla="*/ 963089 h 1682495"/>
              <a:gd name="connsiteX307" fmla="*/ 4430870 w 8882887"/>
              <a:gd name="connsiteY307" fmla="*/ 1207631 h 1682495"/>
              <a:gd name="connsiteX308" fmla="*/ 4458915 w 8882887"/>
              <a:gd name="connsiteY308" fmla="*/ 1207631 h 1682495"/>
              <a:gd name="connsiteX309" fmla="*/ 4458915 w 8882887"/>
              <a:gd name="connsiteY309" fmla="*/ 1083591 h 1682495"/>
              <a:gd name="connsiteX310" fmla="*/ 4601595 w 8882887"/>
              <a:gd name="connsiteY310" fmla="*/ 1083591 h 1682495"/>
              <a:gd name="connsiteX311" fmla="*/ 4619491 w 8882887"/>
              <a:gd name="connsiteY311" fmla="*/ 606380 h 1682495"/>
              <a:gd name="connsiteX312" fmla="*/ 4601251 w 8882887"/>
              <a:gd name="connsiteY312" fmla="*/ 573953 h 1682495"/>
              <a:gd name="connsiteX313" fmla="*/ 4592131 w 8882887"/>
              <a:gd name="connsiteY313" fmla="*/ 567467 h 1682495"/>
              <a:gd name="connsiteX314" fmla="*/ 4604291 w 8882887"/>
              <a:gd name="connsiteY314" fmla="*/ 531798 h 1682495"/>
              <a:gd name="connsiteX315" fmla="*/ 4604291 w 8882887"/>
              <a:gd name="connsiteY315" fmla="*/ 505857 h 1682495"/>
              <a:gd name="connsiteX316" fmla="*/ 4625571 w 8882887"/>
              <a:gd name="connsiteY316" fmla="*/ 505857 h 1682495"/>
              <a:gd name="connsiteX317" fmla="*/ 4625571 w 8882887"/>
              <a:gd name="connsiteY317" fmla="*/ 473430 h 1682495"/>
              <a:gd name="connsiteX318" fmla="*/ 4628611 w 8882887"/>
              <a:gd name="connsiteY318" fmla="*/ 466944 h 1682495"/>
              <a:gd name="connsiteX319" fmla="*/ 4628611 w 8882887"/>
              <a:gd name="connsiteY319" fmla="*/ 350208 h 1682495"/>
              <a:gd name="connsiteX320" fmla="*/ 4625571 w 8882887"/>
              <a:gd name="connsiteY320" fmla="*/ 340481 h 1682495"/>
              <a:gd name="connsiteX321" fmla="*/ 4634691 w 8882887"/>
              <a:gd name="connsiteY321" fmla="*/ 330752 h 1682495"/>
              <a:gd name="connsiteX322" fmla="*/ 4634691 w 8882887"/>
              <a:gd name="connsiteY322" fmla="*/ 243200 h 1682495"/>
              <a:gd name="connsiteX323" fmla="*/ 4637731 w 8882887"/>
              <a:gd name="connsiteY323" fmla="*/ 236715 h 1682495"/>
              <a:gd name="connsiteX324" fmla="*/ 4637731 w 8882887"/>
              <a:gd name="connsiteY324" fmla="*/ 152406 h 1682495"/>
              <a:gd name="connsiteX325" fmla="*/ 4640771 w 8882887"/>
              <a:gd name="connsiteY325" fmla="*/ 123222 h 1682495"/>
              <a:gd name="connsiteX326" fmla="*/ 4646851 w 8882887"/>
              <a:gd name="connsiteY326" fmla="*/ 149163 h 1682495"/>
              <a:gd name="connsiteX327" fmla="*/ 4649891 w 8882887"/>
              <a:gd name="connsiteY327" fmla="*/ 236715 h 1682495"/>
              <a:gd name="connsiteX328" fmla="*/ 4652931 w 8882887"/>
              <a:gd name="connsiteY328" fmla="*/ 330752 h 1682495"/>
              <a:gd name="connsiteX329" fmla="*/ 4662051 w 8882887"/>
              <a:gd name="connsiteY329" fmla="*/ 340481 h 1682495"/>
              <a:gd name="connsiteX330" fmla="*/ 4659011 w 8882887"/>
              <a:gd name="connsiteY330" fmla="*/ 350208 h 1682495"/>
              <a:gd name="connsiteX331" fmla="*/ 4659011 w 8882887"/>
              <a:gd name="connsiteY331" fmla="*/ 466944 h 1682495"/>
              <a:gd name="connsiteX332" fmla="*/ 4662051 w 8882887"/>
              <a:gd name="connsiteY332" fmla="*/ 473430 h 1682495"/>
              <a:gd name="connsiteX333" fmla="*/ 4662051 w 8882887"/>
              <a:gd name="connsiteY333" fmla="*/ 505857 h 1682495"/>
              <a:gd name="connsiteX334" fmla="*/ 4683331 w 8882887"/>
              <a:gd name="connsiteY334" fmla="*/ 505857 h 1682495"/>
              <a:gd name="connsiteX335" fmla="*/ 4683331 w 8882887"/>
              <a:gd name="connsiteY335" fmla="*/ 531798 h 1682495"/>
              <a:gd name="connsiteX336" fmla="*/ 4695493 w 8882887"/>
              <a:gd name="connsiteY336" fmla="*/ 567467 h 1682495"/>
              <a:gd name="connsiteX337" fmla="*/ 4686373 w 8882887"/>
              <a:gd name="connsiteY337" fmla="*/ 573953 h 1682495"/>
              <a:gd name="connsiteX338" fmla="*/ 4668131 w 8882887"/>
              <a:gd name="connsiteY338" fmla="*/ 606380 h 1682495"/>
              <a:gd name="connsiteX339" fmla="*/ 4680291 w 8882887"/>
              <a:gd name="connsiteY339" fmla="*/ 985772 h 1682495"/>
              <a:gd name="connsiteX340" fmla="*/ 4777573 w 8882887"/>
              <a:gd name="connsiteY340" fmla="*/ 985772 h 1682495"/>
              <a:gd name="connsiteX341" fmla="*/ 4777573 w 8882887"/>
              <a:gd name="connsiteY341" fmla="*/ 1099265 h 1682495"/>
              <a:gd name="connsiteX342" fmla="*/ 4789733 w 8882887"/>
              <a:gd name="connsiteY342" fmla="*/ 1099265 h 1682495"/>
              <a:gd name="connsiteX343" fmla="*/ 4792773 w 8882887"/>
              <a:gd name="connsiteY343" fmla="*/ 1089537 h 1682495"/>
              <a:gd name="connsiteX344" fmla="*/ 4801893 w 8882887"/>
              <a:gd name="connsiteY344" fmla="*/ 1089537 h 1682495"/>
              <a:gd name="connsiteX345" fmla="*/ 4804935 w 8882887"/>
              <a:gd name="connsiteY345" fmla="*/ 1102508 h 1682495"/>
              <a:gd name="connsiteX346" fmla="*/ 4823175 w 8882887"/>
              <a:gd name="connsiteY346" fmla="*/ 1102508 h 1682495"/>
              <a:gd name="connsiteX347" fmla="*/ 4823175 w 8882887"/>
              <a:gd name="connsiteY347" fmla="*/ 1092779 h 1682495"/>
              <a:gd name="connsiteX348" fmla="*/ 4856613 w 8882887"/>
              <a:gd name="connsiteY348" fmla="*/ 1092779 h 1682495"/>
              <a:gd name="connsiteX349" fmla="*/ 4856613 w 8882887"/>
              <a:gd name="connsiteY349" fmla="*/ 1102508 h 1682495"/>
              <a:gd name="connsiteX350" fmla="*/ 4887015 w 8882887"/>
              <a:gd name="connsiteY350" fmla="*/ 1102508 h 1682495"/>
              <a:gd name="connsiteX351" fmla="*/ 4887015 w 8882887"/>
              <a:gd name="connsiteY351" fmla="*/ 1170603 h 1682495"/>
              <a:gd name="connsiteX352" fmla="*/ 4908295 w 8882887"/>
              <a:gd name="connsiteY352" fmla="*/ 1170603 h 1682495"/>
              <a:gd name="connsiteX353" fmla="*/ 4908295 w 8882887"/>
              <a:gd name="connsiteY353" fmla="*/ 1151147 h 1682495"/>
              <a:gd name="connsiteX354" fmla="*/ 4932615 w 8882887"/>
              <a:gd name="connsiteY354" fmla="*/ 1151147 h 1682495"/>
              <a:gd name="connsiteX355" fmla="*/ 4932615 w 8882887"/>
              <a:gd name="connsiteY355" fmla="*/ 882006 h 1682495"/>
              <a:gd name="connsiteX356" fmla="*/ 4941735 w 8882887"/>
              <a:gd name="connsiteY356" fmla="*/ 872277 h 1682495"/>
              <a:gd name="connsiteX357" fmla="*/ 5051177 w 8882887"/>
              <a:gd name="connsiteY357" fmla="*/ 872277 h 1682495"/>
              <a:gd name="connsiteX358" fmla="*/ 5051177 w 8882887"/>
              <a:gd name="connsiteY358" fmla="*/ 885249 h 1682495"/>
              <a:gd name="connsiteX359" fmla="*/ 5066377 w 8882887"/>
              <a:gd name="connsiteY359" fmla="*/ 885249 h 1682495"/>
              <a:gd name="connsiteX360" fmla="*/ 5066377 w 8882887"/>
              <a:gd name="connsiteY360" fmla="*/ 1057110 h 1682495"/>
              <a:gd name="connsiteX361" fmla="*/ 5099817 w 8882887"/>
              <a:gd name="connsiteY361" fmla="*/ 1057110 h 1682495"/>
              <a:gd name="connsiteX362" fmla="*/ 5099817 w 8882887"/>
              <a:gd name="connsiteY362" fmla="*/ 956588 h 1682495"/>
              <a:gd name="connsiteX363" fmla="*/ 5139339 w 8882887"/>
              <a:gd name="connsiteY363" fmla="*/ 956588 h 1682495"/>
              <a:gd name="connsiteX364" fmla="*/ 5145417 w 8882887"/>
              <a:gd name="connsiteY364" fmla="*/ 950102 h 1682495"/>
              <a:gd name="connsiteX365" fmla="*/ 5157579 w 8882887"/>
              <a:gd name="connsiteY365" fmla="*/ 950102 h 1682495"/>
              <a:gd name="connsiteX366" fmla="*/ 5163657 w 8882887"/>
              <a:gd name="connsiteY366" fmla="*/ 956588 h 1682495"/>
              <a:gd name="connsiteX367" fmla="*/ 5197099 w 8882887"/>
              <a:gd name="connsiteY367" fmla="*/ 956588 h 1682495"/>
              <a:gd name="connsiteX368" fmla="*/ 5197099 w 8882887"/>
              <a:gd name="connsiteY368" fmla="*/ 781484 h 1682495"/>
              <a:gd name="connsiteX369" fmla="*/ 5282219 w 8882887"/>
              <a:gd name="connsiteY369" fmla="*/ 765270 h 1682495"/>
              <a:gd name="connsiteX370" fmla="*/ 5282219 w 8882887"/>
              <a:gd name="connsiteY370" fmla="*/ 766892 h 1682495"/>
              <a:gd name="connsiteX371" fmla="*/ 5282219 w 8882887"/>
              <a:gd name="connsiteY371" fmla="*/ 778241 h 1682495"/>
              <a:gd name="connsiteX372" fmla="*/ 5321739 w 8882887"/>
              <a:gd name="connsiteY372" fmla="*/ 778241 h 1682495"/>
              <a:gd name="connsiteX373" fmla="*/ 5321739 w 8882887"/>
              <a:gd name="connsiteY373" fmla="*/ 1160876 h 1682495"/>
              <a:gd name="connsiteX374" fmla="*/ 5355181 w 8882887"/>
              <a:gd name="connsiteY374" fmla="*/ 1160876 h 1682495"/>
              <a:gd name="connsiteX375" fmla="*/ 5355181 w 8882887"/>
              <a:gd name="connsiteY375" fmla="*/ 1154390 h 1682495"/>
              <a:gd name="connsiteX376" fmla="*/ 5373421 w 8882887"/>
              <a:gd name="connsiteY376" fmla="*/ 1154390 h 1682495"/>
              <a:gd name="connsiteX377" fmla="*/ 5373421 w 8882887"/>
              <a:gd name="connsiteY377" fmla="*/ 1160876 h 1682495"/>
              <a:gd name="connsiteX378" fmla="*/ 5409901 w 8882887"/>
              <a:gd name="connsiteY378" fmla="*/ 1160876 h 1682495"/>
              <a:gd name="connsiteX379" fmla="*/ 5409901 w 8882887"/>
              <a:gd name="connsiteY379" fmla="*/ 1141419 h 1682495"/>
              <a:gd name="connsiteX380" fmla="*/ 5452461 w 8882887"/>
              <a:gd name="connsiteY380" fmla="*/ 1141419 h 1682495"/>
              <a:gd name="connsiteX381" fmla="*/ 5470701 w 8882887"/>
              <a:gd name="connsiteY381" fmla="*/ 1134933 h 1682495"/>
              <a:gd name="connsiteX382" fmla="*/ 5501103 w 8882887"/>
              <a:gd name="connsiteY382" fmla="*/ 1141419 h 1682495"/>
              <a:gd name="connsiteX383" fmla="*/ 5501103 w 8882887"/>
              <a:gd name="connsiteY383" fmla="*/ 1115478 h 1682495"/>
              <a:gd name="connsiteX384" fmla="*/ 5513263 w 8882887"/>
              <a:gd name="connsiteY384" fmla="*/ 1115478 h 1682495"/>
              <a:gd name="connsiteX385" fmla="*/ 5513263 w 8882887"/>
              <a:gd name="connsiteY385" fmla="*/ 1096022 h 1682495"/>
              <a:gd name="connsiteX386" fmla="*/ 5598383 w 8882887"/>
              <a:gd name="connsiteY386" fmla="*/ 1096022 h 1682495"/>
              <a:gd name="connsiteX387" fmla="*/ 5598383 w 8882887"/>
              <a:gd name="connsiteY387" fmla="*/ 1050624 h 1682495"/>
              <a:gd name="connsiteX388" fmla="*/ 5625743 w 8882887"/>
              <a:gd name="connsiteY388" fmla="*/ 1050624 h 1682495"/>
              <a:gd name="connsiteX389" fmla="*/ 5625743 w 8882887"/>
              <a:gd name="connsiteY389" fmla="*/ 1040897 h 1682495"/>
              <a:gd name="connsiteX390" fmla="*/ 5643983 w 8882887"/>
              <a:gd name="connsiteY390" fmla="*/ 1040897 h 1682495"/>
              <a:gd name="connsiteX391" fmla="*/ 5643983 w 8882887"/>
              <a:gd name="connsiteY391" fmla="*/ 1050624 h 1682495"/>
              <a:gd name="connsiteX392" fmla="*/ 5668303 w 8882887"/>
              <a:gd name="connsiteY392" fmla="*/ 1050624 h 1682495"/>
              <a:gd name="connsiteX393" fmla="*/ 5668303 w 8882887"/>
              <a:gd name="connsiteY393" fmla="*/ 1125206 h 1682495"/>
              <a:gd name="connsiteX394" fmla="*/ 5716945 w 8882887"/>
              <a:gd name="connsiteY394" fmla="*/ 1125206 h 1682495"/>
              <a:gd name="connsiteX395" fmla="*/ 5716945 w 8882887"/>
              <a:gd name="connsiteY395" fmla="*/ 1086294 h 1682495"/>
              <a:gd name="connsiteX396" fmla="*/ 5774705 w 8882887"/>
              <a:gd name="connsiteY396" fmla="*/ 1086294 h 1682495"/>
              <a:gd name="connsiteX397" fmla="*/ 5774705 w 8882887"/>
              <a:gd name="connsiteY397" fmla="*/ 1040897 h 1682495"/>
              <a:gd name="connsiteX398" fmla="*/ 5847667 w 8882887"/>
              <a:gd name="connsiteY398" fmla="*/ 1040897 h 1682495"/>
              <a:gd name="connsiteX399" fmla="*/ 5847667 w 8882887"/>
              <a:gd name="connsiteY399" fmla="*/ 1207631 h 1682495"/>
              <a:gd name="connsiteX400" fmla="*/ 5847667 w 8882887"/>
              <a:gd name="connsiteY400" fmla="*/ 1228299 h 1682495"/>
              <a:gd name="connsiteX401" fmla="*/ 5946479 w 8882887"/>
              <a:gd name="connsiteY401" fmla="*/ 1228299 h 1682495"/>
              <a:gd name="connsiteX402" fmla="*/ 5946479 w 8882887"/>
              <a:gd name="connsiteY402" fmla="*/ 1386957 h 1682495"/>
              <a:gd name="connsiteX403" fmla="*/ 5946479 w 8882887"/>
              <a:gd name="connsiteY403" fmla="*/ 1421828 h 1682495"/>
              <a:gd name="connsiteX404" fmla="*/ 5968919 w 8882887"/>
              <a:gd name="connsiteY404" fmla="*/ 1421828 h 1682495"/>
              <a:gd name="connsiteX405" fmla="*/ 5968919 w 8882887"/>
              <a:gd name="connsiteY405" fmla="*/ 1420085 h 1682495"/>
              <a:gd name="connsiteX406" fmla="*/ 5968919 w 8882887"/>
              <a:gd name="connsiteY406" fmla="*/ 1407881 h 1682495"/>
              <a:gd name="connsiteX407" fmla="*/ 6035789 w 8882887"/>
              <a:gd name="connsiteY407" fmla="*/ 1407881 h 1682495"/>
              <a:gd name="connsiteX408" fmla="*/ 6035789 w 8882887"/>
              <a:gd name="connsiteY408" fmla="*/ 1439262 h 1682495"/>
              <a:gd name="connsiteX409" fmla="*/ 6039131 w 8882887"/>
              <a:gd name="connsiteY409" fmla="*/ 1441007 h 1682495"/>
              <a:gd name="connsiteX410" fmla="*/ 6062537 w 8882887"/>
              <a:gd name="connsiteY410" fmla="*/ 1453211 h 1682495"/>
              <a:gd name="connsiteX411" fmla="*/ 6062537 w 8882887"/>
              <a:gd name="connsiteY411" fmla="*/ 1498541 h 1682495"/>
              <a:gd name="connsiteX412" fmla="*/ 6064627 w 8882887"/>
              <a:gd name="connsiteY412" fmla="*/ 1499414 h 1682495"/>
              <a:gd name="connsiteX413" fmla="*/ 6079255 w 8882887"/>
              <a:gd name="connsiteY413" fmla="*/ 1505516 h 1682495"/>
              <a:gd name="connsiteX414" fmla="*/ 6079255 w 8882887"/>
              <a:gd name="connsiteY414" fmla="*/ 1503773 h 1682495"/>
              <a:gd name="connsiteX415" fmla="*/ 6079255 w 8882887"/>
              <a:gd name="connsiteY415" fmla="*/ 1491567 h 1682495"/>
              <a:gd name="connsiteX416" fmla="*/ 6080927 w 8882887"/>
              <a:gd name="connsiteY416" fmla="*/ 1491567 h 1682495"/>
              <a:gd name="connsiteX417" fmla="*/ 6092629 w 8882887"/>
              <a:gd name="connsiteY417" fmla="*/ 1491567 h 1682495"/>
              <a:gd name="connsiteX418" fmla="*/ 6092629 w 8882887"/>
              <a:gd name="connsiteY418" fmla="*/ 1490259 h 1682495"/>
              <a:gd name="connsiteX419" fmla="*/ 6092629 w 8882887"/>
              <a:gd name="connsiteY419" fmla="*/ 1481106 h 1682495"/>
              <a:gd name="connsiteX420" fmla="*/ 6090957 w 8882887"/>
              <a:gd name="connsiteY420" fmla="*/ 1481106 h 1682495"/>
              <a:gd name="connsiteX421" fmla="*/ 6079255 w 8882887"/>
              <a:gd name="connsiteY421" fmla="*/ 1481106 h 1682495"/>
              <a:gd name="connsiteX422" fmla="*/ 6079255 w 8882887"/>
              <a:gd name="connsiteY422" fmla="*/ 1479363 h 1682495"/>
              <a:gd name="connsiteX423" fmla="*/ 6079255 w 8882887"/>
              <a:gd name="connsiteY423" fmla="*/ 1467159 h 1682495"/>
              <a:gd name="connsiteX424" fmla="*/ 6080927 w 8882887"/>
              <a:gd name="connsiteY424" fmla="*/ 1467159 h 1682495"/>
              <a:gd name="connsiteX425" fmla="*/ 6092629 w 8882887"/>
              <a:gd name="connsiteY425" fmla="*/ 1467159 h 1682495"/>
              <a:gd name="connsiteX426" fmla="*/ 6092629 w 8882887"/>
              <a:gd name="connsiteY426" fmla="*/ 1465415 h 1682495"/>
              <a:gd name="connsiteX427" fmla="*/ 6092629 w 8882887"/>
              <a:gd name="connsiteY427" fmla="*/ 1453211 h 1682495"/>
              <a:gd name="connsiteX428" fmla="*/ 6090957 w 8882887"/>
              <a:gd name="connsiteY428" fmla="*/ 1453211 h 1682495"/>
              <a:gd name="connsiteX429" fmla="*/ 6079255 w 8882887"/>
              <a:gd name="connsiteY429" fmla="*/ 1453211 h 1682495"/>
              <a:gd name="connsiteX430" fmla="*/ 6079255 w 8882887"/>
              <a:gd name="connsiteY430" fmla="*/ 1451468 h 1682495"/>
              <a:gd name="connsiteX431" fmla="*/ 6079255 w 8882887"/>
              <a:gd name="connsiteY431" fmla="*/ 1439262 h 1682495"/>
              <a:gd name="connsiteX432" fmla="*/ 6080927 w 8882887"/>
              <a:gd name="connsiteY432" fmla="*/ 1439262 h 1682495"/>
              <a:gd name="connsiteX433" fmla="*/ 6092629 w 8882887"/>
              <a:gd name="connsiteY433" fmla="*/ 1439262 h 1682495"/>
              <a:gd name="connsiteX434" fmla="*/ 6092629 w 8882887"/>
              <a:gd name="connsiteY434" fmla="*/ 1437956 h 1682495"/>
              <a:gd name="connsiteX435" fmla="*/ 6092629 w 8882887"/>
              <a:gd name="connsiteY435" fmla="*/ 1428803 h 1682495"/>
              <a:gd name="connsiteX436" fmla="*/ 6090957 w 8882887"/>
              <a:gd name="connsiteY436" fmla="*/ 1428803 h 1682495"/>
              <a:gd name="connsiteX437" fmla="*/ 6079255 w 8882887"/>
              <a:gd name="connsiteY437" fmla="*/ 1428803 h 1682495"/>
              <a:gd name="connsiteX438" fmla="*/ 6079255 w 8882887"/>
              <a:gd name="connsiteY438" fmla="*/ 1427058 h 1682495"/>
              <a:gd name="connsiteX439" fmla="*/ 6079255 w 8882887"/>
              <a:gd name="connsiteY439" fmla="*/ 1414854 h 1682495"/>
              <a:gd name="connsiteX440" fmla="*/ 6080927 w 8882887"/>
              <a:gd name="connsiteY440" fmla="*/ 1414854 h 1682495"/>
              <a:gd name="connsiteX441" fmla="*/ 6092629 w 8882887"/>
              <a:gd name="connsiteY441" fmla="*/ 1414854 h 1682495"/>
              <a:gd name="connsiteX442" fmla="*/ 6092629 w 8882887"/>
              <a:gd name="connsiteY442" fmla="*/ 1413111 h 1682495"/>
              <a:gd name="connsiteX443" fmla="*/ 6092629 w 8882887"/>
              <a:gd name="connsiteY443" fmla="*/ 1400906 h 1682495"/>
              <a:gd name="connsiteX444" fmla="*/ 6090957 w 8882887"/>
              <a:gd name="connsiteY444" fmla="*/ 1400906 h 1682495"/>
              <a:gd name="connsiteX445" fmla="*/ 6079255 w 8882887"/>
              <a:gd name="connsiteY445" fmla="*/ 1400906 h 1682495"/>
              <a:gd name="connsiteX446" fmla="*/ 6079255 w 8882887"/>
              <a:gd name="connsiteY446" fmla="*/ 1399599 h 1682495"/>
              <a:gd name="connsiteX447" fmla="*/ 6079255 w 8882887"/>
              <a:gd name="connsiteY447" fmla="*/ 1390445 h 1682495"/>
              <a:gd name="connsiteX448" fmla="*/ 6080927 w 8882887"/>
              <a:gd name="connsiteY448" fmla="*/ 1390445 h 1682495"/>
              <a:gd name="connsiteX449" fmla="*/ 6092629 w 8882887"/>
              <a:gd name="connsiteY449" fmla="*/ 1390445 h 1682495"/>
              <a:gd name="connsiteX450" fmla="*/ 6092629 w 8882887"/>
              <a:gd name="connsiteY450" fmla="*/ 1388702 h 1682495"/>
              <a:gd name="connsiteX451" fmla="*/ 6092629 w 8882887"/>
              <a:gd name="connsiteY451" fmla="*/ 1376498 h 1682495"/>
              <a:gd name="connsiteX452" fmla="*/ 6090957 w 8882887"/>
              <a:gd name="connsiteY452" fmla="*/ 1376498 h 1682495"/>
              <a:gd name="connsiteX453" fmla="*/ 6079255 w 8882887"/>
              <a:gd name="connsiteY453" fmla="*/ 1376498 h 1682495"/>
              <a:gd name="connsiteX454" fmla="*/ 6079255 w 8882887"/>
              <a:gd name="connsiteY454" fmla="*/ 1374755 h 1682495"/>
              <a:gd name="connsiteX455" fmla="*/ 6079255 w 8882887"/>
              <a:gd name="connsiteY455" fmla="*/ 1362549 h 1682495"/>
              <a:gd name="connsiteX456" fmla="*/ 6080927 w 8882887"/>
              <a:gd name="connsiteY456" fmla="*/ 1362549 h 1682495"/>
              <a:gd name="connsiteX457" fmla="*/ 6092629 w 8882887"/>
              <a:gd name="connsiteY457" fmla="*/ 1362549 h 1682495"/>
              <a:gd name="connsiteX458" fmla="*/ 6092629 w 8882887"/>
              <a:gd name="connsiteY458" fmla="*/ 1360806 h 1682495"/>
              <a:gd name="connsiteX459" fmla="*/ 6092629 w 8882887"/>
              <a:gd name="connsiteY459" fmla="*/ 1348602 h 1682495"/>
              <a:gd name="connsiteX460" fmla="*/ 6090957 w 8882887"/>
              <a:gd name="connsiteY460" fmla="*/ 1348602 h 1682495"/>
              <a:gd name="connsiteX461" fmla="*/ 6079255 w 8882887"/>
              <a:gd name="connsiteY461" fmla="*/ 1348602 h 1682495"/>
              <a:gd name="connsiteX462" fmla="*/ 6079255 w 8882887"/>
              <a:gd name="connsiteY462" fmla="*/ 1347294 h 1682495"/>
              <a:gd name="connsiteX463" fmla="*/ 6079255 w 8882887"/>
              <a:gd name="connsiteY463" fmla="*/ 1338141 h 1682495"/>
              <a:gd name="connsiteX464" fmla="*/ 6080927 w 8882887"/>
              <a:gd name="connsiteY464" fmla="*/ 1338141 h 1682495"/>
              <a:gd name="connsiteX465" fmla="*/ 6092629 w 8882887"/>
              <a:gd name="connsiteY465" fmla="*/ 1338141 h 1682495"/>
              <a:gd name="connsiteX466" fmla="*/ 6092629 w 8882887"/>
              <a:gd name="connsiteY466" fmla="*/ 1336397 h 1682495"/>
              <a:gd name="connsiteX467" fmla="*/ 6092629 w 8882887"/>
              <a:gd name="connsiteY467" fmla="*/ 1324193 h 1682495"/>
              <a:gd name="connsiteX468" fmla="*/ 6090957 w 8882887"/>
              <a:gd name="connsiteY468" fmla="*/ 1324193 h 1682495"/>
              <a:gd name="connsiteX469" fmla="*/ 6079255 w 8882887"/>
              <a:gd name="connsiteY469" fmla="*/ 1324193 h 1682495"/>
              <a:gd name="connsiteX470" fmla="*/ 6079255 w 8882887"/>
              <a:gd name="connsiteY470" fmla="*/ 1322450 h 1682495"/>
              <a:gd name="connsiteX471" fmla="*/ 6079255 w 8882887"/>
              <a:gd name="connsiteY471" fmla="*/ 1310244 h 1682495"/>
              <a:gd name="connsiteX472" fmla="*/ 6080927 w 8882887"/>
              <a:gd name="connsiteY472" fmla="*/ 1310244 h 1682495"/>
              <a:gd name="connsiteX473" fmla="*/ 6092629 w 8882887"/>
              <a:gd name="connsiteY473" fmla="*/ 1310244 h 1682495"/>
              <a:gd name="connsiteX474" fmla="*/ 6092629 w 8882887"/>
              <a:gd name="connsiteY474" fmla="*/ 1308938 h 1682495"/>
              <a:gd name="connsiteX475" fmla="*/ 6092629 w 8882887"/>
              <a:gd name="connsiteY475" fmla="*/ 1299785 h 1682495"/>
              <a:gd name="connsiteX476" fmla="*/ 6090957 w 8882887"/>
              <a:gd name="connsiteY476" fmla="*/ 1299785 h 1682495"/>
              <a:gd name="connsiteX477" fmla="*/ 6079255 w 8882887"/>
              <a:gd name="connsiteY477" fmla="*/ 1299785 h 1682495"/>
              <a:gd name="connsiteX478" fmla="*/ 6079255 w 8882887"/>
              <a:gd name="connsiteY478" fmla="*/ 1298040 h 1682495"/>
              <a:gd name="connsiteX479" fmla="*/ 6079255 w 8882887"/>
              <a:gd name="connsiteY479" fmla="*/ 1285836 h 1682495"/>
              <a:gd name="connsiteX480" fmla="*/ 6080927 w 8882887"/>
              <a:gd name="connsiteY480" fmla="*/ 1285836 h 1682495"/>
              <a:gd name="connsiteX481" fmla="*/ 6092629 w 8882887"/>
              <a:gd name="connsiteY481" fmla="*/ 1285836 h 1682495"/>
              <a:gd name="connsiteX482" fmla="*/ 6092629 w 8882887"/>
              <a:gd name="connsiteY482" fmla="*/ 1284093 h 1682495"/>
              <a:gd name="connsiteX483" fmla="*/ 6092629 w 8882887"/>
              <a:gd name="connsiteY483" fmla="*/ 1271888 h 1682495"/>
              <a:gd name="connsiteX484" fmla="*/ 6090957 w 8882887"/>
              <a:gd name="connsiteY484" fmla="*/ 1271888 h 1682495"/>
              <a:gd name="connsiteX485" fmla="*/ 6079255 w 8882887"/>
              <a:gd name="connsiteY485" fmla="*/ 1271888 h 1682495"/>
              <a:gd name="connsiteX486" fmla="*/ 6079255 w 8882887"/>
              <a:gd name="connsiteY486" fmla="*/ 1270145 h 1682495"/>
              <a:gd name="connsiteX487" fmla="*/ 6079255 w 8882887"/>
              <a:gd name="connsiteY487" fmla="*/ 1257941 h 1682495"/>
              <a:gd name="connsiteX488" fmla="*/ 6080927 w 8882887"/>
              <a:gd name="connsiteY488" fmla="*/ 1257941 h 1682495"/>
              <a:gd name="connsiteX489" fmla="*/ 6092629 w 8882887"/>
              <a:gd name="connsiteY489" fmla="*/ 1257941 h 1682495"/>
              <a:gd name="connsiteX490" fmla="*/ 6092629 w 8882887"/>
              <a:gd name="connsiteY490" fmla="*/ 1256633 h 1682495"/>
              <a:gd name="connsiteX491" fmla="*/ 6092629 w 8882887"/>
              <a:gd name="connsiteY491" fmla="*/ 1247480 h 1682495"/>
              <a:gd name="connsiteX492" fmla="*/ 6090957 w 8882887"/>
              <a:gd name="connsiteY492" fmla="*/ 1247480 h 1682495"/>
              <a:gd name="connsiteX493" fmla="*/ 6079255 w 8882887"/>
              <a:gd name="connsiteY493" fmla="*/ 1247480 h 1682495"/>
              <a:gd name="connsiteX494" fmla="*/ 6079255 w 8882887"/>
              <a:gd name="connsiteY494" fmla="*/ 1245737 h 1682495"/>
              <a:gd name="connsiteX495" fmla="*/ 6079255 w 8882887"/>
              <a:gd name="connsiteY495" fmla="*/ 1233531 h 1682495"/>
              <a:gd name="connsiteX496" fmla="*/ 6080927 w 8882887"/>
              <a:gd name="connsiteY496" fmla="*/ 1233531 h 1682495"/>
              <a:gd name="connsiteX497" fmla="*/ 6092629 w 8882887"/>
              <a:gd name="connsiteY497" fmla="*/ 1233531 h 1682495"/>
              <a:gd name="connsiteX498" fmla="*/ 6092629 w 8882887"/>
              <a:gd name="connsiteY498" fmla="*/ 1231788 h 1682495"/>
              <a:gd name="connsiteX499" fmla="*/ 6092629 w 8882887"/>
              <a:gd name="connsiteY499" fmla="*/ 1219584 h 1682495"/>
              <a:gd name="connsiteX500" fmla="*/ 6090957 w 8882887"/>
              <a:gd name="connsiteY500" fmla="*/ 1219584 h 1682495"/>
              <a:gd name="connsiteX501" fmla="*/ 6079255 w 8882887"/>
              <a:gd name="connsiteY501" fmla="*/ 1219584 h 1682495"/>
              <a:gd name="connsiteX502" fmla="*/ 6079255 w 8882887"/>
              <a:gd name="connsiteY502" fmla="*/ 1217840 h 1682495"/>
              <a:gd name="connsiteX503" fmla="*/ 6079255 w 8882887"/>
              <a:gd name="connsiteY503" fmla="*/ 1205636 h 1682495"/>
              <a:gd name="connsiteX504" fmla="*/ 6080927 w 8882887"/>
              <a:gd name="connsiteY504" fmla="*/ 1205636 h 1682495"/>
              <a:gd name="connsiteX505" fmla="*/ 6092629 w 8882887"/>
              <a:gd name="connsiteY505" fmla="*/ 1205636 h 1682495"/>
              <a:gd name="connsiteX506" fmla="*/ 6092629 w 8882887"/>
              <a:gd name="connsiteY506" fmla="*/ 1204328 h 1682495"/>
              <a:gd name="connsiteX507" fmla="*/ 6092629 w 8882887"/>
              <a:gd name="connsiteY507" fmla="*/ 1195175 h 1682495"/>
              <a:gd name="connsiteX508" fmla="*/ 6090957 w 8882887"/>
              <a:gd name="connsiteY508" fmla="*/ 1195175 h 1682495"/>
              <a:gd name="connsiteX509" fmla="*/ 6079255 w 8882887"/>
              <a:gd name="connsiteY509" fmla="*/ 1195175 h 1682495"/>
              <a:gd name="connsiteX510" fmla="*/ 6079255 w 8882887"/>
              <a:gd name="connsiteY510" fmla="*/ 1193432 h 1682495"/>
              <a:gd name="connsiteX511" fmla="*/ 6079255 w 8882887"/>
              <a:gd name="connsiteY511" fmla="*/ 1181226 h 1682495"/>
              <a:gd name="connsiteX512" fmla="*/ 6080927 w 8882887"/>
              <a:gd name="connsiteY512" fmla="*/ 1181226 h 1682495"/>
              <a:gd name="connsiteX513" fmla="*/ 6092629 w 8882887"/>
              <a:gd name="connsiteY513" fmla="*/ 1181226 h 1682495"/>
              <a:gd name="connsiteX514" fmla="*/ 6090957 w 8882887"/>
              <a:gd name="connsiteY514" fmla="*/ 1178612 h 1682495"/>
              <a:gd name="connsiteX515" fmla="*/ 6079255 w 8882887"/>
              <a:gd name="connsiteY515" fmla="*/ 1160306 h 1682495"/>
              <a:gd name="connsiteX516" fmla="*/ 6079255 w 8882887"/>
              <a:gd name="connsiteY516" fmla="*/ 1104513 h 1682495"/>
              <a:gd name="connsiteX517" fmla="*/ 6303271 w 8882887"/>
              <a:gd name="connsiteY517" fmla="*/ 1104513 h 1682495"/>
              <a:gd name="connsiteX518" fmla="*/ 6323331 w 8882887"/>
              <a:gd name="connsiteY518" fmla="*/ 1135896 h 1682495"/>
              <a:gd name="connsiteX519" fmla="*/ 6323331 w 8882887"/>
              <a:gd name="connsiteY519" fmla="*/ 1205636 h 1682495"/>
              <a:gd name="connsiteX520" fmla="*/ 6321659 w 8882887"/>
              <a:gd name="connsiteY520" fmla="*/ 1205636 h 1682495"/>
              <a:gd name="connsiteX521" fmla="*/ 6309957 w 8882887"/>
              <a:gd name="connsiteY521" fmla="*/ 1205636 h 1682495"/>
              <a:gd name="connsiteX522" fmla="*/ 6309957 w 8882887"/>
              <a:gd name="connsiteY522" fmla="*/ 1207379 h 1682495"/>
              <a:gd name="connsiteX523" fmla="*/ 6309957 w 8882887"/>
              <a:gd name="connsiteY523" fmla="*/ 1219584 h 1682495"/>
              <a:gd name="connsiteX524" fmla="*/ 6311629 w 8882887"/>
              <a:gd name="connsiteY524" fmla="*/ 1219584 h 1682495"/>
              <a:gd name="connsiteX525" fmla="*/ 6323331 w 8882887"/>
              <a:gd name="connsiteY525" fmla="*/ 1219584 h 1682495"/>
              <a:gd name="connsiteX526" fmla="*/ 6323331 w 8882887"/>
              <a:gd name="connsiteY526" fmla="*/ 1221327 h 1682495"/>
              <a:gd name="connsiteX527" fmla="*/ 6323331 w 8882887"/>
              <a:gd name="connsiteY527" fmla="*/ 1233531 h 1682495"/>
              <a:gd name="connsiteX528" fmla="*/ 6321659 w 8882887"/>
              <a:gd name="connsiteY528" fmla="*/ 1233531 h 1682495"/>
              <a:gd name="connsiteX529" fmla="*/ 6309957 w 8882887"/>
              <a:gd name="connsiteY529" fmla="*/ 1233531 h 1682495"/>
              <a:gd name="connsiteX530" fmla="*/ 6309957 w 8882887"/>
              <a:gd name="connsiteY530" fmla="*/ 1235274 h 1682495"/>
              <a:gd name="connsiteX531" fmla="*/ 6309957 w 8882887"/>
              <a:gd name="connsiteY531" fmla="*/ 1247480 h 1682495"/>
              <a:gd name="connsiteX532" fmla="*/ 6311629 w 8882887"/>
              <a:gd name="connsiteY532" fmla="*/ 1247480 h 1682495"/>
              <a:gd name="connsiteX533" fmla="*/ 6323331 w 8882887"/>
              <a:gd name="connsiteY533" fmla="*/ 1247480 h 1682495"/>
              <a:gd name="connsiteX534" fmla="*/ 6323331 w 8882887"/>
              <a:gd name="connsiteY534" fmla="*/ 1248788 h 1682495"/>
              <a:gd name="connsiteX535" fmla="*/ 6323331 w 8882887"/>
              <a:gd name="connsiteY535" fmla="*/ 1257941 h 1682495"/>
              <a:gd name="connsiteX536" fmla="*/ 6321659 w 8882887"/>
              <a:gd name="connsiteY536" fmla="*/ 1257941 h 1682495"/>
              <a:gd name="connsiteX537" fmla="*/ 6309957 w 8882887"/>
              <a:gd name="connsiteY537" fmla="*/ 1257941 h 1682495"/>
              <a:gd name="connsiteX538" fmla="*/ 6309957 w 8882887"/>
              <a:gd name="connsiteY538" fmla="*/ 1259684 h 1682495"/>
              <a:gd name="connsiteX539" fmla="*/ 6309957 w 8882887"/>
              <a:gd name="connsiteY539" fmla="*/ 1271888 h 1682495"/>
              <a:gd name="connsiteX540" fmla="*/ 6311629 w 8882887"/>
              <a:gd name="connsiteY540" fmla="*/ 1271888 h 1682495"/>
              <a:gd name="connsiteX541" fmla="*/ 6323331 w 8882887"/>
              <a:gd name="connsiteY541" fmla="*/ 1271888 h 1682495"/>
              <a:gd name="connsiteX542" fmla="*/ 6323331 w 8882887"/>
              <a:gd name="connsiteY542" fmla="*/ 1273632 h 1682495"/>
              <a:gd name="connsiteX543" fmla="*/ 6323331 w 8882887"/>
              <a:gd name="connsiteY543" fmla="*/ 1285836 h 1682495"/>
              <a:gd name="connsiteX544" fmla="*/ 6321659 w 8882887"/>
              <a:gd name="connsiteY544" fmla="*/ 1285836 h 1682495"/>
              <a:gd name="connsiteX545" fmla="*/ 6309957 w 8882887"/>
              <a:gd name="connsiteY545" fmla="*/ 1285836 h 1682495"/>
              <a:gd name="connsiteX546" fmla="*/ 6309957 w 8882887"/>
              <a:gd name="connsiteY546" fmla="*/ 1287579 h 1682495"/>
              <a:gd name="connsiteX547" fmla="*/ 6309957 w 8882887"/>
              <a:gd name="connsiteY547" fmla="*/ 1299785 h 1682495"/>
              <a:gd name="connsiteX548" fmla="*/ 6311629 w 8882887"/>
              <a:gd name="connsiteY548" fmla="*/ 1299785 h 1682495"/>
              <a:gd name="connsiteX549" fmla="*/ 6323331 w 8882887"/>
              <a:gd name="connsiteY549" fmla="*/ 1299785 h 1682495"/>
              <a:gd name="connsiteX550" fmla="*/ 6323331 w 8882887"/>
              <a:gd name="connsiteY550" fmla="*/ 1301091 h 1682495"/>
              <a:gd name="connsiteX551" fmla="*/ 6323331 w 8882887"/>
              <a:gd name="connsiteY551" fmla="*/ 1310244 h 1682495"/>
              <a:gd name="connsiteX552" fmla="*/ 6321659 w 8882887"/>
              <a:gd name="connsiteY552" fmla="*/ 1310244 h 1682495"/>
              <a:gd name="connsiteX553" fmla="*/ 6309957 w 8882887"/>
              <a:gd name="connsiteY553" fmla="*/ 1310244 h 1682495"/>
              <a:gd name="connsiteX554" fmla="*/ 6309957 w 8882887"/>
              <a:gd name="connsiteY554" fmla="*/ 1311989 h 1682495"/>
              <a:gd name="connsiteX555" fmla="*/ 6309957 w 8882887"/>
              <a:gd name="connsiteY555" fmla="*/ 1324193 h 1682495"/>
              <a:gd name="connsiteX556" fmla="*/ 6311629 w 8882887"/>
              <a:gd name="connsiteY556" fmla="*/ 1324193 h 1682495"/>
              <a:gd name="connsiteX557" fmla="*/ 6323331 w 8882887"/>
              <a:gd name="connsiteY557" fmla="*/ 1324193 h 1682495"/>
              <a:gd name="connsiteX558" fmla="*/ 6323331 w 8882887"/>
              <a:gd name="connsiteY558" fmla="*/ 1325936 h 1682495"/>
              <a:gd name="connsiteX559" fmla="*/ 6323331 w 8882887"/>
              <a:gd name="connsiteY559" fmla="*/ 1338141 h 1682495"/>
              <a:gd name="connsiteX560" fmla="*/ 6321659 w 8882887"/>
              <a:gd name="connsiteY560" fmla="*/ 1338141 h 1682495"/>
              <a:gd name="connsiteX561" fmla="*/ 6309957 w 8882887"/>
              <a:gd name="connsiteY561" fmla="*/ 1338141 h 1682495"/>
              <a:gd name="connsiteX562" fmla="*/ 6309957 w 8882887"/>
              <a:gd name="connsiteY562" fmla="*/ 1339448 h 1682495"/>
              <a:gd name="connsiteX563" fmla="*/ 6309957 w 8882887"/>
              <a:gd name="connsiteY563" fmla="*/ 1348602 h 1682495"/>
              <a:gd name="connsiteX564" fmla="*/ 6311629 w 8882887"/>
              <a:gd name="connsiteY564" fmla="*/ 1348602 h 1682495"/>
              <a:gd name="connsiteX565" fmla="*/ 6323331 w 8882887"/>
              <a:gd name="connsiteY565" fmla="*/ 1348602 h 1682495"/>
              <a:gd name="connsiteX566" fmla="*/ 6323331 w 8882887"/>
              <a:gd name="connsiteY566" fmla="*/ 1350345 h 1682495"/>
              <a:gd name="connsiteX567" fmla="*/ 6323331 w 8882887"/>
              <a:gd name="connsiteY567" fmla="*/ 1362549 h 1682495"/>
              <a:gd name="connsiteX568" fmla="*/ 6321659 w 8882887"/>
              <a:gd name="connsiteY568" fmla="*/ 1362549 h 1682495"/>
              <a:gd name="connsiteX569" fmla="*/ 6309957 w 8882887"/>
              <a:gd name="connsiteY569" fmla="*/ 1362549 h 1682495"/>
              <a:gd name="connsiteX570" fmla="*/ 6309957 w 8882887"/>
              <a:gd name="connsiteY570" fmla="*/ 1364292 h 1682495"/>
              <a:gd name="connsiteX571" fmla="*/ 6309957 w 8882887"/>
              <a:gd name="connsiteY571" fmla="*/ 1376498 h 1682495"/>
              <a:gd name="connsiteX572" fmla="*/ 6311629 w 8882887"/>
              <a:gd name="connsiteY572" fmla="*/ 1376498 h 1682495"/>
              <a:gd name="connsiteX573" fmla="*/ 6323331 w 8882887"/>
              <a:gd name="connsiteY573" fmla="*/ 1376498 h 1682495"/>
              <a:gd name="connsiteX574" fmla="*/ 6323331 w 8882887"/>
              <a:gd name="connsiteY574" fmla="*/ 1378241 h 1682495"/>
              <a:gd name="connsiteX575" fmla="*/ 6323331 w 8882887"/>
              <a:gd name="connsiteY575" fmla="*/ 1390445 h 1682495"/>
              <a:gd name="connsiteX576" fmla="*/ 6321659 w 8882887"/>
              <a:gd name="connsiteY576" fmla="*/ 1390445 h 1682495"/>
              <a:gd name="connsiteX577" fmla="*/ 6309957 w 8882887"/>
              <a:gd name="connsiteY577" fmla="*/ 1390445 h 1682495"/>
              <a:gd name="connsiteX578" fmla="*/ 6309957 w 8882887"/>
              <a:gd name="connsiteY578" fmla="*/ 1391753 h 1682495"/>
              <a:gd name="connsiteX579" fmla="*/ 6309957 w 8882887"/>
              <a:gd name="connsiteY579" fmla="*/ 1400906 h 1682495"/>
              <a:gd name="connsiteX580" fmla="*/ 6311629 w 8882887"/>
              <a:gd name="connsiteY580" fmla="*/ 1400906 h 1682495"/>
              <a:gd name="connsiteX581" fmla="*/ 6323331 w 8882887"/>
              <a:gd name="connsiteY581" fmla="*/ 1400906 h 1682495"/>
              <a:gd name="connsiteX582" fmla="*/ 6323331 w 8882887"/>
              <a:gd name="connsiteY582" fmla="*/ 1402650 h 1682495"/>
              <a:gd name="connsiteX583" fmla="*/ 6323331 w 8882887"/>
              <a:gd name="connsiteY583" fmla="*/ 1414854 h 1682495"/>
              <a:gd name="connsiteX584" fmla="*/ 6321659 w 8882887"/>
              <a:gd name="connsiteY584" fmla="*/ 1414854 h 1682495"/>
              <a:gd name="connsiteX585" fmla="*/ 6309957 w 8882887"/>
              <a:gd name="connsiteY585" fmla="*/ 1414854 h 1682495"/>
              <a:gd name="connsiteX586" fmla="*/ 6309957 w 8882887"/>
              <a:gd name="connsiteY586" fmla="*/ 1416597 h 1682495"/>
              <a:gd name="connsiteX587" fmla="*/ 6309957 w 8882887"/>
              <a:gd name="connsiteY587" fmla="*/ 1428803 h 1682495"/>
              <a:gd name="connsiteX588" fmla="*/ 6311629 w 8882887"/>
              <a:gd name="connsiteY588" fmla="*/ 1428803 h 1682495"/>
              <a:gd name="connsiteX589" fmla="*/ 6323331 w 8882887"/>
              <a:gd name="connsiteY589" fmla="*/ 1428803 h 1682495"/>
              <a:gd name="connsiteX590" fmla="*/ 6323331 w 8882887"/>
              <a:gd name="connsiteY590" fmla="*/ 1430109 h 1682495"/>
              <a:gd name="connsiteX591" fmla="*/ 6323331 w 8882887"/>
              <a:gd name="connsiteY591" fmla="*/ 1439262 h 1682495"/>
              <a:gd name="connsiteX592" fmla="*/ 6321659 w 8882887"/>
              <a:gd name="connsiteY592" fmla="*/ 1439262 h 1682495"/>
              <a:gd name="connsiteX593" fmla="*/ 6309957 w 8882887"/>
              <a:gd name="connsiteY593" fmla="*/ 1439262 h 1682495"/>
              <a:gd name="connsiteX594" fmla="*/ 6309957 w 8882887"/>
              <a:gd name="connsiteY594" fmla="*/ 1441007 h 1682495"/>
              <a:gd name="connsiteX595" fmla="*/ 6309957 w 8882887"/>
              <a:gd name="connsiteY595" fmla="*/ 1453211 h 1682495"/>
              <a:gd name="connsiteX596" fmla="*/ 6311629 w 8882887"/>
              <a:gd name="connsiteY596" fmla="*/ 1453211 h 1682495"/>
              <a:gd name="connsiteX597" fmla="*/ 6323331 w 8882887"/>
              <a:gd name="connsiteY597" fmla="*/ 1453211 h 1682495"/>
              <a:gd name="connsiteX598" fmla="*/ 6323331 w 8882887"/>
              <a:gd name="connsiteY598" fmla="*/ 1454954 h 1682495"/>
              <a:gd name="connsiteX599" fmla="*/ 6323331 w 8882887"/>
              <a:gd name="connsiteY599" fmla="*/ 1467159 h 1682495"/>
              <a:gd name="connsiteX600" fmla="*/ 6321659 w 8882887"/>
              <a:gd name="connsiteY600" fmla="*/ 1467159 h 1682495"/>
              <a:gd name="connsiteX601" fmla="*/ 6309957 w 8882887"/>
              <a:gd name="connsiteY601" fmla="*/ 1467159 h 1682495"/>
              <a:gd name="connsiteX602" fmla="*/ 6309957 w 8882887"/>
              <a:gd name="connsiteY602" fmla="*/ 1468902 h 1682495"/>
              <a:gd name="connsiteX603" fmla="*/ 6309957 w 8882887"/>
              <a:gd name="connsiteY603" fmla="*/ 1481106 h 1682495"/>
              <a:gd name="connsiteX604" fmla="*/ 6311629 w 8882887"/>
              <a:gd name="connsiteY604" fmla="*/ 1481106 h 1682495"/>
              <a:gd name="connsiteX605" fmla="*/ 6323331 w 8882887"/>
              <a:gd name="connsiteY605" fmla="*/ 1481106 h 1682495"/>
              <a:gd name="connsiteX606" fmla="*/ 6323331 w 8882887"/>
              <a:gd name="connsiteY606" fmla="*/ 1482414 h 1682495"/>
              <a:gd name="connsiteX607" fmla="*/ 6323331 w 8882887"/>
              <a:gd name="connsiteY607" fmla="*/ 1491567 h 1682495"/>
              <a:gd name="connsiteX608" fmla="*/ 6321659 w 8882887"/>
              <a:gd name="connsiteY608" fmla="*/ 1491567 h 1682495"/>
              <a:gd name="connsiteX609" fmla="*/ 6309957 w 8882887"/>
              <a:gd name="connsiteY609" fmla="*/ 1491567 h 1682495"/>
              <a:gd name="connsiteX610" fmla="*/ 6309957 w 8882887"/>
              <a:gd name="connsiteY610" fmla="*/ 1493310 h 1682495"/>
              <a:gd name="connsiteX611" fmla="*/ 6309957 w 8882887"/>
              <a:gd name="connsiteY611" fmla="*/ 1505516 h 1682495"/>
              <a:gd name="connsiteX612" fmla="*/ 6346735 w 8882887"/>
              <a:gd name="connsiteY612" fmla="*/ 1536899 h 1682495"/>
              <a:gd name="connsiteX613" fmla="*/ 6345065 w 8882887"/>
              <a:gd name="connsiteY613" fmla="*/ 1543872 h 1682495"/>
              <a:gd name="connsiteX614" fmla="*/ 6333361 w 8882887"/>
              <a:gd name="connsiteY614" fmla="*/ 1543872 h 1682495"/>
              <a:gd name="connsiteX615" fmla="*/ 6333361 w 8882887"/>
              <a:gd name="connsiteY615" fmla="*/ 1582229 h 1682495"/>
              <a:gd name="connsiteX616" fmla="*/ 6335035 w 8882887"/>
              <a:gd name="connsiteY616" fmla="*/ 1582229 h 1682495"/>
              <a:gd name="connsiteX617" fmla="*/ 6346735 w 8882887"/>
              <a:gd name="connsiteY617" fmla="*/ 1582229 h 1682495"/>
              <a:gd name="connsiteX618" fmla="*/ 6346735 w 8882887"/>
              <a:gd name="connsiteY618" fmla="*/ 1580049 h 1682495"/>
              <a:gd name="connsiteX619" fmla="*/ 6346735 w 8882887"/>
              <a:gd name="connsiteY619" fmla="*/ 1564794 h 1682495"/>
              <a:gd name="connsiteX620" fmla="*/ 6348407 w 8882887"/>
              <a:gd name="connsiteY620" fmla="*/ 1563923 h 1682495"/>
              <a:gd name="connsiteX621" fmla="*/ 6360109 w 8882887"/>
              <a:gd name="connsiteY621" fmla="*/ 1557821 h 1682495"/>
              <a:gd name="connsiteX622" fmla="*/ 6363035 w 8882887"/>
              <a:gd name="connsiteY622" fmla="*/ 1557821 h 1682495"/>
              <a:gd name="connsiteX623" fmla="*/ 6383515 w 8882887"/>
              <a:gd name="connsiteY623" fmla="*/ 1557821 h 1682495"/>
              <a:gd name="connsiteX624" fmla="*/ 6383515 w 8882887"/>
              <a:gd name="connsiteY624" fmla="*/ 1559564 h 1682495"/>
              <a:gd name="connsiteX625" fmla="*/ 6383515 w 8882887"/>
              <a:gd name="connsiteY625" fmla="*/ 1571768 h 1682495"/>
              <a:gd name="connsiteX626" fmla="*/ 6386023 w 8882887"/>
              <a:gd name="connsiteY626" fmla="*/ 1571768 h 1682495"/>
              <a:gd name="connsiteX627" fmla="*/ 6403577 w 8882887"/>
              <a:gd name="connsiteY627" fmla="*/ 1571768 h 1682495"/>
              <a:gd name="connsiteX628" fmla="*/ 6405247 w 8882887"/>
              <a:gd name="connsiteY628" fmla="*/ 1578741 h 1682495"/>
              <a:gd name="connsiteX629" fmla="*/ 6416951 w 8882887"/>
              <a:gd name="connsiteY629" fmla="*/ 1578741 h 1682495"/>
              <a:gd name="connsiteX630" fmla="*/ 6453729 w 8882887"/>
              <a:gd name="connsiteY630" fmla="*/ 1627559 h 1682495"/>
              <a:gd name="connsiteX631" fmla="*/ 6453729 w 8882887"/>
              <a:gd name="connsiteY631" fmla="*/ 1679864 h 1682495"/>
              <a:gd name="connsiteX632" fmla="*/ 6455399 w 8882887"/>
              <a:gd name="connsiteY632" fmla="*/ 1679864 h 1682495"/>
              <a:gd name="connsiteX633" fmla="*/ 6467103 w 8882887"/>
              <a:gd name="connsiteY633" fmla="*/ 1679864 h 1682495"/>
              <a:gd name="connsiteX634" fmla="*/ 6467103 w 8882887"/>
              <a:gd name="connsiteY634" fmla="*/ 1676813 h 1682495"/>
              <a:gd name="connsiteX635" fmla="*/ 6467103 w 8882887"/>
              <a:gd name="connsiteY635" fmla="*/ 1655456 h 1682495"/>
              <a:gd name="connsiteX636" fmla="*/ 6468357 w 8882887"/>
              <a:gd name="connsiteY636" fmla="*/ 1655456 h 1682495"/>
              <a:gd name="connsiteX637" fmla="*/ 6477133 w 8882887"/>
              <a:gd name="connsiteY637" fmla="*/ 1655456 h 1682495"/>
              <a:gd name="connsiteX638" fmla="*/ 6477133 w 8882887"/>
              <a:gd name="connsiteY638" fmla="*/ 1657199 h 1682495"/>
              <a:gd name="connsiteX639" fmla="*/ 6477133 w 8882887"/>
              <a:gd name="connsiteY639" fmla="*/ 1669403 h 1682495"/>
              <a:gd name="connsiteX640" fmla="*/ 6490507 w 8882887"/>
              <a:gd name="connsiteY640" fmla="*/ 1596177 h 1682495"/>
              <a:gd name="connsiteX641" fmla="*/ 6547347 w 8882887"/>
              <a:gd name="connsiteY641" fmla="*/ 1596177 h 1682495"/>
              <a:gd name="connsiteX642" fmla="*/ 6547347 w 8882887"/>
              <a:gd name="connsiteY642" fmla="*/ 1484594 h 1682495"/>
              <a:gd name="connsiteX643" fmla="*/ 6600843 w 8882887"/>
              <a:gd name="connsiteY643" fmla="*/ 1484594 h 1682495"/>
              <a:gd name="connsiteX644" fmla="*/ 6600843 w 8882887"/>
              <a:gd name="connsiteY644" fmla="*/ 1483286 h 1682495"/>
              <a:gd name="connsiteX645" fmla="*/ 6600843 w 8882887"/>
              <a:gd name="connsiteY645" fmla="*/ 1474133 h 1682495"/>
              <a:gd name="connsiteX646" fmla="*/ 6634279 w 8882887"/>
              <a:gd name="connsiteY646" fmla="*/ 1474133 h 1682495"/>
              <a:gd name="connsiteX647" fmla="*/ 6634279 w 8882887"/>
              <a:gd name="connsiteY647" fmla="*/ 1414854 h 1682495"/>
              <a:gd name="connsiteX648" fmla="*/ 6627591 w 8882887"/>
              <a:gd name="connsiteY648" fmla="*/ 1412238 h 1682495"/>
              <a:gd name="connsiteX649" fmla="*/ 6627591 w 8882887"/>
              <a:gd name="connsiteY649" fmla="*/ 1393932 h 1682495"/>
              <a:gd name="connsiteX650" fmla="*/ 6634279 w 8882887"/>
              <a:gd name="connsiteY650" fmla="*/ 1397420 h 1682495"/>
              <a:gd name="connsiteX651" fmla="*/ 6640967 w 8882887"/>
              <a:gd name="connsiteY651" fmla="*/ 1362549 h 1682495"/>
              <a:gd name="connsiteX652" fmla="*/ 6647653 w 8882887"/>
              <a:gd name="connsiteY652" fmla="*/ 1397420 h 1682495"/>
              <a:gd name="connsiteX653" fmla="*/ 6651415 w 8882887"/>
              <a:gd name="connsiteY653" fmla="*/ 1392624 h 1682495"/>
              <a:gd name="connsiteX654" fmla="*/ 6654341 w 8882887"/>
              <a:gd name="connsiteY654" fmla="*/ 1383471 h 1682495"/>
              <a:gd name="connsiteX655" fmla="*/ 6655175 w 8882887"/>
              <a:gd name="connsiteY655" fmla="*/ 1381728 h 1682495"/>
              <a:gd name="connsiteX656" fmla="*/ 6661027 w 8882887"/>
              <a:gd name="connsiteY656" fmla="*/ 1369523 h 1682495"/>
              <a:gd name="connsiteX657" fmla="*/ 6661863 w 8882887"/>
              <a:gd name="connsiteY657" fmla="*/ 1367780 h 1682495"/>
              <a:gd name="connsiteX658" fmla="*/ 6667715 w 8882887"/>
              <a:gd name="connsiteY658" fmla="*/ 1355576 h 1682495"/>
              <a:gd name="connsiteX659" fmla="*/ 6669803 w 8882887"/>
              <a:gd name="connsiteY659" fmla="*/ 1354268 h 1682495"/>
              <a:gd name="connsiteX660" fmla="*/ 6684431 w 8882887"/>
              <a:gd name="connsiteY660" fmla="*/ 1345115 h 1682495"/>
              <a:gd name="connsiteX661" fmla="*/ 6686939 w 8882887"/>
              <a:gd name="connsiteY661" fmla="*/ 1343372 h 1682495"/>
              <a:gd name="connsiteX662" fmla="*/ 6704493 w 8882887"/>
              <a:gd name="connsiteY662" fmla="*/ 1331166 h 1682495"/>
              <a:gd name="connsiteX663" fmla="*/ 6705747 w 8882887"/>
              <a:gd name="connsiteY663" fmla="*/ 1329423 h 1682495"/>
              <a:gd name="connsiteX664" fmla="*/ 6714523 w 8882887"/>
              <a:gd name="connsiteY664" fmla="*/ 1317219 h 1682495"/>
              <a:gd name="connsiteX665" fmla="*/ 6715359 w 8882887"/>
              <a:gd name="connsiteY665" fmla="*/ 1314168 h 1682495"/>
              <a:gd name="connsiteX666" fmla="*/ 6721211 w 8882887"/>
              <a:gd name="connsiteY666" fmla="*/ 1292810 h 1682495"/>
              <a:gd name="connsiteX667" fmla="*/ 6722047 w 8882887"/>
              <a:gd name="connsiteY667" fmla="*/ 1295861 h 1682495"/>
              <a:gd name="connsiteX668" fmla="*/ 6727897 w 8882887"/>
              <a:gd name="connsiteY668" fmla="*/ 1317219 h 1682495"/>
              <a:gd name="connsiteX669" fmla="*/ 6728733 w 8882887"/>
              <a:gd name="connsiteY669" fmla="*/ 1318526 h 1682495"/>
              <a:gd name="connsiteX670" fmla="*/ 6734585 w 8882887"/>
              <a:gd name="connsiteY670" fmla="*/ 1327680 h 1682495"/>
              <a:gd name="connsiteX671" fmla="*/ 6736675 w 8882887"/>
              <a:gd name="connsiteY671" fmla="*/ 1329423 h 1682495"/>
              <a:gd name="connsiteX672" fmla="*/ 6751303 w 8882887"/>
              <a:gd name="connsiteY672" fmla="*/ 1341627 h 1682495"/>
              <a:gd name="connsiteX673" fmla="*/ 6752975 w 8882887"/>
              <a:gd name="connsiteY673" fmla="*/ 1343372 h 1682495"/>
              <a:gd name="connsiteX674" fmla="*/ 6764675 w 8882887"/>
              <a:gd name="connsiteY674" fmla="*/ 1355576 h 1682495"/>
              <a:gd name="connsiteX675" fmla="*/ 6766349 w 8882887"/>
              <a:gd name="connsiteY675" fmla="*/ 1357319 h 1682495"/>
              <a:gd name="connsiteX676" fmla="*/ 6778051 w 8882887"/>
              <a:gd name="connsiteY676" fmla="*/ 1369523 h 1682495"/>
              <a:gd name="connsiteX677" fmla="*/ 6778469 w 8882887"/>
              <a:gd name="connsiteY677" fmla="*/ 1371267 h 1682495"/>
              <a:gd name="connsiteX678" fmla="*/ 6781393 w 8882887"/>
              <a:gd name="connsiteY678" fmla="*/ 1383471 h 1682495"/>
              <a:gd name="connsiteX679" fmla="*/ 6781811 w 8882887"/>
              <a:gd name="connsiteY679" fmla="*/ 1385214 h 1682495"/>
              <a:gd name="connsiteX680" fmla="*/ 6784737 w 8882887"/>
              <a:gd name="connsiteY680" fmla="*/ 1397420 h 1682495"/>
              <a:gd name="connsiteX681" fmla="*/ 6794767 w 8882887"/>
              <a:gd name="connsiteY681" fmla="*/ 1362549 h 1682495"/>
              <a:gd name="connsiteX682" fmla="*/ 6801455 w 8882887"/>
              <a:gd name="connsiteY682" fmla="*/ 1397420 h 1682495"/>
              <a:gd name="connsiteX683" fmla="*/ 6808141 w 8882887"/>
              <a:gd name="connsiteY683" fmla="*/ 1400034 h 1682495"/>
              <a:gd name="connsiteX684" fmla="*/ 6808141 w 8882887"/>
              <a:gd name="connsiteY684" fmla="*/ 1418342 h 1682495"/>
              <a:gd name="connsiteX685" fmla="*/ 6801455 w 8882887"/>
              <a:gd name="connsiteY685" fmla="*/ 1467159 h 1682495"/>
              <a:gd name="connsiteX686" fmla="*/ 6803127 w 8882887"/>
              <a:gd name="connsiteY686" fmla="*/ 1467159 h 1682495"/>
              <a:gd name="connsiteX687" fmla="*/ 6814829 w 8882887"/>
              <a:gd name="connsiteY687" fmla="*/ 1467159 h 1682495"/>
              <a:gd name="connsiteX688" fmla="*/ 6816083 w 8882887"/>
              <a:gd name="connsiteY688" fmla="*/ 1474133 h 1682495"/>
              <a:gd name="connsiteX689" fmla="*/ 6824859 w 8882887"/>
              <a:gd name="connsiteY689" fmla="*/ 1474133 h 1682495"/>
              <a:gd name="connsiteX690" fmla="*/ 6824859 w 8882887"/>
              <a:gd name="connsiteY690" fmla="*/ 1472390 h 1682495"/>
              <a:gd name="connsiteX691" fmla="*/ 6824859 w 8882887"/>
              <a:gd name="connsiteY691" fmla="*/ 1460184 h 1682495"/>
              <a:gd name="connsiteX692" fmla="*/ 6828203 w 8882887"/>
              <a:gd name="connsiteY692" fmla="*/ 1460184 h 1682495"/>
              <a:gd name="connsiteX693" fmla="*/ 6851607 w 8882887"/>
              <a:gd name="connsiteY693" fmla="*/ 1460184 h 1682495"/>
              <a:gd name="connsiteX694" fmla="*/ 6851607 w 8882887"/>
              <a:gd name="connsiteY694" fmla="*/ 1457133 h 1682495"/>
              <a:gd name="connsiteX695" fmla="*/ 6851607 w 8882887"/>
              <a:gd name="connsiteY695" fmla="*/ 1435776 h 1682495"/>
              <a:gd name="connsiteX696" fmla="*/ 6908447 w 8882887"/>
              <a:gd name="connsiteY696" fmla="*/ 1435776 h 1682495"/>
              <a:gd name="connsiteX697" fmla="*/ 6908447 w 8882887"/>
              <a:gd name="connsiteY697" fmla="*/ 1437956 h 1682495"/>
              <a:gd name="connsiteX698" fmla="*/ 6908447 w 8882887"/>
              <a:gd name="connsiteY698" fmla="*/ 1453211 h 1682495"/>
              <a:gd name="connsiteX699" fmla="*/ 6938539 w 8882887"/>
              <a:gd name="connsiteY699" fmla="*/ 1453211 h 1682495"/>
              <a:gd name="connsiteX700" fmla="*/ 6938539 w 8882887"/>
              <a:gd name="connsiteY700" fmla="*/ 1456698 h 1682495"/>
              <a:gd name="connsiteX701" fmla="*/ 6938539 w 8882887"/>
              <a:gd name="connsiteY701" fmla="*/ 1481106 h 1682495"/>
              <a:gd name="connsiteX702" fmla="*/ 6931853 w 8882887"/>
              <a:gd name="connsiteY702" fmla="*/ 1482414 h 1682495"/>
              <a:gd name="connsiteX703" fmla="*/ 6931853 w 8882887"/>
              <a:gd name="connsiteY703" fmla="*/ 1491567 h 1682495"/>
              <a:gd name="connsiteX704" fmla="*/ 6938539 w 8882887"/>
              <a:gd name="connsiteY704" fmla="*/ 1494183 h 1682495"/>
              <a:gd name="connsiteX705" fmla="*/ 6938539 w 8882887"/>
              <a:gd name="connsiteY705" fmla="*/ 1512489 h 1682495"/>
              <a:gd name="connsiteX706" fmla="*/ 6931853 w 8882887"/>
              <a:gd name="connsiteY706" fmla="*/ 1519463 h 1682495"/>
              <a:gd name="connsiteX707" fmla="*/ 6931853 w 8882887"/>
              <a:gd name="connsiteY707" fmla="*/ 1603151 h 1682495"/>
              <a:gd name="connsiteX708" fmla="*/ 6934777 w 8882887"/>
              <a:gd name="connsiteY708" fmla="*/ 1603151 h 1682495"/>
              <a:gd name="connsiteX709" fmla="*/ 6955257 w 8882887"/>
              <a:gd name="connsiteY709" fmla="*/ 1603151 h 1682495"/>
              <a:gd name="connsiteX710" fmla="*/ 6957763 w 8882887"/>
              <a:gd name="connsiteY710" fmla="*/ 1610124 h 1682495"/>
              <a:gd name="connsiteX711" fmla="*/ 6975319 w 8882887"/>
              <a:gd name="connsiteY711" fmla="*/ 1610124 h 1682495"/>
              <a:gd name="connsiteX712" fmla="*/ 6975319 w 8882887"/>
              <a:gd name="connsiteY712" fmla="*/ 1613175 h 1682495"/>
              <a:gd name="connsiteX713" fmla="*/ 6975319 w 8882887"/>
              <a:gd name="connsiteY713" fmla="*/ 1634534 h 1682495"/>
              <a:gd name="connsiteX714" fmla="*/ 6977827 w 8882887"/>
              <a:gd name="connsiteY714" fmla="*/ 1634534 h 1682495"/>
              <a:gd name="connsiteX715" fmla="*/ 6995379 w 8882887"/>
              <a:gd name="connsiteY715" fmla="*/ 1634534 h 1682495"/>
              <a:gd name="connsiteX716" fmla="*/ 6995379 w 8882887"/>
              <a:gd name="connsiteY716" fmla="*/ 1631483 h 1682495"/>
              <a:gd name="connsiteX717" fmla="*/ 6995379 w 8882887"/>
              <a:gd name="connsiteY717" fmla="*/ 1610124 h 1682495"/>
              <a:gd name="connsiteX718" fmla="*/ 6998303 w 8882887"/>
              <a:gd name="connsiteY718" fmla="*/ 1608381 h 1682495"/>
              <a:gd name="connsiteX719" fmla="*/ 7018783 w 8882887"/>
              <a:gd name="connsiteY719" fmla="*/ 1596177 h 1682495"/>
              <a:gd name="connsiteX720" fmla="*/ 7018783 w 8882887"/>
              <a:gd name="connsiteY720" fmla="*/ 1564794 h 1682495"/>
              <a:gd name="connsiteX721" fmla="*/ 7012097 w 8882887"/>
              <a:gd name="connsiteY721" fmla="*/ 1529924 h 1682495"/>
              <a:gd name="connsiteX722" fmla="*/ 7013767 w 8882887"/>
              <a:gd name="connsiteY722" fmla="*/ 1529924 h 1682495"/>
              <a:gd name="connsiteX723" fmla="*/ 7025471 w 8882887"/>
              <a:gd name="connsiteY723" fmla="*/ 1529924 h 1682495"/>
              <a:gd name="connsiteX724" fmla="*/ 7055563 w 8882887"/>
              <a:gd name="connsiteY724" fmla="*/ 1526438 h 1682495"/>
              <a:gd name="connsiteX725" fmla="*/ 7055563 w 8882887"/>
              <a:gd name="connsiteY725" fmla="*/ 1524693 h 1682495"/>
              <a:gd name="connsiteX726" fmla="*/ 7055563 w 8882887"/>
              <a:gd name="connsiteY726" fmla="*/ 1512489 h 1682495"/>
              <a:gd name="connsiteX727" fmla="*/ 7058071 w 8882887"/>
              <a:gd name="connsiteY727" fmla="*/ 1512489 h 1682495"/>
              <a:gd name="connsiteX728" fmla="*/ 7075623 w 8882887"/>
              <a:gd name="connsiteY728" fmla="*/ 1512489 h 1682495"/>
              <a:gd name="connsiteX729" fmla="*/ 7075623 w 8882887"/>
              <a:gd name="connsiteY729" fmla="*/ 1338141 h 1682495"/>
              <a:gd name="connsiteX730" fmla="*/ 7077295 w 8882887"/>
              <a:gd name="connsiteY730" fmla="*/ 1338141 h 1682495"/>
              <a:gd name="connsiteX731" fmla="*/ 7088997 w 8882887"/>
              <a:gd name="connsiteY731" fmla="*/ 1338141 h 1682495"/>
              <a:gd name="connsiteX732" fmla="*/ 7088997 w 8882887"/>
              <a:gd name="connsiteY732" fmla="*/ 1334654 h 1682495"/>
              <a:gd name="connsiteX733" fmla="*/ 7088997 w 8882887"/>
              <a:gd name="connsiteY733" fmla="*/ 1310244 h 1682495"/>
              <a:gd name="connsiteX734" fmla="*/ 7092341 w 8882887"/>
              <a:gd name="connsiteY734" fmla="*/ 1240505 h 1682495"/>
              <a:gd name="connsiteX735" fmla="*/ 7094013 w 8882887"/>
              <a:gd name="connsiteY735" fmla="*/ 1240505 h 1682495"/>
              <a:gd name="connsiteX736" fmla="*/ 7105715 w 8882887"/>
              <a:gd name="connsiteY736" fmla="*/ 1240505 h 1682495"/>
              <a:gd name="connsiteX737" fmla="*/ 7105715 w 8882887"/>
              <a:gd name="connsiteY737" fmla="*/ 1242249 h 1682495"/>
              <a:gd name="connsiteX738" fmla="*/ 7105715 w 8882887"/>
              <a:gd name="connsiteY738" fmla="*/ 1254453 h 1682495"/>
              <a:gd name="connsiteX739" fmla="*/ 7112401 w 8882887"/>
              <a:gd name="connsiteY739" fmla="*/ 1250966 h 1682495"/>
              <a:gd name="connsiteX740" fmla="*/ 7112401 w 8882887"/>
              <a:gd name="connsiteY740" fmla="*/ 1226558 h 1682495"/>
              <a:gd name="connsiteX741" fmla="*/ 7114491 w 8882887"/>
              <a:gd name="connsiteY741" fmla="*/ 1225686 h 1682495"/>
              <a:gd name="connsiteX742" fmla="*/ 7129119 w 8882887"/>
              <a:gd name="connsiteY742" fmla="*/ 1219584 h 1682495"/>
              <a:gd name="connsiteX743" fmla="*/ 7130791 w 8882887"/>
              <a:gd name="connsiteY743" fmla="*/ 1220456 h 1682495"/>
              <a:gd name="connsiteX744" fmla="*/ 7142493 w 8882887"/>
              <a:gd name="connsiteY744" fmla="*/ 1226558 h 1682495"/>
              <a:gd name="connsiteX745" fmla="*/ 7145001 w 8882887"/>
              <a:gd name="connsiteY745" fmla="*/ 1226558 h 1682495"/>
              <a:gd name="connsiteX746" fmla="*/ 7162555 w 8882887"/>
              <a:gd name="connsiteY746" fmla="*/ 1226558 h 1682495"/>
              <a:gd name="connsiteX747" fmla="*/ 7162555 w 8882887"/>
              <a:gd name="connsiteY747" fmla="*/ 1181226 h 1682495"/>
              <a:gd name="connsiteX748" fmla="*/ 7164227 w 8882887"/>
              <a:gd name="connsiteY748" fmla="*/ 1181226 h 1682495"/>
              <a:gd name="connsiteX749" fmla="*/ 7175927 w 8882887"/>
              <a:gd name="connsiteY749" fmla="*/ 1181226 h 1682495"/>
              <a:gd name="connsiteX750" fmla="*/ 7178017 w 8882887"/>
              <a:gd name="connsiteY750" fmla="*/ 1188201 h 1682495"/>
              <a:gd name="connsiteX751" fmla="*/ 7192647 w 8882887"/>
              <a:gd name="connsiteY751" fmla="*/ 1188201 h 1682495"/>
              <a:gd name="connsiteX752" fmla="*/ 7194319 w 8882887"/>
              <a:gd name="connsiteY752" fmla="*/ 1181226 h 1682495"/>
              <a:gd name="connsiteX753" fmla="*/ 7206021 w 8882887"/>
              <a:gd name="connsiteY753" fmla="*/ 1181226 h 1682495"/>
              <a:gd name="connsiteX754" fmla="*/ 7206021 w 8882887"/>
              <a:gd name="connsiteY754" fmla="*/ 1233531 h 1682495"/>
              <a:gd name="connsiteX755" fmla="*/ 7208111 w 8882887"/>
              <a:gd name="connsiteY755" fmla="*/ 1235274 h 1682495"/>
              <a:gd name="connsiteX756" fmla="*/ 7222739 w 8882887"/>
              <a:gd name="connsiteY756" fmla="*/ 1247480 h 1682495"/>
              <a:gd name="connsiteX757" fmla="*/ 7256173 w 8882887"/>
              <a:gd name="connsiteY757" fmla="*/ 1257941 h 1682495"/>
              <a:gd name="connsiteX758" fmla="*/ 7256173 w 8882887"/>
              <a:gd name="connsiteY758" fmla="*/ 1255761 h 1682495"/>
              <a:gd name="connsiteX759" fmla="*/ 7256173 w 8882887"/>
              <a:gd name="connsiteY759" fmla="*/ 1240505 h 1682495"/>
              <a:gd name="connsiteX760" fmla="*/ 7299639 w 8882887"/>
              <a:gd name="connsiteY760" fmla="*/ 1226558 h 1682495"/>
              <a:gd name="connsiteX761" fmla="*/ 7299639 w 8882887"/>
              <a:gd name="connsiteY761" fmla="*/ 1224815 h 1682495"/>
              <a:gd name="connsiteX762" fmla="*/ 7299639 w 8882887"/>
              <a:gd name="connsiteY762" fmla="*/ 1212609 h 1682495"/>
              <a:gd name="connsiteX763" fmla="*/ 7300893 w 8882887"/>
              <a:gd name="connsiteY763" fmla="*/ 1212609 h 1682495"/>
              <a:gd name="connsiteX764" fmla="*/ 7309669 w 8882887"/>
              <a:gd name="connsiteY764" fmla="*/ 1212609 h 1682495"/>
              <a:gd name="connsiteX765" fmla="*/ 7309669 w 8882887"/>
              <a:gd name="connsiteY765" fmla="*/ 1211303 h 1682495"/>
              <a:gd name="connsiteX766" fmla="*/ 7309669 w 8882887"/>
              <a:gd name="connsiteY766" fmla="*/ 1202148 h 1682495"/>
              <a:gd name="connsiteX767" fmla="*/ 7313013 w 8882887"/>
              <a:gd name="connsiteY767" fmla="*/ 1202148 h 1682495"/>
              <a:gd name="connsiteX768" fmla="*/ 7336417 w 8882887"/>
              <a:gd name="connsiteY768" fmla="*/ 1202148 h 1682495"/>
              <a:gd name="connsiteX769" fmla="*/ 7336417 w 8882887"/>
              <a:gd name="connsiteY769" fmla="*/ 1203456 h 1682495"/>
              <a:gd name="connsiteX770" fmla="*/ 7336417 w 8882887"/>
              <a:gd name="connsiteY770" fmla="*/ 1212609 h 1682495"/>
              <a:gd name="connsiteX771" fmla="*/ 7338925 w 8882887"/>
              <a:gd name="connsiteY771" fmla="*/ 1212609 h 1682495"/>
              <a:gd name="connsiteX772" fmla="*/ 7356479 w 8882887"/>
              <a:gd name="connsiteY772" fmla="*/ 1212609 h 1682495"/>
              <a:gd name="connsiteX773" fmla="*/ 7356479 w 8882887"/>
              <a:gd name="connsiteY773" fmla="*/ 1215225 h 1682495"/>
              <a:gd name="connsiteX774" fmla="*/ 7356479 w 8882887"/>
              <a:gd name="connsiteY774" fmla="*/ 1233531 h 1682495"/>
              <a:gd name="connsiteX775" fmla="*/ 7393257 w 8882887"/>
              <a:gd name="connsiteY775" fmla="*/ 1233531 h 1682495"/>
              <a:gd name="connsiteX776" fmla="*/ 7393257 w 8882887"/>
              <a:gd name="connsiteY776" fmla="*/ 1231788 h 1682495"/>
              <a:gd name="connsiteX777" fmla="*/ 7393257 w 8882887"/>
              <a:gd name="connsiteY777" fmla="*/ 1219584 h 1682495"/>
              <a:gd name="connsiteX778" fmla="*/ 7395347 w 8882887"/>
              <a:gd name="connsiteY778" fmla="*/ 1219584 h 1682495"/>
              <a:gd name="connsiteX779" fmla="*/ 7409975 w 8882887"/>
              <a:gd name="connsiteY779" fmla="*/ 1219584 h 1682495"/>
              <a:gd name="connsiteX780" fmla="*/ 7409975 w 8882887"/>
              <a:gd name="connsiteY780" fmla="*/ 1217840 h 1682495"/>
              <a:gd name="connsiteX781" fmla="*/ 7409975 w 8882887"/>
              <a:gd name="connsiteY781" fmla="*/ 1205636 h 1682495"/>
              <a:gd name="connsiteX782" fmla="*/ 7412483 w 8882887"/>
              <a:gd name="connsiteY782" fmla="*/ 1205636 h 1682495"/>
              <a:gd name="connsiteX783" fmla="*/ 7430035 w 8882887"/>
              <a:gd name="connsiteY783" fmla="*/ 1205636 h 1682495"/>
              <a:gd name="connsiteX784" fmla="*/ 7430035 w 8882887"/>
              <a:gd name="connsiteY784" fmla="*/ 1207379 h 1682495"/>
              <a:gd name="connsiteX785" fmla="*/ 7430035 w 8882887"/>
              <a:gd name="connsiteY785" fmla="*/ 1219584 h 1682495"/>
              <a:gd name="connsiteX786" fmla="*/ 7436723 w 8882887"/>
              <a:gd name="connsiteY786" fmla="*/ 1135896 h 1682495"/>
              <a:gd name="connsiteX787" fmla="*/ 7587181 w 8882887"/>
              <a:gd name="connsiteY787" fmla="*/ 1135896 h 1682495"/>
              <a:gd name="connsiteX788" fmla="*/ 7587181 w 8882887"/>
              <a:gd name="connsiteY788" fmla="*/ 1247480 h 1682495"/>
              <a:gd name="connsiteX789" fmla="*/ 7590525 w 8882887"/>
              <a:gd name="connsiteY789" fmla="*/ 1247480 h 1682495"/>
              <a:gd name="connsiteX790" fmla="*/ 7613929 w 8882887"/>
              <a:gd name="connsiteY790" fmla="*/ 1247480 h 1682495"/>
              <a:gd name="connsiteX791" fmla="*/ 7613929 w 8882887"/>
              <a:gd name="connsiteY791" fmla="*/ 1121948 h 1682495"/>
              <a:gd name="connsiteX792" fmla="*/ 7647365 w 8882887"/>
              <a:gd name="connsiteY792" fmla="*/ 1104513 h 1682495"/>
              <a:gd name="connsiteX793" fmla="*/ 7690831 w 8882887"/>
              <a:gd name="connsiteY793" fmla="*/ 1104513 h 1682495"/>
              <a:gd name="connsiteX794" fmla="*/ 7693757 w 8882887"/>
              <a:gd name="connsiteY794" fmla="*/ 1101899 h 1682495"/>
              <a:gd name="connsiteX795" fmla="*/ 7714235 w 8882887"/>
              <a:gd name="connsiteY795" fmla="*/ 1083591 h 1682495"/>
              <a:gd name="connsiteX796" fmla="*/ 7771075 w 8882887"/>
              <a:gd name="connsiteY796" fmla="*/ 1083591 h 1682495"/>
              <a:gd name="connsiteX797" fmla="*/ 7771075 w 8882887"/>
              <a:gd name="connsiteY797" fmla="*/ 1086207 h 1682495"/>
              <a:gd name="connsiteX798" fmla="*/ 7771075 w 8882887"/>
              <a:gd name="connsiteY798" fmla="*/ 1104513 h 1682495"/>
              <a:gd name="connsiteX799" fmla="*/ 7827915 w 8882887"/>
              <a:gd name="connsiteY799" fmla="*/ 1104513 h 1682495"/>
              <a:gd name="connsiteX800" fmla="*/ 7827915 w 8882887"/>
              <a:gd name="connsiteY800" fmla="*/ 1240505 h 1682495"/>
              <a:gd name="connsiteX801" fmla="*/ 7830005 w 8882887"/>
              <a:gd name="connsiteY801" fmla="*/ 1240505 h 1682495"/>
              <a:gd name="connsiteX802" fmla="*/ 7844633 w 8882887"/>
              <a:gd name="connsiteY802" fmla="*/ 1240505 h 1682495"/>
              <a:gd name="connsiteX803" fmla="*/ 7844633 w 8882887"/>
              <a:gd name="connsiteY803" fmla="*/ 1439262 h 1682495"/>
              <a:gd name="connsiteX804" fmla="*/ 7847975 w 8882887"/>
              <a:gd name="connsiteY804" fmla="*/ 1439262 h 1682495"/>
              <a:gd name="connsiteX805" fmla="*/ 7871381 w 8882887"/>
              <a:gd name="connsiteY805" fmla="*/ 1439262 h 1682495"/>
              <a:gd name="connsiteX806" fmla="*/ 7871381 w 8882887"/>
              <a:gd name="connsiteY806" fmla="*/ 1310244 h 1682495"/>
              <a:gd name="connsiteX807" fmla="*/ 7872635 w 8882887"/>
              <a:gd name="connsiteY807" fmla="*/ 1309373 h 1682495"/>
              <a:gd name="connsiteX808" fmla="*/ 7881411 w 8882887"/>
              <a:gd name="connsiteY808" fmla="*/ 1303271 h 1682495"/>
              <a:gd name="connsiteX809" fmla="*/ 7888099 w 8882887"/>
              <a:gd name="connsiteY809" fmla="*/ 1305014 h 1682495"/>
              <a:gd name="connsiteX810" fmla="*/ 7888099 w 8882887"/>
              <a:gd name="connsiteY810" fmla="*/ 1317219 h 1682495"/>
              <a:gd name="connsiteX811" fmla="*/ 7891441 w 8882887"/>
              <a:gd name="connsiteY811" fmla="*/ 1315475 h 1682495"/>
              <a:gd name="connsiteX812" fmla="*/ 7914847 w 8882887"/>
              <a:gd name="connsiteY812" fmla="*/ 1303271 h 1682495"/>
              <a:gd name="connsiteX813" fmla="*/ 7917773 w 8882887"/>
              <a:gd name="connsiteY813" fmla="*/ 1303271 h 1682495"/>
              <a:gd name="connsiteX814" fmla="*/ 7938251 w 8882887"/>
              <a:gd name="connsiteY814" fmla="*/ 1303271 h 1682495"/>
              <a:gd name="connsiteX815" fmla="*/ 7938251 w 8882887"/>
              <a:gd name="connsiteY815" fmla="*/ 1540385 h 1682495"/>
              <a:gd name="connsiteX816" fmla="*/ 7985061 w 8882887"/>
              <a:gd name="connsiteY816" fmla="*/ 1547360 h 1682495"/>
              <a:gd name="connsiteX817" fmla="*/ 7985061 w 8882887"/>
              <a:gd name="connsiteY817" fmla="*/ 1536899 h 1682495"/>
              <a:gd name="connsiteX818" fmla="*/ 8035213 w 8882887"/>
              <a:gd name="connsiteY818" fmla="*/ 1536899 h 1682495"/>
              <a:gd name="connsiteX819" fmla="*/ 8035213 w 8882887"/>
              <a:gd name="connsiteY819" fmla="*/ 1491567 h 1682495"/>
              <a:gd name="connsiteX820" fmla="*/ 8048587 w 8882887"/>
              <a:gd name="connsiteY820" fmla="*/ 1491567 h 1682495"/>
              <a:gd name="connsiteX821" fmla="*/ 8048587 w 8882887"/>
              <a:gd name="connsiteY821" fmla="*/ 1432289 h 1682495"/>
              <a:gd name="connsiteX822" fmla="*/ 8058619 w 8882887"/>
              <a:gd name="connsiteY822" fmla="*/ 1432289 h 1682495"/>
              <a:gd name="connsiteX823" fmla="*/ 8058619 w 8882887"/>
              <a:gd name="connsiteY823" fmla="*/ 1373010 h 1682495"/>
              <a:gd name="connsiteX824" fmla="*/ 8082023 w 8882887"/>
              <a:gd name="connsiteY824" fmla="*/ 1373010 h 1682495"/>
              <a:gd name="connsiteX825" fmla="*/ 8155579 w 8882887"/>
              <a:gd name="connsiteY825" fmla="*/ 1341627 h 1682495"/>
              <a:gd name="connsiteX826" fmla="*/ 8158923 w 8882887"/>
              <a:gd name="connsiteY826" fmla="*/ 1310244 h 1682495"/>
              <a:gd name="connsiteX827" fmla="*/ 8165611 w 8882887"/>
              <a:gd name="connsiteY827" fmla="*/ 1341627 h 1682495"/>
              <a:gd name="connsiteX828" fmla="*/ 8242511 w 8882887"/>
              <a:gd name="connsiteY828" fmla="*/ 1383471 h 1682495"/>
              <a:gd name="connsiteX829" fmla="*/ 8242511 w 8882887"/>
              <a:gd name="connsiteY829" fmla="*/ 1376498 h 1682495"/>
              <a:gd name="connsiteX830" fmla="*/ 8262573 w 8882887"/>
              <a:gd name="connsiteY830" fmla="*/ 1376498 h 1682495"/>
              <a:gd name="connsiteX831" fmla="*/ 8262573 w 8882887"/>
              <a:gd name="connsiteY831" fmla="*/ 1432289 h 1682495"/>
              <a:gd name="connsiteX832" fmla="*/ 8272603 w 8882887"/>
              <a:gd name="connsiteY832" fmla="*/ 1432289 h 1682495"/>
              <a:gd name="connsiteX833" fmla="*/ 8272603 w 8882887"/>
              <a:gd name="connsiteY833" fmla="*/ 1498541 h 1682495"/>
              <a:gd name="connsiteX834" fmla="*/ 8282635 w 8882887"/>
              <a:gd name="connsiteY834" fmla="*/ 1498541 h 1682495"/>
              <a:gd name="connsiteX835" fmla="*/ 8282635 w 8882887"/>
              <a:gd name="connsiteY835" fmla="*/ 1529924 h 1682495"/>
              <a:gd name="connsiteX836" fmla="*/ 8302695 w 8882887"/>
              <a:gd name="connsiteY836" fmla="*/ 1529924 h 1682495"/>
              <a:gd name="connsiteX837" fmla="*/ 8302695 w 8882887"/>
              <a:gd name="connsiteY837" fmla="*/ 1578741 h 1682495"/>
              <a:gd name="connsiteX838" fmla="*/ 8429747 w 8882887"/>
              <a:gd name="connsiteY838" fmla="*/ 1568280 h 1682495"/>
              <a:gd name="connsiteX839" fmla="*/ 8429747 w 8882887"/>
              <a:gd name="connsiteY839" fmla="*/ 1519463 h 1682495"/>
              <a:gd name="connsiteX840" fmla="*/ 8496619 w 8882887"/>
              <a:gd name="connsiteY840" fmla="*/ 1519463 h 1682495"/>
              <a:gd name="connsiteX841" fmla="*/ 8496619 w 8882887"/>
              <a:gd name="connsiteY841" fmla="*/ 1491567 h 1682495"/>
              <a:gd name="connsiteX842" fmla="*/ 8637047 w 8882887"/>
              <a:gd name="connsiteY842" fmla="*/ 1491567 h 1682495"/>
              <a:gd name="connsiteX843" fmla="*/ 8637047 w 8882887"/>
              <a:gd name="connsiteY843" fmla="*/ 1509002 h 1682495"/>
              <a:gd name="connsiteX844" fmla="*/ 8727321 w 8882887"/>
              <a:gd name="connsiteY844" fmla="*/ 1509002 h 1682495"/>
              <a:gd name="connsiteX845" fmla="*/ 8727321 w 8882887"/>
              <a:gd name="connsiteY845" fmla="*/ 1519463 h 1682495"/>
              <a:gd name="connsiteX846" fmla="*/ 8754069 w 8882887"/>
              <a:gd name="connsiteY846" fmla="*/ 1519463 h 1682495"/>
              <a:gd name="connsiteX847" fmla="*/ 8754069 w 8882887"/>
              <a:gd name="connsiteY847" fmla="*/ 1529924 h 1682495"/>
              <a:gd name="connsiteX848" fmla="*/ 8777473 w 8882887"/>
              <a:gd name="connsiteY848" fmla="*/ 1529924 h 1682495"/>
              <a:gd name="connsiteX849" fmla="*/ 8777473 w 8882887"/>
              <a:gd name="connsiteY849" fmla="*/ 1499913 h 1682495"/>
              <a:gd name="connsiteX850" fmla="*/ 8882887 w 8882887"/>
              <a:gd name="connsiteY850" fmla="*/ 1682495 h 1682495"/>
              <a:gd name="connsiteX851" fmla="*/ 0 w 8882887"/>
              <a:gd name="connsiteY851" fmla="*/ 1682495 h 1682495"/>
              <a:gd name="connsiteX852" fmla="*/ 63077 w 8882887"/>
              <a:gd name="connsiteY852" fmla="*/ 1573241 h 1682495"/>
              <a:gd name="connsiteX853" fmla="*/ 123345 w 8882887"/>
              <a:gd name="connsiteY853" fmla="*/ 1568279 h 1682495"/>
              <a:gd name="connsiteX854" fmla="*/ 123345 w 8882887"/>
              <a:gd name="connsiteY854" fmla="*/ 1519461 h 1682495"/>
              <a:gd name="connsiteX855" fmla="*/ 190215 w 8882887"/>
              <a:gd name="connsiteY855" fmla="*/ 1519461 h 1682495"/>
              <a:gd name="connsiteX856" fmla="*/ 190215 w 8882887"/>
              <a:gd name="connsiteY856" fmla="*/ 1491566 h 1682495"/>
              <a:gd name="connsiteX857" fmla="*/ 330643 w 8882887"/>
              <a:gd name="connsiteY857" fmla="*/ 1491566 h 1682495"/>
              <a:gd name="connsiteX858" fmla="*/ 330643 w 8882887"/>
              <a:gd name="connsiteY858" fmla="*/ 1509000 h 1682495"/>
              <a:gd name="connsiteX859" fmla="*/ 420917 w 8882887"/>
              <a:gd name="connsiteY859" fmla="*/ 1509000 h 1682495"/>
              <a:gd name="connsiteX860" fmla="*/ 420917 w 8882887"/>
              <a:gd name="connsiteY860" fmla="*/ 1519461 h 1682495"/>
              <a:gd name="connsiteX861" fmla="*/ 447665 w 8882887"/>
              <a:gd name="connsiteY861" fmla="*/ 1519461 h 1682495"/>
              <a:gd name="connsiteX862" fmla="*/ 447665 w 8882887"/>
              <a:gd name="connsiteY862" fmla="*/ 1529922 h 1682495"/>
              <a:gd name="connsiteX863" fmla="*/ 471070 w 8882887"/>
              <a:gd name="connsiteY863" fmla="*/ 1529922 h 1682495"/>
              <a:gd name="connsiteX864" fmla="*/ 471070 w 8882887"/>
              <a:gd name="connsiteY864" fmla="*/ 1373009 h 1682495"/>
              <a:gd name="connsiteX865" fmla="*/ 541285 w 8882887"/>
              <a:gd name="connsiteY865" fmla="*/ 1352087 h 1682495"/>
              <a:gd name="connsiteX866" fmla="*/ 671681 w 8882887"/>
              <a:gd name="connsiteY866" fmla="*/ 1352087 h 1682495"/>
              <a:gd name="connsiteX867" fmla="*/ 671681 w 8882887"/>
              <a:gd name="connsiteY867" fmla="*/ 1101026 h 1682495"/>
              <a:gd name="connsiteX868" fmla="*/ 708460 w 8882887"/>
              <a:gd name="connsiteY868" fmla="*/ 1083590 h 1682495"/>
              <a:gd name="connsiteX869" fmla="*/ 868949 w 8882887"/>
              <a:gd name="connsiteY869" fmla="*/ 1055694 h 1682495"/>
              <a:gd name="connsiteX870" fmla="*/ 925789 w 8882887"/>
              <a:gd name="connsiteY870" fmla="*/ 1073129 h 1682495"/>
              <a:gd name="connsiteX871" fmla="*/ 935819 w 8882887"/>
              <a:gd name="connsiteY871" fmla="*/ 1083590 h 1682495"/>
              <a:gd name="connsiteX872" fmla="*/ 935819 w 8882887"/>
              <a:gd name="connsiteY872" fmla="*/ 1550844 h 1682495"/>
              <a:gd name="connsiteX873" fmla="*/ 959224 w 8882887"/>
              <a:gd name="connsiteY873" fmla="*/ 1550844 h 1682495"/>
              <a:gd name="connsiteX874" fmla="*/ 959224 w 8882887"/>
              <a:gd name="connsiteY874" fmla="*/ 1362548 h 1682495"/>
              <a:gd name="connsiteX875" fmla="*/ 979285 w 8882887"/>
              <a:gd name="connsiteY875" fmla="*/ 1362548 h 1682495"/>
              <a:gd name="connsiteX876" fmla="*/ 979285 w 8882887"/>
              <a:gd name="connsiteY876" fmla="*/ 1345113 h 1682495"/>
              <a:gd name="connsiteX877" fmla="*/ 999346 w 8882887"/>
              <a:gd name="connsiteY877" fmla="*/ 1334652 h 1682495"/>
              <a:gd name="connsiteX878" fmla="*/ 1016063 w 8882887"/>
              <a:gd name="connsiteY878" fmla="*/ 1334652 h 1682495"/>
              <a:gd name="connsiteX879" fmla="*/ 1016063 w 8882887"/>
              <a:gd name="connsiteY879" fmla="*/ 1317218 h 1682495"/>
              <a:gd name="connsiteX880" fmla="*/ 1029437 w 8882887"/>
              <a:gd name="connsiteY880" fmla="*/ 1306757 h 1682495"/>
              <a:gd name="connsiteX881" fmla="*/ 1062874 w 8882887"/>
              <a:gd name="connsiteY881" fmla="*/ 1306757 h 1682495"/>
              <a:gd name="connsiteX882" fmla="*/ 1062874 w 8882887"/>
              <a:gd name="connsiteY882" fmla="*/ 1362548 h 1682495"/>
              <a:gd name="connsiteX883" fmla="*/ 1133087 w 8882887"/>
              <a:gd name="connsiteY883" fmla="*/ 1362548 h 1682495"/>
              <a:gd name="connsiteX884" fmla="*/ 1133087 w 8882887"/>
              <a:gd name="connsiteY884" fmla="*/ 1557819 h 1682495"/>
              <a:gd name="connsiteX885" fmla="*/ 1159835 w 8882887"/>
              <a:gd name="connsiteY885" fmla="*/ 1557819 h 1682495"/>
              <a:gd name="connsiteX886" fmla="*/ 1186583 w 8882887"/>
              <a:gd name="connsiteY886" fmla="*/ 1547358 h 1682495"/>
              <a:gd name="connsiteX887" fmla="*/ 1186583 w 8882887"/>
              <a:gd name="connsiteY887" fmla="*/ 1533410 h 1682495"/>
              <a:gd name="connsiteX888" fmla="*/ 1176553 w 8882887"/>
              <a:gd name="connsiteY888" fmla="*/ 1529922 h 1682495"/>
              <a:gd name="connsiteX889" fmla="*/ 1176553 w 8882887"/>
              <a:gd name="connsiteY889" fmla="*/ 1519461 h 1682495"/>
              <a:gd name="connsiteX890" fmla="*/ 1186583 w 8882887"/>
              <a:gd name="connsiteY890" fmla="*/ 1512488 h 1682495"/>
              <a:gd name="connsiteX891" fmla="*/ 1186583 w 8882887"/>
              <a:gd name="connsiteY891" fmla="*/ 1435775 h 1682495"/>
              <a:gd name="connsiteX892" fmla="*/ 1176553 w 8882887"/>
              <a:gd name="connsiteY892" fmla="*/ 1432287 h 1682495"/>
              <a:gd name="connsiteX893" fmla="*/ 1176553 w 8882887"/>
              <a:gd name="connsiteY893" fmla="*/ 1421826 h 1682495"/>
              <a:gd name="connsiteX894" fmla="*/ 1186583 w 8882887"/>
              <a:gd name="connsiteY894" fmla="*/ 1414853 h 1682495"/>
              <a:gd name="connsiteX895" fmla="*/ 1193271 w 8882887"/>
              <a:gd name="connsiteY895" fmla="*/ 1407879 h 1682495"/>
              <a:gd name="connsiteX896" fmla="*/ 1193271 w 8882887"/>
              <a:gd name="connsiteY896" fmla="*/ 1393931 h 1682495"/>
              <a:gd name="connsiteX897" fmla="*/ 1186583 w 8882887"/>
              <a:gd name="connsiteY897" fmla="*/ 1393931 h 1682495"/>
              <a:gd name="connsiteX898" fmla="*/ 1186583 w 8882887"/>
              <a:gd name="connsiteY898" fmla="*/ 1383470 h 1682495"/>
              <a:gd name="connsiteX899" fmla="*/ 1196614 w 8882887"/>
              <a:gd name="connsiteY899" fmla="*/ 1376496 h 1682495"/>
              <a:gd name="connsiteX900" fmla="*/ 1250110 w 8882887"/>
              <a:gd name="connsiteY900" fmla="*/ 1278861 h 1682495"/>
              <a:gd name="connsiteX901" fmla="*/ 1243423 w 8882887"/>
              <a:gd name="connsiteY901" fmla="*/ 1275374 h 1682495"/>
              <a:gd name="connsiteX902" fmla="*/ 1243423 w 8882887"/>
              <a:gd name="connsiteY902" fmla="*/ 1264913 h 1682495"/>
              <a:gd name="connsiteX903" fmla="*/ 1253453 w 8882887"/>
              <a:gd name="connsiteY903" fmla="*/ 1261425 h 1682495"/>
              <a:gd name="connsiteX904" fmla="*/ 1253453 w 8882887"/>
              <a:gd name="connsiteY904" fmla="*/ 1247478 h 1682495"/>
              <a:gd name="connsiteX905" fmla="*/ 1260141 w 8882887"/>
              <a:gd name="connsiteY905" fmla="*/ 1247478 h 1682495"/>
              <a:gd name="connsiteX906" fmla="*/ 1260141 w 8882887"/>
              <a:gd name="connsiteY906" fmla="*/ 1216095 h 1682495"/>
              <a:gd name="connsiteX907" fmla="*/ 1253453 w 8882887"/>
              <a:gd name="connsiteY907" fmla="*/ 1216095 h 1682495"/>
              <a:gd name="connsiteX908" fmla="*/ 1253453 w 8882887"/>
              <a:gd name="connsiteY908" fmla="*/ 1209122 h 1682495"/>
              <a:gd name="connsiteX909" fmla="*/ 1260141 w 8882887"/>
              <a:gd name="connsiteY909" fmla="*/ 1205634 h 1682495"/>
              <a:gd name="connsiteX910" fmla="*/ 1276858 w 8882887"/>
              <a:gd name="connsiteY910" fmla="*/ 1181225 h 1682495"/>
              <a:gd name="connsiteX911" fmla="*/ 1280201 w 8882887"/>
              <a:gd name="connsiteY911" fmla="*/ 1167278 h 1682495"/>
              <a:gd name="connsiteX912" fmla="*/ 1280201 w 8882887"/>
              <a:gd name="connsiteY912" fmla="*/ 1128921 h 1682495"/>
              <a:gd name="connsiteX913" fmla="*/ 1280620 w 8882887"/>
              <a:gd name="connsiteY913" fmla="*/ 1127613 h 1682495"/>
              <a:gd name="connsiteX914" fmla="*/ 1283545 w 8882887"/>
              <a:gd name="connsiteY914" fmla="*/ 1118460 h 1682495"/>
              <a:gd name="connsiteX915" fmla="*/ 1283963 w 8882887"/>
              <a:gd name="connsiteY915" fmla="*/ 1119768 h 1682495"/>
              <a:gd name="connsiteX916" fmla="*/ 1286889 w 8882887"/>
              <a:gd name="connsiteY916" fmla="*/ 1128921 h 1682495"/>
              <a:gd name="connsiteX917" fmla="*/ 1290232 w 8882887"/>
              <a:gd name="connsiteY917" fmla="*/ 1167278 h 1682495"/>
              <a:gd name="connsiteX918" fmla="*/ 1290232 w 8882887"/>
              <a:gd name="connsiteY918" fmla="*/ 1177739 h 1682495"/>
              <a:gd name="connsiteX919" fmla="*/ 1306951 w 8882887"/>
              <a:gd name="connsiteY919" fmla="*/ 1205634 h 1682495"/>
              <a:gd name="connsiteX920" fmla="*/ 1313638 w 8882887"/>
              <a:gd name="connsiteY920" fmla="*/ 1209122 h 1682495"/>
              <a:gd name="connsiteX921" fmla="*/ 1313638 w 8882887"/>
              <a:gd name="connsiteY921" fmla="*/ 1216095 h 1682495"/>
              <a:gd name="connsiteX922" fmla="*/ 1310295 w 8882887"/>
              <a:gd name="connsiteY922" fmla="*/ 1247478 h 1682495"/>
              <a:gd name="connsiteX923" fmla="*/ 1316981 w 8882887"/>
              <a:gd name="connsiteY923" fmla="*/ 1261425 h 1682495"/>
              <a:gd name="connsiteX924" fmla="*/ 1323669 w 8882887"/>
              <a:gd name="connsiteY924" fmla="*/ 1264913 h 1682495"/>
              <a:gd name="connsiteX925" fmla="*/ 1323669 w 8882887"/>
              <a:gd name="connsiteY925" fmla="*/ 1275374 h 1682495"/>
              <a:gd name="connsiteX926" fmla="*/ 1316981 w 8882887"/>
              <a:gd name="connsiteY926" fmla="*/ 1278861 h 1682495"/>
              <a:gd name="connsiteX927" fmla="*/ 1356268 w 8882887"/>
              <a:gd name="connsiteY927" fmla="*/ 1319833 h 1682495"/>
              <a:gd name="connsiteX928" fmla="*/ 1369603 w 8882887"/>
              <a:gd name="connsiteY928" fmla="*/ 1373009 h 1682495"/>
              <a:gd name="connsiteX929" fmla="*/ 1417287 w 8882887"/>
              <a:gd name="connsiteY929" fmla="*/ 1373009 h 1682495"/>
              <a:gd name="connsiteX930" fmla="*/ 1417287 w 8882887"/>
              <a:gd name="connsiteY930" fmla="*/ 1329494 h 1682495"/>
              <a:gd name="connsiteX931" fmla="*/ 1409211 w 8882887"/>
              <a:gd name="connsiteY931" fmla="*/ 1329494 h 1682495"/>
              <a:gd name="connsiteX932" fmla="*/ 1409211 w 8882887"/>
              <a:gd name="connsiteY932" fmla="*/ 1086294 h 1682495"/>
              <a:gd name="connsiteX933" fmla="*/ 1439612 w 8882887"/>
              <a:gd name="connsiteY933" fmla="*/ 1086294 h 1682495"/>
              <a:gd name="connsiteX934" fmla="*/ 1440372 w 8882887"/>
              <a:gd name="connsiteY934" fmla="*/ 1084673 h 1682495"/>
              <a:gd name="connsiteX935" fmla="*/ 1445691 w 8882887"/>
              <a:gd name="connsiteY935" fmla="*/ 1073324 h 1682495"/>
              <a:gd name="connsiteX936" fmla="*/ 1448352 w 8882887"/>
              <a:gd name="connsiteY936" fmla="*/ 1073729 h 1682495"/>
              <a:gd name="connsiteX937" fmla="*/ 1466972 w 8882887"/>
              <a:gd name="connsiteY937" fmla="*/ 1076565 h 1682495"/>
              <a:gd name="connsiteX938" fmla="*/ 1467732 w 8882887"/>
              <a:gd name="connsiteY938" fmla="*/ 1078593 h 1682495"/>
              <a:gd name="connsiteX939" fmla="*/ 1473051 w 8882887"/>
              <a:gd name="connsiteY939" fmla="*/ 1092779 h 1682495"/>
              <a:gd name="connsiteX940" fmla="*/ 1512572 w 8882887"/>
              <a:gd name="connsiteY940" fmla="*/ 1096022 h 1682495"/>
              <a:gd name="connsiteX941" fmla="*/ 1512572 w 8882887"/>
              <a:gd name="connsiteY941" fmla="*/ 911190 h 1682495"/>
              <a:gd name="connsiteX942" fmla="*/ 1515612 w 8882887"/>
              <a:gd name="connsiteY942" fmla="*/ 911190 h 1682495"/>
              <a:gd name="connsiteX943" fmla="*/ 1536893 w 8882887"/>
              <a:gd name="connsiteY943" fmla="*/ 911190 h 1682495"/>
              <a:gd name="connsiteX944" fmla="*/ 1536893 w 8882887"/>
              <a:gd name="connsiteY944" fmla="*/ 706902 h 1682495"/>
              <a:gd name="connsiteX945" fmla="*/ 1539552 w 8882887"/>
              <a:gd name="connsiteY945" fmla="*/ 706902 h 1682495"/>
              <a:gd name="connsiteX946" fmla="*/ 1558173 w 8882887"/>
              <a:gd name="connsiteY946" fmla="*/ 706902 h 1682495"/>
              <a:gd name="connsiteX947" fmla="*/ 1558173 w 8882887"/>
              <a:gd name="connsiteY947" fmla="*/ 535041 h 1682495"/>
              <a:gd name="connsiteX948" fmla="*/ 1564253 w 8882887"/>
              <a:gd name="connsiteY948" fmla="*/ 492885 h 1682495"/>
              <a:gd name="connsiteX949" fmla="*/ 1567293 w 8882887"/>
              <a:gd name="connsiteY949" fmla="*/ 492885 h 1682495"/>
              <a:gd name="connsiteX950" fmla="*/ 1588574 w 8882887"/>
              <a:gd name="connsiteY950" fmla="*/ 492885 h 1682495"/>
              <a:gd name="connsiteX951" fmla="*/ 1643294 w 8882887"/>
              <a:gd name="connsiteY951" fmla="*/ 369665 h 1682495"/>
              <a:gd name="connsiteX952" fmla="*/ 1649375 w 8882887"/>
              <a:gd name="connsiteY952" fmla="*/ 0 h 168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Lst>
            <a:rect l="l" t="t" r="r" b="b"/>
            <a:pathLst>
              <a:path w="8882887" h="1682495">
                <a:moveTo>
                  <a:pt x="1649375" y="0"/>
                </a:moveTo>
                <a:cubicBezTo>
                  <a:pt x="1649375" y="27"/>
                  <a:pt x="1649399" y="3060"/>
                  <a:pt x="1652414" y="369665"/>
                </a:cubicBezTo>
                <a:cubicBezTo>
                  <a:pt x="1652432" y="369701"/>
                  <a:pt x="1653399" y="371712"/>
                  <a:pt x="1710174" y="489644"/>
                </a:cubicBezTo>
                <a:cubicBezTo>
                  <a:pt x="1710186" y="489644"/>
                  <a:pt x="1710353" y="489644"/>
                  <a:pt x="1713215" y="489644"/>
                </a:cubicBezTo>
                <a:lnTo>
                  <a:pt x="1734495" y="489644"/>
                </a:lnTo>
                <a:cubicBezTo>
                  <a:pt x="1734495" y="489665"/>
                  <a:pt x="1734495" y="490508"/>
                  <a:pt x="1734495" y="525312"/>
                </a:cubicBezTo>
                <a:cubicBezTo>
                  <a:pt x="1734498" y="525321"/>
                  <a:pt x="1734555" y="525408"/>
                  <a:pt x="1735256" y="526529"/>
                </a:cubicBezTo>
                <a:lnTo>
                  <a:pt x="1740575" y="535041"/>
                </a:lnTo>
                <a:cubicBezTo>
                  <a:pt x="1740575" y="535071"/>
                  <a:pt x="1740575" y="537344"/>
                  <a:pt x="1740575" y="706902"/>
                </a:cubicBezTo>
                <a:cubicBezTo>
                  <a:pt x="1740588" y="706902"/>
                  <a:pt x="1740798" y="706902"/>
                  <a:pt x="1743995" y="706902"/>
                </a:cubicBezTo>
                <a:lnTo>
                  <a:pt x="1767936" y="706902"/>
                </a:lnTo>
                <a:cubicBezTo>
                  <a:pt x="1767936" y="706932"/>
                  <a:pt x="1767936" y="709385"/>
                  <a:pt x="1767936" y="917675"/>
                </a:cubicBezTo>
                <a:cubicBezTo>
                  <a:pt x="1767951" y="917673"/>
                  <a:pt x="1768119" y="917642"/>
                  <a:pt x="1770216" y="917270"/>
                </a:cubicBezTo>
                <a:lnTo>
                  <a:pt x="1786176" y="914433"/>
                </a:lnTo>
                <a:cubicBezTo>
                  <a:pt x="1786176" y="914466"/>
                  <a:pt x="1786131" y="916467"/>
                  <a:pt x="1783136" y="1047381"/>
                </a:cubicBezTo>
                <a:cubicBezTo>
                  <a:pt x="1783151" y="1047384"/>
                  <a:pt x="1783317" y="1047414"/>
                  <a:pt x="1785416" y="1047788"/>
                </a:cubicBezTo>
                <a:lnTo>
                  <a:pt x="1801376" y="1050624"/>
                </a:lnTo>
                <a:cubicBezTo>
                  <a:pt x="1801379" y="1050635"/>
                  <a:pt x="1801409" y="1050731"/>
                  <a:pt x="1801755" y="1051841"/>
                </a:cubicBezTo>
                <a:lnTo>
                  <a:pt x="1804416" y="1060353"/>
                </a:lnTo>
                <a:cubicBezTo>
                  <a:pt x="1804419" y="1060340"/>
                  <a:pt x="1804487" y="1060125"/>
                  <a:pt x="1805556" y="1056705"/>
                </a:cubicBezTo>
                <a:lnTo>
                  <a:pt x="1813536" y="1031169"/>
                </a:lnTo>
                <a:cubicBezTo>
                  <a:pt x="1813547" y="1031169"/>
                  <a:pt x="1813697" y="1031169"/>
                  <a:pt x="1816196" y="1031169"/>
                </a:cubicBezTo>
                <a:lnTo>
                  <a:pt x="1834817" y="1031169"/>
                </a:lnTo>
                <a:cubicBezTo>
                  <a:pt x="1834817" y="1031195"/>
                  <a:pt x="1834817" y="1032234"/>
                  <a:pt x="1834817" y="1079808"/>
                </a:cubicBezTo>
                <a:cubicBezTo>
                  <a:pt x="1834826" y="1079816"/>
                  <a:pt x="1834941" y="1079876"/>
                  <a:pt x="1836336" y="1080620"/>
                </a:cubicBezTo>
                <a:lnTo>
                  <a:pt x="1846977" y="1086294"/>
                </a:lnTo>
                <a:cubicBezTo>
                  <a:pt x="1846977" y="1086308"/>
                  <a:pt x="1846977" y="1086459"/>
                  <a:pt x="1846977" y="1088321"/>
                </a:cubicBezTo>
                <a:lnTo>
                  <a:pt x="1846977" y="1102508"/>
                </a:lnTo>
                <a:cubicBezTo>
                  <a:pt x="1847007" y="1102508"/>
                  <a:pt x="1848369" y="1102508"/>
                  <a:pt x="1913858" y="1102508"/>
                </a:cubicBezTo>
                <a:cubicBezTo>
                  <a:pt x="1913858" y="1102520"/>
                  <a:pt x="1913858" y="1102644"/>
                  <a:pt x="1913858" y="1104129"/>
                </a:cubicBezTo>
                <a:lnTo>
                  <a:pt x="1913858" y="1115478"/>
                </a:lnTo>
                <a:cubicBezTo>
                  <a:pt x="1913871" y="1115478"/>
                  <a:pt x="1914053" y="1115478"/>
                  <a:pt x="1916897" y="1115478"/>
                </a:cubicBezTo>
                <a:lnTo>
                  <a:pt x="1938177" y="1115478"/>
                </a:lnTo>
                <a:cubicBezTo>
                  <a:pt x="1938177" y="1115451"/>
                  <a:pt x="1938177" y="1114358"/>
                  <a:pt x="1938177" y="1070081"/>
                </a:cubicBezTo>
                <a:cubicBezTo>
                  <a:pt x="1938209" y="1070081"/>
                  <a:pt x="1939604" y="1070081"/>
                  <a:pt x="2005058" y="1070081"/>
                </a:cubicBezTo>
                <a:cubicBezTo>
                  <a:pt x="2005058" y="1070069"/>
                  <a:pt x="2005058" y="1069923"/>
                  <a:pt x="2005058" y="1068054"/>
                </a:cubicBezTo>
                <a:lnTo>
                  <a:pt x="2005058" y="1053867"/>
                </a:lnTo>
                <a:cubicBezTo>
                  <a:pt x="2005067" y="1053867"/>
                  <a:pt x="2005178" y="1053867"/>
                  <a:pt x="2006579" y="1053867"/>
                </a:cubicBezTo>
                <a:lnTo>
                  <a:pt x="2017218" y="1053867"/>
                </a:lnTo>
                <a:cubicBezTo>
                  <a:pt x="2017218" y="1053857"/>
                  <a:pt x="2017218" y="1053687"/>
                  <a:pt x="2017218" y="1051031"/>
                </a:cubicBezTo>
                <a:lnTo>
                  <a:pt x="2017218" y="1031169"/>
                </a:lnTo>
                <a:cubicBezTo>
                  <a:pt x="2017232" y="1031169"/>
                  <a:pt x="2017340" y="1031169"/>
                  <a:pt x="2018358" y="1031169"/>
                </a:cubicBezTo>
                <a:lnTo>
                  <a:pt x="2026338" y="1031169"/>
                </a:lnTo>
                <a:cubicBezTo>
                  <a:pt x="2026338" y="1031159"/>
                  <a:pt x="2026338" y="1031031"/>
                  <a:pt x="2026338" y="1029548"/>
                </a:cubicBezTo>
                <a:lnTo>
                  <a:pt x="2026338" y="1018197"/>
                </a:lnTo>
                <a:cubicBezTo>
                  <a:pt x="2026350" y="1018197"/>
                  <a:pt x="2026536" y="1018197"/>
                  <a:pt x="2029379" y="1018197"/>
                </a:cubicBezTo>
                <a:lnTo>
                  <a:pt x="2050659" y="1018197"/>
                </a:lnTo>
                <a:cubicBezTo>
                  <a:pt x="2050659" y="1018208"/>
                  <a:pt x="2050659" y="1018323"/>
                  <a:pt x="2050659" y="1019819"/>
                </a:cubicBezTo>
                <a:lnTo>
                  <a:pt x="2050659" y="1031169"/>
                </a:lnTo>
                <a:cubicBezTo>
                  <a:pt x="2050676" y="1031169"/>
                  <a:pt x="2051427" y="1031169"/>
                  <a:pt x="2084099" y="1031169"/>
                </a:cubicBezTo>
                <a:cubicBezTo>
                  <a:pt x="2084099" y="1031157"/>
                  <a:pt x="2084099" y="1030986"/>
                  <a:pt x="2084099" y="1028331"/>
                </a:cubicBezTo>
                <a:lnTo>
                  <a:pt x="2084099" y="1008470"/>
                </a:lnTo>
                <a:cubicBezTo>
                  <a:pt x="2084108" y="1008470"/>
                  <a:pt x="2084253" y="1008470"/>
                  <a:pt x="2086760" y="1008470"/>
                </a:cubicBezTo>
                <a:lnTo>
                  <a:pt x="2105379" y="1008470"/>
                </a:lnTo>
                <a:cubicBezTo>
                  <a:pt x="2105379" y="1008488"/>
                  <a:pt x="2105379" y="1009259"/>
                  <a:pt x="2105379" y="1044140"/>
                </a:cubicBezTo>
                <a:cubicBezTo>
                  <a:pt x="2105390" y="1044140"/>
                  <a:pt x="2105510" y="1044140"/>
                  <a:pt x="2106900" y="1044140"/>
                </a:cubicBezTo>
                <a:lnTo>
                  <a:pt x="2117540" y="1044140"/>
                </a:lnTo>
                <a:cubicBezTo>
                  <a:pt x="2117540" y="1044131"/>
                  <a:pt x="2117540" y="1044009"/>
                  <a:pt x="2117540" y="1042518"/>
                </a:cubicBezTo>
                <a:lnTo>
                  <a:pt x="2117540" y="1031169"/>
                </a:lnTo>
                <a:cubicBezTo>
                  <a:pt x="2117553" y="1031169"/>
                  <a:pt x="2117730" y="1031169"/>
                  <a:pt x="2120199" y="1031169"/>
                </a:cubicBezTo>
                <a:lnTo>
                  <a:pt x="2138820" y="1031169"/>
                </a:lnTo>
                <a:cubicBezTo>
                  <a:pt x="2138820" y="1031189"/>
                  <a:pt x="2138820" y="1032027"/>
                  <a:pt x="2138820" y="1070081"/>
                </a:cubicBezTo>
                <a:cubicBezTo>
                  <a:pt x="2138832" y="1070081"/>
                  <a:pt x="2139009" y="1070081"/>
                  <a:pt x="2141861" y="1070081"/>
                </a:cubicBezTo>
                <a:lnTo>
                  <a:pt x="2163140" y="1070081"/>
                </a:lnTo>
                <a:cubicBezTo>
                  <a:pt x="2163140" y="1070097"/>
                  <a:pt x="2163140" y="1070270"/>
                  <a:pt x="2163140" y="1072512"/>
                </a:cubicBezTo>
                <a:lnTo>
                  <a:pt x="2163140" y="1089537"/>
                </a:lnTo>
                <a:cubicBezTo>
                  <a:pt x="2163152" y="1089537"/>
                  <a:pt x="2163258" y="1089537"/>
                  <a:pt x="2164280" y="1089537"/>
                </a:cubicBezTo>
                <a:lnTo>
                  <a:pt x="2172261" y="1089537"/>
                </a:lnTo>
                <a:cubicBezTo>
                  <a:pt x="2172261" y="1089525"/>
                  <a:pt x="2172261" y="1089411"/>
                  <a:pt x="2172261" y="1088321"/>
                </a:cubicBezTo>
                <a:lnTo>
                  <a:pt x="2172261" y="1079808"/>
                </a:lnTo>
                <a:cubicBezTo>
                  <a:pt x="2172287" y="1079808"/>
                  <a:pt x="2173365" y="1079808"/>
                  <a:pt x="2217861" y="1079808"/>
                </a:cubicBezTo>
                <a:cubicBezTo>
                  <a:pt x="2217861" y="1079829"/>
                  <a:pt x="2217861" y="1080674"/>
                  <a:pt x="2217861" y="1115478"/>
                </a:cubicBezTo>
                <a:cubicBezTo>
                  <a:pt x="2217872" y="1115478"/>
                  <a:pt x="2217990" y="1115478"/>
                  <a:pt x="2219381" y="1115478"/>
                </a:cubicBezTo>
                <a:lnTo>
                  <a:pt x="2230022" y="1115478"/>
                </a:lnTo>
                <a:cubicBezTo>
                  <a:pt x="2230022" y="1115489"/>
                  <a:pt x="2230022" y="1115598"/>
                  <a:pt x="2230022" y="1117100"/>
                </a:cubicBezTo>
                <a:lnTo>
                  <a:pt x="2230022" y="1128449"/>
                </a:lnTo>
                <a:cubicBezTo>
                  <a:pt x="2230035" y="1128449"/>
                  <a:pt x="2230145" y="1128449"/>
                  <a:pt x="2231162" y="1128449"/>
                </a:cubicBezTo>
                <a:lnTo>
                  <a:pt x="2239142" y="1128449"/>
                </a:lnTo>
                <a:cubicBezTo>
                  <a:pt x="2239142" y="1128438"/>
                  <a:pt x="2239142" y="1128258"/>
                  <a:pt x="2239142" y="1125206"/>
                </a:cubicBezTo>
                <a:lnTo>
                  <a:pt x="2239142" y="1102508"/>
                </a:lnTo>
                <a:cubicBezTo>
                  <a:pt x="2239152" y="1102508"/>
                  <a:pt x="2239269" y="1102508"/>
                  <a:pt x="2240661" y="1102508"/>
                </a:cubicBezTo>
                <a:lnTo>
                  <a:pt x="2251302" y="1102508"/>
                </a:lnTo>
                <a:cubicBezTo>
                  <a:pt x="2251302" y="1102520"/>
                  <a:pt x="2251302" y="1102644"/>
                  <a:pt x="2251302" y="1104129"/>
                </a:cubicBezTo>
                <a:lnTo>
                  <a:pt x="2251302" y="1115478"/>
                </a:lnTo>
                <a:lnTo>
                  <a:pt x="2259282" y="1112489"/>
                </a:lnTo>
                <a:cubicBezTo>
                  <a:pt x="2260422" y="1111931"/>
                  <a:pt x="2260422" y="1111628"/>
                  <a:pt x="2260422" y="1111019"/>
                </a:cubicBezTo>
                <a:lnTo>
                  <a:pt x="2260422" y="1102508"/>
                </a:lnTo>
                <a:cubicBezTo>
                  <a:pt x="2260448" y="1102508"/>
                  <a:pt x="2261649" y="1102508"/>
                  <a:pt x="2318183" y="1102508"/>
                </a:cubicBezTo>
                <a:cubicBezTo>
                  <a:pt x="2318183" y="1102529"/>
                  <a:pt x="2318183" y="1103349"/>
                  <a:pt x="2318183" y="1138176"/>
                </a:cubicBezTo>
                <a:cubicBezTo>
                  <a:pt x="2318195" y="1138176"/>
                  <a:pt x="2318372" y="1138176"/>
                  <a:pt x="2321222" y="1138176"/>
                </a:cubicBezTo>
                <a:lnTo>
                  <a:pt x="2342502" y="1138176"/>
                </a:lnTo>
                <a:cubicBezTo>
                  <a:pt x="2342502" y="1138188"/>
                  <a:pt x="2342502" y="1138311"/>
                  <a:pt x="2342502" y="1139798"/>
                </a:cubicBezTo>
                <a:lnTo>
                  <a:pt x="2342502" y="1151147"/>
                </a:lnTo>
                <a:cubicBezTo>
                  <a:pt x="2342516" y="1151147"/>
                  <a:pt x="2342700" y="1151147"/>
                  <a:pt x="2345163" y="1151147"/>
                </a:cubicBezTo>
                <a:lnTo>
                  <a:pt x="2363783" y="1151147"/>
                </a:lnTo>
                <a:cubicBezTo>
                  <a:pt x="2363783" y="1151129"/>
                  <a:pt x="2363783" y="1150362"/>
                  <a:pt x="2363783" y="1115478"/>
                </a:cubicBezTo>
                <a:cubicBezTo>
                  <a:pt x="2363793" y="1115478"/>
                  <a:pt x="2363910" y="1115478"/>
                  <a:pt x="2365302" y="1115478"/>
                </a:cubicBezTo>
                <a:lnTo>
                  <a:pt x="2375943" y="1115478"/>
                </a:lnTo>
                <a:cubicBezTo>
                  <a:pt x="2375943" y="1115450"/>
                  <a:pt x="2375943" y="1114293"/>
                  <a:pt x="2375943" y="1066838"/>
                </a:cubicBezTo>
                <a:cubicBezTo>
                  <a:pt x="2375954" y="1066838"/>
                  <a:pt x="2376069" y="1066838"/>
                  <a:pt x="2377463" y="1066838"/>
                </a:cubicBezTo>
                <a:lnTo>
                  <a:pt x="2388104" y="1066838"/>
                </a:lnTo>
                <a:cubicBezTo>
                  <a:pt x="2388104" y="1066829"/>
                  <a:pt x="2388104" y="1066665"/>
                  <a:pt x="2388104" y="1064001"/>
                </a:cubicBezTo>
                <a:lnTo>
                  <a:pt x="2388104" y="1044140"/>
                </a:lnTo>
                <a:cubicBezTo>
                  <a:pt x="2385063" y="1044140"/>
                  <a:pt x="2385063" y="1044140"/>
                  <a:pt x="2386203" y="1041707"/>
                </a:cubicBezTo>
                <a:lnTo>
                  <a:pt x="2394183" y="1024683"/>
                </a:lnTo>
                <a:cubicBezTo>
                  <a:pt x="2394191" y="1024709"/>
                  <a:pt x="2394483" y="1025720"/>
                  <a:pt x="2406344" y="1066838"/>
                </a:cubicBezTo>
                <a:cubicBezTo>
                  <a:pt x="2406356" y="1066838"/>
                  <a:pt x="2406465" y="1066838"/>
                  <a:pt x="2407484" y="1066838"/>
                </a:cubicBezTo>
                <a:lnTo>
                  <a:pt x="2415464" y="1066838"/>
                </a:lnTo>
                <a:cubicBezTo>
                  <a:pt x="2415464" y="1066818"/>
                  <a:pt x="2415464" y="1065050"/>
                  <a:pt x="2415464" y="907947"/>
                </a:cubicBezTo>
                <a:cubicBezTo>
                  <a:pt x="2415479" y="907947"/>
                  <a:pt x="2415650" y="907947"/>
                  <a:pt x="2417744" y="907947"/>
                </a:cubicBezTo>
                <a:lnTo>
                  <a:pt x="2433704" y="907947"/>
                </a:lnTo>
                <a:cubicBezTo>
                  <a:pt x="2433704" y="907914"/>
                  <a:pt x="2433704" y="906399"/>
                  <a:pt x="2433704" y="836609"/>
                </a:cubicBezTo>
                <a:cubicBezTo>
                  <a:pt x="2433729" y="836609"/>
                  <a:pt x="2434667" y="836609"/>
                  <a:pt x="2473224" y="836609"/>
                </a:cubicBezTo>
                <a:cubicBezTo>
                  <a:pt x="2473224" y="836591"/>
                  <a:pt x="2473224" y="835826"/>
                  <a:pt x="2473224" y="804182"/>
                </a:cubicBezTo>
                <a:cubicBezTo>
                  <a:pt x="2473253" y="804182"/>
                  <a:pt x="2474436" y="804182"/>
                  <a:pt x="2524905" y="804182"/>
                </a:cubicBezTo>
                <a:cubicBezTo>
                  <a:pt x="2524905" y="804194"/>
                  <a:pt x="2524905" y="804389"/>
                  <a:pt x="2524905" y="807830"/>
                </a:cubicBezTo>
                <a:lnTo>
                  <a:pt x="2524905" y="833366"/>
                </a:lnTo>
                <a:cubicBezTo>
                  <a:pt x="2524919" y="833366"/>
                  <a:pt x="2525115" y="833366"/>
                  <a:pt x="2528325" y="833366"/>
                </a:cubicBezTo>
                <a:lnTo>
                  <a:pt x="2552265" y="833366"/>
                </a:lnTo>
                <a:cubicBezTo>
                  <a:pt x="2552265" y="833393"/>
                  <a:pt x="2552265" y="834734"/>
                  <a:pt x="2552265" y="904704"/>
                </a:cubicBezTo>
                <a:cubicBezTo>
                  <a:pt x="2552274" y="904704"/>
                  <a:pt x="2552388" y="904704"/>
                  <a:pt x="2553785" y="904704"/>
                </a:cubicBezTo>
                <a:lnTo>
                  <a:pt x="2564426" y="904704"/>
                </a:lnTo>
                <a:lnTo>
                  <a:pt x="2585706" y="911190"/>
                </a:lnTo>
                <a:cubicBezTo>
                  <a:pt x="2585706" y="911205"/>
                  <a:pt x="2585706" y="912180"/>
                  <a:pt x="2585706" y="969558"/>
                </a:cubicBezTo>
                <a:cubicBezTo>
                  <a:pt x="2585715" y="969558"/>
                  <a:pt x="2585828" y="969558"/>
                  <a:pt x="2587226" y="969558"/>
                </a:cubicBezTo>
                <a:lnTo>
                  <a:pt x="2597865" y="969558"/>
                </a:lnTo>
                <a:cubicBezTo>
                  <a:pt x="2597865" y="969573"/>
                  <a:pt x="2597865" y="969732"/>
                  <a:pt x="2597865" y="971990"/>
                </a:cubicBezTo>
                <a:lnTo>
                  <a:pt x="2597865" y="989013"/>
                </a:lnTo>
                <a:cubicBezTo>
                  <a:pt x="2597877" y="989013"/>
                  <a:pt x="2598063" y="989013"/>
                  <a:pt x="2600906" y="989013"/>
                </a:cubicBezTo>
                <a:lnTo>
                  <a:pt x="2622186" y="989013"/>
                </a:lnTo>
                <a:lnTo>
                  <a:pt x="2631306" y="998742"/>
                </a:lnTo>
                <a:cubicBezTo>
                  <a:pt x="2631306" y="998760"/>
                  <a:pt x="2631306" y="999489"/>
                  <a:pt x="2631306" y="1031169"/>
                </a:cubicBezTo>
                <a:cubicBezTo>
                  <a:pt x="2631320" y="1031169"/>
                  <a:pt x="2631516" y="1031169"/>
                  <a:pt x="2634726" y="1031169"/>
                </a:cubicBezTo>
                <a:lnTo>
                  <a:pt x="2658666" y="1031169"/>
                </a:lnTo>
                <a:cubicBezTo>
                  <a:pt x="2658666" y="1031180"/>
                  <a:pt x="2658666" y="1031300"/>
                  <a:pt x="2658666" y="1032789"/>
                </a:cubicBezTo>
                <a:lnTo>
                  <a:pt x="2658666" y="1044140"/>
                </a:lnTo>
                <a:cubicBezTo>
                  <a:pt x="2658680" y="1044140"/>
                  <a:pt x="2658828" y="1044140"/>
                  <a:pt x="2660567" y="1044140"/>
                </a:cubicBezTo>
                <a:lnTo>
                  <a:pt x="2673867" y="1044140"/>
                </a:lnTo>
                <a:cubicBezTo>
                  <a:pt x="2673867" y="1044153"/>
                  <a:pt x="2673867" y="1044347"/>
                  <a:pt x="2673867" y="1047381"/>
                </a:cubicBezTo>
                <a:lnTo>
                  <a:pt x="2673867" y="1070081"/>
                </a:lnTo>
                <a:cubicBezTo>
                  <a:pt x="2679947" y="1070081"/>
                  <a:pt x="2679947" y="1070081"/>
                  <a:pt x="2679947" y="1067243"/>
                </a:cubicBezTo>
                <a:lnTo>
                  <a:pt x="2679947" y="1047381"/>
                </a:lnTo>
                <a:cubicBezTo>
                  <a:pt x="2679956" y="1047381"/>
                  <a:pt x="2680073" y="1047381"/>
                  <a:pt x="2681466" y="1047381"/>
                </a:cubicBezTo>
                <a:lnTo>
                  <a:pt x="2692107" y="1047381"/>
                </a:lnTo>
                <a:cubicBezTo>
                  <a:pt x="2692107" y="1047398"/>
                  <a:pt x="2692107" y="1047576"/>
                  <a:pt x="2692107" y="1049814"/>
                </a:cubicBezTo>
                <a:lnTo>
                  <a:pt x="2692107" y="1066838"/>
                </a:lnTo>
                <a:cubicBezTo>
                  <a:pt x="2692121" y="1066838"/>
                  <a:pt x="2692230" y="1066838"/>
                  <a:pt x="2693247" y="1066838"/>
                </a:cubicBezTo>
                <a:lnTo>
                  <a:pt x="2701227" y="1066838"/>
                </a:lnTo>
                <a:cubicBezTo>
                  <a:pt x="2701227" y="1060353"/>
                  <a:pt x="2701227" y="1060353"/>
                  <a:pt x="2774187" y="1060353"/>
                </a:cubicBezTo>
                <a:cubicBezTo>
                  <a:pt x="2774187" y="1060367"/>
                  <a:pt x="2774187" y="1060518"/>
                  <a:pt x="2774187" y="1062380"/>
                </a:cubicBezTo>
                <a:lnTo>
                  <a:pt x="2774187" y="1076565"/>
                </a:lnTo>
                <a:cubicBezTo>
                  <a:pt x="2774199" y="1076565"/>
                  <a:pt x="2774312" y="1076565"/>
                  <a:pt x="2775327" y="1076565"/>
                </a:cubicBezTo>
                <a:lnTo>
                  <a:pt x="2783309" y="1076565"/>
                </a:lnTo>
                <a:cubicBezTo>
                  <a:pt x="2783309" y="1076579"/>
                  <a:pt x="2783309" y="1076762"/>
                  <a:pt x="2783309" y="1079808"/>
                </a:cubicBezTo>
                <a:lnTo>
                  <a:pt x="2783309" y="1102508"/>
                </a:lnTo>
                <a:cubicBezTo>
                  <a:pt x="2783321" y="1102502"/>
                  <a:pt x="2783495" y="1102385"/>
                  <a:pt x="2786348" y="1100481"/>
                </a:cubicBezTo>
                <a:lnTo>
                  <a:pt x="2807628" y="1086294"/>
                </a:lnTo>
                <a:cubicBezTo>
                  <a:pt x="2807631" y="1086266"/>
                  <a:pt x="2807828" y="1084953"/>
                  <a:pt x="2816748" y="1024683"/>
                </a:cubicBezTo>
                <a:cubicBezTo>
                  <a:pt x="2816762" y="1024680"/>
                  <a:pt x="2816865" y="1024641"/>
                  <a:pt x="2817888" y="1024278"/>
                </a:cubicBezTo>
                <a:lnTo>
                  <a:pt x="2825868" y="1021440"/>
                </a:lnTo>
                <a:cubicBezTo>
                  <a:pt x="2825868" y="1021416"/>
                  <a:pt x="2825918" y="1019825"/>
                  <a:pt x="2828909" y="917675"/>
                </a:cubicBezTo>
                <a:cubicBezTo>
                  <a:pt x="2828909" y="917702"/>
                  <a:pt x="2828958" y="919338"/>
                  <a:pt x="2831949" y="1021440"/>
                </a:cubicBezTo>
                <a:cubicBezTo>
                  <a:pt x="2831963" y="1021445"/>
                  <a:pt x="2832069" y="1021482"/>
                  <a:pt x="2833089" y="1021845"/>
                </a:cubicBezTo>
                <a:lnTo>
                  <a:pt x="2841069" y="1024683"/>
                </a:lnTo>
                <a:cubicBezTo>
                  <a:pt x="2841069" y="1024653"/>
                  <a:pt x="2841069" y="1022654"/>
                  <a:pt x="2841069" y="894977"/>
                </a:cubicBezTo>
                <a:cubicBezTo>
                  <a:pt x="2847149" y="894977"/>
                  <a:pt x="2847149" y="894977"/>
                  <a:pt x="2847149" y="846336"/>
                </a:cubicBezTo>
                <a:cubicBezTo>
                  <a:pt x="2847167" y="846336"/>
                  <a:pt x="2848196" y="846336"/>
                  <a:pt x="2904909" y="846336"/>
                </a:cubicBezTo>
                <a:cubicBezTo>
                  <a:pt x="2904909" y="846362"/>
                  <a:pt x="2904909" y="847439"/>
                  <a:pt x="2904909" y="894977"/>
                </a:cubicBezTo>
                <a:cubicBezTo>
                  <a:pt x="2904923" y="894977"/>
                  <a:pt x="2905031" y="894977"/>
                  <a:pt x="2906049" y="894977"/>
                </a:cubicBezTo>
                <a:lnTo>
                  <a:pt x="2914029" y="894977"/>
                </a:lnTo>
                <a:cubicBezTo>
                  <a:pt x="2914029" y="894945"/>
                  <a:pt x="2914029" y="892986"/>
                  <a:pt x="2914029" y="771755"/>
                </a:cubicBezTo>
                <a:cubicBezTo>
                  <a:pt x="2914038" y="771755"/>
                  <a:pt x="2914187" y="771755"/>
                  <a:pt x="2916690" y="771755"/>
                </a:cubicBezTo>
                <a:lnTo>
                  <a:pt x="2935310" y="771755"/>
                </a:lnTo>
                <a:cubicBezTo>
                  <a:pt x="2935310" y="771744"/>
                  <a:pt x="2935310" y="771578"/>
                  <a:pt x="2935310" y="768918"/>
                </a:cubicBezTo>
                <a:lnTo>
                  <a:pt x="2935310" y="749057"/>
                </a:lnTo>
                <a:cubicBezTo>
                  <a:pt x="2935326" y="749057"/>
                  <a:pt x="2936073" y="749057"/>
                  <a:pt x="2968751" y="749057"/>
                </a:cubicBezTo>
                <a:cubicBezTo>
                  <a:pt x="2968751" y="749046"/>
                  <a:pt x="2968751" y="748925"/>
                  <a:pt x="2968751" y="747435"/>
                </a:cubicBezTo>
                <a:lnTo>
                  <a:pt x="2968751" y="736086"/>
                </a:lnTo>
                <a:cubicBezTo>
                  <a:pt x="2968761" y="736086"/>
                  <a:pt x="2968926" y="736086"/>
                  <a:pt x="2971410" y="736086"/>
                </a:cubicBezTo>
                <a:lnTo>
                  <a:pt x="2990031" y="736086"/>
                </a:lnTo>
                <a:cubicBezTo>
                  <a:pt x="2990031" y="736098"/>
                  <a:pt x="2990031" y="736217"/>
                  <a:pt x="2990031" y="737708"/>
                </a:cubicBezTo>
                <a:lnTo>
                  <a:pt x="2990031" y="749057"/>
                </a:lnTo>
                <a:cubicBezTo>
                  <a:pt x="2990045" y="749057"/>
                  <a:pt x="2990154" y="749057"/>
                  <a:pt x="2991171" y="749057"/>
                </a:cubicBezTo>
                <a:lnTo>
                  <a:pt x="2999151" y="749057"/>
                </a:lnTo>
                <a:lnTo>
                  <a:pt x="3014351" y="742571"/>
                </a:lnTo>
                <a:lnTo>
                  <a:pt x="3020430" y="747435"/>
                </a:lnTo>
                <a:lnTo>
                  <a:pt x="3020430" y="736086"/>
                </a:lnTo>
                <a:cubicBezTo>
                  <a:pt x="3020444" y="736086"/>
                  <a:pt x="3020649" y="736086"/>
                  <a:pt x="3023850" y="736086"/>
                </a:cubicBezTo>
                <a:lnTo>
                  <a:pt x="3047792" y="736086"/>
                </a:lnTo>
                <a:cubicBezTo>
                  <a:pt x="3047792" y="736098"/>
                  <a:pt x="3047792" y="736217"/>
                  <a:pt x="3047792" y="737708"/>
                </a:cubicBezTo>
                <a:lnTo>
                  <a:pt x="3047792" y="749057"/>
                </a:lnTo>
                <a:cubicBezTo>
                  <a:pt x="3047820" y="749057"/>
                  <a:pt x="3048924" y="749057"/>
                  <a:pt x="3093392" y="749057"/>
                </a:cubicBezTo>
                <a:cubicBezTo>
                  <a:pt x="3093392" y="749072"/>
                  <a:pt x="3093392" y="749235"/>
                  <a:pt x="3093392" y="751488"/>
                </a:cubicBezTo>
                <a:lnTo>
                  <a:pt x="3093392" y="768513"/>
                </a:lnTo>
                <a:cubicBezTo>
                  <a:pt x="3093417" y="768513"/>
                  <a:pt x="3094377" y="768513"/>
                  <a:pt x="3132912" y="768513"/>
                </a:cubicBezTo>
                <a:cubicBezTo>
                  <a:pt x="3132912" y="768537"/>
                  <a:pt x="3132912" y="769557"/>
                  <a:pt x="3132912" y="813909"/>
                </a:cubicBezTo>
                <a:cubicBezTo>
                  <a:pt x="3132926" y="813909"/>
                  <a:pt x="3133035" y="813909"/>
                  <a:pt x="3134052" y="813909"/>
                </a:cubicBezTo>
                <a:lnTo>
                  <a:pt x="3142032" y="813909"/>
                </a:lnTo>
                <a:cubicBezTo>
                  <a:pt x="3142032" y="813920"/>
                  <a:pt x="3142032" y="814049"/>
                  <a:pt x="3142032" y="815531"/>
                </a:cubicBezTo>
                <a:lnTo>
                  <a:pt x="3142032" y="826881"/>
                </a:lnTo>
                <a:cubicBezTo>
                  <a:pt x="3148113" y="826881"/>
                  <a:pt x="3148113" y="826881"/>
                  <a:pt x="3148113" y="872277"/>
                </a:cubicBezTo>
                <a:cubicBezTo>
                  <a:pt x="3148127" y="872277"/>
                  <a:pt x="3148238" y="872277"/>
                  <a:pt x="3149253" y="872277"/>
                </a:cubicBezTo>
                <a:lnTo>
                  <a:pt x="3157233" y="872277"/>
                </a:lnTo>
                <a:cubicBezTo>
                  <a:pt x="3157233" y="872291"/>
                  <a:pt x="3157233" y="872391"/>
                  <a:pt x="3157233" y="873494"/>
                </a:cubicBezTo>
                <a:lnTo>
                  <a:pt x="3157233" y="882006"/>
                </a:lnTo>
                <a:cubicBezTo>
                  <a:pt x="3157242" y="882006"/>
                  <a:pt x="3157359" y="882006"/>
                  <a:pt x="3158753" y="882006"/>
                </a:cubicBezTo>
                <a:lnTo>
                  <a:pt x="3169392" y="882006"/>
                </a:lnTo>
                <a:cubicBezTo>
                  <a:pt x="3169392" y="882032"/>
                  <a:pt x="3169392" y="883101"/>
                  <a:pt x="3169392" y="927404"/>
                </a:cubicBezTo>
                <a:cubicBezTo>
                  <a:pt x="3169404" y="927404"/>
                  <a:pt x="3169584" y="927404"/>
                  <a:pt x="3172433" y="927404"/>
                </a:cubicBezTo>
                <a:lnTo>
                  <a:pt x="3193713" y="927404"/>
                </a:lnTo>
                <a:cubicBezTo>
                  <a:pt x="3193713" y="927428"/>
                  <a:pt x="3193713" y="928298"/>
                  <a:pt x="3193713" y="963072"/>
                </a:cubicBezTo>
                <a:cubicBezTo>
                  <a:pt x="3196754" y="963072"/>
                  <a:pt x="3196754" y="963072"/>
                  <a:pt x="3196754" y="965504"/>
                </a:cubicBezTo>
                <a:lnTo>
                  <a:pt x="3196754" y="982529"/>
                </a:lnTo>
                <a:cubicBezTo>
                  <a:pt x="3196767" y="982529"/>
                  <a:pt x="3196872" y="982529"/>
                  <a:pt x="3197894" y="982529"/>
                </a:cubicBezTo>
                <a:lnTo>
                  <a:pt x="3205874" y="982529"/>
                </a:lnTo>
                <a:cubicBezTo>
                  <a:pt x="3205874" y="982550"/>
                  <a:pt x="3205874" y="983394"/>
                  <a:pt x="3205874" y="1018197"/>
                </a:cubicBezTo>
                <a:cubicBezTo>
                  <a:pt x="3205886" y="1018197"/>
                  <a:pt x="3206034" y="1018197"/>
                  <a:pt x="3207773" y="1018197"/>
                </a:cubicBezTo>
                <a:lnTo>
                  <a:pt x="3221073" y="1018197"/>
                </a:lnTo>
                <a:cubicBezTo>
                  <a:pt x="3224114" y="1021440"/>
                  <a:pt x="3224114" y="1021440"/>
                  <a:pt x="3224114" y="1024278"/>
                </a:cubicBezTo>
                <a:lnTo>
                  <a:pt x="3224114" y="1044140"/>
                </a:lnTo>
                <a:cubicBezTo>
                  <a:pt x="3224121" y="1044129"/>
                  <a:pt x="3224252" y="1043969"/>
                  <a:pt x="3226394" y="1041302"/>
                </a:cubicBezTo>
                <a:lnTo>
                  <a:pt x="3242354" y="1021440"/>
                </a:lnTo>
                <a:cubicBezTo>
                  <a:pt x="3242376" y="1021440"/>
                  <a:pt x="3243335" y="1021440"/>
                  <a:pt x="3284915" y="1021440"/>
                </a:cubicBezTo>
                <a:cubicBezTo>
                  <a:pt x="3284915" y="1021478"/>
                  <a:pt x="3284915" y="1023579"/>
                  <a:pt x="3284915" y="1151147"/>
                </a:cubicBezTo>
                <a:cubicBezTo>
                  <a:pt x="3284927" y="1151147"/>
                  <a:pt x="3285041" y="1151147"/>
                  <a:pt x="3286055" y="1151147"/>
                </a:cubicBezTo>
                <a:lnTo>
                  <a:pt x="3294035" y="1151147"/>
                </a:lnTo>
                <a:cubicBezTo>
                  <a:pt x="3294041" y="1151135"/>
                  <a:pt x="3294129" y="1150985"/>
                  <a:pt x="3295175" y="1149120"/>
                </a:cubicBezTo>
                <a:lnTo>
                  <a:pt x="3303155" y="1134933"/>
                </a:lnTo>
                <a:cubicBezTo>
                  <a:pt x="3303155" y="1134944"/>
                  <a:pt x="3303155" y="1135092"/>
                  <a:pt x="3303155" y="1137771"/>
                </a:cubicBezTo>
                <a:lnTo>
                  <a:pt x="3303155" y="1157633"/>
                </a:lnTo>
                <a:cubicBezTo>
                  <a:pt x="3309234" y="1157633"/>
                  <a:pt x="3309234" y="1157633"/>
                  <a:pt x="3309234" y="1089537"/>
                </a:cubicBezTo>
                <a:cubicBezTo>
                  <a:pt x="3309248" y="1089537"/>
                  <a:pt x="3309353" y="1089537"/>
                  <a:pt x="3310374" y="1089537"/>
                </a:cubicBezTo>
                <a:lnTo>
                  <a:pt x="3318354" y="1089537"/>
                </a:lnTo>
                <a:cubicBezTo>
                  <a:pt x="3318354" y="1089515"/>
                  <a:pt x="3318354" y="1088015"/>
                  <a:pt x="3318354" y="992256"/>
                </a:cubicBezTo>
                <a:cubicBezTo>
                  <a:pt x="3318365" y="992256"/>
                  <a:pt x="3318486" y="992256"/>
                  <a:pt x="3319875" y="992256"/>
                </a:cubicBezTo>
                <a:lnTo>
                  <a:pt x="3330515" y="992256"/>
                </a:lnTo>
                <a:cubicBezTo>
                  <a:pt x="3330524" y="992225"/>
                  <a:pt x="3330920" y="990815"/>
                  <a:pt x="3348755" y="927404"/>
                </a:cubicBezTo>
                <a:cubicBezTo>
                  <a:pt x="3348768" y="927404"/>
                  <a:pt x="3348914" y="927404"/>
                  <a:pt x="3350655" y="927404"/>
                </a:cubicBezTo>
                <a:lnTo>
                  <a:pt x="3363956" y="927404"/>
                </a:lnTo>
                <a:cubicBezTo>
                  <a:pt x="3363963" y="927438"/>
                  <a:pt x="3364302" y="928887"/>
                  <a:pt x="3379155" y="992256"/>
                </a:cubicBezTo>
                <a:cubicBezTo>
                  <a:pt x="3379164" y="992256"/>
                  <a:pt x="3379275" y="992256"/>
                  <a:pt x="3380675" y="992256"/>
                </a:cubicBezTo>
                <a:lnTo>
                  <a:pt x="3391316" y="992256"/>
                </a:lnTo>
                <a:cubicBezTo>
                  <a:pt x="3391316" y="992273"/>
                  <a:pt x="3391316" y="993273"/>
                  <a:pt x="3391316" y="1050624"/>
                </a:cubicBezTo>
                <a:cubicBezTo>
                  <a:pt x="3391326" y="1050624"/>
                  <a:pt x="3391475" y="1050624"/>
                  <a:pt x="3393975" y="1050624"/>
                </a:cubicBezTo>
                <a:lnTo>
                  <a:pt x="3412596" y="1050624"/>
                </a:lnTo>
                <a:cubicBezTo>
                  <a:pt x="3412596" y="1050636"/>
                  <a:pt x="3412596" y="1050819"/>
                  <a:pt x="3412596" y="1053867"/>
                </a:cubicBezTo>
                <a:lnTo>
                  <a:pt x="3412596" y="1076565"/>
                </a:lnTo>
                <a:cubicBezTo>
                  <a:pt x="3418676" y="1076565"/>
                  <a:pt x="3418676" y="1076565"/>
                  <a:pt x="3418676" y="1073324"/>
                </a:cubicBezTo>
                <a:lnTo>
                  <a:pt x="3418676" y="1050624"/>
                </a:lnTo>
                <a:cubicBezTo>
                  <a:pt x="3418691" y="1050624"/>
                  <a:pt x="3418859" y="1050624"/>
                  <a:pt x="3420956" y="1050624"/>
                </a:cubicBezTo>
                <a:lnTo>
                  <a:pt x="3436916" y="1050624"/>
                </a:lnTo>
                <a:cubicBezTo>
                  <a:pt x="3436916" y="1050639"/>
                  <a:pt x="3436916" y="1050815"/>
                  <a:pt x="3436916" y="1053056"/>
                </a:cubicBezTo>
                <a:lnTo>
                  <a:pt x="3436916" y="1070081"/>
                </a:lnTo>
                <a:cubicBezTo>
                  <a:pt x="3436940" y="1070081"/>
                  <a:pt x="3438003" y="1070081"/>
                  <a:pt x="3482517" y="1070081"/>
                </a:cubicBezTo>
                <a:cubicBezTo>
                  <a:pt x="3482517" y="1070055"/>
                  <a:pt x="3482517" y="1068899"/>
                  <a:pt x="3482517" y="1014956"/>
                </a:cubicBezTo>
                <a:cubicBezTo>
                  <a:pt x="3482529" y="1014956"/>
                  <a:pt x="3482669" y="1014956"/>
                  <a:pt x="3484416" y="1014956"/>
                </a:cubicBezTo>
                <a:lnTo>
                  <a:pt x="3497717" y="1014956"/>
                </a:lnTo>
                <a:cubicBezTo>
                  <a:pt x="3497717" y="1014972"/>
                  <a:pt x="3497717" y="1015713"/>
                  <a:pt x="3497717" y="1047381"/>
                </a:cubicBezTo>
                <a:cubicBezTo>
                  <a:pt x="3500757" y="1047381"/>
                  <a:pt x="3500757" y="1047381"/>
                  <a:pt x="3500757" y="998742"/>
                </a:cubicBezTo>
                <a:cubicBezTo>
                  <a:pt x="3500778" y="998742"/>
                  <a:pt x="3501590" y="998742"/>
                  <a:pt x="3534197" y="998742"/>
                </a:cubicBezTo>
                <a:cubicBezTo>
                  <a:pt x="3534197" y="998727"/>
                  <a:pt x="3534197" y="998547"/>
                  <a:pt x="3534197" y="996309"/>
                </a:cubicBezTo>
                <a:lnTo>
                  <a:pt x="3534197" y="979286"/>
                </a:lnTo>
                <a:cubicBezTo>
                  <a:pt x="3534209" y="979286"/>
                  <a:pt x="3534321" y="979286"/>
                  <a:pt x="3535337" y="979286"/>
                </a:cubicBezTo>
                <a:lnTo>
                  <a:pt x="3543317" y="979286"/>
                </a:lnTo>
                <a:cubicBezTo>
                  <a:pt x="3543317" y="979277"/>
                  <a:pt x="3543317" y="979107"/>
                  <a:pt x="3543317" y="976449"/>
                </a:cubicBezTo>
                <a:lnTo>
                  <a:pt x="3543317" y="956588"/>
                </a:lnTo>
                <a:lnTo>
                  <a:pt x="3549398" y="966315"/>
                </a:lnTo>
                <a:cubicBezTo>
                  <a:pt x="3549410" y="966315"/>
                  <a:pt x="3549603" y="966315"/>
                  <a:pt x="3552818" y="966315"/>
                </a:cubicBezTo>
                <a:lnTo>
                  <a:pt x="3576758" y="966315"/>
                </a:lnTo>
                <a:cubicBezTo>
                  <a:pt x="3576758" y="966303"/>
                  <a:pt x="3576758" y="966201"/>
                  <a:pt x="3576758" y="965099"/>
                </a:cubicBezTo>
                <a:lnTo>
                  <a:pt x="3576758" y="956588"/>
                </a:lnTo>
                <a:cubicBezTo>
                  <a:pt x="3576771" y="956588"/>
                  <a:pt x="3576882" y="956588"/>
                  <a:pt x="3577898" y="956588"/>
                </a:cubicBezTo>
                <a:lnTo>
                  <a:pt x="3585878" y="956588"/>
                </a:lnTo>
                <a:cubicBezTo>
                  <a:pt x="3585878" y="956601"/>
                  <a:pt x="3585878" y="956751"/>
                  <a:pt x="3585878" y="958614"/>
                </a:cubicBezTo>
                <a:lnTo>
                  <a:pt x="3585878" y="972801"/>
                </a:lnTo>
                <a:cubicBezTo>
                  <a:pt x="3585900" y="972801"/>
                  <a:pt x="3587000" y="972801"/>
                  <a:pt x="3643638" y="972801"/>
                </a:cubicBezTo>
                <a:cubicBezTo>
                  <a:pt x="3643638" y="972828"/>
                  <a:pt x="3643638" y="975093"/>
                  <a:pt x="3643638" y="1180331"/>
                </a:cubicBezTo>
                <a:cubicBezTo>
                  <a:pt x="3643653" y="1180331"/>
                  <a:pt x="3643826" y="1180331"/>
                  <a:pt x="3645918" y="1180331"/>
                </a:cubicBezTo>
                <a:lnTo>
                  <a:pt x="3661878" y="1180331"/>
                </a:lnTo>
                <a:cubicBezTo>
                  <a:pt x="3661878" y="1173846"/>
                  <a:pt x="3661878" y="1167360"/>
                  <a:pt x="3661878" y="1160876"/>
                </a:cubicBezTo>
                <a:cubicBezTo>
                  <a:pt x="3664919" y="1160876"/>
                  <a:pt x="3664919" y="1160876"/>
                  <a:pt x="3667959" y="1160876"/>
                </a:cubicBezTo>
                <a:cubicBezTo>
                  <a:pt x="3667959" y="1167360"/>
                  <a:pt x="3667959" y="1173846"/>
                  <a:pt x="3667959" y="1180331"/>
                </a:cubicBezTo>
                <a:cubicBezTo>
                  <a:pt x="3683159" y="1180331"/>
                  <a:pt x="3698360" y="1180331"/>
                  <a:pt x="3713559" y="1180331"/>
                </a:cubicBezTo>
                <a:cubicBezTo>
                  <a:pt x="3713559" y="1164117"/>
                  <a:pt x="3713559" y="1151147"/>
                  <a:pt x="3713559" y="1134933"/>
                </a:cubicBezTo>
                <a:cubicBezTo>
                  <a:pt x="3719640" y="1134933"/>
                  <a:pt x="3725720" y="1134933"/>
                  <a:pt x="3731799" y="1134933"/>
                </a:cubicBezTo>
                <a:lnTo>
                  <a:pt x="3750039" y="1131692"/>
                </a:lnTo>
                <a:cubicBezTo>
                  <a:pt x="3753080" y="1131692"/>
                  <a:pt x="3753080" y="1134933"/>
                  <a:pt x="3756120" y="1134933"/>
                </a:cubicBezTo>
                <a:lnTo>
                  <a:pt x="3771320" y="1134933"/>
                </a:lnTo>
                <a:cubicBezTo>
                  <a:pt x="3771320" y="1151147"/>
                  <a:pt x="3771320" y="1167360"/>
                  <a:pt x="3771320" y="1180331"/>
                </a:cubicBezTo>
                <a:cubicBezTo>
                  <a:pt x="3774360" y="1180331"/>
                  <a:pt x="3777401" y="1180331"/>
                  <a:pt x="3783480" y="1180331"/>
                </a:cubicBezTo>
                <a:cubicBezTo>
                  <a:pt x="3783480" y="1190060"/>
                  <a:pt x="3783480" y="1199787"/>
                  <a:pt x="3783480" y="1206273"/>
                </a:cubicBezTo>
                <a:lnTo>
                  <a:pt x="3797484" y="1207631"/>
                </a:lnTo>
                <a:lnTo>
                  <a:pt x="3816921" y="1207631"/>
                </a:lnTo>
                <a:cubicBezTo>
                  <a:pt x="3816921" y="1198917"/>
                  <a:pt x="3816921" y="1192659"/>
                  <a:pt x="3816921" y="1183574"/>
                </a:cubicBezTo>
                <a:lnTo>
                  <a:pt x="3918855" y="1183574"/>
                </a:lnTo>
                <a:lnTo>
                  <a:pt x="3918855" y="1055694"/>
                </a:lnTo>
                <a:lnTo>
                  <a:pt x="4026867" y="1055694"/>
                </a:lnTo>
                <a:lnTo>
                  <a:pt x="4026867" y="1173846"/>
                </a:lnTo>
                <a:cubicBezTo>
                  <a:pt x="4027820" y="1173846"/>
                  <a:pt x="4028772" y="1173846"/>
                  <a:pt x="4029723" y="1173846"/>
                </a:cubicBezTo>
                <a:lnTo>
                  <a:pt x="4031586" y="1207631"/>
                </a:lnTo>
                <a:lnTo>
                  <a:pt x="4046100" y="1207631"/>
                </a:lnTo>
                <a:cubicBezTo>
                  <a:pt x="4046904" y="1196810"/>
                  <a:pt x="4047963" y="1185329"/>
                  <a:pt x="4047963" y="1173846"/>
                </a:cubicBezTo>
                <a:cubicBezTo>
                  <a:pt x="4051004" y="1173846"/>
                  <a:pt x="4054044" y="1173846"/>
                  <a:pt x="4057083" y="1173846"/>
                </a:cubicBezTo>
                <a:lnTo>
                  <a:pt x="4058946" y="1207631"/>
                </a:lnTo>
                <a:lnTo>
                  <a:pt x="4134879" y="1207631"/>
                </a:lnTo>
                <a:lnTo>
                  <a:pt x="4134879" y="963089"/>
                </a:lnTo>
                <a:lnTo>
                  <a:pt x="4430870" y="963089"/>
                </a:lnTo>
                <a:lnTo>
                  <a:pt x="4430870" y="1207631"/>
                </a:lnTo>
                <a:lnTo>
                  <a:pt x="4458915" y="1207631"/>
                </a:lnTo>
                <a:lnTo>
                  <a:pt x="4458915" y="1083591"/>
                </a:lnTo>
                <a:lnTo>
                  <a:pt x="4601595" y="1083591"/>
                </a:lnTo>
                <a:cubicBezTo>
                  <a:pt x="4607707" y="924560"/>
                  <a:pt x="4612775" y="766349"/>
                  <a:pt x="4619491" y="606380"/>
                </a:cubicBezTo>
                <a:cubicBezTo>
                  <a:pt x="4604291" y="606380"/>
                  <a:pt x="4567811" y="586923"/>
                  <a:pt x="4601251" y="573953"/>
                </a:cubicBezTo>
                <a:cubicBezTo>
                  <a:pt x="4598209" y="570710"/>
                  <a:pt x="4595171" y="567467"/>
                  <a:pt x="4592131" y="567467"/>
                </a:cubicBezTo>
                <a:cubicBezTo>
                  <a:pt x="4592131" y="548012"/>
                  <a:pt x="4589089" y="544769"/>
                  <a:pt x="4604291" y="531798"/>
                </a:cubicBezTo>
                <a:cubicBezTo>
                  <a:pt x="4604291" y="525312"/>
                  <a:pt x="4604291" y="515585"/>
                  <a:pt x="4604291" y="505857"/>
                </a:cubicBezTo>
                <a:cubicBezTo>
                  <a:pt x="4610371" y="505857"/>
                  <a:pt x="4616451" y="505857"/>
                  <a:pt x="4625571" y="505857"/>
                </a:cubicBezTo>
                <a:cubicBezTo>
                  <a:pt x="4625571" y="492885"/>
                  <a:pt x="4625571" y="483158"/>
                  <a:pt x="4625571" y="473430"/>
                </a:cubicBezTo>
                <a:cubicBezTo>
                  <a:pt x="4625571" y="470187"/>
                  <a:pt x="4628611" y="470187"/>
                  <a:pt x="4628611" y="466944"/>
                </a:cubicBezTo>
                <a:cubicBezTo>
                  <a:pt x="4628611" y="428033"/>
                  <a:pt x="4628611" y="389121"/>
                  <a:pt x="4628611" y="350208"/>
                </a:cubicBezTo>
                <a:cubicBezTo>
                  <a:pt x="4628611" y="346965"/>
                  <a:pt x="4625571" y="343724"/>
                  <a:pt x="4625571" y="340481"/>
                </a:cubicBezTo>
                <a:cubicBezTo>
                  <a:pt x="4628611" y="337238"/>
                  <a:pt x="4631651" y="333995"/>
                  <a:pt x="4634691" y="330752"/>
                </a:cubicBezTo>
                <a:cubicBezTo>
                  <a:pt x="4634691" y="301568"/>
                  <a:pt x="4634691" y="272384"/>
                  <a:pt x="4634691" y="243200"/>
                </a:cubicBezTo>
                <a:cubicBezTo>
                  <a:pt x="4634691" y="239958"/>
                  <a:pt x="4634691" y="239958"/>
                  <a:pt x="4637731" y="236715"/>
                </a:cubicBezTo>
                <a:cubicBezTo>
                  <a:pt x="4637731" y="210774"/>
                  <a:pt x="4637731" y="181590"/>
                  <a:pt x="4637731" y="152406"/>
                </a:cubicBezTo>
                <a:cubicBezTo>
                  <a:pt x="4640771" y="139436"/>
                  <a:pt x="4640771" y="132950"/>
                  <a:pt x="4640771" y="123222"/>
                </a:cubicBezTo>
                <a:cubicBezTo>
                  <a:pt x="4646851" y="132950"/>
                  <a:pt x="4646851" y="139436"/>
                  <a:pt x="4646851" y="149163"/>
                </a:cubicBezTo>
                <a:cubicBezTo>
                  <a:pt x="4649891" y="181590"/>
                  <a:pt x="4649891" y="210774"/>
                  <a:pt x="4649891" y="236715"/>
                </a:cubicBezTo>
                <a:cubicBezTo>
                  <a:pt x="4652931" y="272384"/>
                  <a:pt x="4652931" y="301568"/>
                  <a:pt x="4652931" y="330752"/>
                </a:cubicBezTo>
                <a:cubicBezTo>
                  <a:pt x="4655971" y="333995"/>
                  <a:pt x="4659011" y="337238"/>
                  <a:pt x="4662051" y="340481"/>
                </a:cubicBezTo>
                <a:cubicBezTo>
                  <a:pt x="4662051" y="343724"/>
                  <a:pt x="4659011" y="346965"/>
                  <a:pt x="4659011" y="350208"/>
                </a:cubicBezTo>
                <a:cubicBezTo>
                  <a:pt x="4659011" y="389121"/>
                  <a:pt x="4659011" y="428033"/>
                  <a:pt x="4659011" y="466944"/>
                </a:cubicBezTo>
                <a:cubicBezTo>
                  <a:pt x="4659011" y="470187"/>
                  <a:pt x="4662051" y="470187"/>
                  <a:pt x="4662051" y="473430"/>
                </a:cubicBezTo>
                <a:cubicBezTo>
                  <a:pt x="4662051" y="483158"/>
                  <a:pt x="4662051" y="492885"/>
                  <a:pt x="4662051" y="505857"/>
                </a:cubicBezTo>
                <a:cubicBezTo>
                  <a:pt x="4668131" y="505857"/>
                  <a:pt x="4677251" y="505857"/>
                  <a:pt x="4683331" y="505857"/>
                </a:cubicBezTo>
                <a:cubicBezTo>
                  <a:pt x="4683331" y="515585"/>
                  <a:pt x="4683331" y="525312"/>
                  <a:pt x="4683331" y="531798"/>
                </a:cubicBezTo>
                <a:cubicBezTo>
                  <a:pt x="4695493" y="544769"/>
                  <a:pt x="4695493" y="544769"/>
                  <a:pt x="4695493" y="567467"/>
                </a:cubicBezTo>
                <a:cubicBezTo>
                  <a:pt x="4692451" y="567467"/>
                  <a:pt x="4689411" y="570710"/>
                  <a:pt x="4686373" y="573953"/>
                </a:cubicBezTo>
                <a:cubicBezTo>
                  <a:pt x="4716771" y="590166"/>
                  <a:pt x="4680291" y="603137"/>
                  <a:pt x="4668131" y="606380"/>
                </a:cubicBezTo>
                <a:cubicBezTo>
                  <a:pt x="4671171" y="732843"/>
                  <a:pt x="4677251" y="859307"/>
                  <a:pt x="4680291" y="985772"/>
                </a:cubicBezTo>
                <a:cubicBezTo>
                  <a:pt x="4713733" y="985772"/>
                  <a:pt x="4747171" y="985772"/>
                  <a:pt x="4777573" y="985772"/>
                </a:cubicBezTo>
                <a:cubicBezTo>
                  <a:pt x="4777573" y="1024683"/>
                  <a:pt x="4777573" y="1063595"/>
                  <a:pt x="4777573" y="1099265"/>
                </a:cubicBezTo>
                <a:cubicBezTo>
                  <a:pt x="4783653" y="1099265"/>
                  <a:pt x="4786693" y="1099265"/>
                  <a:pt x="4789733" y="1099265"/>
                </a:cubicBezTo>
                <a:cubicBezTo>
                  <a:pt x="4789733" y="1096022"/>
                  <a:pt x="4792773" y="1092779"/>
                  <a:pt x="4792773" y="1089537"/>
                </a:cubicBezTo>
                <a:cubicBezTo>
                  <a:pt x="4795813" y="1089537"/>
                  <a:pt x="4798853" y="1089537"/>
                  <a:pt x="4801893" y="1089537"/>
                </a:cubicBezTo>
                <a:cubicBezTo>
                  <a:pt x="4801893" y="1092779"/>
                  <a:pt x="4801893" y="1096022"/>
                  <a:pt x="4804935" y="1102508"/>
                </a:cubicBezTo>
                <a:cubicBezTo>
                  <a:pt x="4811013" y="1102508"/>
                  <a:pt x="4817093" y="1102508"/>
                  <a:pt x="4823175" y="1102508"/>
                </a:cubicBezTo>
                <a:cubicBezTo>
                  <a:pt x="4823175" y="1099265"/>
                  <a:pt x="4823175" y="1096022"/>
                  <a:pt x="4823175" y="1092779"/>
                </a:cubicBezTo>
                <a:cubicBezTo>
                  <a:pt x="4835333" y="1092779"/>
                  <a:pt x="4844453" y="1092779"/>
                  <a:pt x="4856613" y="1092779"/>
                </a:cubicBezTo>
                <a:cubicBezTo>
                  <a:pt x="4856613" y="1096022"/>
                  <a:pt x="4856613" y="1099265"/>
                  <a:pt x="4856613" y="1102508"/>
                </a:cubicBezTo>
                <a:cubicBezTo>
                  <a:pt x="4865733" y="1102508"/>
                  <a:pt x="4877895" y="1102508"/>
                  <a:pt x="4887015" y="1102508"/>
                </a:cubicBezTo>
                <a:cubicBezTo>
                  <a:pt x="4887015" y="1125206"/>
                  <a:pt x="4887015" y="1147905"/>
                  <a:pt x="4887015" y="1170603"/>
                </a:cubicBezTo>
                <a:cubicBezTo>
                  <a:pt x="4893095" y="1170603"/>
                  <a:pt x="4902215" y="1170603"/>
                  <a:pt x="4908295" y="1170603"/>
                </a:cubicBezTo>
                <a:cubicBezTo>
                  <a:pt x="4908295" y="1164117"/>
                  <a:pt x="4908295" y="1157633"/>
                  <a:pt x="4908295" y="1151147"/>
                </a:cubicBezTo>
                <a:cubicBezTo>
                  <a:pt x="4917415" y="1151147"/>
                  <a:pt x="4926535" y="1151147"/>
                  <a:pt x="4932615" y="1151147"/>
                </a:cubicBezTo>
                <a:cubicBezTo>
                  <a:pt x="4932615" y="1060353"/>
                  <a:pt x="4932615" y="972801"/>
                  <a:pt x="4932615" y="882006"/>
                </a:cubicBezTo>
                <a:cubicBezTo>
                  <a:pt x="4935655" y="878763"/>
                  <a:pt x="4938695" y="875520"/>
                  <a:pt x="4941735" y="872277"/>
                </a:cubicBezTo>
                <a:cubicBezTo>
                  <a:pt x="4978215" y="872277"/>
                  <a:pt x="5014695" y="872277"/>
                  <a:pt x="5051177" y="872277"/>
                </a:cubicBezTo>
                <a:lnTo>
                  <a:pt x="5051177" y="885249"/>
                </a:lnTo>
                <a:lnTo>
                  <a:pt x="5066377" y="885249"/>
                </a:lnTo>
                <a:cubicBezTo>
                  <a:pt x="5066377" y="943617"/>
                  <a:pt x="5066377" y="1001985"/>
                  <a:pt x="5066377" y="1057110"/>
                </a:cubicBezTo>
                <a:cubicBezTo>
                  <a:pt x="5078537" y="1057110"/>
                  <a:pt x="5087657" y="1057110"/>
                  <a:pt x="5099817" y="1057110"/>
                </a:cubicBezTo>
                <a:cubicBezTo>
                  <a:pt x="5099817" y="1024683"/>
                  <a:pt x="5099817" y="992256"/>
                  <a:pt x="5099817" y="956588"/>
                </a:cubicBezTo>
                <a:cubicBezTo>
                  <a:pt x="5111977" y="956588"/>
                  <a:pt x="5127177" y="956588"/>
                  <a:pt x="5139339" y="956588"/>
                </a:cubicBezTo>
                <a:cubicBezTo>
                  <a:pt x="5142377" y="956588"/>
                  <a:pt x="5142377" y="953345"/>
                  <a:pt x="5145417" y="950102"/>
                </a:cubicBezTo>
                <a:lnTo>
                  <a:pt x="5157579" y="950102"/>
                </a:lnTo>
                <a:cubicBezTo>
                  <a:pt x="5160617" y="953345"/>
                  <a:pt x="5160617" y="956588"/>
                  <a:pt x="5163657" y="956588"/>
                </a:cubicBezTo>
                <a:cubicBezTo>
                  <a:pt x="5172777" y="956588"/>
                  <a:pt x="5184939" y="956588"/>
                  <a:pt x="5197099" y="956588"/>
                </a:cubicBezTo>
                <a:cubicBezTo>
                  <a:pt x="5197099" y="898220"/>
                  <a:pt x="5197099" y="839852"/>
                  <a:pt x="5197099" y="781484"/>
                </a:cubicBezTo>
                <a:cubicBezTo>
                  <a:pt x="5197119" y="781479"/>
                  <a:pt x="5198419" y="781233"/>
                  <a:pt x="5282219" y="765270"/>
                </a:cubicBezTo>
                <a:cubicBezTo>
                  <a:pt x="5282219" y="765281"/>
                  <a:pt x="5282219" y="765392"/>
                  <a:pt x="5282219" y="766892"/>
                </a:cubicBezTo>
                <a:lnTo>
                  <a:pt x="5282219" y="778241"/>
                </a:lnTo>
                <a:cubicBezTo>
                  <a:pt x="5282245" y="778241"/>
                  <a:pt x="5283211" y="778241"/>
                  <a:pt x="5321739" y="778241"/>
                </a:cubicBezTo>
                <a:cubicBezTo>
                  <a:pt x="5321739" y="778274"/>
                  <a:pt x="5321739" y="781830"/>
                  <a:pt x="5321739" y="1160876"/>
                </a:cubicBezTo>
                <a:cubicBezTo>
                  <a:pt x="5330859" y="1160876"/>
                  <a:pt x="5343019" y="1160876"/>
                  <a:pt x="5355181" y="1160876"/>
                </a:cubicBezTo>
                <a:cubicBezTo>
                  <a:pt x="5355181" y="1157633"/>
                  <a:pt x="5355181" y="1157633"/>
                  <a:pt x="5355181" y="1154390"/>
                </a:cubicBezTo>
                <a:cubicBezTo>
                  <a:pt x="5361259" y="1154390"/>
                  <a:pt x="5367339" y="1154390"/>
                  <a:pt x="5373421" y="1154390"/>
                </a:cubicBezTo>
                <a:cubicBezTo>
                  <a:pt x="5373421" y="1157633"/>
                  <a:pt x="5373421" y="1157633"/>
                  <a:pt x="5373421" y="1160876"/>
                </a:cubicBezTo>
                <a:cubicBezTo>
                  <a:pt x="5385581" y="1160876"/>
                  <a:pt x="5397739" y="1160876"/>
                  <a:pt x="5409901" y="1160876"/>
                </a:cubicBezTo>
                <a:cubicBezTo>
                  <a:pt x="5409901" y="1154390"/>
                  <a:pt x="5409901" y="1147905"/>
                  <a:pt x="5409901" y="1141419"/>
                </a:cubicBezTo>
                <a:cubicBezTo>
                  <a:pt x="5425101" y="1141419"/>
                  <a:pt x="5440301" y="1141419"/>
                  <a:pt x="5452461" y="1141419"/>
                </a:cubicBezTo>
                <a:cubicBezTo>
                  <a:pt x="5458541" y="1134933"/>
                  <a:pt x="5464623" y="1134933"/>
                  <a:pt x="5470701" y="1134933"/>
                </a:cubicBezTo>
                <a:cubicBezTo>
                  <a:pt x="5479821" y="1141419"/>
                  <a:pt x="5491983" y="1141419"/>
                  <a:pt x="5501103" y="1141419"/>
                </a:cubicBezTo>
                <a:cubicBezTo>
                  <a:pt x="5501103" y="1131692"/>
                  <a:pt x="5501103" y="1125206"/>
                  <a:pt x="5501103" y="1115478"/>
                </a:cubicBezTo>
                <a:lnTo>
                  <a:pt x="5513263" y="1115478"/>
                </a:lnTo>
                <a:cubicBezTo>
                  <a:pt x="5513263" y="1108992"/>
                  <a:pt x="5513263" y="1102508"/>
                  <a:pt x="5513263" y="1096022"/>
                </a:cubicBezTo>
                <a:cubicBezTo>
                  <a:pt x="5540623" y="1096022"/>
                  <a:pt x="5571023" y="1096022"/>
                  <a:pt x="5598383" y="1096022"/>
                </a:cubicBezTo>
                <a:cubicBezTo>
                  <a:pt x="5598383" y="1079808"/>
                  <a:pt x="5598383" y="1066838"/>
                  <a:pt x="5598383" y="1050624"/>
                </a:cubicBezTo>
                <a:cubicBezTo>
                  <a:pt x="5607503" y="1050624"/>
                  <a:pt x="5616623" y="1050624"/>
                  <a:pt x="5625743" y="1050624"/>
                </a:cubicBezTo>
                <a:cubicBezTo>
                  <a:pt x="5625743" y="1047381"/>
                  <a:pt x="5625743" y="1044140"/>
                  <a:pt x="5625743" y="1040897"/>
                </a:cubicBezTo>
                <a:cubicBezTo>
                  <a:pt x="5631823" y="1040897"/>
                  <a:pt x="5637903" y="1040897"/>
                  <a:pt x="5643983" y="1040897"/>
                </a:cubicBezTo>
                <a:cubicBezTo>
                  <a:pt x="5643983" y="1044140"/>
                  <a:pt x="5643983" y="1047381"/>
                  <a:pt x="5643983" y="1050624"/>
                </a:cubicBezTo>
                <a:cubicBezTo>
                  <a:pt x="5653103" y="1050624"/>
                  <a:pt x="5659183" y="1050624"/>
                  <a:pt x="5668303" y="1050624"/>
                </a:cubicBezTo>
                <a:cubicBezTo>
                  <a:pt x="5668303" y="1073324"/>
                  <a:pt x="5668303" y="1099265"/>
                  <a:pt x="5668303" y="1125206"/>
                </a:cubicBezTo>
                <a:cubicBezTo>
                  <a:pt x="5683503" y="1125206"/>
                  <a:pt x="5701745" y="1125206"/>
                  <a:pt x="5716945" y="1125206"/>
                </a:cubicBezTo>
                <a:cubicBezTo>
                  <a:pt x="5716945" y="1112235"/>
                  <a:pt x="5716945" y="1099265"/>
                  <a:pt x="5716945" y="1086294"/>
                </a:cubicBezTo>
                <a:cubicBezTo>
                  <a:pt x="5735185" y="1086294"/>
                  <a:pt x="5756465" y="1086294"/>
                  <a:pt x="5774705" y="1086294"/>
                </a:cubicBezTo>
                <a:cubicBezTo>
                  <a:pt x="5774705" y="1070081"/>
                  <a:pt x="5774705" y="1057110"/>
                  <a:pt x="5774705" y="1040897"/>
                </a:cubicBezTo>
                <a:cubicBezTo>
                  <a:pt x="5799027" y="1040897"/>
                  <a:pt x="5823345" y="1040897"/>
                  <a:pt x="5847667" y="1040897"/>
                </a:cubicBezTo>
                <a:cubicBezTo>
                  <a:pt x="5847667" y="1040940"/>
                  <a:pt x="5847667" y="1043603"/>
                  <a:pt x="5847667" y="1207631"/>
                </a:cubicBezTo>
                <a:lnTo>
                  <a:pt x="5847667" y="1228299"/>
                </a:lnTo>
                <a:lnTo>
                  <a:pt x="5946479" y="1228299"/>
                </a:lnTo>
                <a:lnTo>
                  <a:pt x="5946479" y="1386957"/>
                </a:lnTo>
                <a:lnTo>
                  <a:pt x="5946479" y="1421828"/>
                </a:lnTo>
                <a:lnTo>
                  <a:pt x="5968919" y="1421828"/>
                </a:lnTo>
                <a:cubicBezTo>
                  <a:pt x="5968919" y="1421828"/>
                  <a:pt x="5968919" y="1421828"/>
                  <a:pt x="5968919" y="1420085"/>
                </a:cubicBezTo>
                <a:lnTo>
                  <a:pt x="5968919" y="1407881"/>
                </a:lnTo>
                <a:cubicBezTo>
                  <a:pt x="5968919" y="1407881"/>
                  <a:pt x="5968919" y="1407881"/>
                  <a:pt x="6035789" y="1407881"/>
                </a:cubicBezTo>
                <a:cubicBezTo>
                  <a:pt x="6035789" y="1407881"/>
                  <a:pt x="6035789" y="1407881"/>
                  <a:pt x="6035789" y="1439262"/>
                </a:cubicBezTo>
                <a:cubicBezTo>
                  <a:pt x="6035789" y="1439262"/>
                  <a:pt x="6035789" y="1439262"/>
                  <a:pt x="6039131" y="1441007"/>
                </a:cubicBezTo>
                <a:lnTo>
                  <a:pt x="6062537" y="1453211"/>
                </a:lnTo>
                <a:cubicBezTo>
                  <a:pt x="6062537" y="1453211"/>
                  <a:pt x="6062537" y="1453211"/>
                  <a:pt x="6062537" y="1498541"/>
                </a:cubicBezTo>
                <a:cubicBezTo>
                  <a:pt x="6062537" y="1498541"/>
                  <a:pt x="6062537" y="1498541"/>
                  <a:pt x="6064627" y="1499414"/>
                </a:cubicBezTo>
                <a:lnTo>
                  <a:pt x="6079255" y="1505516"/>
                </a:lnTo>
                <a:cubicBezTo>
                  <a:pt x="6079255" y="1505516"/>
                  <a:pt x="6079255" y="1505516"/>
                  <a:pt x="6079255" y="1503773"/>
                </a:cubicBezTo>
                <a:lnTo>
                  <a:pt x="6079255" y="1491567"/>
                </a:lnTo>
                <a:cubicBezTo>
                  <a:pt x="6079255" y="1491567"/>
                  <a:pt x="6079255" y="1491567"/>
                  <a:pt x="6080927" y="1491567"/>
                </a:cubicBezTo>
                <a:lnTo>
                  <a:pt x="6092629" y="1491567"/>
                </a:lnTo>
                <a:cubicBezTo>
                  <a:pt x="6092629" y="1491567"/>
                  <a:pt x="6092629" y="1491567"/>
                  <a:pt x="6092629" y="1490259"/>
                </a:cubicBezTo>
                <a:lnTo>
                  <a:pt x="6092629" y="1481106"/>
                </a:lnTo>
                <a:cubicBezTo>
                  <a:pt x="6092629" y="1481106"/>
                  <a:pt x="6092629" y="1481106"/>
                  <a:pt x="6090957" y="1481106"/>
                </a:cubicBezTo>
                <a:lnTo>
                  <a:pt x="6079255" y="1481106"/>
                </a:lnTo>
                <a:cubicBezTo>
                  <a:pt x="6079255" y="1481106"/>
                  <a:pt x="6079255" y="1481106"/>
                  <a:pt x="6079255" y="1479363"/>
                </a:cubicBezTo>
                <a:lnTo>
                  <a:pt x="6079255" y="1467159"/>
                </a:lnTo>
                <a:cubicBezTo>
                  <a:pt x="6079255" y="1467159"/>
                  <a:pt x="6079255" y="1467159"/>
                  <a:pt x="6080927" y="1467159"/>
                </a:cubicBezTo>
                <a:lnTo>
                  <a:pt x="6092629" y="1467159"/>
                </a:lnTo>
                <a:cubicBezTo>
                  <a:pt x="6092629" y="1467159"/>
                  <a:pt x="6092629" y="1467159"/>
                  <a:pt x="6092629" y="1465415"/>
                </a:cubicBezTo>
                <a:lnTo>
                  <a:pt x="6092629" y="1453211"/>
                </a:lnTo>
                <a:cubicBezTo>
                  <a:pt x="6092629" y="1453211"/>
                  <a:pt x="6092629" y="1453211"/>
                  <a:pt x="6090957" y="1453211"/>
                </a:cubicBezTo>
                <a:lnTo>
                  <a:pt x="6079255" y="1453211"/>
                </a:lnTo>
                <a:cubicBezTo>
                  <a:pt x="6079255" y="1453211"/>
                  <a:pt x="6079255" y="1453211"/>
                  <a:pt x="6079255" y="1451468"/>
                </a:cubicBezTo>
                <a:lnTo>
                  <a:pt x="6079255" y="1439262"/>
                </a:lnTo>
                <a:cubicBezTo>
                  <a:pt x="6079255" y="1439262"/>
                  <a:pt x="6079255" y="1439262"/>
                  <a:pt x="6080927" y="1439262"/>
                </a:cubicBezTo>
                <a:lnTo>
                  <a:pt x="6092629" y="1439262"/>
                </a:lnTo>
                <a:cubicBezTo>
                  <a:pt x="6092629" y="1439262"/>
                  <a:pt x="6092629" y="1439262"/>
                  <a:pt x="6092629" y="1437956"/>
                </a:cubicBezTo>
                <a:lnTo>
                  <a:pt x="6092629" y="1428803"/>
                </a:lnTo>
                <a:cubicBezTo>
                  <a:pt x="6092629" y="1428803"/>
                  <a:pt x="6092629" y="1428803"/>
                  <a:pt x="6090957" y="1428803"/>
                </a:cubicBezTo>
                <a:lnTo>
                  <a:pt x="6079255" y="1428803"/>
                </a:lnTo>
                <a:cubicBezTo>
                  <a:pt x="6079255" y="1428803"/>
                  <a:pt x="6079255" y="1428803"/>
                  <a:pt x="6079255" y="1427058"/>
                </a:cubicBezTo>
                <a:lnTo>
                  <a:pt x="6079255" y="1414854"/>
                </a:lnTo>
                <a:cubicBezTo>
                  <a:pt x="6079255" y="1414854"/>
                  <a:pt x="6079255" y="1414854"/>
                  <a:pt x="6080927" y="1414854"/>
                </a:cubicBezTo>
                <a:lnTo>
                  <a:pt x="6092629" y="1414854"/>
                </a:lnTo>
                <a:cubicBezTo>
                  <a:pt x="6092629" y="1414854"/>
                  <a:pt x="6092629" y="1414854"/>
                  <a:pt x="6092629" y="1413111"/>
                </a:cubicBezTo>
                <a:lnTo>
                  <a:pt x="6092629" y="1400906"/>
                </a:lnTo>
                <a:cubicBezTo>
                  <a:pt x="6092629" y="1400906"/>
                  <a:pt x="6092629" y="1400906"/>
                  <a:pt x="6090957" y="1400906"/>
                </a:cubicBezTo>
                <a:lnTo>
                  <a:pt x="6079255" y="1400906"/>
                </a:lnTo>
                <a:cubicBezTo>
                  <a:pt x="6079255" y="1400906"/>
                  <a:pt x="6079255" y="1400906"/>
                  <a:pt x="6079255" y="1399599"/>
                </a:cubicBezTo>
                <a:lnTo>
                  <a:pt x="6079255" y="1390445"/>
                </a:lnTo>
                <a:cubicBezTo>
                  <a:pt x="6079255" y="1390445"/>
                  <a:pt x="6079255" y="1390445"/>
                  <a:pt x="6080927" y="1390445"/>
                </a:cubicBezTo>
                <a:lnTo>
                  <a:pt x="6092629" y="1390445"/>
                </a:lnTo>
                <a:cubicBezTo>
                  <a:pt x="6092629" y="1390445"/>
                  <a:pt x="6092629" y="1390445"/>
                  <a:pt x="6092629" y="1388702"/>
                </a:cubicBezTo>
                <a:lnTo>
                  <a:pt x="6092629" y="1376498"/>
                </a:lnTo>
                <a:cubicBezTo>
                  <a:pt x="6092629" y="1376498"/>
                  <a:pt x="6092629" y="1376498"/>
                  <a:pt x="6090957" y="1376498"/>
                </a:cubicBezTo>
                <a:lnTo>
                  <a:pt x="6079255" y="1376498"/>
                </a:lnTo>
                <a:cubicBezTo>
                  <a:pt x="6079255" y="1376498"/>
                  <a:pt x="6079255" y="1376498"/>
                  <a:pt x="6079255" y="1374755"/>
                </a:cubicBezTo>
                <a:lnTo>
                  <a:pt x="6079255" y="1362549"/>
                </a:lnTo>
                <a:cubicBezTo>
                  <a:pt x="6079255" y="1362549"/>
                  <a:pt x="6079255" y="1362549"/>
                  <a:pt x="6080927" y="1362549"/>
                </a:cubicBezTo>
                <a:lnTo>
                  <a:pt x="6092629" y="1362549"/>
                </a:lnTo>
                <a:cubicBezTo>
                  <a:pt x="6092629" y="1362549"/>
                  <a:pt x="6092629" y="1362549"/>
                  <a:pt x="6092629" y="1360806"/>
                </a:cubicBezTo>
                <a:lnTo>
                  <a:pt x="6092629" y="1348602"/>
                </a:lnTo>
                <a:cubicBezTo>
                  <a:pt x="6092629" y="1348602"/>
                  <a:pt x="6092629" y="1348602"/>
                  <a:pt x="6090957" y="1348602"/>
                </a:cubicBezTo>
                <a:lnTo>
                  <a:pt x="6079255" y="1348602"/>
                </a:lnTo>
                <a:cubicBezTo>
                  <a:pt x="6079255" y="1348602"/>
                  <a:pt x="6079255" y="1348602"/>
                  <a:pt x="6079255" y="1347294"/>
                </a:cubicBezTo>
                <a:lnTo>
                  <a:pt x="6079255" y="1338141"/>
                </a:lnTo>
                <a:cubicBezTo>
                  <a:pt x="6079255" y="1338141"/>
                  <a:pt x="6079255" y="1338141"/>
                  <a:pt x="6080927" y="1338141"/>
                </a:cubicBezTo>
                <a:lnTo>
                  <a:pt x="6092629" y="1338141"/>
                </a:lnTo>
                <a:cubicBezTo>
                  <a:pt x="6092629" y="1338141"/>
                  <a:pt x="6092629" y="1338141"/>
                  <a:pt x="6092629" y="1336397"/>
                </a:cubicBezTo>
                <a:lnTo>
                  <a:pt x="6092629" y="1324193"/>
                </a:lnTo>
                <a:cubicBezTo>
                  <a:pt x="6092629" y="1324193"/>
                  <a:pt x="6092629" y="1324193"/>
                  <a:pt x="6090957" y="1324193"/>
                </a:cubicBezTo>
                <a:lnTo>
                  <a:pt x="6079255" y="1324193"/>
                </a:lnTo>
                <a:cubicBezTo>
                  <a:pt x="6079255" y="1324193"/>
                  <a:pt x="6079255" y="1324193"/>
                  <a:pt x="6079255" y="1322450"/>
                </a:cubicBezTo>
                <a:lnTo>
                  <a:pt x="6079255" y="1310244"/>
                </a:lnTo>
                <a:cubicBezTo>
                  <a:pt x="6079255" y="1310244"/>
                  <a:pt x="6079255" y="1310244"/>
                  <a:pt x="6080927" y="1310244"/>
                </a:cubicBezTo>
                <a:lnTo>
                  <a:pt x="6092629" y="1310244"/>
                </a:lnTo>
                <a:cubicBezTo>
                  <a:pt x="6092629" y="1310244"/>
                  <a:pt x="6092629" y="1310244"/>
                  <a:pt x="6092629" y="1308938"/>
                </a:cubicBezTo>
                <a:lnTo>
                  <a:pt x="6092629" y="1299785"/>
                </a:lnTo>
                <a:cubicBezTo>
                  <a:pt x="6092629" y="1299785"/>
                  <a:pt x="6092629" y="1299785"/>
                  <a:pt x="6090957" y="1299785"/>
                </a:cubicBezTo>
                <a:lnTo>
                  <a:pt x="6079255" y="1299785"/>
                </a:lnTo>
                <a:cubicBezTo>
                  <a:pt x="6079255" y="1299785"/>
                  <a:pt x="6079255" y="1299785"/>
                  <a:pt x="6079255" y="1298040"/>
                </a:cubicBezTo>
                <a:lnTo>
                  <a:pt x="6079255" y="1285836"/>
                </a:lnTo>
                <a:cubicBezTo>
                  <a:pt x="6079255" y="1285836"/>
                  <a:pt x="6079255" y="1285836"/>
                  <a:pt x="6080927" y="1285836"/>
                </a:cubicBezTo>
                <a:lnTo>
                  <a:pt x="6092629" y="1285836"/>
                </a:lnTo>
                <a:cubicBezTo>
                  <a:pt x="6092629" y="1285836"/>
                  <a:pt x="6092629" y="1285836"/>
                  <a:pt x="6092629" y="1284093"/>
                </a:cubicBezTo>
                <a:lnTo>
                  <a:pt x="6092629" y="1271888"/>
                </a:lnTo>
                <a:cubicBezTo>
                  <a:pt x="6092629" y="1271888"/>
                  <a:pt x="6092629" y="1271888"/>
                  <a:pt x="6090957" y="1271888"/>
                </a:cubicBezTo>
                <a:lnTo>
                  <a:pt x="6079255" y="1271888"/>
                </a:lnTo>
                <a:cubicBezTo>
                  <a:pt x="6079255" y="1271888"/>
                  <a:pt x="6079255" y="1271888"/>
                  <a:pt x="6079255" y="1270145"/>
                </a:cubicBezTo>
                <a:lnTo>
                  <a:pt x="6079255" y="1257941"/>
                </a:lnTo>
                <a:cubicBezTo>
                  <a:pt x="6079255" y="1257941"/>
                  <a:pt x="6079255" y="1257941"/>
                  <a:pt x="6080927" y="1257941"/>
                </a:cubicBezTo>
                <a:lnTo>
                  <a:pt x="6092629" y="1257941"/>
                </a:lnTo>
                <a:cubicBezTo>
                  <a:pt x="6092629" y="1257941"/>
                  <a:pt x="6092629" y="1257941"/>
                  <a:pt x="6092629" y="1256633"/>
                </a:cubicBezTo>
                <a:lnTo>
                  <a:pt x="6092629" y="1247480"/>
                </a:lnTo>
                <a:cubicBezTo>
                  <a:pt x="6092629" y="1247480"/>
                  <a:pt x="6092629" y="1247480"/>
                  <a:pt x="6090957" y="1247480"/>
                </a:cubicBezTo>
                <a:lnTo>
                  <a:pt x="6079255" y="1247480"/>
                </a:lnTo>
                <a:cubicBezTo>
                  <a:pt x="6079255" y="1247480"/>
                  <a:pt x="6079255" y="1247480"/>
                  <a:pt x="6079255" y="1245737"/>
                </a:cubicBezTo>
                <a:lnTo>
                  <a:pt x="6079255" y="1233531"/>
                </a:lnTo>
                <a:cubicBezTo>
                  <a:pt x="6079255" y="1233531"/>
                  <a:pt x="6079255" y="1233531"/>
                  <a:pt x="6080927" y="1233531"/>
                </a:cubicBezTo>
                <a:lnTo>
                  <a:pt x="6092629" y="1233531"/>
                </a:lnTo>
                <a:cubicBezTo>
                  <a:pt x="6092629" y="1233531"/>
                  <a:pt x="6092629" y="1233531"/>
                  <a:pt x="6092629" y="1231788"/>
                </a:cubicBezTo>
                <a:lnTo>
                  <a:pt x="6092629" y="1219584"/>
                </a:lnTo>
                <a:cubicBezTo>
                  <a:pt x="6092629" y="1219584"/>
                  <a:pt x="6092629" y="1219584"/>
                  <a:pt x="6090957" y="1219584"/>
                </a:cubicBezTo>
                <a:lnTo>
                  <a:pt x="6079255" y="1219584"/>
                </a:lnTo>
                <a:cubicBezTo>
                  <a:pt x="6079255" y="1219584"/>
                  <a:pt x="6079255" y="1219584"/>
                  <a:pt x="6079255" y="1217840"/>
                </a:cubicBezTo>
                <a:lnTo>
                  <a:pt x="6079255" y="1205636"/>
                </a:lnTo>
                <a:cubicBezTo>
                  <a:pt x="6079255" y="1205636"/>
                  <a:pt x="6079255" y="1205636"/>
                  <a:pt x="6080927" y="1205636"/>
                </a:cubicBezTo>
                <a:lnTo>
                  <a:pt x="6092629" y="1205636"/>
                </a:lnTo>
                <a:cubicBezTo>
                  <a:pt x="6092629" y="1205636"/>
                  <a:pt x="6092629" y="1205636"/>
                  <a:pt x="6092629" y="1204328"/>
                </a:cubicBezTo>
                <a:lnTo>
                  <a:pt x="6092629" y="1195175"/>
                </a:lnTo>
                <a:cubicBezTo>
                  <a:pt x="6092629" y="1195175"/>
                  <a:pt x="6092629" y="1195175"/>
                  <a:pt x="6090957" y="1195175"/>
                </a:cubicBezTo>
                <a:lnTo>
                  <a:pt x="6079255" y="1195175"/>
                </a:lnTo>
                <a:cubicBezTo>
                  <a:pt x="6079255" y="1195175"/>
                  <a:pt x="6079255" y="1195175"/>
                  <a:pt x="6079255" y="1193432"/>
                </a:cubicBezTo>
                <a:lnTo>
                  <a:pt x="6079255" y="1181226"/>
                </a:lnTo>
                <a:cubicBezTo>
                  <a:pt x="6079255" y="1181226"/>
                  <a:pt x="6079255" y="1181226"/>
                  <a:pt x="6080927" y="1181226"/>
                </a:cubicBezTo>
                <a:lnTo>
                  <a:pt x="6092629" y="1181226"/>
                </a:lnTo>
                <a:cubicBezTo>
                  <a:pt x="6092629" y="1181226"/>
                  <a:pt x="6092629" y="1181226"/>
                  <a:pt x="6090957" y="1178612"/>
                </a:cubicBezTo>
                <a:lnTo>
                  <a:pt x="6079255" y="1160306"/>
                </a:lnTo>
                <a:cubicBezTo>
                  <a:pt x="6079255" y="1160306"/>
                  <a:pt x="6079255" y="1160306"/>
                  <a:pt x="6079255" y="1104513"/>
                </a:cubicBezTo>
                <a:cubicBezTo>
                  <a:pt x="6079255" y="1104513"/>
                  <a:pt x="6079255" y="1104513"/>
                  <a:pt x="6303271" y="1104513"/>
                </a:cubicBezTo>
                <a:cubicBezTo>
                  <a:pt x="6303271" y="1104513"/>
                  <a:pt x="6303271" y="1104513"/>
                  <a:pt x="6323331" y="1135896"/>
                </a:cubicBezTo>
                <a:cubicBezTo>
                  <a:pt x="6323331" y="1135896"/>
                  <a:pt x="6323331" y="1135896"/>
                  <a:pt x="6323331" y="1205636"/>
                </a:cubicBezTo>
                <a:cubicBezTo>
                  <a:pt x="6323331" y="1205636"/>
                  <a:pt x="6323331" y="1205636"/>
                  <a:pt x="6321659" y="1205636"/>
                </a:cubicBezTo>
                <a:lnTo>
                  <a:pt x="6309957" y="1205636"/>
                </a:lnTo>
                <a:cubicBezTo>
                  <a:pt x="6309957" y="1205636"/>
                  <a:pt x="6309957" y="1205636"/>
                  <a:pt x="6309957" y="1207379"/>
                </a:cubicBezTo>
                <a:lnTo>
                  <a:pt x="6309957" y="1219584"/>
                </a:lnTo>
                <a:cubicBezTo>
                  <a:pt x="6309957" y="1219584"/>
                  <a:pt x="6309957" y="1219584"/>
                  <a:pt x="6311629" y="1219584"/>
                </a:cubicBezTo>
                <a:lnTo>
                  <a:pt x="6323331" y="1219584"/>
                </a:lnTo>
                <a:cubicBezTo>
                  <a:pt x="6323331" y="1219584"/>
                  <a:pt x="6323331" y="1219584"/>
                  <a:pt x="6323331" y="1221327"/>
                </a:cubicBezTo>
                <a:lnTo>
                  <a:pt x="6323331" y="1233531"/>
                </a:lnTo>
                <a:cubicBezTo>
                  <a:pt x="6323331" y="1233531"/>
                  <a:pt x="6323331" y="1233531"/>
                  <a:pt x="6321659" y="1233531"/>
                </a:cubicBezTo>
                <a:lnTo>
                  <a:pt x="6309957" y="1233531"/>
                </a:lnTo>
                <a:cubicBezTo>
                  <a:pt x="6309957" y="1233531"/>
                  <a:pt x="6309957" y="1233531"/>
                  <a:pt x="6309957" y="1235274"/>
                </a:cubicBezTo>
                <a:lnTo>
                  <a:pt x="6309957" y="1247480"/>
                </a:lnTo>
                <a:cubicBezTo>
                  <a:pt x="6309957" y="1247480"/>
                  <a:pt x="6309957" y="1247480"/>
                  <a:pt x="6311629" y="1247480"/>
                </a:cubicBezTo>
                <a:lnTo>
                  <a:pt x="6323331" y="1247480"/>
                </a:lnTo>
                <a:cubicBezTo>
                  <a:pt x="6323331" y="1247480"/>
                  <a:pt x="6323331" y="1247480"/>
                  <a:pt x="6323331" y="1248788"/>
                </a:cubicBezTo>
                <a:lnTo>
                  <a:pt x="6323331" y="1257941"/>
                </a:lnTo>
                <a:cubicBezTo>
                  <a:pt x="6323331" y="1257941"/>
                  <a:pt x="6323331" y="1257941"/>
                  <a:pt x="6321659" y="1257941"/>
                </a:cubicBezTo>
                <a:lnTo>
                  <a:pt x="6309957" y="1257941"/>
                </a:lnTo>
                <a:cubicBezTo>
                  <a:pt x="6309957" y="1257941"/>
                  <a:pt x="6309957" y="1257941"/>
                  <a:pt x="6309957" y="1259684"/>
                </a:cubicBezTo>
                <a:lnTo>
                  <a:pt x="6309957" y="1271888"/>
                </a:lnTo>
                <a:cubicBezTo>
                  <a:pt x="6309957" y="1271888"/>
                  <a:pt x="6309957" y="1271888"/>
                  <a:pt x="6311629" y="1271888"/>
                </a:cubicBezTo>
                <a:lnTo>
                  <a:pt x="6323331" y="1271888"/>
                </a:lnTo>
                <a:cubicBezTo>
                  <a:pt x="6323331" y="1271888"/>
                  <a:pt x="6323331" y="1271888"/>
                  <a:pt x="6323331" y="1273632"/>
                </a:cubicBezTo>
                <a:lnTo>
                  <a:pt x="6323331" y="1285836"/>
                </a:lnTo>
                <a:cubicBezTo>
                  <a:pt x="6323331" y="1285836"/>
                  <a:pt x="6323331" y="1285836"/>
                  <a:pt x="6321659" y="1285836"/>
                </a:cubicBezTo>
                <a:lnTo>
                  <a:pt x="6309957" y="1285836"/>
                </a:lnTo>
                <a:cubicBezTo>
                  <a:pt x="6309957" y="1285836"/>
                  <a:pt x="6309957" y="1285836"/>
                  <a:pt x="6309957" y="1287579"/>
                </a:cubicBezTo>
                <a:lnTo>
                  <a:pt x="6309957" y="1299785"/>
                </a:lnTo>
                <a:cubicBezTo>
                  <a:pt x="6309957" y="1299785"/>
                  <a:pt x="6309957" y="1299785"/>
                  <a:pt x="6311629" y="1299785"/>
                </a:cubicBezTo>
                <a:lnTo>
                  <a:pt x="6323331" y="1299785"/>
                </a:lnTo>
                <a:cubicBezTo>
                  <a:pt x="6323331" y="1299785"/>
                  <a:pt x="6323331" y="1299785"/>
                  <a:pt x="6323331" y="1301091"/>
                </a:cubicBezTo>
                <a:lnTo>
                  <a:pt x="6323331" y="1310244"/>
                </a:lnTo>
                <a:cubicBezTo>
                  <a:pt x="6323331" y="1310244"/>
                  <a:pt x="6323331" y="1310244"/>
                  <a:pt x="6321659" y="1310244"/>
                </a:cubicBezTo>
                <a:lnTo>
                  <a:pt x="6309957" y="1310244"/>
                </a:lnTo>
                <a:cubicBezTo>
                  <a:pt x="6309957" y="1310244"/>
                  <a:pt x="6309957" y="1310244"/>
                  <a:pt x="6309957" y="1311989"/>
                </a:cubicBezTo>
                <a:lnTo>
                  <a:pt x="6309957" y="1324193"/>
                </a:lnTo>
                <a:cubicBezTo>
                  <a:pt x="6309957" y="1324193"/>
                  <a:pt x="6309957" y="1324193"/>
                  <a:pt x="6311629" y="1324193"/>
                </a:cubicBezTo>
                <a:lnTo>
                  <a:pt x="6323331" y="1324193"/>
                </a:lnTo>
                <a:cubicBezTo>
                  <a:pt x="6323331" y="1324193"/>
                  <a:pt x="6323331" y="1324193"/>
                  <a:pt x="6323331" y="1325936"/>
                </a:cubicBezTo>
                <a:lnTo>
                  <a:pt x="6323331" y="1338141"/>
                </a:lnTo>
                <a:cubicBezTo>
                  <a:pt x="6323331" y="1338141"/>
                  <a:pt x="6323331" y="1338141"/>
                  <a:pt x="6321659" y="1338141"/>
                </a:cubicBezTo>
                <a:lnTo>
                  <a:pt x="6309957" y="1338141"/>
                </a:lnTo>
                <a:cubicBezTo>
                  <a:pt x="6309957" y="1338141"/>
                  <a:pt x="6309957" y="1338141"/>
                  <a:pt x="6309957" y="1339448"/>
                </a:cubicBezTo>
                <a:lnTo>
                  <a:pt x="6309957" y="1348602"/>
                </a:lnTo>
                <a:cubicBezTo>
                  <a:pt x="6309957" y="1348602"/>
                  <a:pt x="6309957" y="1348602"/>
                  <a:pt x="6311629" y="1348602"/>
                </a:cubicBezTo>
                <a:lnTo>
                  <a:pt x="6323331" y="1348602"/>
                </a:lnTo>
                <a:cubicBezTo>
                  <a:pt x="6323331" y="1348602"/>
                  <a:pt x="6323331" y="1348602"/>
                  <a:pt x="6323331" y="1350345"/>
                </a:cubicBezTo>
                <a:lnTo>
                  <a:pt x="6323331" y="1362549"/>
                </a:lnTo>
                <a:cubicBezTo>
                  <a:pt x="6323331" y="1362549"/>
                  <a:pt x="6323331" y="1362549"/>
                  <a:pt x="6321659" y="1362549"/>
                </a:cubicBezTo>
                <a:lnTo>
                  <a:pt x="6309957" y="1362549"/>
                </a:lnTo>
                <a:cubicBezTo>
                  <a:pt x="6309957" y="1362549"/>
                  <a:pt x="6309957" y="1362549"/>
                  <a:pt x="6309957" y="1364292"/>
                </a:cubicBezTo>
                <a:lnTo>
                  <a:pt x="6309957" y="1376498"/>
                </a:lnTo>
                <a:cubicBezTo>
                  <a:pt x="6309957" y="1376498"/>
                  <a:pt x="6309957" y="1376498"/>
                  <a:pt x="6311629" y="1376498"/>
                </a:cubicBezTo>
                <a:lnTo>
                  <a:pt x="6323331" y="1376498"/>
                </a:lnTo>
                <a:cubicBezTo>
                  <a:pt x="6323331" y="1376498"/>
                  <a:pt x="6323331" y="1376498"/>
                  <a:pt x="6323331" y="1378241"/>
                </a:cubicBezTo>
                <a:lnTo>
                  <a:pt x="6323331" y="1390445"/>
                </a:lnTo>
                <a:cubicBezTo>
                  <a:pt x="6323331" y="1390445"/>
                  <a:pt x="6323331" y="1390445"/>
                  <a:pt x="6321659" y="1390445"/>
                </a:cubicBezTo>
                <a:lnTo>
                  <a:pt x="6309957" y="1390445"/>
                </a:lnTo>
                <a:cubicBezTo>
                  <a:pt x="6309957" y="1390445"/>
                  <a:pt x="6309957" y="1390445"/>
                  <a:pt x="6309957" y="1391753"/>
                </a:cubicBezTo>
                <a:lnTo>
                  <a:pt x="6309957" y="1400906"/>
                </a:lnTo>
                <a:cubicBezTo>
                  <a:pt x="6309957" y="1400906"/>
                  <a:pt x="6309957" y="1400906"/>
                  <a:pt x="6311629" y="1400906"/>
                </a:cubicBezTo>
                <a:lnTo>
                  <a:pt x="6323331" y="1400906"/>
                </a:lnTo>
                <a:cubicBezTo>
                  <a:pt x="6323331" y="1400906"/>
                  <a:pt x="6323331" y="1400906"/>
                  <a:pt x="6323331" y="1402650"/>
                </a:cubicBezTo>
                <a:lnTo>
                  <a:pt x="6323331" y="1414854"/>
                </a:lnTo>
                <a:cubicBezTo>
                  <a:pt x="6323331" y="1414854"/>
                  <a:pt x="6323331" y="1414854"/>
                  <a:pt x="6321659" y="1414854"/>
                </a:cubicBezTo>
                <a:lnTo>
                  <a:pt x="6309957" y="1414854"/>
                </a:lnTo>
                <a:cubicBezTo>
                  <a:pt x="6309957" y="1414854"/>
                  <a:pt x="6309957" y="1414854"/>
                  <a:pt x="6309957" y="1416597"/>
                </a:cubicBezTo>
                <a:lnTo>
                  <a:pt x="6309957" y="1428803"/>
                </a:lnTo>
                <a:cubicBezTo>
                  <a:pt x="6309957" y="1428803"/>
                  <a:pt x="6309957" y="1428803"/>
                  <a:pt x="6311629" y="1428803"/>
                </a:cubicBezTo>
                <a:lnTo>
                  <a:pt x="6323331" y="1428803"/>
                </a:lnTo>
                <a:cubicBezTo>
                  <a:pt x="6323331" y="1428803"/>
                  <a:pt x="6323331" y="1428803"/>
                  <a:pt x="6323331" y="1430109"/>
                </a:cubicBezTo>
                <a:lnTo>
                  <a:pt x="6323331" y="1439262"/>
                </a:lnTo>
                <a:cubicBezTo>
                  <a:pt x="6323331" y="1439262"/>
                  <a:pt x="6323331" y="1439262"/>
                  <a:pt x="6321659" y="1439262"/>
                </a:cubicBezTo>
                <a:lnTo>
                  <a:pt x="6309957" y="1439262"/>
                </a:lnTo>
                <a:cubicBezTo>
                  <a:pt x="6309957" y="1439262"/>
                  <a:pt x="6309957" y="1439262"/>
                  <a:pt x="6309957" y="1441007"/>
                </a:cubicBezTo>
                <a:lnTo>
                  <a:pt x="6309957" y="1453211"/>
                </a:lnTo>
                <a:cubicBezTo>
                  <a:pt x="6309957" y="1453211"/>
                  <a:pt x="6309957" y="1453211"/>
                  <a:pt x="6311629" y="1453211"/>
                </a:cubicBezTo>
                <a:lnTo>
                  <a:pt x="6323331" y="1453211"/>
                </a:lnTo>
                <a:cubicBezTo>
                  <a:pt x="6323331" y="1453211"/>
                  <a:pt x="6323331" y="1453211"/>
                  <a:pt x="6323331" y="1454954"/>
                </a:cubicBezTo>
                <a:lnTo>
                  <a:pt x="6323331" y="1467159"/>
                </a:lnTo>
                <a:cubicBezTo>
                  <a:pt x="6323331" y="1467159"/>
                  <a:pt x="6323331" y="1467159"/>
                  <a:pt x="6321659" y="1467159"/>
                </a:cubicBezTo>
                <a:lnTo>
                  <a:pt x="6309957" y="1467159"/>
                </a:lnTo>
                <a:cubicBezTo>
                  <a:pt x="6309957" y="1467159"/>
                  <a:pt x="6309957" y="1467159"/>
                  <a:pt x="6309957" y="1468902"/>
                </a:cubicBezTo>
                <a:lnTo>
                  <a:pt x="6309957" y="1481106"/>
                </a:lnTo>
                <a:cubicBezTo>
                  <a:pt x="6309957" y="1481106"/>
                  <a:pt x="6309957" y="1481106"/>
                  <a:pt x="6311629" y="1481106"/>
                </a:cubicBezTo>
                <a:lnTo>
                  <a:pt x="6323331" y="1481106"/>
                </a:lnTo>
                <a:cubicBezTo>
                  <a:pt x="6323331" y="1481106"/>
                  <a:pt x="6323331" y="1481106"/>
                  <a:pt x="6323331" y="1482414"/>
                </a:cubicBezTo>
                <a:lnTo>
                  <a:pt x="6323331" y="1491567"/>
                </a:lnTo>
                <a:cubicBezTo>
                  <a:pt x="6323331" y="1491567"/>
                  <a:pt x="6323331" y="1491567"/>
                  <a:pt x="6321659" y="1491567"/>
                </a:cubicBezTo>
                <a:lnTo>
                  <a:pt x="6309957" y="1491567"/>
                </a:lnTo>
                <a:cubicBezTo>
                  <a:pt x="6309957" y="1491567"/>
                  <a:pt x="6309957" y="1491567"/>
                  <a:pt x="6309957" y="1493310"/>
                </a:cubicBezTo>
                <a:lnTo>
                  <a:pt x="6309957" y="1505516"/>
                </a:lnTo>
                <a:cubicBezTo>
                  <a:pt x="6309957" y="1505516"/>
                  <a:pt x="6309957" y="1505516"/>
                  <a:pt x="6346735" y="1536899"/>
                </a:cubicBezTo>
                <a:cubicBezTo>
                  <a:pt x="6346735" y="1543872"/>
                  <a:pt x="6346735" y="1543872"/>
                  <a:pt x="6345065" y="1543872"/>
                </a:cubicBezTo>
                <a:lnTo>
                  <a:pt x="6333361" y="1543872"/>
                </a:lnTo>
                <a:cubicBezTo>
                  <a:pt x="6333361" y="1543872"/>
                  <a:pt x="6333361" y="1543872"/>
                  <a:pt x="6333361" y="1582229"/>
                </a:cubicBezTo>
                <a:cubicBezTo>
                  <a:pt x="6333361" y="1582229"/>
                  <a:pt x="6333361" y="1582229"/>
                  <a:pt x="6335035" y="1582229"/>
                </a:cubicBezTo>
                <a:lnTo>
                  <a:pt x="6346735" y="1582229"/>
                </a:lnTo>
                <a:cubicBezTo>
                  <a:pt x="6346735" y="1582229"/>
                  <a:pt x="6346735" y="1582229"/>
                  <a:pt x="6346735" y="1580049"/>
                </a:cubicBezTo>
                <a:lnTo>
                  <a:pt x="6346735" y="1564794"/>
                </a:lnTo>
                <a:cubicBezTo>
                  <a:pt x="6346735" y="1564794"/>
                  <a:pt x="6346735" y="1564794"/>
                  <a:pt x="6348407" y="1563923"/>
                </a:cubicBezTo>
                <a:lnTo>
                  <a:pt x="6360109" y="1557821"/>
                </a:lnTo>
                <a:cubicBezTo>
                  <a:pt x="6360109" y="1557821"/>
                  <a:pt x="6360109" y="1557821"/>
                  <a:pt x="6363035" y="1557821"/>
                </a:cubicBezTo>
                <a:lnTo>
                  <a:pt x="6383515" y="1557821"/>
                </a:lnTo>
                <a:cubicBezTo>
                  <a:pt x="6383515" y="1557821"/>
                  <a:pt x="6383515" y="1557821"/>
                  <a:pt x="6383515" y="1559564"/>
                </a:cubicBezTo>
                <a:lnTo>
                  <a:pt x="6383515" y="1571768"/>
                </a:lnTo>
                <a:cubicBezTo>
                  <a:pt x="6383515" y="1571768"/>
                  <a:pt x="6383515" y="1571768"/>
                  <a:pt x="6386023" y="1571768"/>
                </a:cubicBezTo>
                <a:lnTo>
                  <a:pt x="6403577" y="1571768"/>
                </a:lnTo>
                <a:cubicBezTo>
                  <a:pt x="6403577" y="1578741"/>
                  <a:pt x="6403577" y="1578741"/>
                  <a:pt x="6405247" y="1578741"/>
                </a:cubicBezTo>
                <a:lnTo>
                  <a:pt x="6416951" y="1578741"/>
                </a:lnTo>
                <a:cubicBezTo>
                  <a:pt x="6416951" y="1578741"/>
                  <a:pt x="6416951" y="1578741"/>
                  <a:pt x="6453729" y="1627559"/>
                </a:cubicBezTo>
                <a:cubicBezTo>
                  <a:pt x="6453729" y="1627559"/>
                  <a:pt x="6453729" y="1627559"/>
                  <a:pt x="6453729" y="1679864"/>
                </a:cubicBezTo>
                <a:cubicBezTo>
                  <a:pt x="6453729" y="1679864"/>
                  <a:pt x="6453729" y="1679864"/>
                  <a:pt x="6455399" y="1679864"/>
                </a:cubicBezTo>
                <a:lnTo>
                  <a:pt x="6467103" y="1679864"/>
                </a:lnTo>
                <a:cubicBezTo>
                  <a:pt x="6467103" y="1679864"/>
                  <a:pt x="6467103" y="1679864"/>
                  <a:pt x="6467103" y="1676813"/>
                </a:cubicBezTo>
                <a:lnTo>
                  <a:pt x="6467103" y="1655456"/>
                </a:lnTo>
                <a:cubicBezTo>
                  <a:pt x="6467103" y="1655456"/>
                  <a:pt x="6467103" y="1655456"/>
                  <a:pt x="6468357" y="1655456"/>
                </a:cubicBezTo>
                <a:lnTo>
                  <a:pt x="6477133" y="1655456"/>
                </a:lnTo>
                <a:cubicBezTo>
                  <a:pt x="6477133" y="1655456"/>
                  <a:pt x="6477133" y="1655456"/>
                  <a:pt x="6477133" y="1657199"/>
                </a:cubicBezTo>
                <a:lnTo>
                  <a:pt x="6477133" y="1669403"/>
                </a:lnTo>
                <a:cubicBezTo>
                  <a:pt x="6490507" y="1672891"/>
                  <a:pt x="6490507" y="1672891"/>
                  <a:pt x="6490507" y="1596177"/>
                </a:cubicBezTo>
                <a:cubicBezTo>
                  <a:pt x="6490507" y="1596177"/>
                  <a:pt x="6490507" y="1596177"/>
                  <a:pt x="6547347" y="1596177"/>
                </a:cubicBezTo>
                <a:cubicBezTo>
                  <a:pt x="6547347" y="1596177"/>
                  <a:pt x="6547347" y="1596177"/>
                  <a:pt x="6547347" y="1484594"/>
                </a:cubicBezTo>
                <a:cubicBezTo>
                  <a:pt x="6547347" y="1484594"/>
                  <a:pt x="6547347" y="1484594"/>
                  <a:pt x="6600843" y="1484594"/>
                </a:cubicBezTo>
                <a:cubicBezTo>
                  <a:pt x="6600843" y="1484594"/>
                  <a:pt x="6600843" y="1484594"/>
                  <a:pt x="6600843" y="1483286"/>
                </a:cubicBezTo>
                <a:lnTo>
                  <a:pt x="6600843" y="1474133"/>
                </a:lnTo>
                <a:cubicBezTo>
                  <a:pt x="6600843" y="1474133"/>
                  <a:pt x="6600843" y="1474133"/>
                  <a:pt x="6634279" y="1474133"/>
                </a:cubicBezTo>
                <a:cubicBezTo>
                  <a:pt x="6634279" y="1474133"/>
                  <a:pt x="6634279" y="1474133"/>
                  <a:pt x="6634279" y="1414854"/>
                </a:cubicBezTo>
                <a:cubicBezTo>
                  <a:pt x="6627591" y="1414854"/>
                  <a:pt x="6627591" y="1414854"/>
                  <a:pt x="6627591" y="1412238"/>
                </a:cubicBezTo>
                <a:lnTo>
                  <a:pt x="6627591" y="1393932"/>
                </a:lnTo>
                <a:lnTo>
                  <a:pt x="6634279" y="1397420"/>
                </a:lnTo>
                <a:cubicBezTo>
                  <a:pt x="6634279" y="1397420"/>
                  <a:pt x="6634279" y="1397420"/>
                  <a:pt x="6640967" y="1362549"/>
                </a:cubicBezTo>
                <a:cubicBezTo>
                  <a:pt x="6640967" y="1362549"/>
                  <a:pt x="6640967" y="1362549"/>
                  <a:pt x="6647653" y="1397420"/>
                </a:cubicBezTo>
                <a:cubicBezTo>
                  <a:pt x="6650997" y="1393932"/>
                  <a:pt x="6650997" y="1393932"/>
                  <a:pt x="6651415" y="1392624"/>
                </a:cubicBezTo>
                <a:lnTo>
                  <a:pt x="6654341" y="1383471"/>
                </a:lnTo>
                <a:cubicBezTo>
                  <a:pt x="6654341" y="1383471"/>
                  <a:pt x="6654341" y="1383471"/>
                  <a:pt x="6655175" y="1381728"/>
                </a:cubicBezTo>
                <a:lnTo>
                  <a:pt x="6661027" y="1369523"/>
                </a:lnTo>
                <a:cubicBezTo>
                  <a:pt x="6661027" y="1369523"/>
                  <a:pt x="6661027" y="1369523"/>
                  <a:pt x="6661863" y="1367780"/>
                </a:cubicBezTo>
                <a:lnTo>
                  <a:pt x="6667715" y="1355576"/>
                </a:lnTo>
                <a:cubicBezTo>
                  <a:pt x="6667715" y="1355576"/>
                  <a:pt x="6667715" y="1355576"/>
                  <a:pt x="6669803" y="1354268"/>
                </a:cubicBezTo>
                <a:lnTo>
                  <a:pt x="6684431" y="1345115"/>
                </a:lnTo>
                <a:cubicBezTo>
                  <a:pt x="6684431" y="1345115"/>
                  <a:pt x="6684431" y="1345115"/>
                  <a:pt x="6686939" y="1343372"/>
                </a:cubicBezTo>
                <a:lnTo>
                  <a:pt x="6704493" y="1331166"/>
                </a:lnTo>
                <a:cubicBezTo>
                  <a:pt x="6704493" y="1331166"/>
                  <a:pt x="6704493" y="1331166"/>
                  <a:pt x="6705747" y="1329423"/>
                </a:cubicBezTo>
                <a:lnTo>
                  <a:pt x="6714523" y="1317219"/>
                </a:lnTo>
                <a:cubicBezTo>
                  <a:pt x="6714523" y="1317219"/>
                  <a:pt x="6714523" y="1317219"/>
                  <a:pt x="6715359" y="1314168"/>
                </a:cubicBezTo>
                <a:lnTo>
                  <a:pt x="6721211" y="1292810"/>
                </a:lnTo>
                <a:cubicBezTo>
                  <a:pt x="6721211" y="1292810"/>
                  <a:pt x="6721211" y="1292810"/>
                  <a:pt x="6722047" y="1295861"/>
                </a:cubicBezTo>
                <a:lnTo>
                  <a:pt x="6727897" y="1317219"/>
                </a:lnTo>
                <a:cubicBezTo>
                  <a:pt x="6727897" y="1317219"/>
                  <a:pt x="6727897" y="1317219"/>
                  <a:pt x="6728733" y="1318526"/>
                </a:cubicBezTo>
                <a:lnTo>
                  <a:pt x="6734585" y="1327680"/>
                </a:lnTo>
                <a:cubicBezTo>
                  <a:pt x="6734585" y="1327680"/>
                  <a:pt x="6734585" y="1327680"/>
                  <a:pt x="6736675" y="1329423"/>
                </a:cubicBezTo>
                <a:lnTo>
                  <a:pt x="6751303" y="1341627"/>
                </a:lnTo>
                <a:cubicBezTo>
                  <a:pt x="6751303" y="1341627"/>
                  <a:pt x="6751303" y="1341627"/>
                  <a:pt x="6752975" y="1343372"/>
                </a:cubicBezTo>
                <a:lnTo>
                  <a:pt x="6764675" y="1355576"/>
                </a:lnTo>
                <a:cubicBezTo>
                  <a:pt x="6764675" y="1355576"/>
                  <a:pt x="6764675" y="1355576"/>
                  <a:pt x="6766349" y="1357319"/>
                </a:cubicBezTo>
                <a:lnTo>
                  <a:pt x="6778051" y="1369523"/>
                </a:lnTo>
                <a:cubicBezTo>
                  <a:pt x="6778051" y="1369523"/>
                  <a:pt x="6778051" y="1369523"/>
                  <a:pt x="6778469" y="1371267"/>
                </a:cubicBezTo>
                <a:lnTo>
                  <a:pt x="6781393" y="1383471"/>
                </a:lnTo>
                <a:cubicBezTo>
                  <a:pt x="6781393" y="1383471"/>
                  <a:pt x="6781393" y="1383471"/>
                  <a:pt x="6781811" y="1385214"/>
                </a:cubicBezTo>
                <a:lnTo>
                  <a:pt x="6784737" y="1397420"/>
                </a:lnTo>
                <a:cubicBezTo>
                  <a:pt x="6791423" y="1397420"/>
                  <a:pt x="6791423" y="1397420"/>
                  <a:pt x="6794767" y="1362549"/>
                </a:cubicBezTo>
                <a:cubicBezTo>
                  <a:pt x="6794767" y="1362549"/>
                  <a:pt x="6794767" y="1362549"/>
                  <a:pt x="6801455" y="1397420"/>
                </a:cubicBezTo>
                <a:cubicBezTo>
                  <a:pt x="6808141" y="1397420"/>
                  <a:pt x="6808141" y="1397420"/>
                  <a:pt x="6808141" y="1400034"/>
                </a:cubicBezTo>
                <a:lnTo>
                  <a:pt x="6808141" y="1418342"/>
                </a:lnTo>
                <a:cubicBezTo>
                  <a:pt x="6801455" y="1418342"/>
                  <a:pt x="6801455" y="1418342"/>
                  <a:pt x="6801455" y="1467159"/>
                </a:cubicBezTo>
                <a:cubicBezTo>
                  <a:pt x="6801455" y="1467159"/>
                  <a:pt x="6801455" y="1467159"/>
                  <a:pt x="6803127" y="1467159"/>
                </a:cubicBezTo>
                <a:lnTo>
                  <a:pt x="6814829" y="1467159"/>
                </a:lnTo>
                <a:cubicBezTo>
                  <a:pt x="6814829" y="1474133"/>
                  <a:pt x="6814829" y="1474133"/>
                  <a:pt x="6816083" y="1474133"/>
                </a:cubicBezTo>
                <a:lnTo>
                  <a:pt x="6824859" y="1474133"/>
                </a:lnTo>
                <a:cubicBezTo>
                  <a:pt x="6824859" y="1474133"/>
                  <a:pt x="6824859" y="1474133"/>
                  <a:pt x="6824859" y="1472390"/>
                </a:cubicBezTo>
                <a:lnTo>
                  <a:pt x="6824859" y="1460184"/>
                </a:lnTo>
                <a:cubicBezTo>
                  <a:pt x="6824859" y="1460184"/>
                  <a:pt x="6824859" y="1460184"/>
                  <a:pt x="6828203" y="1460184"/>
                </a:cubicBezTo>
                <a:lnTo>
                  <a:pt x="6851607" y="1460184"/>
                </a:lnTo>
                <a:cubicBezTo>
                  <a:pt x="6851607" y="1460184"/>
                  <a:pt x="6851607" y="1460184"/>
                  <a:pt x="6851607" y="1457133"/>
                </a:cubicBezTo>
                <a:lnTo>
                  <a:pt x="6851607" y="1435776"/>
                </a:lnTo>
                <a:cubicBezTo>
                  <a:pt x="6851607" y="1435776"/>
                  <a:pt x="6851607" y="1435776"/>
                  <a:pt x="6908447" y="1435776"/>
                </a:cubicBezTo>
                <a:cubicBezTo>
                  <a:pt x="6908447" y="1435776"/>
                  <a:pt x="6908447" y="1435776"/>
                  <a:pt x="6908447" y="1437956"/>
                </a:cubicBezTo>
                <a:lnTo>
                  <a:pt x="6908447" y="1453211"/>
                </a:lnTo>
                <a:cubicBezTo>
                  <a:pt x="6908447" y="1453211"/>
                  <a:pt x="6908447" y="1453211"/>
                  <a:pt x="6938539" y="1453211"/>
                </a:cubicBezTo>
                <a:cubicBezTo>
                  <a:pt x="6938539" y="1453211"/>
                  <a:pt x="6938539" y="1453211"/>
                  <a:pt x="6938539" y="1456698"/>
                </a:cubicBezTo>
                <a:lnTo>
                  <a:pt x="6938539" y="1481106"/>
                </a:lnTo>
                <a:cubicBezTo>
                  <a:pt x="6931853" y="1481106"/>
                  <a:pt x="6931853" y="1481106"/>
                  <a:pt x="6931853" y="1482414"/>
                </a:cubicBezTo>
                <a:lnTo>
                  <a:pt x="6931853" y="1491567"/>
                </a:lnTo>
                <a:cubicBezTo>
                  <a:pt x="6938539" y="1491567"/>
                  <a:pt x="6938539" y="1491567"/>
                  <a:pt x="6938539" y="1494183"/>
                </a:cubicBezTo>
                <a:lnTo>
                  <a:pt x="6938539" y="1512489"/>
                </a:lnTo>
                <a:lnTo>
                  <a:pt x="6931853" y="1519463"/>
                </a:lnTo>
                <a:cubicBezTo>
                  <a:pt x="6931853" y="1519463"/>
                  <a:pt x="6931853" y="1519463"/>
                  <a:pt x="6931853" y="1603151"/>
                </a:cubicBezTo>
                <a:cubicBezTo>
                  <a:pt x="6931853" y="1603151"/>
                  <a:pt x="6931853" y="1603151"/>
                  <a:pt x="6934777" y="1603151"/>
                </a:cubicBezTo>
                <a:lnTo>
                  <a:pt x="6955257" y="1603151"/>
                </a:lnTo>
                <a:cubicBezTo>
                  <a:pt x="6955257" y="1610124"/>
                  <a:pt x="6955257" y="1610124"/>
                  <a:pt x="6957763" y="1610124"/>
                </a:cubicBezTo>
                <a:lnTo>
                  <a:pt x="6975319" y="1610124"/>
                </a:lnTo>
                <a:cubicBezTo>
                  <a:pt x="6975319" y="1610124"/>
                  <a:pt x="6975319" y="1610124"/>
                  <a:pt x="6975319" y="1613175"/>
                </a:cubicBezTo>
                <a:lnTo>
                  <a:pt x="6975319" y="1634534"/>
                </a:lnTo>
                <a:cubicBezTo>
                  <a:pt x="6975319" y="1634534"/>
                  <a:pt x="6975319" y="1634534"/>
                  <a:pt x="6977827" y="1634534"/>
                </a:cubicBezTo>
                <a:lnTo>
                  <a:pt x="6995379" y="1634534"/>
                </a:lnTo>
                <a:cubicBezTo>
                  <a:pt x="6995379" y="1634534"/>
                  <a:pt x="6995379" y="1634534"/>
                  <a:pt x="6995379" y="1631483"/>
                </a:cubicBezTo>
                <a:lnTo>
                  <a:pt x="6995379" y="1610124"/>
                </a:lnTo>
                <a:cubicBezTo>
                  <a:pt x="6995379" y="1610124"/>
                  <a:pt x="6995379" y="1610124"/>
                  <a:pt x="6998303" y="1608381"/>
                </a:cubicBezTo>
                <a:lnTo>
                  <a:pt x="7018783" y="1596177"/>
                </a:lnTo>
                <a:cubicBezTo>
                  <a:pt x="7018783" y="1596177"/>
                  <a:pt x="7018783" y="1596177"/>
                  <a:pt x="7018783" y="1564794"/>
                </a:cubicBezTo>
                <a:cubicBezTo>
                  <a:pt x="7012097" y="1564794"/>
                  <a:pt x="7012097" y="1564794"/>
                  <a:pt x="7012097" y="1529924"/>
                </a:cubicBezTo>
                <a:cubicBezTo>
                  <a:pt x="7012097" y="1529924"/>
                  <a:pt x="7012097" y="1529924"/>
                  <a:pt x="7013767" y="1529924"/>
                </a:cubicBezTo>
                <a:lnTo>
                  <a:pt x="7025471" y="1529924"/>
                </a:lnTo>
                <a:cubicBezTo>
                  <a:pt x="7025471" y="1526438"/>
                  <a:pt x="7025471" y="1526438"/>
                  <a:pt x="7055563" y="1526438"/>
                </a:cubicBezTo>
                <a:cubicBezTo>
                  <a:pt x="7055563" y="1526438"/>
                  <a:pt x="7055563" y="1526438"/>
                  <a:pt x="7055563" y="1524693"/>
                </a:cubicBezTo>
                <a:lnTo>
                  <a:pt x="7055563" y="1512489"/>
                </a:lnTo>
                <a:cubicBezTo>
                  <a:pt x="7055563" y="1512489"/>
                  <a:pt x="7055563" y="1512489"/>
                  <a:pt x="7058071" y="1512489"/>
                </a:cubicBezTo>
                <a:lnTo>
                  <a:pt x="7075623" y="1512489"/>
                </a:lnTo>
                <a:cubicBezTo>
                  <a:pt x="7075623" y="1512489"/>
                  <a:pt x="7075623" y="1512489"/>
                  <a:pt x="7075623" y="1338141"/>
                </a:cubicBezTo>
                <a:cubicBezTo>
                  <a:pt x="7075623" y="1338141"/>
                  <a:pt x="7075623" y="1338141"/>
                  <a:pt x="7077295" y="1338141"/>
                </a:cubicBezTo>
                <a:lnTo>
                  <a:pt x="7088997" y="1338141"/>
                </a:lnTo>
                <a:cubicBezTo>
                  <a:pt x="7088997" y="1338141"/>
                  <a:pt x="7088997" y="1338141"/>
                  <a:pt x="7088997" y="1334654"/>
                </a:cubicBezTo>
                <a:lnTo>
                  <a:pt x="7088997" y="1310244"/>
                </a:lnTo>
                <a:cubicBezTo>
                  <a:pt x="7092341" y="1310244"/>
                  <a:pt x="7092341" y="1310244"/>
                  <a:pt x="7092341" y="1240505"/>
                </a:cubicBezTo>
                <a:cubicBezTo>
                  <a:pt x="7092341" y="1240505"/>
                  <a:pt x="7092341" y="1240505"/>
                  <a:pt x="7094013" y="1240505"/>
                </a:cubicBezTo>
                <a:lnTo>
                  <a:pt x="7105715" y="1240505"/>
                </a:lnTo>
                <a:cubicBezTo>
                  <a:pt x="7105715" y="1240505"/>
                  <a:pt x="7105715" y="1240505"/>
                  <a:pt x="7105715" y="1242249"/>
                </a:cubicBezTo>
                <a:lnTo>
                  <a:pt x="7105715" y="1254453"/>
                </a:lnTo>
                <a:cubicBezTo>
                  <a:pt x="7112401" y="1254453"/>
                  <a:pt x="7112401" y="1254453"/>
                  <a:pt x="7112401" y="1250966"/>
                </a:cubicBezTo>
                <a:lnTo>
                  <a:pt x="7112401" y="1226558"/>
                </a:lnTo>
                <a:cubicBezTo>
                  <a:pt x="7112401" y="1226558"/>
                  <a:pt x="7112401" y="1226558"/>
                  <a:pt x="7114491" y="1225686"/>
                </a:cubicBezTo>
                <a:lnTo>
                  <a:pt x="7129119" y="1219584"/>
                </a:lnTo>
                <a:cubicBezTo>
                  <a:pt x="7129119" y="1219584"/>
                  <a:pt x="7129119" y="1219584"/>
                  <a:pt x="7130791" y="1220456"/>
                </a:cubicBezTo>
                <a:lnTo>
                  <a:pt x="7142493" y="1226558"/>
                </a:lnTo>
                <a:cubicBezTo>
                  <a:pt x="7142493" y="1226558"/>
                  <a:pt x="7142493" y="1226558"/>
                  <a:pt x="7145001" y="1226558"/>
                </a:cubicBezTo>
                <a:lnTo>
                  <a:pt x="7162555" y="1226558"/>
                </a:lnTo>
                <a:cubicBezTo>
                  <a:pt x="7162555" y="1226558"/>
                  <a:pt x="7162555" y="1226558"/>
                  <a:pt x="7162555" y="1181226"/>
                </a:cubicBezTo>
                <a:cubicBezTo>
                  <a:pt x="7162555" y="1181226"/>
                  <a:pt x="7162555" y="1181226"/>
                  <a:pt x="7164227" y="1181226"/>
                </a:cubicBezTo>
                <a:lnTo>
                  <a:pt x="7175927" y="1181226"/>
                </a:lnTo>
                <a:cubicBezTo>
                  <a:pt x="7175927" y="1188201"/>
                  <a:pt x="7175927" y="1188201"/>
                  <a:pt x="7178017" y="1188201"/>
                </a:cubicBezTo>
                <a:lnTo>
                  <a:pt x="7192647" y="1188201"/>
                </a:lnTo>
                <a:cubicBezTo>
                  <a:pt x="7192647" y="1181226"/>
                  <a:pt x="7192647" y="1181226"/>
                  <a:pt x="7194319" y="1181226"/>
                </a:cubicBezTo>
                <a:lnTo>
                  <a:pt x="7206021" y="1181226"/>
                </a:lnTo>
                <a:cubicBezTo>
                  <a:pt x="7206021" y="1181226"/>
                  <a:pt x="7206021" y="1181226"/>
                  <a:pt x="7206021" y="1233531"/>
                </a:cubicBezTo>
                <a:cubicBezTo>
                  <a:pt x="7206021" y="1233531"/>
                  <a:pt x="7206021" y="1233531"/>
                  <a:pt x="7208111" y="1235274"/>
                </a:cubicBezTo>
                <a:lnTo>
                  <a:pt x="7222739" y="1247480"/>
                </a:lnTo>
                <a:cubicBezTo>
                  <a:pt x="7219395" y="1257941"/>
                  <a:pt x="7219395" y="1257941"/>
                  <a:pt x="7256173" y="1257941"/>
                </a:cubicBezTo>
                <a:cubicBezTo>
                  <a:pt x="7256173" y="1257941"/>
                  <a:pt x="7256173" y="1257941"/>
                  <a:pt x="7256173" y="1255761"/>
                </a:cubicBezTo>
                <a:lnTo>
                  <a:pt x="7256173" y="1240505"/>
                </a:lnTo>
                <a:cubicBezTo>
                  <a:pt x="7256173" y="1240505"/>
                  <a:pt x="7256173" y="1240505"/>
                  <a:pt x="7299639" y="1226558"/>
                </a:cubicBezTo>
                <a:cubicBezTo>
                  <a:pt x="7299639" y="1226558"/>
                  <a:pt x="7299639" y="1226558"/>
                  <a:pt x="7299639" y="1224815"/>
                </a:cubicBezTo>
                <a:lnTo>
                  <a:pt x="7299639" y="1212609"/>
                </a:lnTo>
                <a:cubicBezTo>
                  <a:pt x="7299639" y="1212609"/>
                  <a:pt x="7299639" y="1212609"/>
                  <a:pt x="7300893" y="1212609"/>
                </a:cubicBezTo>
                <a:lnTo>
                  <a:pt x="7309669" y="1212609"/>
                </a:lnTo>
                <a:cubicBezTo>
                  <a:pt x="7309669" y="1212609"/>
                  <a:pt x="7309669" y="1212609"/>
                  <a:pt x="7309669" y="1211303"/>
                </a:cubicBezTo>
                <a:lnTo>
                  <a:pt x="7309669" y="1202148"/>
                </a:lnTo>
                <a:cubicBezTo>
                  <a:pt x="7309669" y="1202148"/>
                  <a:pt x="7309669" y="1202148"/>
                  <a:pt x="7313013" y="1202148"/>
                </a:cubicBezTo>
                <a:lnTo>
                  <a:pt x="7336417" y="1202148"/>
                </a:lnTo>
                <a:cubicBezTo>
                  <a:pt x="7336417" y="1202148"/>
                  <a:pt x="7336417" y="1202148"/>
                  <a:pt x="7336417" y="1203456"/>
                </a:cubicBezTo>
                <a:lnTo>
                  <a:pt x="7336417" y="1212609"/>
                </a:lnTo>
                <a:cubicBezTo>
                  <a:pt x="7336417" y="1212609"/>
                  <a:pt x="7336417" y="1212609"/>
                  <a:pt x="7338925" y="1212609"/>
                </a:cubicBezTo>
                <a:lnTo>
                  <a:pt x="7356479" y="1212609"/>
                </a:lnTo>
                <a:cubicBezTo>
                  <a:pt x="7356479" y="1212609"/>
                  <a:pt x="7356479" y="1212609"/>
                  <a:pt x="7356479" y="1215225"/>
                </a:cubicBezTo>
                <a:lnTo>
                  <a:pt x="7356479" y="1233531"/>
                </a:lnTo>
                <a:cubicBezTo>
                  <a:pt x="7356479" y="1233531"/>
                  <a:pt x="7356479" y="1233531"/>
                  <a:pt x="7393257" y="1233531"/>
                </a:cubicBezTo>
                <a:cubicBezTo>
                  <a:pt x="7393257" y="1233531"/>
                  <a:pt x="7393257" y="1233531"/>
                  <a:pt x="7393257" y="1231788"/>
                </a:cubicBezTo>
                <a:lnTo>
                  <a:pt x="7393257" y="1219584"/>
                </a:lnTo>
                <a:cubicBezTo>
                  <a:pt x="7393257" y="1219584"/>
                  <a:pt x="7393257" y="1219584"/>
                  <a:pt x="7395347" y="1219584"/>
                </a:cubicBezTo>
                <a:lnTo>
                  <a:pt x="7409975" y="1219584"/>
                </a:lnTo>
                <a:cubicBezTo>
                  <a:pt x="7409975" y="1219584"/>
                  <a:pt x="7409975" y="1219584"/>
                  <a:pt x="7409975" y="1217840"/>
                </a:cubicBezTo>
                <a:lnTo>
                  <a:pt x="7409975" y="1205636"/>
                </a:lnTo>
                <a:cubicBezTo>
                  <a:pt x="7409975" y="1205636"/>
                  <a:pt x="7409975" y="1205636"/>
                  <a:pt x="7412483" y="1205636"/>
                </a:cubicBezTo>
                <a:lnTo>
                  <a:pt x="7430035" y="1205636"/>
                </a:lnTo>
                <a:cubicBezTo>
                  <a:pt x="7430035" y="1205636"/>
                  <a:pt x="7430035" y="1205636"/>
                  <a:pt x="7430035" y="1207379"/>
                </a:cubicBezTo>
                <a:lnTo>
                  <a:pt x="7430035" y="1219584"/>
                </a:lnTo>
                <a:cubicBezTo>
                  <a:pt x="7436723" y="1219584"/>
                  <a:pt x="7436723" y="1219584"/>
                  <a:pt x="7436723" y="1135896"/>
                </a:cubicBezTo>
                <a:cubicBezTo>
                  <a:pt x="7436723" y="1135896"/>
                  <a:pt x="7436723" y="1135896"/>
                  <a:pt x="7587181" y="1135896"/>
                </a:cubicBezTo>
                <a:cubicBezTo>
                  <a:pt x="7587181" y="1135896"/>
                  <a:pt x="7587181" y="1135896"/>
                  <a:pt x="7587181" y="1247480"/>
                </a:cubicBezTo>
                <a:cubicBezTo>
                  <a:pt x="7587181" y="1247480"/>
                  <a:pt x="7587181" y="1247480"/>
                  <a:pt x="7590525" y="1247480"/>
                </a:cubicBezTo>
                <a:lnTo>
                  <a:pt x="7613929" y="1247480"/>
                </a:lnTo>
                <a:cubicBezTo>
                  <a:pt x="7613929" y="1247480"/>
                  <a:pt x="7613929" y="1247480"/>
                  <a:pt x="7613929" y="1121948"/>
                </a:cubicBezTo>
                <a:cubicBezTo>
                  <a:pt x="7613929" y="1121948"/>
                  <a:pt x="7613929" y="1121948"/>
                  <a:pt x="7647365" y="1104513"/>
                </a:cubicBezTo>
                <a:cubicBezTo>
                  <a:pt x="7647365" y="1104513"/>
                  <a:pt x="7647365" y="1104513"/>
                  <a:pt x="7690831" y="1104513"/>
                </a:cubicBezTo>
                <a:cubicBezTo>
                  <a:pt x="7690831" y="1104513"/>
                  <a:pt x="7690831" y="1104513"/>
                  <a:pt x="7693757" y="1101899"/>
                </a:cubicBezTo>
                <a:lnTo>
                  <a:pt x="7714235" y="1083591"/>
                </a:lnTo>
                <a:cubicBezTo>
                  <a:pt x="7714235" y="1083591"/>
                  <a:pt x="7714235" y="1083591"/>
                  <a:pt x="7771075" y="1083591"/>
                </a:cubicBezTo>
                <a:cubicBezTo>
                  <a:pt x="7771075" y="1083591"/>
                  <a:pt x="7771075" y="1083591"/>
                  <a:pt x="7771075" y="1086207"/>
                </a:cubicBezTo>
                <a:lnTo>
                  <a:pt x="7771075" y="1104513"/>
                </a:lnTo>
                <a:cubicBezTo>
                  <a:pt x="7771075" y="1104513"/>
                  <a:pt x="7771075" y="1104513"/>
                  <a:pt x="7827915" y="1104513"/>
                </a:cubicBezTo>
                <a:cubicBezTo>
                  <a:pt x="7827915" y="1104513"/>
                  <a:pt x="7827915" y="1104513"/>
                  <a:pt x="7827915" y="1240505"/>
                </a:cubicBezTo>
                <a:cubicBezTo>
                  <a:pt x="7827915" y="1240505"/>
                  <a:pt x="7827915" y="1240505"/>
                  <a:pt x="7830005" y="1240505"/>
                </a:cubicBezTo>
                <a:lnTo>
                  <a:pt x="7844633" y="1240505"/>
                </a:lnTo>
                <a:cubicBezTo>
                  <a:pt x="7844633" y="1240505"/>
                  <a:pt x="7844633" y="1240505"/>
                  <a:pt x="7844633" y="1439262"/>
                </a:cubicBezTo>
                <a:cubicBezTo>
                  <a:pt x="7844633" y="1439262"/>
                  <a:pt x="7844633" y="1439262"/>
                  <a:pt x="7847975" y="1439262"/>
                </a:cubicBezTo>
                <a:lnTo>
                  <a:pt x="7871381" y="1439262"/>
                </a:lnTo>
                <a:cubicBezTo>
                  <a:pt x="7871381" y="1439262"/>
                  <a:pt x="7871381" y="1439262"/>
                  <a:pt x="7871381" y="1310244"/>
                </a:cubicBezTo>
                <a:cubicBezTo>
                  <a:pt x="7871381" y="1310244"/>
                  <a:pt x="7871381" y="1310244"/>
                  <a:pt x="7872635" y="1309373"/>
                </a:cubicBezTo>
                <a:lnTo>
                  <a:pt x="7881411" y="1303271"/>
                </a:lnTo>
                <a:cubicBezTo>
                  <a:pt x="7888099" y="1303271"/>
                  <a:pt x="7888099" y="1303271"/>
                  <a:pt x="7888099" y="1305014"/>
                </a:cubicBezTo>
                <a:lnTo>
                  <a:pt x="7888099" y="1317219"/>
                </a:lnTo>
                <a:cubicBezTo>
                  <a:pt x="7888099" y="1317219"/>
                  <a:pt x="7888099" y="1317219"/>
                  <a:pt x="7891441" y="1315475"/>
                </a:cubicBezTo>
                <a:lnTo>
                  <a:pt x="7914847" y="1303271"/>
                </a:lnTo>
                <a:cubicBezTo>
                  <a:pt x="7914847" y="1303271"/>
                  <a:pt x="7914847" y="1303271"/>
                  <a:pt x="7917773" y="1303271"/>
                </a:cubicBezTo>
                <a:lnTo>
                  <a:pt x="7938251" y="1303271"/>
                </a:lnTo>
                <a:cubicBezTo>
                  <a:pt x="7938251" y="1303271"/>
                  <a:pt x="7938251" y="1303271"/>
                  <a:pt x="7938251" y="1540385"/>
                </a:cubicBezTo>
                <a:cubicBezTo>
                  <a:pt x="7938251" y="1540385"/>
                  <a:pt x="7938251" y="1540385"/>
                  <a:pt x="7985061" y="1547360"/>
                </a:cubicBezTo>
                <a:cubicBezTo>
                  <a:pt x="7985061" y="1543872"/>
                  <a:pt x="7985061" y="1540385"/>
                  <a:pt x="7985061" y="1536899"/>
                </a:cubicBezTo>
                <a:cubicBezTo>
                  <a:pt x="8001779" y="1536899"/>
                  <a:pt x="8018495" y="1536899"/>
                  <a:pt x="8035213" y="1536899"/>
                </a:cubicBezTo>
                <a:cubicBezTo>
                  <a:pt x="8035213" y="1519463"/>
                  <a:pt x="8035213" y="1505516"/>
                  <a:pt x="8035213" y="1491567"/>
                </a:cubicBezTo>
                <a:lnTo>
                  <a:pt x="8048587" y="1491567"/>
                </a:lnTo>
                <a:cubicBezTo>
                  <a:pt x="8048587" y="1470645"/>
                  <a:pt x="8048587" y="1453211"/>
                  <a:pt x="8048587" y="1432289"/>
                </a:cubicBezTo>
                <a:cubicBezTo>
                  <a:pt x="8051931" y="1432289"/>
                  <a:pt x="8055275" y="1432289"/>
                  <a:pt x="8058619" y="1432289"/>
                </a:cubicBezTo>
                <a:cubicBezTo>
                  <a:pt x="8058619" y="1411367"/>
                  <a:pt x="8058619" y="1393932"/>
                  <a:pt x="8058619" y="1373010"/>
                </a:cubicBezTo>
                <a:cubicBezTo>
                  <a:pt x="8065305" y="1373010"/>
                  <a:pt x="8071991" y="1373010"/>
                  <a:pt x="8082023" y="1373010"/>
                </a:cubicBezTo>
                <a:cubicBezTo>
                  <a:pt x="8105427" y="1366037"/>
                  <a:pt x="8132175" y="1352088"/>
                  <a:pt x="8155579" y="1341627"/>
                </a:cubicBezTo>
                <a:cubicBezTo>
                  <a:pt x="8158923" y="1331166"/>
                  <a:pt x="8158923" y="1320705"/>
                  <a:pt x="8158923" y="1310244"/>
                </a:cubicBezTo>
                <a:cubicBezTo>
                  <a:pt x="8162267" y="1320705"/>
                  <a:pt x="8162267" y="1331166"/>
                  <a:pt x="8165611" y="1341627"/>
                </a:cubicBezTo>
                <a:cubicBezTo>
                  <a:pt x="8192359" y="1355576"/>
                  <a:pt x="8215763" y="1369523"/>
                  <a:pt x="8242511" y="1383471"/>
                </a:cubicBezTo>
                <a:cubicBezTo>
                  <a:pt x="8242511" y="1379993"/>
                  <a:pt x="8242511" y="1376516"/>
                  <a:pt x="8242511" y="1376498"/>
                </a:cubicBezTo>
                <a:cubicBezTo>
                  <a:pt x="8249197" y="1376498"/>
                  <a:pt x="8255887" y="1376498"/>
                  <a:pt x="8262573" y="1376498"/>
                </a:cubicBezTo>
                <a:cubicBezTo>
                  <a:pt x="8262573" y="1393932"/>
                  <a:pt x="8262573" y="1414854"/>
                  <a:pt x="8262573" y="1432289"/>
                </a:cubicBezTo>
                <a:cubicBezTo>
                  <a:pt x="8265917" y="1432289"/>
                  <a:pt x="8269259" y="1432289"/>
                  <a:pt x="8272603" y="1432289"/>
                </a:cubicBezTo>
                <a:cubicBezTo>
                  <a:pt x="8272603" y="1453211"/>
                  <a:pt x="8272603" y="1474133"/>
                  <a:pt x="8272603" y="1498541"/>
                </a:cubicBezTo>
                <a:cubicBezTo>
                  <a:pt x="8275947" y="1498541"/>
                  <a:pt x="8279291" y="1498541"/>
                  <a:pt x="8282635" y="1498541"/>
                </a:cubicBezTo>
                <a:cubicBezTo>
                  <a:pt x="8282635" y="1509002"/>
                  <a:pt x="8282635" y="1519463"/>
                  <a:pt x="8282635" y="1529924"/>
                </a:cubicBezTo>
                <a:cubicBezTo>
                  <a:pt x="8289321" y="1529924"/>
                  <a:pt x="8296007" y="1529924"/>
                  <a:pt x="8302695" y="1529924"/>
                </a:cubicBezTo>
                <a:cubicBezTo>
                  <a:pt x="8302695" y="1547360"/>
                  <a:pt x="8302695" y="1561307"/>
                  <a:pt x="8302695" y="1578741"/>
                </a:cubicBezTo>
                <a:cubicBezTo>
                  <a:pt x="8346161" y="1575255"/>
                  <a:pt x="8386283" y="1571768"/>
                  <a:pt x="8429747" y="1568280"/>
                </a:cubicBezTo>
                <a:cubicBezTo>
                  <a:pt x="8429747" y="1550846"/>
                  <a:pt x="8429747" y="1536899"/>
                  <a:pt x="8429747" y="1519463"/>
                </a:cubicBezTo>
                <a:cubicBezTo>
                  <a:pt x="8453153" y="1519463"/>
                  <a:pt x="8476557" y="1519463"/>
                  <a:pt x="8496619" y="1519463"/>
                </a:cubicBezTo>
                <a:cubicBezTo>
                  <a:pt x="8496619" y="1509002"/>
                  <a:pt x="8496619" y="1502028"/>
                  <a:pt x="8496619" y="1491567"/>
                </a:cubicBezTo>
                <a:cubicBezTo>
                  <a:pt x="8543429" y="1491567"/>
                  <a:pt x="8590237" y="1491567"/>
                  <a:pt x="8637047" y="1491567"/>
                </a:cubicBezTo>
                <a:cubicBezTo>
                  <a:pt x="8637047" y="1498541"/>
                  <a:pt x="8637047" y="1502028"/>
                  <a:pt x="8637047" y="1509002"/>
                </a:cubicBezTo>
                <a:cubicBezTo>
                  <a:pt x="8667139" y="1509002"/>
                  <a:pt x="8697229" y="1509002"/>
                  <a:pt x="8727321" y="1509002"/>
                </a:cubicBezTo>
                <a:cubicBezTo>
                  <a:pt x="8727321" y="1512489"/>
                  <a:pt x="8727321" y="1515977"/>
                  <a:pt x="8727321" y="1519463"/>
                </a:cubicBezTo>
                <a:cubicBezTo>
                  <a:pt x="8734007" y="1519463"/>
                  <a:pt x="8744039" y="1519463"/>
                  <a:pt x="8754069" y="1519463"/>
                </a:cubicBezTo>
                <a:cubicBezTo>
                  <a:pt x="8754069" y="1522950"/>
                  <a:pt x="8754069" y="1526438"/>
                  <a:pt x="8754069" y="1529924"/>
                </a:cubicBezTo>
                <a:cubicBezTo>
                  <a:pt x="8760755" y="1529924"/>
                  <a:pt x="8770787" y="1529924"/>
                  <a:pt x="8777473" y="1529924"/>
                </a:cubicBezTo>
                <a:cubicBezTo>
                  <a:pt x="8777473" y="1519920"/>
                  <a:pt x="8777473" y="1509917"/>
                  <a:pt x="8777473" y="1499913"/>
                </a:cubicBezTo>
                <a:lnTo>
                  <a:pt x="8882887" y="1682495"/>
                </a:lnTo>
                <a:lnTo>
                  <a:pt x="0" y="1682495"/>
                </a:lnTo>
                <a:lnTo>
                  <a:pt x="63077" y="1573241"/>
                </a:lnTo>
                <a:cubicBezTo>
                  <a:pt x="82889" y="1571585"/>
                  <a:pt x="102742" y="1569932"/>
                  <a:pt x="123345" y="1568279"/>
                </a:cubicBezTo>
                <a:cubicBezTo>
                  <a:pt x="123345" y="1550844"/>
                  <a:pt x="123345" y="1536897"/>
                  <a:pt x="123345" y="1519461"/>
                </a:cubicBezTo>
                <a:cubicBezTo>
                  <a:pt x="146749" y="1519461"/>
                  <a:pt x="170153" y="1519461"/>
                  <a:pt x="190215" y="1519461"/>
                </a:cubicBezTo>
                <a:cubicBezTo>
                  <a:pt x="190215" y="1509000"/>
                  <a:pt x="190215" y="1502027"/>
                  <a:pt x="190215" y="1491566"/>
                </a:cubicBezTo>
                <a:cubicBezTo>
                  <a:pt x="237025" y="1491566"/>
                  <a:pt x="283834" y="1491566"/>
                  <a:pt x="330643" y="1491566"/>
                </a:cubicBezTo>
                <a:cubicBezTo>
                  <a:pt x="330643" y="1498539"/>
                  <a:pt x="330643" y="1502027"/>
                  <a:pt x="330643" y="1509000"/>
                </a:cubicBezTo>
                <a:cubicBezTo>
                  <a:pt x="360735" y="1509000"/>
                  <a:pt x="390826" y="1509000"/>
                  <a:pt x="420917" y="1509000"/>
                </a:cubicBezTo>
                <a:cubicBezTo>
                  <a:pt x="420917" y="1512488"/>
                  <a:pt x="420917" y="1515975"/>
                  <a:pt x="420917" y="1519461"/>
                </a:cubicBezTo>
                <a:cubicBezTo>
                  <a:pt x="427605" y="1519461"/>
                  <a:pt x="437635" y="1519461"/>
                  <a:pt x="447665" y="1519461"/>
                </a:cubicBezTo>
                <a:cubicBezTo>
                  <a:pt x="447665" y="1522949"/>
                  <a:pt x="447665" y="1526436"/>
                  <a:pt x="447665" y="1529922"/>
                </a:cubicBezTo>
                <a:cubicBezTo>
                  <a:pt x="454353" y="1529922"/>
                  <a:pt x="464383" y="1529922"/>
                  <a:pt x="471070" y="1529922"/>
                </a:cubicBezTo>
                <a:cubicBezTo>
                  <a:pt x="471070" y="1477619"/>
                  <a:pt x="471070" y="1425314"/>
                  <a:pt x="471070" y="1373009"/>
                </a:cubicBezTo>
                <a:cubicBezTo>
                  <a:pt x="494475" y="1366035"/>
                  <a:pt x="517881" y="1359062"/>
                  <a:pt x="541285" y="1352087"/>
                </a:cubicBezTo>
                <a:cubicBezTo>
                  <a:pt x="584751" y="1352087"/>
                  <a:pt x="628216" y="1352087"/>
                  <a:pt x="671681" y="1352087"/>
                </a:cubicBezTo>
                <a:cubicBezTo>
                  <a:pt x="671681" y="1268400"/>
                  <a:pt x="671681" y="1184712"/>
                  <a:pt x="671681" y="1101026"/>
                </a:cubicBezTo>
                <a:cubicBezTo>
                  <a:pt x="681712" y="1094051"/>
                  <a:pt x="695086" y="1090565"/>
                  <a:pt x="708460" y="1083590"/>
                </a:cubicBezTo>
                <a:cubicBezTo>
                  <a:pt x="761956" y="1076616"/>
                  <a:pt x="815453" y="1066155"/>
                  <a:pt x="868949" y="1055694"/>
                </a:cubicBezTo>
                <a:cubicBezTo>
                  <a:pt x="889011" y="1062668"/>
                  <a:pt x="905728" y="1069643"/>
                  <a:pt x="925789" y="1073129"/>
                </a:cubicBezTo>
                <a:cubicBezTo>
                  <a:pt x="929133" y="1076616"/>
                  <a:pt x="932476" y="1080104"/>
                  <a:pt x="935819" y="1083590"/>
                </a:cubicBezTo>
                <a:cubicBezTo>
                  <a:pt x="935819" y="1240503"/>
                  <a:pt x="935819" y="1397418"/>
                  <a:pt x="935819" y="1550844"/>
                </a:cubicBezTo>
                <a:cubicBezTo>
                  <a:pt x="942507" y="1550844"/>
                  <a:pt x="949193" y="1550844"/>
                  <a:pt x="959224" y="1550844"/>
                </a:cubicBezTo>
                <a:cubicBezTo>
                  <a:pt x="959224" y="1488080"/>
                  <a:pt x="959224" y="1425314"/>
                  <a:pt x="959224" y="1362548"/>
                </a:cubicBezTo>
                <a:cubicBezTo>
                  <a:pt x="965911" y="1362548"/>
                  <a:pt x="972598" y="1362548"/>
                  <a:pt x="979285" y="1362548"/>
                </a:cubicBezTo>
                <a:cubicBezTo>
                  <a:pt x="979285" y="1355574"/>
                  <a:pt x="979285" y="1352087"/>
                  <a:pt x="979285" y="1345113"/>
                </a:cubicBezTo>
                <a:cubicBezTo>
                  <a:pt x="985972" y="1341626"/>
                  <a:pt x="992659" y="1338140"/>
                  <a:pt x="999346" y="1334652"/>
                </a:cubicBezTo>
                <a:lnTo>
                  <a:pt x="1016063" y="1334652"/>
                </a:lnTo>
                <a:cubicBezTo>
                  <a:pt x="1016063" y="1327679"/>
                  <a:pt x="1016063" y="1324191"/>
                  <a:pt x="1016063" y="1317218"/>
                </a:cubicBezTo>
                <a:cubicBezTo>
                  <a:pt x="1019407" y="1313730"/>
                  <a:pt x="1026094" y="1310243"/>
                  <a:pt x="1029437" y="1306757"/>
                </a:cubicBezTo>
                <a:cubicBezTo>
                  <a:pt x="1039469" y="1306757"/>
                  <a:pt x="1052843" y="1306757"/>
                  <a:pt x="1062874" y="1306757"/>
                </a:cubicBezTo>
                <a:cubicBezTo>
                  <a:pt x="1062874" y="1324191"/>
                  <a:pt x="1062874" y="1345113"/>
                  <a:pt x="1062874" y="1362548"/>
                </a:cubicBezTo>
                <a:cubicBezTo>
                  <a:pt x="1086279" y="1362548"/>
                  <a:pt x="1109683" y="1362548"/>
                  <a:pt x="1133087" y="1362548"/>
                </a:cubicBezTo>
                <a:cubicBezTo>
                  <a:pt x="1133087" y="1428801"/>
                  <a:pt x="1133087" y="1491566"/>
                  <a:pt x="1133087" y="1557819"/>
                </a:cubicBezTo>
                <a:cubicBezTo>
                  <a:pt x="1143118" y="1557819"/>
                  <a:pt x="1153149" y="1557819"/>
                  <a:pt x="1159835" y="1557819"/>
                </a:cubicBezTo>
                <a:cubicBezTo>
                  <a:pt x="1169866" y="1554332"/>
                  <a:pt x="1176553" y="1550844"/>
                  <a:pt x="1186583" y="1547358"/>
                </a:cubicBezTo>
                <a:cubicBezTo>
                  <a:pt x="1186583" y="1540383"/>
                  <a:pt x="1186583" y="1536897"/>
                  <a:pt x="1186583" y="1533410"/>
                </a:cubicBezTo>
                <a:cubicBezTo>
                  <a:pt x="1183240" y="1533410"/>
                  <a:pt x="1179897" y="1529922"/>
                  <a:pt x="1176553" y="1529922"/>
                </a:cubicBezTo>
                <a:cubicBezTo>
                  <a:pt x="1176553" y="1526436"/>
                  <a:pt x="1176553" y="1522949"/>
                  <a:pt x="1176553" y="1519461"/>
                </a:cubicBezTo>
                <a:cubicBezTo>
                  <a:pt x="1179897" y="1515975"/>
                  <a:pt x="1183240" y="1515975"/>
                  <a:pt x="1186583" y="1512488"/>
                </a:cubicBezTo>
                <a:cubicBezTo>
                  <a:pt x="1186583" y="1488080"/>
                  <a:pt x="1186583" y="1460183"/>
                  <a:pt x="1186583" y="1435775"/>
                </a:cubicBezTo>
                <a:cubicBezTo>
                  <a:pt x="1183240" y="1435775"/>
                  <a:pt x="1179897" y="1432287"/>
                  <a:pt x="1176553" y="1432287"/>
                </a:cubicBezTo>
                <a:cubicBezTo>
                  <a:pt x="1176553" y="1428801"/>
                  <a:pt x="1176553" y="1425314"/>
                  <a:pt x="1176553" y="1421826"/>
                </a:cubicBezTo>
                <a:cubicBezTo>
                  <a:pt x="1179897" y="1418340"/>
                  <a:pt x="1183240" y="1418340"/>
                  <a:pt x="1186583" y="1414853"/>
                </a:cubicBezTo>
                <a:lnTo>
                  <a:pt x="1193271" y="1407879"/>
                </a:lnTo>
                <a:lnTo>
                  <a:pt x="1193271" y="1393931"/>
                </a:lnTo>
                <a:cubicBezTo>
                  <a:pt x="1189927" y="1393931"/>
                  <a:pt x="1189927" y="1393931"/>
                  <a:pt x="1186583" y="1393931"/>
                </a:cubicBezTo>
                <a:cubicBezTo>
                  <a:pt x="1186583" y="1390443"/>
                  <a:pt x="1186583" y="1386957"/>
                  <a:pt x="1186583" y="1383470"/>
                </a:cubicBezTo>
                <a:cubicBezTo>
                  <a:pt x="1189927" y="1383470"/>
                  <a:pt x="1193271" y="1379982"/>
                  <a:pt x="1196614" y="1376496"/>
                </a:cubicBezTo>
                <a:cubicBezTo>
                  <a:pt x="1199957" y="1334652"/>
                  <a:pt x="1209988" y="1299783"/>
                  <a:pt x="1250110" y="1278861"/>
                </a:cubicBezTo>
                <a:cubicBezTo>
                  <a:pt x="1246767" y="1278861"/>
                  <a:pt x="1246767" y="1275374"/>
                  <a:pt x="1243423" y="1275374"/>
                </a:cubicBezTo>
                <a:cubicBezTo>
                  <a:pt x="1243423" y="1271886"/>
                  <a:pt x="1243423" y="1268400"/>
                  <a:pt x="1243423" y="1264913"/>
                </a:cubicBezTo>
                <a:cubicBezTo>
                  <a:pt x="1246767" y="1264913"/>
                  <a:pt x="1250110" y="1261425"/>
                  <a:pt x="1253453" y="1261425"/>
                </a:cubicBezTo>
                <a:cubicBezTo>
                  <a:pt x="1253453" y="1254452"/>
                  <a:pt x="1253453" y="1250964"/>
                  <a:pt x="1253453" y="1247478"/>
                </a:cubicBezTo>
                <a:cubicBezTo>
                  <a:pt x="1256797" y="1247478"/>
                  <a:pt x="1256797" y="1247478"/>
                  <a:pt x="1260141" y="1247478"/>
                </a:cubicBezTo>
                <a:cubicBezTo>
                  <a:pt x="1260141" y="1237017"/>
                  <a:pt x="1260141" y="1226556"/>
                  <a:pt x="1260141" y="1216095"/>
                </a:cubicBezTo>
                <a:cubicBezTo>
                  <a:pt x="1256797" y="1216095"/>
                  <a:pt x="1256797" y="1216095"/>
                  <a:pt x="1253453" y="1216095"/>
                </a:cubicBezTo>
                <a:cubicBezTo>
                  <a:pt x="1253453" y="1212608"/>
                  <a:pt x="1253453" y="1212608"/>
                  <a:pt x="1253453" y="1209122"/>
                </a:cubicBezTo>
                <a:lnTo>
                  <a:pt x="1260141" y="1205634"/>
                </a:lnTo>
                <a:cubicBezTo>
                  <a:pt x="1266827" y="1198661"/>
                  <a:pt x="1270171" y="1191686"/>
                  <a:pt x="1276858" y="1181225"/>
                </a:cubicBezTo>
                <a:cubicBezTo>
                  <a:pt x="1280201" y="1174251"/>
                  <a:pt x="1280201" y="1170765"/>
                  <a:pt x="1280201" y="1167278"/>
                </a:cubicBezTo>
                <a:cubicBezTo>
                  <a:pt x="1273515" y="1156817"/>
                  <a:pt x="1273515" y="1139382"/>
                  <a:pt x="1280201" y="1128921"/>
                </a:cubicBezTo>
                <a:cubicBezTo>
                  <a:pt x="1280203" y="1128917"/>
                  <a:pt x="1280225" y="1128848"/>
                  <a:pt x="1280620" y="1127613"/>
                </a:cubicBezTo>
                <a:lnTo>
                  <a:pt x="1283545" y="1118460"/>
                </a:lnTo>
                <a:cubicBezTo>
                  <a:pt x="1283547" y="1118465"/>
                  <a:pt x="1283569" y="1118534"/>
                  <a:pt x="1283963" y="1119768"/>
                </a:cubicBezTo>
                <a:lnTo>
                  <a:pt x="1286889" y="1128921"/>
                </a:lnTo>
                <a:cubicBezTo>
                  <a:pt x="1293575" y="1139382"/>
                  <a:pt x="1296919" y="1156817"/>
                  <a:pt x="1290232" y="1167278"/>
                </a:cubicBezTo>
                <a:cubicBezTo>
                  <a:pt x="1290232" y="1170765"/>
                  <a:pt x="1290232" y="1174251"/>
                  <a:pt x="1290232" y="1177739"/>
                </a:cubicBezTo>
                <a:cubicBezTo>
                  <a:pt x="1296919" y="1188200"/>
                  <a:pt x="1303606" y="1198661"/>
                  <a:pt x="1306951" y="1205634"/>
                </a:cubicBezTo>
                <a:cubicBezTo>
                  <a:pt x="1310295" y="1205634"/>
                  <a:pt x="1310295" y="1209122"/>
                  <a:pt x="1313638" y="1209122"/>
                </a:cubicBezTo>
                <a:cubicBezTo>
                  <a:pt x="1313638" y="1212608"/>
                  <a:pt x="1313638" y="1212608"/>
                  <a:pt x="1313638" y="1216095"/>
                </a:cubicBezTo>
                <a:cubicBezTo>
                  <a:pt x="1310295" y="1226556"/>
                  <a:pt x="1310295" y="1237017"/>
                  <a:pt x="1310295" y="1247478"/>
                </a:cubicBezTo>
                <a:cubicBezTo>
                  <a:pt x="1316981" y="1250964"/>
                  <a:pt x="1316981" y="1254452"/>
                  <a:pt x="1316981" y="1261425"/>
                </a:cubicBezTo>
                <a:lnTo>
                  <a:pt x="1323669" y="1264913"/>
                </a:lnTo>
                <a:cubicBezTo>
                  <a:pt x="1323669" y="1268400"/>
                  <a:pt x="1323669" y="1271886"/>
                  <a:pt x="1323669" y="1275374"/>
                </a:cubicBezTo>
                <a:cubicBezTo>
                  <a:pt x="1320325" y="1278861"/>
                  <a:pt x="1320325" y="1278861"/>
                  <a:pt x="1316981" y="1278861"/>
                </a:cubicBezTo>
                <a:cubicBezTo>
                  <a:pt x="1337042" y="1289322"/>
                  <a:pt x="1348745" y="1303270"/>
                  <a:pt x="1356268" y="1319833"/>
                </a:cubicBezTo>
                <a:lnTo>
                  <a:pt x="1369603" y="1373009"/>
                </a:lnTo>
                <a:lnTo>
                  <a:pt x="1417287" y="1373009"/>
                </a:lnTo>
                <a:lnTo>
                  <a:pt x="1417287" y="1329494"/>
                </a:lnTo>
                <a:lnTo>
                  <a:pt x="1409211" y="1329494"/>
                </a:lnTo>
                <a:cubicBezTo>
                  <a:pt x="1409211" y="1329459"/>
                  <a:pt x="1409211" y="1326621"/>
                  <a:pt x="1409211" y="1086294"/>
                </a:cubicBezTo>
                <a:cubicBezTo>
                  <a:pt x="1409228" y="1086294"/>
                  <a:pt x="1409934" y="1086294"/>
                  <a:pt x="1439612" y="1086294"/>
                </a:cubicBezTo>
                <a:cubicBezTo>
                  <a:pt x="1439618" y="1086285"/>
                  <a:pt x="1439673" y="1086162"/>
                  <a:pt x="1440372" y="1084673"/>
                </a:cubicBezTo>
                <a:lnTo>
                  <a:pt x="1445691" y="1073324"/>
                </a:lnTo>
                <a:cubicBezTo>
                  <a:pt x="1445705" y="1073325"/>
                  <a:pt x="1445874" y="1073352"/>
                  <a:pt x="1448352" y="1073729"/>
                </a:cubicBezTo>
                <a:lnTo>
                  <a:pt x="1466972" y="1076565"/>
                </a:lnTo>
                <a:cubicBezTo>
                  <a:pt x="1466976" y="1076580"/>
                  <a:pt x="1467033" y="1076732"/>
                  <a:pt x="1467732" y="1078593"/>
                </a:cubicBezTo>
                <a:lnTo>
                  <a:pt x="1473051" y="1092779"/>
                </a:lnTo>
                <a:cubicBezTo>
                  <a:pt x="1473072" y="1092780"/>
                  <a:pt x="1473966" y="1092855"/>
                  <a:pt x="1512572" y="1096022"/>
                </a:cubicBezTo>
                <a:cubicBezTo>
                  <a:pt x="1512572" y="1095992"/>
                  <a:pt x="1512572" y="1093697"/>
                  <a:pt x="1512572" y="911190"/>
                </a:cubicBezTo>
                <a:cubicBezTo>
                  <a:pt x="1512585" y="911190"/>
                  <a:pt x="1512764" y="911190"/>
                  <a:pt x="1515612" y="911190"/>
                </a:cubicBezTo>
                <a:lnTo>
                  <a:pt x="1536893" y="911190"/>
                </a:lnTo>
                <a:cubicBezTo>
                  <a:pt x="1536893" y="911157"/>
                  <a:pt x="1536893" y="908586"/>
                  <a:pt x="1536893" y="706902"/>
                </a:cubicBezTo>
                <a:cubicBezTo>
                  <a:pt x="1536905" y="706902"/>
                  <a:pt x="1537067" y="706902"/>
                  <a:pt x="1539552" y="706902"/>
                </a:cubicBezTo>
                <a:lnTo>
                  <a:pt x="1558173" y="706902"/>
                </a:lnTo>
                <a:cubicBezTo>
                  <a:pt x="1558173" y="706877"/>
                  <a:pt x="1558173" y="704768"/>
                  <a:pt x="1558173" y="535041"/>
                </a:cubicBezTo>
                <a:cubicBezTo>
                  <a:pt x="1564253" y="531798"/>
                  <a:pt x="1564253" y="531798"/>
                  <a:pt x="1564253" y="492885"/>
                </a:cubicBezTo>
                <a:cubicBezTo>
                  <a:pt x="1564263" y="492885"/>
                  <a:pt x="1564443" y="492885"/>
                  <a:pt x="1567293" y="492885"/>
                </a:cubicBezTo>
                <a:lnTo>
                  <a:pt x="1588574" y="492885"/>
                </a:lnTo>
                <a:cubicBezTo>
                  <a:pt x="1588590" y="492851"/>
                  <a:pt x="1589499" y="490800"/>
                  <a:pt x="1643294" y="369665"/>
                </a:cubicBezTo>
                <a:cubicBezTo>
                  <a:pt x="1643294" y="369644"/>
                  <a:pt x="1643345" y="366717"/>
                  <a:pt x="164937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ko-KR" altLang="en-US" sz="2700"/>
          </a:p>
        </p:txBody>
      </p:sp>
      <p:grpSp>
        <p:nvGrpSpPr>
          <p:cNvPr id="5" name="Group 4">
            <a:extLst>
              <a:ext uri="{FF2B5EF4-FFF2-40B4-BE49-F238E27FC236}">
                <a16:creationId xmlns:a16="http://schemas.microsoft.com/office/drawing/2014/main" id="{E413EC29-ECA5-574D-8154-6D020A3896E7}"/>
              </a:ext>
            </a:extLst>
          </p:cNvPr>
          <p:cNvGrpSpPr/>
          <p:nvPr/>
        </p:nvGrpSpPr>
        <p:grpSpPr>
          <a:xfrm>
            <a:off x="9371374" y="3165085"/>
            <a:ext cx="2509309" cy="2756898"/>
            <a:chOff x="9371374" y="3165085"/>
            <a:chExt cx="2509309" cy="2756898"/>
          </a:xfrm>
        </p:grpSpPr>
        <p:grpSp>
          <p:nvGrpSpPr>
            <p:cNvPr id="9" name="Group 8">
              <a:extLst>
                <a:ext uri="{FF2B5EF4-FFF2-40B4-BE49-F238E27FC236}">
                  <a16:creationId xmlns:a16="http://schemas.microsoft.com/office/drawing/2014/main" id="{8A778697-A7EE-9348-B451-B4E92BEABCF5}"/>
                </a:ext>
              </a:extLst>
            </p:cNvPr>
            <p:cNvGrpSpPr>
              <a:grpSpLocks noChangeAspect="1"/>
            </p:cNvGrpSpPr>
            <p:nvPr/>
          </p:nvGrpSpPr>
          <p:grpSpPr>
            <a:xfrm>
              <a:off x="9371374" y="3165085"/>
              <a:ext cx="2509309" cy="2756898"/>
              <a:chOff x="5535406" y="251368"/>
              <a:chExt cx="5598674" cy="6151085"/>
            </a:xfrm>
          </p:grpSpPr>
          <p:sp>
            <p:nvSpPr>
              <p:cNvPr id="10" name="Freeform: Shape 6">
                <a:extLst>
                  <a:ext uri="{FF2B5EF4-FFF2-40B4-BE49-F238E27FC236}">
                    <a16:creationId xmlns:a16="http://schemas.microsoft.com/office/drawing/2014/main" id="{CAD97956-27CC-C34C-AEF6-17958CD0BDDB}"/>
                  </a:ext>
                </a:extLst>
              </p:cNvPr>
              <p:cNvSpPr/>
              <p:nvPr/>
            </p:nvSpPr>
            <p:spPr>
              <a:xfrm rot="2914269" flipH="1">
                <a:off x="7343971" y="814459"/>
                <a:ext cx="2091480" cy="965297"/>
              </a:xfrm>
              <a:custGeom>
                <a:avLst/>
                <a:gdLst>
                  <a:gd name="connsiteX0" fmla="*/ 7144 w 371475"/>
                  <a:gd name="connsiteY0" fmla="*/ 145256 h 171450"/>
                  <a:gd name="connsiteX1" fmla="*/ 90011 w 371475"/>
                  <a:gd name="connsiteY1" fmla="*/ 32861 h 171450"/>
                  <a:gd name="connsiteX2" fmla="*/ 250984 w 371475"/>
                  <a:gd name="connsiteY2" fmla="*/ 7144 h 171450"/>
                  <a:gd name="connsiteX3" fmla="*/ 361474 w 371475"/>
                  <a:gd name="connsiteY3" fmla="*/ 103346 h 171450"/>
                  <a:gd name="connsiteX4" fmla="*/ 367189 w 371475"/>
                  <a:gd name="connsiteY4" fmla="*/ 139541 h 171450"/>
                  <a:gd name="connsiteX5" fmla="*/ 343376 w 371475"/>
                  <a:gd name="connsiteY5" fmla="*/ 143351 h 171450"/>
                  <a:gd name="connsiteX6" fmla="*/ 234791 w 371475"/>
                  <a:gd name="connsiteY6" fmla="*/ 58579 h 171450"/>
                  <a:gd name="connsiteX7" fmla="*/ 117634 w 371475"/>
                  <a:gd name="connsiteY7" fmla="*/ 76676 h 171450"/>
                  <a:gd name="connsiteX8" fmla="*/ 58579 w 371475"/>
                  <a:gd name="connsiteY8" fmla="*/ 16716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1450">
                    <a:moveTo>
                      <a:pt x="7144" y="145256"/>
                    </a:moveTo>
                    <a:lnTo>
                      <a:pt x="90011" y="32861"/>
                    </a:lnTo>
                    <a:lnTo>
                      <a:pt x="250984" y="7144"/>
                    </a:lnTo>
                    <a:lnTo>
                      <a:pt x="361474" y="103346"/>
                    </a:lnTo>
                    <a:lnTo>
                      <a:pt x="367189" y="139541"/>
                    </a:lnTo>
                    <a:lnTo>
                      <a:pt x="343376" y="143351"/>
                    </a:lnTo>
                    <a:lnTo>
                      <a:pt x="234791" y="58579"/>
                    </a:lnTo>
                    <a:lnTo>
                      <a:pt x="117634" y="76676"/>
                    </a:lnTo>
                    <a:lnTo>
                      <a:pt x="58579" y="167164"/>
                    </a:lnTo>
                    <a:close/>
                  </a:path>
                </a:pathLst>
              </a:custGeom>
              <a:solidFill>
                <a:srgbClr val="004149"/>
              </a:solidFill>
              <a:ln w="9525" cap="flat">
                <a:noFill/>
                <a:prstDash val="solid"/>
                <a:miter/>
              </a:ln>
            </p:spPr>
            <p:txBody>
              <a:bodyPr rtlCol="0" anchor="ctr"/>
              <a:lstStyle/>
              <a:p>
                <a:endParaRPr lang="en-US"/>
              </a:p>
            </p:txBody>
          </p:sp>
          <p:sp>
            <p:nvSpPr>
              <p:cNvPr id="11" name="Freeform: Shape 7">
                <a:extLst>
                  <a:ext uri="{FF2B5EF4-FFF2-40B4-BE49-F238E27FC236}">
                    <a16:creationId xmlns:a16="http://schemas.microsoft.com/office/drawing/2014/main" id="{FEEB0C8A-A86E-B64C-988D-6F191FE21709}"/>
                  </a:ext>
                </a:extLst>
              </p:cNvPr>
              <p:cNvSpPr/>
              <p:nvPr/>
            </p:nvSpPr>
            <p:spPr>
              <a:xfrm rot="18276566" flipH="1">
                <a:off x="7220053" y="2293407"/>
                <a:ext cx="2037854" cy="1126179"/>
              </a:xfrm>
              <a:custGeom>
                <a:avLst/>
                <a:gdLst>
                  <a:gd name="connsiteX0" fmla="*/ 7144 w 361950"/>
                  <a:gd name="connsiteY0" fmla="*/ 114776 h 200025"/>
                  <a:gd name="connsiteX1" fmla="*/ 120491 w 361950"/>
                  <a:gd name="connsiteY1" fmla="*/ 194786 h 200025"/>
                  <a:gd name="connsiteX2" fmla="*/ 281464 w 361950"/>
                  <a:gd name="connsiteY2" fmla="*/ 169069 h 200025"/>
                  <a:gd name="connsiteX3" fmla="*/ 355759 w 361950"/>
                  <a:gd name="connsiteY3" fmla="*/ 43339 h 200025"/>
                  <a:gd name="connsiteX4" fmla="*/ 350044 w 361950"/>
                  <a:gd name="connsiteY4" fmla="*/ 7144 h 200025"/>
                  <a:gd name="connsiteX5" fmla="*/ 327184 w 361950"/>
                  <a:gd name="connsiteY5" fmla="*/ 10954 h 200025"/>
                  <a:gd name="connsiteX6" fmla="*/ 250031 w 361950"/>
                  <a:gd name="connsiteY6" fmla="*/ 125254 h 200025"/>
                  <a:gd name="connsiteX7" fmla="*/ 132874 w 361950"/>
                  <a:gd name="connsiteY7" fmla="*/ 144304 h 200025"/>
                  <a:gd name="connsiteX8" fmla="*/ 48101 w 361950"/>
                  <a:gd name="connsiteY8" fmla="*/ 77629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950" h="200025">
                    <a:moveTo>
                      <a:pt x="7144" y="114776"/>
                    </a:moveTo>
                    <a:lnTo>
                      <a:pt x="120491" y="194786"/>
                    </a:lnTo>
                    <a:lnTo>
                      <a:pt x="281464" y="169069"/>
                    </a:lnTo>
                    <a:lnTo>
                      <a:pt x="355759" y="43339"/>
                    </a:lnTo>
                    <a:lnTo>
                      <a:pt x="350044" y="7144"/>
                    </a:lnTo>
                    <a:lnTo>
                      <a:pt x="327184" y="10954"/>
                    </a:lnTo>
                    <a:lnTo>
                      <a:pt x="250031" y="125254"/>
                    </a:lnTo>
                    <a:lnTo>
                      <a:pt x="132874" y="144304"/>
                    </a:lnTo>
                    <a:lnTo>
                      <a:pt x="48101" y="77629"/>
                    </a:lnTo>
                    <a:close/>
                  </a:path>
                </a:pathLst>
              </a:custGeom>
              <a:solidFill>
                <a:srgbClr val="004149"/>
              </a:solidFill>
              <a:ln w="9525"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F27F83EB-C253-284C-9D4E-67534F21ECB9}"/>
                  </a:ext>
                </a:extLst>
              </p:cNvPr>
              <p:cNvGrpSpPr/>
              <p:nvPr/>
            </p:nvGrpSpPr>
            <p:grpSpPr>
              <a:xfrm>
                <a:off x="8071337" y="1797556"/>
                <a:ext cx="3062743" cy="4604897"/>
                <a:chOff x="8071338" y="1797556"/>
                <a:chExt cx="3062742" cy="4604897"/>
              </a:xfrm>
            </p:grpSpPr>
            <p:sp>
              <p:nvSpPr>
                <p:cNvPr id="16" name="Freeform: Shape 5">
                  <a:extLst>
                    <a:ext uri="{FF2B5EF4-FFF2-40B4-BE49-F238E27FC236}">
                      <a16:creationId xmlns:a16="http://schemas.microsoft.com/office/drawing/2014/main" id="{676A3659-20BD-2B4B-B76C-612EEA957FF0}"/>
                    </a:ext>
                  </a:extLst>
                </p:cNvPr>
                <p:cNvSpPr/>
                <p:nvPr/>
              </p:nvSpPr>
              <p:spPr>
                <a:xfrm flipH="1">
                  <a:off x="8563708" y="2003884"/>
                  <a:ext cx="2440002" cy="1449856"/>
                </a:xfrm>
                <a:custGeom>
                  <a:avLst/>
                  <a:gdLst>
                    <a:gd name="connsiteX0" fmla="*/ 558641 w 657225"/>
                    <a:gd name="connsiteY0" fmla="*/ 7144 h 390525"/>
                    <a:gd name="connsiteX1" fmla="*/ 7144 w 657225"/>
                    <a:gd name="connsiteY1" fmla="*/ 382429 h 390525"/>
                    <a:gd name="connsiteX2" fmla="*/ 220504 w 657225"/>
                    <a:gd name="connsiteY2" fmla="*/ 390049 h 390525"/>
                    <a:gd name="connsiteX3" fmla="*/ 651986 w 657225"/>
                    <a:gd name="connsiteY3" fmla="*/ 100489 h 390525"/>
                  </a:gdLst>
                  <a:ahLst/>
                  <a:cxnLst>
                    <a:cxn ang="0">
                      <a:pos x="connsiteX0" y="connsiteY0"/>
                    </a:cxn>
                    <a:cxn ang="0">
                      <a:pos x="connsiteX1" y="connsiteY1"/>
                    </a:cxn>
                    <a:cxn ang="0">
                      <a:pos x="connsiteX2" y="connsiteY2"/>
                    </a:cxn>
                    <a:cxn ang="0">
                      <a:pos x="connsiteX3" y="connsiteY3"/>
                    </a:cxn>
                  </a:cxnLst>
                  <a:rect l="l" t="t" r="r" b="b"/>
                  <a:pathLst>
                    <a:path w="657225" h="390525">
                      <a:moveTo>
                        <a:pt x="558641" y="7144"/>
                      </a:moveTo>
                      <a:lnTo>
                        <a:pt x="7144" y="382429"/>
                      </a:lnTo>
                      <a:lnTo>
                        <a:pt x="220504" y="390049"/>
                      </a:lnTo>
                      <a:lnTo>
                        <a:pt x="651986" y="100489"/>
                      </a:lnTo>
                      <a:close/>
                    </a:path>
                  </a:pathLst>
                </a:custGeom>
                <a:solidFill>
                  <a:srgbClr val="004149"/>
                </a:solidFill>
                <a:ln w="9525" cap="flat">
                  <a:noFill/>
                  <a:prstDash val="solid"/>
                  <a:miter/>
                </a:ln>
              </p:spPr>
              <p:txBody>
                <a:bodyPr rtlCol="0" anchor="ctr"/>
                <a:lstStyle/>
                <a:p>
                  <a:endParaRPr lang="en-US"/>
                </a:p>
              </p:txBody>
            </p:sp>
            <p:sp>
              <p:nvSpPr>
                <p:cNvPr id="17" name="Freeform: Shape 8">
                  <a:extLst>
                    <a:ext uri="{FF2B5EF4-FFF2-40B4-BE49-F238E27FC236}">
                      <a16:creationId xmlns:a16="http://schemas.microsoft.com/office/drawing/2014/main" id="{08697FA1-FA56-C146-BC87-0873EFD7635F}"/>
                    </a:ext>
                  </a:extLst>
                </p:cNvPr>
                <p:cNvSpPr/>
                <p:nvPr/>
              </p:nvSpPr>
              <p:spPr>
                <a:xfrm flipH="1">
                  <a:off x="8215716" y="3284575"/>
                  <a:ext cx="2918364" cy="1377468"/>
                </a:xfrm>
                <a:custGeom>
                  <a:avLst/>
                  <a:gdLst>
                    <a:gd name="connsiteX0" fmla="*/ 1037597 w 1190625"/>
                    <a:gd name="connsiteY0" fmla="*/ 429536 h 561975"/>
                    <a:gd name="connsiteX1" fmla="*/ 1146182 w 1190625"/>
                    <a:gd name="connsiteY1" fmla="*/ 340953 h 561975"/>
                    <a:gd name="connsiteX2" fmla="*/ 1179519 w 1190625"/>
                    <a:gd name="connsiteY2" fmla="*/ 350478 h 561975"/>
                    <a:gd name="connsiteX3" fmla="*/ 1187139 w 1190625"/>
                    <a:gd name="connsiteY3" fmla="*/ 328571 h 561975"/>
                    <a:gd name="connsiteX4" fmla="*/ 167012 w 1190625"/>
                    <a:gd name="connsiteY4" fmla="*/ 13293 h 561975"/>
                    <a:gd name="connsiteX5" fmla="*/ 13659 w 1190625"/>
                    <a:gd name="connsiteY5" fmla="*/ 90446 h 561975"/>
                    <a:gd name="connsiteX6" fmla="*/ 90812 w 1190625"/>
                    <a:gd name="connsiteY6" fmla="*/ 244751 h 561975"/>
                    <a:gd name="connsiteX7" fmla="*/ 1111892 w 1190625"/>
                    <a:gd name="connsiteY7" fmla="*/ 560028 h 561975"/>
                    <a:gd name="connsiteX8" fmla="*/ 1119512 w 1190625"/>
                    <a:gd name="connsiteY8" fmla="*/ 537168 h 561975"/>
                    <a:gd name="connsiteX9" fmla="*/ 1037597 w 1190625"/>
                    <a:gd name="connsiteY9" fmla="*/ 429536 h 561975"/>
                    <a:gd name="connsiteX10" fmla="*/ 153677 w 1190625"/>
                    <a:gd name="connsiteY10" fmla="*/ 163788 h 561975"/>
                    <a:gd name="connsiteX11" fmla="*/ 96527 w 1190625"/>
                    <a:gd name="connsiteY11" fmla="*/ 93303 h 561975"/>
                    <a:gd name="connsiteX12" fmla="*/ 153677 w 1190625"/>
                    <a:gd name="connsiteY12" fmla="*/ 163788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0625" h="561975">
                      <a:moveTo>
                        <a:pt x="1037597" y="429536"/>
                      </a:moveTo>
                      <a:cubicBezTo>
                        <a:pt x="1043312" y="375243"/>
                        <a:pt x="1091889" y="335238"/>
                        <a:pt x="1146182" y="340953"/>
                      </a:cubicBezTo>
                      <a:cubicBezTo>
                        <a:pt x="1158564" y="341906"/>
                        <a:pt x="1169994" y="345716"/>
                        <a:pt x="1179519" y="350478"/>
                      </a:cubicBezTo>
                      <a:lnTo>
                        <a:pt x="1187139" y="328571"/>
                      </a:lnTo>
                      <a:lnTo>
                        <a:pt x="167012" y="13293"/>
                      </a:lnTo>
                      <a:cubicBezTo>
                        <a:pt x="103194" y="-7662"/>
                        <a:pt x="34614" y="26628"/>
                        <a:pt x="13659" y="90446"/>
                      </a:cubicBezTo>
                      <a:cubicBezTo>
                        <a:pt x="-8248" y="155216"/>
                        <a:pt x="26994" y="223796"/>
                        <a:pt x="90812" y="244751"/>
                      </a:cubicBezTo>
                      <a:lnTo>
                        <a:pt x="1111892" y="560028"/>
                      </a:lnTo>
                      <a:lnTo>
                        <a:pt x="1119512" y="537168"/>
                      </a:lnTo>
                      <a:cubicBezTo>
                        <a:pt x="1068077" y="527643"/>
                        <a:pt x="1032834" y="481923"/>
                        <a:pt x="1037597" y="429536"/>
                      </a:cubicBezTo>
                      <a:close/>
                      <a:moveTo>
                        <a:pt x="153677" y="163788"/>
                      </a:moveTo>
                      <a:cubicBezTo>
                        <a:pt x="103194" y="194268"/>
                        <a:pt x="56522" y="136166"/>
                        <a:pt x="96527" y="93303"/>
                      </a:cubicBezTo>
                      <a:cubicBezTo>
                        <a:pt x="147009" y="62823"/>
                        <a:pt x="194634" y="120926"/>
                        <a:pt x="153677" y="163788"/>
                      </a:cubicBezTo>
                      <a:close/>
                    </a:path>
                  </a:pathLst>
                </a:custGeom>
                <a:solidFill>
                  <a:srgbClr val="004149"/>
                </a:solidFill>
                <a:ln w="9525" cap="flat">
                  <a:noFill/>
                  <a:prstDash val="solid"/>
                  <a:miter/>
                </a:ln>
              </p:spPr>
              <p:txBody>
                <a:bodyPr rtlCol="0" anchor="ctr"/>
                <a:lstStyle/>
                <a:p>
                  <a:endParaRPr lang="en-US"/>
                </a:p>
              </p:txBody>
            </p:sp>
            <p:sp>
              <p:nvSpPr>
                <p:cNvPr id="18" name="Freeform: Shape 9">
                  <a:extLst>
                    <a:ext uri="{FF2B5EF4-FFF2-40B4-BE49-F238E27FC236}">
                      <a16:creationId xmlns:a16="http://schemas.microsoft.com/office/drawing/2014/main" id="{A34E764C-52A8-EF44-AFCB-83332B90F72E}"/>
                    </a:ext>
                  </a:extLst>
                </p:cNvPr>
                <p:cNvSpPr/>
                <p:nvPr/>
              </p:nvSpPr>
              <p:spPr>
                <a:xfrm flipH="1">
                  <a:off x="8363825" y="1797556"/>
                  <a:ext cx="726668" cy="726668"/>
                </a:xfrm>
                <a:custGeom>
                  <a:avLst/>
                  <a:gdLst>
                    <a:gd name="connsiteX0" fmla="*/ 102790 w 238125"/>
                    <a:gd name="connsiteY0" fmla="*/ 8493 h 238125"/>
                    <a:gd name="connsiteX1" fmla="*/ 8493 w 238125"/>
                    <a:gd name="connsiteY1" fmla="*/ 138985 h 238125"/>
                    <a:gd name="connsiteX2" fmla="*/ 138985 w 238125"/>
                    <a:gd name="connsiteY2" fmla="*/ 233283 h 238125"/>
                    <a:gd name="connsiteX3" fmla="*/ 233283 w 238125"/>
                    <a:gd name="connsiteY3" fmla="*/ 102790 h 238125"/>
                    <a:gd name="connsiteX4" fmla="*/ 102790 w 238125"/>
                    <a:gd name="connsiteY4" fmla="*/ 8493 h 238125"/>
                    <a:gd name="connsiteX5" fmla="*/ 128508 w 238125"/>
                    <a:gd name="connsiteY5" fmla="*/ 164703 h 238125"/>
                    <a:gd name="connsiteX6" fmla="*/ 78025 w 238125"/>
                    <a:gd name="connsiteY6" fmla="*/ 128508 h 238125"/>
                    <a:gd name="connsiteX7" fmla="*/ 114220 w 238125"/>
                    <a:gd name="connsiteY7" fmla="*/ 78025 h 238125"/>
                    <a:gd name="connsiteX8" fmla="*/ 164703 w 238125"/>
                    <a:gd name="connsiteY8" fmla="*/ 114220 h 238125"/>
                    <a:gd name="connsiteX9" fmla="*/ 128508 w 238125"/>
                    <a:gd name="connsiteY9" fmla="*/ 164703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25" h="238125">
                      <a:moveTo>
                        <a:pt x="102790" y="8493"/>
                      </a:moveTo>
                      <a:cubicBezTo>
                        <a:pt x="40878" y="18018"/>
                        <a:pt x="-1032" y="77073"/>
                        <a:pt x="8493" y="138985"/>
                      </a:cubicBezTo>
                      <a:cubicBezTo>
                        <a:pt x="18018" y="200898"/>
                        <a:pt x="77073" y="242808"/>
                        <a:pt x="138985" y="233283"/>
                      </a:cubicBezTo>
                      <a:cubicBezTo>
                        <a:pt x="200898" y="223758"/>
                        <a:pt x="242808" y="164703"/>
                        <a:pt x="233283" y="102790"/>
                      </a:cubicBezTo>
                      <a:cubicBezTo>
                        <a:pt x="222805" y="40878"/>
                        <a:pt x="164703" y="-1032"/>
                        <a:pt x="102790" y="8493"/>
                      </a:cubicBezTo>
                      <a:close/>
                      <a:moveTo>
                        <a:pt x="128508" y="164703"/>
                      </a:moveTo>
                      <a:cubicBezTo>
                        <a:pt x="104695" y="168513"/>
                        <a:pt x="81835" y="152320"/>
                        <a:pt x="78025" y="128508"/>
                      </a:cubicBezTo>
                      <a:cubicBezTo>
                        <a:pt x="74215" y="104695"/>
                        <a:pt x="90408" y="81835"/>
                        <a:pt x="114220" y="78025"/>
                      </a:cubicBezTo>
                      <a:cubicBezTo>
                        <a:pt x="138033" y="74215"/>
                        <a:pt x="160893" y="90408"/>
                        <a:pt x="164703" y="114220"/>
                      </a:cubicBezTo>
                      <a:cubicBezTo>
                        <a:pt x="169465" y="138033"/>
                        <a:pt x="152320" y="160893"/>
                        <a:pt x="128508" y="164703"/>
                      </a:cubicBezTo>
                      <a:close/>
                    </a:path>
                  </a:pathLst>
                </a:custGeom>
                <a:solidFill>
                  <a:srgbClr val="8D8EA7"/>
                </a:solidFill>
                <a:ln w="9525" cap="flat">
                  <a:noFill/>
                  <a:prstDash val="solid"/>
                  <a:miter/>
                </a:ln>
              </p:spPr>
              <p:txBody>
                <a:bodyPr rtlCol="0" anchor="ctr"/>
                <a:lstStyle/>
                <a:p>
                  <a:endParaRPr lang="en-US"/>
                </a:p>
              </p:txBody>
            </p:sp>
            <p:sp>
              <p:nvSpPr>
                <p:cNvPr id="19" name="Freeform: Shape 10">
                  <a:extLst>
                    <a:ext uri="{FF2B5EF4-FFF2-40B4-BE49-F238E27FC236}">
                      <a16:creationId xmlns:a16="http://schemas.microsoft.com/office/drawing/2014/main" id="{A20F7445-B234-E14F-B6B2-C817E6759B44}"/>
                    </a:ext>
                  </a:extLst>
                </p:cNvPr>
                <p:cNvSpPr/>
                <p:nvPr/>
              </p:nvSpPr>
              <p:spPr>
                <a:xfrm flipH="1">
                  <a:off x="8071338" y="4014940"/>
                  <a:ext cx="1494202" cy="1634284"/>
                </a:xfrm>
                <a:custGeom>
                  <a:avLst/>
                  <a:gdLst>
                    <a:gd name="connsiteX0" fmla="*/ 564356 w 609600"/>
                    <a:gd name="connsiteY0" fmla="*/ 35362 h 666750"/>
                    <a:gd name="connsiteX1" fmla="*/ 392906 w 609600"/>
                    <a:gd name="connsiteY1" fmla="*/ 50602 h 666750"/>
                    <a:gd name="connsiteX2" fmla="*/ 7144 w 609600"/>
                    <a:gd name="connsiteY2" fmla="*/ 512564 h 666750"/>
                    <a:gd name="connsiteX3" fmla="*/ 193834 w 609600"/>
                    <a:gd name="connsiteY3" fmla="*/ 668774 h 666750"/>
                    <a:gd name="connsiteX4" fmla="*/ 579596 w 609600"/>
                    <a:gd name="connsiteY4" fmla="*/ 206812 h 666750"/>
                    <a:gd name="connsiteX5" fmla="*/ 564356 w 609600"/>
                    <a:gd name="connsiteY5" fmla="*/ 35362 h 666750"/>
                    <a:gd name="connsiteX6" fmla="*/ 497681 w 609600"/>
                    <a:gd name="connsiteY6" fmla="*/ 168712 h 666750"/>
                    <a:gd name="connsiteX7" fmla="*/ 450056 w 609600"/>
                    <a:gd name="connsiteY7" fmla="*/ 128707 h 666750"/>
                    <a:gd name="connsiteX8" fmla="*/ 490061 w 609600"/>
                    <a:gd name="connsiteY8" fmla="*/ 81082 h 666750"/>
                    <a:gd name="connsiteX9" fmla="*/ 537686 w 609600"/>
                    <a:gd name="connsiteY9" fmla="*/ 121087 h 666750"/>
                    <a:gd name="connsiteX10" fmla="*/ 497681 w 609600"/>
                    <a:gd name="connsiteY10" fmla="*/ 168712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66750">
                      <a:moveTo>
                        <a:pt x="564356" y="35362"/>
                      </a:moveTo>
                      <a:cubicBezTo>
                        <a:pt x="512921" y="-7501"/>
                        <a:pt x="436721" y="-833"/>
                        <a:pt x="392906" y="50602"/>
                      </a:cubicBezTo>
                      <a:lnTo>
                        <a:pt x="7144" y="512564"/>
                      </a:lnTo>
                      <a:lnTo>
                        <a:pt x="193834" y="668774"/>
                      </a:lnTo>
                      <a:lnTo>
                        <a:pt x="579596" y="206812"/>
                      </a:lnTo>
                      <a:cubicBezTo>
                        <a:pt x="623411" y="155377"/>
                        <a:pt x="615791" y="78224"/>
                        <a:pt x="564356" y="35362"/>
                      </a:cubicBezTo>
                      <a:close/>
                      <a:moveTo>
                        <a:pt x="497681" y="168712"/>
                      </a:moveTo>
                      <a:cubicBezTo>
                        <a:pt x="473869" y="170617"/>
                        <a:pt x="451961" y="153472"/>
                        <a:pt x="450056" y="128707"/>
                      </a:cubicBezTo>
                      <a:cubicBezTo>
                        <a:pt x="448151" y="104894"/>
                        <a:pt x="465296" y="82987"/>
                        <a:pt x="490061" y="81082"/>
                      </a:cubicBezTo>
                      <a:cubicBezTo>
                        <a:pt x="513874" y="79177"/>
                        <a:pt x="535781" y="96322"/>
                        <a:pt x="537686" y="121087"/>
                      </a:cubicBezTo>
                      <a:cubicBezTo>
                        <a:pt x="539591" y="145852"/>
                        <a:pt x="522446" y="166807"/>
                        <a:pt x="497681" y="168712"/>
                      </a:cubicBezTo>
                      <a:close/>
                    </a:path>
                  </a:pathLst>
                </a:custGeom>
                <a:solidFill>
                  <a:srgbClr val="004149"/>
                </a:solidFill>
                <a:ln w="9525" cap="flat">
                  <a:noFill/>
                  <a:prstDash val="solid"/>
                  <a:miter/>
                </a:ln>
              </p:spPr>
              <p:txBody>
                <a:bodyPr rtlCol="0" anchor="ctr"/>
                <a:lstStyle/>
                <a:p>
                  <a:endParaRPr lang="en-US"/>
                </a:p>
              </p:txBody>
            </p:sp>
            <p:sp>
              <p:nvSpPr>
                <p:cNvPr id="20" name="Freeform: Shape 11">
                  <a:extLst>
                    <a:ext uri="{FF2B5EF4-FFF2-40B4-BE49-F238E27FC236}">
                      <a16:creationId xmlns:a16="http://schemas.microsoft.com/office/drawing/2014/main" id="{2CACCCDC-5011-E944-A43D-178A26236922}"/>
                    </a:ext>
                  </a:extLst>
                </p:cNvPr>
                <p:cNvSpPr/>
                <p:nvPr/>
              </p:nvSpPr>
              <p:spPr>
                <a:xfrm flipH="1">
                  <a:off x="8960854" y="5081018"/>
                  <a:ext cx="1447508" cy="1167346"/>
                </a:xfrm>
                <a:custGeom>
                  <a:avLst/>
                  <a:gdLst>
                    <a:gd name="connsiteX0" fmla="*/ 558641 w 590550"/>
                    <a:gd name="connsiteY0" fmla="*/ 470059 h 476250"/>
                    <a:gd name="connsiteX1" fmla="*/ 37624 w 590550"/>
                    <a:gd name="connsiteY1" fmla="*/ 470059 h 476250"/>
                    <a:gd name="connsiteX2" fmla="*/ 7144 w 590550"/>
                    <a:gd name="connsiteY2" fmla="*/ 439579 h 476250"/>
                    <a:gd name="connsiteX3" fmla="*/ 7144 w 590550"/>
                    <a:gd name="connsiteY3" fmla="*/ 98584 h 476250"/>
                    <a:gd name="connsiteX4" fmla="*/ 98584 w 590550"/>
                    <a:gd name="connsiteY4" fmla="*/ 7144 h 476250"/>
                    <a:gd name="connsiteX5" fmla="*/ 498634 w 590550"/>
                    <a:gd name="connsiteY5" fmla="*/ 7144 h 476250"/>
                    <a:gd name="connsiteX6" fmla="*/ 590074 w 590550"/>
                    <a:gd name="connsiteY6" fmla="*/ 98584 h 476250"/>
                    <a:gd name="connsiteX7" fmla="*/ 590074 w 590550"/>
                    <a:gd name="connsiteY7" fmla="*/ 440531 h 476250"/>
                    <a:gd name="connsiteX8" fmla="*/ 558641 w 590550"/>
                    <a:gd name="connsiteY8" fmla="*/ 470059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550" h="476250">
                      <a:moveTo>
                        <a:pt x="558641" y="470059"/>
                      </a:moveTo>
                      <a:lnTo>
                        <a:pt x="37624" y="470059"/>
                      </a:lnTo>
                      <a:cubicBezTo>
                        <a:pt x="20479" y="470059"/>
                        <a:pt x="7144" y="456724"/>
                        <a:pt x="7144" y="439579"/>
                      </a:cubicBezTo>
                      <a:lnTo>
                        <a:pt x="7144" y="98584"/>
                      </a:lnTo>
                      <a:cubicBezTo>
                        <a:pt x="7144" y="48101"/>
                        <a:pt x="48101" y="7144"/>
                        <a:pt x="98584" y="7144"/>
                      </a:cubicBezTo>
                      <a:lnTo>
                        <a:pt x="498634" y="7144"/>
                      </a:lnTo>
                      <a:cubicBezTo>
                        <a:pt x="549116" y="7144"/>
                        <a:pt x="590074" y="48101"/>
                        <a:pt x="590074" y="98584"/>
                      </a:cubicBezTo>
                      <a:lnTo>
                        <a:pt x="590074" y="440531"/>
                      </a:lnTo>
                      <a:cubicBezTo>
                        <a:pt x="589121" y="456724"/>
                        <a:pt x="574834" y="470059"/>
                        <a:pt x="558641" y="470059"/>
                      </a:cubicBezTo>
                      <a:close/>
                    </a:path>
                  </a:pathLst>
                </a:custGeom>
                <a:solidFill>
                  <a:srgbClr val="004149"/>
                </a:solidFill>
                <a:ln w="9525" cap="flat">
                  <a:noFill/>
                  <a:prstDash val="solid"/>
                  <a:miter/>
                </a:ln>
              </p:spPr>
              <p:txBody>
                <a:bodyPr rtlCol="0" anchor="ctr"/>
                <a:lstStyle/>
                <a:p>
                  <a:endParaRPr lang="en-US"/>
                </a:p>
              </p:txBody>
            </p:sp>
            <p:sp>
              <p:nvSpPr>
                <p:cNvPr id="21" name="Freeform: Shape 12">
                  <a:extLst>
                    <a:ext uri="{FF2B5EF4-FFF2-40B4-BE49-F238E27FC236}">
                      <a16:creationId xmlns:a16="http://schemas.microsoft.com/office/drawing/2014/main" id="{B6089008-32E2-A24F-BBB9-D4FC681B687E}"/>
                    </a:ext>
                  </a:extLst>
                </p:cNvPr>
                <p:cNvSpPr/>
                <p:nvPr/>
              </p:nvSpPr>
              <p:spPr>
                <a:xfrm flipH="1">
                  <a:off x="8762407" y="6075596"/>
                  <a:ext cx="1821059" cy="326857"/>
                </a:xfrm>
                <a:custGeom>
                  <a:avLst/>
                  <a:gdLst>
                    <a:gd name="connsiteX0" fmla="*/ 711994 w 742950"/>
                    <a:gd name="connsiteY0" fmla="*/ 129064 h 133350"/>
                    <a:gd name="connsiteX1" fmla="*/ 37624 w 742950"/>
                    <a:gd name="connsiteY1" fmla="*/ 129064 h 133350"/>
                    <a:gd name="connsiteX2" fmla="*/ 7144 w 742950"/>
                    <a:gd name="connsiteY2" fmla="*/ 98584 h 133350"/>
                    <a:gd name="connsiteX3" fmla="*/ 7144 w 742950"/>
                    <a:gd name="connsiteY3" fmla="*/ 98584 h 133350"/>
                    <a:gd name="connsiteX4" fmla="*/ 98584 w 742950"/>
                    <a:gd name="connsiteY4" fmla="*/ 7144 h 133350"/>
                    <a:gd name="connsiteX5" fmla="*/ 651986 w 742950"/>
                    <a:gd name="connsiteY5" fmla="*/ 7144 h 133350"/>
                    <a:gd name="connsiteX6" fmla="*/ 743426 w 742950"/>
                    <a:gd name="connsiteY6" fmla="*/ 98584 h 133350"/>
                    <a:gd name="connsiteX7" fmla="*/ 743426 w 742950"/>
                    <a:gd name="connsiteY7" fmla="*/ 98584 h 133350"/>
                    <a:gd name="connsiteX8" fmla="*/ 711994 w 742950"/>
                    <a:gd name="connsiteY8" fmla="*/ 12906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950" h="133350">
                      <a:moveTo>
                        <a:pt x="711994" y="129064"/>
                      </a:moveTo>
                      <a:lnTo>
                        <a:pt x="37624" y="129064"/>
                      </a:lnTo>
                      <a:cubicBezTo>
                        <a:pt x="20479" y="129064"/>
                        <a:pt x="7144" y="115729"/>
                        <a:pt x="7144" y="98584"/>
                      </a:cubicBezTo>
                      <a:lnTo>
                        <a:pt x="7144" y="98584"/>
                      </a:lnTo>
                      <a:cubicBezTo>
                        <a:pt x="7144" y="48101"/>
                        <a:pt x="48101" y="7144"/>
                        <a:pt x="98584" y="7144"/>
                      </a:cubicBezTo>
                      <a:lnTo>
                        <a:pt x="651986" y="7144"/>
                      </a:lnTo>
                      <a:cubicBezTo>
                        <a:pt x="702469" y="7144"/>
                        <a:pt x="743426" y="48101"/>
                        <a:pt x="743426" y="98584"/>
                      </a:cubicBezTo>
                      <a:lnTo>
                        <a:pt x="743426" y="98584"/>
                      </a:lnTo>
                      <a:cubicBezTo>
                        <a:pt x="742474" y="115729"/>
                        <a:pt x="729139" y="129064"/>
                        <a:pt x="711994" y="129064"/>
                      </a:cubicBezTo>
                      <a:close/>
                    </a:path>
                  </a:pathLst>
                </a:custGeom>
                <a:solidFill>
                  <a:srgbClr val="8D8EA7"/>
                </a:solidFill>
                <a:ln w="9525" cap="flat">
                  <a:noFill/>
                  <a:prstDash val="solid"/>
                  <a:miter/>
                </a:ln>
              </p:spPr>
              <p:txBody>
                <a:bodyPr rtlCol="0" anchor="ctr"/>
                <a:lstStyle/>
                <a:p>
                  <a:endParaRPr lang="en-US"/>
                </a:p>
              </p:txBody>
            </p:sp>
            <p:sp>
              <p:nvSpPr>
                <p:cNvPr id="22" name="Freeform: Shape 13">
                  <a:extLst>
                    <a:ext uri="{FF2B5EF4-FFF2-40B4-BE49-F238E27FC236}">
                      <a16:creationId xmlns:a16="http://schemas.microsoft.com/office/drawing/2014/main" id="{15CA7668-7366-2746-BE87-CC238912C795}"/>
                    </a:ext>
                  </a:extLst>
                </p:cNvPr>
                <p:cNvSpPr/>
                <p:nvPr/>
              </p:nvSpPr>
              <p:spPr>
                <a:xfrm flipH="1">
                  <a:off x="9084594" y="5209427"/>
                  <a:ext cx="233469" cy="233469"/>
                </a:xfrm>
                <a:custGeom>
                  <a:avLst/>
                  <a:gdLst>
                    <a:gd name="connsiteX0" fmla="*/ 94774 w 95250"/>
                    <a:gd name="connsiteY0" fmla="*/ 50959 h 95250"/>
                    <a:gd name="connsiteX1" fmla="*/ 50959 w 95250"/>
                    <a:gd name="connsiteY1" fmla="*/ 94774 h 95250"/>
                    <a:gd name="connsiteX2" fmla="*/ 7144 w 95250"/>
                    <a:gd name="connsiteY2" fmla="*/ 50959 h 95250"/>
                    <a:gd name="connsiteX3" fmla="*/ 50959 w 95250"/>
                    <a:gd name="connsiteY3" fmla="*/ 7144 h 95250"/>
                    <a:gd name="connsiteX4" fmla="*/ 94774 w 95250"/>
                    <a:gd name="connsiteY4" fmla="*/ 5095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4774" y="50959"/>
                      </a:moveTo>
                      <a:cubicBezTo>
                        <a:pt x="94774" y="74771"/>
                        <a:pt x="74771" y="94774"/>
                        <a:pt x="50959" y="94774"/>
                      </a:cubicBezTo>
                      <a:cubicBezTo>
                        <a:pt x="27146" y="94774"/>
                        <a:pt x="7144" y="74771"/>
                        <a:pt x="7144" y="50959"/>
                      </a:cubicBezTo>
                      <a:cubicBezTo>
                        <a:pt x="7144" y="27146"/>
                        <a:pt x="27146" y="7144"/>
                        <a:pt x="50959" y="7144"/>
                      </a:cubicBezTo>
                      <a:cubicBezTo>
                        <a:pt x="74771" y="7144"/>
                        <a:pt x="94774" y="27146"/>
                        <a:pt x="94774" y="50959"/>
                      </a:cubicBezTo>
                      <a:close/>
                    </a:path>
                  </a:pathLst>
                </a:custGeom>
                <a:solidFill>
                  <a:schemeClr val="bg1"/>
                </a:solidFill>
                <a:ln w="9525" cap="flat">
                  <a:noFill/>
                  <a:prstDash val="solid"/>
                  <a:miter/>
                </a:ln>
              </p:spPr>
              <p:txBody>
                <a:bodyPr rtlCol="0" anchor="ctr"/>
                <a:lstStyle/>
                <a:p>
                  <a:endParaRPr lang="en-US"/>
                </a:p>
              </p:txBody>
            </p:sp>
          </p:grpSp>
          <p:sp>
            <p:nvSpPr>
              <p:cNvPr id="14" name="Oval 8">
                <a:extLst>
                  <a:ext uri="{FF2B5EF4-FFF2-40B4-BE49-F238E27FC236}">
                    <a16:creationId xmlns:a16="http://schemas.microsoft.com/office/drawing/2014/main" id="{46452141-AF89-AF49-9877-F61308575D4D}"/>
                  </a:ext>
                </a:extLst>
              </p:cNvPr>
              <p:cNvSpPr/>
              <p:nvPr/>
            </p:nvSpPr>
            <p:spPr>
              <a:xfrm>
                <a:off x="5535406" y="654278"/>
                <a:ext cx="2769298" cy="2769298"/>
              </a:xfrm>
              <a:prstGeom prst="ellipse">
                <a:avLst/>
              </a:prstGeom>
              <a:solidFill>
                <a:srgbClr val="8D8EA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100" name="Oval 9">
              <a:extLst>
                <a:ext uri="{FF2B5EF4-FFF2-40B4-BE49-F238E27FC236}">
                  <a16:creationId xmlns:a16="http://schemas.microsoft.com/office/drawing/2014/main" id="{7221F7CB-8585-C94C-AE09-74288995BCB4}"/>
                </a:ext>
              </a:extLst>
            </p:cNvPr>
            <p:cNvSpPr/>
            <p:nvPr/>
          </p:nvSpPr>
          <p:spPr>
            <a:xfrm>
              <a:off x="9377850" y="3349822"/>
              <a:ext cx="1241191" cy="1241191"/>
            </a:xfrm>
            <a:prstGeom prst="ellipse">
              <a:avLst/>
            </a:prstGeom>
            <a:blipFill>
              <a:blip r:embed="rId7">
                <a:extLst>
                  <a:ext uri="{BEBA8EAE-BF5A-486C-A8C5-ECC9F3942E4B}">
                    <a14:imgProps xmlns:a14="http://schemas.microsoft.com/office/drawing/2010/main">
                      <a14:imgLayer r:embed="rId8">
                        <a14:imgEffect>
                          <a14:brightnessContrast bright="100000"/>
                        </a14:imgEffect>
                      </a14:imgLayer>
                    </a14:imgProps>
                  </a:ext>
                </a:extLst>
              </a:blip>
              <a:srcRect/>
              <a:stretch>
                <a:fillRect l="-23305" r="-42566" b="5592"/>
              </a:stretch>
            </a:blip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Tree>
    <p:extLst>
      <p:ext uri="{BB962C8B-B14F-4D97-AF65-F5344CB8AC3E}">
        <p14:creationId xmlns:p14="http://schemas.microsoft.com/office/powerpoint/2010/main" val="406710816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A60F13-F06A-C04B-A371-467900A245B7}"/>
              </a:ext>
            </a:extLst>
          </p:cNvPr>
          <p:cNvSpPr>
            <a:spLocks noGrp="1"/>
          </p:cNvSpPr>
          <p:nvPr>
            <p:ph type="sldNum" sz="quarter" idx="4"/>
          </p:nvPr>
        </p:nvSpPr>
        <p:spPr/>
        <p:txBody>
          <a:bodyPr/>
          <a:lstStyle/>
          <a:p>
            <a:fld id="{3D966009-6E5A-4F8C-8CA7-E37AFBF5FB92}" type="slidenum">
              <a:rPr lang="en-US" smtClean="0"/>
              <a:t>172</a:t>
            </a:fld>
            <a:endParaRPr lang="en-US"/>
          </a:p>
        </p:txBody>
      </p:sp>
      <p:sp>
        <p:nvSpPr>
          <p:cNvPr id="3" name="Title 2">
            <a:extLst>
              <a:ext uri="{FF2B5EF4-FFF2-40B4-BE49-F238E27FC236}">
                <a16:creationId xmlns:a16="http://schemas.microsoft.com/office/drawing/2014/main" id="{A0AE54F8-0190-0B40-BFFC-A79087F2F29E}"/>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D5DF0971-1DEA-9649-8154-B80302954920}"/>
              </a:ext>
            </a:extLst>
          </p:cNvPr>
          <p:cNvSpPr>
            <a:spLocks noGrp="1"/>
          </p:cNvSpPr>
          <p:nvPr>
            <p:ph sz="quarter" idx="10"/>
          </p:nvPr>
        </p:nvSpPr>
        <p:spPr/>
        <p:txBody>
          <a:bodyPr/>
          <a:lstStyle/>
          <a:p>
            <a:endParaRPr lang="en-GB"/>
          </a:p>
        </p:txBody>
      </p:sp>
      <p:sp>
        <p:nvSpPr>
          <p:cNvPr id="5" name="Text Placeholder 4">
            <a:extLst>
              <a:ext uri="{FF2B5EF4-FFF2-40B4-BE49-F238E27FC236}">
                <a16:creationId xmlns:a16="http://schemas.microsoft.com/office/drawing/2014/main" id="{6BC029D3-99AD-0549-AE3B-47B068C15490}"/>
              </a:ext>
            </a:extLst>
          </p:cNvPr>
          <p:cNvSpPr>
            <a:spLocks noGrp="1"/>
          </p:cNvSpPr>
          <p:nvPr>
            <p:ph type="body" sz="quarter" idx="11"/>
          </p:nvPr>
        </p:nvSpPr>
        <p:spPr/>
        <p:txBody>
          <a:bodyPr/>
          <a:lstStyle/>
          <a:p>
            <a:endParaRPr lang="en-GB"/>
          </a:p>
        </p:txBody>
      </p:sp>
      <p:sp>
        <p:nvSpPr>
          <p:cNvPr id="6" name="Text Placeholder 5">
            <a:extLst>
              <a:ext uri="{FF2B5EF4-FFF2-40B4-BE49-F238E27FC236}">
                <a16:creationId xmlns:a16="http://schemas.microsoft.com/office/drawing/2014/main" id="{4E749C73-4B64-0940-AD03-8ACBC147EF8D}"/>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6AB91CC-E69B-FC42-B323-E86A5E16E88A}"/>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2437E97-188D-5E41-BB29-51AC5239F742}"/>
              </a:ext>
            </a:extLst>
          </p:cNvPr>
          <p:cNvSpPr>
            <a:spLocks noGrp="1"/>
          </p:cNvSpPr>
          <p:nvPr>
            <p:ph sz="quarter" idx="14"/>
          </p:nvPr>
        </p:nvSpPr>
        <p:spPr/>
        <p:txBody>
          <a:bodyPr/>
          <a:lstStyle/>
          <a:p>
            <a:endParaRPr lang="en-GB"/>
          </a:p>
        </p:txBody>
      </p:sp>
      <p:grpSp>
        <p:nvGrpSpPr>
          <p:cNvPr id="37" name="Group 36">
            <a:extLst>
              <a:ext uri="{FF2B5EF4-FFF2-40B4-BE49-F238E27FC236}">
                <a16:creationId xmlns:a16="http://schemas.microsoft.com/office/drawing/2014/main" id="{136F1901-314C-A344-BA98-DDD782C6AAA2}"/>
              </a:ext>
            </a:extLst>
          </p:cNvPr>
          <p:cNvGrpSpPr/>
          <p:nvPr/>
        </p:nvGrpSpPr>
        <p:grpSpPr>
          <a:xfrm>
            <a:off x="607758" y="2132370"/>
            <a:ext cx="3495415" cy="3452730"/>
            <a:chOff x="241998" y="1437580"/>
            <a:chExt cx="3495415" cy="3452730"/>
          </a:xfrm>
        </p:grpSpPr>
        <p:grpSp>
          <p:nvGrpSpPr>
            <p:cNvPr id="9" name="그룹 4">
              <a:extLst>
                <a:ext uri="{FF2B5EF4-FFF2-40B4-BE49-F238E27FC236}">
                  <a16:creationId xmlns:a16="http://schemas.microsoft.com/office/drawing/2014/main" id="{0B2F2967-886B-6F43-93DF-AFE8388580D0}"/>
                </a:ext>
              </a:extLst>
            </p:cNvPr>
            <p:cNvGrpSpPr/>
            <p:nvPr/>
          </p:nvGrpSpPr>
          <p:grpSpPr>
            <a:xfrm>
              <a:off x="241998" y="2652204"/>
              <a:ext cx="3495415" cy="2238106"/>
              <a:chOff x="2401342" y="248706"/>
              <a:chExt cx="5620059" cy="3598510"/>
            </a:xfrm>
            <a:solidFill>
              <a:schemeClr val="accent1"/>
            </a:solidFill>
          </p:grpSpPr>
          <p:sp>
            <p:nvSpPr>
              <p:cNvPr id="10" name="Oval 11">
                <a:extLst>
                  <a:ext uri="{FF2B5EF4-FFF2-40B4-BE49-F238E27FC236}">
                    <a16:creationId xmlns:a16="http://schemas.microsoft.com/office/drawing/2014/main" id="{D539CA58-ABC7-274A-9B92-4A9511F7C275}"/>
                  </a:ext>
                </a:extLst>
              </p:cNvPr>
              <p:cNvSpPr/>
              <p:nvPr userDrawn="1"/>
            </p:nvSpPr>
            <p:spPr>
              <a:xfrm>
                <a:off x="4283968" y="941198"/>
                <a:ext cx="956850" cy="9568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Oval 11">
                <a:extLst>
                  <a:ext uri="{FF2B5EF4-FFF2-40B4-BE49-F238E27FC236}">
                    <a16:creationId xmlns:a16="http://schemas.microsoft.com/office/drawing/2014/main" id="{BBE2F2C3-B3A2-3446-BA89-7ADF39F9893F}"/>
                  </a:ext>
                </a:extLst>
              </p:cNvPr>
              <p:cNvSpPr/>
              <p:nvPr userDrawn="1"/>
            </p:nvSpPr>
            <p:spPr>
              <a:xfrm>
                <a:off x="4080672" y="1386488"/>
                <a:ext cx="491180" cy="4911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Oval 11">
                <a:extLst>
                  <a:ext uri="{FF2B5EF4-FFF2-40B4-BE49-F238E27FC236}">
                    <a16:creationId xmlns:a16="http://schemas.microsoft.com/office/drawing/2014/main" id="{9A4D08AB-0FA1-BC42-B69D-B5D4132210B8}"/>
                  </a:ext>
                </a:extLst>
              </p:cNvPr>
              <p:cNvSpPr/>
              <p:nvPr userDrawn="1"/>
            </p:nvSpPr>
            <p:spPr>
              <a:xfrm>
                <a:off x="3485352" y="1717923"/>
                <a:ext cx="1190640" cy="11906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Oval 11">
                <a:extLst>
                  <a:ext uri="{FF2B5EF4-FFF2-40B4-BE49-F238E27FC236}">
                    <a16:creationId xmlns:a16="http://schemas.microsoft.com/office/drawing/2014/main" id="{324B934A-5AD4-3143-B328-261DD93E81AA}"/>
                  </a:ext>
                </a:extLst>
              </p:cNvPr>
              <p:cNvSpPr/>
              <p:nvPr userDrawn="1"/>
            </p:nvSpPr>
            <p:spPr>
              <a:xfrm>
                <a:off x="2886827" y="1894030"/>
                <a:ext cx="1190640" cy="11906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Oval 11">
                <a:extLst>
                  <a:ext uri="{FF2B5EF4-FFF2-40B4-BE49-F238E27FC236}">
                    <a16:creationId xmlns:a16="http://schemas.microsoft.com/office/drawing/2014/main" id="{6D15317C-D931-F241-9A10-3D270FCAA507}"/>
                  </a:ext>
                </a:extLst>
              </p:cNvPr>
              <p:cNvSpPr/>
              <p:nvPr userDrawn="1"/>
            </p:nvSpPr>
            <p:spPr>
              <a:xfrm>
                <a:off x="2401342" y="2516235"/>
                <a:ext cx="784747" cy="78474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Oval 11">
                <a:extLst>
                  <a:ext uri="{FF2B5EF4-FFF2-40B4-BE49-F238E27FC236}">
                    <a16:creationId xmlns:a16="http://schemas.microsoft.com/office/drawing/2014/main" id="{788A9CD9-DC0E-D24B-B51D-3F5282B517F4}"/>
                  </a:ext>
                </a:extLst>
              </p:cNvPr>
              <p:cNvSpPr/>
              <p:nvPr userDrawn="1"/>
            </p:nvSpPr>
            <p:spPr>
              <a:xfrm>
                <a:off x="3017096" y="2797485"/>
                <a:ext cx="784747" cy="78474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Oval 15">
                <a:extLst>
                  <a:ext uri="{FF2B5EF4-FFF2-40B4-BE49-F238E27FC236}">
                    <a16:creationId xmlns:a16="http://schemas.microsoft.com/office/drawing/2014/main" id="{E78E8FA0-DD69-5941-9AB7-0A077BA5761B}"/>
                  </a:ext>
                </a:extLst>
              </p:cNvPr>
              <p:cNvSpPr/>
              <p:nvPr userDrawn="1"/>
            </p:nvSpPr>
            <p:spPr>
              <a:xfrm>
                <a:off x="3562974" y="2003019"/>
                <a:ext cx="1844197" cy="184419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Oval 11">
                <a:extLst>
                  <a:ext uri="{FF2B5EF4-FFF2-40B4-BE49-F238E27FC236}">
                    <a16:creationId xmlns:a16="http://schemas.microsoft.com/office/drawing/2014/main" id="{D1E5E083-8371-444E-B898-30FADE62D50C}"/>
                  </a:ext>
                </a:extLst>
              </p:cNvPr>
              <p:cNvSpPr/>
              <p:nvPr userDrawn="1"/>
            </p:nvSpPr>
            <p:spPr>
              <a:xfrm>
                <a:off x="4999309" y="3011131"/>
                <a:ext cx="784747" cy="78474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Oval 11">
                <a:extLst>
                  <a:ext uri="{FF2B5EF4-FFF2-40B4-BE49-F238E27FC236}">
                    <a16:creationId xmlns:a16="http://schemas.microsoft.com/office/drawing/2014/main" id="{F2503105-51FA-E44E-82B1-C1136B99C2C0}"/>
                  </a:ext>
                </a:extLst>
              </p:cNvPr>
              <p:cNvSpPr/>
              <p:nvPr userDrawn="1"/>
            </p:nvSpPr>
            <p:spPr>
              <a:xfrm>
                <a:off x="5653222" y="2981733"/>
                <a:ext cx="784747" cy="78474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Oval 11">
                <a:extLst>
                  <a:ext uri="{FF2B5EF4-FFF2-40B4-BE49-F238E27FC236}">
                    <a16:creationId xmlns:a16="http://schemas.microsoft.com/office/drawing/2014/main" id="{7748F4E3-8A17-7049-B9B2-BBE388298531}"/>
                  </a:ext>
                </a:extLst>
              </p:cNvPr>
              <p:cNvSpPr/>
              <p:nvPr userDrawn="1"/>
            </p:nvSpPr>
            <p:spPr>
              <a:xfrm>
                <a:off x="6035666" y="2445747"/>
                <a:ext cx="1363186" cy="13631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Oval 11">
                <a:extLst>
                  <a:ext uri="{FF2B5EF4-FFF2-40B4-BE49-F238E27FC236}">
                    <a16:creationId xmlns:a16="http://schemas.microsoft.com/office/drawing/2014/main" id="{94420BAC-5DBD-7043-AC97-92A637AA03DB}"/>
                  </a:ext>
                </a:extLst>
              </p:cNvPr>
              <p:cNvSpPr/>
              <p:nvPr userDrawn="1"/>
            </p:nvSpPr>
            <p:spPr>
              <a:xfrm>
                <a:off x="7037784" y="2729409"/>
                <a:ext cx="784747" cy="78474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Oval 11">
                <a:extLst>
                  <a:ext uri="{FF2B5EF4-FFF2-40B4-BE49-F238E27FC236}">
                    <a16:creationId xmlns:a16="http://schemas.microsoft.com/office/drawing/2014/main" id="{3B81E7CB-1724-F046-9B2B-21E695C0D0D2}"/>
                  </a:ext>
                </a:extLst>
              </p:cNvPr>
              <p:cNvSpPr/>
              <p:nvPr userDrawn="1"/>
            </p:nvSpPr>
            <p:spPr>
              <a:xfrm>
                <a:off x="6658215" y="1725625"/>
                <a:ext cx="1363186" cy="13631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Oval 11">
                <a:extLst>
                  <a:ext uri="{FF2B5EF4-FFF2-40B4-BE49-F238E27FC236}">
                    <a16:creationId xmlns:a16="http://schemas.microsoft.com/office/drawing/2014/main" id="{C27E19F1-3A9A-A340-8306-35111D658AE4}"/>
                  </a:ext>
                </a:extLst>
              </p:cNvPr>
              <p:cNvSpPr/>
              <p:nvPr userDrawn="1"/>
            </p:nvSpPr>
            <p:spPr>
              <a:xfrm>
                <a:off x="4702059" y="880592"/>
                <a:ext cx="1040194" cy="104019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3" name="Oval 11">
                <a:extLst>
                  <a:ext uri="{FF2B5EF4-FFF2-40B4-BE49-F238E27FC236}">
                    <a16:creationId xmlns:a16="http://schemas.microsoft.com/office/drawing/2014/main" id="{0DFF4751-1BE3-514F-94BB-3700C45F6A07}"/>
                  </a:ext>
                </a:extLst>
              </p:cNvPr>
              <p:cNvSpPr/>
              <p:nvPr userDrawn="1"/>
            </p:nvSpPr>
            <p:spPr>
              <a:xfrm>
                <a:off x="5200227" y="1153449"/>
                <a:ext cx="1040194" cy="104019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Oval 11">
                <a:extLst>
                  <a:ext uri="{FF2B5EF4-FFF2-40B4-BE49-F238E27FC236}">
                    <a16:creationId xmlns:a16="http://schemas.microsoft.com/office/drawing/2014/main" id="{DC6586DD-8543-3E40-AFF4-2EDF5B240FAC}"/>
                  </a:ext>
                </a:extLst>
              </p:cNvPr>
              <p:cNvSpPr/>
              <p:nvPr userDrawn="1"/>
            </p:nvSpPr>
            <p:spPr>
              <a:xfrm>
                <a:off x="5945245" y="1484448"/>
                <a:ext cx="701108" cy="7011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Oval 11">
                <a:extLst>
                  <a:ext uri="{FF2B5EF4-FFF2-40B4-BE49-F238E27FC236}">
                    <a16:creationId xmlns:a16="http://schemas.microsoft.com/office/drawing/2014/main" id="{8D99EF65-B51E-3F4A-99D8-4A8AFC323287}"/>
                  </a:ext>
                </a:extLst>
              </p:cNvPr>
              <p:cNvSpPr/>
              <p:nvPr userDrawn="1"/>
            </p:nvSpPr>
            <p:spPr>
              <a:xfrm>
                <a:off x="6121822" y="1792219"/>
                <a:ext cx="1040194" cy="104019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 name="Oval 11">
                <a:extLst>
                  <a:ext uri="{FF2B5EF4-FFF2-40B4-BE49-F238E27FC236}">
                    <a16:creationId xmlns:a16="http://schemas.microsoft.com/office/drawing/2014/main" id="{8B9E24A3-45C7-354A-9E6D-A60BBC9B67BA}"/>
                  </a:ext>
                </a:extLst>
              </p:cNvPr>
              <p:cNvSpPr/>
              <p:nvPr userDrawn="1"/>
            </p:nvSpPr>
            <p:spPr>
              <a:xfrm>
                <a:off x="4251327" y="1369850"/>
                <a:ext cx="2136016" cy="213601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사다리꼴 22">
                <a:extLst>
                  <a:ext uri="{FF2B5EF4-FFF2-40B4-BE49-F238E27FC236}">
                    <a16:creationId xmlns:a16="http://schemas.microsoft.com/office/drawing/2014/main" id="{76E82657-62B3-674E-BAA6-B36B5ABE0AA1}"/>
                  </a:ext>
                </a:extLst>
              </p:cNvPr>
              <p:cNvSpPr/>
              <p:nvPr userDrawn="1"/>
            </p:nvSpPr>
            <p:spPr>
              <a:xfrm>
                <a:off x="4765704" y="248706"/>
                <a:ext cx="608632" cy="1216152"/>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8" name="그룹 23">
              <a:extLst>
                <a:ext uri="{FF2B5EF4-FFF2-40B4-BE49-F238E27FC236}">
                  <a16:creationId xmlns:a16="http://schemas.microsoft.com/office/drawing/2014/main" id="{60A8A490-B649-4F4F-B8C9-9945DB5703B6}"/>
                </a:ext>
              </a:extLst>
            </p:cNvPr>
            <p:cNvGrpSpPr/>
            <p:nvPr/>
          </p:nvGrpSpPr>
          <p:grpSpPr>
            <a:xfrm>
              <a:off x="1529781" y="1437580"/>
              <a:ext cx="783538" cy="1506193"/>
              <a:chOff x="5304862" y="-789923"/>
              <a:chExt cx="645890" cy="1241591"/>
            </a:xfrm>
          </p:grpSpPr>
          <p:grpSp>
            <p:nvGrpSpPr>
              <p:cNvPr id="29" name="그룹 24">
                <a:extLst>
                  <a:ext uri="{FF2B5EF4-FFF2-40B4-BE49-F238E27FC236}">
                    <a16:creationId xmlns:a16="http://schemas.microsoft.com/office/drawing/2014/main" id="{A5BC1356-8D4C-F649-9FC5-77825A7127A5}"/>
                  </a:ext>
                </a:extLst>
              </p:cNvPr>
              <p:cNvGrpSpPr/>
              <p:nvPr userDrawn="1"/>
            </p:nvGrpSpPr>
            <p:grpSpPr>
              <a:xfrm>
                <a:off x="5377232" y="-789923"/>
                <a:ext cx="495969" cy="1052585"/>
                <a:chOff x="5868144" y="-857099"/>
                <a:chExt cx="495969" cy="1052585"/>
              </a:xfrm>
            </p:grpSpPr>
            <p:sp>
              <p:nvSpPr>
                <p:cNvPr id="34" name="이등변 삼각형 49">
                  <a:extLst>
                    <a:ext uri="{FF2B5EF4-FFF2-40B4-BE49-F238E27FC236}">
                      <a16:creationId xmlns:a16="http://schemas.microsoft.com/office/drawing/2014/main" id="{782C4E93-54FD-314A-8EBB-A47CF781B9AD}"/>
                    </a:ext>
                  </a:extLst>
                </p:cNvPr>
                <p:cNvSpPr/>
                <p:nvPr userDrawn="1"/>
              </p:nvSpPr>
              <p:spPr>
                <a:xfrm>
                  <a:off x="5868144" y="-853769"/>
                  <a:ext cx="495969" cy="1049255"/>
                </a:xfrm>
                <a:custGeom>
                  <a:avLst/>
                  <a:gdLst>
                    <a:gd name="connsiteX0" fmla="*/ 0 w 311344"/>
                    <a:gd name="connsiteY0" fmla="*/ 1049255 h 1049255"/>
                    <a:gd name="connsiteX1" fmla="*/ 155672 w 311344"/>
                    <a:gd name="connsiteY1" fmla="*/ 0 h 1049255"/>
                    <a:gd name="connsiteX2" fmla="*/ 311344 w 311344"/>
                    <a:gd name="connsiteY2" fmla="*/ 1049255 h 1049255"/>
                    <a:gd name="connsiteX3" fmla="*/ 0 w 311344"/>
                    <a:gd name="connsiteY3" fmla="*/ 1049255 h 1049255"/>
                    <a:gd name="connsiteX0" fmla="*/ 45684 w 357028"/>
                    <a:gd name="connsiteY0" fmla="*/ 1049255 h 1049255"/>
                    <a:gd name="connsiteX1" fmla="*/ 201356 w 357028"/>
                    <a:gd name="connsiteY1" fmla="*/ 0 h 1049255"/>
                    <a:gd name="connsiteX2" fmla="*/ 357028 w 357028"/>
                    <a:gd name="connsiteY2" fmla="*/ 1049255 h 1049255"/>
                    <a:gd name="connsiteX3" fmla="*/ 45684 w 357028"/>
                    <a:gd name="connsiteY3" fmla="*/ 1049255 h 1049255"/>
                    <a:gd name="connsiteX0" fmla="*/ 45684 w 416158"/>
                    <a:gd name="connsiteY0" fmla="*/ 1049255 h 1049255"/>
                    <a:gd name="connsiteX1" fmla="*/ 201356 w 416158"/>
                    <a:gd name="connsiteY1" fmla="*/ 0 h 1049255"/>
                    <a:gd name="connsiteX2" fmla="*/ 357028 w 416158"/>
                    <a:gd name="connsiteY2" fmla="*/ 1049255 h 1049255"/>
                    <a:gd name="connsiteX3" fmla="*/ 45684 w 416158"/>
                    <a:gd name="connsiteY3" fmla="*/ 1049255 h 1049255"/>
                    <a:gd name="connsiteX0" fmla="*/ 87161 w 457635"/>
                    <a:gd name="connsiteY0" fmla="*/ 1049255 h 1049255"/>
                    <a:gd name="connsiteX1" fmla="*/ 242833 w 457635"/>
                    <a:gd name="connsiteY1" fmla="*/ 0 h 1049255"/>
                    <a:gd name="connsiteX2" fmla="*/ 398505 w 457635"/>
                    <a:gd name="connsiteY2" fmla="*/ 1049255 h 1049255"/>
                    <a:gd name="connsiteX3" fmla="*/ 87161 w 457635"/>
                    <a:gd name="connsiteY3" fmla="*/ 1049255 h 1049255"/>
                    <a:gd name="connsiteX0" fmla="*/ 87161 w 500627"/>
                    <a:gd name="connsiteY0" fmla="*/ 1049255 h 1049255"/>
                    <a:gd name="connsiteX1" fmla="*/ 242833 w 500627"/>
                    <a:gd name="connsiteY1" fmla="*/ 0 h 1049255"/>
                    <a:gd name="connsiteX2" fmla="*/ 398505 w 500627"/>
                    <a:gd name="connsiteY2" fmla="*/ 1049255 h 1049255"/>
                    <a:gd name="connsiteX3" fmla="*/ 87161 w 500627"/>
                    <a:gd name="connsiteY3" fmla="*/ 1049255 h 1049255"/>
                    <a:gd name="connsiteX0" fmla="*/ 91187 w 504653"/>
                    <a:gd name="connsiteY0" fmla="*/ 1049255 h 1049255"/>
                    <a:gd name="connsiteX1" fmla="*/ 246859 w 504653"/>
                    <a:gd name="connsiteY1" fmla="*/ 0 h 1049255"/>
                    <a:gd name="connsiteX2" fmla="*/ 402531 w 504653"/>
                    <a:gd name="connsiteY2" fmla="*/ 1049255 h 1049255"/>
                    <a:gd name="connsiteX3" fmla="*/ 91187 w 504653"/>
                    <a:gd name="connsiteY3" fmla="*/ 1049255 h 1049255"/>
                    <a:gd name="connsiteX0" fmla="*/ 91187 w 500775"/>
                    <a:gd name="connsiteY0" fmla="*/ 1049255 h 1049255"/>
                    <a:gd name="connsiteX1" fmla="*/ 246859 w 500775"/>
                    <a:gd name="connsiteY1" fmla="*/ 0 h 1049255"/>
                    <a:gd name="connsiteX2" fmla="*/ 402531 w 500775"/>
                    <a:gd name="connsiteY2" fmla="*/ 1049255 h 1049255"/>
                    <a:gd name="connsiteX3" fmla="*/ 91187 w 500775"/>
                    <a:gd name="connsiteY3" fmla="*/ 1049255 h 1049255"/>
                    <a:gd name="connsiteX0" fmla="*/ 91187 w 484758"/>
                    <a:gd name="connsiteY0" fmla="*/ 1049255 h 1049255"/>
                    <a:gd name="connsiteX1" fmla="*/ 246859 w 484758"/>
                    <a:gd name="connsiteY1" fmla="*/ 0 h 1049255"/>
                    <a:gd name="connsiteX2" fmla="*/ 402531 w 484758"/>
                    <a:gd name="connsiteY2" fmla="*/ 1049255 h 1049255"/>
                    <a:gd name="connsiteX3" fmla="*/ 91187 w 484758"/>
                    <a:gd name="connsiteY3" fmla="*/ 1049255 h 1049255"/>
                    <a:gd name="connsiteX0" fmla="*/ 91187 w 488692"/>
                    <a:gd name="connsiteY0" fmla="*/ 1049255 h 1049255"/>
                    <a:gd name="connsiteX1" fmla="*/ 246859 w 488692"/>
                    <a:gd name="connsiteY1" fmla="*/ 0 h 1049255"/>
                    <a:gd name="connsiteX2" fmla="*/ 402531 w 488692"/>
                    <a:gd name="connsiteY2" fmla="*/ 1049255 h 1049255"/>
                    <a:gd name="connsiteX3" fmla="*/ 91187 w 488692"/>
                    <a:gd name="connsiteY3" fmla="*/ 1049255 h 1049255"/>
                    <a:gd name="connsiteX0" fmla="*/ 91187 w 492707"/>
                    <a:gd name="connsiteY0" fmla="*/ 1049255 h 1049255"/>
                    <a:gd name="connsiteX1" fmla="*/ 246859 w 492707"/>
                    <a:gd name="connsiteY1" fmla="*/ 0 h 1049255"/>
                    <a:gd name="connsiteX2" fmla="*/ 402531 w 492707"/>
                    <a:gd name="connsiteY2" fmla="*/ 1049255 h 1049255"/>
                    <a:gd name="connsiteX3" fmla="*/ 91187 w 492707"/>
                    <a:gd name="connsiteY3" fmla="*/ 1049255 h 1049255"/>
                    <a:gd name="connsiteX0" fmla="*/ 95257 w 496777"/>
                    <a:gd name="connsiteY0" fmla="*/ 1049255 h 1049255"/>
                    <a:gd name="connsiteX1" fmla="*/ 250929 w 496777"/>
                    <a:gd name="connsiteY1" fmla="*/ 0 h 1049255"/>
                    <a:gd name="connsiteX2" fmla="*/ 406601 w 496777"/>
                    <a:gd name="connsiteY2" fmla="*/ 1049255 h 1049255"/>
                    <a:gd name="connsiteX3" fmla="*/ 95257 w 496777"/>
                    <a:gd name="connsiteY3" fmla="*/ 1049255 h 1049255"/>
                    <a:gd name="connsiteX0" fmla="*/ 95257 w 485293"/>
                    <a:gd name="connsiteY0" fmla="*/ 1049255 h 1049255"/>
                    <a:gd name="connsiteX1" fmla="*/ 250929 w 485293"/>
                    <a:gd name="connsiteY1" fmla="*/ 0 h 1049255"/>
                    <a:gd name="connsiteX2" fmla="*/ 406601 w 485293"/>
                    <a:gd name="connsiteY2" fmla="*/ 1049255 h 1049255"/>
                    <a:gd name="connsiteX3" fmla="*/ 95257 w 485293"/>
                    <a:gd name="connsiteY3" fmla="*/ 1049255 h 1049255"/>
                    <a:gd name="connsiteX0" fmla="*/ 95257 w 494828"/>
                    <a:gd name="connsiteY0" fmla="*/ 1049255 h 1049255"/>
                    <a:gd name="connsiteX1" fmla="*/ 250929 w 494828"/>
                    <a:gd name="connsiteY1" fmla="*/ 0 h 1049255"/>
                    <a:gd name="connsiteX2" fmla="*/ 406601 w 494828"/>
                    <a:gd name="connsiteY2" fmla="*/ 1049255 h 1049255"/>
                    <a:gd name="connsiteX3" fmla="*/ 95257 w 494828"/>
                    <a:gd name="connsiteY3" fmla="*/ 1049255 h 1049255"/>
                    <a:gd name="connsiteX0" fmla="*/ 95257 w 493814"/>
                    <a:gd name="connsiteY0" fmla="*/ 1049255 h 1049255"/>
                    <a:gd name="connsiteX1" fmla="*/ 250929 w 493814"/>
                    <a:gd name="connsiteY1" fmla="*/ 0 h 1049255"/>
                    <a:gd name="connsiteX2" fmla="*/ 406601 w 493814"/>
                    <a:gd name="connsiteY2" fmla="*/ 1049255 h 1049255"/>
                    <a:gd name="connsiteX3" fmla="*/ 95257 w 493814"/>
                    <a:gd name="connsiteY3" fmla="*/ 1049255 h 1049255"/>
                    <a:gd name="connsiteX0" fmla="*/ 95257 w 496864"/>
                    <a:gd name="connsiteY0" fmla="*/ 1049255 h 1049255"/>
                    <a:gd name="connsiteX1" fmla="*/ 250929 w 496864"/>
                    <a:gd name="connsiteY1" fmla="*/ 0 h 1049255"/>
                    <a:gd name="connsiteX2" fmla="*/ 406601 w 496864"/>
                    <a:gd name="connsiteY2" fmla="*/ 1049255 h 1049255"/>
                    <a:gd name="connsiteX3" fmla="*/ 95257 w 496864"/>
                    <a:gd name="connsiteY3" fmla="*/ 1049255 h 1049255"/>
                    <a:gd name="connsiteX0" fmla="*/ 95257 w 497887"/>
                    <a:gd name="connsiteY0" fmla="*/ 1049255 h 1049255"/>
                    <a:gd name="connsiteX1" fmla="*/ 250929 w 497887"/>
                    <a:gd name="connsiteY1" fmla="*/ 0 h 1049255"/>
                    <a:gd name="connsiteX2" fmla="*/ 406601 w 497887"/>
                    <a:gd name="connsiteY2" fmla="*/ 1049255 h 1049255"/>
                    <a:gd name="connsiteX3" fmla="*/ 95257 w 497887"/>
                    <a:gd name="connsiteY3" fmla="*/ 1049255 h 1049255"/>
                    <a:gd name="connsiteX0" fmla="*/ 95257 w 495969"/>
                    <a:gd name="connsiteY0" fmla="*/ 1049255 h 1049255"/>
                    <a:gd name="connsiteX1" fmla="*/ 250929 w 495969"/>
                    <a:gd name="connsiteY1" fmla="*/ 0 h 1049255"/>
                    <a:gd name="connsiteX2" fmla="*/ 406601 w 495969"/>
                    <a:gd name="connsiteY2" fmla="*/ 1049255 h 1049255"/>
                    <a:gd name="connsiteX3" fmla="*/ 95257 w 495969"/>
                    <a:gd name="connsiteY3" fmla="*/ 1049255 h 1049255"/>
                  </a:gdLst>
                  <a:ahLst/>
                  <a:cxnLst>
                    <a:cxn ang="0">
                      <a:pos x="connsiteX0" y="connsiteY0"/>
                    </a:cxn>
                    <a:cxn ang="0">
                      <a:pos x="connsiteX1" y="connsiteY1"/>
                    </a:cxn>
                    <a:cxn ang="0">
                      <a:pos x="connsiteX2" y="connsiteY2"/>
                    </a:cxn>
                    <a:cxn ang="0">
                      <a:pos x="connsiteX3" y="connsiteY3"/>
                    </a:cxn>
                  </a:cxnLst>
                  <a:rect l="l" t="t" r="r" b="b"/>
                  <a:pathLst>
                    <a:path w="495969" h="1049255">
                      <a:moveTo>
                        <a:pt x="95257" y="1049255"/>
                      </a:moveTo>
                      <a:cubicBezTo>
                        <a:pt x="6676" y="723357"/>
                        <a:pt x="-121664" y="317947"/>
                        <a:pt x="250929" y="0"/>
                      </a:cubicBezTo>
                      <a:cubicBezTo>
                        <a:pt x="612920" y="328549"/>
                        <a:pt x="489882" y="781667"/>
                        <a:pt x="406601" y="1049255"/>
                      </a:cubicBezTo>
                      <a:lnTo>
                        <a:pt x="95257" y="1049255"/>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자유형: 도형 30">
                  <a:extLst>
                    <a:ext uri="{FF2B5EF4-FFF2-40B4-BE49-F238E27FC236}">
                      <a16:creationId xmlns:a16="http://schemas.microsoft.com/office/drawing/2014/main" id="{E18EA459-654F-6E41-A59A-B42C09D35B28}"/>
                    </a:ext>
                  </a:extLst>
                </p:cNvPr>
                <p:cNvSpPr/>
                <p:nvPr userDrawn="1"/>
              </p:nvSpPr>
              <p:spPr>
                <a:xfrm>
                  <a:off x="5939427" y="102551"/>
                  <a:ext cx="364003" cy="92935"/>
                </a:xfrm>
                <a:custGeom>
                  <a:avLst/>
                  <a:gdLst>
                    <a:gd name="connsiteX0" fmla="*/ 0 w 364003"/>
                    <a:gd name="connsiteY0" fmla="*/ 0 h 92935"/>
                    <a:gd name="connsiteX1" fmla="*/ 364003 w 364003"/>
                    <a:gd name="connsiteY1" fmla="*/ 0 h 92935"/>
                    <a:gd name="connsiteX2" fmla="*/ 336518 w 364003"/>
                    <a:gd name="connsiteY2" fmla="*/ 92935 h 92935"/>
                    <a:gd name="connsiteX3" fmla="*/ 25174 w 364003"/>
                    <a:gd name="connsiteY3" fmla="*/ 92935 h 92935"/>
                  </a:gdLst>
                  <a:ahLst/>
                  <a:cxnLst>
                    <a:cxn ang="0">
                      <a:pos x="connsiteX0" y="connsiteY0"/>
                    </a:cxn>
                    <a:cxn ang="0">
                      <a:pos x="connsiteX1" y="connsiteY1"/>
                    </a:cxn>
                    <a:cxn ang="0">
                      <a:pos x="connsiteX2" y="connsiteY2"/>
                    </a:cxn>
                    <a:cxn ang="0">
                      <a:pos x="connsiteX3" y="connsiteY3"/>
                    </a:cxn>
                  </a:cxnLst>
                  <a:rect l="l" t="t" r="r" b="b"/>
                  <a:pathLst>
                    <a:path w="364003" h="92935">
                      <a:moveTo>
                        <a:pt x="0" y="0"/>
                      </a:moveTo>
                      <a:lnTo>
                        <a:pt x="364003" y="0"/>
                      </a:lnTo>
                      <a:lnTo>
                        <a:pt x="336518" y="92935"/>
                      </a:lnTo>
                      <a:lnTo>
                        <a:pt x="25174" y="92935"/>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자유형: 도형 31">
                  <a:extLst>
                    <a:ext uri="{FF2B5EF4-FFF2-40B4-BE49-F238E27FC236}">
                      <a16:creationId xmlns:a16="http://schemas.microsoft.com/office/drawing/2014/main" id="{B58D56DF-2EB1-054D-9E7B-7CBC7546889D}"/>
                    </a:ext>
                  </a:extLst>
                </p:cNvPr>
                <p:cNvSpPr/>
                <p:nvPr userDrawn="1"/>
              </p:nvSpPr>
              <p:spPr>
                <a:xfrm>
                  <a:off x="5893989" y="-857099"/>
                  <a:ext cx="444279" cy="350537"/>
                </a:xfrm>
                <a:custGeom>
                  <a:avLst/>
                  <a:gdLst>
                    <a:gd name="connsiteX0" fmla="*/ 227272 w 444279"/>
                    <a:gd name="connsiteY0" fmla="*/ 0 h 350537"/>
                    <a:gd name="connsiteX1" fmla="*/ 440556 w 444279"/>
                    <a:gd name="connsiteY1" fmla="*/ 335046 h 350537"/>
                    <a:gd name="connsiteX2" fmla="*/ 444279 w 444279"/>
                    <a:gd name="connsiteY2" fmla="*/ 350537 h 350537"/>
                    <a:gd name="connsiteX3" fmla="*/ 0 w 444279"/>
                    <a:gd name="connsiteY3" fmla="*/ 350537 h 350537"/>
                    <a:gd name="connsiteX4" fmla="*/ 8223 w 444279"/>
                    <a:gd name="connsiteY4" fmla="*/ 318604 h 350537"/>
                    <a:gd name="connsiteX5" fmla="*/ 227272 w 444279"/>
                    <a:gd name="connsiteY5" fmla="*/ 0 h 3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279" h="350537">
                      <a:moveTo>
                        <a:pt x="227272" y="0"/>
                      </a:moveTo>
                      <a:cubicBezTo>
                        <a:pt x="340394" y="102672"/>
                        <a:pt x="406151" y="217508"/>
                        <a:pt x="440556" y="335046"/>
                      </a:cubicBezTo>
                      <a:lnTo>
                        <a:pt x="444279" y="350537"/>
                      </a:lnTo>
                      <a:lnTo>
                        <a:pt x="0" y="350537"/>
                      </a:lnTo>
                      <a:lnTo>
                        <a:pt x="8223" y="318604"/>
                      </a:lnTo>
                      <a:cubicBezTo>
                        <a:pt x="43321" y="207258"/>
                        <a:pt x="110837" y="99358"/>
                        <a:pt x="22727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30" name="타원 25">
                <a:extLst>
                  <a:ext uri="{FF2B5EF4-FFF2-40B4-BE49-F238E27FC236}">
                    <a16:creationId xmlns:a16="http://schemas.microsoft.com/office/drawing/2014/main" id="{D5844AC2-6EEB-2149-9751-DA85CDF5B0C2}"/>
                  </a:ext>
                </a:extLst>
              </p:cNvPr>
              <p:cNvSpPr/>
              <p:nvPr userDrawn="1"/>
            </p:nvSpPr>
            <p:spPr>
              <a:xfrm>
                <a:off x="5535216" y="-351600"/>
                <a:ext cx="180000" cy="180000"/>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직사각형 26">
                <a:extLst>
                  <a:ext uri="{FF2B5EF4-FFF2-40B4-BE49-F238E27FC236}">
                    <a16:creationId xmlns:a16="http://schemas.microsoft.com/office/drawing/2014/main" id="{387E0BAB-5971-D84D-BC34-3B788D9365E4}"/>
                  </a:ext>
                </a:extLst>
              </p:cNvPr>
              <p:cNvSpPr/>
              <p:nvPr userDrawn="1"/>
            </p:nvSpPr>
            <p:spPr>
              <a:xfrm flipH="1">
                <a:off x="5614416" y="6445"/>
                <a:ext cx="21600" cy="43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 name="자유형: 도형 27">
                <a:extLst>
                  <a:ext uri="{FF2B5EF4-FFF2-40B4-BE49-F238E27FC236}">
                    <a16:creationId xmlns:a16="http://schemas.microsoft.com/office/drawing/2014/main" id="{7C8FA682-9500-3641-8152-26F17D09E203}"/>
                  </a:ext>
                </a:extLst>
              </p:cNvPr>
              <p:cNvSpPr/>
              <p:nvPr userDrawn="1"/>
            </p:nvSpPr>
            <p:spPr>
              <a:xfrm>
                <a:off x="5304862"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자유형: 도형 28">
                <a:extLst>
                  <a:ext uri="{FF2B5EF4-FFF2-40B4-BE49-F238E27FC236}">
                    <a16:creationId xmlns:a16="http://schemas.microsoft.com/office/drawing/2014/main" id="{EA5F4C90-0D0F-FA46-9656-DC6D93E7A064}"/>
                  </a:ext>
                </a:extLst>
              </p:cNvPr>
              <p:cNvSpPr/>
              <p:nvPr userDrawn="1"/>
            </p:nvSpPr>
            <p:spPr>
              <a:xfrm flipH="1">
                <a:off x="5807099"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grpSp>
        <p:nvGrpSpPr>
          <p:cNvPr id="41" name="Group 40">
            <a:extLst>
              <a:ext uri="{FF2B5EF4-FFF2-40B4-BE49-F238E27FC236}">
                <a16:creationId xmlns:a16="http://schemas.microsoft.com/office/drawing/2014/main" id="{37973379-4003-2642-A6E4-B73AF5C9CFFE}"/>
              </a:ext>
            </a:extLst>
          </p:cNvPr>
          <p:cNvGrpSpPr>
            <a:grpSpLocks noChangeAspect="1"/>
          </p:cNvGrpSpPr>
          <p:nvPr/>
        </p:nvGrpSpPr>
        <p:grpSpPr>
          <a:xfrm>
            <a:off x="3935908" y="1842917"/>
            <a:ext cx="2076976" cy="4423449"/>
            <a:chOff x="4195076" y="1656367"/>
            <a:chExt cx="3007691" cy="6405645"/>
          </a:xfrm>
        </p:grpSpPr>
        <p:sp>
          <p:nvSpPr>
            <p:cNvPr id="38" name="Freeform 16">
              <a:extLst>
                <a:ext uri="{FF2B5EF4-FFF2-40B4-BE49-F238E27FC236}">
                  <a16:creationId xmlns:a16="http://schemas.microsoft.com/office/drawing/2014/main" id="{85E09047-26EA-5A4C-8C59-55988C31CC7E}"/>
                </a:ext>
              </a:extLst>
            </p:cNvPr>
            <p:cNvSpPr>
              <a:spLocks noChangeAspect="1"/>
            </p:cNvSpPr>
            <p:nvPr/>
          </p:nvSpPr>
          <p:spPr>
            <a:xfrm>
              <a:off x="5080266" y="2325619"/>
              <a:ext cx="2098476" cy="3237614"/>
            </a:xfrm>
            <a:custGeom>
              <a:avLst/>
              <a:gdLst/>
              <a:ahLst/>
              <a:cxnLst/>
              <a:rect l="l" t="t" r="r" b="b"/>
              <a:pathLst>
                <a:path w="726841" h="1121399">
                  <a:moveTo>
                    <a:pt x="236325" y="1049494"/>
                  </a:moveTo>
                  <a:lnTo>
                    <a:pt x="495287" y="1049494"/>
                  </a:lnTo>
                  <a:cubicBezTo>
                    <a:pt x="491080" y="1064561"/>
                    <a:pt x="487966" y="1079199"/>
                    <a:pt x="485273" y="1093187"/>
                  </a:cubicBezTo>
                  <a:lnTo>
                    <a:pt x="245258" y="1092728"/>
                  </a:lnTo>
                  <a:close/>
                  <a:moveTo>
                    <a:pt x="363421" y="203844"/>
                  </a:moveTo>
                  <a:cubicBezTo>
                    <a:pt x="401307" y="203844"/>
                    <a:pt x="432020" y="234557"/>
                    <a:pt x="432020" y="272443"/>
                  </a:cubicBezTo>
                  <a:cubicBezTo>
                    <a:pt x="432020" y="310329"/>
                    <a:pt x="401307" y="341042"/>
                    <a:pt x="363421" y="341042"/>
                  </a:cubicBezTo>
                  <a:cubicBezTo>
                    <a:pt x="325534" y="341042"/>
                    <a:pt x="294821" y="310329"/>
                    <a:pt x="294821" y="272443"/>
                  </a:cubicBezTo>
                  <a:cubicBezTo>
                    <a:pt x="294821" y="234557"/>
                    <a:pt x="325534" y="203844"/>
                    <a:pt x="363421" y="203844"/>
                  </a:cubicBezTo>
                  <a:close/>
                  <a:moveTo>
                    <a:pt x="363421" y="135244"/>
                  </a:moveTo>
                  <a:cubicBezTo>
                    <a:pt x="287648" y="135244"/>
                    <a:pt x="226222" y="196671"/>
                    <a:pt x="226222" y="272443"/>
                  </a:cubicBezTo>
                  <a:cubicBezTo>
                    <a:pt x="226222" y="348216"/>
                    <a:pt x="287648" y="409642"/>
                    <a:pt x="363421" y="409642"/>
                  </a:cubicBezTo>
                  <a:cubicBezTo>
                    <a:pt x="439193" y="409642"/>
                    <a:pt x="500619" y="348216"/>
                    <a:pt x="500619" y="272443"/>
                  </a:cubicBezTo>
                  <a:cubicBezTo>
                    <a:pt x="500619" y="196671"/>
                    <a:pt x="439193" y="135244"/>
                    <a:pt x="363421" y="135244"/>
                  </a:cubicBezTo>
                  <a:close/>
                  <a:moveTo>
                    <a:pt x="196200" y="0"/>
                  </a:moveTo>
                  <a:cubicBezTo>
                    <a:pt x="300307" y="58658"/>
                    <a:pt x="427219" y="59450"/>
                    <a:pt x="531959" y="2129"/>
                  </a:cubicBezTo>
                  <a:cubicBezTo>
                    <a:pt x="645195" y="251105"/>
                    <a:pt x="615578" y="521951"/>
                    <a:pt x="565642" y="749813"/>
                  </a:cubicBezTo>
                  <a:lnTo>
                    <a:pt x="726841" y="904479"/>
                  </a:lnTo>
                  <a:lnTo>
                    <a:pt x="700460" y="1113326"/>
                  </a:lnTo>
                  <a:lnTo>
                    <a:pt x="510728" y="982128"/>
                  </a:lnTo>
                  <a:lnTo>
                    <a:pt x="503274" y="1014651"/>
                  </a:lnTo>
                  <a:lnTo>
                    <a:pt x="228241" y="1014651"/>
                  </a:lnTo>
                  <a:cubicBezTo>
                    <a:pt x="226194" y="1005458"/>
                    <a:pt x="223902" y="996068"/>
                    <a:pt x="221524" y="986461"/>
                  </a:cubicBezTo>
                  <a:lnTo>
                    <a:pt x="26381" y="1121399"/>
                  </a:lnTo>
                  <a:lnTo>
                    <a:pt x="0" y="912552"/>
                  </a:lnTo>
                  <a:lnTo>
                    <a:pt x="162681" y="756465"/>
                  </a:lnTo>
                  <a:lnTo>
                    <a:pt x="163137" y="757906"/>
                  </a:lnTo>
                  <a:lnTo>
                    <a:pt x="165881" y="748957"/>
                  </a:lnTo>
                  <a:cubicBezTo>
                    <a:pt x="117348" y="521774"/>
                    <a:pt x="87568" y="246912"/>
                    <a:pt x="196200" y="0"/>
                  </a:cubicBezTo>
                  <a:close/>
                </a:path>
              </a:pathLst>
            </a:custGeom>
            <a:solidFill>
              <a:srgbClr val="0041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Freeform 17">
              <a:extLst>
                <a:ext uri="{FF2B5EF4-FFF2-40B4-BE49-F238E27FC236}">
                  <a16:creationId xmlns:a16="http://schemas.microsoft.com/office/drawing/2014/main" id="{DFE45734-5E36-4B4A-BAB7-CD2805DEFAEB}"/>
                </a:ext>
              </a:extLst>
            </p:cNvPr>
            <p:cNvSpPr/>
            <p:nvPr/>
          </p:nvSpPr>
          <p:spPr>
            <a:xfrm>
              <a:off x="5698915" y="1656367"/>
              <a:ext cx="861152" cy="706600"/>
            </a:xfrm>
            <a:custGeom>
              <a:avLst/>
              <a:gdLst/>
              <a:ahLst/>
              <a:cxnLst/>
              <a:rect l="l" t="t" r="r" b="b"/>
              <a:pathLst>
                <a:path w="298274" h="244742">
                  <a:moveTo>
                    <a:pt x="147328" y="0"/>
                  </a:moveTo>
                  <a:cubicBezTo>
                    <a:pt x="212319" y="65590"/>
                    <a:pt x="261867" y="134854"/>
                    <a:pt x="298274" y="206570"/>
                  </a:cubicBezTo>
                  <a:cubicBezTo>
                    <a:pt x="205418" y="258299"/>
                    <a:pt x="92251" y="257374"/>
                    <a:pt x="0" y="204273"/>
                  </a:cubicBezTo>
                  <a:cubicBezTo>
                    <a:pt x="35363" y="132633"/>
                    <a:pt x="83678" y="64016"/>
                    <a:pt x="1473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Freeform 15">
              <a:extLst>
                <a:ext uri="{FF2B5EF4-FFF2-40B4-BE49-F238E27FC236}">
                  <a16:creationId xmlns:a16="http://schemas.microsoft.com/office/drawing/2014/main" id="{150278CD-2E51-9E4C-9682-29776FC6283D}"/>
                </a:ext>
              </a:extLst>
            </p:cNvPr>
            <p:cNvSpPr/>
            <p:nvPr/>
          </p:nvSpPr>
          <p:spPr>
            <a:xfrm>
              <a:off x="4195076" y="5687639"/>
              <a:ext cx="3007691" cy="2374373"/>
            </a:xfrm>
            <a:custGeom>
              <a:avLst/>
              <a:gdLst/>
              <a:ahLst/>
              <a:cxnLst/>
              <a:rect l="l" t="t" r="r" b="b"/>
              <a:pathLst>
                <a:path w="935319" h="738371">
                  <a:moveTo>
                    <a:pt x="570246" y="5904"/>
                  </a:moveTo>
                  <a:cubicBezTo>
                    <a:pt x="462283" y="64891"/>
                    <a:pt x="426421" y="317189"/>
                    <a:pt x="649701" y="474399"/>
                  </a:cubicBezTo>
                  <a:cubicBezTo>
                    <a:pt x="593836" y="327977"/>
                    <a:pt x="630970" y="255746"/>
                    <a:pt x="667057" y="182470"/>
                  </a:cubicBezTo>
                  <a:cubicBezTo>
                    <a:pt x="667659" y="219721"/>
                    <a:pt x="629598" y="299814"/>
                    <a:pt x="723199" y="346469"/>
                  </a:cubicBezTo>
                  <a:cubicBezTo>
                    <a:pt x="679394" y="206128"/>
                    <a:pt x="864427" y="161920"/>
                    <a:pt x="670152" y="6949"/>
                  </a:cubicBezTo>
                  <a:cubicBezTo>
                    <a:pt x="951156" y="47548"/>
                    <a:pt x="868526" y="190548"/>
                    <a:pt x="935319" y="334595"/>
                  </a:cubicBezTo>
                  <a:cubicBezTo>
                    <a:pt x="886447" y="343095"/>
                    <a:pt x="815632" y="212619"/>
                    <a:pt x="831546" y="274410"/>
                  </a:cubicBezTo>
                  <a:cubicBezTo>
                    <a:pt x="915063" y="518579"/>
                    <a:pt x="665249" y="525551"/>
                    <a:pt x="744586" y="738371"/>
                  </a:cubicBezTo>
                  <a:cubicBezTo>
                    <a:pt x="498005" y="724435"/>
                    <a:pt x="570128" y="495242"/>
                    <a:pt x="454164" y="439509"/>
                  </a:cubicBezTo>
                  <a:cubicBezTo>
                    <a:pt x="422689" y="433882"/>
                    <a:pt x="384944" y="459601"/>
                    <a:pt x="454829" y="574141"/>
                  </a:cubicBezTo>
                  <a:cubicBezTo>
                    <a:pt x="47812" y="270832"/>
                    <a:pt x="333584" y="22904"/>
                    <a:pt x="570246" y="5904"/>
                  </a:cubicBezTo>
                  <a:close/>
                  <a:moveTo>
                    <a:pt x="0" y="0"/>
                  </a:moveTo>
                  <a:lnTo>
                    <a:pt x="9284" y="0"/>
                  </a:lnTo>
                  <a:lnTo>
                    <a:pt x="746" y="590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232148294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FF48CD5-2E9C-894F-BF90-8EEFD52DFA53}"/>
              </a:ext>
            </a:extLst>
          </p:cNvPr>
          <p:cNvSpPr>
            <a:spLocks noGrp="1"/>
          </p:cNvSpPr>
          <p:nvPr>
            <p:ph type="sldNum" sz="quarter" idx="4"/>
          </p:nvPr>
        </p:nvSpPr>
        <p:spPr/>
        <p:txBody>
          <a:bodyPr/>
          <a:lstStyle/>
          <a:p>
            <a:fld id="{3D966009-6E5A-4F8C-8CA7-E37AFBF5FB92}" type="slidenum">
              <a:rPr lang="en-US" smtClean="0"/>
              <a:t>173</a:t>
            </a:fld>
            <a:endParaRPr lang="en-US"/>
          </a:p>
        </p:txBody>
      </p:sp>
      <p:sp>
        <p:nvSpPr>
          <p:cNvPr id="3" name="Titel 2">
            <a:extLst>
              <a:ext uri="{FF2B5EF4-FFF2-40B4-BE49-F238E27FC236}">
                <a16:creationId xmlns:a16="http://schemas.microsoft.com/office/drawing/2014/main" id="{18FE4A1C-2D97-1540-A7CB-64F120ED5FFD}"/>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B2FC7332-F9C2-5F40-A0EC-AACA37DC6B4B}"/>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422384B6-AB06-6149-BF77-0D361028B7E2}"/>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5277E7BB-EF88-3349-84BE-63618240E530}"/>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4FE96717-42E0-3848-A217-A55B2C2263AE}"/>
              </a:ext>
            </a:extLst>
          </p:cNvPr>
          <p:cNvSpPr>
            <a:spLocks noGrp="1"/>
          </p:cNvSpPr>
          <p:nvPr>
            <p:ph sz="quarter" idx="14"/>
          </p:nvPr>
        </p:nvSpPr>
        <p:spPr/>
        <p:txBody>
          <a:bodyPr/>
          <a:lstStyle/>
          <a:p>
            <a:endParaRPr lang="en-GB"/>
          </a:p>
        </p:txBody>
      </p:sp>
      <p:grpSp>
        <p:nvGrpSpPr>
          <p:cNvPr id="9" name="Group 2">
            <a:extLst>
              <a:ext uri="{FF2B5EF4-FFF2-40B4-BE49-F238E27FC236}">
                <a16:creationId xmlns:a16="http://schemas.microsoft.com/office/drawing/2014/main" id="{C35DC9D1-CEE3-4D49-925B-42515C224CF4}"/>
              </a:ext>
            </a:extLst>
          </p:cNvPr>
          <p:cNvGrpSpPr/>
          <p:nvPr/>
        </p:nvGrpSpPr>
        <p:grpSpPr>
          <a:xfrm>
            <a:off x="10116744" y="1960047"/>
            <a:ext cx="1698624" cy="2397125"/>
            <a:chOff x="5270497" y="10009931"/>
            <a:chExt cx="1698624" cy="2397125"/>
          </a:xfrm>
        </p:grpSpPr>
        <p:sp>
          <p:nvSpPr>
            <p:cNvPr id="10" name="Freeform 326">
              <a:extLst>
                <a:ext uri="{FF2B5EF4-FFF2-40B4-BE49-F238E27FC236}">
                  <a16:creationId xmlns:a16="http://schemas.microsoft.com/office/drawing/2014/main" id="{13A4DE2B-2246-8D4A-BE37-C55A5652907C}"/>
                </a:ext>
              </a:extLst>
            </p:cNvPr>
            <p:cNvSpPr>
              <a:spLocks/>
            </p:cNvSpPr>
            <p:nvPr/>
          </p:nvSpPr>
          <p:spPr bwMode="auto">
            <a:xfrm>
              <a:off x="5270497" y="10009931"/>
              <a:ext cx="1316038" cy="1493838"/>
            </a:xfrm>
            <a:custGeom>
              <a:avLst/>
              <a:gdLst>
                <a:gd name="T0" fmla="*/ 93 w 481"/>
                <a:gd name="T1" fmla="*/ 509 h 549"/>
                <a:gd name="T2" fmla="*/ 157 w 481"/>
                <a:gd name="T3" fmla="*/ 541 h 549"/>
                <a:gd name="T4" fmla="*/ 261 w 481"/>
                <a:gd name="T5" fmla="*/ 434 h 549"/>
                <a:gd name="T6" fmla="*/ 352 w 481"/>
                <a:gd name="T7" fmla="*/ 253 h 549"/>
                <a:gd name="T8" fmla="*/ 462 w 481"/>
                <a:gd name="T9" fmla="*/ 233 h 549"/>
                <a:gd name="T10" fmla="*/ 479 w 481"/>
                <a:gd name="T11" fmla="*/ 210 h 549"/>
                <a:gd name="T12" fmla="*/ 238 w 481"/>
                <a:gd name="T13" fmla="*/ 9 h 549"/>
                <a:gd name="T14" fmla="*/ 11 w 481"/>
                <a:gd name="T15" fmla="*/ 216 h 549"/>
                <a:gd name="T16" fmla="*/ 11 w 481"/>
                <a:gd name="T17" fmla="*/ 216 h 549"/>
                <a:gd name="T18" fmla="*/ 34 w 481"/>
                <a:gd name="T19" fmla="*/ 342 h 549"/>
                <a:gd name="T20" fmla="*/ 93 w 481"/>
                <a:gd name="T21" fmla="*/ 50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1" h="549">
                  <a:moveTo>
                    <a:pt x="93" y="509"/>
                  </a:moveTo>
                  <a:cubicBezTo>
                    <a:pt x="102" y="535"/>
                    <a:pt x="130" y="549"/>
                    <a:pt x="157" y="541"/>
                  </a:cubicBezTo>
                  <a:cubicBezTo>
                    <a:pt x="201" y="526"/>
                    <a:pt x="260" y="496"/>
                    <a:pt x="261" y="434"/>
                  </a:cubicBezTo>
                  <a:cubicBezTo>
                    <a:pt x="262" y="334"/>
                    <a:pt x="288" y="270"/>
                    <a:pt x="352" y="253"/>
                  </a:cubicBezTo>
                  <a:cubicBezTo>
                    <a:pt x="396" y="243"/>
                    <a:pt x="438" y="236"/>
                    <a:pt x="462" y="233"/>
                  </a:cubicBezTo>
                  <a:cubicBezTo>
                    <a:pt x="473" y="231"/>
                    <a:pt x="481" y="221"/>
                    <a:pt x="479" y="210"/>
                  </a:cubicBezTo>
                  <a:cubicBezTo>
                    <a:pt x="471" y="153"/>
                    <a:pt x="432" y="0"/>
                    <a:pt x="238" y="9"/>
                  </a:cubicBezTo>
                  <a:cubicBezTo>
                    <a:pt x="0" y="20"/>
                    <a:pt x="11" y="216"/>
                    <a:pt x="11" y="216"/>
                  </a:cubicBezTo>
                  <a:cubicBezTo>
                    <a:pt x="11" y="216"/>
                    <a:pt x="11" y="216"/>
                    <a:pt x="11" y="216"/>
                  </a:cubicBezTo>
                  <a:cubicBezTo>
                    <a:pt x="12" y="259"/>
                    <a:pt x="20" y="301"/>
                    <a:pt x="34" y="342"/>
                  </a:cubicBezTo>
                  <a:lnTo>
                    <a:pt x="93" y="509"/>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92">
              <a:extLst>
                <a:ext uri="{FF2B5EF4-FFF2-40B4-BE49-F238E27FC236}">
                  <a16:creationId xmlns:a16="http://schemas.microsoft.com/office/drawing/2014/main" id="{B6A3889C-99DD-E145-A57F-374484279741}"/>
                </a:ext>
              </a:extLst>
            </p:cNvPr>
            <p:cNvSpPr>
              <a:spLocks/>
            </p:cNvSpPr>
            <p:nvPr/>
          </p:nvSpPr>
          <p:spPr bwMode="auto">
            <a:xfrm>
              <a:off x="5949947" y="11064031"/>
              <a:ext cx="236537" cy="566738"/>
            </a:xfrm>
            <a:custGeom>
              <a:avLst/>
              <a:gdLst>
                <a:gd name="T0" fmla="*/ 0 w 149"/>
                <a:gd name="T1" fmla="*/ 77 h 357"/>
                <a:gd name="T2" fmla="*/ 113 w 149"/>
                <a:gd name="T3" fmla="*/ 357 h 357"/>
                <a:gd name="T4" fmla="*/ 149 w 149"/>
                <a:gd name="T5" fmla="*/ 333 h 357"/>
                <a:gd name="T6" fmla="*/ 24 w 149"/>
                <a:gd name="T7" fmla="*/ 0 h 357"/>
                <a:gd name="T8" fmla="*/ 0 w 149"/>
                <a:gd name="T9" fmla="*/ 77 h 357"/>
              </a:gdLst>
              <a:ahLst/>
              <a:cxnLst>
                <a:cxn ang="0">
                  <a:pos x="T0" y="T1"/>
                </a:cxn>
                <a:cxn ang="0">
                  <a:pos x="T2" y="T3"/>
                </a:cxn>
                <a:cxn ang="0">
                  <a:pos x="T4" y="T5"/>
                </a:cxn>
                <a:cxn ang="0">
                  <a:pos x="T6" y="T7"/>
                </a:cxn>
                <a:cxn ang="0">
                  <a:pos x="T8" y="T9"/>
                </a:cxn>
              </a:cxnLst>
              <a:rect l="0" t="0" r="r" b="b"/>
              <a:pathLst>
                <a:path w="149" h="357">
                  <a:moveTo>
                    <a:pt x="0" y="77"/>
                  </a:moveTo>
                  <a:lnTo>
                    <a:pt x="113" y="357"/>
                  </a:lnTo>
                  <a:lnTo>
                    <a:pt x="149" y="333"/>
                  </a:lnTo>
                  <a:lnTo>
                    <a:pt x="24" y="0"/>
                  </a:lnTo>
                  <a:lnTo>
                    <a:pt x="0" y="77"/>
                  </a:ln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93">
              <a:extLst>
                <a:ext uri="{FF2B5EF4-FFF2-40B4-BE49-F238E27FC236}">
                  <a16:creationId xmlns:a16="http://schemas.microsoft.com/office/drawing/2014/main" id="{66FB8078-1EDE-4F47-AD75-9C7897652175}"/>
                </a:ext>
              </a:extLst>
            </p:cNvPr>
            <p:cNvSpPr>
              <a:spLocks/>
            </p:cNvSpPr>
            <p:nvPr/>
          </p:nvSpPr>
          <p:spPr bwMode="auto">
            <a:xfrm>
              <a:off x="5992809" y="10587781"/>
              <a:ext cx="590550" cy="471488"/>
            </a:xfrm>
            <a:custGeom>
              <a:avLst/>
              <a:gdLst>
                <a:gd name="T0" fmla="*/ 215 w 217"/>
                <a:gd name="T1" fmla="*/ 0 h 174"/>
                <a:gd name="T2" fmla="*/ 198 w 217"/>
                <a:gd name="T3" fmla="*/ 20 h 174"/>
                <a:gd name="T4" fmla="*/ 88 w 217"/>
                <a:gd name="T5" fmla="*/ 40 h 174"/>
                <a:gd name="T6" fmla="*/ 0 w 217"/>
                <a:gd name="T7" fmla="*/ 170 h 174"/>
                <a:gd name="T8" fmla="*/ 6 w 217"/>
                <a:gd name="T9" fmla="*/ 171 h 174"/>
                <a:gd name="T10" fmla="*/ 38 w 217"/>
                <a:gd name="T11" fmla="*/ 174 h 174"/>
                <a:gd name="T12" fmla="*/ 213 w 217"/>
                <a:gd name="T13" fmla="*/ 25 h 174"/>
                <a:gd name="T14" fmla="*/ 217 w 217"/>
                <a:gd name="T15" fmla="*/ 1 h 174"/>
                <a:gd name="T16" fmla="*/ 215 w 217"/>
                <a:gd name="T1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74">
                  <a:moveTo>
                    <a:pt x="215" y="0"/>
                  </a:moveTo>
                  <a:cubicBezTo>
                    <a:pt x="215" y="10"/>
                    <a:pt x="208" y="18"/>
                    <a:pt x="198" y="20"/>
                  </a:cubicBezTo>
                  <a:cubicBezTo>
                    <a:pt x="174" y="23"/>
                    <a:pt x="132" y="30"/>
                    <a:pt x="88" y="40"/>
                  </a:cubicBezTo>
                  <a:cubicBezTo>
                    <a:pt x="35" y="54"/>
                    <a:pt x="9" y="99"/>
                    <a:pt x="0" y="170"/>
                  </a:cubicBezTo>
                  <a:cubicBezTo>
                    <a:pt x="2" y="170"/>
                    <a:pt x="4" y="171"/>
                    <a:pt x="6" y="171"/>
                  </a:cubicBezTo>
                  <a:cubicBezTo>
                    <a:pt x="17" y="173"/>
                    <a:pt x="28" y="174"/>
                    <a:pt x="38" y="174"/>
                  </a:cubicBezTo>
                  <a:cubicBezTo>
                    <a:pt x="123" y="174"/>
                    <a:pt x="198" y="112"/>
                    <a:pt x="213" y="25"/>
                  </a:cubicBezTo>
                  <a:cubicBezTo>
                    <a:pt x="216" y="10"/>
                    <a:pt x="217" y="1"/>
                    <a:pt x="217" y="1"/>
                  </a:cubicBezTo>
                  <a:cubicBezTo>
                    <a:pt x="215" y="0"/>
                    <a:pt x="215" y="0"/>
                    <a:pt x="215" y="0"/>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95">
              <a:extLst>
                <a:ext uri="{FF2B5EF4-FFF2-40B4-BE49-F238E27FC236}">
                  <a16:creationId xmlns:a16="http://schemas.microsoft.com/office/drawing/2014/main" id="{638F7404-8129-9C45-89F5-AB0831B6F0A7}"/>
                </a:ext>
              </a:extLst>
            </p:cNvPr>
            <p:cNvSpPr>
              <a:spLocks/>
            </p:cNvSpPr>
            <p:nvPr/>
          </p:nvSpPr>
          <p:spPr bwMode="auto">
            <a:xfrm>
              <a:off x="5522909" y="10170269"/>
              <a:ext cx="874712" cy="520700"/>
            </a:xfrm>
            <a:custGeom>
              <a:avLst/>
              <a:gdLst>
                <a:gd name="T0" fmla="*/ 179 w 322"/>
                <a:gd name="T1" fmla="*/ 0 h 192"/>
                <a:gd name="T2" fmla="*/ 120 w 322"/>
                <a:gd name="T3" fmla="*/ 4 h 192"/>
                <a:gd name="T4" fmla="*/ 28 w 322"/>
                <a:gd name="T5" fmla="*/ 125 h 192"/>
                <a:gd name="T6" fmla="*/ 103 w 322"/>
                <a:gd name="T7" fmla="*/ 192 h 192"/>
                <a:gd name="T8" fmla="*/ 158 w 322"/>
                <a:gd name="T9" fmla="*/ 176 h 192"/>
                <a:gd name="T10" fmla="*/ 244 w 322"/>
                <a:gd name="T11" fmla="*/ 146 h 192"/>
                <a:gd name="T12" fmla="*/ 315 w 322"/>
                <a:gd name="T13" fmla="*/ 73 h 192"/>
                <a:gd name="T14" fmla="*/ 179 w 322"/>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92">
                  <a:moveTo>
                    <a:pt x="179" y="0"/>
                  </a:moveTo>
                  <a:cubicBezTo>
                    <a:pt x="161" y="0"/>
                    <a:pt x="142" y="1"/>
                    <a:pt x="120" y="4"/>
                  </a:cubicBezTo>
                  <a:cubicBezTo>
                    <a:pt x="120" y="4"/>
                    <a:pt x="0" y="30"/>
                    <a:pt x="28" y="125"/>
                  </a:cubicBezTo>
                  <a:cubicBezTo>
                    <a:pt x="43" y="178"/>
                    <a:pt x="74" y="192"/>
                    <a:pt x="103" y="192"/>
                  </a:cubicBezTo>
                  <a:cubicBezTo>
                    <a:pt x="127" y="192"/>
                    <a:pt x="149" y="182"/>
                    <a:pt x="158" y="176"/>
                  </a:cubicBezTo>
                  <a:cubicBezTo>
                    <a:pt x="171" y="167"/>
                    <a:pt x="188" y="148"/>
                    <a:pt x="244" y="146"/>
                  </a:cubicBezTo>
                  <a:cubicBezTo>
                    <a:pt x="300" y="143"/>
                    <a:pt x="322" y="100"/>
                    <a:pt x="315" y="73"/>
                  </a:cubicBezTo>
                  <a:cubicBezTo>
                    <a:pt x="308" y="42"/>
                    <a:pt x="278" y="0"/>
                    <a:pt x="179" y="0"/>
                  </a:cubicBezTo>
                </a:path>
              </a:pathLst>
            </a:custGeom>
            <a:gradFill>
              <a:gsLst>
                <a:gs pos="0">
                  <a:schemeClr val="accent1">
                    <a:lumMod val="60000"/>
                    <a:lumOff val="40000"/>
                  </a:schemeClr>
                </a:gs>
                <a:gs pos="92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296">
              <a:extLst>
                <a:ext uri="{FF2B5EF4-FFF2-40B4-BE49-F238E27FC236}">
                  <a16:creationId xmlns:a16="http://schemas.microsoft.com/office/drawing/2014/main" id="{B0D82C9E-BC06-1B4A-8EA8-4AF327D152D8}"/>
                </a:ext>
              </a:extLst>
            </p:cNvPr>
            <p:cNvSpPr>
              <a:spLocks/>
            </p:cNvSpPr>
            <p:nvPr/>
          </p:nvSpPr>
          <p:spPr bwMode="auto">
            <a:xfrm>
              <a:off x="6180134" y="10798919"/>
              <a:ext cx="307975" cy="306388"/>
            </a:xfrm>
            <a:custGeom>
              <a:avLst/>
              <a:gdLst>
                <a:gd name="T0" fmla="*/ 112 w 113"/>
                <a:gd name="T1" fmla="*/ 55 h 113"/>
                <a:gd name="T2" fmla="*/ 58 w 113"/>
                <a:gd name="T3" fmla="*/ 112 h 113"/>
                <a:gd name="T4" fmla="*/ 1 w 113"/>
                <a:gd name="T5" fmla="*/ 58 h 113"/>
                <a:gd name="T6" fmla="*/ 55 w 113"/>
                <a:gd name="T7" fmla="*/ 1 h 113"/>
                <a:gd name="T8" fmla="*/ 112 w 113"/>
                <a:gd name="T9" fmla="*/ 55 h 113"/>
              </a:gdLst>
              <a:ahLst/>
              <a:cxnLst>
                <a:cxn ang="0">
                  <a:pos x="T0" y="T1"/>
                </a:cxn>
                <a:cxn ang="0">
                  <a:pos x="T2" y="T3"/>
                </a:cxn>
                <a:cxn ang="0">
                  <a:pos x="T4" y="T5"/>
                </a:cxn>
                <a:cxn ang="0">
                  <a:pos x="T6" y="T7"/>
                </a:cxn>
                <a:cxn ang="0">
                  <a:pos x="T8" y="T9"/>
                </a:cxn>
              </a:cxnLst>
              <a:rect l="0" t="0" r="r" b="b"/>
              <a:pathLst>
                <a:path w="113" h="113">
                  <a:moveTo>
                    <a:pt x="112" y="55"/>
                  </a:moveTo>
                  <a:cubicBezTo>
                    <a:pt x="113" y="86"/>
                    <a:pt x="89" y="111"/>
                    <a:pt x="58" y="112"/>
                  </a:cubicBezTo>
                  <a:cubicBezTo>
                    <a:pt x="27" y="113"/>
                    <a:pt x="2" y="89"/>
                    <a:pt x="1" y="58"/>
                  </a:cubicBezTo>
                  <a:cubicBezTo>
                    <a:pt x="0" y="27"/>
                    <a:pt x="24" y="2"/>
                    <a:pt x="55" y="1"/>
                  </a:cubicBezTo>
                  <a:cubicBezTo>
                    <a:pt x="86" y="0"/>
                    <a:pt x="111" y="24"/>
                    <a:pt x="112" y="55"/>
                  </a:cubicBezTo>
                  <a:close/>
                </a:path>
              </a:pathLst>
            </a:custGeom>
            <a:solidFill>
              <a:srgbClr val="171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297">
              <a:extLst>
                <a:ext uri="{FF2B5EF4-FFF2-40B4-BE49-F238E27FC236}">
                  <a16:creationId xmlns:a16="http://schemas.microsoft.com/office/drawing/2014/main" id="{2794C56C-B525-1B47-88BB-A3EA46C37601}"/>
                </a:ext>
              </a:extLst>
            </p:cNvPr>
            <p:cNvSpPr>
              <a:spLocks/>
            </p:cNvSpPr>
            <p:nvPr/>
          </p:nvSpPr>
          <p:spPr bwMode="auto">
            <a:xfrm>
              <a:off x="6235697" y="10852894"/>
              <a:ext cx="198437" cy="198438"/>
            </a:xfrm>
            <a:custGeom>
              <a:avLst/>
              <a:gdLst>
                <a:gd name="T0" fmla="*/ 73 w 73"/>
                <a:gd name="T1" fmla="*/ 35 h 73"/>
                <a:gd name="T2" fmla="*/ 38 w 73"/>
                <a:gd name="T3" fmla="*/ 73 h 73"/>
                <a:gd name="T4" fmla="*/ 0 w 73"/>
                <a:gd name="T5" fmla="*/ 38 h 73"/>
                <a:gd name="T6" fmla="*/ 35 w 73"/>
                <a:gd name="T7" fmla="*/ 0 h 73"/>
                <a:gd name="T8" fmla="*/ 73 w 73"/>
                <a:gd name="T9" fmla="*/ 35 h 73"/>
              </a:gdLst>
              <a:ahLst/>
              <a:cxnLst>
                <a:cxn ang="0">
                  <a:pos x="T0" y="T1"/>
                </a:cxn>
                <a:cxn ang="0">
                  <a:pos x="T2" y="T3"/>
                </a:cxn>
                <a:cxn ang="0">
                  <a:pos x="T4" y="T5"/>
                </a:cxn>
                <a:cxn ang="0">
                  <a:pos x="T6" y="T7"/>
                </a:cxn>
                <a:cxn ang="0">
                  <a:pos x="T8" y="T9"/>
                </a:cxn>
              </a:cxnLst>
              <a:rect l="0" t="0" r="r" b="b"/>
              <a:pathLst>
                <a:path w="73" h="73">
                  <a:moveTo>
                    <a:pt x="73" y="35"/>
                  </a:moveTo>
                  <a:cubicBezTo>
                    <a:pt x="73" y="55"/>
                    <a:pt x="58" y="72"/>
                    <a:pt x="38" y="73"/>
                  </a:cubicBezTo>
                  <a:cubicBezTo>
                    <a:pt x="18" y="73"/>
                    <a:pt x="1" y="58"/>
                    <a:pt x="0" y="38"/>
                  </a:cubicBezTo>
                  <a:cubicBezTo>
                    <a:pt x="0" y="18"/>
                    <a:pt x="15" y="1"/>
                    <a:pt x="35" y="0"/>
                  </a:cubicBezTo>
                  <a:cubicBezTo>
                    <a:pt x="55" y="0"/>
                    <a:pt x="72" y="15"/>
                    <a:pt x="73" y="35"/>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98">
              <a:extLst>
                <a:ext uri="{FF2B5EF4-FFF2-40B4-BE49-F238E27FC236}">
                  <a16:creationId xmlns:a16="http://schemas.microsoft.com/office/drawing/2014/main" id="{78442683-CBCC-2D40-BF11-3D84CB6BA78A}"/>
                </a:ext>
              </a:extLst>
            </p:cNvPr>
            <p:cNvSpPr>
              <a:spLocks/>
            </p:cNvSpPr>
            <p:nvPr/>
          </p:nvSpPr>
          <p:spPr bwMode="auto">
            <a:xfrm>
              <a:off x="6262684" y="10879881"/>
              <a:ext cx="144462" cy="144463"/>
            </a:xfrm>
            <a:custGeom>
              <a:avLst/>
              <a:gdLst>
                <a:gd name="T0" fmla="*/ 53 w 53"/>
                <a:gd name="T1" fmla="*/ 26 h 53"/>
                <a:gd name="T2" fmla="*/ 27 w 53"/>
                <a:gd name="T3" fmla="*/ 53 h 53"/>
                <a:gd name="T4" fmla="*/ 0 w 53"/>
                <a:gd name="T5" fmla="*/ 27 h 53"/>
                <a:gd name="T6" fmla="*/ 26 w 53"/>
                <a:gd name="T7" fmla="*/ 0 h 53"/>
                <a:gd name="T8" fmla="*/ 53 w 53"/>
                <a:gd name="T9" fmla="*/ 26 h 53"/>
              </a:gdLst>
              <a:ahLst/>
              <a:cxnLst>
                <a:cxn ang="0">
                  <a:pos x="T0" y="T1"/>
                </a:cxn>
                <a:cxn ang="0">
                  <a:pos x="T2" y="T3"/>
                </a:cxn>
                <a:cxn ang="0">
                  <a:pos x="T4" y="T5"/>
                </a:cxn>
                <a:cxn ang="0">
                  <a:pos x="T6" y="T7"/>
                </a:cxn>
                <a:cxn ang="0">
                  <a:pos x="T8" y="T9"/>
                </a:cxn>
              </a:cxnLst>
              <a:rect l="0" t="0" r="r" b="b"/>
              <a:pathLst>
                <a:path w="53" h="53">
                  <a:moveTo>
                    <a:pt x="53" y="26"/>
                  </a:moveTo>
                  <a:cubicBezTo>
                    <a:pt x="53" y="40"/>
                    <a:pt x="42" y="52"/>
                    <a:pt x="27" y="53"/>
                  </a:cubicBezTo>
                  <a:cubicBezTo>
                    <a:pt x="13" y="53"/>
                    <a:pt x="1" y="42"/>
                    <a:pt x="0" y="27"/>
                  </a:cubicBezTo>
                  <a:cubicBezTo>
                    <a:pt x="0" y="13"/>
                    <a:pt x="11" y="1"/>
                    <a:pt x="26" y="0"/>
                  </a:cubicBezTo>
                  <a:cubicBezTo>
                    <a:pt x="40" y="0"/>
                    <a:pt x="52" y="11"/>
                    <a:pt x="53" y="26"/>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99">
              <a:extLst>
                <a:ext uri="{FF2B5EF4-FFF2-40B4-BE49-F238E27FC236}">
                  <a16:creationId xmlns:a16="http://schemas.microsoft.com/office/drawing/2014/main" id="{5EE55E99-EB25-C845-85FA-AC693542BCEA}"/>
                </a:ext>
              </a:extLst>
            </p:cNvPr>
            <p:cNvSpPr>
              <a:spLocks/>
            </p:cNvSpPr>
            <p:nvPr/>
          </p:nvSpPr>
          <p:spPr bwMode="auto">
            <a:xfrm>
              <a:off x="6294434" y="10917981"/>
              <a:ext cx="274637" cy="641350"/>
            </a:xfrm>
            <a:custGeom>
              <a:avLst/>
              <a:gdLst>
                <a:gd name="T0" fmla="*/ 3 w 101"/>
                <a:gd name="T1" fmla="*/ 22 h 237"/>
                <a:gd name="T2" fmla="*/ 81 w 101"/>
                <a:gd name="T3" fmla="*/ 237 h 237"/>
                <a:gd name="T4" fmla="*/ 101 w 101"/>
                <a:gd name="T5" fmla="*/ 233 h 237"/>
                <a:gd name="T6" fmla="*/ 30 w 101"/>
                <a:gd name="T7" fmla="*/ 12 h 237"/>
                <a:gd name="T8" fmla="*/ 11 w 101"/>
                <a:gd name="T9" fmla="*/ 3 h 237"/>
                <a:gd name="T10" fmla="*/ 3 w 101"/>
                <a:gd name="T11" fmla="*/ 22 h 237"/>
              </a:gdLst>
              <a:ahLst/>
              <a:cxnLst>
                <a:cxn ang="0">
                  <a:pos x="T0" y="T1"/>
                </a:cxn>
                <a:cxn ang="0">
                  <a:pos x="T2" y="T3"/>
                </a:cxn>
                <a:cxn ang="0">
                  <a:pos x="T4" y="T5"/>
                </a:cxn>
                <a:cxn ang="0">
                  <a:pos x="T6" y="T7"/>
                </a:cxn>
                <a:cxn ang="0">
                  <a:pos x="T8" y="T9"/>
                </a:cxn>
                <a:cxn ang="0">
                  <a:pos x="T10" y="T11"/>
                </a:cxn>
              </a:cxnLst>
              <a:rect l="0" t="0" r="r" b="b"/>
              <a:pathLst>
                <a:path w="101" h="237">
                  <a:moveTo>
                    <a:pt x="3" y="22"/>
                  </a:moveTo>
                  <a:cubicBezTo>
                    <a:pt x="81" y="237"/>
                    <a:pt x="81" y="237"/>
                    <a:pt x="81" y="237"/>
                  </a:cubicBezTo>
                  <a:cubicBezTo>
                    <a:pt x="101" y="233"/>
                    <a:pt x="101" y="233"/>
                    <a:pt x="101" y="233"/>
                  </a:cubicBezTo>
                  <a:cubicBezTo>
                    <a:pt x="30" y="12"/>
                    <a:pt x="30" y="12"/>
                    <a:pt x="30" y="12"/>
                  </a:cubicBezTo>
                  <a:cubicBezTo>
                    <a:pt x="28" y="4"/>
                    <a:pt x="19" y="0"/>
                    <a:pt x="11" y="3"/>
                  </a:cubicBezTo>
                  <a:cubicBezTo>
                    <a:pt x="4" y="6"/>
                    <a:pt x="0" y="14"/>
                    <a:pt x="3" y="22"/>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300">
              <a:extLst>
                <a:ext uri="{FF2B5EF4-FFF2-40B4-BE49-F238E27FC236}">
                  <a16:creationId xmlns:a16="http://schemas.microsoft.com/office/drawing/2014/main" id="{8A3FDC2D-BAD8-3044-8013-F55477D20581}"/>
                </a:ext>
              </a:extLst>
            </p:cNvPr>
            <p:cNvSpPr>
              <a:spLocks/>
            </p:cNvSpPr>
            <p:nvPr/>
          </p:nvSpPr>
          <p:spPr bwMode="auto">
            <a:xfrm>
              <a:off x="5319709" y="10660806"/>
              <a:ext cx="366712" cy="319088"/>
            </a:xfrm>
            <a:custGeom>
              <a:avLst/>
              <a:gdLst>
                <a:gd name="T0" fmla="*/ 0 w 135"/>
                <a:gd name="T1" fmla="*/ 37 h 118"/>
                <a:gd name="T2" fmla="*/ 72 w 135"/>
                <a:gd name="T3" fmla="*/ 8 h 118"/>
                <a:gd name="T4" fmla="*/ 124 w 135"/>
                <a:gd name="T5" fmla="*/ 27 h 118"/>
                <a:gd name="T6" fmla="*/ 105 w 135"/>
                <a:gd name="T7" fmla="*/ 83 h 118"/>
                <a:gd name="T8" fmla="*/ 24 w 135"/>
                <a:gd name="T9" fmla="*/ 118 h 118"/>
                <a:gd name="T10" fmla="*/ 0 w 135"/>
                <a:gd name="T11" fmla="*/ 37 h 118"/>
              </a:gdLst>
              <a:ahLst/>
              <a:cxnLst>
                <a:cxn ang="0">
                  <a:pos x="T0" y="T1"/>
                </a:cxn>
                <a:cxn ang="0">
                  <a:pos x="T2" y="T3"/>
                </a:cxn>
                <a:cxn ang="0">
                  <a:pos x="T4" y="T5"/>
                </a:cxn>
                <a:cxn ang="0">
                  <a:pos x="T6" y="T7"/>
                </a:cxn>
                <a:cxn ang="0">
                  <a:pos x="T8" y="T9"/>
                </a:cxn>
                <a:cxn ang="0">
                  <a:pos x="T10" y="T11"/>
                </a:cxn>
              </a:cxnLst>
              <a:rect l="0" t="0" r="r" b="b"/>
              <a:pathLst>
                <a:path w="135" h="118">
                  <a:moveTo>
                    <a:pt x="0" y="37"/>
                  </a:moveTo>
                  <a:cubicBezTo>
                    <a:pt x="72" y="8"/>
                    <a:pt x="72" y="8"/>
                    <a:pt x="72" y="8"/>
                  </a:cubicBezTo>
                  <a:cubicBezTo>
                    <a:pt x="92" y="0"/>
                    <a:pt x="114" y="8"/>
                    <a:pt x="124" y="27"/>
                  </a:cubicBezTo>
                  <a:cubicBezTo>
                    <a:pt x="135" y="47"/>
                    <a:pt x="126" y="73"/>
                    <a:pt x="105" y="83"/>
                  </a:cubicBezTo>
                  <a:cubicBezTo>
                    <a:pt x="24" y="118"/>
                    <a:pt x="24" y="118"/>
                    <a:pt x="24" y="118"/>
                  </a:cubicBezTo>
                  <a:cubicBezTo>
                    <a:pt x="24" y="118"/>
                    <a:pt x="6" y="86"/>
                    <a:pt x="0" y="37"/>
                  </a:cubicBezTo>
                  <a:close/>
                </a:path>
              </a:pathLst>
            </a:custGeom>
            <a:solidFill>
              <a:srgbClr val="171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301">
              <a:extLst>
                <a:ext uri="{FF2B5EF4-FFF2-40B4-BE49-F238E27FC236}">
                  <a16:creationId xmlns:a16="http://schemas.microsoft.com/office/drawing/2014/main" id="{65874BF7-5FE4-C94F-83B2-4A279528B225}"/>
                </a:ext>
              </a:extLst>
            </p:cNvPr>
            <p:cNvSpPr>
              <a:spLocks/>
            </p:cNvSpPr>
            <p:nvPr/>
          </p:nvSpPr>
          <p:spPr bwMode="auto">
            <a:xfrm>
              <a:off x="5441947" y="10763994"/>
              <a:ext cx="80962" cy="107950"/>
            </a:xfrm>
            <a:custGeom>
              <a:avLst/>
              <a:gdLst>
                <a:gd name="T0" fmla="*/ 27 w 30"/>
                <a:gd name="T1" fmla="*/ 16 h 40"/>
                <a:gd name="T2" fmla="*/ 21 w 30"/>
                <a:gd name="T3" fmla="*/ 38 h 40"/>
                <a:gd name="T4" fmla="*/ 3 w 30"/>
                <a:gd name="T5" fmla="*/ 24 h 40"/>
                <a:gd name="T6" fmla="*/ 9 w 30"/>
                <a:gd name="T7" fmla="*/ 2 h 40"/>
                <a:gd name="T8" fmla="*/ 27 w 30"/>
                <a:gd name="T9" fmla="*/ 16 h 40"/>
              </a:gdLst>
              <a:ahLst/>
              <a:cxnLst>
                <a:cxn ang="0">
                  <a:pos x="T0" y="T1"/>
                </a:cxn>
                <a:cxn ang="0">
                  <a:pos x="T2" y="T3"/>
                </a:cxn>
                <a:cxn ang="0">
                  <a:pos x="T4" y="T5"/>
                </a:cxn>
                <a:cxn ang="0">
                  <a:pos x="T6" y="T7"/>
                </a:cxn>
                <a:cxn ang="0">
                  <a:pos x="T8" y="T9"/>
                </a:cxn>
              </a:cxnLst>
              <a:rect l="0" t="0" r="r" b="b"/>
              <a:pathLst>
                <a:path w="30" h="40">
                  <a:moveTo>
                    <a:pt x="27" y="16"/>
                  </a:moveTo>
                  <a:cubicBezTo>
                    <a:pt x="30" y="26"/>
                    <a:pt x="27" y="36"/>
                    <a:pt x="21" y="38"/>
                  </a:cubicBezTo>
                  <a:cubicBezTo>
                    <a:pt x="14" y="40"/>
                    <a:pt x="7" y="34"/>
                    <a:pt x="3" y="24"/>
                  </a:cubicBezTo>
                  <a:cubicBezTo>
                    <a:pt x="0" y="14"/>
                    <a:pt x="3" y="4"/>
                    <a:pt x="9" y="2"/>
                  </a:cubicBezTo>
                  <a:cubicBezTo>
                    <a:pt x="16" y="0"/>
                    <a:pt x="23" y="6"/>
                    <a:pt x="27" y="16"/>
                  </a:cubicBezTo>
                  <a:close/>
                </a:path>
              </a:pathLst>
            </a:custGeom>
            <a:gradFill>
              <a:gsLst>
                <a:gs pos="0">
                  <a:schemeClr val="accent1">
                    <a:lumMod val="60000"/>
                    <a:lumOff val="40000"/>
                  </a:schemeClr>
                </a:gs>
                <a:gs pos="92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302">
              <a:extLst>
                <a:ext uri="{FF2B5EF4-FFF2-40B4-BE49-F238E27FC236}">
                  <a16:creationId xmlns:a16="http://schemas.microsoft.com/office/drawing/2014/main" id="{8216C8C7-6611-2D46-A39C-FAF7949AB043}"/>
                </a:ext>
              </a:extLst>
            </p:cNvPr>
            <p:cNvSpPr>
              <a:spLocks/>
            </p:cNvSpPr>
            <p:nvPr/>
          </p:nvSpPr>
          <p:spPr bwMode="auto">
            <a:xfrm>
              <a:off x="6076947" y="10573494"/>
              <a:ext cx="112712" cy="133350"/>
            </a:xfrm>
            <a:custGeom>
              <a:avLst/>
              <a:gdLst>
                <a:gd name="T0" fmla="*/ 41 w 41"/>
                <a:gd name="T1" fmla="*/ 49 h 49"/>
                <a:gd name="T2" fmla="*/ 34 w 41"/>
                <a:gd name="T3" fmla="*/ 42 h 49"/>
                <a:gd name="T4" fmla="*/ 20 w 41"/>
                <a:gd name="T5" fmla="*/ 26 h 49"/>
                <a:gd name="T6" fmla="*/ 6 w 41"/>
                <a:gd name="T7" fmla="*/ 8 h 49"/>
                <a:gd name="T8" fmla="*/ 1 w 41"/>
                <a:gd name="T9" fmla="*/ 1 h 49"/>
                <a:gd name="T10" fmla="*/ 7 w 41"/>
                <a:gd name="T11" fmla="*/ 7 h 49"/>
                <a:gd name="T12" fmla="*/ 21 w 41"/>
                <a:gd name="T13" fmla="*/ 24 h 49"/>
                <a:gd name="T14" fmla="*/ 35 w 41"/>
                <a:gd name="T15" fmla="*/ 42 h 49"/>
                <a:gd name="T16" fmla="*/ 41 w 4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9">
                  <a:moveTo>
                    <a:pt x="41" y="49"/>
                  </a:moveTo>
                  <a:cubicBezTo>
                    <a:pt x="40" y="49"/>
                    <a:pt x="38" y="47"/>
                    <a:pt x="34" y="42"/>
                  </a:cubicBezTo>
                  <a:cubicBezTo>
                    <a:pt x="30" y="38"/>
                    <a:pt x="25" y="32"/>
                    <a:pt x="20" y="26"/>
                  </a:cubicBezTo>
                  <a:cubicBezTo>
                    <a:pt x="14" y="19"/>
                    <a:pt x="9" y="13"/>
                    <a:pt x="6" y="8"/>
                  </a:cubicBezTo>
                  <a:cubicBezTo>
                    <a:pt x="2" y="4"/>
                    <a:pt x="0" y="1"/>
                    <a:pt x="1" y="1"/>
                  </a:cubicBezTo>
                  <a:cubicBezTo>
                    <a:pt x="1" y="0"/>
                    <a:pt x="3" y="3"/>
                    <a:pt x="7" y="7"/>
                  </a:cubicBezTo>
                  <a:cubicBezTo>
                    <a:pt x="11" y="12"/>
                    <a:pt x="16" y="18"/>
                    <a:pt x="21" y="24"/>
                  </a:cubicBezTo>
                  <a:cubicBezTo>
                    <a:pt x="27" y="31"/>
                    <a:pt x="32" y="37"/>
                    <a:pt x="35" y="42"/>
                  </a:cubicBezTo>
                  <a:cubicBezTo>
                    <a:pt x="39" y="46"/>
                    <a:pt x="41" y="49"/>
                    <a:pt x="41" y="49"/>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03">
              <a:extLst>
                <a:ext uri="{FF2B5EF4-FFF2-40B4-BE49-F238E27FC236}">
                  <a16:creationId xmlns:a16="http://schemas.microsoft.com/office/drawing/2014/main" id="{32A7727A-77EC-5043-B009-2B961032A64F}"/>
                </a:ext>
              </a:extLst>
            </p:cNvPr>
            <p:cNvSpPr>
              <a:spLocks/>
            </p:cNvSpPr>
            <p:nvPr/>
          </p:nvSpPr>
          <p:spPr bwMode="auto">
            <a:xfrm>
              <a:off x="5313359" y="10395694"/>
              <a:ext cx="274637" cy="149225"/>
            </a:xfrm>
            <a:custGeom>
              <a:avLst/>
              <a:gdLst>
                <a:gd name="T0" fmla="*/ 101 w 101"/>
                <a:gd name="T1" fmla="*/ 0 h 55"/>
                <a:gd name="T2" fmla="*/ 99 w 101"/>
                <a:gd name="T3" fmla="*/ 5 h 55"/>
                <a:gd name="T4" fmla="*/ 97 w 101"/>
                <a:gd name="T5" fmla="*/ 11 h 55"/>
                <a:gd name="T6" fmla="*/ 93 w 101"/>
                <a:gd name="T7" fmla="*/ 18 h 55"/>
                <a:gd name="T8" fmla="*/ 88 w 101"/>
                <a:gd name="T9" fmla="*/ 26 h 55"/>
                <a:gd name="T10" fmla="*/ 81 w 101"/>
                <a:gd name="T11" fmla="*/ 34 h 55"/>
                <a:gd name="T12" fmla="*/ 59 w 101"/>
                <a:gd name="T13" fmla="*/ 48 h 55"/>
                <a:gd name="T14" fmla="*/ 14 w 101"/>
                <a:gd name="T15" fmla="*/ 45 h 55"/>
                <a:gd name="T16" fmla="*/ 3 w 101"/>
                <a:gd name="T17" fmla="*/ 37 h 55"/>
                <a:gd name="T18" fmla="*/ 0 w 101"/>
                <a:gd name="T19" fmla="*/ 34 h 55"/>
                <a:gd name="T20" fmla="*/ 0 w 101"/>
                <a:gd name="T21" fmla="*/ 33 h 55"/>
                <a:gd name="T22" fmla="*/ 15 w 101"/>
                <a:gd name="T23" fmla="*/ 44 h 55"/>
                <a:gd name="T24" fmla="*/ 34 w 101"/>
                <a:gd name="T25" fmla="*/ 49 h 55"/>
                <a:gd name="T26" fmla="*/ 58 w 101"/>
                <a:gd name="T27" fmla="*/ 46 h 55"/>
                <a:gd name="T28" fmla="*/ 79 w 101"/>
                <a:gd name="T29" fmla="*/ 33 h 55"/>
                <a:gd name="T30" fmla="*/ 87 w 101"/>
                <a:gd name="T31" fmla="*/ 25 h 55"/>
                <a:gd name="T32" fmla="*/ 92 w 101"/>
                <a:gd name="T33" fmla="*/ 17 h 55"/>
                <a:gd name="T34" fmla="*/ 101 w 101"/>
                <a:gd name="T3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 h="55">
                  <a:moveTo>
                    <a:pt x="101" y="0"/>
                  </a:moveTo>
                  <a:cubicBezTo>
                    <a:pt x="101" y="0"/>
                    <a:pt x="100" y="2"/>
                    <a:pt x="99" y="5"/>
                  </a:cubicBezTo>
                  <a:cubicBezTo>
                    <a:pt x="99" y="7"/>
                    <a:pt x="98" y="8"/>
                    <a:pt x="97" y="11"/>
                  </a:cubicBezTo>
                  <a:cubicBezTo>
                    <a:pt x="96" y="13"/>
                    <a:pt x="95" y="15"/>
                    <a:pt x="93" y="18"/>
                  </a:cubicBezTo>
                  <a:cubicBezTo>
                    <a:pt x="92" y="20"/>
                    <a:pt x="90" y="23"/>
                    <a:pt x="88" y="26"/>
                  </a:cubicBezTo>
                  <a:cubicBezTo>
                    <a:pt x="86" y="29"/>
                    <a:pt x="83" y="31"/>
                    <a:pt x="81" y="34"/>
                  </a:cubicBezTo>
                  <a:cubicBezTo>
                    <a:pt x="75" y="40"/>
                    <a:pt x="68" y="45"/>
                    <a:pt x="59" y="48"/>
                  </a:cubicBezTo>
                  <a:cubicBezTo>
                    <a:pt x="42" y="55"/>
                    <a:pt x="24" y="51"/>
                    <a:pt x="14" y="45"/>
                  </a:cubicBezTo>
                  <a:cubicBezTo>
                    <a:pt x="9" y="42"/>
                    <a:pt x="5" y="39"/>
                    <a:pt x="3" y="37"/>
                  </a:cubicBezTo>
                  <a:cubicBezTo>
                    <a:pt x="2" y="35"/>
                    <a:pt x="1" y="34"/>
                    <a:pt x="0" y="34"/>
                  </a:cubicBezTo>
                  <a:cubicBezTo>
                    <a:pt x="0" y="33"/>
                    <a:pt x="0" y="33"/>
                    <a:pt x="0" y="33"/>
                  </a:cubicBezTo>
                  <a:cubicBezTo>
                    <a:pt x="0" y="32"/>
                    <a:pt x="4" y="39"/>
                    <a:pt x="15" y="44"/>
                  </a:cubicBezTo>
                  <a:cubicBezTo>
                    <a:pt x="20" y="47"/>
                    <a:pt x="26" y="49"/>
                    <a:pt x="34" y="49"/>
                  </a:cubicBezTo>
                  <a:cubicBezTo>
                    <a:pt x="42" y="50"/>
                    <a:pt x="50" y="49"/>
                    <a:pt x="58" y="46"/>
                  </a:cubicBezTo>
                  <a:cubicBezTo>
                    <a:pt x="67" y="43"/>
                    <a:pt x="74" y="38"/>
                    <a:pt x="79" y="33"/>
                  </a:cubicBezTo>
                  <a:cubicBezTo>
                    <a:pt x="82" y="30"/>
                    <a:pt x="85" y="28"/>
                    <a:pt x="87" y="25"/>
                  </a:cubicBezTo>
                  <a:cubicBezTo>
                    <a:pt x="89" y="22"/>
                    <a:pt x="91" y="19"/>
                    <a:pt x="92" y="17"/>
                  </a:cubicBezTo>
                  <a:cubicBezTo>
                    <a:pt x="98" y="7"/>
                    <a:pt x="100" y="0"/>
                    <a:pt x="101" y="0"/>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04">
              <a:extLst>
                <a:ext uri="{FF2B5EF4-FFF2-40B4-BE49-F238E27FC236}">
                  <a16:creationId xmlns:a16="http://schemas.microsoft.com/office/drawing/2014/main" id="{2F52B3CE-9CB5-8649-A83E-D9B0A57CD90A}"/>
                </a:ext>
              </a:extLst>
            </p:cNvPr>
            <p:cNvSpPr>
              <a:spLocks/>
            </p:cNvSpPr>
            <p:nvPr/>
          </p:nvSpPr>
          <p:spPr bwMode="auto">
            <a:xfrm>
              <a:off x="6351584" y="10265519"/>
              <a:ext cx="98425" cy="42863"/>
            </a:xfrm>
            <a:custGeom>
              <a:avLst/>
              <a:gdLst>
                <a:gd name="T0" fmla="*/ 36 w 36"/>
                <a:gd name="T1" fmla="*/ 0 h 16"/>
                <a:gd name="T2" fmla="*/ 19 w 36"/>
                <a:gd name="T3" fmla="*/ 11 h 16"/>
                <a:gd name="T4" fmla="*/ 0 w 36"/>
                <a:gd name="T5" fmla="*/ 16 h 16"/>
                <a:gd name="T6" fmla="*/ 18 w 36"/>
                <a:gd name="T7" fmla="*/ 9 h 16"/>
                <a:gd name="T8" fmla="*/ 36 w 36"/>
                <a:gd name="T9" fmla="*/ 0 h 16"/>
              </a:gdLst>
              <a:ahLst/>
              <a:cxnLst>
                <a:cxn ang="0">
                  <a:pos x="T0" y="T1"/>
                </a:cxn>
                <a:cxn ang="0">
                  <a:pos x="T2" y="T3"/>
                </a:cxn>
                <a:cxn ang="0">
                  <a:pos x="T4" y="T5"/>
                </a:cxn>
                <a:cxn ang="0">
                  <a:pos x="T6" y="T7"/>
                </a:cxn>
                <a:cxn ang="0">
                  <a:pos x="T8" y="T9"/>
                </a:cxn>
              </a:cxnLst>
              <a:rect l="0" t="0" r="r" b="b"/>
              <a:pathLst>
                <a:path w="36" h="16">
                  <a:moveTo>
                    <a:pt x="36" y="0"/>
                  </a:moveTo>
                  <a:cubicBezTo>
                    <a:pt x="36" y="0"/>
                    <a:pt x="29" y="6"/>
                    <a:pt x="19" y="11"/>
                  </a:cubicBezTo>
                  <a:cubicBezTo>
                    <a:pt x="9" y="15"/>
                    <a:pt x="0" y="16"/>
                    <a:pt x="0" y="16"/>
                  </a:cubicBezTo>
                  <a:cubicBezTo>
                    <a:pt x="0" y="15"/>
                    <a:pt x="9" y="13"/>
                    <a:pt x="18" y="9"/>
                  </a:cubicBezTo>
                  <a:cubicBezTo>
                    <a:pt x="28" y="4"/>
                    <a:pt x="36" y="0"/>
                    <a:pt x="36" y="0"/>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05">
              <a:extLst>
                <a:ext uri="{FF2B5EF4-FFF2-40B4-BE49-F238E27FC236}">
                  <a16:creationId xmlns:a16="http://schemas.microsoft.com/office/drawing/2014/main" id="{823B6A6B-B32E-5F40-8FFD-E059F52E6B55}"/>
                </a:ext>
              </a:extLst>
            </p:cNvPr>
            <p:cNvSpPr>
              <a:spLocks/>
            </p:cNvSpPr>
            <p:nvPr/>
          </p:nvSpPr>
          <p:spPr bwMode="auto">
            <a:xfrm>
              <a:off x="5549897" y="10668744"/>
              <a:ext cx="593725" cy="782638"/>
            </a:xfrm>
            <a:custGeom>
              <a:avLst/>
              <a:gdLst>
                <a:gd name="T0" fmla="*/ 218 w 218"/>
                <a:gd name="T1" fmla="*/ 0 h 289"/>
                <a:gd name="T2" fmla="*/ 217 w 218"/>
                <a:gd name="T3" fmla="*/ 0 h 289"/>
                <a:gd name="T4" fmla="*/ 214 w 218"/>
                <a:gd name="T5" fmla="*/ 1 h 289"/>
                <a:gd name="T6" fmla="*/ 202 w 218"/>
                <a:gd name="T7" fmla="*/ 5 h 289"/>
                <a:gd name="T8" fmla="*/ 194 w 218"/>
                <a:gd name="T9" fmla="*/ 7 h 289"/>
                <a:gd name="T10" fmla="*/ 184 w 218"/>
                <a:gd name="T11" fmla="*/ 11 h 289"/>
                <a:gd name="T12" fmla="*/ 173 w 218"/>
                <a:gd name="T13" fmla="*/ 16 h 289"/>
                <a:gd name="T14" fmla="*/ 162 w 218"/>
                <a:gd name="T15" fmla="*/ 23 h 289"/>
                <a:gd name="T16" fmla="*/ 141 w 218"/>
                <a:gd name="T17" fmla="*/ 45 h 289"/>
                <a:gd name="T18" fmla="*/ 132 w 218"/>
                <a:gd name="T19" fmla="*/ 79 h 289"/>
                <a:gd name="T20" fmla="*/ 134 w 218"/>
                <a:gd name="T21" fmla="*/ 117 h 289"/>
                <a:gd name="T22" fmla="*/ 135 w 218"/>
                <a:gd name="T23" fmla="*/ 160 h 289"/>
                <a:gd name="T24" fmla="*/ 128 w 218"/>
                <a:gd name="T25" fmla="*/ 201 h 289"/>
                <a:gd name="T26" fmla="*/ 125 w 218"/>
                <a:gd name="T27" fmla="*/ 211 h 289"/>
                <a:gd name="T28" fmla="*/ 121 w 218"/>
                <a:gd name="T29" fmla="*/ 220 h 289"/>
                <a:gd name="T30" fmla="*/ 119 w 218"/>
                <a:gd name="T31" fmla="*/ 224 h 289"/>
                <a:gd name="T32" fmla="*/ 116 w 218"/>
                <a:gd name="T33" fmla="*/ 229 h 289"/>
                <a:gd name="T34" fmla="*/ 114 w 218"/>
                <a:gd name="T35" fmla="*/ 233 h 289"/>
                <a:gd name="T36" fmla="*/ 111 w 218"/>
                <a:gd name="T37" fmla="*/ 237 h 289"/>
                <a:gd name="T38" fmla="*/ 60 w 218"/>
                <a:gd name="T39" fmla="*/ 278 h 289"/>
                <a:gd name="T40" fmla="*/ 36 w 218"/>
                <a:gd name="T41" fmla="*/ 286 h 289"/>
                <a:gd name="T42" fmla="*/ 25 w 218"/>
                <a:gd name="T43" fmla="*/ 288 h 289"/>
                <a:gd name="T44" fmla="*/ 16 w 218"/>
                <a:gd name="T45" fmla="*/ 289 h 289"/>
                <a:gd name="T46" fmla="*/ 9 w 218"/>
                <a:gd name="T47" fmla="*/ 289 h 289"/>
                <a:gd name="T48" fmla="*/ 4 w 218"/>
                <a:gd name="T49" fmla="*/ 288 h 289"/>
                <a:gd name="T50" fmla="*/ 1 w 218"/>
                <a:gd name="T51" fmla="*/ 288 h 289"/>
                <a:gd name="T52" fmla="*/ 0 w 218"/>
                <a:gd name="T53" fmla="*/ 288 h 289"/>
                <a:gd name="T54" fmla="*/ 1 w 218"/>
                <a:gd name="T55" fmla="*/ 288 h 289"/>
                <a:gd name="T56" fmla="*/ 4 w 218"/>
                <a:gd name="T57" fmla="*/ 288 h 289"/>
                <a:gd name="T58" fmla="*/ 9 w 218"/>
                <a:gd name="T59" fmla="*/ 288 h 289"/>
                <a:gd name="T60" fmla="*/ 16 w 218"/>
                <a:gd name="T61" fmla="*/ 288 h 289"/>
                <a:gd name="T62" fmla="*/ 25 w 218"/>
                <a:gd name="T63" fmla="*/ 287 h 289"/>
                <a:gd name="T64" fmla="*/ 35 w 218"/>
                <a:gd name="T65" fmla="*/ 285 h 289"/>
                <a:gd name="T66" fmla="*/ 59 w 218"/>
                <a:gd name="T67" fmla="*/ 277 h 289"/>
                <a:gd name="T68" fmla="*/ 110 w 218"/>
                <a:gd name="T69" fmla="*/ 236 h 289"/>
                <a:gd name="T70" fmla="*/ 112 w 218"/>
                <a:gd name="T71" fmla="*/ 232 h 289"/>
                <a:gd name="T72" fmla="*/ 115 w 218"/>
                <a:gd name="T73" fmla="*/ 228 h 289"/>
                <a:gd name="T74" fmla="*/ 117 w 218"/>
                <a:gd name="T75" fmla="*/ 224 h 289"/>
                <a:gd name="T76" fmla="*/ 119 w 218"/>
                <a:gd name="T77" fmla="*/ 219 h 289"/>
                <a:gd name="T78" fmla="*/ 123 w 218"/>
                <a:gd name="T79" fmla="*/ 210 h 289"/>
                <a:gd name="T80" fmla="*/ 126 w 218"/>
                <a:gd name="T81" fmla="*/ 201 h 289"/>
                <a:gd name="T82" fmla="*/ 133 w 218"/>
                <a:gd name="T83" fmla="*/ 159 h 289"/>
                <a:gd name="T84" fmla="*/ 132 w 218"/>
                <a:gd name="T85" fmla="*/ 118 h 289"/>
                <a:gd name="T86" fmla="*/ 130 w 218"/>
                <a:gd name="T87" fmla="*/ 78 h 289"/>
                <a:gd name="T88" fmla="*/ 139 w 218"/>
                <a:gd name="T89" fmla="*/ 44 h 289"/>
                <a:gd name="T90" fmla="*/ 161 w 218"/>
                <a:gd name="T91" fmla="*/ 22 h 289"/>
                <a:gd name="T92" fmla="*/ 172 w 218"/>
                <a:gd name="T93" fmla="*/ 15 h 289"/>
                <a:gd name="T94" fmla="*/ 183 w 218"/>
                <a:gd name="T95" fmla="*/ 10 h 289"/>
                <a:gd name="T96" fmla="*/ 193 w 218"/>
                <a:gd name="T97" fmla="*/ 6 h 289"/>
                <a:gd name="T98" fmla="*/ 202 w 218"/>
                <a:gd name="T99" fmla="*/ 4 h 289"/>
                <a:gd name="T100" fmla="*/ 213 w 218"/>
                <a:gd name="T101" fmla="*/ 1 h 289"/>
                <a:gd name="T102" fmla="*/ 216 w 218"/>
                <a:gd name="T103" fmla="*/ 0 h 289"/>
                <a:gd name="T104" fmla="*/ 218 w 218"/>
                <a:gd name="T105"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289">
                  <a:moveTo>
                    <a:pt x="218" y="0"/>
                  </a:moveTo>
                  <a:cubicBezTo>
                    <a:pt x="218" y="0"/>
                    <a:pt x="217" y="0"/>
                    <a:pt x="217" y="0"/>
                  </a:cubicBezTo>
                  <a:cubicBezTo>
                    <a:pt x="216" y="0"/>
                    <a:pt x="215" y="1"/>
                    <a:pt x="214" y="1"/>
                  </a:cubicBezTo>
                  <a:cubicBezTo>
                    <a:pt x="211" y="2"/>
                    <a:pt x="207" y="3"/>
                    <a:pt x="202" y="5"/>
                  </a:cubicBezTo>
                  <a:cubicBezTo>
                    <a:pt x="199" y="5"/>
                    <a:pt x="197" y="6"/>
                    <a:pt x="194" y="7"/>
                  </a:cubicBezTo>
                  <a:cubicBezTo>
                    <a:pt x="191" y="8"/>
                    <a:pt x="187" y="10"/>
                    <a:pt x="184" y="11"/>
                  </a:cubicBezTo>
                  <a:cubicBezTo>
                    <a:pt x="180" y="12"/>
                    <a:pt x="177" y="14"/>
                    <a:pt x="173" y="16"/>
                  </a:cubicBezTo>
                  <a:cubicBezTo>
                    <a:pt x="169" y="18"/>
                    <a:pt x="165" y="20"/>
                    <a:pt x="162" y="23"/>
                  </a:cubicBezTo>
                  <a:cubicBezTo>
                    <a:pt x="154" y="28"/>
                    <a:pt x="146" y="36"/>
                    <a:pt x="141" y="45"/>
                  </a:cubicBezTo>
                  <a:cubicBezTo>
                    <a:pt x="135" y="55"/>
                    <a:pt x="132" y="66"/>
                    <a:pt x="132" y="79"/>
                  </a:cubicBezTo>
                  <a:cubicBezTo>
                    <a:pt x="131" y="91"/>
                    <a:pt x="133" y="104"/>
                    <a:pt x="134" y="117"/>
                  </a:cubicBezTo>
                  <a:cubicBezTo>
                    <a:pt x="135" y="131"/>
                    <a:pt x="136" y="145"/>
                    <a:pt x="135" y="160"/>
                  </a:cubicBezTo>
                  <a:cubicBezTo>
                    <a:pt x="134" y="174"/>
                    <a:pt x="132" y="188"/>
                    <a:pt x="128" y="201"/>
                  </a:cubicBezTo>
                  <a:cubicBezTo>
                    <a:pt x="127" y="204"/>
                    <a:pt x="126" y="208"/>
                    <a:pt x="125" y="211"/>
                  </a:cubicBezTo>
                  <a:cubicBezTo>
                    <a:pt x="124" y="214"/>
                    <a:pt x="122" y="217"/>
                    <a:pt x="121" y="220"/>
                  </a:cubicBezTo>
                  <a:cubicBezTo>
                    <a:pt x="120" y="221"/>
                    <a:pt x="119" y="223"/>
                    <a:pt x="119" y="224"/>
                  </a:cubicBezTo>
                  <a:cubicBezTo>
                    <a:pt x="118" y="226"/>
                    <a:pt x="117" y="227"/>
                    <a:pt x="116" y="229"/>
                  </a:cubicBezTo>
                  <a:cubicBezTo>
                    <a:pt x="115" y="230"/>
                    <a:pt x="115" y="231"/>
                    <a:pt x="114" y="233"/>
                  </a:cubicBezTo>
                  <a:cubicBezTo>
                    <a:pt x="113" y="234"/>
                    <a:pt x="112" y="235"/>
                    <a:pt x="111" y="237"/>
                  </a:cubicBezTo>
                  <a:cubicBezTo>
                    <a:pt x="97" y="257"/>
                    <a:pt x="77" y="271"/>
                    <a:pt x="60" y="278"/>
                  </a:cubicBezTo>
                  <a:cubicBezTo>
                    <a:pt x="51" y="282"/>
                    <a:pt x="43" y="285"/>
                    <a:pt x="36" y="286"/>
                  </a:cubicBezTo>
                  <a:cubicBezTo>
                    <a:pt x="32" y="287"/>
                    <a:pt x="28" y="288"/>
                    <a:pt x="25" y="288"/>
                  </a:cubicBezTo>
                  <a:cubicBezTo>
                    <a:pt x="22" y="288"/>
                    <a:pt x="19" y="289"/>
                    <a:pt x="16" y="289"/>
                  </a:cubicBezTo>
                  <a:cubicBezTo>
                    <a:pt x="14" y="289"/>
                    <a:pt x="11" y="289"/>
                    <a:pt x="9" y="289"/>
                  </a:cubicBezTo>
                  <a:cubicBezTo>
                    <a:pt x="7" y="289"/>
                    <a:pt x="6" y="288"/>
                    <a:pt x="4" y="288"/>
                  </a:cubicBezTo>
                  <a:cubicBezTo>
                    <a:pt x="3" y="288"/>
                    <a:pt x="2" y="288"/>
                    <a:pt x="1" y="288"/>
                  </a:cubicBezTo>
                  <a:cubicBezTo>
                    <a:pt x="0" y="288"/>
                    <a:pt x="0" y="288"/>
                    <a:pt x="0" y="288"/>
                  </a:cubicBezTo>
                  <a:cubicBezTo>
                    <a:pt x="0" y="288"/>
                    <a:pt x="0" y="288"/>
                    <a:pt x="1" y="288"/>
                  </a:cubicBezTo>
                  <a:cubicBezTo>
                    <a:pt x="2" y="288"/>
                    <a:pt x="3" y="288"/>
                    <a:pt x="4" y="288"/>
                  </a:cubicBezTo>
                  <a:cubicBezTo>
                    <a:pt x="6" y="288"/>
                    <a:pt x="7" y="288"/>
                    <a:pt x="9" y="288"/>
                  </a:cubicBezTo>
                  <a:cubicBezTo>
                    <a:pt x="11" y="288"/>
                    <a:pt x="14" y="288"/>
                    <a:pt x="16" y="288"/>
                  </a:cubicBezTo>
                  <a:cubicBezTo>
                    <a:pt x="19" y="288"/>
                    <a:pt x="22" y="287"/>
                    <a:pt x="25" y="287"/>
                  </a:cubicBezTo>
                  <a:cubicBezTo>
                    <a:pt x="28" y="287"/>
                    <a:pt x="32" y="286"/>
                    <a:pt x="35" y="285"/>
                  </a:cubicBezTo>
                  <a:cubicBezTo>
                    <a:pt x="43" y="283"/>
                    <a:pt x="51" y="281"/>
                    <a:pt x="59" y="277"/>
                  </a:cubicBezTo>
                  <a:cubicBezTo>
                    <a:pt x="76" y="269"/>
                    <a:pt x="95" y="256"/>
                    <a:pt x="110" y="236"/>
                  </a:cubicBezTo>
                  <a:cubicBezTo>
                    <a:pt x="110" y="234"/>
                    <a:pt x="111" y="233"/>
                    <a:pt x="112" y="232"/>
                  </a:cubicBezTo>
                  <a:cubicBezTo>
                    <a:pt x="113" y="230"/>
                    <a:pt x="114" y="229"/>
                    <a:pt x="115" y="228"/>
                  </a:cubicBezTo>
                  <a:cubicBezTo>
                    <a:pt x="115" y="226"/>
                    <a:pt x="116" y="225"/>
                    <a:pt x="117" y="224"/>
                  </a:cubicBezTo>
                  <a:cubicBezTo>
                    <a:pt x="118" y="222"/>
                    <a:pt x="118" y="221"/>
                    <a:pt x="119" y="219"/>
                  </a:cubicBezTo>
                  <a:cubicBezTo>
                    <a:pt x="120" y="216"/>
                    <a:pt x="122" y="213"/>
                    <a:pt x="123" y="210"/>
                  </a:cubicBezTo>
                  <a:cubicBezTo>
                    <a:pt x="124" y="207"/>
                    <a:pt x="125" y="204"/>
                    <a:pt x="126" y="201"/>
                  </a:cubicBezTo>
                  <a:cubicBezTo>
                    <a:pt x="130" y="188"/>
                    <a:pt x="132" y="174"/>
                    <a:pt x="133" y="159"/>
                  </a:cubicBezTo>
                  <a:cubicBezTo>
                    <a:pt x="134" y="145"/>
                    <a:pt x="133" y="131"/>
                    <a:pt x="132" y="118"/>
                  </a:cubicBezTo>
                  <a:cubicBezTo>
                    <a:pt x="131" y="104"/>
                    <a:pt x="130" y="91"/>
                    <a:pt x="130" y="78"/>
                  </a:cubicBezTo>
                  <a:cubicBezTo>
                    <a:pt x="131" y="66"/>
                    <a:pt x="134" y="54"/>
                    <a:pt x="139" y="44"/>
                  </a:cubicBezTo>
                  <a:cubicBezTo>
                    <a:pt x="145" y="34"/>
                    <a:pt x="153" y="27"/>
                    <a:pt x="161" y="22"/>
                  </a:cubicBezTo>
                  <a:cubicBezTo>
                    <a:pt x="165" y="19"/>
                    <a:pt x="169" y="17"/>
                    <a:pt x="172" y="15"/>
                  </a:cubicBezTo>
                  <a:cubicBezTo>
                    <a:pt x="176" y="13"/>
                    <a:pt x="180" y="11"/>
                    <a:pt x="183" y="10"/>
                  </a:cubicBezTo>
                  <a:cubicBezTo>
                    <a:pt x="187" y="9"/>
                    <a:pt x="190" y="7"/>
                    <a:pt x="193" y="6"/>
                  </a:cubicBezTo>
                  <a:cubicBezTo>
                    <a:pt x="196" y="5"/>
                    <a:pt x="199" y="5"/>
                    <a:pt x="202" y="4"/>
                  </a:cubicBezTo>
                  <a:cubicBezTo>
                    <a:pt x="207" y="2"/>
                    <a:pt x="211" y="1"/>
                    <a:pt x="213" y="1"/>
                  </a:cubicBezTo>
                  <a:cubicBezTo>
                    <a:pt x="215" y="0"/>
                    <a:pt x="216" y="0"/>
                    <a:pt x="216" y="0"/>
                  </a:cubicBezTo>
                  <a:cubicBezTo>
                    <a:pt x="217" y="0"/>
                    <a:pt x="218" y="0"/>
                    <a:pt x="218" y="0"/>
                  </a:cubicBezTo>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06">
              <a:extLst>
                <a:ext uri="{FF2B5EF4-FFF2-40B4-BE49-F238E27FC236}">
                  <a16:creationId xmlns:a16="http://schemas.microsoft.com/office/drawing/2014/main" id="{BAC69E6A-AE07-9A43-BA36-9DCCA3851B0A}"/>
                </a:ext>
              </a:extLst>
            </p:cNvPr>
            <p:cNvSpPr>
              <a:spLocks/>
            </p:cNvSpPr>
            <p:nvPr/>
          </p:nvSpPr>
          <p:spPr bwMode="auto">
            <a:xfrm>
              <a:off x="5526084" y="11492656"/>
              <a:ext cx="1443037" cy="914400"/>
            </a:xfrm>
            <a:custGeom>
              <a:avLst/>
              <a:gdLst>
                <a:gd name="T0" fmla="*/ 519 w 531"/>
                <a:gd name="T1" fmla="*/ 338 h 338"/>
                <a:gd name="T2" fmla="*/ 0 w 531"/>
                <a:gd name="T3" fmla="*/ 335 h 338"/>
                <a:gd name="T4" fmla="*/ 105 w 531"/>
                <a:gd name="T5" fmla="*/ 164 h 338"/>
                <a:gd name="T6" fmla="*/ 308 w 531"/>
                <a:gd name="T7" fmla="*/ 18 h 338"/>
                <a:gd name="T8" fmla="*/ 504 w 531"/>
                <a:gd name="T9" fmla="*/ 125 h 338"/>
                <a:gd name="T10" fmla="*/ 513 w 531"/>
                <a:gd name="T11" fmla="*/ 159 h 338"/>
                <a:gd name="T12" fmla="*/ 519 w 531"/>
                <a:gd name="T13" fmla="*/ 338 h 338"/>
              </a:gdLst>
              <a:ahLst/>
              <a:cxnLst>
                <a:cxn ang="0">
                  <a:pos x="T0" y="T1"/>
                </a:cxn>
                <a:cxn ang="0">
                  <a:pos x="T2" y="T3"/>
                </a:cxn>
                <a:cxn ang="0">
                  <a:pos x="T4" y="T5"/>
                </a:cxn>
                <a:cxn ang="0">
                  <a:pos x="T6" y="T7"/>
                </a:cxn>
                <a:cxn ang="0">
                  <a:pos x="T8" y="T9"/>
                </a:cxn>
                <a:cxn ang="0">
                  <a:pos x="T10" y="T11"/>
                </a:cxn>
                <a:cxn ang="0">
                  <a:pos x="T12" y="T13"/>
                </a:cxn>
              </a:cxnLst>
              <a:rect l="0" t="0" r="r" b="b"/>
              <a:pathLst>
                <a:path w="531" h="338">
                  <a:moveTo>
                    <a:pt x="519" y="338"/>
                  </a:moveTo>
                  <a:cubicBezTo>
                    <a:pt x="0" y="335"/>
                    <a:pt x="0" y="335"/>
                    <a:pt x="0" y="335"/>
                  </a:cubicBezTo>
                  <a:cubicBezTo>
                    <a:pt x="105" y="164"/>
                    <a:pt x="105" y="164"/>
                    <a:pt x="105" y="164"/>
                  </a:cubicBezTo>
                  <a:cubicBezTo>
                    <a:pt x="150" y="90"/>
                    <a:pt x="223" y="37"/>
                    <a:pt x="308" y="18"/>
                  </a:cubicBezTo>
                  <a:cubicBezTo>
                    <a:pt x="391" y="0"/>
                    <a:pt x="476" y="45"/>
                    <a:pt x="504" y="125"/>
                  </a:cubicBezTo>
                  <a:cubicBezTo>
                    <a:pt x="508" y="136"/>
                    <a:pt x="511" y="147"/>
                    <a:pt x="513" y="159"/>
                  </a:cubicBezTo>
                  <a:cubicBezTo>
                    <a:pt x="531" y="258"/>
                    <a:pt x="519" y="338"/>
                    <a:pt x="519" y="338"/>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07">
              <a:extLst>
                <a:ext uri="{FF2B5EF4-FFF2-40B4-BE49-F238E27FC236}">
                  <a16:creationId xmlns:a16="http://schemas.microsoft.com/office/drawing/2014/main" id="{3F6FDC88-FFAC-3F47-AF9C-F9A574772CFF}"/>
                </a:ext>
              </a:extLst>
            </p:cNvPr>
            <p:cNvSpPr>
              <a:spLocks/>
            </p:cNvSpPr>
            <p:nvPr/>
          </p:nvSpPr>
          <p:spPr bwMode="auto">
            <a:xfrm>
              <a:off x="5683247" y="11872069"/>
              <a:ext cx="469900" cy="269875"/>
            </a:xfrm>
            <a:custGeom>
              <a:avLst/>
              <a:gdLst>
                <a:gd name="T0" fmla="*/ 0 w 173"/>
                <a:gd name="T1" fmla="*/ 100 h 100"/>
                <a:gd name="T2" fmla="*/ 128 w 173"/>
                <a:gd name="T3" fmla="*/ 94 h 100"/>
                <a:gd name="T4" fmla="*/ 172 w 173"/>
                <a:gd name="T5" fmla="*/ 46 h 100"/>
                <a:gd name="T6" fmla="*/ 127 w 173"/>
                <a:gd name="T7" fmla="*/ 2 h 100"/>
                <a:gd name="T8" fmla="*/ 62 w 173"/>
                <a:gd name="T9" fmla="*/ 0 h 100"/>
                <a:gd name="T10" fmla="*/ 0 w 173"/>
                <a:gd name="T11" fmla="*/ 100 h 100"/>
              </a:gdLst>
              <a:ahLst/>
              <a:cxnLst>
                <a:cxn ang="0">
                  <a:pos x="T0" y="T1"/>
                </a:cxn>
                <a:cxn ang="0">
                  <a:pos x="T2" y="T3"/>
                </a:cxn>
                <a:cxn ang="0">
                  <a:pos x="T4" y="T5"/>
                </a:cxn>
                <a:cxn ang="0">
                  <a:pos x="T6" y="T7"/>
                </a:cxn>
                <a:cxn ang="0">
                  <a:pos x="T8" y="T9"/>
                </a:cxn>
                <a:cxn ang="0">
                  <a:pos x="T10" y="T11"/>
                </a:cxn>
              </a:cxnLst>
              <a:rect l="0" t="0" r="r" b="b"/>
              <a:pathLst>
                <a:path w="173" h="100">
                  <a:moveTo>
                    <a:pt x="0" y="100"/>
                  </a:moveTo>
                  <a:cubicBezTo>
                    <a:pt x="128" y="94"/>
                    <a:pt x="128" y="94"/>
                    <a:pt x="128" y="94"/>
                  </a:cubicBezTo>
                  <a:cubicBezTo>
                    <a:pt x="153" y="93"/>
                    <a:pt x="173" y="72"/>
                    <a:pt x="172" y="46"/>
                  </a:cubicBezTo>
                  <a:cubicBezTo>
                    <a:pt x="171" y="22"/>
                    <a:pt x="151" y="2"/>
                    <a:pt x="127" y="2"/>
                  </a:cubicBezTo>
                  <a:cubicBezTo>
                    <a:pt x="62" y="0"/>
                    <a:pt x="62" y="0"/>
                    <a:pt x="62" y="0"/>
                  </a:cubicBezTo>
                  <a:lnTo>
                    <a:pt x="0" y="10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08">
              <a:extLst>
                <a:ext uri="{FF2B5EF4-FFF2-40B4-BE49-F238E27FC236}">
                  <a16:creationId xmlns:a16="http://schemas.microsoft.com/office/drawing/2014/main" id="{3A87AF00-960B-CB4B-A672-9D4B6F5485A4}"/>
                </a:ext>
              </a:extLst>
            </p:cNvPr>
            <p:cNvSpPr>
              <a:spLocks/>
            </p:cNvSpPr>
            <p:nvPr/>
          </p:nvSpPr>
          <p:spPr bwMode="auto">
            <a:xfrm>
              <a:off x="6369047" y="11749831"/>
              <a:ext cx="415925" cy="415925"/>
            </a:xfrm>
            <a:custGeom>
              <a:avLst/>
              <a:gdLst>
                <a:gd name="T0" fmla="*/ 153 w 153"/>
                <a:gd name="T1" fmla="*/ 75 h 154"/>
                <a:gd name="T2" fmla="*/ 152 w 153"/>
                <a:gd name="T3" fmla="*/ 74 h 154"/>
                <a:gd name="T4" fmla="*/ 152 w 153"/>
                <a:gd name="T5" fmla="*/ 71 h 154"/>
                <a:gd name="T6" fmla="*/ 151 w 153"/>
                <a:gd name="T7" fmla="*/ 65 h 154"/>
                <a:gd name="T8" fmla="*/ 149 w 153"/>
                <a:gd name="T9" fmla="*/ 57 h 154"/>
                <a:gd name="T10" fmla="*/ 140 w 153"/>
                <a:gd name="T11" fmla="*/ 37 h 154"/>
                <a:gd name="T12" fmla="*/ 120 w 153"/>
                <a:gd name="T13" fmla="*/ 17 h 154"/>
                <a:gd name="T14" fmla="*/ 88 w 153"/>
                <a:gd name="T15" fmla="*/ 4 h 154"/>
                <a:gd name="T16" fmla="*/ 49 w 153"/>
                <a:gd name="T17" fmla="*/ 8 h 154"/>
                <a:gd name="T18" fmla="*/ 31 w 153"/>
                <a:gd name="T19" fmla="*/ 19 h 154"/>
                <a:gd name="T20" fmla="*/ 22 w 153"/>
                <a:gd name="T21" fmla="*/ 26 h 154"/>
                <a:gd name="T22" fmla="*/ 15 w 153"/>
                <a:gd name="T23" fmla="*/ 35 h 154"/>
                <a:gd name="T24" fmla="*/ 5 w 153"/>
                <a:gd name="T25" fmla="*/ 56 h 154"/>
                <a:gd name="T26" fmla="*/ 2 w 153"/>
                <a:gd name="T27" fmla="*/ 80 h 154"/>
                <a:gd name="T28" fmla="*/ 7 w 153"/>
                <a:gd name="T29" fmla="*/ 103 h 154"/>
                <a:gd name="T30" fmla="*/ 18 w 153"/>
                <a:gd name="T31" fmla="*/ 124 h 154"/>
                <a:gd name="T32" fmla="*/ 26 w 153"/>
                <a:gd name="T33" fmla="*/ 132 h 154"/>
                <a:gd name="T34" fmla="*/ 34 w 153"/>
                <a:gd name="T35" fmla="*/ 139 h 154"/>
                <a:gd name="T36" fmla="*/ 53 w 153"/>
                <a:gd name="T37" fmla="*/ 149 h 154"/>
                <a:gd name="T38" fmla="*/ 93 w 153"/>
                <a:gd name="T39" fmla="*/ 151 h 154"/>
                <a:gd name="T40" fmla="*/ 124 w 153"/>
                <a:gd name="T41" fmla="*/ 136 h 154"/>
                <a:gd name="T42" fmla="*/ 143 w 153"/>
                <a:gd name="T43" fmla="*/ 114 h 154"/>
                <a:gd name="T44" fmla="*/ 150 w 153"/>
                <a:gd name="T45" fmla="*/ 94 h 154"/>
                <a:gd name="T46" fmla="*/ 152 w 153"/>
                <a:gd name="T47" fmla="*/ 86 h 154"/>
                <a:gd name="T48" fmla="*/ 152 w 153"/>
                <a:gd name="T49" fmla="*/ 80 h 154"/>
                <a:gd name="T50" fmla="*/ 152 w 153"/>
                <a:gd name="T51" fmla="*/ 77 h 154"/>
                <a:gd name="T52" fmla="*/ 153 w 153"/>
                <a:gd name="T53" fmla="*/ 75 h 154"/>
                <a:gd name="T54" fmla="*/ 153 w 153"/>
                <a:gd name="T55" fmla="*/ 77 h 154"/>
                <a:gd name="T56" fmla="*/ 153 w 153"/>
                <a:gd name="T57" fmla="*/ 80 h 154"/>
                <a:gd name="T58" fmla="*/ 152 w 153"/>
                <a:gd name="T59" fmla="*/ 86 h 154"/>
                <a:gd name="T60" fmla="*/ 151 w 153"/>
                <a:gd name="T61" fmla="*/ 94 h 154"/>
                <a:gd name="T62" fmla="*/ 144 w 153"/>
                <a:gd name="T63" fmla="*/ 115 h 154"/>
                <a:gd name="T64" fmla="*/ 125 w 153"/>
                <a:gd name="T65" fmla="*/ 137 h 154"/>
                <a:gd name="T66" fmla="*/ 93 w 153"/>
                <a:gd name="T67" fmla="*/ 152 h 154"/>
                <a:gd name="T68" fmla="*/ 84 w 153"/>
                <a:gd name="T69" fmla="*/ 154 h 154"/>
                <a:gd name="T70" fmla="*/ 79 w 153"/>
                <a:gd name="T71" fmla="*/ 154 h 154"/>
                <a:gd name="T72" fmla="*/ 74 w 153"/>
                <a:gd name="T73" fmla="*/ 154 h 154"/>
                <a:gd name="T74" fmla="*/ 68 w 153"/>
                <a:gd name="T75" fmla="*/ 154 h 154"/>
                <a:gd name="T76" fmla="*/ 63 w 153"/>
                <a:gd name="T77" fmla="*/ 153 h 154"/>
                <a:gd name="T78" fmla="*/ 53 w 153"/>
                <a:gd name="T79" fmla="*/ 150 h 154"/>
                <a:gd name="T80" fmla="*/ 33 w 153"/>
                <a:gd name="T81" fmla="*/ 141 h 154"/>
                <a:gd name="T82" fmla="*/ 24 w 153"/>
                <a:gd name="T83" fmla="*/ 134 h 154"/>
                <a:gd name="T84" fmla="*/ 16 w 153"/>
                <a:gd name="T85" fmla="*/ 125 h 154"/>
                <a:gd name="T86" fmla="*/ 0 w 153"/>
                <a:gd name="T87" fmla="*/ 80 h 154"/>
                <a:gd name="T88" fmla="*/ 3 w 153"/>
                <a:gd name="T89" fmla="*/ 56 h 154"/>
                <a:gd name="T90" fmla="*/ 14 w 153"/>
                <a:gd name="T91" fmla="*/ 34 h 154"/>
                <a:gd name="T92" fmla="*/ 21 w 153"/>
                <a:gd name="T93" fmla="*/ 25 h 154"/>
                <a:gd name="T94" fmla="*/ 29 w 153"/>
                <a:gd name="T95" fmla="*/ 17 h 154"/>
                <a:gd name="T96" fmla="*/ 48 w 153"/>
                <a:gd name="T97" fmla="*/ 6 h 154"/>
                <a:gd name="T98" fmla="*/ 89 w 153"/>
                <a:gd name="T99" fmla="*/ 2 h 154"/>
                <a:gd name="T100" fmla="*/ 121 w 153"/>
                <a:gd name="T101" fmla="*/ 15 h 154"/>
                <a:gd name="T102" fmla="*/ 141 w 153"/>
                <a:gd name="T103" fmla="*/ 37 h 154"/>
                <a:gd name="T104" fmla="*/ 150 w 153"/>
                <a:gd name="T105" fmla="*/ 57 h 154"/>
                <a:gd name="T106" fmla="*/ 152 w 153"/>
                <a:gd name="T107" fmla="*/ 65 h 154"/>
                <a:gd name="T108" fmla="*/ 152 w 153"/>
                <a:gd name="T109" fmla="*/ 70 h 154"/>
                <a:gd name="T110" fmla="*/ 153 w 153"/>
                <a:gd name="T111" fmla="*/ 74 h 154"/>
                <a:gd name="T112" fmla="*/ 153 w 153"/>
                <a:gd name="T113" fmla="*/ 7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154">
                  <a:moveTo>
                    <a:pt x="153" y="75"/>
                  </a:moveTo>
                  <a:cubicBezTo>
                    <a:pt x="153" y="75"/>
                    <a:pt x="152" y="75"/>
                    <a:pt x="152" y="74"/>
                  </a:cubicBezTo>
                  <a:cubicBezTo>
                    <a:pt x="152" y="73"/>
                    <a:pt x="152" y="72"/>
                    <a:pt x="152" y="71"/>
                  </a:cubicBezTo>
                  <a:cubicBezTo>
                    <a:pt x="152" y="69"/>
                    <a:pt x="152" y="67"/>
                    <a:pt x="151" y="65"/>
                  </a:cubicBezTo>
                  <a:cubicBezTo>
                    <a:pt x="151" y="62"/>
                    <a:pt x="150" y="60"/>
                    <a:pt x="149" y="57"/>
                  </a:cubicBezTo>
                  <a:cubicBezTo>
                    <a:pt x="148" y="51"/>
                    <a:pt x="145" y="44"/>
                    <a:pt x="140" y="37"/>
                  </a:cubicBezTo>
                  <a:cubicBezTo>
                    <a:pt x="136" y="30"/>
                    <a:pt x="129" y="23"/>
                    <a:pt x="120" y="17"/>
                  </a:cubicBezTo>
                  <a:cubicBezTo>
                    <a:pt x="112" y="10"/>
                    <a:pt x="101" y="5"/>
                    <a:pt x="88" y="4"/>
                  </a:cubicBezTo>
                  <a:cubicBezTo>
                    <a:pt x="76" y="2"/>
                    <a:pt x="62" y="3"/>
                    <a:pt x="49" y="8"/>
                  </a:cubicBezTo>
                  <a:cubicBezTo>
                    <a:pt x="43" y="11"/>
                    <a:pt x="36" y="14"/>
                    <a:pt x="31" y="19"/>
                  </a:cubicBezTo>
                  <a:cubicBezTo>
                    <a:pt x="28" y="21"/>
                    <a:pt x="25" y="24"/>
                    <a:pt x="22" y="26"/>
                  </a:cubicBezTo>
                  <a:cubicBezTo>
                    <a:pt x="20" y="29"/>
                    <a:pt x="17" y="32"/>
                    <a:pt x="15" y="35"/>
                  </a:cubicBezTo>
                  <a:cubicBezTo>
                    <a:pt x="11" y="42"/>
                    <a:pt x="7" y="49"/>
                    <a:pt x="5" y="56"/>
                  </a:cubicBezTo>
                  <a:cubicBezTo>
                    <a:pt x="3" y="64"/>
                    <a:pt x="2" y="72"/>
                    <a:pt x="2" y="80"/>
                  </a:cubicBezTo>
                  <a:cubicBezTo>
                    <a:pt x="2" y="88"/>
                    <a:pt x="4" y="96"/>
                    <a:pt x="7" y="103"/>
                  </a:cubicBezTo>
                  <a:cubicBezTo>
                    <a:pt x="9" y="111"/>
                    <a:pt x="13" y="118"/>
                    <a:pt x="18" y="124"/>
                  </a:cubicBezTo>
                  <a:cubicBezTo>
                    <a:pt x="20" y="127"/>
                    <a:pt x="23" y="129"/>
                    <a:pt x="26" y="132"/>
                  </a:cubicBezTo>
                  <a:cubicBezTo>
                    <a:pt x="28" y="134"/>
                    <a:pt x="31" y="137"/>
                    <a:pt x="34" y="139"/>
                  </a:cubicBezTo>
                  <a:cubicBezTo>
                    <a:pt x="40" y="143"/>
                    <a:pt x="47" y="147"/>
                    <a:pt x="53" y="149"/>
                  </a:cubicBezTo>
                  <a:cubicBezTo>
                    <a:pt x="67" y="153"/>
                    <a:pt x="81" y="153"/>
                    <a:pt x="93" y="151"/>
                  </a:cubicBezTo>
                  <a:cubicBezTo>
                    <a:pt x="105" y="148"/>
                    <a:pt x="116" y="142"/>
                    <a:pt x="124" y="136"/>
                  </a:cubicBezTo>
                  <a:cubicBezTo>
                    <a:pt x="132" y="129"/>
                    <a:pt x="138" y="121"/>
                    <a:pt x="143" y="114"/>
                  </a:cubicBezTo>
                  <a:cubicBezTo>
                    <a:pt x="147" y="107"/>
                    <a:pt x="149" y="100"/>
                    <a:pt x="150" y="94"/>
                  </a:cubicBezTo>
                  <a:cubicBezTo>
                    <a:pt x="151" y="91"/>
                    <a:pt x="151" y="88"/>
                    <a:pt x="152" y="86"/>
                  </a:cubicBezTo>
                  <a:cubicBezTo>
                    <a:pt x="152" y="84"/>
                    <a:pt x="152" y="82"/>
                    <a:pt x="152" y="80"/>
                  </a:cubicBezTo>
                  <a:cubicBezTo>
                    <a:pt x="152" y="79"/>
                    <a:pt x="152" y="77"/>
                    <a:pt x="152" y="77"/>
                  </a:cubicBezTo>
                  <a:cubicBezTo>
                    <a:pt x="152" y="76"/>
                    <a:pt x="153" y="75"/>
                    <a:pt x="153" y="75"/>
                  </a:cubicBezTo>
                  <a:cubicBezTo>
                    <a:pt x="153" y="75"/>
                    <a:pt x="153" y="76"/>
                    <a:pt x="153" y="77"/>
                  </a:cubicBezTo>
                  <a:cubicBezTo>
                    <a:pt x="153" y="77"/>
                    <a:pt x="153" y="79"/>
                    <a:pt x="153" y="80"/>
                  </a:cubicBezTo>
                  <a:cubicBezTo>
                    <a:pt x="153" y="82"/>
                    <a:pt x="153" y="84"/>
                    <a:pt x="152" y="86"/>
                  </a:cubicBezTo>
                  <a:cubicBezTo>
                    <a:pt x="152" y="88"/>
                    <a:pt x="152" y="91"/>
                    <a:pt x="151" y="94"/>
                  </a:cubicBezTo>
                  <a:cubicBezTo>
                    <a:pt x="150" y="100"/>
                    <a:pt x="148" y="107"/>
                    <a:pt x="144" y="115"/>
                  </a:cubicBezTo>
                  <a:cubicBezTo>
                    <a:pt x="139" y="122"/>
                    <a:pt x="133" y="130"/>
                    <a:pt x="125" y="137"/>
                  </a:cubicBezTo>
                  <a:cubicBezTo>
                    <a:pt x="117" y="144"/>
                    <a:pt x="106" y="150"/>
                    <a:pt x="93" y="152"/>
                  </a:cubicBezTo>
                  <a:cubicBezTo>
                    <a:pt x="90" y="153"/>
                    <a:pt x="87" y="154"/>
                    <a:pt x="84" y="154"/>
                  </a:cubicBezTo>
                  <a:cubicBezTo>
                    <a:pt x="82" y="154"/>
                    <a:pt x="80" y="154"/>
                    <a:pt x="79" y="154"/>
                  </a:cubicBezTo>
                  <a:cubicBezTo>
                    <a:pt x="77" y="154"/>
                    <a:pt x="75" y="154"/>
                    <a:pt x="74" y="154"/>
                  </a:cubicBezTo>
                  <a:cubicBezTo>
                    <a:pt x="72" y="154"/>
                    <a:pt x="70" y="154"/>
                    <a:pt x="68" y="154"/>
                  </a:cubicBezTo>
                  <a:cubicBezTo>
                    <a:pt x="67" y="154"/>
                    <a:pt x="65" y="153"/>
                    <a:pt x="63" y="153"/>
                  </a:cubicBezTo>
                  <a:cubicBezTo>
                    <a:pt x="60" y="152"/>
                    <a:pt x="56" y="152"/>
                    <a:pt x="53" y="150"/>
                  </a:cubicBezTo>
                  <a:cubicBezTo>
                    <a:pt x="46" y="148"/>
                    <a:pt x="39" y="145"/>
                    <a:pt x="33" y="141"/>
                  </a:cubicBezTo>
                  <a:cubicBezTo>
                    <a:pt x="30" y="139"/>
                    <a:pt x="27" y="136"/>
                    <a:pt x="24" y="134"/>
                  </a:cubicBezTo>
                  <a:cubicBezTo>
                    <a:pt x="21" y="131"/>
                    <a:pt x="19" y="128"/>
                    <a:pt x="16" y="125"/>
                  </a:cubicBezTo>
                  <a:cubicBezTo>
                    <a:pt x="6" y="113"/>
                    <a:pt x="1" y="97"/>
                    <a:pt x="0" y="80"/>
                  </a:cubicBezTo>
                  <a:cubicBezTo>
                    <a:pt x="0" y="72"/>
                    <a:pt x="1" y="63"/>
                    <a:pt x="3" y="56"/>
                  </a:cubicBezTo>
                  <a:cubicBezTo>
                    <a:pt x="5" y="48"/>
                    <a:pt x="9" y="41"/>
                    <a:pt x="14" y="34"/>
                  </a:cubicBezTo>
                  <a:cubicBezTo>
                    <a:pt x="16" y="31"/>
                    <a:pt x="18" y="28"/>
                    <a:pt x="21" y="25"/>
                  </a:cubicBezTo>
                  <a:cubicBezTo>
                    <a:pt x="24" y="22"/>
                    <a:pt x="26" y="20"/>
                    <a:pt x="29" y="17"/>
                  </a:cubicBezTo>
                  <a:cubicBezTo>
                    <a:pt x="35" y="13"/>
                    <a:pt x="42" y="9"/>
                    <a:pt x="48" y="6"/>
                  </a:cubicBezTo>
                  <a:cubicBezTo>
                    <a:pt x="62" y="1"/>
                    <a:pt x="76" y="0"/>
                    <a:pt x="89" y="2"/>
                  </a:cubicBezTo>
                  <a:cubicBezTo>
                    <a:pt x="101" y="4"/>
                    <a:pt x="112" y="9"/>
                    <a:pt x="121" y="15"/>
                  </a:cubicBezTo>
                  <a:cubicBezTo>
                    <a:pt x="130" y="22"/>
                    <a:pt x="137" y="29"/>
                    <a:pt x="141" y="37"/>
                  </a:cubicBezTo>
                  <a:cubicBezTo>
                    <a:pt x="146" y="44"/>
                    <a:pt x="149" y="51"/>
                    <a:pt x="150" y="57"/>
                  </a:cubicBezTo>
                  <a:cubicBezTo>
                    <a:pt x="151" y="60"/>
                    <a:pt x="151" y="62"/>
                    <a:pt x="152" y="65"/>
                  </a:cubicBezTo>
                  <a:cubicBezTo>
                    <a:pt x="152" y="67"/>
                    <a:pt x="152" y="69"/>
                    <a:pt x="152" y="70"/>
                  </a:cubicBezTo>
                  <a:cubicBezTo>
                    <a:pt x="152" y="72"/>
                    <a:pt x="153" y="73"/>
                    <a:pt x="153" y="74"/>
                  </a:cubicBezTo>
                  <a:cubicBezTo>
                    <a:pt x="153" y="75"/>
                    <a:pt x="153" y="75"/>
                    <a:pt x="153" y="75"/>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09">
              <a:extLst>
                <a:ext uri="{FF2B5EF4-FFF2-40B4-BE49-F238E27FC236}">
                  <a16:creationId xmlns:a16="http://schemas.microsoft.com/office/drawing/2014/main" id="{D169012D-3602-CB4A-8241-D534B90F94B3}"/>
                </a:ext>
              </a:extLst>
            </p:cNvPr>
            <p:cNvSpPr>
              <a:spLocks/>
            </p:cNvSpPr>
            <p:nvPr/>
          </p:nvSpPr>
          <p:spPr bwMode="auto">
            <a:xfrm>
              <a:off x="6311897" y="11692681"/>
              <a:ext cx="528637" cy="530225"/>
            </a:xfrm>
            <a:custGeom>
              <a:avLst/>
              <a:gdLst>
                <a:gd name="T0" fmla="*/ 194 w 195"/>
                <a:gd name="T1" fmla="*/ 94 h 196"/>
                <a:gd name="T2" fmla="*/ 194 w 195"/>
                <a:gd name="T3" fmla="*/ 86 h 196"/>
                <a:gd name="T4" fmla="*/ 190 w 195"/>
                <a:gd name="T5" fmla="*/ 72 h 196"/>
                <a:gd name="T6" fmla="*/ 154 w 195"/>
                <a:gd name="T7" fmla="*/ 21 h 196"/>
                <a:gd name="T8" fmla="*/ 62 w 195"/>
                <a:gd name="T9" fmla="*/ 10 h 196"/>
                <a:gd name="T10" fmla="*/ 39 w 195"/>
                <a:gd name="T11" fmla="*/ 23 h 196"/>
                <a:gd name="T12" fmla="*/ 19 w 195"/>
                <a:gd name="T13" fmla="*/ 44 h 196"/>
                <a:gd name="T14" fmla="*/ 2 w 195"/>
                <a:gd name="T15" fmla="*/ 102 h 196"/>
                <a:gd name="T16" fmla="*/ 22 w 195"/>
                <a:gd name="T17" fmla="*/ 158 h 196"/>
                <a:gd name="T18" fmla="*/ 43 w 195"/>
                <a:gd name="T19" fmla="*/ 177 h 196"/>
                <a:gd name="T20" fmla="*/ 68 w 195"/>
                <a:gd name="T21" fmla="*/ 190 h 196"/>
                <a:gd name="T22" fmla="*/ 158 w 195"/>
                <a:gd name="T23" fmla="*/ 173 h 196"/>
                <a:gd name="T24" fmla="*/ 192 w 195"/>
                <a:gd name="T25" fmla="*/ 119 h 196"/>
                <a:gd name="T26" fmla="*/ 194 w 195"/>
                <a:gd name="T27" fmla="*/ 105 h 196"/>
                <a:gd name="T28" fmla="*/ 194 w 195"/>
                <a:gd name="T29" fmla="*/ 97 h 196"/>
                <a:gd name="T30" fmla="*/ 195 w 195"/>
                <a:gd name="T31" fmla="*/ 97 h 196"/>
                <a:gd name="T32" fmla="*/ 195 w 195"/>
                <a:gd name="T33" fmla="*/ 105 h 196"/>
                <a:gd name="T34" fmla="*/ 193 w 195"/>
                <a:gd name="T35" fmla="*/ 119 h 196"/>
                <a:gd name="T36" fmla="*/ 159 w 195"/>
                <a:gd name="T37" fmla="*/ 174 h 196"/>
                <a:gd name="T38" fmla="*/ 106 w 195"/>
                <a:gd name="T39" fmla="*/ 196 h 196"/>
                <a:gd name="T40" fmla="*/ 94 w 195"/>
                <a:gd name="T41" fmla="*/ 196 h 196"/>
                <a:gd name="T42" fmla="*/ 80 w 195"/>
                <a:gd name="T43" fmla="*/ 195 h 196"/>
                <a:gd name="T44" fmla="*/ 54 w 195"/>
                <a:gd name="T45" fmla="*/ 186 h 196"/>
                <a:gd name="T46" fmla="*/ 31 w 195"/>
                <a:gd name="T47" fmla="*/ 170 h 196"/>
                <a:gd name="T48" fmla="*/ 6 w 195"/>
                <a:gd name="T49" fmla="*/ 132 h 196"/>
                <a:gd name="T50" fmla="*/ 4 w 195"/>
                <a:gd name="T51" fmla="*/ 71 h 196"/>
                <a:gd name="T52" fmla="*/ 27 w 195"/>
                <a:gd name="T53" fmla="*/ 32 h 196"/>
                <a:gd name="T54" fmla="*/ 49 w 195"/>
                <a:gd name="T55" fmla="*/ 14 h 196"/>
                <a:gd name="T56" fmla="*/ 113 w 195"/>
                <a:gd name="T57" fmla="*/ 2 h 196"/>
                <a:gd name="T58" fmla="*/ 180 w 195"/>
                <a:gd name="T59" fmla="*/ 46 h 196"/>
                <a:gd name="T60" fmla="*/ 193 w 195"/>
                <a:gd name="T61" fmla="*/ 82 h 196"/>
                <a:gd name="T62" fmla="*/ 194 w 195"/>
                <a:gd name="T63" fmla="*/ 89 h 196"/>
                <a:gd name="T64" fmla="*/ 195 w 195"/>
                <a:gd name="T65" fmla="*/ 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 h="196">
                  <a:moveTo>
                    <a:pt x="195" y="96"/>
                  </a:moveTo>
                  <a:cubicBezTo>
                    <a:pt x="194" y="96"/>
                    <a:pt x="194" y="95"/>
                    <a:pt x="194" y="94"/>
                  </a:cubicBezTo>
                  <a:cubicBezTo>
                    <a:pt x="194" y="93"/>
                    <a:pt x="194" y="91"/>
                    <a:pt x="194" y="90"/>
                  </a:cubicBezTo>
                  <a:cubicBezTo>
                    <a:pt x="194" y="89"/>
                    <a:pt x="194" y="87"/>
                    <a:pt x="194" y="86"/>
                  </a:cubicBezTo>
                  <a:cubicBezTo>
                    <a:pt x="193" y="85"/>
                    <a:pt x="193" y="84"/>
                    <a:pt x="193" y="82"/>
                  </a:cubicBezTo>
                  <a:cubicBezTo>
                    <a:pt x="192" y="79"/>
                    <a:pt x="192" y="76"/>
                    <a:pt x="190" y="72"/>
                  </a:cubicBezTo>
                  <a:cubicBezTo>
                    <a:pt x="188" y="65"/>
                    <a:pt x="185" y="56"/>
                    <a:pt x="179" y="47"/>
                  </a:cubicBezTo>
                  <a:cubicBezTo>
                    <a:pt x="173" y="38"/>
                    <a:pt x="165" y="28"/>
                    <a:pt x="154" y="21"/>
                  </a:cubicBezTo>
                  <a:cubicBezTo>
                    <a:pt x="142" y="13"/>
                    <a:pt x="129" y="6"/>
                    <a:pt x="113" y="4"/>
                  </a:cubicBezTo>
                  <a:cubicBezTo>
                    <a:pt x="97" y="2"/>
                    <a:pt x="79" y="3"/>
                    <a:pt x="62" y="10"/>
                  </a:cubicBezTo>
                  <a:cubicBezTo>
                    <a:pt x="58" y="11"/>
                    <a:pt x="54" y="13"/>
                    <a:pt x="50" y="16"/>
                  </a:cubicBezTo>
                  <a:cubicBezTo>
                    <a:pt x="46" y="18"/>
                    <a:pt x="42" y="20"/>
                    <a:pt x="39" y="23"/>
                  </a:cubicBezTo>
                  <a:cubicBezTo>
                    <a:pt x="35" y="26"/>
                    <a:pt x="32" y="30"/>
                    <a:pt x="28" y="33"/>
                  </a:cubicBezTo>
                  <a:cubicBezTo>
                    <a:pt x="25" y="37"/>
                    <a:pt x="22" y="40"/>
                    <a:pt x="19" y="44"/>
                  </a:cubicBezTo>
                  <a:cubicBezTo>
                    <a:pt x="14" y="52"/>
                    <a:pt x="9" y="61"/>
                    <a:pt x="6" y="71"/>
                  </a:cubicBezTo>
                  <a:cubicBezTo>
                    <a:pt x="3" y="81"/>
                    <a:pt x="2" y="91"/>
                    <a:pt x="2" y="102"/>
                  </a:cubicBezTo>
                  <a:cubicBezTo>
                    <a:pt x="3" y="112"/>
                    <a:pt x="5" y="122"/>
                    <a:pt x="8" y="132"/>
                  </a:cubicBezTo>
                  <a:cubicBezTo>
                    <a:pt x="11" y="141"/>
                    <a:pt x="17" y="150"/>
                    <a:pt x="22" y="158"/>
                  </a:cubicBezTo>
                  <a:cubicBezTo>
                    <a:pt x="25" y="161"/>
                    <a:pt x="29" y="165"/>
                    <a:pt x="32" y="168"/>
                  </a:cubicBezTo>
                  <a:cubicBezTo>
                    <a:pt x="36" y="171"/>
                    <a:pt x="39" y="175"/>
                    <a:pt x="43" y="177"/>
                  </a:cubicBezTo>
                  <a:cubicBezTo>
                    <a:pt x="47" y="180"/>
                    <a:pt x="51" y="182"/>
                    <a:pt x="55" y="184"/>
                  </a:cubicBezTo>
                  <a:cubicBezTo>
                    <a:pt x="59" y="186"/>
                    <a:pt x="64" y="188"/>
                    <a:pt x="68" y="190"/>
                  </a:cubicBezTo>
                  <a:cubicBezTo>
                    <a:pt x="85" y="195"/>
                    <a:pt x="103" y="195"/>
                    <a:pt x="118" y="192"/>
                  </a:cubicBezTo>
                  <a:cubicBezTo>
                    <a:pt x="134" y="189"/>
                    <a:pt x="148" y="182"/>
                    <a:pt x="158" y="173"/>
                  </a:cubicBezTo>
                  <a:cubicBezTo>
                    <a:pt x="169" y="165"/>
                    <a:pt x="177" y="155"/>
                    <a:pt x="182" y="145"/>
                  </a:cubicBezTo>
                  <a:cubicBezTo>
                    <a:pt x="187" y="136"/>
                    <a:pt x="190" y="127"/>
                    <a:pt x="192" y="119"/>
                  </a:cubicBezTo>
                  <a:cubicBezTo>
                    <a:pt x="193" y="116"/>
                    <a:pt x="193" y="112"/>
                    <a:pt x="194" y="109"/>
                  </a:cubicBezTo>
                  <a:cubicBezTo>
                    <a:pt x="194" y="108"/>
                    <a:pt x="194" y="106"/>
                    <a:pt x="194" y="105"/>
                  </a:cubicBezTo>
                  <a:cubicBezTo>
                    <a:pt x="194" y="104"/>
                    <a:pt x="194" y="103"/>
                    <a:pt x="194" y="102"/>
                  </a:cubicBezTo>
                  <a:cubicBezTo>
                    <a:pt x="194" y="100"/>
                    <a:pt x="194" y="98"/>
                    <a:pt x="194" y="97"/>
                  </a:cubicBezTo>
                  <a:cubicBezTo>
                    <a:pt x="194" y="96"/>
                    <a:pt x="194" y="96"/>
                    <a:pt x="195" y="96"/>
                  </a:cubicBezTo>
                  <a:cubicBezTo>
                    <a:pt x="195" y="96"/>
                    <a:pt x="195" y="96"/>
                    <a:pt x="195" y="97"/>
                  </a:cubicBezTo>
                  <a:cubicBezTo>
                    <a:pt x="195" y="98"/>
                    <a:pt x="195" y="100"/>
                    <a:pt x="195" y="102"/>
                  </a:cubicBezTo>
                  <a:cubicBezTo>
                    <a:pt x="195" y="103"/>
                    <a:pt x="195" y="104"/>
                    <a:pt x="195" y="105"/>
                  </a:cubicBezTo>
                  <a:cubicBezTo>
                    <a:pt x="195" y="106"/>
                    <a:pt x="194" y="108"/>
                    <a:pt x="194" y="109"/>
                  </a:cubicBezTo>
                  <a:cubicBezTo>
                    <a:pt x="194" y="112"/>
                    <a:pt x="194" y="116"/>
                    <a:pt x="193" y="119"/>
                  </a:cubicBezTo>
                  <a:cubicBezTo>
                    <a:pt x="191" y="127"/>
                    <a:pt x="188" y="136"/>
                    <a:pt x="183" y="146"/>
                  </a:cubicBezTo>
                  <a:cubicBezTo>
                    <a:pt x="178" y="155"/>
                    <a:pt x="170" y="166"/>
                    <a:pt x="159" y="174"/>
                  </a:cubicBezTo>
                  <a:cubicBezTo>
                    <a:pt x="148" y="183"/>
                    <a:pt x="135" y="191"/>
                    <a:pt x="119" y="194"/>
                  </a:cubicBezTo>
                  <a:cubicBezTo>
                    <a:pt x="115" y="195"/>
                    <a:pt x="111" y="196"/>
                    <a:pt x="106" y="196"/>
                  </a:cubicBezTo>
                  <a:cubicBezTo>
                    <a:pt x="104" y="196"/>
                    <a:pt x="102" y="196"/>
                    <a:pt x="100" y="196"/>
                  </a:cubicBezTo>
                  <a:cubicBezTo>
                    <a:pt x="98" y="196"/>
                    <a:pt x="96" y="196"/>
                    <a:pt x="94" y="196"/>
                  </a:cubicBezTo>
                  <a:cubicBezTo>
                    <a:pt x="91" y="196"/>
                    <a:pt x="89" y="196"/>
                    <a:pt x="87" y="196"/>
                  </a:cubicBezTo>
                  <a:cubicBezTo>
                    <a:pt x="85" y="195"/>
                    <a:pt x="83" y="195"/>
                    <a:pt x="80" y="195"/>
                  </a:cubicBezTo>
                  <a:cubicBezTo>
                    <a:pt x="76" y="194"/>
                    <a:pt x="72" y="193"/>
                    <a:pt x="67" y="191"/>
                  </a:cubicBezTo>
                  <a:cubicBezTo>
                    <a:pt x="63" y="190"/>
                    <a:pt x="59" y="188"/>
                    <a:pt x="54" y="186"/>
                  </a:cubicBezTo>
                  <a:cubicBezTo>
                    <a:pt x="50" y="184"/>
                    <a:pt x="46" y="182"/>
                    <a:pt x="42" y="179"/>
                  </a:cubicBezTo>
                  <a:cubicBezTo>
                    <a:pt x="38" y="176"/>
                    <a:pt x="35" y="173"/>
                    <a:pt x="31" y="170"/>
                  </a:cubicBezTo>
                  <a:cubicBezTo>
                    <a:pt x="27" y="166"/>
                    <a:pt x="24" y="163"/>
                    <a:pt x="21" y="159"/>
                  </a:cubicBezTo>
                  <a:cubicBezTo>
                    <a:pt x="15" y="151"/>
                    <a:pt x="9" y="142"/>
                    <a:pt x="6" y="132"/>
                  </a:cubicBezTo>
                  <a:cubicBezTo>
                    <a:pt x="3" y="123"/>
                    <a:pt x="0" y="112"/>
                    <a:pt x="0" y="102"/>
                  </a:cubicBezTo>
                  <a:cubicBezTo>
                    <a:pt x="0" y="91"/>
                    <a:pt x="1" y="80"/>
                    <a:pt x="4" y="71"/>
                  </a:cubicBezTo>
                  <a:cubicBezTo>
                    <a:pt x="7" y="61"/>
                    <a:pt x="12" y="51"/>
                    <a:pt x="17" y="43"/>
                  </a:cubicBezTo>
                  <a:cubicBezTo>
                    <a:pt x="20" y="39"/>
                    <a:pt x="23" y="35"/>
                    <a:pt x="27" y="32"/>
                  </a:cubicBezTo>
                  <a:cubicBezTo>
                    <a:pt x="30" y="28"/>
                    <a:pt x="33" y="25"/>
                    <a:pt x="37" y="22"/>
                  </a:cubicBezTo>
                  <a:cubicBezTo>
                    <a:pt x="41" y="19"/>
                    <a:pt x="45" y="16"/>
                    <a:pt x="49" y="14"/>
                  </a:cubicBezTo>
                  <a:cubicBezTo>
                    <a:pt x="53" y="12"/>
                    <a:pt x="57" y="9"/>
                    <a:pt x="62" y="8"/>
                  </a:cubicBezTo>
                  <a:cubicBezTo>
                    <a:pt x="79" y="1"/>
                    <a:pt x="97" y="0"/>
                    <a:pt x="113" y="2"/>
                  </a:cubicBezTo>
                  <a:cubicBezTo>
                    <a:pt x="129" y="5"/>
                    <a:pt x="143" y="11"/>
                    <a:pt x="154" y="19"/>
                  </a:cubicBezTo>
                  <a:cubicBezTo>
                    <a:pt x="166" y="27"/>
                    <a:pt x="174" y="37"/>
                    <a:pt x="180" y="46"/>
                  </a:cubicBezTo>
                  <a:cubicBezTo>
                    <a:pt x="186" y="56"/>
                    <a:pt x="189" y="65"/>
                    <a:pt x="191" y="72"/>
                  </a:cubicBezTo>
                  <a:cubicBezTo>
                    <a:pt x="192" y="76"/>
                    <a:pt x="193" y="79"/>
                    <a:pt x="193" y="82"/>
                  </a:cubicBezTo>
                  <a:cubicBezTo>
                    <a:pt x="194" y="84"/>
                    <a:pt x="194" y="85"/>
                    <a:pt x="194" y="86"/>
                  </a:cubicBezTo>
                  <a:cubicBezTo>
                    <a:pt x="194" y="87"/>
                    <a:pt x="194" y="88"/>
                    <a:pt x="194" y="89"/>
                  </a:cubicBezTo>
                  <a:cubicBezTo>
                    <a:pt x="194" y="91"/>
                    <a:pt x="194" y="93"/>
                    <a:pt x="195" y="94"/>
                  </a:cubicBezTo>
                  <a:cubicBezTo>
                    <a:pt x="195" y="95"/>
                    <a:pt x="195" y="96"/>
                    <a:pt x="195" y="96"/>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10">
              <a:extLst>
                <a:ext uri="{FF2B5EF4-FFF2-40B4-BE49-F238E27FC236}">
                  <a16:creationId xmlns:a16="http://schemas.microsoft.com/office/drawing/2014/main" id="{5AA0756C-6B85-C146-B562-E5DF44DA7D33}"/>
                </a:ext>
              </a:extLst>
            </p:cNvPr>
            <p:cNvSpPr>
              <a:spLocks/>
            </p:cNvSpPr>
            <p:nvPr/>
          </p:nvSpPr>
          <p:spPr bwMode="auto">
            <a:xfrm>
              <a:off x="6311897" y="11964144"/>
              <a:ext cx="20637" cy="438150"/>
            </a:xfrm>
            <a:custGeom>
              <a:avLst/>
              <a:gdLst>
                <a:gd name="T0" fmla="*/ 8 w 8"/>
                <a:gd name="T1" fmla="*/ 162 h 162"/>
                <a:gd name="T2" fmla="*/ 8 w 8"/>
                <a:gd name="T3" fmla="*/ 155 h 162"/>
                <a:gd name="T4" fmla="*/ 6 w 8"/>
                <a:gd name="T5" fmla="*/ 138 h 162"/>
                <a:gd name="T6" fmla="*/ 3 w 8"/>
                <a:gd name="T7" fmla="*/ 81 h 162"/>
                <a:gd name="T8" fmla="*/ 1 w 8"/>
                <a:gd name="T9" fmla="*/ 24 h 162"/>
                <a:gd name="T10" fmla="*/ 0 w 8"/>
                <a:gd name="T11" fmla="*/ 6 h 162"/>
                <a:gd name="T12" fmla="*/ 0 w 8"/>
                <a:gd name="T13" fmla="*/ 0 h 162"/>
                <a:gd name="T14" fmla="*/ 1 w 8"/>
                <a:gd name="T15" fmla="*/ 6 h 162"/>
                <a:gd name="T16" fmla="*/ 2 w 8"/>
                <a:gd name="T17" fmla="*/ 23 h 162"/>
                <a:gd name="T18" fmla="*/ 5 w 8"/>
                <a:gd name="T19" fmla="*/ 81 h 162"/>
                <a:gd name="T20" fmla="*/ 8 w 8"/>
                <a:gd name="T21" fmla="*/ 138 h 162"/>
                <a:gd name="T22" fmla="*/ 8 w 8"/>
                <a:gd name="T23" fmla="*/ 155 h 162"/>
                <a:gd name="T24" fmla="*/ 8 w 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62">
                  <a:moveTo>
                    <a:pt x="8" y="162"/>
                  </a:moveTo>
                  <a:cubicBezTo>
                    <a:pt x="8" y="162"/>
                    <a:pt x="8" y="159"/>
                    <a:pt x="8" y="155"/>
                  </a:cubicBezTo>
                  <a:cubicBezTo>
                    <a:pt x="7" y="151"/>
                    <a:pt x="7" y="145"/>
                    <a:pt x="6" y="138"/>
                  </a:cubicBezTo>
                  <a:cubicBezTo>
                    <a:pt x="5" y="123"/>
                    <a:pt x="4" y="103"/>
                    <a:pt x="3" y="81"/>
                  </a:cubicBezTo>
                  <a:cubicBezTo>
                    <a:pt x="2" y="58"/>
                    <a:pt x="1" y="38"/>
                    <a:pt x="1" y="24"/>
                  </a:cubicBezTo>
                  <a:cubicBezTo>
                    <a:pt x="1" y="17"/>
                    <a:pt x="0" y="11"/>
                    <a:pt x="0" y="6"/>
                  </a:cubicBezTo>
                  <a:cubicBezTo>
                    <a:pt x="0" y="2"/>
                    <a:pt x="0" y="0"/>
                    <a:pt x="0" y="0"/>
                  </a:cubicBezTo>
                  <a:cubicBezTo>
                    <a:pt x="0" y="0"/>
                    <a:pt x="1" y="2"/>
                    <a:pt x="1" y="6"/>
                  </a:cubicBezTo>
                  <a:cubicBezTo>
                    <a:pt x="1" y="11"/>
                    <a:pt x="2" y="16"/>
                    <a:pt x="2" y="23"/>
                  </a:cubicBezTo>
                  <a:cubicBezTo>
                    <a:pt x="3" y="38"/>
                    <a:pt x="4" y="58"/>
                    <a:pt x="5" y="81"/>
                  </a:cubicBezTo>
                  <a:cubicBezTo>
                    <a:pt x="6" y="103"/>
                    <a:pt x="7" y="123"/>
                    <a:pt x="8" y="138"/>
                  </a:cubicBezTo>
                  <a:cubicBezTo>
                    <a:pt x="8" y="145"/>
                    <a:pt x="8" y="151"/>
                    <a:pt x="8" y="155"/>
                  </a:cubicBezTo>
                  <a:cubicBezTo>
                    <a:pt x="8" y="159"/>
                    <a:pt x="8" y="162"/>
                    <a:pt x="8" y="162"/>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311">
              <a:extLst>
                <a:ext uri="{FF2B5EF4-FFF2-40B4-BE49-F238E27FC236}">
                  <a16:creationId xmlns:a16="http://schemas.microsoft.com/office/drawing/2014/main" id="{E9A8ADEF-1A4D-BC4B-80DD-75E592BE0D38}"/>
                </a:ext>
              </a:extLst>
            </p:cNvPr>
            <p:cNvSpPr>
              <a:spLocks/>
            </p:cNvSpPr>
            <p:nvPr/>
          </p:nvSpPr>
          <p:spPr bwMode="auto">
            <a:xfrm>
              <a:off x="6805609" y="11953031"/>
              <a:ext cx="34925" cy="454025"/>
            </a:xfrm>
            <a:custGeom>
              <a:avLst/>
              <a:gdLst>
                <a:gd name="T0" fmla="*/ 0 w 13"/>
                <a:gd name="T1" fmla="*/ 168 h 168"/>
                <a:gd name="T2" fmla="*/ 0 w 13"/>
                <a:gd name="T3" fmla="*/ 161 h 168"/>
                <a:gd name="T4" fmla="*/ 1 w 13"/>
                <a:gd name="T5" fmla="*/ 143 h 168"/>
                <a:gd name="T6" fmla="*/ 5 w 13"/>
                <a:gd name="T7" fmla="*/ 84 h 168"/>
                <a:gd name="T8" fmla="*/ 10 w 13"/>
                <a:gd name="T9" fmla="*/ 24 h 168"/>
                <a:gd name="T10" fmla="*/ 12 w 13"/>
                <a:gd name="T11" fmla="*/ 6 h 168"/>
                <a:gd name="T12" fmla="*/ 13 w 13"/>
                <a:gd name="T13" fmla="*/ 0 h 168"/>
                <a:gd name="T14" fmla="*/ 12 w 13"/>
                <a:gd name="T15" fmla="*/ 6 h 168"/>
                <a:gd name="T16" fmla="*/ 11 w 13"/>
                <a:gd name="T17" fmla="*/ 24 h 168"/>
                <a:gd name="T18" fmla="*/ 7 w 13"/>
                <a:gd name="T19" fmla="*/ 84 h 168"/>
                <a:gd name="T20" fmla="*/ 2 w 13"/>
                <a:gd name="T21" fmla="*/ 144 h 168"/>
                <a:gd name="T22" fmla="*/ 1 w 13"/>
                <a:gd name="T23" fmla="*/ 162 h 168"/>
                <a:gd name="T24" fmla="*/ 0 w 13"/>
                <a:gd name="T2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68">
                  <a:moveTo>
                    <a:pt x="0" y="168"/>
                  </a:moveTo>
                  <a:cubicBezTo>
                    <a:pt x="0" y="168"/>
                    <a:pt x="0" y="166"/>
                    <a:pt x="0" y="161"/>
                  </a:cubicBezTo>
                  <a:cubicBezTo>
                    <a:pt x="0" y="157"/>
                    <a:pt x="1" y="151"/>
                    <a:pt x="1" y="143"/>
                  </a:cubicBezTo>
                  <a:cubicBezTo>
                    <a:pt x="2" y="128"/>
                    <a:pt x="3" y="107"/>
                    <a:pt x="5" y="84"/>
                  </a:cubicBezTo>
                  <a:cubicBezTo>
                    <a:pt x="7" y="61"/>
                    <a:pt x="9" y="40"/>
                    <a:pt x="10" y="24"/>
                  </a:cubicBezTo>
                  <a:cubicBezTo>
                    <a:pt x="11" y="17"/>
                    <a:pt x="11" y="11"/>
                    <a:pt x="12" y="6"/>
                  </a:cubicBezTo>
                  <a:cubicBezTo>
                    <a:pt x="12" y="2"/>
                    <a:pt x="12" y="0"/>
                    <a:pt x="13" y="0"/>
                  </a:cubicBezTo>
                  <a:cubicBezTo>
                    <a:pt x="13" y="0"/>
                    <a:pt x="13" y="2"/>
                    <a:pt x="12" y="6"/>
                  </a:cubicBezTo>
                  <a:cubicBezTo>
                    <a:pt x="12" y="11"/>
                    <a:pt x="12" y="17"/>
                    <a:pt x="11" y="24"/>
                  </a:cubicBezTo>
                  <a:cubicBezTo>
                    <a:pt x="10" y="40"/>
                    <a:pt x="9" y="61"/>
                    <a:pt x="7" y="84"/>
                  </a:cubicBezTo>
                  <a:cubicBezTo>
                    <a:pt x="5" y="107"/>
                    <a:pt x="4" y="128"/>
                    <a:pt x="2" y="144"/>
                  </a:cubicBezTo>
                  <a:cubicBezTo>
                    <a:pt x="2" y="151"/>
                    <a:pt x="1" y="157"/>
                    <a:pt x="1" y="162"/>
                  </a:cubicBezTo>
                  <a:cubicBezTo>
                    <a:pt x="0" y="166"/>
                    <a:pt x="0" y="168"/>
                    <a:pt x="0" y="168"/>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12">
              <a:extLst>
                <a:ext uri="{FF2B5EF4-FFF2-40B4-BE49-F238E27FC236}">
                  <a16:creationId xmlns:a16="http://schemas.microsoft.com/office/drawing/2014/main" id="{3B75F582-AFFD-6840-BA56-A44D2DFA3D0A}"/>
                </a:ext>
              </a:extLst>
            </p:cNvPr>
            <p:cNvSpPr>
              <a:spLocks/>
            </p:cNvSpPr>
            <p:nvPr/>
          </p:nvSpPr>
          <p:spPr bwMode="auto">
            <a:xfrm>
              <a:off x="6586534" y="11938744"/>
              <a:ext cx="254000" cy="14288"/>
            </a:xfrm>
            <a:custGeom>
              <a:avLst/>
              <a:gdLst>
                <a:gd name="T0" fmla="*/ 94 w 94"/>
                <a:gd name="T1" fmla="*/ 5 h 5"/>
                <a:gd name="T2" fmla="*/ 80 w 94"/>
                <a:gd name="T3" fmla="*/ 4 h 5"/>
                <a:gd name="T4" fmla="*/ 73 w 94"/>
                <a:gd name="T5" fmla="*/ 4 h 5"/>
                <a:gd name="T6" fmla="*/ 65 w 94"/>
                <a:gd name="T7" fmla="*/ 3 h 5"/>
                <a:gd name="T8" fmla="*/ 47 w 94"/>
                <a:gd name="T9" fmla="*/ 2 h 5"/>
                <a:gd name="T10" fmla="*/ 13 w 94"/>
                <a:gd name="T11" fmla="*/ 2 h 5"/>
                <a:gd name="T12" fmla="*/ 0 w 94"/>
                <a:gd name="T13" fmla="*/ 1 h 5"/>
                <a:gd name="T14" fmla="*/ 13 w 94"/>
                <a:gd name="T15" fmla="*/ 0 h 5"/>
                <a:gd name="T16" fmla="*/ 47 w 94"/>
                <a:gd name="T17" fmla="*/ 0 h 5"/>
                <a:gd name="T18" fmla="*/ 65 w 94"/>
                <a:gd name="T19" fmla="*/ 1 h 5"/>
                <a:gd name="T20" fmla="*/ 73 w 94"/>
                <a:gd name="T21" fmla="*/ 2 h 5"/>
                <a:gd name="T22" fmla="*/ 80 w 94"/>
                <a:gd name="T23" fmla="*/ 3 h 5"/>
                <a:gd name="T24" fmla="*/ 94 w 94"/>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5">
                  <a:moveTo>
                    <a:pt x="94" y="5"/>
                  </a:moveTo>
                  <a:cubicBezTo>
                    <a:pt x="93" y="5"/>
                    <a:pt x="88" y="5"/>
                    <a:pt x="80" y="4"/>
                  </a:cubicBezTo>
                  <a:cubicBezTo>
                    <a:pt x="78" y="4"/>
                    <a:pt x="75" y="4"/>
                    <a:pt x="73" y="4"/>
                  </a:cubicBezTo>
                  <a:cubicBezTo>
                    <a:pt x="70" y="3"/>
                    <a:pt x="68" y="3"/>
                    <a:pt x="65" y="3"/>
                  </a:cubicBezTo>
                  <a:cubicBezTo>
                    <a:pt x="59" y="3"/>
                    <a:pt x="53" y="3"/>
                    <a:pt x="47" y="2"/>
                  </a:cubicBezTo>
                  <a:cubicBezTo>
                    <a:pt x="34" y="2"/>
                    <a:pt x="22" y="2"/>
                    <a:pt x="13" y="2"/>
                  </a:cubicBezTo>
                  <a:cubicBezTo>
                    <a:pt x="5" y="1"/>
                    <a:pt x="0" y="1"/>
                    <a:pt x="0" y="1"/>
                  </a:cubicBezTo>
                  <a:cubicBezTo>
                    <a:pt x="0" y="1"/>
                    <a:pt x="5" y="0"/>
                    <a:pt x="13" y="0"/>
                  </a:cubicBezTo>
                  <a:cubicBezTo>
                    <a:pt x="22" y="0"/>
                    <a:pt x="34" y="0"/>
                    <a:pt x="47" y="0"/>
                  </a:cubicBezTo>
                  <a:cubicBezTo>
                    <a:pt x="53" y="1"/>
                    <a:pt x="59" y="1"/>
                    <a:pt x="65" y="1"/>
                  </a:cubicBezTo>
                  <a:cubicBezTo>
                    <a:pt x="68" y="1"/>
                    <a:pt x="70" y="2"/>
                    <a:pt x="73" y="2"/>
                  </a:cubicBezTo>
                  <a:cubicBezTo>
                    <a:pt x="75" y="2"/>
                    <a:pt x="78" y="2"/>
                    <a:pt x="80" y="3"/>
                  </a:cubicBezTo>
                  <a:cubicBezTo>
                    <a:pt x="88" y="4"/>
                    <a:pt x="94" y="4"/>
                    <a:pt x="94" y="5"/>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13">
              <a:extLst>
                <a:ext uri="{FF2B5EF4-FFF2-40B4-BE49-F238E27FC236}">
                  <a16:creationId xmlns:a16="http://schemas.microsoft.com/office/drawing/2014/main" id="{B10039E5-6E2F-4240-AD5F-EA2640F0DD81}"/>
                </a:ext>
              </a:extLst>
            </p:cNvPr>
            <p:cNvSpPr>
              <a:spLocks/>
            </p:cNvSpPr>
            <p:nvPr/>
          </p:nvSpPr>
          <p:spPr bwMode="auto">
            <a:xfrm>
              <a:off x="5938834" y="11616481"/>
              <a:ext cx="969962" cy="790575"/>
            </a:xfrm>
            <a:custGeom>
              <a:avLst/>
              <a:gdLst>
                <a:gd name="T0" fmla="*/ 351 w 357"/>
                <a:gd name="T1" fmla="*/ 290 h 292"/>
                <a:gd name="T2" fmla="*/ 354 w 357"/>
                <a:gd name="T3" fmla="*/ 262 h 292"/>
                <a:gd name="T4" fmla="*/ 355 w 357"/>
                <a:gd name="T5" fmla="*/ 227 h 292"/>
                <a:gd name="T6" fmla="*/ 354 w 357"/>
                <a:gd name="T7" fmla="*/ 180 h 292"/>
                <a:gd name="T8" fmla="*/ 351 w 357"/>
                <a:gd name="T9" fmla="*/ 153 h 292"/>
                <a:gd name="T10" fmla="*/ 332 w 357"/>
                <a:gd name="T11" fmla="*/ 61 h 292"/>
                <a:gd name="T12" fmla="*/ 328 w 357"/>
                <a:gd name="T13" fmla="*/ 54 h 292"/>
                <a:gd name="T14" fmla="*/ 318 w 357"/>
                <a:gd name="T15" fmla="*/ 39 h 292"/>
                <a:gd name="T16" fmla="*/ 297 w 357"/>
                <a:gd name="T17" fmla="*/ 22 h 292"/>
                <a:gd name="T18" fmla="*/ 205 w 357"/>
                <a:gd name="T19" fmla="*/ 4 h 292"/>
                <a:gd name="T20" fmla="*/ 140 w 357"/>
                <a:gd name="T21" fmla="*/ 40 h 292"/>
                <a:gd name="T22" fmla="*/ 124 w 357"/>
                <a:gd name="T23" fmla="*/ 82 h 292"/>
                <a:gd name="T24" fmla="*/ 121 w 357"/>
                <a:gd name="T25" fmla="*/ 99 h 292"/>
                <a:gd name="T26" fmla="*/ 110 w 357"/>
                <a:gd name="T27" fmla="*/ 172 h 292"/>
                <a:gd name="T28" fmla="*/ 58 w 357"/>
                <a:gd name="T29" fmla="*/ 261 h 292"/>
                <a:gd name="T30" fmla="*/ 8 w 357"/>
                <a:gd name="T31" fmla="*/ 288 h 292"/>
                <a:gd name="T32" fmla="*/ 0 w 357"/>
                <a:gd name="T33" fmla="*/ 290 h 292"/>
                <a:gd name="T34" fmla="*/ 8 w 357"/>
                <a:gd name="T35" fmla="*/ 288 h 292"/>
                <a:gd name="T36" fmla="*/ 57 w 357"/>
                <a:gd name="T37" fmla="*/ 260 h 292"/>
                <a:gd name="T38" fmla="*/ 109 w 357"/>
                <a:gd name="T39" fmla="*/ 172 h 292"/>
                <a:gd name="T40" fmla="*/ 119 w 357"/>
                <a:gd name="T41" fmla="*/ 99 h 292"/>
                <a:gd name="T42" fmla="*/ 122 w 357"/>
                <a:gd name="T43" fmla="*/ 81 h 292"/>
                <a:gd name="T44" fmla="*/ 139 w 357"/>
                <a:gd name="T45" fmla="*/ 39 h 292"/>
                <a:gd name="T46" fmla="*/ 205 w 357"/>
                <a:gd name="T47" fmla="*/ 2 h 292"/>
                <a:gd name="T48" fmla="*/ 298 w 357"/>
                <a:gd name="T49" fmla="*/ 20 h 292"/>
                <a:gd name="T50" fmla="*/ 319 w 357"/>
                <a:gd name="T51" fmla="*/ 38 h 292"/>
                <a:gd name="T52" fmla="*/ 329 w 357"/>
                <a:gd name="T53" fmla="*/ 53 h 292"/>
                <a:gd name="T54" fmla="*/ 334 w 357"/>
                <a:gd name="T55" fmla="*/ 60 h 292"/>
                <a:gd name="T56" fmla="*/ 353 w 357"/>
                <a:gd name="T57" fmla="*/ 153 h 292"/>
                <a:gd name="T58" fmla="*/ 355 w 357"/>
                <a:gd name="T59" fmla="*/ 180 h 292"/>
                <a:gd name="T60" fmla="*/ 356 w 357"/>
                <a:gd name="T61" fmla="*/ 227 h 292"/>
                <a:gd name="T62" fmla="*/ 354 w 357"/>
                <a:gd name="T63" fmla="*/ 262 h 292"/>
                <a:gd name="T64" fmla="*/ 352 w 357"/>
                <a:gd name="T65" fmla="*/ 2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292">
                  <a:moveTo>
                    <a:pt x="351" y="292"/>
                  </a:moveTo>
                  <a:cubicBezTo>
                    <a:pt x="351" y="292"/>
                    <a:pt x="351" y="292"/>
                    <a:pt x="351" y="290"/>
                  </a:cubicBezTo>
                  <a:cubicBezTo>
                    <a:pt x="351" y="289"/>
                    <a:pt x="352" y="287"/>
                    <a:pt x="352" y="285"/>
                  </a:cubicBezTo>
                  <a:cubicBezTo>
                    <a:pt x="352" y="279"/>
                    <a:pt x="353" y="272"/>
                    <a:pt x="354" y="262"/>
                  </a:cubicBezTo>
                  <a:cubicBezTo>
                    <a:pt x="354" y="257"/>
                    <a:pt x="355" y="252"/>
                    <a:pt x="355" y="246"/>
                  </a:cubicBezTo>
                  <a:cubicBezTo>
                    <a:pt x="355" y="240"/>
                    <a:pt x="355" y="234"/>
                    <a:pt x="355" y="227"/>
                  </a:cubicBezTo>
                  <a:cubicBezTo>
                    <a:pt x="355" y="220"/>
                    <a:pt x="355" y="213"/>
                    <a:pt x="355" y="205"/>
                  </a:cubicBezTo>
                  <a:cubicBezTo>
                    <a:pt x="355" y="197"/>
                    <a:pt x="354" y="189"/>
                    <a:pt x="354" y="180"/>
                  </a:cubicBezTo>
                  <a:cubicBezTo>
                    <a:pt x="353" y="176"/>
                    <a:pt x="353" y="171"/>
                    <a:pt x="353" y="167"/>
                  </a:cubicBezTo>
                  <a:cubicBezTo>
                    <a:pt x="352" y="162"/>
                    <a:pt x="352" y="158"/>
                    <a:pt x="351" y="153"/>
                  </a:cubicBezTo>
                  <a:cubicBezTo>
                    <a:pt x="350" y="144"/>
                    <a:pt x="349" y="134"/>
                    <a:pt x="348" y="124"/>
                  </a:cubicBezTo>
                  <a:cubicBezTo>
                    <a:pt x="345" y="104"/>
                    <a:pt x="342" y="82"/>
                    <a:pt x="332" y="61"/>
                  </a:cubicBezTo>
                  <a:cubicBezTo>
                    <a:pt x="330" y="57"/>
                    <a:pt x="330" y="57"/>
                    <a:pt x="330" y="57"/>
                  </a:cubicBezTo>
                  <a:cubicBezTo>
                    <a:pt x="329" y="56"/>
                    <a:pt x="329" y="55"/>
                    <a:pt x="328" y="54"/>
                  </a:cubicBezTo>
                  <a:cubicBezTo>
                    <a:pt x="326" y="51"/>
                    <a:pt x="325" y="49"/>
                    <a:pt x="323" y="46"/>
                  </a:cubicBezTo>
                  <a:cubicBezTo>
                    <a:pt x="321" y="44"/>
                    <a:pt x="319" y="42"/>
                    <a:pt x="318" y="39"/>
                  </a:cubicBezTo>
                  <a:cubicBezTo>
                    <a:pt x="316" y="37"/>
                    <a:pt x="314" y="35"/>
                    <a:pt x="312" y="33"/>
                  </a:cubicBezTo>
                  <a:cubicBezTo>
                    <a:pt x="307" y="29"/>
                    <a:pt x="302" y="25"/>
                    <a:pt x="297" y="22"/>
                  </a:cubicBezTo>
                  <a:cubicBezTo>
                    <a:pt x="292" y="19"/>
                    <a:pt x="287" y="16"/>
                    <a:pt x="281" y="14"/>
                  </a:cubicBezTo>
                  <a:cubicBezTo>
                    <a:pt x="258" y="5"/>
                    <a:pt x="231" y="2"/>
                    <a:pt x="205" y="4"/>
                  </a:cubicBezTo>
                  <a:cubicBezTo>
                    <a:pt x="192" y="6"/>
                    <a:pt x="179" y="9"/>
                    <a:pt x="168" y="15"/>
                  </a:cubicBezTo>
                  <a:cubicBezTo>
                    <a:pt x="157" y="21"/>
                    <a:pt x="147" y="29"/>
                    <a:pt x="140" y="40"/>
                  </a:cubicBezTo>
                  <a:cubicBezTo>
                    <a:pt x="134" y="50"/>
                    <a:pt x="129" y="61"/>
                    <a:pt x="126" y="73"/>
                  </a:cubicBezTo>
                  <a:cubicBezTo>
                    <a:pt x="125" y="76"/>
                    <a:pt x="125" y="79"/>
                    <a:pt x="124" y="82"/>
                  </a:cubicBezTo>
                  <a:cubicBezTo>
                    <a:pt x="123" y="85"/>
                    <a:pt x="123" y="87"/>
                    <a:pt x="122" y="90"/>
                  </a:cubicBezTo>
                  <a:cubicBezTo>
                    <a:pt x="122" y="93"/>
                    <a:pt x="121" y="96"/>
                    <a:pt x="121" y="99"/>
                  </a:cubicBezTo>
                  <a:cubicBezTo>
                    <a:pt x="121" y="102"/>
                    <a:pt x="120" y="105"/>
                    <a:pt x="120" y="108"/>
                  </a:cubicBezTo>
                  <a:cubicBezTo>
                    <a:pt x="117" y="130"/>
                    <a:pt x="116" y="152"/>
                    <a:pt x="110" y="172"/>
                  </a:cubicBezTo>
                  <a:cubicBezTo>
                    <a:pt x="105" y="192"/>
                    <a:pt x="97" y="210"/>
                    <a:pt x="88" y="225"/>
                  </a:cubicBezTo>
                  <a:cubicBezTo>
                    <a:pt x="79" y="239"/>
                    <a:pt x="68" y="251"/>
                    <a:pt x="58" y="261"/>
                  </a:cubicBezTo>
                  <a:cubicBezTo>
                    <a:pt x="48" y="270"/>
                    <a:pt x="37" y="276"/>
                    <a:pt x="29" y="280"/>
                  </a:cubicBezTo>
                  <a:cubicBezTo>
                    <a:pt x="20" y="284"/>
                    <a:pt x="13" y="287"/>
                    <a:pt x="8" y="288"/>
                  </a:cubicBezTo>
                  <a:cubicBezTo>
                    <a:pt x="5" y="289"/>
                    <a:pt x="4" y="289"/>
                    <a:pt x="2" y="290"/>
                  </a:cubicBezTo>
                  <a:cubicBezTo>
                    <a:pt x="1" y="290"/>
                    <a:pt x="0" y="290"/>
                    <a:pt x="0" y="290"/>
                  </a:cubicBezTo>
                  <a:cubicBezTo>
                    <a:pt x="0" y="290"/>
                    <a:pt x="1" y="290"/>
                    <a:pt x="2" y="289"/>
                  </a:cubicBezTo>
                  <a:cubicBezTo>
                    <a:pt x="3" y="289"/>
                    <a:pt x="5" y="288"/>
                    <a:pt x="8" y="288"/>
                  </a:cubicBezTo>
                  <a:cubicBezTo>
                    <a:pt x="13" y="286"/>
                    <a:pt x="20" y="284"/>
                    <a:pt x="28" y="279"/>
                  </a:cubicBezTo>
                  <a:cubicBezTo>
                    <a:pt x="37" y="275"/>
                    <a:pt x="47" y="269"/>
                    <a:pt x="57" y="260"/>
                  </a:cubicBezTo>
                  <a:cubicBezTo>
                    <a:pt x="68" y="250"/>
                    <a:pt x="78" y="239"/>
                    <a:pt x="87" y="224"/>
                  </a:cubicBezTo>
                  <a:cubicBezTo>
                    <a:pt x="96" y="209"/>
                    <a:pt x="103" y="191"/>
                    <a:pt x="109" y="172"/>
                  </a:cubicBezTo>
                  <a:cubicBezTo>
                    <a:pt x="114" y="152"/>
                    <a:pt x="115" y="130"/>
                    <a:pt x="118" y="107"/>
                  </a:cubicBezTo>
                  <a:cubicBezTo>
                    <a:pt x="118" y="104"/>
                    <a:pt x="119" y="102"/>
                    <a:pt x="119" y="99"/>
                  </a:cubicBezTo>
                  <a:cubicBezTo>
                    <a:pt x="119" y="96"/>
                    <a:pt x="120" y="93"/>
                    <a:pt x="120" y="90"/>
                  </a:cubicBezTo>
                  <a:cubicBezTo>
                    <a:pt x="121" y="87"/>
                    <a:pt x="121" y="84"/>
                    <a:pt x="122" y="81"/>
                  </a:cubicBezTo>
                  <a:cubicBezTo>
                    <a:pt x="123" y="78"/>
                    <a:pt x="123" y="75"/>
                    <a:pt x="124" y="72"/>
                  </a:cubicBezTo>
                  <a:cubicBezTo>
                    <a:pt x="127" y="61"/>
                    <a:pt x="132" y="49"/>
                    <a:pt x="139" y="39"/>
                  </a:cubicBezTo>
                  <a:cubicBezTo>
                    <a:pt x="146" y="28"/>
                    <a:pt x="155" y="19"/>
                    <a:pt x="167" y="13"/>
                  </a:cubicBezTo>
                  <a:cubicBezTo>
                    <a:pt x="179" y="7"/>
                    <a:pt x="192" y="4"/>
                    <a:pt x="205" y="2"/>
                  </a:cubicBezTo>
                  <a:cubicBezTo>
                    <a:pt x="231" y="0"/>
                    <a:pt x="258" y="3"/>
                    <a:pt x="282" y="12"/>
                  </a:cubicBezTo>
                  <a:cubicBezTo>
                    <a:pt x="287" y="14"/>
                    <a:pt x="293" y="17"/>
                    <a:pt x="298" y="20"/>
                  </a:cubicBezTo>
                  <a:cubicBezTo>
                    <a:pt x="304" y="24"/>
                    <a:pt x="308" y="27"/>
                    <a:pt x="313" y="31"/>
                  </a:cubicBezTo>
                  <a:cubicBezTo>
                    <a:pt x="315" y="34"/>
                    <a:pt x="317" y="36"/>
                    <a:pt x="319" y="38"/>
                  </a:cubicBezTo>
                  <a:cubicBezTo>
                    <a:pt x="321" y="40"/>
                    <a:pt x="323" y="43"/>
                    <a:pt x="325" y="45"/>
                  </a:cubicBezTo>
                  <a:cubicBezTo>
                    <a:pt x="326" y="47"/>
                    <a:pt x="328" y="50"/>
                    <a:pt x="329" y="53"/>
                  </a:cubicBezTo>
                  <a:cubicBezTo>
                    <a:pt x="330" y="54"/>
                    <a:pt x="331" y="55"/>
                    <a:pt x="332" y="56"/>
                  </a:cubicBezTo>
                  <a:cubicBezTo>
                    <a:pt x="334" y="60"/>
                    <a:pt x="334" y="60"/>
                    <a:pt x="334" y="60"/>
                  </a:cubicBezTo>
                  <a:cubicBezTo>
                    <a:pt x="344" y="81"/>
                    <a:pt x="347" y="103"/>
                    <a:pt x="350" y="123"/>
                  </a:cubicBezTo>
                  <a:cubicBezTo>
                    <a:pt x="351" y="134"/>
                    <a:pt x="352" y="143"/>
                    <a:pt x="353" y="153"/>
                  </a:cubicBezTo>
                  <a:cubicBezTo>
                    <a:pt x="353" y="158"/>
                    <a:pt x="354" y="162"/>
                    <a:pt x="354" y="167"/>
                  </a:cubicBezTo>
                  <a:cubicBezTo>
                    <a:pt x="355" y="171"/>
                    <a:pt x="355" y="176"/>
                    <a:pt x="355" y="180"/>
                  </a:cubicBezTo>
                  <a:cubicBezTo>
                    <a:pt x="356" y="189"/>
                    <a:pt x="356" y="197"/>
                    <a:pt x="356" y="205"/>
                  </a:cubicBezTo>
                  <a:cubicBezTo>
                    <a:pt x="357" y="213"/>
                    <a:pt x="356" y="220"/>
                    <a:pt x="356" y="227"/>
                  </a:cubicBezTo>
                  <a:cubicBezTo>
                    <a:pt x="356" y="234"/>
                    <a:pt x="356" y="240"/>
                    <a:pt x="356" y="246"/>
                  </a:cubicBezTo>
                  <a:cubicBezTo>
                    <a:pt x="355" y="252"/>
                    <a:pt x="355" y="257"/>
                    <a:pt x="354" y="262"/>
                  </a:cubicBezTo>
                  <a:cubicBezTo>
                    <a:pt x="353" y="272"/>
                    <a:pt x="353" y="279"/>
                    <a:pt x="352" y="285"/>
                  </a:cubicBezTo>
                  <a:cubicBezTo>
                    <a:pt x="352" y="287"/>
                    <a:pt x="352" y="289"/>
                    <a:pt x="352" y="290"/>
                  </a:cubicBezTo>
                  <a:cubicBezTo>
                    <a:pt x="351" y="292"/>
                    <a:pt x="351" y="292"/>
                    <a:pt x="351" y="292"/>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14">
              <a:extLst>
                <a:ext uri="{FF2B5EF4-FFF2-40B4-BE49-F238E27FC236}">
                  <a16:creationId xmlns:a16="http://schemas.microsoft.com/office/drawing/2014/main" id="{F7C835D1-8464-A14E-A926-5D60180C4977}"/>
                </a:ext>
              </a:extLst>
            </p:cNvPr>
            <p:cNvSpPr>
              <a:spLocks/>
            </p:cNvSpPr>
            <p:nvPr/>
          </p:nvSpPr>
          <p:spPr bwMode="auto">
            <a:xfrm>
              <a:off x="5697534" y="11889531"/>
              <a:ext cx="417512" cy="230188"/>
            </a:xfrm>
            <a:custGeom>
              <a:avLst/>
              <a:gdLst>
                <a:gd name="T0" fmla="*/ 0 w 154"/>
                <a:gd name="T1" fmla="*/ 85 h 85"/>
                <a:gd name="T2" fmla="*/ 116 w 154"/>
                <a:gd name="T3" fmla="*/ 80 h 85"/>
                <a:gd name="T4" fmla="*/ 153 w 154"/>
                <a:gd name="T5" fmla="*/ 40 h 85"/>
                <a:gd name="T6" fmla="*/ 115 w 154"/>
                <a:gd name="T7" fmla="*/ 2 h 85"/>
                <a:gd name="T8" fmla="*/ 52 w 154"/>
                <a:gd name="T9" fmla="*/ 0 h 85"/>
                <a:gd name="T10" fmla="*/ 0 w 154"/>
                <a:gd name="T11" fmla="*/ 85 h 85"/>
              </a:gdLst>
              <a:ahLst/>
              <a:cxnLst>
                <a:cxn ang="0">
                  <a:pos x="T0" y="T1"/>
                </a:cxn>
                <a:cxn ang="0">
                  <a:pos x="T2" y="T3"/>
                </a:cxn>
                <a:cxn ang="0">
                  <a:pos x="T4" y="T5"/>
                </a:cxn>
                <a:cxn ang="0">
                  <a:pos x="T6" y="T7"/>
                </a:cxn>
                <a:cxn ang="0">
                  <a:pos x="T8" y="T9"/>
                </a:cxn>
                <a:cxn ang="0">
                  <a:pos x="T10" y="T11"/>
                </a:cxn>
              </a:cxnLst>
              <a:rect l="0" t="0" r="r" b="b"/>
              <a:pathLst>
                <a:path w="154" h="85">
                  <a:moveTo>
                    <a:pt x="0" y="85"/>
                  </a:moveTo>
                  <a:cubicBezTo>
                    <a:pt x="116" y="80"/>
                    <a:pt x="116" y="80"/>
                    <a:pt x="116" y="80"/>
                  </a:cubicBezTo>
                  <a:cubicBezTo>
                    <a:pt x="137" y="80"/>
                    <a:pt x="154" y="61"/>
                    <a:pt x="153" y="40"/>
                  </a:cubicBezTo>
                  <a:cubicBezTo>
                    <a:pt x="153" y="19"/>
                    <a:pt x="136" y="2"/>
                    <a:pt x="115" y="2"/>
                  </a:cubicBezTo>
                  <a:cubicBezTo>
                    <a:pt x="52" y="0"/>
                    <a:pt x="52" y="0"/>
                    <a:pt x="52" y="0"/>
                  </a:cubicBezTo>
                  <a:lnTo>
                    <a:pt x="0" y="85"/>
                  </a:lnTo>
                  <a:close/>
                </a:path>
              </a:pathLst>
            </a:custGeom>
            <a:gradFill>
              <a:gsLst>
                <a:gs pos="0">
                  <a:schemeClr val="accent1">
                    <a:lumMod val="60000"/>
                    <a:lumOff val="40000"/>
                  </a:schemeClr>
                </a:gs>
                <a:gs pos="69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3" name="Picture 319">
              <a:extLst>
                <a:ext uri="{FF2B5EF4-FFF2-40B4-BE49-F238E27FC236}">
                  <a16:creationId xmlns:a16="http://schemas.microsoft.com/office/drawing/2014/main" id="{984E1DB8-E679-3141-85FB-9DCC9BA023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8309" y="11421219"/>
              <a:ext cx="152400"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327">
              <a:extLst>
                <a:ext uri="{FF2B5EF4-FFF2-40B4-BE49-F238E27FC236}">
                  <a16:creationId xmlns:a16="http://schemas.microsoft.com/office/drawing/2014/main" id="{91861932-6721-AB4B-AB75-FF19AE7F81E0}"/>
                </a:ext>
              </a:extLst>
            </p:cNvPr>
            <p:cNvSpPr>
              <a:spLocks/>
            </p:cNvSpPr>
            <p:nvPr/>
          </p:nvSpPr>
          <p:spPr bwMode="auto">
            <a:xfrm>
              <a:off x="5546722" y="10670331"/>
              <a:ext cx="596900" cy="785813"/>
            </a:xfrm>
            <a:custGeom>
              <a:avLst/>
              <a:gdLst>
                <a:gd name="T0" fmla="*/ 218 w 218"/>
                <a:gd name="T1" fmla="*/ 0 h 289"/>
                <a:gd name="T2" fmla="*/ 217 w 218"/>
                <a:gd name="T3" fmla="*/ 0 h 289"/>
                <a:gd name="T4" fmla="*/ 214 w 218"/>
                <a:gd name="T5" fmla="*/ 1 h 289"/>
                <a:gd name="T6" fmla="*/ 202 w 218"/>
                <a:gd name="T7" fmla="*/ 5 h 289"/>
                <a:gd name="T8" fmla="*/ 194 w 218"/>
                <a:gd name="T9" fmla="*/ 7 h 289"/>
                <a:gd name="T10" fmla="*/ 184 w 218"/>
                <a:gd name="T11" fmla="*/ 11 h 289"/>
                <a:gd name="T12" fmla="*/ 173 w 218"/>
                <a:gd name="T13" fmla="*/ 16 h 289"/>
                <a:gd name="T14" fmla="*/ 162 w 218"/>
                <a:gd name="T15" fmla="*/ 23 h 289"/>
                <a:gd name="T16" fmla="*/ 141 w 218"/>
                <a:gd name="T17" fmla="*/ 45 h 289"/>
                <a:gd name="T18" fmla="*/ 132 w 218"/>
                <a:gd name="T19" fmla="*/ 79 h 289"/>
                <a:gd name="T20" fmla="*/ 134 w 218"/>
                <a:gd name="T21" fmla="*/ 117 h 289"/>
                <a:gd name="T22" fmla="*/ 135 w 218"/>
                <a:gd name="T23" fmla="*/ 160 h 289"/>
                <a:gd name="T24" fmla="*/ 128 w 218"/>
                <a:gd name="T25" fmla="*/ 201 h 289"/>
                <a:gd name="T26" fmla="*/ 125 w 218"/>
                <a:gd name="T27" fmla="*/ 211 h 289"/>
                <a:gd name="T28" fmla="*/ 121 w 218"/>
                <a:gd name="T29" fmla="*/ 220 h 289"/>
                <a:gd name="T30" fmla="*/ 119 w 218"/>
                <a:gd name="T31" fmla="*/ 224 h 289"/>
                <a:gd name="T32" fmla="*/ 116 w 218"/>
                <a:gd name="T33" fmla="*/ 229 h 289"/>
                <a:gd name="T34" fmla="*/ 114 w 218"/>
                <a:gd name="T35" fmla="*/ 233 h 289"/>
                <a:gd name="T36" fmla="*/ 111 w 218"/>
                <a:gd name="T37" fmla="*/ 237 h 289"/>
                <a:gd name="T38" fmla="*/ 60 w 218"/>
                <a:gd name="T39" fmla="*/ 278 h 289"/>
                <a:gd name="T40" fmla="*/ 36 w 218"/>
                <a:gd name="T41" fmla="*/ 286 h 289"/>
                <a:gd name="T42" fmla="*/ 25 w 218"/>
                <a:gd name="T43" fmla="*/ 288 h 289"/>
                <a:gd name="T44" fmla="*/ 16 w 218"/>
                <a:gd name="T45" fmla="*/ 289 h 289"/>
                <a:gd name="T46" fmla="*/ 9 w 218"/>
                <a:gd name="T47" fmla="*/ 289 h 289"/>
                <a:gd name="T48" fmla="*/ 4 w 218"/>
                <a:gd name="T49" fmla="*/ 288 h 289"/>
                <a:gd name="T50" fmla="*/ 1 w 218"/>
                <a:gd name="T51" fmla="*/ 288 h 289"/>
                <a:gd name="T52" fmla="*/ 0 w 218"/>
                <a:gd name="T53" fmla="*/ 288 h 289"/>
                <a:gd name="T54" fmla="*/ 1 w 218"/>
                <a:gd name="T55" fmla="*/ 288 h 289"/>
                <a:gd name="T56" fmla="*/ 4 w 218"/>
                <a:gd name="T57" fmla="*/ 288 h 289"/>
                <a:gd name="T58" fmla="*/ 9 w 218"/>
                <a:gd name="T59" fmla="*/ 288 h 289"/>
                <a:gd name="T60" fmla="*/ 16 w 218"/>
                <a:gd name="T61" fmla="*/ 288 h 289"/>
                <a:gd name="T62" fmla="*/ 25 w 218"/>
                <a:gd name="T63" fmla="*/ 287 h 289"/>
                <a:gd name="T64" fmla="*/ 35 w 218"/>
                <a:gd name="T65" fmla="*/ 285 h 289"/>
                <a:gd name="T66" fmla="*/ 59 w 218"/>
                <a:gd name="T67" fmla="*/ 277 h 289"/>
                <a:gd name="T68" fmla="*/ 110 w 218"/>
                <a:gd name="T69" fmla="*/ 236 h 289"/>
                <a:gd name="T70" fmla="*/ 112 w 218"/>
                <a:gd name="T71" fmla="*/ 232 h 289"/>
                <a:gd name="T72" fmla="*/ 115 w 218"/>
                <a:gd name="T73" fmla="*/ 228 h 289"/>
                <a:gd name="T74" fmla="*/ 117 w 218"/>
                <a:gd name="T75" fmla="*/ 224 h 289"/>
                <a:gd name="T76" fmla="*/ 119 w 218"/>
                <a:gd name="T77" fmla="*/ 219 h 289"/>
                <a:gd name="T78" fmla="*/ 123 w 218"/>
                <a:gd name="T79" fmla="*/ 210 h 289"/>
                <a:gd name="T80" fmla="*/ 126 w 218"/>
                <a:gd name="T81" fmla="*/ 201 h 289"/>
                <a:gd name="T82" fmla="*/ 133 w 218"/>
                <a:gd name="T83" fmla="*/ 159 h 289"/>
                <a:gd name="T84" fmla="*/ 132 w 218"/>
                <a:gd name="T85" fmla="*/ 118 h 289"/>
                <a:gd name="T86" fmla="*/ 130 w 218"/>
                <a:gd name="T87" fmla="*/ 78 h 289"/>
                <a:gd name="T88" fmla="*/ 139 w 218"/>
                <a:gd name="T89" fmla="*/ 44 h 289"/>
                <a:gd name="T90" fmla="*/ 161 w 218"/>
                <a:gd name="T91" fmla="*/ 22 h 289"/>
                <a:gd name="T92" fmla="*/ 172 w 218"/>
                <a:gd name="T93" fmla="*/ 15 h 289"/>
                <a:gd name="T94" fmla="*/ 183 w 218"/>
                <a:gd name="T95" fmla="*/ 10 h 289"/>
                <a:gd name="T96" fmla="*/ 193 w 218"/>
                <a:gd name="T97" fmla="*/ 6 h 289"/>
                <a:gd name="T98" fmla="*/ 202 w 218"/>
                <a:gd name="T99" fmla="*/ 4 h 289"/>
                <a:gd name="T100" fmla="*/ 213 w 218"/>
                <a:gd name="T101" fmla="*/ 1 h 289"/>
                <a:gd name="T102" fmla="*/ 216 w 218"/>
                <a:gd name="T103" fmla="*/ 0 h 289"/>
                <a:gd name="T104" fmla="*/ 218 w 218"/>
                <a:gd name="T105"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289">
                  <a:moveTo>
                    <a:pt x="218" y="0"/>
                  </a:moveTo>
                  <a:cubicBezTo>
                    <a:pt x="218" y="0"/>
                    <a:pt x="217" y="0"/>
                    <a:pt x="217" y="0"/>
                  </a:cubicBezTo>
                  <a:cubicBezTo>
                    <a:pt x="216" y="0"/>
                    <a:pt x="215" y="1"/>
                    <a:pt x="214" y="1"/>
                  </a:cubicBezTo>
                  <a:cubicBezTo>
                    <a:pt x="211" y="2"/>
                    <a:pt x="207" y="3"/>
                    <a:pt x="202" y="5"/>
                  </a:cubicBezTo>
                  <a:cubicBezTo>
                    <a:pt x="199" y="5"/>
                    <a:pt x="197" y="6"/>
                    <a:pt x="194" y="7"/>
                  </a:cubicBezTo>
                  <a:cubicBezTo>
                    <a:pt x="191" y="8"/>
                    <a:pt x="187" y="10"/>
                    <a:pt x="184" y="11"/>
                  </a:cubicBezTo>
                  <a:cubicBezTo>
                    <a:pt x="180" y="12"/>
                    <a:pt x="177" y="14"/>
                    <a:pt x="173" y="16"/>
                  </a:cubicBezTo>
                  <a:cubicBezTo>
                    <a:pt x="169" y="18"/>
                    <a:pt x="165" y="20"/>
                    <a:pt x="162" y="23"/>
                  </a:cubicBezTo>
                  <a:cubicBezTo>
                    <a:pt x="154" y="28"/>
                    <a:pt x="146" y="36"/>
                    <a:pt x="141" y="45"/>
                  </a:cubicBezTo>
                  <a:cubicBezTo>
                    <a:pt x="135" y="55"/>
                    <a:pt x="132" y="66"/>
                    <a:pt x="132" y="79"/>
                  </a:cubicBezTo>
                  <a:cubicBezTo>
                    <a:pt x="131" y="91"/>
                    <a:pt x="133" y="104"/>
                    <a:pt x="134" y="117"/>
                  </a:cubicBezTo>
                  <a:cubicBezTo>
                    <a:pt x="135" y="131"/>
                    <a:pt x="136" y="145"/>
                    <a:pt x="135" y="160"/>
                  </a:cubicBezTo>
                  <a:cubicBezTo>
                    <a:pt x="134" y="174"/>
                    <a:pt x="132" y="188"/>
                    <a:pt x="128" y="201"/>
                  </a:cubicBezTo>
                  <a:cubicBezTo>
                    <a:pt x="127" y="204"/>
                    <a:pt x="126" y="208"/>
                    <a:pt x="125" y="211"/>
                  </a:cubicBezTo>
                  <a:cubicBezTo>
                    <a:pt x="124" y="214"/>
                    <a:pt x="122" y="217"/>
                    <a:pt x="121" y="220"/>
                  </a:cubicBezTo>
                  <a:cubicBezTo>
                    <a:pt x="120" y="221"/>
                    <a:pt x="119" y="223"/>
                    <a:pt x="119" y="224"/>
                  </a:cubicBezTo>
                  <a:cubicBezTo>
                    <a:pt x="118" y="226"/>
                    <a:pt x="117" y="227"/>
                    <a:pt x="116" y="229"/>
                  </a:cubicBezTo>
                  <a:cubicBezTo>
                    <a:pt x="115" y="230"/>
                    <a:pt x="115" y="231"/>
                    <a:pt x="114" y="233"/>
                  </a:cubicBezTo>
                  <a:cubicBezTo>
                    <a:pt x="113" y="234"/>
                    <a:pt x="112" y="235"/>
                    <a:pt x="111" y="237"/>
                  </a:cubicBezTo>
                  <a:cubicBezTo>
                    <a:pt x="97" y="257"/>
                    <a:pt x="77" y="271"/>
                    <a:pt x="60" y="278"/>
                  </a:cubicBezTo>
                  <a:cubicBezTo>
                    <a:pt x="51" y="282"/>
                    <a:pt x="43" y="285"/>
                    <a:pt x="36" y="286"/>
                  </a:cubicBezTo>
                  <a:cubicBezTo>
                    <a:pt x="32" y="287"/>
                    <a:pt x="28" y="288"/>
                    <a:pt x="25" y="288"/>
                  </a:cubicBezTo>
                  <a:cubicBezTo>
                    <a:pt x="22" y="288"/>
                    <a:pt x="19" y="289"/>
                    <a:pt x="16" y="289"/>
                  </a:cubicBezTo>
                  <a:cubicBezTo>
                    <a:pt x="14" y="289"/>
                    <a:pt x="11" y="289"/>
                    <a:pt x="9" y="289"/>
                  </a:cubicBezTo>
                  <a:cubicBezTo>
                    <a:pt x="7" y="289"/>
                    <a:pt x="6" y="288"/>
                    <a:pt x="4" y="288"/>
                  </a:cubicBezTo>
                  <a:cubicBezTo>
                    <a:pt x="3" y="288"/>
                    <a:pt x="2" y="288"/>
                    <a:pt x="1" y="288"/>
                  </a:cubicBezTo>
                  <a:cubicBezTo>
                    <a:pt x="0" y="288"/>
                    <a:pt x="0" y="288"/>
                    <a:pt x="0" y="288"/>
                  </a:cubicBezTo>
                  <a:cubicBezTo>
                    <a:pt x="0" y="288"/>
                    <a:pt x="0" y="288"/>
                    <a:pt x="1" y="288"/>
                  </a:cubicBezTo>
                  <a:cubicBezTo>
                    <a:pt x="2" y="288"/>
                    <a:pt x="3" y="288"/>
                    <a:pt x="4" y="288"/>
                  </a:cubicBezTo>
                  <a:cubicBezTo>
                    <a:pt x="6" y="288"/>
                    <a:pt x="7" y="288"/>
                    <a:pt x="9" y="288"/>
                  </a:cubicBezTo>
                  <a:cubicBezTo>
                    <a:pt x="11" y="288"/>
                    <a:pt x="14" y="288"/>
                    <a:pt x="16" y="288"/>
                  </a:cubicBezTo>
                  <a:cubicBezTo>
                    <a:pt x="19" y="288"/>
                    <a:pt x="22" y="287"/>
                    <a:pt x="25" y="287"/>
                  </a:cubicBezTo>
                  <a:cubicBezTo>
                    <a:pt x="28" y="287"/>
                    <a:pt x="32" y="286"/>
                    <a:pt x="35" y="285"/>
                  </a:cubicBezTo>
                  <a:cubicBezTo>
                    <a:pt x="43" y="283"/>
                    <a:pt x="51" y="281"/>
                    <a:pt x="59" y="277"/>
                  </a:cubicBezTo>
                  <a:cubicBezTo>
                    <a:pt x="76" y="269"/>
                    <a:pt x="95" y="256"/>
                    <a:pt x="110" y="236"/>
                  </a:cubicBezTo>
                  <a:cubicBezTo>
                    <a:pt x="110" y="234"/>
                    <a:pt x="111" y="233"/>
                    <a:pt x="112" y="232"/>
                  </a:cubicBezTo>
                  <a:cubicBezTo>
                    <a:pt x="113" y="230"/>
                    <a:pt x="114" y="229"/>
                    <a:pt x="115" y="228"/>
                  </a:cubicBezTo>
                  <a:cubicBezTo>
                    <a:pt x="115" y="226"/>
                    <a:pt x="116" y="225"/>
                    <a:pt x="117" y="224"/>
                  </a:cubicBezTo>
                  <a:cubicBezTo>
                    <a:pt x="118" y="222"/>
                    <a:pt x="118" y="221"/>
                    <a:pt x="119" y="219"/>
                  </a:cubicBezTo>
                  <a:cubicBezTo>
                    <a:pt x="120" y="216"/>
                    <a:pt x="122" y="213"/>
                    <a:pt x="123" y="210"/>
                  </a:cubicBezTo>
                  <a:cubicBezTo>
                    <a:pt x="124" y="207"/>
                    <a:pt x="125" y="204"/>
                    <a:pt x="126" y="201"/>
                  </a:cubicBezTo>
                  <a:cubicBezTo>
                    <a:pt x="130" y="188"/>
                    <a:pt x="132" y="174"/>
                    <a:pt x="133" y="159"/>
                  </a:cubicBezTo>
                  <a:cubicBezTo>
                    <a:pt x="134" y="145"/>
                    <a:pt x="133" y="131"/>
                    <a:pt x="132" y="118"/>
                  </a:cubicBezTo>
                  <a:cubicBezTo>
                    <a:pt x="131" y="104"/>
                    <a:pt x="130" y="91"/>
                    <a:pt x="130" y="78"/>
                  </a:cubicBezTo>
                  <a:cubicBezTo>
                    <a:pt x="131" y="66"/>
                    <a:pt x="134" y="54"/>
                    <a:pt x="139" y="44"/>
                  </a:cubicBezTo>
                  <a:cubicBezTo>
                    <a:pt x="145" y="34"/>
                    <a:pt x="153" y="27"/>
                    <a:pt x="161" y="22"/>
                  </a:cubicBezTo>
                  <a:cubicBezTo>
                    <a:pt x="165" y="19"/>
                    <a:pt x="169" y="17"/>
                    <a:pt x="172" y="15"/>
                  </a:cubicBezTo>
                  <a:cubicBezTo>
                    <a:pt x="176" y="13"/>
                    <a:pt x="180" y="11"/>
                    <a:pt x="183" y="10"/>
                  </a:cubicBezTo>
                  <a:cubicBezTo>
                    <a:pt x="187" y="9"/>
                    <a:pt x="190" y="7"/>
                    <a:pt x="193" y="6"/>
                  </a:cubicBezTo>
                  <a:cubicBezTo>
                    <a:pt x="196" y="5"/>
                    <a:pt x="199" y="5"/>
                    <a:pt x="202" y="4"/>
                  </a:cubicBezTo>
                  <a:cubicBezTo>
                    <a:pt x="207" y="2"/>
                    <a:pt x="211" y="1"/>
                    <a:pt x="213" y="1"/>
                  </a:cubicBezTo>
                  <a:cubicBezTo>
                    <a:pt x="215" y="0"/>
                    <a:pt x="216" y="0"/>
                    <a:pt x="216" y="0"/>
                  </a:cubicBezTo>
                  <a:cubicBezTo>
                    <a:pt x="217" y="0"/>
                    <a:pt x="218" y="0"/>
                    <a:pt x="218" y="0"/>
                  </a:cubicBezTo>
                  <a:close/>
                </a:path>
              </a:pathLst>
            </a:custGeom>
            <a:solidFill>
              <a:srgbClr val="B4B3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5" name="Group 413">
            <a:extLst>
              <a:ext uri="{FF2B5EF4-FFF2-40B4-BE49-F238E27FC236}">
                <a16:creationId xmlns:a16="http://schemas.microsoft.com/office/drawing/2014/main" id="{21E68CFD-32E2-E94B-BE36-F53CE7EEAE26}"/>
              </a:ext>
            </a:extLst>
          </p:cNvPr>
          <p:cNvGrpSpPr/>
          <p:nvPr/>
        </p:nvGrpSpPr>
        <p:grpSpPr>
          <a:xfrm>
            <a:off x="560781" y="581184"/>
            <a:ext cx="5485270" cy="6123226"/>
            <a:chOff x="-1343478" y="-1394857"/>
            <a:chExt cx="5485270" cy="6123226"/>
          </a:xfrm>
          <a:solidFill>
            <a:srgbClr val="D0D1E1"/>
          </a:solidFill>
        </p:grpSpPr>
        <p:grpSp>
          <p:nvGrpSpPr>
            <p:cNvPr id="36" name="Group 383">
              <a:extLst>
                <a:ext uri="{FF2B5EF4-FFF2-40B4-BE49-F238E27FC236}">
                  <a16:creationId xmlns:a16="http://schemas.microsoft.com/office/drawing/2014/main" id="{2B7FEBA6-19B2-1D46-99B2-F5CA381C9685}"/>
                </a:ext>
              </a:extLst>
            </p:cNvPr>
            <p:cNvGrpSpPr/>
            <p:nvPr/>
          </p:nvGrpSpPr>
          <p:grpSpPr>
            <a:xfrm rot="12597560" flipH="1">
              <a:off x="-1343478" y="-360857"/>
              <a:ext cx="5485270" cy="4256452"/>
              <a:chOff x="2438400" y="1005871"/>
              <a:chExt cx="6414912" cy="4977834"/>
            </a:xfrm>
            <a:grpFill/>
          </p:grpSpPr>
          <p:cxnSp>
            <p:nvCxnSpPr>
              <p:cNvPr id="47" name="Straight Connector 394">
                <a:extLst>
                  <a:ext uri="{FF2B5EF4-FFF2-40B4-BE49-F238E27FC236}">
                    <a16:creationId xmlns:a16="http://schemas.microsoft.com/office/drawing/2014/main" id="{34B89977-FC9B-7149-99E1-FE84EDA74C94}"/>
                  </a:ext>
                </a:extLst>
              </p:cNvPr>
              <p:cNvCxnSpPr/>
              <p:nvPr/>
            </p:nvCxnSpPr>
            <p:spPr>
              <a:xfrm flipV="1">
                <a:off x="2614864" y="3850105"/>
                <a:ext cx="1411705" cy="2133600"/>
              </a:xfrm>
              <a:prstGeom prst="line">
                <a:avLst/>
              </a:prstGeom>
              <a:grpFill/>
              <a:ln w="6350" cap="flat" cmpd="sng" algn="ctr">
                <a:solidFill>
                  <a:schemeClr val="bg1">
                    <a:lumMod val="95000"/>
                  </a:schemeClr>
                </a:solidFill>
                <a:prstDash val="solid"/>
                <a:miter lim="800000"/>
              </a:ln>
              <a:effectLst/>
            </p:spPr>
          </p:cxnSp>
          <p:cxnSp>
            <p:nvCxnSpPr>
              <p:cNvPr id="48" name="Straight Connector 395">
                <a:extLst>
                  <a:ext uri="{FF2B5EF4-FFF2-40B4-BE49-F238E27FC236}">
                    <a16:creationId xmlns:a16="http://schemas.microsoft.com/office/drawing/2014/main" id="{7D83B235-76E2-2B48-B5AD-E9FF7584307B}"/>
                  </a:ext>
                </a:extLst>
              </p:cNvPr>
              <p:cNvCxnSpPr/>
              <p:nvPr/>
            </p:nvCxnSpPr>
            <p:spPr>
              <a:xfrm>
                <a:off x="4026569" y="3866147"/>
                <a:ext cx="1267327" cy="882316"/>
              </a:xfrm>
              <a:prstGeom prst="line">
                <a:avLst/>
              </a:prstGeom>
              <a:grpFill/>
              <a:ln w="6350" cap="flat" cmpd="sng" algn="ctr">
                <a:solidFill>
                  <a:schemeClr val="bg1">
                    <a:lumMod val="95000"/>
                  </a:schemeClr>
                </a:solidFill>
                <a:prstDash val="solid"/>
                <a:miter lim="800000"/>
              </a:ln>
              <a:effectLst/>
            </p:spPr>
          </p:cxnSp>
          <p:cxnSp>
            <p:nvCxnSpPr>
              <p:cNvPr id="49" name="Straight Connector 396">
                <a:extLst>
                  <a:ext uri="{FF2B5EF4-FFF2-40B4-BE49-F238E27FC236}">
                    <a16:creationId xmlns:a16="http://schemas.microsoft.com/office/drawing/2014/main" id="{591E9857-79E1-F849-BE75-68C71C9EE597}"/>
                  </a:ext>
                </a:extLst>
              </p:cNvPr>
              <p:cNvCxnSpPr/>
              <p:nvPr/>
            </p:nvCxnSpPr>
            <p:spPr>
              <a:xfrm flipH="1">
                <a:off x="2614864" y="4780546"/>
                <a:ext cx="2662990" cy="1199465"/>
              </a:xfrm>
              <a:prstGeom prst="line">
                <a:avLst/>
              </a:prstGeom>
              <a:grpFill/>
              <a:ln w="6350" cap="flat" cmpd="sng" algn="ctr">
                <a:solidFill>
                  <a:schemeClr val="bg1">
                    <a:lumMod val="95000"/>
                  </a:schemeClr>
                </a:solidFill>
                <a:prstDash val="solid"/>
                <a:miter lim="800000"/>
              </a:ln>
              <a:effectLst/>
            </p:spPr>
          </p:cxnSp>
          <p:cxnSp>
            <p:nvCxnSpPr>
              <p:cNvPr id="50" name="Straight Connector 397">
                <a:extLst>
                  <a:ext uri="{FF2B5EF4-FFF2-40B4-BE49-F238E27FC236}">
                    <a16:creationId xmlns:a16="http://schemas.microsoft.com/office/drawing/2014/main" id="{57A4373E-E2AB-5A43-8E11-3E2BF6F7EC0B}"/>
                  </a:ext>
                </a:extLst>
              </p:cNvPr>
              <p:cNvCxnSpPr/>
              <p:nvPr/>
            </p:nvCxnSpPr>
            <p:spPr>
              <a:xfrm>
                <a:off x="2470486" y="3850104"/>
                <a:ext cx="2823411" cy="914400"/>
              </a:xfrm>
              <a:prstGeom prst="line">
                <a:avLst/>
              </a:prstGeom>
              <a:grpFill/>
              <a:ln w="6350" cap="flat" cmpd="sng" algn="ctr">
                <a:solidFill>
                  <a:schemeClr val="bg1">
                    <a:lumMod val="95000"/>
                  </a:schemeClr>
                </a:solidFill>
                <a:prstDash val="solid"/>
                <a:miter lim="800000"/>
              </a:ln>
              <a:effectLst/>
            </p:spPr>
          </p:cxnSp>
          <p:cxnSp>
            <p:nvCxnSpPr>
              <p:cNvPr id="51" name="Straight Connector 398">
                <a:extLst>
                  <a:ext uri="{FF2B5EF4-FFF2-40B4-BE49-F238E27FC236}">
                    <a16:creationId xmlns:a16="http://schemas.microsoft.com/office/drawing/2014/main" id="{4C8D89D6-129F-3B46-B282-5311754CC4CF}"/>
                  </a:ext>
                </a:extLst>
              </p:cNvPr>
              <p:cNvCxnSpPr/>
              <p:nvPr/>
            </p:nvCxnSpPr>
            <p:spPr>
              <a:xfrm flipV="1">
                <a:off x="2438400" y="2823411"/>
                <a:ext cx="3834063" cy="1026694"/>
              </a:xfrm>
              <a:prstGeom prst="line">
                <a:avLst/>
              </a:prstGeom>
              <a:grpFill/>
              <a:ln w="6350" cap="flat" cmpd="sng" algn="ctr">
                <a:solidFill>
                  <a:schemeClr val="bg1">
                    <a:lumMod val="95000"/>
                  </a:schemeClr>
                </a:solidFill>
                <a:prstDash val="solid"/>
                <a:miter lim="800000"/>
              </a:ln>
              <a:effectLst/>
            </p:spPr>
          </p:cxnSp>
          <p:cxnSp>
            <p:nvCxnSpPr>
              <p:cNvPr id="52" name="Straight Connector 399">
                <a:extLst>
                  <a:ext uri="{FF2B5EF4-FFF2-40B4-BE49-F238E27FC236}">
                    <a16:creationId xmlns:a16="http://schemas.microsoft.com/office/drawing/2014/main" id="{55AC5502-1C4B-5E4F-A67E-0C8A168B1C23}"/>
                  </a:ext>
                </a:extLst>
              </p:cNvPr>
              <p:cNvCxnSpPr>
                <a:cxnSpLocks/>
              </p:cNvCxnSpPr>
              <p:nvPr/>
            </p:nvCxnSpPr>
            <p:spPr>
              <a:xfrm flipH="1" flipV="1">
                <a:off x="4660231" y="2180695"/>
                <a:ext cx="1666449" cy="649161"/>
              </a:xfrm>
              <a:prstGeom prst="line">
                <a:avLst/>
              </a:prstGeom>
              <a:grpFill/>
              <a:ln w="6350" cap="flat" cmpd="sng" algn="ctr">
                <a:solidFill>
                  <a:schemeClr val="bg1">
                    <a:lumMod val="95000"/>
                  </a:schemeClr>
                </a:solidFill>
                <a:prstDash val="solid"/>
                <a:miter lim="800000"/>
              </a:ln>
              <a:effectLst/>
            </p:spPr>
          </p:cxnSp>
          <p:cxnSp>
            <p:nvCxnSpPr>
              <p:cNvPr id="53" name="Straight Connector 400">
                <a:extLst>
                  <a:ext uri="{FF2B5EF4-FFF2-40B4-BE49-F238E27FC236}">
                    <a16:creationId xmlns:a16="http://schemas.microsoft.com/office/drawing/2014/main" id="{ADA08D0D-2DAF-6C47-933B-E464160BAFB1}"/>
                  </a:ext>
                </a:extLst>
              </p:cNvPr>
              <p:cNvCxnSpPr/>
              <p:nvPr/>
            </p:nvCxnSpPr>
            <p:spPr>
              <a:xfrm flipH="1">
                <a:off x="4026568" y="2130451"/>
                <a:ext cx="633663" cy="1732003"/>
              </a:xfrm>
              <a:prstGeom prst="line">
                <a:avLst/>
              </a:prstGeom>
              <a:grpFill/>
              <a:ln w="6350" cap="flat" cmpd="sng" algn="ctr">
                <a:solidFill>
                  <a:schemeClr val="bg1">
                    <a:lumMod val="95000"/>
                  </a:schemeClr>
                </a:solidFill>
                <a:prstDash val="solid"/>
                <a:miter lim="800000"/>
              </a:ln>
              <a:effectLst/>
            </p:spPr>
          </p:cxnSp>
          <p:cxnSp>
            <p:nvCxnSpPr>
              <p:cNvPr id="54" name="Straight Connector 401">
                <a:extLst>
                  <a:ext uri="{FF2B5EF4-FFF2-40B4-BE49-F238E27FC236}">
                    <a16:creationId xmlns:a16="http://schemas.microsoft.com/office/drawing/2014/main" id="{5586A012-4AF4-3F4B-939A-B5A1EC9AF6BE}"/>
                  </a:ext>
                </a:extLst>
              </p:cNvPr>
              <p:cNvCxnSpPr/>
              <p:nvPr/>
            </p:nvCxnSpPr>
            <p:spPr>
              <a:xfrm>
                <a:off x="4058654" y="3900351"/>
                <a:ext cx="3547859" cy="1029176"/>
              </a:xfrm>
              <a:prstGeom prst="line">
                <a:avLst/>
              </a:prstGeom>
              <a:grpFill/>
              <a:ln w="6350" cap="flat" cmpd="sng" algn="ctr">
                <a:solidFill>
                  <a:schemeClr val="bg1">
                    <a:lumMod val="95000"/>
                  </a:schemeClr>
                </a:solidFill>
                <a:prstDash val="solid"/>
                <a:miter lim="800000"/>
              </a:ln>
              <a:effectLst/>
            </p:spPr>
          </p:cxnSp>
          <p:cxnSp>
            <p:nvCxnSpPr>
              <p:cNvPr id="55" name="Straight Connector 402">
                <a:extLst>
                  <a:ext uri="{FF2B5EF4-FFF2-40B4-BE49-F238E27FC236}">
                    <a16:creationId xmlns:a16="http://schemas.microsoft.com/office/drawing/2014/main" id="{E765A574-6403-CB44-AC82-FDFE4D316B41}"/>
                  </a:ext>
                </a:extLst>
              </p:cNvPr>
              <p:cNvCxnSpPr>
                <a:cxnSpLocks/>
              </p:cNvCxnSpPr>
              <p:nvPr/>
            </p:nvCxnSpPr>
            <p:spPr>
              <a:xfrm>
                <a:off x="5293895" y="4752158"/>
                <a:ext cx="2423967" cy="206942"/>
              </a:xfrm>
              <a:prstGeom prst="line">
                <a:avLst/>
              </a:prstGeom>
              <a:grpFill/>
              <a:ln w="6350" cap="flat" cmpd="sng" algn="ctr">
                <a:solidFill>
                  <a:schemeClr val="bg1">
                    <a:lumMod val="95000"/>
                  </a:schemeClr>
                </a:solidFill>
                <a:prstDash val="solid"/>
                <a:miter lim="800000"/>
              </a:ln>
              <a:effectLst/>
            </p:spPr>
          </p:cxnSp>
          <p:cxnSp>
            <p:nvCxnSpPr>
              <p:cNvPr id="56" name="Straight Connector 403">
                <a:extLst>
                  <a:ext uri="{FF2B5EF4-FFF2-40B4-BE49-F238E27FC236}">
                    <a16:creationId xmlns:a16="http://schemas.microsoft.com/office/drawing/2014/main" id="{3ADC78C9-9C03-324E-80BF-4B6EE9F54720}"/>
                  </a:ext>
                </a:extLst>
              </p:cNvPr>
              <p:cNvCxnSpPr>
                <a:cxnSpLocks/>
              </p:cNvCxnSpPr>
              <p:nvPr/>
            </p:nvCxnSpPr>
            <p:spPr>
              <a:xfrm flipV="1">
                <a:off x="7720417" y="2374233"/>
                <a:ext cx="1107852" cy="2518579"/>
              </a:xfrm>
              <a:prstGeom prst="line">
                <a:avLst/>
              </a:prstGeom>
              <a:grpFill/>
              <a:ln w="6350" cap="flat" cmpd="sng" algn="ctr">
                <a:solidFill>
                  <a:schemeClr val="bg1">
                    <a:lumMod val="95000"/>
                  </a:schemeClr>
                </a:solidFill>
                <a:prstDash val="solid"/>
                <a:miter lim="800000"/>
              </a:ln>
              <a:effectLst/>
            </p:spPr>
          </p:cxnSp>
          <p:cxnSp>
            <p:nvCxnSpPr>
              <p:cNvPr id="57" name="Straight Connector 404">
                <a:extLst>
                  <a:ext uri="{FF2B5EF4-FFF2-40B4-BE49-F238E27FC236}">
                    <a16:creationId xmlns:a16="http://schemas.microsoft.com/office/drawing/2014/main" id="{1CD2C381-F846-2349-AE29-AA65AC049D1E}"/>
                  </a:ext>
                </a:extLst>
              </p:cNvPr>
              <p:cNvCxnSpPr/>
              <p:nvPr/>
            </p:nvCxnSpPr>
            <p:spPr>
              <a:xfrm flipH="1">
                <a:off x="5277856" y="2374234"/>
                <a:ext cx="3547859" cy="2406316"/>
              </a:xfrm>
              <a:prstGeom prst="line">
                <a:avLst/>
              </a:prstGeom>
              <a:grpFill/>
              <a:ln w="6350" cap="flat" cmpd="sng" algn="ctr">
                <a:solidFill>
                  <a:schemeClr val="bg1">
                    <a:lumMod val="95000"/>
                  </a:schemeClr>
                </a:solidFill>
                <a:prstDash val="solid"/>
                <a:miter lim="800000"/>
              </a:ln>
              <a:effectLst/>
            </p:spPr>
          </p:cxnSp>
          <p:cxnSp>
            <p:nvCxnSpPr>
              <p:cNvPr id="58" name="Straight Connector 405">
                <a:extLst>
                  <a:ext uri="{FF2B5EF4-FFF2-40B4-BE49-F238E27FC236}">
                    <a16:creationId xmlns:a16="http://schemas.microsoft.com/office/drawing/2014/main" id="{319206F4-B0BB-8A40-AC39-F99C7E720CB2}"/>
                  </a:ext>
                </a:extLst>
              </p:cNvPr>
              <p:cNvCxnSpPr/>
              <p:nvPr/>
            </p:nvCxnSpPr>
            <p:spPr>
              <a:xfrm flipH="1" flipV="1">
                <a:off x="6248402" y="2823413"/>
                <a:ext cx="1435769" cy="2119645"/>
              </a:xfrm>
              <a:prstGeom prst="line">
                <a:avLst/>
              </a:prstGeom>
              <a:grpFill/>
              <a:ln w="6350" cap="flat" cmpd="sng" algn="ctr">
                <a:solidFill>
                  <a:schemeClr val="bg1">
                    <a:lumMod val="95000"/>
                  </a:schemeClr>
                </a:solidFill>
                <a:prstDash val="solid"/>
                <a:miter lim="800000"/>
              </a:ln>
              <a:effectLst/>
            </p:spPr>
          </p:cxnSp>
          <p:cxnSp>
            <p:nvCxnSpPr>
              <p:cNvPr id="59" name="Straight Connector 406">
                <a:extLst>
                  <a:ext uri="{FF2B5EF4-FFF2-40B4-BE49-F238E27FC236}">
                    <a16:creationId xmlns:a16="http://schemas.microsoft.com/office/drawing/2014/main" id="{FD886993-A045-594A-8D03-0B3D9F94CD11}"/>
                  </a:ext>
                </a:extLst>
              </p:cNvPr>
              <p:cNvCxnSpPr/>
              <p:nvPr/>
            </p:nvCxnSpPr>
            <p:spPr>
              <a:xfrm flipV="1">
                <a:off x="6302617" y="2374233"/>
                <a:ext cx="2550695" cy="449179"/>
              </a:xfrm>
              <a:prstGeom prst="line">
                <a:avLst/>
              </a:prstGeom>
              <a:grpFill/>
              <a:ln w="6350" cap="flat" cmpd="sng" algn="ctr">
                <a:solidFill>
                  <a:schemeClr val="bg1">
                    <a:lumMod val="95000"/>
                  </a:schemeClr>
                </a:solidFill>
                <a:prstDash val="solid"/>
                <a:miter lim="800000"/>
              </a:ln>
              <a:effectLst/>
            </p:spPr>
          </p:cxnSp>
          <p:cxnSp>
            <p:nvCxnSpPr>
              <p:cNvPr id="60" name="Straight Connector 407">
                <a:extLst>
                  <a:ext uri="{FF2B5EF4-FFF2-40B4-BE49-F238E27FC236}">
                    <a16:creationId xmlns:a16="http://schemas.microsoft.com/office/drawing/2014/main" id="{147A0823-DB01-B243-841F-6A1EB98EFCBD}"/>
                  </a:ext>
                </a:extLst>
              </p:cNvPr>
              <p:cNvCxnSpPr/>
              <p:nvPr/>
            </p:nvCxnSpPr>
            <p:spPr>
              <a:xfrm flipV="1">
                <a:off x="4660231" y="1005871"/>
                <a:ext cx="1238497" cy="1124581"/>
              </a:xfrm>
              <a:prstGeom prst="line">
                <a:avLst/>
              </a:prstGeom>
              <a:grpFill/>
              <a:ln w="6350" cap="flat" cmpd="sng" algn="ctr">
                <a:solidFill>
                  <a:schemeClr val="bg1">
                    <a:lumMod val="95000"/>
                  </a:schemeClr>
                </a:solidFill>
                <a:prstDash val="solid"/>
                <a:miter lim="800000"/>
              </a:ln>
              <a:effectLst/>
            </p:spPr>
          </p:cxnSp>
          <p:cxnSp>
            <p:nvCxnSpPr>
              <p:cNvPr id="61" name="Straight Connector 408">
                <a:extLst>
                  <a:ext uri="{FF2B5EF4-FFF2-40B4-BE49-F238E27FC236}">
                    <a16:creationId xmlns:a16="http://schemas.microsoft.com/office/drawing/2014/main" id="{3FB3A650-19DC-2F48-AB9A-B5A0682CB3D6}"/>
                  </a:ext>
                </a:extLst>
              </p:cNvPr>
              <p:cNvCxnSpPr>
                <a:cxnSpLocks/>
              </p:cNvCxnSpPr>
              <p:nvPr/>
            </p:nvCxnSpPr>
            <p:spPr>
              <a:xfrm>
                <a:off x="5889382" y="1005872"/>
                <a:ext cx="399120" cy="1858616"/>
              </a:xfrm>
              <a:prstGeom prst="line">
                <a:avLst/>
              </a:prstGeom>
              <a:grpFill/>
              <a:ln w="6350" cap="flat" cmpd="sng" algn="ctr">
                <a:solidFill>
                  <a:schemeClr val="bg1">
                    <a:lumMod val="95000"/>
                  </a:schemeClr>
                </a:solidFill>
                <a:prstDash val="solid"/>
                <a:miter lim="800000"/>
              </a:ln>
              <a:effectLst/>
            </p:spPr>
          </p:cxnSp>
          <p:cxnSp>
            <p:nvCxnSpPr>
              <p:cNvPr id="62" name="Straight Connector 409">
                <a:extLst>
                  <a:ext uri="{FF2B5EF4-FFF2-40B4-BE49-F238E27FC236}">
                    <a16:creationId xmlns:a16="http://schemas.microsoft.com/office/drawing/2014/main" id="{736848FF-5FAE-A94D-9183-5D2D31848251}"/>
                  </a:ext>
                </a:extLst>
              </p:cNvPr>
              <p:cNvCxnSpPr/>
              <p:nvPr/>
            </p:nvCxnSpPr>
            <p:spPr>
              <a:xfrm flipH="1">
                <a:off x="5250253" y="2914731"/>
                <a:ext cx="995592" cy="1898902"/>
              </a:xfrm>
              <a:prstGeom prst="line">
                <a:avLst/>
              </a:prstGeom>
              <a:grpFill/>
              <a:ln w="6350" cap="flat" cmpd="sng" algn="ctr">
                <a:solidFill>
                  <a:schemeClr val="bg1">
                    <a:lumMod val="95000"/>
                  </a:schemeClr>
                </a:solidFill>
                <a:prstDash val="solid"/>
                <a:miter lim="800000"/>
              </a:ln>
              <a:effectLst/>
            </p:spPr>
          </p:cxnSp>
          <p:cxnSp>
            <p:nvCxnSpPr>
              <p:cNvPr id="63" name="Straight Connector 410">
                <a:extLst>
                  <a:ext uri="{FF2B5EF4-FFF2-40B4-BE49-F238E27FC236}">
                    <a16:creationId xmlns:a16="http://schemas.microsoft.com/office/drawing/2014/main" id="{FDC41891-3E78-5E47-9F98-8DBB072E79AC}"/>
                  </a:ext>
                </a:extLst>
              </p:cNvPr>
              <p:cNvCxnSpPr/>
              <p:nvPr/>
            </p:nvCxnSpPr>
            <p:spPr>
              <a:xfrm>
                <a:off x="4644190" y="2164653"/>
                <a:ext cx="621140" cy="2671436"/>
              </a:xfrm>
              <a:prstGeom prst="line">
                <a:avLst/>
              </a:prstGeom>
              <a:grpFill/>
              <a:ln w="6350" cap="flat" cmpd="sng" algn="ctr">
                <a:solidFill>
                  <a:schemeClr val="bg1">
                    <a:lumMod val="95000"/>
                  </a:schemeClr>
                </a:solidFill>
                <a:prstDash val="solid"/>
                <a:miter lim="800000"/>
              </a:ln>
              <a:effectLst/>
            </p:spPr>
          </p:cxnSp>
        </p:grpSp>
        <p:grpSp>
          <p:nvGrpSpPr>
            <p:cNvPr id="37" name="Group 384">
              <a:extLst>
                <a:ext uri="{FF2B5EF4-FFF2-40B4-BE49-F238E27FC236}">
                  <a16:creationId xmlns:a16="http://schemas.microsoft.com/office/drawing/2014/main" id="{72C01116-FB1A-BB4B-B2EE-3E9C354EF409}"/>
                </a:ext>
              </a:extLst>
            </p:cNvPr>
            <p:cNvGrpSpPr/>
            <p:nvPr/>
          </p:nvGrpSpPr>
          <p:grpSpPr>
            <a:xfrm rot="13901237">
              <a:off x="-1795509" y="-216746"/>
              <a:ext cx="6123226" cy="3767003"/>
              <a:chOff x="7062846" y="3526301"/>
              <a:chExt cx="5305580" cy="3263988"/>
            </a:xfrm>
            <a:grpFill/>
          </p:grpSpPr>
          <p:sp>
            <p:nvSpPr>
              <p:cNvPr id="38" name="Oval 37">
                <a:extLst>
                  <a:ext uri="{FF2B5EF4-FFF2-40B4-BE49-F238E27FC236}">
                    <a16:creationId xmlns:a16="http://schemas.microsoft.com/office/drawing/2014/main" id="{E3C9131A-8B10-8649-BED6-C962D3C8E0B4}"/>
                  </a:ext>
                </a:extLst>
              </p:cNvPr>
              <p:cNvSpPr/>
              <p:nvPr/>
            </p:nvSpPr>
            <p:spPr>
              <a:xfrm rot="20296323" flipH="1">
                <a:off x="8662849" y="3526301"/>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9" name="Oval 38">
                <a:extLst>
                  <a:ext uri="{FF2B5EF4-FFF2-40B4-BE49-F238E27FC236}">
                    <a16:creationId xmlns:a16="http://schemas.microsoft.com/office/drawing/2014/main" id="{8915C2CB-0618-4F42-8A23-9FEF67E5C385}"/>
                  </a:ext>
                </a:extLst>
              </p:cNvPr>
              <p:cNvSpPr/>
              <p:nvPr/>
            </p:nvSpPr>
            <p:spPr>
              <a:xfrm rot="20296323" flipH="1">
                <a:off x="8860284" y="4838570"/>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0" name="Oval 39">
                <a:extLst>
                  <a:ext uri="{FF2B5EF4-FFF2-40B4-BE49-F238E27FC236}">
                    <a16:creationId xmlns:a16="http://schemas.microsoft.com/office/drawing/2014/main" id="{AFCC069F-3E22-0949-B2D7-396135737772}"/>
                  </a:ext>
                </a:extLst>
              </p:cNvPr>
              <p:cNvSpPr/>
              <p:nvPr/>
            </p:nvSpPr>
            <p:spPr>
              <a:xfrm rot="20296323" flipH="1">
                <a:off x="7062846" y="5227707"/>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1" name="Oval 40">
                <a:extLst>
                  <a:ext uri="{FF2B5EF4-FFF2-40B4-BE49-F238E27FC236}">
                    <a16:creationId xmlns:a16="http://schemas.microsoft.com/office/drawing/2014/main" id="{07F45901-B3EE-F14A-9C35-B09AAAAA172F}"/>
                  </a:ext>
                </a:extLst>
              </p:cNvPr>
              <p:cNvSpPr/>
              <p:nvPr/>
            </p:nvSpPr>
            <p:spPr>
              <a:xfrm rot="20296323" flipH="1">
                <a:off x="8518918" y="6640896"/>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2" name="Oval 41">
                <a:extLst>
                  <a:ext uri="{FF2B5EF4-FFF2-40B4-BE49-F238E27FC236}">
                    <a16:creationId xmlns:a16="http://schemas.microsoft.com/office/drawing/2014/main" id="{4F95A9A0-6ABE-624E-AFC0-90E27457CF8A}"/>
                  </a:ext>
                </a:extLst>
              </p:cNvPr>
              <p:cNvSpPr/>
              <p:nvPr/>
            </p:nvSpPr>
            <p:spPr>
              <a:xfrm rot="20296323" flipH="1">
                <a:off x="10079178" y="5906810"/>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3" name="Oval 42">
                <a:extLst>
                  <a:ext uri="{FF2B5EF4-FFF2-40B4-BE49-F238E27FC236}">
                    <a16:creationId xmlns:a16="http://schemas.microsoft.com/office/drawing/2014/main" id="{53E051C2-F6EC-1D4E-9CB5-F25DB2970615}"/>
                  </a:ext>
                </a:extLst>
              </p:cNvPr>
              <p:cNvSpPr/>
              <p:nvPr/>
            </p:nvSpPr>
            <p:spPr>
              <a:xfrm rot="20296323" flipH="1">
                <a:off x="10683602" y="4962941"/>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4" name="Oval 43">
                <a:extLst>
                  <a:ext uri="{FF2B5EF4-FFF2-40B4-BE49-F238E27FC236}">
                    <a16:creationId xmlns:a16="http://schemas.microsoft.com/office/drawing/2014/main" id="{6B2AD42A-BF11-7D49-937E-BD71DD2B4C19}"/>
                  </a:ext>
                </a:extLst>
              </p:cNvPr>
              <p:cNvSpPr/>
              <p:nvPr/>
            </p:nvSpPr>
            <p:spPr>
              <a:xfrm rot="20296323" flipH="1">
                <a:off x="12219033" y="5992906"/>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5" name="Oval 44">
                <a:extLst>
                  <a:ext uri="{FF2B5EF4-FFF2-40B4-BE49-F238E27FC236}">
                    <a16:creationId xmlns:a16="http://schemas.microsoft.com/office/drawing/2014/main" id="{6FC41AA5-0255-1945-AC40-2B70A51B0FE5}"/>
                  </a:ext>
                </a:extLst>
              </p:cNvPr>
              <p:cNvSpPr/>
              <p:nvPr/>
            </p:nvSpPr>
            <p:spPr>
              <a:xfrm rot="20296323" flipH="1">
                <a:off x="11731603" y="4518872"/>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6" name="Oval 45">
                <a:extLst>
                  <a:ext uri="{FF2B5EF4-FFF2-40B4-BE49-F238E27FC236}">
                    <a16:creationId xmlns:a16="http://schemas.microsoft.com/office/drawing/2014/main" id="{928DE353-69B2-7E40-8EE9-34E05F985E3B}"/>
                  </a:ext>
                </a:extLst>
              </p:cNvPr>
              <p:cNvSpPr/>
              <p:nvPr/>
            </p:nvSpPr>
            <p:spPr>
              <a:xfrm rot="20296323" flipH="1">
                <a:off x="9833315" y="3958950"/>
                <a:ext cx="149393" cy="149393"/>
              </a:xfrm>
              <a:prstGeom prst="ellipse">
                <a:avLst/>
              </a:prstGeom>
              <a:grpFill/>
              <a:ln w="12700" cap="flat" cmpd="sng" algn="ctr">
                <a:solidFill>
                  <a:schemeClr val="bg1">
                    <a:lumMod val="9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grpSp>
        <p:nvGrpSpPr>
          <p:cNvPr id="84" name="Group 362">
            <a:extLst>
              <a:ext uri="{FF2B5EF4-FFF2-40B4-BE49-F238E27FC236}">
                <a16:creationId xmlns:a16="http://schemas.microsoft.com/office/drawing/2014/main" id="{2ADC42D7-A44B-354B-9F38-CFE0F458ACF1}"/>
              </a:ext>
            </a:extLst>
          </p:cNvPr>
          <p:cNvGrpSpPr/>
          <p:nvPr/>
        </p:nvGrpSpPr>
        <p:grpSpPr>
          <a:xfrm>
            <a:off x="7632452" y="2033126"/>
            <a:ext cx="978796" cy="1516988"/>
            <a:chOff x="8900088" y="1872779"/>
            <a:chExt cx="1145637" cy="1775570"/>
          </a:xfrm>
          <a:effectLst>
            <a:outerShdw blurRad="266700" dist="114300" algn="l" rotWithShape="0">
              <a:srgbClr val="FFFFFF">
                <a:alpha val="50000"/>
              </a:srgbClr>
            </a:outerShdw>
          </a:effectLst>
        </p:grpSpPr>
        <p:sp>
          <p:nvSpPr>
            <p:cNvPr id="85" name="Freeform: Shape 363">
              <a:extLst>
                <a:ext uri="{FF2B5EF4-FFF2-40B4-BE49-F238E27FC236}">
                  <a16:creationId xmlns:a16="http://schemas.microsoft.com/office/drawing/2014/main" id="{75FFA37E-5D28-C742-940B-967CE5D5B9D6}"/>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333657"/>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86" name="Freeform: Shape 364">
              <a:extLst>
                <a:ext uri="{FF2B5EF4-FFF2-40B4-BE49-F238E27FC236}">
                  <a16:creationId xmlns:a16="http://schemas.microsoft.com/office/drawing/2014/main" id="{D0CDD55B-7203-BE42-A093-2B520D93E26E}"/>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C9CAE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87" name="Freeform 16">
              <a:extLst>
                <a:ext uri="{FF2B5EF4-FFF2-40B4-BE49-F238E27FC236}">
                  <a16:creationId xmlns:a16="http://schemas.microsoft.com/office/drawing/2014/main" id="{631F1A9E-2A8E-B242-85AB-26568308B8FB}"/>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88" name="Freeform: Shape 366">
              <a:extLst>
                <a:ext uri="{FF2B5EF4-FFF2-40B4-BE49-F238E27FC236}">
                  <a16:creationId xmlns:a16="http://schemas.microsoft.com/office/drawing/2014/main" id="{16739F56-0C11-AA45-8ABE-37E454A8B289}"/>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6088B3">
                    <a:alpha val="0"/>
                  </a:srgbClr>
                </a:gs>
                <a:gs pos="100000">
                  <a:srgbClr val="6088B3">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89" name="Freeform: Shape 367">
              <a:extLst>
                <a:ext uri="{FF2B5EF4-FFF2-40B4-BE49-F238E27FC236}">
                  <a16:creationId xmlns:a16="http://schemas.microsoft.com/office/drawing/2014/main" id="{E9C7DAD0-7C28-AF44-A9C3-FCC7DDC7DF56}"/>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9AB3CE">
                    <a:alpha val="0"/>
                  </a:srgbClr>
                </a:gs>
                <a:gs pos="100000">
                  <a:srgbClr val="9AB3CE">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grpSp>
        <p:nvGrpSpPr>
          <p:cNvPr id="90" name="Group 345">
            <a:extLst>
              <a:ext uri="{FF2B5EF4-FFF2-40B4-BE49-F238E27FC236}">
                <a16:creationId xmlns:a16="http://schemas.microsoft.com/office/drawing/2014/main" id="{E61D4934-F205-3240-8FD1-0059E0F43475}"/>
              </a:ext>
            </a:extLst>
          </p:cNvPr>
          <p:cNvGrpSpPr/>
          <p:nvPr/>
        </p:nvGrpSpPr>
        <p:grpSpPr>
          <a:xfrm>
            <a:off x="6690858" y="2601263"/>
            <a:ext cx="978796" cy="1516988"/>
            <a:chOff x="8900088" y="1872779"/>
            <a:chExt cx="1145637" cy="1775570"/>
          </a:xfrm>
          <a:effectLst>
            <a:outerShdw blurRad="266700" dist="114300" algn="l" rotWithShape="0">
              <a:srgbClr val="FFFFFF">
                <a:alpha val="50000"/>
              </a:srgbClr>
            </a:outerShdw>
          </a:effectLst>
        </p:grpSpPr>
        <p:sp>
          <p:nvSpPr>
            <p:cNvPr id="91" name="Freeform: Shape 346">
              <a:extLst>
                <a:ext uri="{FF2B5EF4-FFF2-40B4-BE49-F238E27FC236}">
                  <a16:creationId xmlns:a16="http://schemas.microsoft.com/office/drawing/2014/main" id="{2798EA50-ED38-0F44-A4E1-6AB646B084F4}"/>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014049"/>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2" name="Freeform: Shape 347">
              <a:extLst>
                <a:ext uri="{FF2B5EF4-FFF2-40B4-BE49-F238E27FC236}">
                  <a16:creationId xmlns:a16="http://schemas.microsoft.com/office/drawing/2014/main" id="{617CEC8F-6E48-E24D-8614-9D3036E68ACC}"/>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014049">
                <a:alpha val="47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3" name="Freeform 16">
              <a:extLst>
                <a:ext uri="{FF2B5EF4-FFF2-40B4-BE49-F238E27FC236}">
                  <a16:creationId xmlns:a16="http://schemas.microsoft.com/office/drawing/2014/main" id="{B4705197-8283-3B44-9190-C76FBA3D0C18}"/>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14049">
                <a:alpha val="6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4" name="Freeform: Shape 349">
              <a:extLst>
                <a:ext uri="{FF2B5EF4-FFF2-40B4-BE49-F238E27FC236}">
                  <a16:creationId xmlns:a16="http://schemas.microsoft.com/office/drawing/2014/main" id="{1A08628F-1C8D-B640-9F24-D4F2AC7CB0FE}"/>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5" name="Freeform: Shape 350">
              <a:extLst>
                <a:ext uri="{FF2B5EF4-FFF2-40B4-BE49-F238E27FC236}">
                  <a16:creationId xmlns:a16="http://schemas.microsoft.com/office/drawing/2014/main" id="{142D0F13-0903-7C41-B530-6FEC338557A5}"/>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grpSp>
        <p:nvGrpSpPr>
          <p:cNvPr id="96" name="Group 362">
            <a:extLst>
              <a:ext uri="{FF2B5EF4-FFF2-40B4-BE49-F238E27FC236}">
                <a16:creationId xmlns:a16="http://schemas.microsoft.com/office/drawing/2014/main" id="{10462C50-5037-CD46-91CD-B9CEB097A748}"/>
              </a:ext>
            </a:extLst>
          </p:cNvPr>
          <p:cNvGrpSpPr/>
          <p:nvPr/>
        </p:nvGrpSpPr>
        <p:grpSpPr>
          <a:xfrm>
            <a:off x="7632452" y="3169400"/>
            <a:ext cx="978796" cy="1516988"/>
            <a:chOff x="8900088" y="1872779"/>
            <a:chExt cx="1145637" cy="1775570"/>
          </a:xfrm>
          <a:effectLst>
            <a:outerShdw blurRad="266700" dist="114300" algn="l" rotWithShape="0">
              <a:srgbClr val="FFFFFF">
                <a:alpha val="50000"/>
              </a:srgbClr>
            </a:outerShdw>
          </a:effectLst>
        </p:grpSpPr>
        <p:sp>
          <p:nvSpPr>
            <p:cNvPr id="97" name="Freeform: Shape 363">
              <a:extLst>
                <a:ext uri="{FF2B5EF4-FFF2-40B4-BE49-F238E27FC236}">
                  <a16:creationId xmlns:a16="http://schemas.microsoft.com/office/drawing/2014/main" id="{7A3D2C3D-2104-8844-996F-03904A5FFB60}"/>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333657"/>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8" name="Freeform: Shape 364">
              <a:extLst>
                <a:ext uri="{FF2B5EF4-FFF2-40B4-BE49-F238E27FC236}">
                  <a16:creationId xmlns:a16="http://schemas.microsoft.com/office/drawing/2014/main" id="{D171BEBD-4982-B240-ABC7-833DE3054605}"/>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C9CAE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99" name="Freeform 16">
              <a:extLst>
                <a:ext uri="{FF2B5EF4-FFF2-40B4-BE49-F238E27FC236}">
                  <a16:creationId xmlns:a16="http://schemas.microsoft.com/office/drawing/2014/main" id="{3294BDAB-F149-6D43-81DA-A7734584115D}"/>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0" name="Freeform: Shape 366">
              <a:extLst>
                <a:ext uri="{FF2B5EF4-FFF2-40B4-BE49-F238E27FC236}">
                  <a16:creationId xmlns:a16="http://schemas.microsoft.com/office/drawing/2014/main" id="{AD8C2AE2-AED0-7448-9F50-68FF0B0F1055}"/>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6088B3">
                    <a:alpha val="0"/>
                  </a:srgbClr>
                </a:gs>
                <a:gs pos="100000">
                  <a:srgbClr val="6088B3">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1" name="Freeform: Shape 367">
              <a:extLst>
                <a:ext uri="{FF2B5EF4-FFF2-40B4-BE49-F238E27FC236}">
                  <a16:creationId xmlns:a16="http://schemas.microsoft.com/office/drawing/2014/main" id="{06C03079-A2C2-8349-9E74-A39FAC05EB39}"/>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9AB3CE">
                    <a:alpha val="0"/>
                  </a:srgbClr>
                </a:gs>
                <a:gs pos="100000">
                  <a:srgbClr val="9AB3CE">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grpSp>
        <p:nvGrpSpPr>
          <p:cNvPr id="102" name="Group 345">
            <a:extLst>
              <a:ext uri="{FF2B5EF4-FFF2-40B4-BE49-F238E27FC236}">
                <a16:creationId xmlns:a16="http://schemas.microsoft.com/office/drawing/2014/main" id="{A9DE8231-9516-C341-BDFB-3C1780E15258}"/>
              </a:ext>
            </a:extLst>
          </p:cNvPr>
          <p:cNvGrpSpPr/>
          <p:nvPr/>
        </p:nvGrpSpPr>
        <p:grpSpPr>
          <a:xfrm>
            <a:off x="6690858" y="3737537"/>
            <a:ext cx="978796" cy="1516988"/>
            <a:chOff x="8900088" y="1872779"/>
            <a:chExt cx="1145637" cy="1775570"/>
          </a:xfrm>
          <a:effectLst>
            <a:outerShdw blurRad="266700" dist="114300" algn="l" rotWithShape="0">
              <a:srgbClr val="FFFFFF">
                <a:alpha val="50000"/>
              </a:srgbClr>
            </a:outerShdw>
          </a:effectLst>
        </p:grpSpPr>
        <p:sp>
          <p:nvSpPr>
            <p:cNvPr id="103" name="Freeform: Shape 346">
              <a:extLst>
                <a:ext uri="{FF2B5EF4-FFF2-40B4-BE49-F238E27FC236}">
                  <a16:creationId xmlns:a16="http://schemas.microsoft.com/office/drawing/2014/main" id="{504CDCAD-EE06-4741-A181-36963100F4C6}"/>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014049"/>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4" name="Freeform: Shape 347">
              <a:extLst>
                <a:ext uri="{FF2B5EF4-FFF2-40B4-BE49-F238E27FC236}">
                  <a16:creationId xmlns:a16="http://schemas.microsoft.com/office/drawing/2014/main" id="{E1D2D77B-2275-EB49-9915-DD5C40D02924}"/>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014049">
                <a:alpha val="47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5" name="Freeform 16">
              <a:extLst>
                <a:ext uri="{FF2B5EF4-FFF2-40B4-BE49-F238E27FC236}">
                  <a16:creationId xmlns:a16="http://schemas.microsoft.com/office/drawing/2014/main" id="{6D23495F-ABEF-E046-AB61-70BAA2B64F75}"/>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14049">
                <a:alpha val="6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6" name="Freeform: Shape 349">
              <a:extLst>
                <a:ext uri="{FF2B5EF4-FFF2-40B4-BE49-F238E27FC236}">
                  <a16:creationId xmlns:a16="http://schemas.microsoft.com/office/drawing/2014/main" id="{39B64461-3B54-8242-9B61-65E068EF67FC}"/>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07" name="Freeform: Shape 350">
              <a:extLst>
                <a:ext uri="{FF2B5EF4-FFF2-40B4-BE49-F238E27FC236}">
                  <a16:creationId xmlns:a16="http://schemas.microsoft.com/office/drawing/2014/main" id="{E5368DF5-FB8A-7747-AB04-7FE0F000C485}"/>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grpSp>
        <p:nvGrpSpPr>
          <p:cNvPr id="108" name="Group 362">
            <a:extLst>
              <a:ext uri="{FF2B5EF4-FFF2-40B4-BE49-F238E27FC236}">
                <a16:creationId xmlns:a16="http://schemas.microsoft.com/office/drawing/2014/main" id="{449F9D0A-D7C1-8D44-8593-6EC9D7AA5F6A}"/>
              </a:ext>
            </a:extLst>
          </p:cNvPr>
          <p:cNvGrpSpPr/>
          <p:nvPr/>
        </p:nvGrpSpPr>
        <p:grpSpPr>
          <a:xfrm>
            <a:off x="7632452" y="4305674"/>
            <a:ext cx="978796" cy="1516988"/>
            <a:chOff x="8900088" y="1872779"/>
            <a:chExt cx="1145637" cy="1775570"/>
          </a:xfrm>
          <a:effectLst>
            <a:outerShdw blurRad="266700" dist="114300" algn="l" rotWithShape="0">
              <a:srgbClr val="FFFFFF">
                <a:alpha val="50000"/>
              </a:srgbClr>
            </a:outerShdw>
          </a:effectLst>
        </p:grpSpPr>
        <p:sp>
          <p:nvSpPr>
            <p:cNvPr id="109" name="Freeform: Shape 363">
              <a:extLst>
                <a:ext uri="{FF2B5EF4-FFF2-40B4-BE49-F238E27FC236}">
                  <a16:creationId xmlns:a16="http://schemas.microsoft.com/office/drawing/2014/main" id="{019A7389-DE09-0942-8E18-C3E5F5EF43E4}"/>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333657"/>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0" name="Freeform: Shape 364">
              <a:extLst>
                <a:ext uri="{FF2B5EF4-FFF2-40B4-BE49-F238E27FC236}">
                  <a16:creationId xmlns:a16="http://schemas.microsoft.com/office/drawing/2014/main" id="{C1A8D5F4-0CE8-5B45-89C6-71805154E610}"/>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C9CAE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1" name="Freeform 16">
              <a:extLst>
                <a:ext uri="{FF2B5EF4-FFF2-40B4-BE49-F238E27FC236}">
                  <a16:creationId xmlns:a16="http://schemas.microsoft.com/office/drawing/2014/main" id="{733CB633-AB84-CC43-8E4C-61EA66B347A9}"/>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2" name="Freeform: Shape 366">
              <a:extLst>
                <a:ext uri="{FF2B5EF4-FFF2-40B4-BE49-F238E27FC236}">
                  <a16:creationId xmlns:a16="http://schemas.microsoft.com/office/drawing/2014/main" id="{F29FB058-8045-0344-ACB2-9A1667E7C5F4}"/>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6088B3">
                    <a:alpha val="0"/>
                  </a:srgbClr>
                </a:gs>
                <a:gs pos="100000">
                  <a:srgbClr val="6088B3">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3" name="Freeform: Shape 367">
              <a:extLst>
                <a:ext uri="{FF2B5EF4-FFF2-40B4-BE49-F238E27FC236}">
                  <a16:creationId xmlns:a16="http://schemas.microsoft.com/office/drawing/2014/main" id="{C4556127-3265-5A4E-B62A-B3827AE9019F}"/>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9AB3CE">
                    <a:alpha val="0"/>
                  </a:srgbClr>
                </a:gs>
                <a:gs pos="100000">
                  <a:srgbClr val="9AB3CE">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grpSp>
        <p:nvGrpSpPr>
          <p:cNvPr id="114" name="Group 345">
            <a:extLst>
              <a:ext uri="{FF2B5EF4-FFF2-40B4-BE49-F238E27FC236}">
                <a16:creationId xmlns:a16="http://schemas.microsoft.com/office/drawing/2014/main" id="{02D5EB26-326A-C14F-86FC-E29C0ADE5430}"/>
              </a:ext>
            </a:extLst>
          </p:cNvPr>
          <p:cNvGrpSpPr/>
          <p:nvPr/>
        </p:nvGrpSpPr>
        <p:grpSpPr>
          <a:xfrm>
            <a:off x="6690858" y="4873811"/>
            <a:ext cx="978796" cy="1516988"/>
            <a:chOff x="8900088" y="1872779"/>
            <a:chExt cx="1145637" cy="1775570"/>
          </a:xfrm>
          <a:effectLst>
            <a:outerShdw blurRad="266700" dist="114300" algn="l" rotWithShape="0">
              <a:srgbClr val="FFFFFF">
                <a:alpha val="50000"/>
              </a:srgbClr>
            </a:outerShdw>
          </a:effectLst>
        </p:grpSpPr>
        <p:sp>
          <p:nvSpPr>
            <p:cNvPr id="115" name="Freeform: Shape 346">
              <a:extLst>
                <a:ext uri="{FF2B5EF4-FFF2-40B4-BE49-F238E27FC236}">
                  <a16:creationId xmlns:a16="http://schemas.microsoft.com/office/drawing/2014/main" id="{9E6BC549-2D32-4849-ADAA-E3C8893DEF9D}"/>
                </a:ext>
              </a:extLst>
            </p:cNvPr>
            <p:cNvSpPr>
              <a:spLocks/>
            </p:cNvSpPr>
            <p:nvPr/>
          </p:nvSpPr>
          <p:spPr bwMode="auto">
            <a:xfrm>
              <a:off x="9473607" y="2202911"/>
              <a:ext cx="572118" cy="890692"/>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rgbClr val="014049"/>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6" name="Freeform: Shape 347">
              <a:extLst>
                <a:ext uri="{FF2B5EF4-FFF2-40B4-BE49-F238E27FC236}">
                  <a16:creationId xmlns:a16="http://schemas.microsoft.com/office/drawing/2014/main" id="{5CE4C936-6DB0-6843-8ACE-FE8373EC3816}"/>
                </a:ext>
              </a:extLst>
            </p:cNvPr>
            <p:cNvSpPr>
              <a:spLocks/>
            </p:cNvSpPr>
            <p:nvPr/>
          </p:nvSpPr>
          <p:spPr bwMode="auto">
            <a:xfrm>
              <a:off x="8900088" y="2202852"/>
              <a:ext cx="573520" cy="890751"/>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rgbClr val="014049">
                <a:alpha val="47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7" name="Freeform 16">
              <a:extLst>
                <a:ext uri="{FF2B5EF4-FFF2-40B4-BE49-F238E27FC236}">
                  <a16:creationId xmlns:a16="http://schemas.microsoft.com/office/drawing/2014/main" id="{247B5540-E884-114B-820F-C3AB1C7A9A7C}"/>
                </a:ext>
              </a:extLst>
            </p:cNvPr>
            <p:cNvSpPr>
              <a:spLocks/>
            </p:cNvSpPr>
            <p:nvPr/>
          </p:nvSpPr>
          <p:spPr bwMode="auto">
            <a:xfrm>
              <a:off x="8900089" y="1872779"/>
              <a:ext cx="1145636" cy="661297"/>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14049">
                <a:alpha val="6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8" name="Freeform: Shape 349">
              <a:extLst>
                <a:ext uri="{FF2B5EF4-FFF2-40B4-BE49-F238E27FC236}">
                  <a16:creationId xmlns:a16="http://schemas.microsoft.com/office/drawing/2014/main" id="{7B03AD72-9B11-1940-A030-4420707D7760}"/>
                </a:ext>
              </a:extLst>
            </p:cNvPr>
            <p:cNvSpPr>
              <a:spLocks/>
            </p:cNvSpPr>
            <p:nvPr/>
          </p:nvSpPr>
          <p:spPr bwMode="auto">
            <a:xfrm>
              <a:off x="9473607" y="2757656"/>
              <a:ext cx="572118" cy="89069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19" name="Freeform: Shape 350">
              <a:extLst>
                <a:ext uri="{FF2B5EF4-FFF2-40B4-BE49-F238E27FC236}">
                  <a16:creationId xmlns:a16="http://schemas.microsoft.com/office/drawing/2014/main" id="{122898A4-0A04-B149-ADCE-668CAE8C7A27}"/>
                </a:ext>
              </a:extLst>
            </p:cNvPr>
            <p:cNvSpPr>
              <a:spLocks/>
            </p:cNvSpPr>
            <p:nvPr/>
          </p:nvSpPr>
          <p:spPr bwMode="auto">
            <a:xfrm>
              <a:off x="8900088" y="2757597"/>
              <a:ext cx="573520" cy="890752"/>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grpSp>
    </p:spTree>
    <p:extLst>
      <p:ext uri="{BB962C8B-B14F-4D97-AF65-F5344CB8AC3E}">
        <p14:creationId xmlns:p14="http://schemas.microsoft.com/office/powerpoint/2010/main" val="3567793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42" presetClass="path" presetSubtype="0" repeatCount="indefinite" accel="50000" decel="50000" autoRev="1" fill="hold" nodeType="withEffect">
                                  <p:stCondLst>
                                    <p:cond delay="4500"/>
                                  </p:stCondLst>
                                  <p:childTnLst>
                                    <p:animMotion origin="layout" path="M -3.125E-6 -2.22222E-6 L -3.125E-6 0.00972 " pathEditMode="relative" rAng="0" ptsTypes="AA">
                                      <p:cBhvr>
                                        <p:cTn id="9" dur="2000" fill="hold"/>
                                        <p:tgtEl>
                                          <p:spTgt spid="9"/>
                                        </p:tgtEl>
                                        <p:attrNameLst>
                                          <p:attrName>ppt_x</p:attrName>
                                          <p:attrName>ppt_y</p:attrName>
                                        </p:attrNameLst>
                                      </p:cBhvr>
                                      <p:rCtr x="0" y="486"/>
                                    </p:animMotion>
                                  </p:childTnLst>
                                </p:cTn>
                              </p:par>
                              <p:par>
                                <p:cTn id="10" presetID="10" presetClass="entr" presetSubtype="0" fill="hold" nodeType="withEffect">
                                  <p:stCondLst>
                                    <p:cond delay="150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1000"/>
                                        <p:tgtEl>
                                          <p:spTgt spid="35"/>
                                        </p:tgtEl>
                                      </p:cBhvr>
                                    </p:animEffect>
                                  </p:childTnLst>
                                </p:cTn>
                              </p:par>
                              <p:par>
                                <p:cTn id="13" presetID="8" presetClass="emph" presetSubtype="0" repeatCount="indefinite" fill="hold" nodeType="withEffect">
                                  <p:stCondLst>
                                    <p:cond delay="1500"/>
                                  </p:stCondLst>
                                  <p:childTnLst>
                                    <p:animRot by="21600000">
                                      <p:cBhvr>
                                        <p:cTn id="14" dur="40000" fill="hold"/>
                                        <p:tgtEl>
                                          <p:spTgt spid="35"/>
                                        </p:tgtEl>
                                        <p:attrNameLst>
                                          <p:attrName>r</p:attrName>
                                        </p:attrNameLst>
                                      </p:cBhvr>
                                    </p:animRot>
                                  </p:childTnLst>
                                </p:cTn>
                              </p:par>
                              <p:par>
                                <p:cTn id="15" presetID="6" presetClass="emph" presetSubtype="0" repeatCount="indefinite" autoRev="1" fill="hold" nodeType="withEffect">
                                  <p:stCondLst>
                                    <p:cond delay="1500"/>
                                  </p:stCondLst>
                                  <p:endCondLst>
                                    <p:cond evt="onNext" delay="0">
                                      <p:tgtEl>
                                        <p:sldTgt/>
                                      </p:tgtEl>
                                    </p:cond>
                                  </p:endCondLst>
                                  <p:childTnLst>
                                    <p:animScale>
                                      <p:cBhvr>
                                        <p:cTn id="16" dur="3000" fill="hold"/>
                                        <p:tgtEl>
                                          <p:spTgt spid="35"/>
                                        </p:tgtEl>
                                      </p:cBhvr>
                                      <p:by x="150000" y="150000"/>
                                    </p:animScale>
                                  </p:childTnLst>
                                </p:cTn>
                              </p:par>
                              <p:par>
                                <p:cTn id="17" presetID="47" presetClass="entr" presetSubtype="0" fill="hold" nodeType="with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1000"/>
                                        <p:tgtEl>
                                          <p:spTgt spid="84"/>
                                        </p:tgtEl>
                                      </p:cBhvr>
                                    </p:animEffect>
                                    <p:anim calcmode="lin" valueType="num">
                                      <p:cBhvr>
                                        <p:cTn id="20" dur="1000" fill="hold"/>
                                        <p:tgtEl>
                                          <p:spTgt spid="84"/>
                                        </p:tgtEl>
                                        <p:attrNameLst>
                                          <p:attrName>ppt_x</p:attrName>
                                        </p:attrNameLst>
                                      </p:cBhvr>
                                      <p:tavLst>
                                        <p:tav tm="0">
                                          <p:val>
                                            <p:strVal val="#ppt_x"/>
                                          </p:val>
                                        </p:tav>
                                        <p:tav tm="100000">
                                          <p:val>
                                            <p:strVal val="#ppt_x"/>
                                          </p:val>
                                        </p:tav>
                                      </p:tavLst>
                                    </p:anim>
                                    <p:anim calcmode="lin" valueType="num">
                                      <p:cBhvr>
                                        <p:cTn id="21" dur="1000" fill="hold"/>
                                        <p:tgtEl>
                                          <p:spTgt spid="84"/>
                                        </p:tgtEl>
                                        <p:attrNameLst>
                                          <p:attrName>ppt_y</p:attrName>
                                        </p:attrNameLst>
                                      </p:cBhvr>
                                      <p:tavLst>
                                        <p:tav tm="0">
                                          <p:val>
                                            <p:strVal val="#ppt_y-.1"/>
                                          </p:val>
                                        </p:tav>
                                        <p:tav tm="100000">
                                          <p:val>
                                            <p:strVal val="#ppt_y"/>
                                          </p:val>
                                        </p:tav>
                                      </p:tavLst>
                                    </p:anim>
                                  </p:childTnLst>
                                </p:cTn>
                              </p:par>
                              <p:par>
                                <p:cTn id="22" presetID="10" presetClass="entr" presetSubtype="0" fill="hold" nodeType="withEffect">
                                  <p:stCondLst>
                                    <p:cond delay="1000"/>
                                  </p:stCondLst>
                                  <p:childTnLst>
                                    <p:set>
                                      <p:cBhvr>
                                        <p:cTn id="23" dur="1" fill="hold">
                                          <p:stCondLst>
                                            <p:cond delay="0"/>
                                          </p:stCondLst>
                                        </p:cTn>
                                        <p:tgtEl>
                                          <p:spTgt spid="90"/>
                                        </p:tgtEl>
                                        <p:attrNameLst>
                                          <p:attrName>style.visibility</p:attrName>
                                        </p:attrNameLst>
                                      </p:cBhvr>
                                      <p:to>
                                        <p:strVal val="visible"/>
                                      </p:to>
                                    </p:set>
                                    <p:animEffect transition="in" filter="fade">
                                      <p:cBhvr>
                                        <p:cTn id="24" dur="1000"/>
                                        <p:tgtEl>
                                          <p:spTgt spid="90"/>
                                        </p:tgtEl>
                                      </p:cBhvr>
                                    </p:animEffect>
                                  </p:childTnLst>
                                </p:cTn>
                              </p:par>
                              <p:par>
                                <p:cTn id="25" presetID="42" presetClass="path" presetSubtype="0" accel="50000" decel="50000" fill="hold" nodeType="withEffect">
                                  <p:stCondLst>
                                    <p:cond delay="1000"/>
                                  </p:stCondLst>
                                  <p:childTnLst>
                                    <p:animMotion origin="layout" path="M 0.07774 -0.08333 L -2.29167E-6 -4.81481E-6 " pathEditMode="relative" rAng="0" ptsTypes="AA">
                                      <p:cBhvr>
                                        <p:cTn id="26" dur="1000" fill="hold"/>
                                        <p:tgtEl>
                                          <p:spTgt spid="90"/>
                                        </p:tgtEl>
                                        <p:attrNameLst>
                                          <p:attrName>ppt_x</p:attrName>
                                          <p:attrName>ppt_y</p:attrName>
                                        </p:attrNameLst>
                                      </p:cBhvr>
                                      <p:rCtr x="-3893" y="4167"/>
                                    </p:animMotion>
                                  </p:childTnLst>
                                </p:cTn>
                              </p:par>
                              <p:par>
                                <p:cTn id="27" presetID="47" presetClass="entr" presetSubtype="0" fill="hold" nodeType="withEffect">
                                  <p:stCondLst>
                                    <p:cond delay="0"/>
                                  </p:stCondLst>
                                  <p:childTnLst>
                                    <p:set>
                                      <p:cBhvr>
                                        <p:cTn id="28" dur="1" fill="hold">
                                          <p:stCondLst>
                                            <p:cond delay="0"/>
                                          </p:stCondLst>
                                        </p:cTn>
                                        <p:tgtEl>
                                          <p:spTgt spid="96"/>
                                        </p:tgtEl>
                                        <p:attrNameLst>
                                          <p:attrName>style.visibility</p:attrName>
                                        </p:attrNameLst>
                                      </p:cBhvr>
                                      <p:to>
                                        <p:strVal val="visible"/>
                                      </p:to>
                                    </p:set>
                                    <p:animEffect transition="in" filter="fade">
                                      <p:cBhvr>
                                        <p:cTn id="29" dur="1000"/>
                                        <p:tgtEl>
                                          <p:spTgt spid="96"/>
                                        </p:tgtEl>
                                      </p:cBhvr>
                                    </p:animEffect>
                                    <p:anim calcmode="lin" valueType="num">
                                      <p:cBhvr>
                                        <p:cTn id="30" dur="1000" fill="hold"/>
                                        <p:tgtEl>
                                          <p:spTgt spid="96"/>
                                        </p:tgtEl>
                                        <p:attrNameLst>
                                          <p:attrName>ppt_x</p:attrName>
                                        </p:attrNameLst>
                                      </p:cBhvr>
                                      <p:tavLst>
                                        <p:tav tm="0">
                                          <p:val>
                                            <p:strVal val="#ppt_x"/>
                                          </p:val>
                                        </p:tav>
                                        <p:tav tm="100000">
                                          <p:val>
                                            <p:strVal val="#ppt_x"/>
                                          </p:val>
                                        </p:tav>
                                      </p:tavLst>
                                    </p:anim>
                                    <p:anim calcmode="lin" valueType="num">
                                      <p:cBhvr>
                                        <p:cTn id="31" dur="1000" fill="hold"/>
                                        <p:tgtEl>
                                          <p:spTgt spid="96"/>
                                        </p:tgtEl>
                                        <p:attrNameLst>
                                          <p:attrName>ppt_y</p:attrName>
                                        </p:attrNameLst>
                                      </p:cBhvr>
                                      <p:tavLst>
                                        <p:tav tm="0">
                                          <p:val>
                                            <p:strVal val="#ppt_y-.1"/>
                                          </p:val>
                                        </p:tav>
                                        <p:tav tm="100000">
                                          <p:val>
                                            <p:strVal val="#ppt_y"/>
                                          </p:val>
                                        </p:tav>
                                      </p:tavLst>
                                    </p:anim>
                                  </p:childTnLst>
                                </p:cTn>
                              </p:par>
                              <p:par>
                                <p:cTn id="32" presetID="10" presetClass="entr" presetSubtype="0" fill="hold" nodeType="withEffect">
                                  <p:stCondLst>
                                    <p:cond delay="1000"/>
                                  </p:stCondLst>
                                  <p:childTnLst>
                                    <p:set>
                                      <p:cBhvr>
                                        <p:cTn id="33" dur="1" fill="hold">
                                          <p:stCondLst>
                                            <p:cond delay="0"/>
                                          </p:stCondLst>
                                        </p:cTn>
                                        <p:tgtEl>
                                          <p:spTgt spid="102"/>
                                        </p:tgtEl>
                                        <p:attrNameLst>
                                          <p:attrName>style.visibility</p:attrName>
                                        </p:attrNameLst>
                                      </p:cBhvr>
                                      <p:to>
                                        <p:strVal val="visible"/>
                                      </p:to>
                                    </p:set>
                                    <p:animEffect transition="in" filter="fade">
                                      <p:cBhvr>
                                        <p:cTn id="34" dur="1000"/>
                                        <p:tgtEl>
                                          <p:spTgt spid="102"/>
                                        </p:tgtEl>
                                      </p:cBhvr>
                                    </p:animEffect>
                                  </p:childTnLst>
                                </p:cTn>
                              </p:par>
                              <p:par>
                                <p:cTn id="35" presetID="42" presetClass="path" presetSubtype="0" accel="50000" decel="50000" fill="hold" nodeType="withEffect">
                                  <p:stCondLst>
                                    <p:cond delay="1000"/>
                                  </p:stCondLst>
                                  <p:childTnLst>
                                    <p:animMotion origin="layout" path="M 0.07774 -0.08334 L -2.29167E-6 4.44444E-6 " pathEditMode="relative" rAng="0" ptsTypes="AA">
                                      <p:cBhvr>
                                        <p:cTn id="36" dur="1000" fill="hold"/>
                                        <p:tgtEl>
                                          <p:spTgt spid="102"/>
                                        </p:tgtEl>
                                        <p:attrNameLst>
                                          <p:attrName>ppt_x</p:attrName>
                                          <p:attrName>ppt_y</p:attrName>
                                        </p:attrNameLst>
                                      </p:cBhvr>
                                      <p:rCtr x="-3893" y="4167"/>
                                    </p:animMotion>
                                  </p:childTnLst>
                                </p:cTn>
                              </p:par>
                              <p:par>
                                <p:cTn id="37" presetID="47" presetClass="entr" presetSubtype="0" fill="hold" nodeType="withEffect">
                                  <p:stCondLst>
                                    <p:cond delay="0"/>
                                  </p:stCondLst>
                                  <p:childTnLst>
                                    <p:set>
                                      <p:cBhvr>
                                        <p:cTn id="38" dur="1" fill="hold">
                                          <p:stCondLst>
                                            <p:cond delay="0"/>
                                          </p:stCondLst>
                                        </p:cTn>
                                        <p:tgtEl>
                                          <p:spTgt spid="108"/>
                                        </p:tgtEl>
                                        <p:attrNameLst>
                                          <p:attrName>style.visibility</p:attrName>
                                        </p:attrNameLst>
                                      </p:cBhvr>
                                      <p:to>
                                        <p:strVal val="visible"/>
                                      </p:to>
                                    </p:set>
                                    <p:animEffect transition="in" filter="fade">
                                      <p:cBhvr>
                                        <p:cTn id="39" dur="1000"/>
                                        <p:tgtEl>
                                          <p:spTgt spid="108"/>
                                        </p:tgtEl>
                                      </p:cBhvr>
                                    </p:animEffect>
                                    <p:anim calcmode="lin" valueType="num">
                                      <p:cBhvr>
                                        <p:cTn id="40" dur="1000" fill="hold"/>
                                        <p:tgtEl>
                                          <p:spTgt spid="108"/>
                                        </p:tgtEl>
                                        <p:attrNameLst>
                                          <p:attrName>ppt_x</p:attrName>
                                        </p:attrNameLst>
                                      </p:cBhvr>
                                      <p:tavLst>
                                        <p:tav tm="0">
                                          <p:val>
                                            <p:strVal val="#ppt_x"/>
                                          </p:val>
                                        </p:tav>
                                        <p:tav tm="100000">
                                          <p:val>
                                            <p:strVal val="#ppt_x"/>
                                          </p:val>
                                        </p:tav>
                                      </p:tavLst>
                                    </p:anim>
                                    <p:anim calcmode="lin" valueType="num">
                                      <p:cBhvr>
                                        <p:cTn id="41" dur="1000" fill="hold"/>
                                        <p:tgtEl>
                                          <p:spTgt spid="108"/>
                                        </p:tgtEl>
                                        <p:attrNameLst>
                                          <p:attrName>ppt_y</p:attrName>
                                        </p:attrNameLst>
                                      </p:cBhvr>
                                      <p:tavLst>
                                        <p:tav tm="0">
                                          <p:val>
                                            <p:strVal val="#ppt_y-.1"/>
                                          </p:val>
                                        </p:tav>
                                        <p:tav tm="100000">
                                          <p:val>
                                            <p:strVal val="#ppt_y"/>
                                          </p:val>
                                        </p:tav>
                                      </p:tavLst>
                                    </p:anim>
                                  </p:childTnLst>
                                </p:cTn>
                              </p:par>
                              <p:par>
                                <p:cTn id="42" presetID="10" presetClass="entr" presetSubtype="0" fill="hold" nodeType="withEffect">
                                  <p:stCondLst>
                                    <p:cond delay="1000"/>
                                  </p:stCondLst>
                                  <p:childTnLst>
                                    <p:set>
                                      <p:cBhvr>
                                        <p:cTn id="43" dur="1" fill="hold">
                                          <p:stCondLst>
                                            <p:cond delay="0"/>
                                          </p:stCondLst>
                                        </p:cTn>
                                        <p:tgtEl>
                                          <p:spTgt spid="114"/>
                                        </p:tgtEl>
                                        <p:attrNameLst>
                                          <p:attrName>style.visibility</p:attrName>
                                        </p:attrNameLst>
                                      </p:cBhvr>
                                      <p:to>
                                        <p:strVal val="visible"/>
                                      </p:to>
                                    </p:set>
                                    <p:animEffect transition="in" filter="fade">
                                      <p:cBhvr>
                                        <p:cTn id="44" dur="1000"/>
                                        <p:tgtEl>
                                          <p:spTgt spid="114"/>
                                        </p:tgtEl>
                                      </p:cBhvr>
                                    </p:animEffect>
                                  </p:childTnLst>
                                </p:cTn>
                              </p:par>
                              <p:par>
                                <p:cTn id="45" presetID="42" presetClass="path" presetSubtype="0" accel="50000" decel="50000" fill="hold" nodeType="withEffect">
                                  <p:stCondLst>
                                    <p:cond delay="1000"/>
                                  </p:stCondLst>
                                  <p:childTnLst>
                                    <p:animMotion origin="layout" path="M 0.07774 -0.08334 L -2.29167E-6 3.7037E-6 " pathEditMode="relative" rAng="0" ptsTypes="AA">
                                      <p:cBhvr>
                                        <p:cTn id="46" dur="1000" fill="hold"/>
                                        <p:tgtEl>
                                          <p:spTgt spid="114"/>
                                        </p:tgtEl>
                                        <p:attrNameLst>
                                          <p:attrName>ppt_x</p:attrName>
                                          <p:attrName>ppt_y</p:attrName>
                                        </p:attrNameLst>
                                      </p:cBhvr>
                                      <p:rCtr x="-3893" y="41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BD537D0-6189-9547-BF1D-4F21EFF0458F}"/>
              </a:ext>
            </a:extLst>
          </p:cNvPr>
          <p:cNvSpPr>
            <a:spLocks noGrp="1"/>
          </p:cNvSpPr>
          <p:nvPr>
            <p:ph type="sldNum" sz="quarter" idx="4"/>
          </p:nvPr>
        </p:nvSpPr>
        <p:spPr/>
        <p:txBody>
          <a:bodyPr/>
          <a:lstStyle/>
          <a:p>
            <a:fld id="{3D966009-6E5A-4F8C-8CA7-E37AFBF5FB92}" type="slidenum">
              <a:rPr lang="en-US" smtClean="0"/>
              <a:t>174</a:t>
            </a:fld>
            <a:endParaRPr lang="en-US"/>
          </a:p>
        </p:txBody>
      </p:sp>
      <p:sp>
        <p:nvSpPr>
          <p:cNvPr id="3" name="Titel 2">
            <a:extLst>
              <a:ext uri="{FF2B5EF4-FFF2-40B4-BE49-F238E27FC236}">
                <a16:creationId xmlns:a16="http://schemas.microsoft.com/office/drawing/2014/main" id="{A982E596-C0CF-4143-8B00-B3211BFEA36A}"/>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C6DA8D04-685C-D245-9287-6B81434F9372}"/>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EC11D06F-BBA2-E547-9667-EB008B0E5DCB}"/>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09F3312A-DCAD-BB47-BB96-92DF19997771}"/>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BAA1A52E-2371-BF42-9063-22A83C3651BB}"/>
              </a:ext>
            </a:extLst>
          </p:cNvPr>
          <p:cNvSpPr>
            <a:spLocks noGrp="1"/>
          </p:cNvSpPr>
          <p:nvPr>
            <p:ph sz="quarter" idx="14"/>
          </p:nvPr>
        </p:nvSpPr>
        <p:spPr/>
        <p:txBody>
          <a:bodyPr/>
          <a:lstStyle/>
          <a:p>
            <a:endParaRPr lang="en-GB"/>
          </a:p>
        </p:txBody>
      </p:sp>
      <p:grpSp>
        <p:nvGrpSpPr>
          <p:cNvPr id="9" name="Group 2">
            <a:extLst>
              <a:ext uri="{FF2B5EF4-FFF2-40B4-BE49-F238E27FC236}">
                <a16:creationId xmlns:a16="http://schemas.microsoft.com/office/drawing/2014/main" id="{AEB8EACD-5458-8A49-B1E5-5D8947233125}"/>
              </a:ext>
            </a:extLst>
          </p:cNvPr>
          <p:cNvGrpSpPr/>
          <p:nvPr/>
        </p:nvGrpSpPr>
        <p:grpSpPr>
          <a:xfrm>
            <a:off x="-1257321" y="1215029"/>
            <a:ext cx="5153498" cy="5371828"/>
            <a:chOff x="-840632" y="1215029"/>
            <a:chExt cx="5153498" cy="5371828"/>
          </a:xfrm>
          <a:solidFill>
            <a:srgbClr val="E4E1E6"/>
          </a:solidFill>
        </p:grpSpPr>
        <p:cxnSp>
          <p:nvCxnSpPr>
            <p:cNvPr id="10" name="Straight Connector 169">
              <a:extLst>
                <a:ext uri="{FF2B5EF4-FFF2-40B4-BE49-F238E27FC236}">
                  <a16:creationId xmlns:a16="http://schemas.microsoft.com/office/drawing/2014/main" id="{614F9BEC-F088-B84D-9969-2F41B156BCC0}"/>
                </a:ext>
              </a:extLst>
            </p:cNvPr>
            <p:cNvCxnSpPr/>
            <p:nvPr/>
          </p:nvCxnSpPr>
          <p:spPr>
            <a:xfrm rot="17515079" flipH="1" flipV="1">
              <a:off x="-20070" y="2415293"/>
              <a:ext cx="3278435" cy="877907"/>
            </a:xfrm>
            <a:prstGeom prst="line">
              <a:avLst/>
            </a:prstGeom>
            <a:grpFill/>
            <a:ln w="6350" cap="flat" cmpd="sng" algn="ctr">
              <a:solidFill>
                <a:srgbClr val="D7D4D9">
                  <a:alpha val="59000"/>
                </a:srgbClr>
              </a:solidFill>
              <a:prstDash val="solid"/>
              <a:miter lim="800000"/>
            </a:ln>
            <a:effectLst/>
          </p:spPr>
        </p:cxnSp>
        <p:grpSp>
          <p:nvGrpSpPr>
            <p:cNvPr id="11" name="Group 1">
              <a:extLst>
                <a:ext uri="{FF2B5EF4-FFF2-40B4-BE49-F238E27FC236}">
                  <a16:creationId xmlns:a16="http://schemas.microsoft.com/office/drawing/2014/main" id="{A7127793-516E-7A45-BADF-F3D9C7AA414B}"/>
                </a:ext>
              </a:extLst>
            </p:cNvPr>
            <p:cNvGrpSpPr/>
            <p:nvPr/>
          </p:nvGrpSpPr>
          <p:grpSpPr>
            <a:xfrm>
              <a:off x="-840632" y="1500490"/>
              <a:ext cx="5153498" cy="5086367"/>
              <a:chOff x="-840632" y="1500490"/>
              <a:chExt cx="5153498" cy="5086367"/>
            </a:xfrm>
            <a:grpFill/>
          </p:grpSpPr>
          <p:cxnSp>
            <p:nvCxnSpPr>
              <p:cNvPr id="12" name="Straight Connector 174">
                <a:extLst>
                  <a:ext uri="{FF2B5EF4-FFF2-40B4-BE49-F238E27FC236}">
                    <a16:creationId xmlns:a16="http://schemas.microsoft.com/office/drawing/2014/main" id="{E63177BD-1BDF-134F-9F6D-038D015EC18F}"/>
                  </a:ext>
                </a:extLst>
              </p:cNvPr>
              <p:cNvCxnSpPr>
                <a:cxnSpLocks/>
              </p:cNvCxnSpPr>
              <p:nvPr/>
            </p:nvCxnSpPr>
            <p:spPr>
              <a:xfrm rot="17515079" flipH="1" flipV="1">
                <a:off x="130059" y="4980949"/>
                <a:ext cx="947303" cy="2153589"/>
              </a:xfrm>
              <a:prstGeom prst="line">
                <a:avLst/>
              </a:prstGeom>
              <a:grpFill/>
              <a:ln w="6350" cap="flat" cmpd="sng" algn="ctr">
                <a:solidFill>
                  <a:srgbClr val="D7D4D9">
                    <a:alpha val="59000"/>
                  </a:srgbClr>
                </a:solidFill>
                <a:prstDash val="solid"/>
                <a:miter lim="800000"/>
              </a:ln>
              <a:effectLst/>
            </p:spPr>
          </p:cxnSp>
          <p:cxnSp>
            <p:nvCxnSpPr>
              <p:cNvPr id="13" name="Straight Connector 175">
                <a:extLst>
                  <a:ext uri="{FF2B5EF4-FFF2-40B4-BE49-F238E27FC236}">
                    <a16:creationId xmlns:a16="http://schemas.microsoft.com/office/drawing/2014/main" id="{2F917E7A-939C-AE4F-9324-05F486DFFB63}"/>
                  </a:ext>
                </a:extLst>
              </p:cNvPr>
              <p:cNvCxnSpPr/>
              <p:nvPr/>
            </p:nvCxnSpPr>
            <p:spPr>
              <a:xfrm rot="17515079">
                <a:off x="-567450" y="4041206"/>
                <a:ext cx="3033707" cy="2057595"/>
              </a:xfrm>
              <a:prstGeom prst="line">
                <a:avLst/>
              </a:prstGeom>
              <a:grpFill/>
              <a:ln w="6350" cap="flat" cmpd="sng" algn="ctr">
                <a:solidFill>
                  <a:srgbClr val="D7D4D9">
                    <a:alpha val="59000"/>
                  </a:srgbClr>
                </a:solidFill>
                <a:prstDash val="solid"/>
                <a:miter lim="800000"/>
              </a:ln>
              <a:effectLst/>
            </p:spPr>
          </p:cxnSp>
          <p:cxnSp>
            <p:nvCxnSpPr>
              <p:cNvPr id="14" name="Straight Connector 165">
                <a:extLst>
                  <a:ext uri="{FF2B5EF4-FFF2-40B4-BE49-F238E27FC236}">
                    <a16:creationId xmlns:a16="http://schemas.microsoft.com/office/drawing/2014/main" id="{2C0E5C20-5E8A-B242-A270-5F160C0F36CE}"/>
                  </a:ext>
                </a:extLst>
              </p:cNvPr>
              <p:cNvCxnSpPr/>
              <p:nvPr/>
            </p:nvCxnSpPr>
            <p:spPr>
              <a:xfrm rot="17515079" flipH="1" flipV="1">
                <a:off x="2599342" y="1625590"/>
                <a:ext cx="1207122" cy="1824401"/>
              </a:xfrm>
              <a:prstGeom prst="line">
                <a:avLst/>
              </a:prstGeom>
              <a:grpFill/>
              <a:ln w="6350" cap="flat" cmpd="sng" algn="ctr">
                <a:solidFill>
                  <a:srgbClr val="D7D4D9">
                    <a:alpha val="59000"/>
                  </a:srgbClr>
                </a:solidFill>
                <a:prstDash val="solid"/>
                <a:miter lim="800000"/>
              </a:ln>
              <a:effectLst/>
            </p:spPr>
          </p:cxnSp>
          <p:cxnSp>
            <p:nvCxnSpPr>
              <p:cNvPr id="15" name="Straight Connector 166">
                <a:extLst>
                  <a:ext uri="{FF2B5EF4-FFF2-40B4-BE49-F238E27FC236}">
                    <a16:creationId xmlns:a16="http://schemas.microsoft.com/office/drawing/2014/main" id="{E8B98680-BDF7-7E41-B41B-E50F3472AA79}"/>
                  </a:ext>
                </a:extLst>
              </p:cNvPr>
              <p:cNvCxnSpPr/>
              <p:nvPr/>
            </p:nvCxnSpPr>
            <p:spPr>
              <a:xfrm rot="17515079" flipH="1">
                <a:off x="1749937" y="3028595"/>
                <a:ext cx="1083667" cy="754452"/>
              </a:xfrm>
              <a:prstGeom prst="line">
                <a:avLst/>
              </a:prstGeom>
              <a:grpFill/>
              <a:ln w="6350" cap="flat" cmpd="sng" algn="ctr">
                <a:solidFill>
                  <a:srgbClr val="D7D4D9">
                    <a:alpha val="59000"/>
                  </a:srgbClr>
                </a:solidFill>
                <a:prstDash val="solid"/>
                <a:miter lim="800000"/>
              </a:ln>
              <a:effectLst/>
            </p:spPr>
          </p:cxnSp>
          <p:cxnSp>
            <p:nvCxnSpPr>
              <p:cNvPr id="16" name="Straight Connector 167">
                <a:extLst>
                  <a:ext uri="{FF2B5EF4-FFF2-40B4-BE49-F238E27FC236}">
                    <a16:creationId xmlns:a16="http://schemas.microsoft.com/office/drawing/2014/main" id="{BCDE5361-956D-8F43-90B4-DCF934F65431}"/>
                  </a:ext>
                </a:extLst>
              </p:cNvPr>
              <p:cNvCxnSpPr/>
              <p:nvPr/>
            </p:nvCxnSpPr>
            <p:spPr>
              <a:xfrm rot="17515079">
                <a:off x="2232254" y="2669178"/>
                <a:ext cx="2277072" cy="1025640"/>
              </a:xfrm>
              <a:prstGeom prst="line">
                <a:avLst/>
              </a:prstGeom>
              <a:grpFill/>
              <a:ln w="6350" cap="flat" cmpd="sng" algn="ctr">
                <a:solidFill>
                  <a:srgbClr val="D7D4D9">
                    <a:alpha val="59000"/>
                  </a:srgbClr>
                </a:solidFill>
                <a:prstDash val="solid"/>
                <a:miter lim="800000"/>
              </a:ln>
              <a:effectLst/>
            </p:spPr>
          </p:cxnSp>
          <p:cxnSp>
            <p:nvCxnSpPr>
              <p:cNvPr id="17" name="Straight Connector 168">
                <a:extLst>
                  <a:ext uri="{FF2B5EF4-FFF2-40B4-BE49-F238E27FC236}">
                    <a16:creationId xmlns:a16="http://schemas.microsoft.com/office/drawing/2014/main" id="{F5B4D1C6-031E-134D-BDC8-102A79AE604B}"/>
                  </a:ext>
                </a:extLst>
              </p:cNvPr>
              <p:cNvCxnSpPr/>
              <p:nvPr/>
            </p:nvCxnSpPr>
            <p:spPr>
              <a:xfrm rot="17515079" flipH="1">
                <a:off x="1332985" y="2397677"/>
                <a:ext cx="2414245" cy="781886"/>
              </a:xfrm>
              <a:prstGeom prst="line">
                <a:avLst/>
              </a:prstGeom>
              <a:grpFill/>
              <a:ln w="6350" cap="flat" cmpd="sng" algn="ctr">
                <a:solidFill>
                  <a:srgbClr val="D7D4D9">
                    <a:alpha val="59000"/>
                  </a:srgbClr>
                </a:solidFill>
                <a:prstDash val="solid"/>
                <a:miter lim="800000"/>
              </a:ln>
              <a:effectLst/>
            </p:spPr>
          </p:cxnSp>
          <p:cxnSp>
            <p:nvCxnSpPr>
              <p:cNvPr id="18" name="Straight Connector 170">
                <a:extLst>
                  <a:ext uri="{FF2B5EF4-FFF2-40B4-BE49-F238E27FC236}">
                    <a16:creationId xmlns:a16="http://schemas.microsoft.com/office/drawing/2014/main" id="{A4405735-CAB1-7948-8B96-DD76C7C67656}"/>
                  </a:ext>
                </a:extLst>
              </p:cNvPr>
              <p:cNvCxnSpPr>
                <a:cxnSpLocks/>
              </p:cNvCxnSpPr>
              <p:nvPr/>
            </p:nvCxnSpPr>
            <p:spPr>
              <a:xfrm rot="17515079" flipV="1">
                <a:off x="-116160" y="3214074"/>
                <a:ext cx="1424949" cy="555085"/>
              </a:xfrm>
              <a:prstGeom prst="line">
                <a:avLst/>
              </a:prstGeom>
              <a:grpFill/>
              <a:ln w="6350" cap="flat" cmpd="sng" algn="ctr">
                <a:solidFill>
                  <a:srgbClr val="D7D4D9">
                    <a:alpha val="59000"/>
                  </a:srgbClr>
                </a:solidFill>
                <a:prstDash val="solid"/>
                <a:miter lim="800000"/>
              </a:ln>
              <a:effectLst/>
            </p:spPr>
          </p:cxnSp>
          <p:cxnSp>
            <p:nvCxnSpPr>
              <p:cNvPr id="19" name="Straight Connector 171">
                <a:extLst>
                  <a:ext uri="{FF2B5EF4-FFF2-40B4-BE49-F238E27FC236}">
                    <a16:creationId xmlns:a16="http://schemas.microsoft.com/office/drawing/2014/main" id="{DC2C13CD-0BAA-474A-AAFB-4A57C31D82B0}"/>
                  </a:ext>
                </a:extLst>
              </p:cNvPr>
              <p:cNvCxnSpPr/>
              <p:nvPr/>
            </p:nvCxnSpPr>
            <p:spPr>
              <a:xfrm rot="17515079">
                <a:off x="1082115" y="1995581"/>
                <a:ext cx="541833" cy="1481003"/>
              </a:xfrm>
              <a:prstGeom prst="line">
                <a:avLst/>
              </a:prstGeom>
              <a:grpFill/>
              <a:ln w="6350" cap="flat" cmpd="sng" algn="ctr">
                <a:solidFill>
                  <a:srgbClr val="D7D4D9">
                    <a:alpha val="59000"/>
                  </a:srgbClr>
                </a:solidFill>
                <a:prstDash val="solid"/>
                <a:miter lim="800000"/>
              </a:ln>
              <a:effectLst/>
            </p:spPr>
          </p:cxnSp>
          <p:cxnSp>
            <p:nvCxnSpPr>
              <p:cNvPr id="20" name="Straight Connector 172">
                <a:extLst>
                  <a:ext uri="{FF2B5EF4-FFF2-40B4-BE49-F238E27FC236}">
                    <a16:creationId xmlns:a16="http://schemas.microsoft.com/office/drawing/2014/main" id="{29B35ABF-D767-4B40-AFF9-BCD45F06DEE4}"/>
                  </a:ext>
                </a:extLst>
              </p:cNvPr>
              <p:cNvCxnSpPr/>
              <p:nvPr/>
            </p:nvCxnSpPr>
            <p:spPr>
              <a:xfrm rot="17515079" flipH="1">
                <a:off x="486105" y="3930158"/>
                <a:ext cx="3033707" cy="880029"/>
              </a:xfrm>
              <a:prstGeom prst="line">
                <a:avLst/>
              </a:prstGeom>
              <a:grpFill/>
              <a:ln w="6350" cap="flat" cmpd="sng" algn="ctr">
                <a:solidFill>
                  <a:srgbClr val="D7D4D9">
                    <a:alpha val="59000"/>
                  </a:srgbClr>
                </a:solidFill>
                <a:prstDash val="solid"/>
                <a:miter lim="800000"/>
              </a:ln>
              <a:effectLst/>
            </p:spPr>
          </p:cxnSp>
          <p:cxnSp>
            <p:nvCxnSpPr>
              <p:cNvPr id="21" name="Straight Connector 173">
                <a:extLst>
                  <a:ext uri="{FF2B5EF4-FFF2-40B4-BE49-F238E27FC236}">
                    <a16:creationId xmlns:a16="http://schemas.microsoft.com/office/drawing/2014/main" id="{BA05C374-394D-CB47-9276-F6C77AC216CF}"/>
                  </a:ext>
                </a:extLst>
              </p:cNvPr>
              <p:cNvCxnSpPr>
                <a:cxnSpLocks/>
              </p:cNvCxnSpPr>
              <p:nvPr/>
            </p:nvCxnSpPr>
            <p:spPr>
              <a:xfrm rot="17515079" flipH="1">
                <a:off x="1101298" y="4956466"/>
                <a:ext cx="2072688" cy="176952"/>
              </a:xfrm>
              <a:prstGeom prst="line">
                <a:avLst/>
              </a:prstGeom>
              <a:grpFill/>
              <a:ln w="6350" cap="flat" cmpd="sng" algn="ctr">
                <a:solidFill>
                  <a:srgbClr val="D7D4D9">
                    <a:alpha val="59000"/>
                  </a:srgbClr>
                </a:solidFill>
                <a:prstDash val="solid"/>
                <a:miter lim="800000"/>
              </a:ln>
              <a:effectLst/>
            </p:spPr>
          </p:cxnSp>
          <p:cxnSp>
            <p:nvCxnSpPr>
              <p:cNvPr id="22" name="Straight Connector 176">
                <a:extLst>
                  <a:ext uri="{FF2B5EF4-FFF2-40B4-BE49-F238E27FC236}">
                    <a16:creationId xmlns:a16="http://schemas.microsoft.com/office/drawing/2014/main" id="{65DD069D-9047-B345-A83C-E010467ED80B}"/>
                  </a:ext>
                </a:extLst>
              </p:cNvPr>
              <p:cNvCxnSpPr/>
              <p:nvPr/>
            </p:nvCxnSpPr>
            <p:spPr>
              <a:xfrm rot="17515079" flipV="1">
                <a:off x="605462" y="4193566"/>
                <a:ext cx="1227699" cy="1812468"/>
              </a:xfrm>
              <a:prstGeom prst="line">
                <a:avLst/>
              </a:prstGeom>
              <a:grpFill/>
              <a:ln w="6350" cap="flat" cmpd="sng" algn="ctr">
                <a:solidFill>
                  <a:srgbClr val="D7D4D9">
                    <a:alpha val="59000"/>
                  </a:srgbClr>
                </a:solidFill>
                <a:prstDash val="solid"/>
                <a:miter lim="800000"/>
              </a:ln>
              <a:effectLst/>
            </p:spPr>
          </p:cxnSp>
          <p:cxnSp>
            <p:nvCxnSpPr>
              <p:cNvPr id="23" name="Straight Connector 177">
                <a:extLst>
                  <a:ext uri="{FF2B5EF4-FFF2-40B4-BE49-F238E27FC236}">
                    <a16:creationId xmlns:a16="http://schemas.microsoft.com/office/drawing/2014/main" id="{5D8ED410-BAA4-E242-AD40-86D9A57BF535}"/>
                  </a:ext>
                </a:extLst>
              </p:cNvPr>
              <p:cNvCxnSpPr/>
              <p:nvPr/>
            </p:nvCxnSpPr>
            <p:spPr>
              <a:xfrm rot="17515079" flipH="1" flipV="1">
                <a:off x="-1085344" y="4983023"/>
                <a:ext cx="2181051" cy="384084"/>
              </a:xfrm>
              <a:prstGeom prst="line">
                <a:avLst/>
              </a:prstGeom>
              <a:grpFill/>
              <a:ln w="6350" cap="flat" cmpd="sng" algn="ctr">
                <a:solidFill>
                  <a:srgbClr val="D7D4D9">
                    <a:alpha val="59000"/>
                  </a:srgbClr>
                </a:solidFill>
                <a:prstDash val="solid"/>
                <a:miter lim="800000"/>
              </a:ln>
              <a:effectLst/>
            </p:spPr>
          </p:cxnSp>
          <p:cxnSp>
            <p:nvCxnSpPr>
              <p:cNvPr id="24" name="Straight Connector 178">
                <a:extLst>
                  <a:ext uri="{FF2B5EF4-FFF2-40B4-BE49-F238E27FC236}">
                    <a16:creationId xmlns:a16="http://schemas.microsoft.com/office/drawing/2014/main" id="{F4F25335-305E-8841-8ED7-A8418CBC31D6}"/>
                  </a:ext>
                </a:extLst>
              </p:cNvPr>
              <p:cNvCxnSpPr/>
              <p:nvPr/>
            </p:nvCxnSpPr>
            <p:spPr>
              <a:xfrm rot="17515079" flipH="1" flipV="1">
                <a:off x="-608285" y="2541960"/>
                <a:ext cx="1059015" cy="961608"/>
              </a:xfrm>
              <a:prstGeom prst="line">
                <a:avLst/>
              </a:prstGeom>
              <a:grpFill/>
              <a:ln w="6350" cap="flat" cmpd="sng" algn="ctr">
                <a:solidFill>
                  <a:srgbClr val="D7D4D9">
                    <a:alpha val="59000"/>
                  </a:srgbClr>
                </a:solidFill>
                <a:prstDash val="solid"/>
                <a:miter lim="800000"/>
              </a:ln>
              <a:effectLst/>
            </p:spPr>
          </p:cxnSp>
          <p:cxnSp>
            <p:nvCxnSpPr>
              <p:cNvPr id="25" name="Straight Connector 179">
                <a:extLst>
                  <a:ext uri="{FF2B5EF4-FFF2-40B4-BE49-F238E27FC236}">
                    <a16:creationId xmlns:a16="http://schemas.microsoft.com/office/drawing/2014/main" id="{E0A115DB-5026-6145-8CDA-E1511F398019}"/>
                  </a:ext>
                </a:extLst>
              </p:cNvPr>
              <p:cNvCxnSpPr>
                <a:cxnSpLocks/>
              </p:cNvCxnSpPr>
              <p:nvPr/>
            </p:nvCxnSpPr>
            <p:spPr>
              <a:xfrm rot="17515079" flipH="1">
                <a:off x="-216638" y="2987403"/>
                <a:ext cx="341280" cy="1589267"/>
              </a:xfrm>
              <a:prstGeom prst="line">
                <a:avLst/>
              </a:prstGeom>
              <a:grpFill/>
              <a:ln w="6350" cap="flat" cmpd="sng" algn="ctr">
                <a:solidFill>
                  <a:srgbClr val="D7D4D9">
                    <a:alpha val="59000"/>
                  </a:srgbClr>
                </a:solidFill>
                <a:prstDash val="solid"/>
                <a:miter lim="800000"/>
              </a:ln>
              <a:effectLst/>
            </p:spPr>
          </p:cxnSp>
          <p:cxnSp>
            <p:nvCxnSpPr>
              <p:cNvPr id="26" name="Straight Connector 180">
                <a:extLst>
                  <a:ext uri="{FF2B5EF4-FFF2-40B4-BE49-F238E27FC236}">
                    <a16:creationId xmlns:a16="http://schemas.microsoft.com/office/drawing/2014/main" id="{B8D67F8A-6CE5-EA44-AF1C-AB45F32A9FDA}"/>
                  </a:ext>
                </a:extLst>
              </p:cNvPr>
              <p:cNvCxnSpPr/>
              <p:nvPr/>
            </p:nvCxnSpPr>
            <p:spPr>
              <a:xfrm rot="17515079">
                <a:off x="1167383" y="3315463"/>
                <a:ext cx="851312" cy="1623715"/>
              </a:xfrm>
              <a:prstGeom prst="line">
                <a:avLst/>
              </a:prstGeom>
              <a:grpFill/>
              <a:ln w="6350" cap="flat" cmpd="sng" algn="ctr">
                <a:solidFill>
                  <a:srgbClr val="D7D4D9">
                    <a:alpha val="59000"/>
                  </a:srgbClr>
                </a:solidFill>
                <a:prstDash val="solid"/>
                <a:miter lim="800000"/>
              </a:ln>
              <a:effectLst/>
            </p:spPr>
          </p:cxnSp>
          <p:cxnSp>
            <p:nvCxnSpPr>
              <p:cNvPr id="27" name="Straight Connector 181">
                <a:extLst>
                  <a:ext uri="{FF2B5EF4-FFF2-40B4-BE49-F238E27FC236}">
                    <a16:creationId xmlns:a16="http://schemas.microsoft.com/office/drawing/2014/main" id="{79D09CD9-2BE0-1B4E-AEB3-B79E766F0318}"/>
                  </a:ext>
                </a:extLst>
              </p:cNvPr>
              <p:cNvCxnSpPr/>
              <p:nvPr/>
            </p:nvCxnSpPr>
            <p:spPr>
              <a:xfrm rot="17515079" flipH="1">
                <a:off x="1292079" y="2239754"/>
                <a:ext cx="531125" cy="2284295"/>
              </a:xfrm>
              <a:prstGeom prst="line">
                <a:avLst/>
              </a:prstGeom>
              <a:grpFill/>
              <a:ln w="6350" cap="flat" cmpd="sng" algn="ctr">
                <a:solidFill>
                  <a:srgbClr val="D7D4D9">
                    <a:alpha val="59000"/>
                  </a:srgbClr>
                </a:solidFill>
                <a:prstDash val="solid"/>
                <a:miter lim="800000"/>
              </a:ln>
              <a:effectLst/>
            </p:spPr>
          </p:cxnSp>
          <p:sp>
            <p:nvSpPr>
              <p:cNvPr id="28" name="Oval 27">
                <a:extLst>
                  <a:ext uri="{FF2B5EF4-FFF2-40B4-BE49-F238E27FC236}">
                    <a16:creationId xmlns:a16="http://schemas.microsoft.com/office/drawing/2014/main" id="{8D468C46-48F8-0340-A98A-22C3961971A5}"/>
                  </a:ext>
                </a:extLst>
              </p:cNvPr>
              <p:cNvSpPr/>
              <p:nvPr/>
            </p:nvSpPr>
            <p:spPr>
              <a:xfrm rot="17515079" flipH="1">
                <a:off x="-752240" y="3272668"/>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29" name="Oval 28">
                <a:extLst>
                  <a:ext uri="{FF2B5EF4-FFF2-40B4-BE49-F238E27FC236}">
                    <a16:creationId xmlns:a16="http://schemas.microsoft.com/office/drawing/2014/main" id="{E7C30E0C-BD8F-1149-93C1-764C37276033}"/>
                  </a:ext>
                </a:extLst>
              </p:cNvPr>
              <p:cNvSpPr/>
              <p:nvPr/>
            </p:nvSpPr>
            <p:spPr>
              <a:xfrm rot="17515079" flipH="1">
                <a:off x="500953" y="4153093"/>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0" name="Oval 29">
                <a:extLst>
                  <a:ext uri="{FF2B5EF4-FFF2-40B4-BE49-F238E27FC236}">
                    <a16:creationId xmlns:a16="http://schemas.microsoft.com/office/drawing/2014/main" id="{93F16996-4C56-D243-BDA2-91DC0B89ADDB}"/>
                  </a:ext>
                </a:extLst>
              </p:cNvPr>
              <p:cNvSpPr/>
              <p:nvPr/>
            </p:nvSpPr>
            <p:spPr>
              <a:xfrm rot="17515079" flipH="1">
                <a:off x="-605844" y="5964172"/>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1" name="Oval 30">
                <a:extLst>
                  <a:ext uri="{FF2B5EF4-FFF2-40B4-BE49-F238E27FC236}">
                    <a16:creationId xmlns:a16="http://schemas.microsoft.com/office/drawing/2014/main" id="{7FDD3EEF-A809-8745-B8B4-F3823453A43E}"/>
                  </a:ext>
                </a:extLst>
              </p:cNvPr>
              <p:cNvSpPr/>
              <p:nvPr/>
            </p:nvSpPr>
            <p:spPr>
              <a:xfrm rot="17515079" flipH="1">
                <a:off x="1734220" y="5873854"/>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2" name="Oval 31">
                <a:extLst>
                  <a:ext uri="{FF2B5EF4-FFF2-40B4-BE49-F238E27FC236}">
                    <a16:creationId xmlns:a16="http://schemas.microsoft.com/office/drawing/2014/main" id="{72F253C9-EB1F-F94E-882A-7921636DAB1B}"/>
                  </a:ext>
                </a:extLst>
              </p:cNvPr>
              <p:cNvSpPr/>
              <p:nvPr/>
            </p:nvSpPr>
            <p:spPr>
              <a:xfrm rot="17515079" flipH="1">
                <a:off x="2364010" y="3986076"/>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3" name="Oval 32">
                <a:extLst>
                  <a:ext uri="{FF2B5EF4-FFF2-40B4-BE49-F238E27FC236}">
                    <a16:creationId xmlns:a16="http://schemas.microsoft.com/office/drawing/2014/main" id="{0C4B0CBF-A90D-AE44-8BA5-52FD132B56E7}"/>
                  </a:ext>
                </a:extLst>
              </p:cNvPr>
              <p:cNvSpPr/>
              <p:nvPr/>
            </p:nvSpPr>
            <p:spPr>
              <a:xfrm rot="17515079" flipH="1">
                <a:off x="2057215" y="2729445"/>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4" name="Oval 33">
                <a:extLst>
                  <a:ext uri="{FF2B5EF4-FFF2-40B4-BE49-F238E27FC236}">
                    <a16:creationId xmlns:a16="http://schemas.microsoft.com/office/drawing/2014/main" id="{64367910-5C95-0D4F-BF40-03780474BA8E}"/>
                  </a:ext>
                </a:extLst>
              </p:cNvPr>
              <p:cNvSpPr/>
              <p:nvPr/>
            </p:nvSpPr>
            <p:spPr>
              <a:xfrm rot="17515079" flipH="1">
                <a:off x="4140450" y="2267587"/>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5" name="Oval 34">
                <a:extLst>
                  <a:ext uri="{FF2B5EF4-FFF2-40B4-BE49-F238E27FC236}">
                    <a16:creationId xmlns:a16="http://schemas.microsoft.com/office/drawing/2014/main" id="{531CA206-98BF-2247-80FA-ECE10A117591}"/>
                  </a:ext>
                </a:extLst>
              </p:cNvPr>
              <p:cNvSpPr/>
              <p:nvPr/>
            </p:nvSpPr>
            <p:spPr>
              <a:xfrm rot="17515079" flipH="1">
                <a:off x="2521160" y="1500490"/>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sp>
            <p:nvSpPr>
              <p:cNvPr id="36" name="Oval 35">
                <a:extLst>
                  <a:ext uri="{FF2B5EF4-FFF2-40B4-BE49-F238E27FC236}">
                    <a16:creationId xmlns:a16="http://schemas.microsoft.com/office/drawing/2014/main" id="{65798BEC-11DC-7D45-9D6B-7F805B507B5B}"/>
                  </a:ext>
                </a:extLst>
              </p:cNvPr>
              <p:cNvSpPr/>
              <p:nvPr/>
            </p:nvSpPr>
            <p:spPr>
              <a:xfrm rot="17515079" flipH="1">
                <a:off x="541435" y="2639804"/>
                <a:ext cx="172416" cy="172416"/>
              </a:xfrm>
              <a:prstGeom prst="ellipse">
                <a:avLst/>
              </a:prstGeom>
              <a:grpFill/>
              <a:ln w="12700" cap="flat" cmpd="sng" algn="ctr">
                <a:solidFill>
                  <a:srgbClr val="D7D4D9">
                    <a:alpha val="59000"/>
                  </a:srgbClr>
                </a:solid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Calibri" panose="020F0502020204030204"/>
                  <a:cs typeface="+mn-cs"/>
                </a:endParaRPr>
              </a:p>
            </p:txBody>
          </p:sp>
        </p:grpSp>
      </p:grpSp>
      <p:cxnSp>
        <p:nvCxnSpPr>
          <p:cNvPr id="37" name="Straight Connector 206">
            <a:extLst>
              <a:ext uri="{FF2B5EF4-FFF2-40B4-BE49-F238E27FC236}">
                <a16:creationId xmlns:a16="http://schemas.microsoft.com/office/drawing/2014/main" id="{51C96AE0-3168-C940-9244-E1233BD354C5}"/>
              </a:ext>
            </a:extLst>
          </p:cNvPr>
          <p:cNvCxnSpPr/>
          <p:nvPr/>
        </p:nvCxnSpPr>
        <p:spPr>
          <a:xfrm rot="20296323" flipH="1" flipV="1">
            <a:off x="6357961" y="3747376"/>
            <a:ext cx="2455759" cy="432462"/>
          </a:xfrm>
          <a:prstGeom prst="line">
            <a:avLst/>
          </a:prstGeom>
          <a:solidFill>
            <a:srgbClr val="638CB9">
              <a:alpha val="50000"/>
            </a:srgbClr>
          </a:solidFill>
          <a:ln w="6350" cap="flat" cmpd="sng" algn="ctr">
            <a:solidFill>
              <a:srgbClr val="EBEFF5"/>
            </a:solidFill>
            <a:prstDash val="solid"/>
            <a:miter lim="800000"/>
          </a:ln>
          <a:effectLst/>
        </p:spPr>
      </p:cxnSp>
      <p:sp>
        <p:nvSpPr>
          <p:cNvPr id="38" name="Oval 37">
            <a:extLst>
              <a:ext uri="{FF2B5EF4-FFF2-40B4-BE49-F238E27FC236}">
                <a16:creationId xmlns:a16="http://schemas.microsoft.com/office/drawing/2014/main" id="{175DA3DB-02C9-7C4F-897E-4FD30670E06F}"/>
              </a:ext>
            </a:extLst>
          </p:cNvPr>
          <p:cNvSpPr/>
          <p:nvPr/>
        </p:nvSpPr>
        <p:spPr>
          <a:xfrm rot="20296323" flipH="1">
            <a:off x="8765190" y="3662259"/>
            <a:ext cx="194132" cy="194132"/>
          </a:xfrm>
          <a:prstGeom prst="ellipse">
            <a:avLst/>
          </a:prstGeom>
          <a:solidFill>
            <a:srgbClr val="EBEFF5"/>
          </a:solidFill>
          <a:ln w="12700" cap="flat" cmpd="sng" algn="ctr">
            <a:no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Arial" panose="020B0604020202020204" pitchFamily="34" charset="0"/>
              <a:cs typeface="Arial" panose="020B0604020202020204" pitchFamily="34" charset="0"/>
            </a:endParaRPr>
          </a:p>
        </p:txBody>
      </p:sp>
      <p:sp>
        <p:nvSpPr>
          <p:cNvPr id="39" name="Oval 38">
            <a:extLst>
              <a:ext uri="{FF2B5EF4-FFF2-40B4-BE49-F238E27FC236}">
                <a16:creationId xmlns:a16="http://schemas.microsoft.com/office/drawing/2014/main" id="{18FED7AC-F5DD-9F46-A379-80E44C7142E4}"/>
              </a:ext>
            </a:extLst>
          </p:cNvPr>
          <p:cNvSpPr/>
          <p:nvPr/>
        </p:nvSpPr>
        <p:spPr>
          <a:xfrm rot="20296323" flipH="1">
            <a:off x="6367750" y="4119175"/>
            <a:ext cx="194132" cy="194132"/>
          </a:xfrm>
          <a:prstGeom prst="ellipse">
            <a:avLst/>
          </a:prstGeom>
          <a:solidFill>
            <a:srgbClr val="EBEFF5"/>
          </a:solidFill>
          <a:ln w="12700" cap="flat" cmpd="sng" algn="ctr">
            <a:noFill/>
            <a:prstDash val="solid"/>
            <a:miter lim="800000"/>
          </a:ln>
          <a:effectLst/>
        </p:spPr>
        <p:txBody>
          <a:bodyPr rtlCol="0" anchor="ctr"/>
          <a:lstStyle/>
          <a:p>
            <a:pPr algn="ctr" eaLnBrk="1" fontAlgn="auto" hangingPunct="1">
              <a:spcBef>
                <a:spcPts val="0"/>
              </a:spcBef>
              <a:spcAft>
                <a:spcPts val="0"/>
              </a:spcAft>
            </a:pPr>
            <a:endParaRPr lang="id-ID" sz="1800" b="0" kern="0">
              <a:solidFill>
                <a:prstClr val="white"/>
              </a:solidFill>
              <a:latin typeface="Arial" panose="020B0604020202020204" pitchFamily="34" charset="0"/>
              <a:cs typeface="Arial" panose="020B0604020202020204" pitchFamily="34" charset="0"/>
            </a:endParaRPr>
          </a:p>
        </p:txBody>
      </p:sp>
      <p:sp>
        <p:nvSpPr>
          <p:cNvPr id="41" name="Rectangle: Rounded Corners 215">
            <a:extLst>
              <a:ext uri="{FF2B5EF4-FFF2-40B4-BE49-F238E27FC236}">
                <a16:creationId xmlns:a16="http://schemas.microsoft.com/office/drawing/2014/main" id="{B9E6E406-0635-6E44-ACFB-9148724C4159}"/>
              </a:ext>
            </a:extLst>
          </p:cNvPr>
          <p:cNvSpPr/>
          <p:nvPr/>
        </p:nvSpPr>
        <p:spPr>
          <a:xfrm>
            <a:off x="1542395" y="4462265"/>
            <a:ext cx="4433888" cy="443267"/>
          </a:xfrm>
          <a:prstGeom prst="roundRect">
            <a:avLst>
              <a:gd name="adj" fmla="val 0"/>
            </a:avLst>
          </a:prstGeom>
          <a:solidFill>
            <a:srgbClr val="848A9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2" name="Rectangle: Rounded Corners 216">
            <a:extLst>
              <a:ext uri="{FF2B5EF4-FFF2-40B4-BE49-F238E27FC236}">
                <a16:creationId xmlns:a16="http://schemas.microsoft.com/office/drawing/2014/main" id="{D8B254C1-E36B-AF4E-9555-879C75C569BF}"/>
              </a:ext>
            </a:extLst>
          </p:cNvPr>
          <p:cNvSpPr/>
          <p:nvPr/>
        </p:nvSpPr>
        <p:spPr>
          <a:xfrm>
            <a:off x="6138320" y="4462265"/>
            <a:ext cx="4433888" cy="443267"/>
          </a:xfrm>
          <a:prstGeom prst="roundRect">
            <a:avLst>
              <a:gd name="adj" fmla="val 0"/>
            </a:avLst>
          </a:prstGeom>
          <a:solidFill>
            <a:srgbClr val="848A9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3" name="Rectangle: Rounded Corners 72">
            <a:extLst>
              <a:ext uri="{FF2B5EF4-FFF2-40B4-BE49-F238E27FC236}">
                <a16:creationId xmlns:a16="http://schemas.microsoft.com/office/drawing/2014/main" id="{65861619-3A95-1C4F-849D-1D1528F45CC9}"/>
              </a:ext>
            </a:extLst>
          </p:cNvPr>
          <p:cNvSpPr/>
          <p:nvPr/>
        </p:nvSpPr>
        <p:spPr>
          <a:xfrm>
            <a:off x="1542395" y="3651606"/>
            <a:ext cx="4433888" cy="1265787"/>
          </a:xfrm>
          <a:prstGeom prst="roundRect">
            <a:avLst>
              <a:gd name="adj" fmla="val 0"/>
            </a:avLst>
          </a:prstGeom>
          <a:solidFill>
            <a:srgbClr val="014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4" name="Rectangle 94">
            <a:extLst>
              <a:ext uri="{FF2B5EF4-FFF2-40B4-BE49-F238E27FC236}">
                <a16:creationId xmlns:a16="http://schemas.microsoft.com/office/drawing/2014/main" id="{E4052809-CA58-9F49-A3CE-4DAC301127B6}"/>
              </a:ext>
            </a:extLst>
          </p:cNvPr>
          <p:cNvSpPr/>
          <p:nvPr/>
        </p:nvSpPr>
        <p:spPr>
          <a:xfrm>
            <a:off x="1685838"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Demand Generation</a:t>
            </a:r>
            <a:endParaRPr lang="id-ID" sz="800" b="0">
              <a:solidFill>
                <a:prstClr val="white"/>
              </a:solidFill>
              <a:latin typeface="Arial" panose="020B0604020202020204" pitchFamily="34" charset="0"/>
              <a:cs typeface="Arial" panose="020B0604020202020204" pitchFamily="34" charset="0"/>
            </a:endParaRPr>
          </a:p>
        </p:txBody>
      </p:sp>
      <p:sp>
        <p:nvSpPr>
          <p:cNvPr id="45" name="Rectangle 95">
            <a:extLst>
              <a:ext uri="{FF2B5EF4-FFF2-40B4-BE49-F238E27FC236}">
                <a16:creationId xmlns:a16="http://schemas.microsoft.com/office/drawing/2014/main" id="{C59B0421-73B8-274A-92BA-E0F56FD3330C}"/>
              </a:ext>
            </a:extLst>
          </p:cNvPr>
          <p:cNvSpPr/>
          <p:nvPr/>
        </p:nvSpPr>
        <p:spPr>
          <a:xfrm>
            <a:off x="2745926"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Reach &amp; Selection</a:t>
            </a:r>
            <a:endParaRPr lang="id-ID" sz="800" b="0">
              <a:solidFill>
                <a:prstClr val="white"/>
              </a:solidFill>
              <a:latin typeface="Arial" panose="020B0604020202020204" pitchFamily="34" charset="0"/>
              <a:cs typeface="Arial" panose="020B0604020202020204" pitchFamily="34" charset="0"/>
            </a:endParaRPr>
          </a:p>
        </p:txBody>
      </p:sp>
      <p:sp>
        <p:nvSpPr>
          <p:cNvPr id="46" name="Rectangle 96">
            <a:extLst>
              <a:ext uri="{FF2B5EF4-FFF2-40B4-BE49-F238E27FC236}">
                <a16:creationId xmlns:a16="http://schemas.microsoft.com/office/drawing/2014/main" id="{588471E4-BFE1-0C40-A8CE-311A3AF70790}"/>
              </a:ext>
            </a:extLst>
          </p:cNvPr>
          <p:cNvSpPr/>
          <p:nvPr/>
        </p:nvSpPr>
        <p:spPr>
          <a:xfrm>
            <a:off x="3851993"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Purchase Process</a:t>
            </a:r>
            <a:endParaRPr lang="id-ID" sz="800" b="0">
              <a:solidFill>
                <a:prstClr val="white"/>
              </a:solidFill>
              <a:latin typeface="Arial" panose="020B0604020202020204" pitchFamily="34" charset="0"/>
              <a:cs typeface="Arial" panose="020B0604020202020204" pitchFamily="34" charset="0"/>
            </a:endParaRPr>
          </a:p>
        </p:txBody>
      </p:sp>
      <p:sp>
        <p:nvSpPr>
          <p:cNvPr id="47" name="Rectangle 97">
            <a:extLst>
              <a:ext uri="{FF2B5EF4-FFF2-40B4-BE49-F238E27FC236}">
                <a16:creationId xmlns:a16="http://schemas.microsoft.com/office/drawing/2014/main" id="{BFEEC94B-A502-EB4F-AF81-D6D35BC73F3D}"/>
              </a:ext>
            </a:extLst>
          </p:cNvPr>
          <p:cNvSpPr/>
          <p:nvPr/>
        </p:nvSpPr>
        <p:spPr>
          <a:xfrm>
            <a:off x="4971248"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Customer Experience</a:t>
            </a:r>
            <a:endParaRPr lang="id-ID" sz="800" b="0">
              <a:solidFill>
                <a:prstClr val="white"/>
              </a:solidFill>
              <a:latin typeface="Arial" panose="020B0604020202020204" pitchFamily="34" charset="0"/>
              <a:cs typeface="Arial" panose="020B0604020202020204" pitchFamily="34" charset="0"/>
            </a:endParaRPr>
          </a:p>
        </p:txBody>
      </p:sp>
      <p:cxnSp>
        <p:nvCxnSpPr>
          <p:cNvPr id="48" name="Straight Connector 98">
            <a:extLst>
              <a:ext uri="{FF2B5EF4-FFF2-40B4-BE49-F238E27FC236}">
                <a16:creationId xmlns:a16="http://schemas.microsoft.com/office/drawing/2014/main" id="{BE5D4711-BE85-C447-97D1-A83B42FA1795}"/>
              </a:ext>
            </a:extLst>
          </p:cNvPr>
          <p:cNvCxnSpPr>
            <a:cxnSpLocks/>
          </p:cNvCxnSpPr>
          <p:nvPr/>
        </p:nvCxnSpPr>
        <p:spPr>
          <a:xfrm>
            <a:off x="2655052"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102">
            <a:extLst>
              <a:ext uri="{FF2B5EF4-FFF2-40B4-BE49-F238E27FC236}">
                <a16:creationId xmlns:a16="http://schemas.microsoft.com/office/drawing/2014/main" id="{04731065-14C1-CF46-BEB2-261F12A67A95}"/>
              </a:ext>
            </a:extLst>
          </p:cNvPr>
          <p:cNvCxnSpPr>
            <a:cxnSpLocks/>
          </p:cNvCxnSpPr>
          <p:nvPr/>
        </p:nvCxnSpPr>
        <p:spPr>
          <a:xfrm>
            <a:off x="3738290"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103">
            <a:extLst>
              <a:ext uri="{FF2B5EF4-FFF2-40B4-BE49-F238E27FC236}">
                <a16:creationId xmlns:a16="http://schemas.microsoft.com/office/drawing/2014/main" id="{69DB6A7B-9930-D94D-A0DA-BFBF7848EA3A}"/>
              </a:ext>
            </a:extLst>
          </p:cNvPr>
          <p:cNvCxnSpPr>
            <a:cxnSpLocks/>
          </p:cNvCxnSpPr>
          <p:nvPr/>
        </p:nvCxnSpPr>
        <p:spPr>
          <a:xfrm>
            <a:off x="4840774"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Rectangle: Rounded Corners 107">
            <a:extLst>
              <a:ext uri="{FF2B5EF4-FFF2-40B4-BE49-F238E27FC236}">
                <a16:creationId xmlns:a16="http://schemas.microsoft.com/office/drawing/2014/main" id="{C1C3C36C-641F-9741-AE36-EE08266C99F1}"/>
              </a:ext>
            </a:extLst>
          </p:cNvPr>
          <p:cNvSpPr/>
          <p:nvPr/>
        </p:nvSpPr>
        <p:spPr>
          <a:xfrm flipH="1">
            <a:off x="6138320" y="3651606"/>
            <a:ext cx="4433888" cy="1265787"/>
          </a:xfrm>
          <a:prstGeom prst="roundRect">
            <a:avLst>
              <a:gd name="adj" fmla="val 0"/>
            </a:avLst>
          </a:prstGeom>
          <a:solidFill>
            <a:srgbClr val="01404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2" name="Rectangle 109">
            <a:extLst>
              <a:ext uri="{FF2B5EF4-FFF2-40B4-BE49-F238E27FC236}">
                <a16:creationId xmlns:a16="http://schemas.microsoft.com/office/drawing/2014/main" id="{785D884F-72A2-FB4D-A0AA-45D47B1B6E5D}"/>
              </a:ext>
            </a:extLst>
          </p:cNvPr>
          <p:cNvSpPr/>
          <p:nvPr/>
        </p:nvSpPr>
        <p:spPr>
          <a:xfrm flipH="1">
            <a:off x="9518492" y="4085980"/>
            <a:ext cx="955736"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New Business Models</a:t>
            </a:r>
          </a:p>
        </p:txBody>
      </p:sp>
      <p:sp>
        <p:nvSpPr>
          <p:cNvPr id="53" name="Rectangle 110">
            <a:extLst>
              <a:ext uri="{FF2B5EF4-FFF2-40B4-BE49-F238E27FC236}">
                <a16:creationId xmlns:a16="http://schemas.microsoft.com/office/drawing/2014/main" id="{5F8A0072-D8F5-B743-A9E7-767DE52EA48E}"/>
              </a:ext>
            </a:extLst>
          </p:cNvPr>
          <p:cNvSpPr/>
          <p:nvPr/>
        </p:nvSpPr>
        <p:spPr>
          <a:xfrm flipH="1">
            <a:off x="8453540" y="4166003"/>
            <a:ext cx="878340" cy="235129"/>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Agility</a:t>
            </a:r>
          </a:p>
        </p:txBody>
      </p:sp>
      <p:sp>
        <p:nvSpPr>
          <p:cNvPr id="54" name="Rectangle 111">
            <a:extLst>
              <a:ext uri="{FF2B5EF4-FFF2-40B4-BE49-F238E27FC236}">
                <a16:creationId xmlns:a16="http://schemas.microsoft.com/office/drawing/2014/main" id="{218C303A-D800-F44B-B3BF-CC66A1DFCFEA}"/>
              </a:ext>
            </a:extLst>
          </p:cNvPr>
          <p:cNvSpPr/>
          <p:nvPr/>
        </p:nvSpPr>
        <p:spPr>
          <a:xfrm flipH="1">
            <a:off x="7348310"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Asset Utilization</a:t>
            </a:r>
          </a:p>
        </p:txBody>
      </p:sp>
      <p:sp>
        <p:nvSpPr>
          <p:cNvPr id="55" name="Rectangle 112">
            <a:extLst>
              <a:ext uri="{FF2B5EF4-FFF2-40B4-BE49-F238E27FC236}">
                <a16:creationId xmlns:a16="http://schemas.microsoft.com/office/drawing/2014/main" id="{180F2D61-7390-5540-BE93-08FF7517AA2B}"/>
              </a:ext>
            </a:extLst>
          </p:cNvPr>
          <p:cNvSpPr/>
          <p:nvPr/>
        </p:nvSpPr>
        <p:spPr>
          <a:xfrm flipH="1">
            <a:off x="6242010" y="4085981"/>
            <a:ext cx="878340" cy="395173"/>
          </a:xfrm>
          <a:prstGeom prst="rect">
            <a:avLst/>
          </a:prstGeom>
        </p:spPr>
        <p:txBody>
          <a:bodyPr wrap="square" anchor="ctr" anchorCtr="0">
            <a:spAutoFit/>
          </a:bodyPr>
          <a:lstStyle/>
          <a:p>
            <a:pPr algn="ctr" eaLnBrk="1" fontAlgn="auto" hangingPunct="1">
              <a:lnSpc>
                <a:spcPct val="130000"/>
              </a:lnSpc>
              <a:spcBef>
                <a:spcPts val="0"/>
              </a:spcBef>
              <a:spcAft>
                <a:spcPts val="0"/>
              </a:spcAft>
            </a:pPr>
            <a:r>
              <a:rPr lang="en-US" sz="800" b="0">
                <a:solidFill>
                  <a:prstClr val="white"/>
                </a:solidFill>
                <a:latin typeface="Arial" panose="020B0604020202020204" pitchFamily="34" charset="0"/>
                <a:cs typeface="Arial" panose="020B0604020202020204" pitchFamily="34" charset="0"/>
              </a:rPr>
              <a:t>Process Efficiency</a:t>
            </a:r>
          </a:p>
        </p:txBody>
      </p:sp>
      <p:cxnSp>
        <p:nvCxnSpPr>
          <p:cNvPr id="56" name="Straight Connector 113">
            <a:extLst>
              <a:ext uri="{FF2B5EF4-FFF2-40B4-BE49-F238E27FC236}">
                <a16:creationId xmlns:a16="http://schemas.microsoft.com/office/drawing/2014/main" id="{986D52FC-4DD7-F140-9898-77AD91BE802A}"/>
              </a:ext>
            </a:extLst>
          </p:cNvPr>
          <p:cNvCxnSpPr>
            <a:cxnSpLocks/>
          </p:cNvCxnSpPr>
          <p:nvPr/>
        </p:nvCxnSpPr>
        <p:spPr>
          <a:xfrm flipH="1">
            <a:off x="9437066"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114">
            <a:extLst>
              <a:ext uri="{FF2B5EF4-FFF2-40B4-BE49-F238E27FC236}">
                <a16:creationId xmlns:a16="http://schemas.microsoft.com/office/drawing/2014/main" id="{95F8C4C2-FB43-6242-A559-1EA77DE6D580}"/>
              </a:ext>
            </a:extLst>
          </p:cNvPr>
          <p:cNvCxnSpPr>
            <a:cxnSpLocks/>
          </p:cNvCxnSpPr>
          <p:nvPr/>
        </p:nvCxnSpPr>
        <p:spPr>
          <a:xfrm flipH="1">
            <a:off x="8341588"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115">
            <a:extLst>
              <a:ext uri="{FF2B5EF4-FFF2-40B4-BE49-F238E27FC236}">
                <a16:creationId xmlns:a16="http://schemas.microsoft.com/office/drawing/2014/main" id="{E0D3EE01-EE02-F549-94C8-C0D7E931DE8D}"/>
              </a:ext>
            </a:extLst>
          </p:cNvPr>
          <p:cNvCxnSpPr>
            <a:cxnSpLocks/>
          </p:cNvCxnSpPr>
          <p:nvPr/>
        </p:nvCxnSpPr>
        <p:spPr>
          <a:xfrm flipH="1">
            <a:off x="7241940" y="3825160"/>
            <a:ext cx="0" cy="916816"/>
          </a:xfrm>
          <a:prstGeom prst="line">
            <a:avLst/>
          </a:prstGeom>
          <a:ln cap="rnd">
            <a:solidFill>
              <a:schemeClr val="bg1">
                <a:alpha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59" name="Rectangle 128">
            <a:extLst>
              <a:ext uri="{FF2B5EF4-FFF2-40B4-BE49-F238E27FC236}">
                <a16:creationId xmlns:a16="http://schemas.microsoft.com/office/drawing/2014/main" id="{BEC6D7B9-B6C2-0B4E-A9B8-5269A0869C3F}"/>
              </a:ext>
            </a:extLst>
          </p:cNvPr>
          <p:cNvSpPr/>
          <p:nvPr/>
        </p:nvSpPr>
        <p:spPr>
          <a:xfrm>
            <a:off x="2677905" y="4989663"/>
            <a:ext cx="2162869" cy="288092"/>
          </a:xfrm>
          <a:prstGeom prst="rect">
            <a:avLst/>
          </a:prstGeom>
        </p:spPr>
        <p:txBody>
          <a:bodyPr wrap="square">
            <a:spAutoFit/>
          </a:bodyPr>
          <a:lstStyle/>
          <a:p>
            <a:pPr algn="ctr" eaLnBrk="1" fontAlgn="auto" hangingPunct="1">
              <a:lnSpc>
                <a:spcPct val="130000"/>
              </a:lnSpc>
              <a:spcBef>
                <a:spcPts val="0"/>
              </a:spcBef>
              <a:spcAft>
                <a:spcPts val="0"/>
              </a:spcAft>
            </a:pPr>
            <a:r>
              <a:rPr lang="id-ID" sz="1100" b="0">
                <a:solidFill>
                  <a:srgbClr val="014049"/>
                </a:solidFill>
                <a:latin typeface="Arial" panose="020B0604020202020204" pitchFamily="34" charset="0"/>
                <a:cs typeface="Arial" panose="020B0604020202020204" pitchFamily="34" charset="0"/>
              </a:rPr>
              <a:t>Business Driver Levers</a:t>
            </a:r>
          </a:p>
        </p:txBody>
      </p:sp>
      <p:sp>
        <p:nvSpPr>
          <p:cNvPr id="60" name="Rectangle 129">
            <a:extLst>
              <a:ext uri="{FF2B5EF4-FFF2-40B4-BE49-F238E27FC236}">
                <a16:creationId xmlns:a16="http://schemas.microsoft.com/office/drawing/2014/main" id="{24F120F6-1C08-3F47-9030-F80396B7B909}"/>
              </a:ext>
            </a:extLst>
          </p:cNvPr>
          <p:cNvSpPr/>
          <p:nvPr/>
        </p:nvSpPr>
        <p:spPr>
          <a:xfrm flipH="1">
            <a:off x="7159201" y="4989663"/>
            <a:ext cx="2392127" cy="288092"/>
          </a:xfrm>
          <a:prstGeom prst="rect">
            <a:avLst/>
          </a:prstGeom>
        </p:spPr>
        <p:txBody>
          <a:bodyPr wrap="square">
            <a:spAutoFit/>
          </a:bodyPr>
          <a:lstStyle/>
          <a:p>
            <a:pPr algn="ctr" eaLnBrk="1" fontAlgn="auto" hangingPunct="1">
              <a:lnSpc>
                <a:spcPct val="130000"/>
              </a:lnSpc>
              <a:spcBef>
                <a:spcPts val="0"/>
              </a:spcBef>
              <a:spcAft>
                <a:spcPts val="0"/>
              </a:spcAft>
            </a:pPr>
            <a:r>
              <a:rPr lang="en-US" sz="1100" b="0">
                <a:solidFill>
                  <a:srgbClr val="014049"/>
                </a:solidFill>
                <a:latin typeface="Arial" panose="020B0604020202020204" pitchFamily="34" charset="0"/>
                <a:cs typeface="Arial" panose="020B0604020202020204" pitchFamily="34" charset="0"/>
              </a:rPr>
              <a:t>Business Enabler Levers</a:t>
            </a:r>
          </a:p>
        </p:txBody>
      </p:sp>
      <p:cxnSp>
        <p:nvCxnSpPr>
          <p:cNvPr id="61" name="Straight Arrow Connector 17">
            <a:extLst>
              <a:ext uri="{FF2B5EF4-FFF2-40B4-BE49-F238E27FC236}">
                <a16:creationId xmlns:a16="http://schemas.microsoft.com/office/drawing/2014/main" id="{E600AF07-5155-C040-BD00-5AD47DA11F26}"/>
              </a:ext>
            </a:extLst>
          </p:cNvPr>
          <p:cNvCxnSpPr/>
          <p:nvPr/>
        </p:nvCxnSpPr>
        <p:spPr>
          <a:xfrm flipH="1">
            <a:off x="1542395" y="5156730"/>
            <a:ext cx="1135510" cy="0"/>
          </a:xfrm>
          <a:prstGeom prst="straightConnector1">
            <a:avLst/>
          </a:prstGeom>
          <a:ln w="3175">
            <a:solidFill>
              <a:srgbClr val="848A9C"/>
            </a:solidFill>
            <a:tailEnd type="diamond"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19">
            <a:extLst>
              <a:ext uri="{FF2B5EF4-FFF2-40B4-BE49-F238E27FC236}">
                <a16:creationId xmlns:a16="http://schemas.microsoft.com/office/drawing/2014/main" id="{E0F89D77-5B46-0C40-AB5D-AC94D079A09C}"/>
              </a:ext>
            </a:extLst>
          </p:cNvPr>
          <p:cNvCxnSpPr/>
          <p:nvPr/>
        </p:nvCxnSpPr>
        <p:spPr>
          <a:xfrm flipV="1">
            <a:off x="4840774" y="5156726"/>
            <a:ext cx="1135509" cy="0"/>
          </a:xfrm>
          <a:prstGeom prst="straightConnector1">
            <a:avLst/>
          </a:prstGeom>
          <a:ln w="3175">
            <a:solidFill>
              <a:srgbClr val="848A9C"/>
            </a:solidFill>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24">
            <a:extLst>
              <a:ext uri="{FF2B5EF4-FFF2-40B4-BE49-F238E27FC236}">
                <a16:creationId xmlns:a16="http://schemas.microsoft.com/office/drawing/2014/main" id="{65C68BF4-657C-9448-AC9F-D8E785F09086}"/>
              </a:ext>
            </a:extLst>
          </p:cNvPr>
          <p:cNvCxnSpPr/>
          <p:nvPr/>
        </p:nvCxnSpPr>
        <p:spPr>
          <a:xfrm flipH="1">
            <a:off x="6138319" y="5156730"/>
            <a:ext cx="1020882" cy="0"/>
          </a:xfrm>
          <a:prstGeom prst="straightConnector1">
            <a:avLst/>
          </a:prstGeom>
          <a:ln w="3175">
            <a:solidFill>
              <a:srgbClr val="848A9C"/>
            </a:solidFill>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26">
            <a:extLst>
              <a:ext uri="{FF2B5EF4-FFF2-40B4-BE49-F238E27FC236}">
                <a16:creationId xmlns:a16="http://schemas.microsoft.com/office/drawing/2014/main" id="{1F36B710-BBEA-C047-9925-DC5A33EA41FB}"/>
              </a:ext>
            </a:extLst>
          </p:cNvPr>
          <p:cNvCxnSpPr/>
          <p:nvPr/>
        </p:nvCxnSpPr>
        <p:spPr>
          <a:xfrm flipV="1">
            <a:off x="9551328" y="5156726"/>
            <a:ext cx="1018665" cy="0"/>
          </a:xfrm>
          <a:prstGeom prst="straightConnector1">
            <a:avLst/>
          </a:prstGeom>
          <a:ln w="3175">
            <a:solidFill>
              <a:srgbClr val="848A9C"/>
            </a:solidFill>
            <a:tailEnd type="oval" w="sm" len="sm"/>
          </a:ln>
        </p:spPr>
        <p:style>
          <a:lnRef idx="1">
            <a:schemeClr val="accent1"/>
          </a:lnRef>
          <a:fillRef idx="0">
            <a:schemeClr val="accent1"/>
          </a:fillRef>
          <a:effectRef idx="0">
            <a:schemeClr val="accent1"/>
          </a:effectRef>
          <a:fontRef idx="minor">
            <a:schemeClr val="tx1"/>
          </a:fontRef>
        </p:style>
      </p:cxnSp>
      <p:grpSp>
        <p:nvGrpSpPr>
          <p:cNvPr id="65" name="Group 36">
            <a:extLst>
              <a:ext uri="{FF2B5EF4-FFF2-40B4-BE49-F238E27FC236}">
                <a16:creationId xmlns:a16="http://schemas.microsoft.com/office/drawing/2014/main" id="{9E035DBF-955A-8343-94BD-9B17ED7D5461}"/>
              </a:ext>
            </a:extLst>
          </p:cNvPr>
          <p:cNvGrpSpPr/>
          <p:nvPr/>
        </p:nvGrpSpPr>
        <p:grpSpPr>
          <a:xfrm>
            <a:off x="6138319" y="3162590"/>
            <a:ext cx="2681276" cy="489016"/>
            <a:chOff x="5953125" y="3278338"/>
            <a:chExt cx="2681276" cy="489016"/>
          </a:xfrm>
          <a:solidFill>
            <a:srgbClr val="8D8EA8"/>
          </a:solidFill>
        </p:grpSpPr>
        <p:sp>
          <p:nvSpPr>
            <p:cNvPr id="66" name="Rectangle: Rounded Corners 116">
              <a:extLst>
                <a:ext uri="{FF2B5EF4-FFF2-40B4-BE49-F238E27FC236}">
                  <a16:creationId xmlns:a16="http://schemas.microsoft.com/office/drawing/2014/main" id="{E741860C-51B1-0C45-AF5D-C0117558EDF2}"/>
                </a:ext>
              </a:extLst>
            </p:cNvPr>
            <p:cNvSpPr/>
            <p:nvPr/>
          </p:nvSpPr>
          <p:spPr>
            <a:xfrm flipH="1">
              <a:off x="5953125" y="3278338"/>
              <a:ext cx="2681276" cy="489016"/>
            </a:xfrm>
            <a:prstGeom prst="roundRect">
              <a:avLst>
                <a:gd name="adj" fmla="val 0"/>
              </a:avLst>
            </a:prstGeom>
            <a:grpFill/>
            <a:ln w="12700" cap="flat" cmpd="sng" algn="ctr">
              <a:noFill/>
              <a:prstDash val="solid"/>
              <a:miter lim="800000"/>
            </a:ln>
            <a:effectLst>
              <a:outerShdw blurRad="190500" dist="139700" dir="5400000" algn="tl" rotWithShape="0">
                <a:schemeClr val="tx1">
                  <a:lumMod val="85000"/>
                  <a:lumOff val="15000"/>
                  <a:alpha val="15000"/>
                </a:scheme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7" name="Rectangle 117">
              <a:extLst>
                <a:ext uri="{FF2B5EF4-FFF2-40B4-BE49-F238E27FC236}">
                  <a16:creationId xmlns:a16="http://schemas.microsoft.com/office/drawing/2014/main" id="{2F764170-0CA9-4248-8116-430D82173432}"/>
                </a:ext>
              </a:extLst>
            </p:cNvPr>
            <p:cNvSpPr/>
            <p:nvPr/>
          </p:nvSpPr>
          <p:spPr>
            <a:xfrm flipH="1">
              <a:off x="6106844" y="3375270"/>
              <a:ext cx="2392127" cy="288092"/>
            </a:xfrm>
            <a:prstGeom prst="rect">
              <a:avLst/>
            </a:prstGeom>
            <a:grpFill/>
          </p:spPr>
          <p:txBody>
            <a:bodyPr wrap="square">
              <a:spAutoFit/>
            </a:bodyPr>
            <a:lstStyle/>
            <a:p>
              <a:pPr algn="ctr" eaLnBrk="1" fontAlgn="auto" hangingPunct="1">
                <a:lnSpc>
                  <a:spcPct val="130000"/>
                </a:lnSpc>
                <a:spcBef>
                  <a:spcPts val="0"/>
                </a:spcBef>
                <a:spcAft>
                  <a:spcPts val="0"/>
                </a:spcAft>
              </a:pPr>
              <a:r>
                <a:rPr lang="en-US" sz="1100">
                  <a:solidFill>
                    <a:prstClr val="white"/>
                  </a:solidFill>
                  <a:latin typeface="Arial" panose="020B0604020202020204" pitchFamily="34" charset="0"/>
                  <a:cs typeface="Arial" panose="020B0604020202020204" pitchFamily="34" charset="0"/>
                </a:rPr>
                <a:t>OPERATIONAL IMPROVEMENT</a:t>
              </a:r>
              <a:endParaRPr lang="id-ID" sz="1100">
                <a:solidFill>
                  <a:prstClr val="white"/>
                </a:solidFill>
                <a:latin typeface="Arial" panose="020B0604020202020204" pitchFamily="34" charset="0"/>
                <a:cs typeface="Arial" panose="020B0604020202020204" pitchFamily="34" charset="0"/>
              </a:endParaRPr>
            </a:p>
          </p:txBody>
        </p:sp>
      </p:grpSp>
      <p:grpSp>
        <p:nvGrpSpPr>
          <p:cNvPr id="68" name="Group 35">
            <a:extLst>
              <a:ext uri="{FF2B5EF4-FFF2-40B4-BE49-F238E27FC236}">
                <a16:creationId xmlns:a16="http://schemas.microsoft.com/office/drawing/2014/main" id="{FC0191CC-5BCE-D146-B5D0-6B9E366329E8}"/>
              </a:ext>
            </a:extLst>
          </p:cNvPr>
          <p:cNvGrpSpPr/>
          <p:nvPr/>
        </p:nvGrpSpPr>
        <p:grpSpPr>
          <a:xfrm>
            <a:off x="3294173" y="3162590"/>
            <a:ext cx="2679192" cy="489016"/>
            <a:chOff x="3108979" y="3278338"/>
            <a:chExt cx="2679192" cy="489016"/>
          </a:xfrm>
          <a:solidFill>
            <a:srgbClr val="8D8EA8"/>
          </a:solidFill>
        </p:grpSpPr>
        <p:sp>
          <p:nvSpPr>
            <p:cNvPr id="69" name="Rectangle: Rounded Corners 70">
              <a:extLst>
                <a:ext uri="{FF2B5EF4-FFF2-40B4-BE49-F238E27FC236}">
                  <a16:creationId xmlns:a16="http://schemas.microsoft.com/office/drawing/2014/main" id="{2E5AD508-75E6-3243-96F2-3F5934279FE8}"/>
                </a:ext>
              </a:extLst>
            </p:cNvPr>
            <p:cNvSpPr/>
            <p:nvPr/>
          </p:nvSpPr>
          <p:spPr>
            <a:xfrm>
              <a:off x="3108979" y="3278338"/>
              <a:ext cx="2679192" cy="489016"/>
            </a:xfrm>
            <a:prstGeom prst="roundRect">
              <a:avLst>
                <a:gd name="adj" fmla="val 0"/>
              </a:avLst>
            </a:prstGeom>
            <a:grpFill/>
            <a:ln w="12700" cap="flat" cmpd="sng" algn="ctr">
              <a:noFill/>
              <a:prstDash val="solid"/>
              <a:miter lim="800000"/>
            </a:ln>
            <a:effectLst>
              <a:outerShdw blurRad="190500" dist="139700" dir="5400000" algn="tl" rotWithShape="0">
                <a:schemeClr val="tx1">
                  <a:lumMod val="85000"/>
                  <a:lumOff val="15000"/>
                  <a:alpha val="15000"/>
                </a:schemeClr>
              </a:outerShdw>
            </a:effectLst>
          </p:spPr>
          <p:txBody>
            <a:bodyPr rtlCol="0" anchor="ctr"/>
            <a:lstStyle/>
            <a:p>
              <a:pPr algn="ctr" eaLnBrk="1" fontAlgn="auto" hangingPunct="1">
                <a:spcBef>
                  <a:spcPts val="0"/>
                </a:spcBef>
                <a:spcAft>
                  <a:spcPts val="0"/>
                </a:spcAft>
              </a:pPr>
              <a:endParaRPr lang="id-ID" sz="1800" b="0" kern="0">
                <a:solidFill>
                  <a:prstClr val="white"/>
                </a:solidFill>
                <a:latin typeface="Arial" panose="020B0604020202020204" pitchFamily="34" charset="0"/>
                <a:cs typeface="Arial" panose="020B0604020202020204" pitchFamily="34" charset="0"/>
              </a:endParaRPr>
            </a:p>
          </p:txBody>
        </p:sp>
        <p:sp>
          <p:nvSpPr>
            <p:cNvPr id="70" name="Rectangle 76">
              <a:extLst>
                <a:ext uri="{FF2B5EF4-FFF2-40B4-BE49-F238E27FC236}">
                  <a16:creationId xmlns:a16="http://schemas.microsoft.com/office/drawing/2014/main" id="{BDCD9A8F-BFAE-A94A-AADF-1CABA1633D72}"/>
                </a:ext>
              </a:extLst>
            </p:cNvPr>
            <p:cNvSpPr/>
            <p:nvPr/>
          </p:nvSpPr>
          <p:spPr>
            <a:xfrm>
              <a:off x="3649033" y="3375270"/>
              <a:ext cx="1595920" cy="288092"/>
            </a:xfrm>
            <a:prstGeom prst="rect">
              <a:avLst/>
            </a:prstGeom>
            <a:grpFill/>
          </p:spPr>
          <p:txBody>
            <a:bodyPr wrap="square">
              <a:spAutoFit/>
            </a:bodyPr>
            <a:lstStyle/>
            <a:p>
              <a:pPr algn="ctr" eaLnBrk="1" fontAlgn="auto" hangingPunct="1">
                <a:lnSpc>
                  <a:spcPct val="130000"/>
                </a:lnSpc>
                <a:spcBef>
                  <a:spcPts val="0"/>
                </a:spcBef>
                <a:spcAft>
                  <a:spcPts val="0"/>
                </a:spcAft>
              </a:pPr>
              <a:r>
                <a:rPr lang="id-ID" sz="1100">
                  <a:solidFill>
                    <a:prstClr val="white"/>
                  </a:solidFill>
                  <a:latin typeface="Arial" panose="020B0604020202020204" pitchFamily="34" charset="0"/>
                  <a:cs typeface="Arial" panose="020B0604020202020204" pitchFamily="34" charset="0"/>
                </a:rPr>
                <a:t>GROWTH DRIVERS</a:t>
              </a:r>
            </a:p>
          </p:txBody>
        </p:sp>
      </p:grpSp>
      <p:grpSp>
        <p:nvGrpSpPr>
          <p:cNvPr id="71" name="Group 34">
            <a:extLst>
              <a:ext uri="{FF2B5EF4-FFF2-40B4-BE49-F238E27FC236}">
                <a16:creationId xmlns:a16="http://schemas.microsoft.com/office/drawing/2014/main" id="{93A340F0-CACE-4440-A894-5919B49869CB}"/>
              </a:ext>
            </a:extLst>
          </p:cNvPr>
          <p:cNvGrpSpPr/>
          <p:nvPr/>
        </p:nvGrpSpPr>
        <p:grpSpPr>
          <a:xfrm>
            <a:off x="4317424" y="2430592"/>
            <a:ext cx="3479754" cy="547291"/>
            <a:chOff x="4132230" y="2546340"/>
            <a:chExt cx="3479754" cy="547291"/>
          </a:xfrm>
        </p:grpSpPr>
        <p:sp>
          <p:nvSpPr>
            <p:cNvPr id="72" name="Rectangle 145">
              <a:extLst>
                <a:ext uri="{FF2B5EF4-FFF2-40B4-BE49-F238E27FC236}">
                  <a16:creationId xmlns:a16="http://schemas.microsoft.com/office/drawing/2014/main" id="{17B1745F-DB41-A04B-BE63-9E1E0B96DFDA}"/>
                </a:ext>
              </a:extLst>
            </p:cNvPr>
            <p:cNvSpPr/>
            <p:nvPr/>
          </p:nvSpPr>
          <p:spPr>
            <a:xfrm>
              <a:off x="4132230" y="2546340"/>
              <a:ext cx="3479754" cy="341568"/>
            </a:xfrm>
            <a:prstGeom prst="rect">
              <a:avLst/>
            </a:prstGeom>
          </p:spPr>
          <p:txBody>
            <a:bodyPr wrap="square">
              <a:spAutoFit/>
            </a:bodyPr>
            <a:lstStyle/>
            <a:p>
              <a:pPr algn="ctr" eaLnBrk="1" fontAlgn="auto" hangingPunct="1">
                <a:lnSpc>
                  <a:spcPct val="130000"/>
                </a:lnSpc>
                <a:spcBef>
                  <a:spcPts val="0"/>
                </a:spcBef>
                <a:spcAft>
                  <a:spcPts val="0"/>
                </a:spcAft>
              </a:pPr>
              <a:r>
                <a:rPr lang="id-ID" sz="1400">
                  <a:solidFill>
                    <a:schemeClr val="tx2"/>
                  </a:solidFill>
                  <a:latin typeface="Arial" panose="020B0604020202020204" pitchFamily="34" charset="0"/>
                  <a:cs typeface="Arial" panose="020B0604020202020204" pitchFamily="34" charset="0"/>
                </a:rPr>
                <a:t>DIGITAL TRANSFORMATION</a:t>
              </a:r>
            </a:p>
          </p:txBody>
        </p:sp>
        <p:sp>
          <p:nvSpPr>
            <p:cNvPr id="73" name="Arrow: Bent 31">
              <a:extLst>
                <a:ext uri="{FF2B5EF4-FFF2-40B4-BE49-F238E27FC236}">
                  <a16:creationId xmlns:a16="http://schemas.microsoft.com/office/drawing/2014/main" id="{2AF20029-FC3E-E543-B589-5569FB844081}"/>
                </a:ext>
              </a:extLst>
            </p:cNvPr>
            <p:cNvSpPr/>
            <p:nvPr/>
          </p:nvSpPr>
          <p:spPr>
            <a:xfrm rot="5400000">
              <a:off x="7156828" y="2708396"/>
              <a:ext cx="382585" cy="387886"/>
            </a:xfrm>
            <a:prstGeom prst="bentArrow">
              <a:avLst>
                <a:gd name="adj1" fmla="val 3540"/>
                <a:gd name="adj2" fmla="val 8267"/>
                <a:gd name="adj3" fmla="val 9961"/>
                <a:gd name="adj4" fmla="val 8044"/>
              </a:avLst>
            </a:prstGeom>
            <a:solidFill>
              <a:srgbClr val="638CB9"/>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74" name="Arrow: Bent 151">
              <a:extLst>
                <a:ext uri="{FF2B5EF4-FFF2-40B4-BE49-F238E27FC236}">
                  <a16:creationId xmlns:a16="http://schemas.microsoft.com/office/drawing/2014/main" id="{2E4675DF-7AA5-1343-A5E7-DD8F200D5422}"/>
                </a:ext>
              </a:extLst>
            </p:cNvPr>
            <p:cNvSpPr/>
            <p:nvPr/>
          </p:nvSpPr>
          <p:spPr>
            <a:xfrm rot="16200000" flipH="1">
              <a:off x="4204799" y="2708397"/>
              <a:ext cx="382585" cy="387884"/>
            </a:xfrm>
            <a:prstGeom prst="bentArrow">
              <a:avLst>
                <a:gd name="adj1" fmla="val 3540"/>
                <a:gd name="adj2" fmla="val 8267"/>
                <a:gd name="adj3" fmla="val 9961"/>
                <a:gd name="adj4" fmla="val 8044"/>
              </a:avLst>
            </a:prstGeom>
            <a:solidFill>
              <a:srgbClr val="638CB9"/>
            </a:solidFill>
            <a:ln>
              <a:solidFill>
                <a:srgbClr val="3336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8498222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BE4E6C2-5161-AA41-AD27-52F24621CB09}"/>
              </a:ext>
            </a:extLst>
          </p:cNvPr>
          <p:cNvSpPr>
            <a:spLocks noGrp="1"/>
          </p:cNvSpPr>
          <p:nvPr>
            <p:ph type="sldNum" sz="quarter" idx="4"/>
          </p:nvPr>
        </p:nvSpPr>
        <p:spPr/>
        <p:txBody>
          <a:bodyPr/>
          <a:lstStyle/>
          <a:p>
            <a:fld id="{3D966009-6E5A-4F8C-8CA7-E37AFBF5FB92}" type="slidenum">
              <a:rPr lang="en-US" smtClean="0"/>
              <a:t>175</a:t>
            </a:fld>
            <a:endParaRPr lang="en-US"/>
          </a:p>
        </p:txBody>
      </p:sp>
      <p:sp>
        <p:nvSpPr>
          <p:cNvPr id="3" name="Titel 2">
            <a:extLst>
              <a:ext uri="{FF2B5EF4-FFF2-40B4-BE49-F238E27FC236}">
                <a16:creationId xmlns:a16="http://schemas.microsoft.com/office/drawing/2014/main" id="{43AC2BA6-C306-AA4F-AF24-D1D04DA2D7A5}"/>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DB4EE387-1218-0E48-B100-8C530CAC3D9C}"/>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6B807022-79D7-294D-9FF1-9E465B6EE7A5}"/>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A970AE08-DE23-EC48-B364-47C4E957CCEA}"/>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8DCCFB13-7076-4443-A400-F809C22DBA33}"/>
              </a:ext>
            </a:extLst>
          </p:cNvPr>
          <p:cNvSpPr>
            <a:spLocks noGrp="1"/>
          </p:cNvSpPr>
          <p:nvPr>
            <p:ph sz="quarter" idx="14"/>
          </p:nvPr>
        </p:nvSpPr>
        <p:spPr/>
        <p:txBody>
          <a:bodyPr/>
          <a:lstStyle/>
          <a:p>
            <a:endParaRPr lang="en-GB"/>
          </a:p>
        </p:txBody>
      </p:sp>
      <p:grpSp>
        <p:nvGrpSpPr>
          <p:cNvPr id="5" name="Group 4">
            <a:extLst>
              <a:ext uri="{FF2B5EF4-FFF2-40B4-BE49-F238E27FC236}">
                <a16:creationId xmlns:a16="http://schemas.microsoft.com/office/drawing/2014/main" id="{63AC8ACD-3BAF-194E-84E7-DF21AE8F981A}"/>
              </a:ext>
            </a:extLst>
          </p:cNvPr>
          <p:cNvGrpSpPr/>
          <p:nvPr/>
        </p:nvGrpSpPr>
        <p:grpSpPr>
          <a:xfrm>
            <a:off x="365682" y="1716195"/>
            <a:ext cx="11460635" cy="4197243"/>
            <a:chOff x="1235297" y="1808887"/>
            <a:chExt cx="9721406" cy="3899747"/>
          </a:xfrm>
        </p:grpSpPr>
        <p:grpSp>
          <p:nvGrpSpPr>
            <p:cNvPr id="12" name="Group 9">
              <a:extLst>
                <a:ext uri="{FF2B5EF4-FFF2-40B4-BE49-F238E27FC236}">
                  <a16:creationId xmlns:a16="http://schemas.microsoft.com/office/drawing/2014/main" id="{1C894C46-CAF2-8643-A314-5AF607DD38D9}"/>
                </a:ext>
              </a:extLst>
            </p:cNvPr>
            <p:cNvGrpSpPr/>
            <p:nvPr/>
          </p:nvGrpSpPr>
          <p:grpSpPr>
            <a:xfrm>
              <a:off x="8812529" y="4379472"/>
              <a:ext cx="778914" cy="755041"/>
              <a:chOff x="8812529" y="4379472"/>
              <a:chExt cx="778914" cy="755041"/>
            </a:xfrm>
            <a:solidFill>
              <a:srgbClr val="014049">
                <a:alpha val="34000"/>
              </a:srgbClr>
            </a:solidFill>
          </p:grpSpPr>
          <p:sp>
            <p:nvSpPr>
              <p:cNvPr id="13" name="Isosceles Triangle 68">
                <a:extLst>
                  <a:ext uri="{FF2B5EF4-FFF2-40B4-BE49-F238E27FC236}">
                    <a16:creationId xmlns:a16="http://schemas.microsoft.com/office/drawing/2014/main" id="{E0D5815A-7003-6C41-887D-C863E4729C7A}"/>
                  </a:ext>
                </a:extLst>
              </p:cNvPr>
              <p:cNvSpPr/>
              <p:nvPr/>
            </p:nvSpPr>
            <p:spPr>
              <a:xfrm rot="5400000">
                <a:off x="8760628" y="4479062"/>
                <a:ext cx="659663" cy="555861"/>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sp>
            <p:nvSpPr>
              <p:cNvPr id="14" name="Isosceles Triangle 68">
                <a:extLst>
                  <a:ext uri="{FF2B5EF4-FFF2-40B4-BE49-F238E27FC236}">
                    <a16:creationId xmlns:a16="http://schemas.microsoft.com/office/drawing/2014/main" id="{08B87CDB-16F7-444B-86F7-06E6140701BE}"/>
                  </a:ext>
                </a:extLst>
              </p:cNvPr>
              <p:cNvSpPr/>
              <p:nvPr/>
            </p:nvSpPr>
            <p:spPr>
              <a:xfrm rot="5400000">
                <a:off x="8895809" y="4438879"/>
                <a:ext cx="755041" cy="636227"/>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grpSp>
        <p:sp>
          <p:nvSpPr>
            <p:cNvPr id="15" name="Закругленный прямоугольник">
              <a:extLst>
                <a:ext uri="{FF2B5EF4-FFF2-40B4-BE49-F238E27FC236}">
                  <a16:creationId xmlns:a16="http://schemas.microsoft.com/office/drawing/2014/main" id="{02F98814-E734-CD48-8B87-A30813505B5F}"/>
                </a:ext>
              </a:extLst>
            </p:cNvPr>
            <p:cNvSpPr/>
            <p:nvPr/>
          </p:nvSpPr>
          <p:spPr>
            <a:xfrm>
              <a:off x="3232952" y="2470121"/>
              <a:ext cx="1737114" cy="3238513"/>
            </a:xfrm>
            <a:prstGeom prst="roundRect">
              <a:avLst>
                <a:gd name="adj" fmla="val 10009"/>
              </a:avLst>
            </a:prstGeom>
            <a:noFill/>
            <a:ln w="25400">
              <a:solidFill>
                <a:srgbClr val="8D8EA8"/>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latin typeface="Arial" panose="020B0604020202020204" pitchFamily="34" charset="0"/>
                <a:cs typeface="Arial" panose="020B0604020202020204" pitchFamily="34" charset="0"/>
              </a:endParaRPr>
            </a:p>
          </p:txBody>
        </p:sp>
        <p:sp>
          <p:nvSpPr>
            <p:cNvPr id="17" name="Закругленный прямоугольник">
              <a:extLst>
                <a:ext uri="{FF2B5EF4-FFF2-40B4-BE49-F238E27FC236}">
                  <a16:creationId xmlns:a16="http://schemas.microsoft.com/office/drawing/2014/main" id="{A7251658-BF85-094D-9C89-EC3C25234CC0}"/>
                </a:ext>
              </a:extLst>
            </p:cNvPr>
            <p:cNvSpPr/>
            <p:nvPr/>
          </p:nvSpPr>
          <p:spPr>
            <a:xfrm>
              <a:off x="3409653" y="2275741"/>
              <a:ext cx="1383712" cy="388758"/>
            </a:xfrm>
            <a:prstGeom prst="roundRect">
              <a:avLst>
                <a:gd name="adj" fmla="val 26305"/>
              </a:avLst>
            </a:prstGeom>
            <a:gradFill>
              <a:gsLst>
                <a:gs pos="14000">
                  <a:schemeClr val="accent1"/>
                </a:gs>
                <a:gs pos="95000">
                  <a:schemeClr val="tx2"/>
                </a:gs>
              </a:gsLst>
              <a:lin ang="0" scaled="0"/>
            </a:gradFill>
            <a:ln w="12700">
              <a:noFill/>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900" b="1">
                  <a:solidFill>
                    <a:schemeClr val="bg1"/>
                  </a:solidFill>
                  <a:latin typeface="Arial" panose="020B0604020202020204" pitchFamily="34" charset="0"/>
                  <a:cs typeface="Arial" panose="020B0604020202020204" pitchFamily="34" charset="0"/>
                </a:rPr>
                <a:t>Barriers to Entry</a:t>
              </a:r>
              <a:endParaRPr lang="en-US" sz="900">
                <a:solidFill>
                  <a:schemeClr val="bg1"/>
                </a:solidFill>
                <a:latin typeface="Arial" panose="020B0604020202020204" pitchFamily="34" charset="0"/>
                <a:cs typeface="Arial" panose="020B0604020202020204" pitchFamily="34" charset="0"/>
              </a:endParaRPr>
            </a:p>
          </p:txBody>
        </p:sp>
        <p:sp>
          <p:nvSpPr>
            <p:cNvPr id="19" name="Text Box 8">
              <a:extLst>
                <a:ext uri="{FF2B5EF4-FFF2-40B4-BE49-F238E27FC236}">
                  <a16:creationId xmlns:a16="http://schemas.microsoft.com/office/drawing/2014/main" id="{1E260516-5955-6440-91B9-A9A1B8FCA213}"/>
                </a:ext>
              </a:extLst>
            </p:cNvPr>
            <p:cNvSpPr txBox="1">
              <a:spLocks noChangeArrowheads="1"/>
            </p:cNvSpPr>
            <p:nvPr/>
          </p:nvSpPr>
          <p:spPr bwMode="auto">
            <a:xfrm>
              <a:off x="3420470" y="3683497"/>
              <a:ext cx="1383712" cy="811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190500" indent="-190500" algn="l">
                <a:defRPr sz="2400">
                  <a:solidFill>
                    <a:schemeClr val="tx1"/>
                  </a:solidFill>
                  <a:latin typeface="Arial" charset="0"/>
                </a:defRPr>
              </a:lvl1pPr>
              <a:lvl2pPr algn="l">
                <a:defRPr sz="2400">
                  <a:solidFill>
                    <a:schemeClr val="tx1"/>
                  </a:solidFill>
                  <a:latin typeface="Arial" charset="0"/>
                </a:defRPr>
              </a:lvl2pPr>
              <a:lvl3pPr algn="l">
                <a:defRPr sz="2400">
                  <a:solidFill>
                    <a:schemeClr val="tx1"/>
                  </a:solidFill>
                  <a:latin typeface="Arial" charset="0"/>
                </a:defRPr>
              </a:lvl3pPr>
              <a:lvl4pPr algn="l">
                <a:defRPr sz="2400">
                  <a:solidFill>
                    <a:schemeClr val="tx1"/>
                  </a:solidFill>
                  <a:latin typeface="Arial" charset="0"/>
                </a:defRPr>
              </a:lvl4pPr>
              <a:lvl5pPr algn="l">
                <a:defRPr sz="2400">
                  <a:solidFill>
                    <a:schemeClr val="tx1"/>
                  </a:solidFill>
                  <a:latin typeface="Arial" charset="0"/>
                </a:defRPr>
              </a:lvl5pPr>
              <a:lvl6pPr fontAlgn="base">
                <a:spcBef>
                  <a:spcPct val="0"/>
                </a:spcBef>
                <a:spcAft>
                  <a:spcPct val="0"/>
                </a:spcAft>
                <a:defRPr sz="2400">
                  <a:solidFill>
                    <a:schemeClr val="tx1"/>
                  </a:solidFill>
                  <a:latin typeface="Arial" charset="0"/>
                </a:defRPr>
              </a:lvl6pPr>
              <a:lvl7pPr fontAlgn="base">
                <a:spcBef>
                  <a:spcPct val="0"/>
                </a:spcBef>
                <a:spcAft>
                  <a:spcPct val="0"/>
                </a:spcAft>
                <a:defRPr sz="2400">
                  <a:solidFill>
                    <a:schemeClr val="tx1"/>
                  </a:solidFill>
                  <a:latin typeface="Arial" charset="0"/>
                </a:defRPr>
              </a:lvl7pPr>
              <a:lvl8pPr fontAlgn="base">
                <a:spcBef>
                  <a:spcPct val="0"/>
                </a:spcBef>
                <a:spcAft>
                  <a:spcPct val="0"/>
                </a:spcAft>
                <a:defRPr sz="2400">
                  <a:solidFill>
                    <a:schemeClr val="tx1"/>
                  </a:solidFill>
                  <a:latin typeface="Arial" charset="0"/>
                </a:defRPr>
              </a:lvl8pPr>
              <a:lvl9pPr fontAlgn="base">
                <a:spcBef>
                  <a:spcPct val="0"/>
                </a:spcBef>
                <a:spcAft>
                  <a:spcPct val="0"/>
                </a:spcAft>
                <a:defRPr sz="2400">
                  <a:solidFill>
                    <a:schemeClr val="tx1"/>
                  </a:solidFill>
                  <a:latin typeface="Arial" charset="0"/>
                </a:defRPr>
              </a:lvl9pPr>
            </a:lstStyle>
            <a:p>
              <a:pPr marL="0" indent="0" algn="ctr" eaLnBrk="0" hangingPunct="0">
                <a:lnSpc>
                  <a:spcPts val="1260"/>
                </a:lnSpc>
              </a:pPr>
              <a:r>
                <a:rPr lang="en-AU" altLang="en-US" sz="700" i="1">
                  <a:solidFill>
                    <a:schemeClr val="bg2">
                      <a:lumMod val="60000"/>
                      <a:lumOff val="40000"/>
                    </a:schemeClr>
                  </a:solidFill>
                  <a:latin typeface="Arial" panose="020B0604020202020204" pitchFamily="34" charset="0"/>
                  <a:cs typeface="Arial" panose="020B0604020202020204" pitchFamily="34" charset="0"/>
                </a:rPr>
                <a:t>Economies of scale, Brand identity, Switching costs, Access to distribution, Government policy, Expected retaliation, Capital requirements</a:t>
              </a:r>
            </a:p>
          </p:txBody>
        </p:sp>
        <p:sp>
          <p:nvSpPr>
            <p:cNvPr id="20" name="Закругленный прямоугольник">
              <a:extLst>
                <a:ext uri="{FF2B5EF4-FFF2-40B4-BE49-F238E27FC236}">
                  <a16:creationId xmlns:a16="http://schemas.microsoft.com/office/drawing/2014/main" id="{69C58C34-71F6-A94F-BFA8-8B01140BA2F2}"/>
                </a:ext>
              </a:extLst>
            </p:cNvPr>
            <p:cNvSpPr/>
            <p:nvPr/>
          </p:nvSpPr>
          <p:spPr>
            <a:xfrm>
              <a:off x="7219926" y="2470121"/>
              <a:ext cx="1737114" cy="3238513"/>
            </a:xfrm>
            <a:prstGeom prst="roundRect">
              <a:avLst>
                <a:gd name="adj" fmla="val 10009"/>
              </a:avLst>
            </a:prstGeom>
            <a:noFill/>
            <a:ln w="25400">
              <a:solidFill>
                <a:srgbClr val="8D8EA8"/>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latin typeface="Arial" panose="020B0604020202020204" pitchFamily="34" charset="0"/>
                <a:cs typeface="Arial" panose="020B0604020202020204" pitchFamily="34" charset="0"/>
              </a:endParaRPr>
            </a:p>
          </p:txBody>
        </p:sp>
        <p:sp>
          <p:nvSpPr>
            <p:cNvPr id="22" name="Закругленный прямоугольник">
              <a:extLst>
                <a:ext uri="{FF2B5EF4-FFF2-40B4-BE49-F238E27FC236}">
                  <a16:creationId xmlns:a16="http://schemas.microsoft.com/office/drawing/2014/main" id="{6E6861B7-E24B-C64E-8D88-C89FF2385E0A}"/>
                </a:ext>
              </a:extLst>
            </p:cNvPr>
            <p:cNvSpPr/>
            <p:nvPr/>
          </p:nvSpPr>
          <p:spPr>
            <a:xfrm>
              <a:off x="7396627" y="2275741"/>
              <a:ext cx="1383712" cy="388758"/>
            </a:xfrm>
            <a:prstGeom prst="roundRect">
              <a:avLst>
                <a:gd name="adj" fmla="val 26305"/>
              </a:avLst>
            </a:prstGeom>
            <a:gradFill>
              <a:gsLst>
                <a:gs pos="14000">
                  <a:srgbClr val="8D8EA8"/>
                </a:gs>
                <a:gs pos="95000">
                  <a:srgbClr val="333657"/>
                </a:gs>
              </a:gsLst>
              <a:lin ang="0" scaled="0"/>
            </a:gradFill>
            <a:ln w="12700">
              <a:noFill/>
              <a:miter lim="400000"/>
            </a:ln>
          </p:spPr>
          <p:txBody>
            <a:bodyPr lIns="0" tIns="0" rIns="0" bIns="0" anchor="ctr"/>
            <a:lstStyle/>
            <a:p>
              <a:pPr lvl="0" algn="ctr"/>
              <a:r>
                <a:rPr lang="en-US" sz="900" b="1">
                  <a:solidFill>
                    <a:schemeClr val="bg1"/>
                  </a:solidFill>
                  <a:latin typeface="Arial" panose="020B0604020202020204" pitchFamily="34" charset="0"/>
                  <a:cs typeface="Arial" panose="020B0604020202020204" pitchFamily="34" charset="0"/>
                </a:rPr>
                <a:t>Threats of Substitutes</a:t>
              </a:r>
              <a:endParaRPr lang="en-US" sz="900">
                <a:solidFill>
                  <a:schemeClr val="bg1"/>
                </a:solidFill>
                <a:latin typeface="Arial" panose="020B0604020202020204" pitchFamily="34" charset="0"/>
                <a:cs typeface="Arial" panose="020B0604020202020204" pitchFamily="34" charset="0"/>
              </a:endParaRPr>
            </a:p>
          </p:txBody>
        </p:sp>
        <p:sp>
          <p:nvSpPr>
            <p:cNvPr id="24" name="Text Box 8">
              <a:extLst>
                <a:ext uri="{FF2B5EF4-FFF2-40B4-BE49-F238E27FC236}">
                  <a16:creationId xmlns:a16="http://schemas.microsoft.com/office/drawing/2014/main" id="{74766ADD-4D2D-604D-A393-D1CEBC8849F2}"/>
                </a:ext>
              </a:extLst>
            </p:cNvPr>
            <p:cNvSpPr txBox="1">
              <a:spLocks noChangeArrowheads="1"/>
            </p:cNvSpPr>
            <p:nvPr/>
          </p:nvSpPr>
          <p:spPr bwMode="auto">
            <a:xfrm>
              <a:off x="7432519" y="3683497"/>
              <a:ext cx="1311929" cy="811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190500" indent="-190500" algn="l">
                <a:defRPr sz="2400">
                  <a:solidFill>
                    <a:schemeClr val="tx1"/>
                  </a:solidFill>
                  <a:latin typeface="Arial" charset="0"/>
                </a:defRPr>
              </a:lvl1pPr>
              <a:lvl2pPr algn="l">
                <a:defRPr sz="2400">
                  <a:solidFill>
                    <a:schemeClr val="tx1"/>
                  </a:solidFill>
                  <a:latin typeface="Arial" charset="0"/>
                </a:defRPr>
              </a:lvl2pPr>
              <a:lvl3pPr algn="l">
                <a:defRPr sz="2400">
                  <a:solidFill>
                    <a:schemeClr val="tx1"/>
                  </a:solidFill>
                  <a:latin typeface="Arial" charset="0"/>
                </a:defRPr>
              </a:lvl3pPr>
              <a:lvl4pPr algn="l">
                <a:defRPr sz="2400">
                  <a:solidFill>
                    <a:schemeClr val="tx1"/>
                  </a:solidFill>
                  <a:latin typeface="Arial" charset="0"/>
                </a:defRPr>
              </a:lvl4pPr>
              <a:lvl5pPr algn="l">
                <a:defRPr sz="2400">
                  <a:solidFill>
                    <a:schemeClr val="tx1"/>
                  </a:solidFill>
                  <a:latin typeface="Arial" charset="0"/>
                </a:defRPr>
              </a:lvl5pPr>
              <a:lvl6pPr fontAlgn="base">
                <a:spcBef>
                  <a:spcPct val="0"/>
                </a:spcBef>
                <a:spcAft>
                  <a:spcPct val="0"/>
                </a:spcAft>
                <a:defRPr sz="2400">
                  <a:solidFill>
                    <a:schemeClr val="tx1"/>
                  </a:solidFill>
                  <a:latin typeface="Arial" charset="0"/>
                </a:defRPr>
              </a:lvl6pPr>
              <a:lvl7pPr fontAlgn="base">
                <a:spcBef>
                  <a:spcPct val="0"/>
                </a:spcBef>
                <a:spcAft>
                  <a:spcPct val="0"/>
                </a:spcAft>
                <a:defRPr sz="2400">
                  <a:solidFill>
                    <a:schemeClr val="tx1"/>
                  </a:solidFill>
                  <a:latin typeface="Arial" charset="0"/>
                </a:defRPr>
              </a:lvl7pPr>
              <a:lvl8pPr fontAlgn="base">
                <a:spcBef>
                  <a:spcPct val="0"/>
                </a:spcBef>
                <a:spcAft>
                  <a:spcPct val="0"/>
                </a:spcAft>
                <a:defRPr sz="2400">
                  <a:solidFill>
                    <a:schemeClr val="tx1"/>
                  </a:solidFill>
                  <a:latin typeface="Arial" charset="0"/>
                </a:defRPr>
              </a:lvl8pPr>
              <a:lvl9pPr fontAlgn="base">
                <a:spcBef>
                  <a:spcPct val="0"/>
                </a:spcBef>
                <a:spcAft>
                  <a:spcPct val="0"/>
                </a:spcAft>
                <a:defRPr sz="2400">
                  <a:solidFill>
                    <a:schemeClr val="tx1"/>
                  </a:solidFill>
                  <a:latin typeface="Arial" charset="0"/>
                </a:defRPr>
              </a:lvl9pPr>
            </a:lstStyle>
            <a:p>
              <a:pPr marL="0" indent="0" algn="ctr" eaLnBrk="0" hangingPunct="0">
                <a:lnSpc>
                  <a:spcPts val="1260"/>
                </a:lnSpc>
              </a:pPr>
              <a:r>
                <a:rPr lang="en-AU" altLang="en-US" sz="700" i="1">
                  <a:solidFill>
                    <a:schemeClr val="bg2">
                      <a:lumMod val="60000"/>
                      <a:lumOff val="40000"/>
                    </a:schemeClr>
                  </a:solidFill>
                  <a:latin typeface="Arial" panose="020B0604020202020204" pitchFamily="34" charset="0"/>
                  <a:cs typeface="Arial" panose="020B0604020202020204" pitchFamily="34" charset="0"/>
                </a:rPr>
                <a:t>Relative price performance of substitutes, Switching cost and Buyer propensity to substitute, Use different technology to solve same economic needs</a:t>
              </a:r>
            </a:p>
          </p:txBody>
        </p:sp>
        <p:sp>
          <p:nvSpPr>
            <p:cNvPr id="25" name="Закругленный прямоугольник">
              <a:extLst>
                <a:ext uri="{FF2B5EF4-FFF2-40B4-BE49-F238E27FC236}">
                  <a16:creationId xmlns:a16="http://schemas.microsoft.com/office/drawing/2014/main" id="{05ED69C3-E943-3041-84A2-34431755BD66}"/>
                </a:ext>
              </a:extLst>
            </p:cNvPr>
            <p:cNvSpPr/>
            <p:nvPr/>
          </p:nvSpPr>
          <p:spPr>
            <a:xfrm>
              <a:off x="1235297" y="2003267"/>
              <a:ext cx="1737114" cy="3238514"/>
            </a:xfrm>
            <a:prstGeom prst="roundRect">
              <a:avLst>
                <a:gd name="adj" fmla="val 10009"/>
              </a:avLst>
            </a:prstGeom>
            <a:noFill/>
            <a:ln w="25400">
              <a:solidFill>
                <a:srgbClr val="8D8EA8"/>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latin typeface="Arial" panose="020B0604020202020204" pitchFamily="34" charset="0"/>
                <a:cs typeface="Arial" panose="020B0604020202020204" pitchFamily="34" charset="0"/>
              </a:endParaRPr>
            </a:p>
          </p:txBody>
        </p:sp>
        <p:sp>
          <p:nvSpPr>
            <p:cNvPr id="27" name="Закругленный прямоугольник">
              <a:extLst>
                <a:ext uri="{FF2B5EF4-FFF2-40B4-BE49-F238E27FC236}">
                  <a16:creationId xmlns:a16="http://schemas.microsoft.com/office/drawing/2014/main" id="{21B60C55-AD5F-9140-AA0A-12801EC299AE}"/>
                </a:ext>
              </a:extLst>
            </p:cNvPr>
            <p:cNvSpPr/>
            <p:nvPr/>
          </p:nvSpPr>
          <p:spPr>
            <a:xfrm>
              <a:off x="1411998" y="1808887"/>
              <a:ext cx="1383712" cy="388758"/>
            </a:xfrm>
            <a:prstGeom prst="roundRect">
              <a:avLst>
                <a:gd name="adj" fmla="val 26305"/>
              </a:avLst>
            </a:prstGeom>
            <a:gradFill>
              <a:gsLst>
                <a:gs pos="14000">
                  <a:srgbClr val="8D8EA8"/>
                </a:gs>
                <a:gs pos="95000">
                  <a:srgbClr val="333657"/>
                </a:gs>
              </a:gsLst>
              <a:lin ang="0" scaled="0"/>
            </a:gradFill>
            <a:ln w="12700">
              <a:noFill/>
              <a:miter lim="400000"/>
            </a:ln>
          </p:spPr>
          <p:txBody>
            <a:bodyPr lIns="0" tIns="0" rIns="0" bIns="0" anchor="ctr"/>
            <a:lstStyle/>
            <a:p>
              <a:pPr algn="ctr"/>
              <a:r>
                <a:rPr lang="en-US" sz="900" b="1">
                  <a:solidFill>
                    <a:schemeClr val="bg1"/>
                  </a:solidFill>
                  <a:latin typeface="Arial" panose="020B0604020202020204" pitchFamily="34" charset="0"/>
                  <a:cs typeface="Arial" panose="020B0604020202020204" pitchFamily="34" charset="0"/>
                </a:rPr>
                <a:t>Supplier Power</a:t>
              </a:r>
              <a:endParaRPr lang="en-US" sz="900">
                <a:solidFill>
                  <a:schemeClr val="bg1"/>
                </a:solidFill>
                <a:latin typeface="Arial" panose="020B0604020202020204" pitchFamily="34" charset="0"/>
                <a:cs typeface="Arial" panose="020B0604020202020204" pitchFamily="34" charset="0"/>
              </a:endParaRPr>
            </a:p>
          </p:txBody>
        </p:sp>
        <p:sp>
          <p:nvSpPr>
            <p:cNvPr id="29" name="Text Box 8">
              <a:extLst>
                <a:ext uri="{FF2B5EF4-FFF2-40B4-BE49-F238E27FC236}">
                  <a16:creationId xmlns:a16="http://schemas.microsoft.com/office/drawing/2014/main" id="{05A265AA-2F20-9E40-9E5A-460BC4A452EA}"/>
                </a:ext>
              </a:extLst>
            </p:cNvPr>
            <p:cNvSpPr txBox="1">
              <a:spLocks noChangeArrowheads="1"/>
            </p:cNvSpPr>
            <p:nvPr/>
          </p:nvSpPr>
          <p:spPr bwMode="auto">
            <a:xfrm>
              <a:off x="1411998" y="3216644"/>
              <a:ext cx="1383712" cy="811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190500" indent="-190500" algn="l">
                <a:defRPr sz="2400">
                  <a:solidFill>
                    <a:schemeClr val="tx1"/>
                  </a:solidFill>
                  <a:latin typeface="Arial" charset="0"/>
                </a:defRPr>
              </a:lvl1pPr>
              <a:lvl2pPr algn="l">
                <a:defRPr sz="2400">
                  <a:solidFill>
                    <a:schemeClr val="tx1"/>
                  </a:solidFill>
                  <a:latin typeface="Arial" charset="0"/>
                </a:defRPr>
              </a:lvl2pPr>
              <a:lvl3pPr algn="l">
                <a:defRPr sz="2400">
                  <a:solidFill>
                    <a:schemeClr val="tx1"/>
                  </a:solidFill>
                  <a:latin typeface="Arial" charset="0"/>
                </a:defRPr>
              </a:lvl3pPr>
              <a:lvl4pPr algn="l">
                <a:defRPr sz="2400">
                  <a:solidFill>
                    <a:schemeClr val="tx1"/>
                  </a:solidFill>
                  <a:latin typeface="Arial" charset="0"/>
                </a:defRPr>
              </a:lvl4pPr>
              <a:lvl5pPr algn="l">
                <a:defRPr sz="2400">
                  <a:solidFill>
                    <a:schemeClr val="tx1"/>
                  </a:solidFill>
                  <a:latin typeface="Arial" charset="0"/>
                </a:defRPr>
              </a:lvl5pPr>
              <a:lvl6pPr fontAlgn="base">
                <a:spcBef>
                  <a:spcPct val="0"/>
                </a:spcBef>
                <a:spcAft>
                  <a:spcPct val="0"/>
                </a:spcAft>
                <a:defRPr sz="2400">
                  <a:solidFill>
                    <a:schemeClr val="tx1"/>
                  </a:solidFill>
                  <a:latin typeface="Arial" charset="0"/>
                </a:defRPr>
              </a:lvl6pPr>
              <a:lvl7pPr fontAlgn="base">
                <a:spcBef>
                  <a:spcPct val="0"/>
                </a:spcBef>
                <a:spcAft>
                  <a:spcPct val="0"/>
                </a:spcAft>
                <a:defRPr sz="2400">
                  <a:solidFill>
                    <a:schemeClr val="tx1"/>
                  </a:solidFill>
                  <a:latin typeface="Arial" charset="0"/>
                </a:defRPr>
              </a:lvl7pPr>
              <a:lvl8pPr fontAlgn="base">
                <a:spcBef>
                  <a:spcPct val="0"/>
                </a:spcBef>
                <a:spcAft>
                  <a:spcPct val="0"/>
                </a:spcAft>
                <a:defRPr sz="2400">
                  <a:solidFill>
                    <a:schemeClr val="tx1"/>
                  </a:solidFill>
                  <a:latin typeface="Arial" charset="0"/>
                </a:defRPr>
              </a:lvl8pPr>
              <a:lvl9pPr fontAlgn="base">
                <a:spcBef>
                  <a:spcPct val="0"/>
                </a:spcBef>
                <a:spcAft>
                  <a:spcPct val="0"/>
                </a:spcAft>
                <a:defRPr sz="2400">
                  <a:solidFill>
                    <a:schemeClr val="tx1"/>
                  </a:solidFill>
                  <a:latin typeface="Arial" charset="0"/>
                </a:defRPr>
              </a:lvl9pPr>
            </a:lstStyle>
            <a:p>
              <a:pPr marL="0" indent="0" algn="ctr" eaLnBrk="0" hangingPunct="0">
                <a:lnSpc>
                  <a:spcPts val="1260"/>
                </a:lnSpc>
              </a:pPr>
              <a:r>
                <a:rPr lang="en-AU" altLang="en-US" sz="700" i="1">
                  <a:solidFill>
                    <a:schemeClr val="bg2">
                      <a:lumMod val="60000"/>
                      <a:lumOff val="40000"/>
                    </a:schemeClr>
                  </a:solidFill>
                  <a:latin typeface="Arial" panose="020B0604020202020204" pitchFamily="34" charset="0"/>
                  <a:cs typeface="Arial" panose="020B0604020202020204" pitchFamily="34" charset="0"/>
                </a:rPr>
                <a:t>Differentiation of inputs, Switching costs of suppliers and firms in the industry, Presence of substitute inputs, Importance of volume to supplier</a:t>
              </a:r>
            </a:p>
          </p:txBody>
        </p:sp>
        <p:sp>
          <p:nvSpPr>
            <p:cNvPr id="30" name="Закругленный прямоугольник">
              <a:extLst>
                <a:ext uri="{FF2B5EF4-FFF2-40B4-BE49-F238E27FC236}">
                  <a16:creationId xmlns:a16="http://schemas.microsoft.com/office/drawing/2014/main" id="{AEA82F3B-B5C9-8543-B31E-7184CB36BA13}"/>
                </a:ext>
              </a:extLst>
            </p:cNvPr>
            <p:cNvSpPr/>
            <p:nvPr/>
          </p:nvSpPr>
          <p:spPr>
            <a:xfrm>
              <a:off x="5228414" y="2005625"/>
              <a:ext cx="1737114" cy="3238513"/>
            </a:xfrm>
            <a:prstGeom prst="roundRect">
              <a:avLst>
                <a:gd name="adj" fmla="val 10009"/>
              </a:avLst>
            </a:prstGeom>
            <a:noFill/>
            <a:ln w="25400">
              <a:solidFill>
                <a:srgbClr val="8D8EA8"/>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latin typeface="Arial" panose="020B0604020202020204" pitchFamily="34" charset="0"/>
                <a:cs typeface="Arial" panose="020B0604020202020204" pitchFamily="34" charset="0"/>
              </a:endParaRPr>
            </a:p>
          </p:txBody>
        </p:sp>
        <p:sp>
          <p:nvSpPr>
            <p:cNvPr id="32" name="Закругленный прямоугольник">
              <a:extLst>
                <a:ext uri="{FF2B5EF4-FFF2-40B4-BE49-F238E27FC236}">
                  <a16:creationId xmlns:a16="http://schemas.microsoft.com/office/drawing/2014/main" id="{55861A1C-0DF7-5244-A109-6899DD97EC3F}"/>
                </a:ext>
              </a:extLst>
            </p:cNvPr>
            <p:cNvSpPr/>
            <p:nvPr/>
          </p:nvSpPr>
          <p:spPr>
            <a:xfrm>
              <a:off x="5405115" y="1811245"/>
              <a:ext cx="1383712" cy="388758"/>
            </a:xfrm>
            <a:prstGeom prst="roundRect">
              <a:avLst>
                <a:gd name="adj" fmla="val 26305"/>
              </a:avLst>
            </a:prstGeom>
            <a:gradFill>
              <a:gsLst>
                <a:gs pos="14000">
                  <a:srgbClr val="8D8EA8"/>
                </a:gs>
                <a:gs pos="95000">
                  <a:schemeClr val="tx2"/>
                </a:gs>
              </a:gsLst>
              <a:lin ang="0" scaled="0"/>
            </a:gradFill>
            <a:ln w="12700">
              <a:noFill/>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900" b="1">
                  <a:solidFill>
                    <a:schemeClr val="bg1"/>
                  </a:solidFill>
                  <a:latin typeface="Arial" panose="020B0604020202020204" pitchFamily="34" charset="0"/>
                  <a:cs typeface="Arial" panose="020B0604020202020204" pitchFamily="34" charset="0"/>
                </a:rPr>
                <a:t>Buying Power</a:t>
              </a:r>
              <a:endParaRPr lang="en-US" sz="900">
                <a:solidFill>
                  <a:schemeClr val="bg1"/>
                </a:solidFill>
                <a:latin typeface="Arial" panose="020B0604020202020204" pitchFamily="34" charset="0"/>
                <a:cs typeface="Arial" panose="020B0604020202020204" pitchFamily="34" charset="0"/>
              </a:endParaRPr>
            </a:p>
          </p:txBody>
        </p:sp>
        <p:sp>
          <p:nvSpPr>
            <p:cNvPr id="34" name="Text Box 8">
              <a:extLst>
                <a:ext uri="{FF2B5EF4-FFF2-40B4-BE49-F238E27FC236}">
                  <a16:creationId xmlns:a16="http://schemas.microsoft.com/office/drawing/2014/main" id="{6F68AC03-6AC2-514B-BD4F-1BB197B08077}"/>
                </a:ext>
              </a:extLst>
            </p:cNvPr>
            <p:cNvSpPr txBox="1">
              <a:spLocks noChangeArrowheads="1"/>
            </p:cNvSpPr>
            <p:nvPr/>
          </p:nvSpPr>
          <p:spPr bwMode="auto">
            <a:xfrm>
              <a:off x="5431028" y="3219001"/>
              <a:ext cx="1331887" cy="811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190500" indent="-190500" algn="l">
                <a:defRPr sz="2400">
                  <a:solidFill>
                    <a:schemeClr val="tx1"/>
                  </a:solidFill>
                  <a:latin typeface="Arial" charset="0"/>
                </a:defRPr>
              </a:lvl1pPr>
              <a:lvl2pPr algn="l">
                <a:defRPr sz="2400">
                  <a:solidFill>
                    <a:schemeClr val="tx1"/>
                  </a:solidFill>
                  <a:latin typeface="Arial" charset="0"/>
                </a:defRPr>
              </a:lvl2pPr>
              <a:lvl3pPr algn="l">
                <a:defRPr sz="2400">
                  <a:solidFill>
                    <a:schemeClr val="tx1"/>
                  </a:solidFill>
                  <a:latin typeface="Arial" charset="0"/>
                </a:defRPr>
              </a:lvl3pPr>
              <a:lvl4pPr algn="l">
                <a:defRPr sz="2400">
                  <a:solidFill>
                    <a:schemeClr val="tx1"/>
                  </a:solidFill>
                  <a:latin typeface="Arial" charset="0"/>
                </a:defRPr>
              </a:lvl4pPr>
              <a:lvl5pPr algn="l">
                <a:defRPr sz="2400">
                  <a:solidFill>
                    <a:schemeClr val="tx1"/>
                  </a:solidFill>
                  <a:latin typeface="Arial" charset="0"/>
                </a:defRPr>
              </a:lvl5pPr>
              <a:lvl6pPr fontAlgn="base">
                <a:spcBef>
                  <a:spcPct val="0"/>
                </a:spcBef>
                <a:spcAft>
                  <a:spcPct val="0"/>
                </a:spcAft>
                <a:defRPr sz="2400">
                  <a:solidFill>
                    <a:schemeClr val="tx1"/>
                  </a:solidFill>
                  <a:latin typeface="Arial" charset="0"/>
                </a:defRPr>
              </a:lvl6pPr>
              <a:lvl7pPr fontAlgn="base">
                <a:spcBef>
                  <a:spcPct val="0"/>
                </a:spcBef>
                <a:spcAft>
                  <a:spcPct val="0"/>
                </a:spcAft>
                <a:defRPr sz="2400">
                  <a:solidFill>
                    <a:schemeClr val="tx1"/>
                  </a:solidFill>
                  <a:latin typeface="Arial" charset="0"/>
                </a:defRPr>
              </a:lvl7pPr>
              <a:lvl8pPr fontAlgn="base">
                <a:spcBef>
                  <a:spcPct val="0"/>
                </a:spcBef>
                <a:spcAft>
                  <a:spcPct val="0"/>
                </a:spcAft>
                <a:defRPr sz="2400">
                  <a:solidFill>
                    <a:schemeClr val="tx1"/>
                  </a:solidFill>
                  <a:latin typeface="Arial" charset="0"/>
                </a:defRPr>
              </a:lvl8pPr>
              <a:lvl9pPr fontAlgn="base">
                <a:spcBef>
                  <a:spcPct val="0"/>
                </a:spcBef>
                <a:spcAft>
                  <a:spcPct val="0"/>
                </a:spcAft>
                <a:defRPr sz="2400">
                  <a:solidFill>
                    <a:schemeClr val="tx1"/>
                  </a:solidFill>
                  <a:latin typeface="Arial" charset="0"/>
                </a:defRPr>
              </a:lvl9pPr>
            </a:lstStyle>
            <a:p>
              <a:pPr marL="0" indent="0" algn="ctr" eaLnBrk="0" hangingPunct="0">
                <a:lnSpc>
                  <a:spcPts val="1260"/>
                </a:lnSpc>
              </a:pPr>
              <a:r>
                <a:rPr lang="en-AU" altLang="en-US" sz="700" i="1">
                  <a:solidFill>
                    <a:schemeClr val="bg2">
                      <a:lumMod val="60000"/>
                      <a:lumOff val="40000"/>
                    </a:schemeClr>
                  </a:solidFill>
                  <a:latin typeface="Arial" panose="020B0604020202020204" pitchFamily="34" charset="0"/>
                  <a:cs typeface="Arial" panose="020B0604020202020204" pitchFamily="34" charset="0"/>
                </a:rPr>
                <a:t>Buyer vs firm concentration, Buyer volume, Buyer vs. firm switch cost, Buyer information, Ability to backward integrate and substitute products</a:t>
              </a:r>
            </a:p>
          </p:txBody>
        </p:sp>
        <p:sp>
          <p:nvSpPr>
            <p:cNvPr id="35" name="Закругленный прямоугольник">
              <a:extLst>
                <a:ext uri="{FF2B5EF4-FFF2-40B4-BE49-F238E27FC236}">
                  <a16:creationId xmlns:a16="http://schemas.microsoft.com/office/drawing/2014/main" id="{FF8C79ED-806B-654A-8E5D-D2E2E7121133}"/>
                </a:ext>
              </a:extLst>
            </p:cNvPr>
            <p:cNvSpPr/>
            <p:nvPr/>
          </p:nvSpPr>
          <p:spPr>
            <a:xfrm>
              <a:off x="9219589" y="2003267"/>
              <a:ext cx="1737114" cy="3238513"/>
            </a:xfrm>
            <a:prstGeom prst="roundRect">
              <a:avLst>
                <a:gd name="adj" fmla="val 10009"/>
              </a:avLst>
            </a:prstGeom>
            <a:noFill/>
            <a:ln w="25400">
              <a:solidFill>
                <a:srgbClr val="8D8EA8"/>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latin typeface="Arial" panose="020B0604020202020204" pitchFamily="34" charset="0"/>
                <a:cs typeface="Arial" panose="020B0604020202020204" pitchFamily="34" charset="0"/>
              </a:endParaRPr>
            </a:p>
          </p:txBody>
        </p:sp>
        <p:sp>
          <p:nvSpPr>
            <p:cNvPr id="37" name="Закругленный прямоугольник">
              <a:extLst>
                <a:ext uri="{FF2B5EF4-FFF2-40B4-BE49-F238E27FC236}">
                  <a16:creationId xmlns:a16="http://schemas.microsoft.com/office/drawing/2014/main" id="{F5E2FDAB-0EFC-F345-B21E-8CC90F1CA814}"/>
                </a:ext>
              </a:extLst>
            </p:cNvPr>
            <p:cNvSpPr/>
            <p:nvPr/>
          </p:nvSpPr>
          <p:spPr>
            <a:xfrm>
              <a:off x="9396290" y="1808887"/>
              <a:ext cx="1383712" cy="388758"/>
            </a:xfrm>
            <a:prstGeom prst="roundRect">
              <a:avLst>
                <a:gd name="adj" fmla="val 26305"/>
              </a:avLst>
            </a:prstGeom>
            <a:gradFill>
              <a:gsLst>
                <a:gs pos="14000">
                  <a:srgbClr val="8D8EA8"/>
                </a:gs>
                <a:gs pos="95000">
                  <a:srgbClr val="333657"/>
                </a:gs>
              </a:gsLst>
              <a:lin ang="0" scaled="0"/>
            </a:gradFill>
            <a:ln w="12700">
              <a:noFill/>
              <a:miter lim="400000"/>
            </a:ln>
          </p:spPr>
          <p:txBody>
            <a:bodyPr lIns="0" tIns="0" rIns="0" bIns="0" anchor="ctr"/>
            <a:lstStyle/>
            <a:p>
              <a:pPr lvl="0" algn="ctr"/>
              <a:r>
                <a:rPr lang="en-US" sz="900" b="1">
                  <a:solidFill>
                    <a:schemeClr val="bg1"/>
                  </a:solidFill>
                  <a:latin typeface="Arial" panose="020B0604020202020204" pitchFamily="34" charset="0"/>
                  <a:cs typeface="Arial" panose="020B0604020202020204" pitchFamily="34" charset="0"/>
                </a:rPr>
                <a:t>Intensity of Rivalry</a:t>
              </a:r>
              <a:endParaRPr lang="en-US" sz="900">
                <a:solidFill>
                  <a:schemeClr val="bg1"/>
                </a:solidFill>
                <a:latin typeface="Arial" panose="020B0604020202020204" pitchFamily="34" charset="0"/>
                <a:cs typeface="Arial" panose="020B0604020202020204" pitchFamily="34" charset="0"/>
              </a:endParaRPr>
            </a:p>
          </p:txBody>
        </p:sp>
        <p:sp>
          <p:nvSpPr>
            <p:cNvPr id="39" name="Text Box 8">
              <a:extLst>
                <a:ext uri="{FF2B5EF4-FFF2-40B4-BE49-F238E27FC236}">
                  <a16:creationId xmlns:a16="http://schemas.microsoft.com/office/drawing/2014/main" id="{2A760188-F091-FD40-8F05-F10240AE9571}"/>
                </a:ext>
              </a:extLst>
            </p:cNvPr>
            <p:cNvSpPr txBox="1">
              <a:spLocks noChangeArrowheads="1"/>
            </p:cNvSpPr>
            <p:nvPr/>
          </p:nvSpPr>
          <p:spPr bwMode="auto">
            <a:xfrm>
              <a:off x="9432182" y="3216643"/>
              <a:ext cx="1311929" cy="8117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marL="190500" indent="-190500" algn="l">
                <a:defRPr sz="2400">
                  <a:solidFill>
                    <a:schemeClr val="tx1"/>
                  </a:solidFill>
                  <a:latin typeface="Arial" charset="0"/>
                </a:defRPr>
              </a:lvl1pPr>
              <a:lvl2pPr algn="l">
                <a:defRPr sz="2400">
                  <a:solidFill>
                    <a:schemeClr val="tx1"/>
                  </a:solidFill>
                  <a:latin typeface="Arial" charset="0"/>
                </a:defRPr>
              </a:lvl2pPr>
              <a:lvl3pPr algn="l">
                <a:defRPr sz="2400">
                  <a:solidFill>
                    <a:schemeClr val="tx1"/>
                  </a:solidFill>
                  <a:latin typeface="Arial" charset="0"/>
                </a:defRPr>
              </a:lvl3pPr>
              <a:lvl4pPr algn="l">
                <a:defRPr sz="2400">
                  <a:solidFill>
                    <a:schemeClr val="tx1"/>
                  </a:solidFill>
                  <a:latin typeface="Arial" charset="0"/>
                </a:defRPr>
              </a:lvl4pPr>
              <a:lvl5pPr algn="l">
                <a:defRPr sz="2400">
                  <a:solidFill>
                    <a:schemeClr val="tx1"/>
                  </a:solidFill>
                  <a:latin typeface="Arial" charset="0"/>
                </a:defRPr>
              </a:lvl5pPr>
              <a:lvl6pPr fontAlgn="base">
                <a:spcBef>
                  <a:spcPct val="0"/>
                </a:spcBef>
                <a:spcAft>
                  <a:spcPct val="0"/>
                </a:spcAft>
                <a:defRPr sz="2400">
                  <a:solidFill>
                    <a:schemeClr val="tx1"/>
                  </a:solidFill>
                  <a:latin typeface="Arial" charset="0"/>
                </a:defRPr>
              </a:lvl6pPr>
              <a:lvl7pPr fontAlgn="base">
                <a:spcBef>
                  <a:spcPct val="0"/>
                </a:spcBef>
                <a:spcAft>
                  <a:spcPct val="0"/>
                </a:spcAft>
                <a:defRPr sz="2400">
                  <a:solidFill>
                    <a:schemeClr val="tx1"/>
                  </a:solidFill>
                  <a:latin typeface="Arial" charset="0"/>
                </a:defRPr>
              </a:lvl7pPr>
              <a:lvl8pPr fontAlgn="base">
                <a:spcBef>
                  <a:spcPct val="0"/>
                </a:spcBef>
                <a:spcAft>
                  <a:spcPct val="0"/>
                </a:spcAft>
                <a:defRPr sz="2400">
                  <a:solidFill>
                    <a:schemeClr val="tx1"/>
                  </a:solidFill>
                  <a:latin typeface="Arial" charset="0"/>
                </a:defRPr>
              </a:lvl8pPr>
              <a:lvl9pPr fontAlgn="base">
                <a:spcBef>
                  <a:spcPct val="0"/>
                </a:spcBef>
                <a:spcAft>
                  <a:spcPct val="0"/>
                </a:spcAft>
                <a:defRPr sz="2400">
                  <a:solidFill>
                    <a:schemeClr val="tx1"/>
                  </a:solidFill>
                  <a:latin typeface="Arial" charset="0"/>
                </a:defRPr>
              </a:lvl9pPr>
            </a:lstStyle>
            <a:p>
              <a:pPr marL="0" indent="0" algn="ctr" eaLnBrk="0" hangingPunct="0">
                <a:lnSpc>
                  <a:spcPts val="1260"/>
                </a:lnSpc>
              </a:pPr>
              <a:r>
                <a:rPr lang="en-AU" altLang="en-US" sz="700" i="1">
                  <a:solidFill>
                    <a:schemeClr val="bg2">
                      <a:lumMod val="60000"/>
                      <a:lumOff val="40000"/>
                    </a:schemeClr>
                  </a:solidFill>
                  <a:latin typeface="Arial" panose="020B0604020202020204" pitchFamily="34" charset="0"/>
                  <a:cs typeface="Arial" panose="020B0604020202020204" pitchFamily="34" charset="0"/>
                </a:rPr>
                <a:t>Industry growth, Fixed (or storage) cost/value added, Intermittent over capacity, Concentration &amp; balance, Informational complexity</a:t>
              </a:r>
            </a:p>
          </p:txBody>
        </p:sp>
        <p:grpSp>
          <p:nvGrpSpPr>
            <p:cNvPr id="46" name="Group 9">
              <a:extLst>
                <a:ext uri="{FF2B5EF4-FFF2-40B4-BE49-F238E27FC236}">
                  <a16:creationId xmlns:a16="http://schemas.microsoft.com/office/drawing/2014/main" id="{C6B93DCE-7731-5040-9D1C-90911D6775D4}"/>
                </a:ext>
              </a:extLst>
            </p:cNvPr>
            <p:cNvGrpSpPr/>
            <p:nvPr/>
          </p:nvGrpSpPr>
          <p:grpSpPr>
            <a:xfrm>
              <a:off x="6816089" y="4379472"/>
              <a:ext cx="778914" cy="755041"/>
              <a:chOff x="8812529" y="4379472"/>
              <a:chExt cx="778914" cy="755041"/>
            </a:xfrm>
            <a:solidFill>
              <a:srgbClr val="014049">
                <a:alpha val="34000"/>
              </a:srgbClr>
            </a:solidFill>
          </p:grpSpPr>
          <p:sp>
            <p:nvSpPr>
              <p:cNvPr id="47" name="Isosceles Triangle 68">
                <a:extLst>
                  <a:ext uri="{FF2B5EF4-FFF2-40B4-BE49-F238E27FC236}">
                    <a16:creationId xmlns:a16="http://schemas.microsoft.com/office/drawing/2014/main" id="{05E08386-4480-5A4F-B169-4C57B135771A}"/>
                  </a:ext>
                </a:extLst>
              </p:cNvPr>
              <p:cNvSpPr/>
              <p:nvPr/>
            </p:nvSpPr>
            <p:spPr>
              <a:xfrm rot="5400000">
                <a:off x="8760628" y="4479062"/>
                <a:ext cx="659663" cy="555861"/>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sp>
            <p:nvSpPr>
              <p:cNvPr id="48" name="Isosceles Triangle 68">
                <a:extLst>
                  <a:ext uri="{FF2B5EF4-FFF2-40B4-BE49-F238E27FC236}">
                    <a16:creationId xmlns:a16="http://schemas.microsoft.com/office/drawing/2014/main" id="{6EE53732-E744-C74A-B844-966CA91174E1}"/>
                  </a:ext>
                </a:extLst>
              </p:cNvPr>
              <p:cNvSpPr/>
              <p:nvPr/>
            </p:nvSpPr>
            <p:spPr>
              <a:xfrm rot="5400000">
                <a:off x="8895809" y="4438879"/>
                <a:ext cx="755041" cy="636227"/>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grpSp>
        <p:grpSp>
          <p:nvGrpSpPr>
            <p:cNvPr id="49" name="Group 9">
              <a:extLst>
                <a:ext uri="{FF2B5EF4-FFF2-40B4-BE49-F238E27FC236}">
                  <a16:creationId xmlns:a16="http://schemas.microsoft.com/office/drawing/2014/main" id="{EB26C200-B7D5-1F41-9B7A-BA159CB083B4}"/>
                </a:ext>
              </a:extLst>
            </p:cNvPr>
            <p:cNvGrpSpPr/>
            <p:nvPr/>
          </p:nvGrpSpPr>
          <p:grpSpPr>
            <a:xfrm>
              <a:off x="4834889" y="4379472"/>
              <a:ext cx="778914" cy="755041"/>
              <a:chOff x="8812529" y="4379472"/>
              <a:chExt cx="778914" cy="755041"/>
            </a:xfrm>
            <a:solidFill>
              <a:srgbClr val="014049">
                <a:alpha val="34000"/>
              </a:srgbClr>
            </a:solidFill>
          </p:grpSpPr>
          <p:sp>
            <p:nvSpPr>
              <p:cNvPr id="50" name="Isosceles Triangle 68">
                <a:extLst>
                  <a:ext uri="{FF2B5EF4-FFF2-40B4-BE49-F238E27FC236}">
                    <a16:creationId xmlns:a16="http://schemas.microsoft.com/office/drawing/2014/main" id="{5720758C-6A78-3E4A-82A4-E53D28CBD3A1}"/>
                  </a:ext>
                </a:extLst>
              </p:cNvPr>
              <p:cNvSpPr/>
              <p:nvPr/>
            </p:nvSpPr>
            <p:spPr>
              <a:xfrm rot="5400000">
                <a:off x="8760628" y="4479062"/>
                <a:ext cx="659663" cy="555861"/>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sp>
            <p:nvSpPr>
              <p:cNvPr id="51" name="Isosceles Triangle 68">
                <a:extLst>
                  <a:ext uri="{FF2B5EF4-FFF2-40B4-BE49-F238E27FC236}">
                    <a16:creationId xmlns:a16="http://schemas.microsoft.com/office/drawing/2014/main" id="{BF90B6DD-514F-8F45-8D2B-528D092737E8}"/>
                  </a:ext>
                </a:extLst>
              </p:cNvPr>
              <p:cNvSpPr/>
              <p:nvPr/>
            </p:nvSpPr>
            <p:spPr>
              <a:xfrm rot="5400000">
                <a:off x="8895809" y="4438879"/>
                <a:ext cx="755041" cy="636227"/>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grpSp>
        <p:grpSp>
          <p:nvGrpSpPr>
            <p:cNvPr id="52" name="Group 9">
              <a:extLst>
                <a:ext uri="{FF2B5EF4-FFF2-40B4-BE49-F238E27FC236}">
                  <a16:creationId xmlns:a16="http://schemas.microsoft.com/office/drawing/2014/main" id="{BF273B6C-EF86-4946-B4C4-FBB233DBF4DB}"/>
                </a:ext>
              </a:extLst>
            </p:cNvPr>
            <p:cNvGrpSpPr/>
            <p:nvPr/>
          </p:nvGrpSpPr>
          <p:grpSpPr>
            <a:xfrm>
              <a:off x="2838449" y="4379472"/>
              <a:ext cx="778914" cy="755041"/>
              <a:chOff x="8812529" y="4379472"/>
              <a:chExt cx="778914" cy="755041"/>
            </a:xfrm>
            <a:solidFill>
              <a:srgbClr val="014049">
                <a:alpha val="34000"/>
              </a:srgbClr>
            </a:solidFill>
          </p:grpSpPr>
          <p:sp>
            <p:nvSpPr>
              <p:cNvPr id="53" name="Isosceles Triangle 68">
                <a:extLst>
                  <a:ext uri="{FF2B5EF4-FFF2-40B4-BE49-F238E27FC236}">
                    <a16:creationId xmlns:a16="http://schemas.microsoft.com/office/drawing/2014/main" id="{5D4C5060-386B-BF48-8930-F842286EE6D0}"/>
                  </a:ext>
                </a:extLst>
              </p:cNvPr>
              <p:cNvSpPr/>
              <p:nvPr/>
            </p:nvSpPr>
            <p:spPr>
              <a:xfrm rot="5400000">
                <a:off x="8760628" y="4479062"/>
                <a:ext cx="659663" cy="555861"/>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sp>
            <p:nvSpPr>
              <p:cNvPr id="54" name="Isosceles Triangle 68">
                <a:extLst>
                  <a:ext uri="{FF2B5EF4-FFF2-40B4-BE49-F238E27FC236}">
                    <a16:creationId xmlns:a16="http://schemas.microsoft.com/office/drawing/2014/main" id="{99C148A8-0EFE-264B-ADDD-58770F492896}"/>
                  </a:ext>
                </a:extLst>
              </p:cNvPr>
              <p:cNvSpPr/>
              <p:nvPr/>
            </p:nvSpPr>
            <p:spPr>
              <a:xfrm rot="5400000">
                <a:off x="8895809" y="4438879"/>
                <a:ext cx="755041" cy="636227"/>
              </a:xfrm>
              <a:prstGeom prst="triangle">
                <a:avLst/>
              </a:prstGeom>
              <a:grp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pPr>
                <a:endParaRPr lang="en-IN" sz="1800">
                  <a:solidFill>
                    <a:prstClr val="white"/>
                  </a:solidFill>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387461598"/>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EA4589A-1864-3F48-9FDD-E92FF084BB2B}"/>
              </a:ext>
            </a:extLst>
          </p:cNvPr>
          <p:cNvSpPr>
            <a:spLocks noGrp="1"/>
          </p:cNvSpPr>
          <p:nvPr>
            <p:ph type="sldNum" sz="quarter" idx="4"/>
          </p:nvPr>
        </p:nvSpPr>
        <p:spPr/>
        <p:txBody>
          <a:bodyPr/>
          <a:lstStyle/>
          <a:p>
            <a:fld id="{3D966009-6E5A-4F8C-8CA7-E37AFBF5FB92}" type="slidenum">
              <a:rPr lang="en-US" smtClean="0"/>
              <a:t>176</a:t>
            </a:fld>
            <a:endParaRPr lang="en-US"/>
          </a:p>
        </p:txBody>
      </p:sp>
      <p:sp>
        <p:nvSpPr>
          <p:cNvPr id="3" name="Titel 2">
            <a:extLst>
              <a:ext uri="{FF2B5EF4-FFF2-40B4-BE49-F238E27FC236}">
                <a16:creationId xmlns:a16="http://schemas.microsoft.com/office/drawing/2014/main" id="{20163208-F5B8-ED47-ABD4-AD36727844DC}"/>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67939214-EB09-4D4E-AC94-563108F560DB}"/>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A1F88797-DD0E-A842-9C89-C0014BE9CBB5}"/>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D361553F-5868-064C-BBC7-8C2BCBE1D6BF}"/>
              </a:ext>
            </a:extLst>
          </p:cNvPr>
          <p:cNvSpPr>
            <a:spLocks noGrp="1"/>
          </p:cNvSpPr>
          <p:nvPr>
            <p:ph type="body" sz="quarter" idx="13"/>
          </p:nvPr>
        </p:nvSpPr>
        <p:spPr/>
        <p:txBody>
          <a:bodyPr/>
          <a:lstStyle/>
          <a:p>
            <a:endParaRPr lang="en-GB">
              <a:latin typeface="Arial" panose="020B0604020202020204" pitchFamily="34" charset="0"/>
              <a:cs typeface="Arial" panose="020B0604020202020204" pitchFamily="34" charset="0"/>
            </a:endParaRPr>
          </a:p>
        </p:txBody>
      </p:sp>
      <p:sp>
        <p:nvSpPr>
          <p:cNvPr id="8" name="Inhaltsplatzhalter 7">
            <a:extLst>
              <a:ext uri="{FF2B5EF4-FFF2-40B4-BE49-F238E27FC236}">
                <a16:creationId xmlns:a16="http://schemas.microsoft.com/office/drawing/2014/main" id="{D82B7348-5358-D840-B2BA-70985E329E00}"/>
              </a:ext>
            </a:extLst>
          </p:cNvPr>
          <p:cNvSpPr>
            <a:spLocks noGrp="1"/>
          </p:cNvSpPr>
          <p:nvPr>
            <p:ph sz="quarter" idx="14"/>
          </p:nvPr>
        </p:nvSpPr>
        <p:spPr/>
        <p:txBody>
          <a:bodyPr/>
          <a:lstStyle/>
          <a:p>
            <a:endParaRPr lang="en-GB"/>
          </a:p>
        </p:txBody>
      </p:sp>
      <p:grpSp>
        <p:nvGrpSpPr>
          <p:cNvPr id="9" name="Group 1">
            <a:extLst>
              <a:ext uri="{FF2B5EF4-FFF2-40B4-BE49-F238E27FC236}">
                <a16:creationId xmlns:a16="http://schemas.microsoft.com/office/drawing/2014/main" id="{5E3B4E29-414B-E445-B987-D1ABD3402F09}"/>
              </a:ext>
            </a:extLst>
          </p:cNvPr>
          <p:cNvGrpSpPr/>
          <p:nvPr/>
        </p:nvGrpSpPr>
        <p:grpSpPr>
          <a:xfrm>
            <a:off x="4361848" y="5342285"/>
            <a:ext cx="3453706" cy="342965"/>
            <a:chOff x="4515291" y="5821067"/>
            <a:chExt cx="3453706" cy="342965"/>
          </a:xfrm>
        </p:grpSpPr>
        <p:sp>
          <p:nvSpPr>
            <p:cNvPr id="10" name="AutoShape 65">
              <a:extLst>
                <a:ext uri="{FF2B5EF4-FFF2-40B4-BE49-F238E27FC236}">
                  <a16:creationId xmlns:a16="http://schemas.microsoft.com/office/drawing/2014/main" id="{2F2252BE-B208-6C48-8BD1-6825366462DC}"/>
                </a:ext>
              </a:extLst>
            </p:cNvPr>
            <p:cNvSpPr>
              <a:spLocks noChangeArrowheads="1"/>
            </p:cNvSpPr>
            <p:nvPr/>
          </p:nvSpPr>
          <p:spPr bwMode="auto">
            <a:xfrm>
              <a:off x="4515291" y="5903857"/>
              <a:ext cx="177726" cy="170546"/>
            </a:xfrm>
            <a:prstGeom prst="roundRect">
              <a:avLst>
                <a:gd name="adj" fmla="val 16667"/>
              </a:avLst>
            </a:prstGeom>
            <a:solidFill>
              <a:srgbClr val="014049"/>
            </a:solidFill>
            <a:ln>
              <a:noFill/>
            </a:ln>
            <a:effectLst/>
          </p:spPr>
          <p:txBody>
            <a:bodyPr wrap="none" lIns="54000" tIns="54000" rIns="54000" bIns="5400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altLang="en-US" sz="1000" b="1" i="0" u="none" strike="noStrike" kern="0" cap="none" spc="0" normalizeH="0" baseline="0" noProof="0">
                <a:ln>
                  <a:noFill/>
                </a:ln>
                <a:solidFill>
                  <a:srgbClr val="465162"/>
                </a:solidFill>
                <a:effectLst/>
                <a:uLnTx/>
                <a:uFillTx/>
              </a:endParaRPr>
            </a:p>
          </p:txBody>
        </p:sp>
        <p:sp>
          <p:nvSpPr>
            <p:cNvPr id="11" name="Text Box 67">
              <a:extLst>
                <a:ext uri="{FF2B5EF4-FFF2-40B4-BE49-F238E27FC236}">
                  <a16:creationId xmlns:a16="http://schemas.microsoft.com/office/drawing/2014/main" id="{AC01D110-763D-D047-ABC5-8769ECAEFED2}"/>
                </a:ext>
              </a:extLst>
            </p:cNvPr>
            <p:cNvSpPr txBox="1">
              <a:spLocks noChangeArrowheads="1"/>
            </p:cNvSpPr>
            <p:nvPr/>
          </p:nvSpPr>
          <p:spPr bwMode="auto">
            <a:xfrm>
              <a:off x="4791480" y="5821067"/>
              <a:ext cx="992993" cy="3429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95000"/>
                </a:lnSpc>
                <a:spcBef>
                  <a:spcPct val="50000"/>
                </a:spcBef>
                <a:spcAft>
                  <a:spcPts val="0"/>
                </a:spcAft>
                <a:buClrTx/>
                <a:buSzTx/>
                <a:buFontTx/>
                <a:buNone/>
                <a:tabLst/>
                <a:defRPr/>
              </a:pPr>
              <a:r>
                <a:rPr kumimoji="0" lang="en-US" altLang="en-US" sz="800" b="0" i="0" u="none" strike="noStrike" kern="0" cap="none" spc="0" normalizeH="0" baseline="0" noProof="0">
                  <a:ln>
                    <a:noFill/>
                  </a:ln>
                  <a:solidFill>
                    <a:srgbClr val="465162"/>
                  </a:solidFill>
                  <a:effectLst/>
                  <a:uLnTx/>
                  <a:uFillTx/>
                </a:rPr>
                <a:t>Open content and channels</a:t>
              </a:r>
            </a:p>
          </p:txBody>
        </p:sp>
        <p:sp>
          <p:nvSpPr>
            <p:cNvPr id="12" name="AutoShape 66">
              <a:extLst>
                <a:ext uri="{FF2B5EF4-FFF2-40B4-BE49-F238E27FC236}">
                  <a16:creationId xmlns:a16="http://schemas.microsoft.com/office/drawing/2014/main" id="{BA0104B5-F139-C845-8939-B5CEE00B4BD4}"/>
                </a:ext>
              </a:extLst>
            </p:cNvPr>
            <p:cNvSpPr>
              <a:spLocks noChangeArrowheads="1"/>
            </p:cNvSpPr>
            <p:nvPr/>
          </p:nvSpPr>
          <p:spPr bwMode="auto">
            <a:xfrm>
              <a:off x="7791271" y="5915233"/>
              <a:ext cx="177726" cy="170546"/>
            </a:xfrm>
            <a:prstGeom prst="roundRect">
              <a:avLst>
                <a:gd name="adj" fmla="val 16667"/>
              </a:avLst>
            </a:prstGeom>
            <a:solidFill>
              <a:srgbClr val="8D8EA8"/>
            </a:solidFill>
            <a:ln>
              <a:noFill/>
            </a:ln>
            <a:effectLst/>
          </p:spPr>
          <p:txBody>
            <a:bodyPr wrap="none" lIns="54000" tIns="54000" rIns="54000" bIns="54000" anchor="ct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altLang="en-US" sz="1000" b="1" i="0" u="none" strike="noStrike" kern="0" cap="none" spc="0" normalizeH="0" baseline="0" noProof="0">
                <a:ln>
                  <a:noFill/>
                </a:ln>
                <a:solidFill>
                  <a:srgbClr val="6088B3"/>
                </a:solidFill>
                <a:effectLst/>
                <a:uLnTx/>
                <a:uFillTx/>
              </a:endParaRPr>
            </a:p>
          </p:txBody>
        </p:sp>
        <p:sp>
          <p:nvSpPr>
            <p:cNvPr id="13" name="Text Box 68">
              <a:extLst>
                <a:ext uri="{FF2B5EF4-FFF2-40B4-BE49-F238E27FC236}">
                  <a16:creationId xmlns:a16="http://schemas.microsoft.com/office/drawing/2014/main" id="{100FCE64-0EFA-7840-A7AE-609277E0D5FD}"/>
                </a:ext>
              </a:extLst>
            </p:cNvPr>
            <p:cNvSpPr txBox="1">
              <a:spLocks noChangeArrowheads="1"/>
            </p:cNvSpPr>
            <p:nvPr/>
          </p:nvSpPr>
          <p:spPr bwMode="auto">
            <a:xfrm>
              <a:off x="6699405" y="5821067"/>
              <a:ext cx="992993" cy="3429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 tIns="54000" rIns="54000" bIns="54000">
              <a:spAutoFit/>
            </a:bodyPr>
            <a:lstStyle>
              <a:lvl1pPr algn="ctr">
                <a:spcBef>
                  <a:spcPct val="50000"/>
                </a:spcBef>
                <a:defRPr sz="1600" b="1">
                  <a:solidFill>
                    <a:srgbClr val="00279F"/>
                  </a:solidFill>
                  <a:latin typeface="Arial" panose="020B0604020202020204" pitchFamily="34" charset="0"/>
                  <a:cs typeface="Arial" panose="020B0604020202020204" pitchFamily="34" charset="0"/>
                </a:defRPr>
              </a:lvl1pPr>
              <a:lvl2pPr marL="742950" indent="-285750" algn="ctr">
                <a:spcBef>
                  <a:spcPct val="50000"/>
                </a:spcBef>
                <a:defRPr sz="1600" b="1">
                  <a:solidFill>
                    <a:srgbClr val="00279F"/>
                  </a:solidFill>
                  <a:latin typeface="Arial" panose="020B0604020202020204" pitchFamily="34" charset="0"/>
                  <a:cs typeface="Arial" panose="020B0604020202020204" pitchFamily="34" charset="0"/>
                </a:defRPr>
              </a:lvl2pPr>
              <a:lvl3pPr marL="1143000" indent="-228600" algn="ctr">
                <a:spcBef>
                  <a:spcPct val="50000"/>
                </a:spcBef>
                <a:defRPr sz="1600" b="1">
                  <a:solidFill>
                    <a:srgbClr val="00279F"/>
                  </a:solidFill>
                  <a:latin typeface="Arial" panose="020B0604020202020204" pitchFamily="34" charset="0"/>
                  <a:cs typeface="Arial" panose="020B0604020202020204" pitchFamily="34" charset="0"/>
                </a:defRPr>
              </a:lvl3pPr>
              <a:lvl4pPr marL="1600200" indent="-228600" algn="ctr">
                <a:spcBef>
                  <a:spcPct val="50000"/>
                </a:spcBef>
                <a:defRPr sz="1600" b="1">
                  <a:solidFill>
                    <a:srgbClr val="00279F"/>
                  </a:solidFill>
                  <a:latin typeface="Arial" panose="020B0604020202020204" pitchFamily="34" charset="0"/>
                  <a:cs typeface="Arial" panose="020B0604020202020204" pitchFamily="34" charset="0"/>
                </a:defRPr>
              </a:lvl4pPr>
              <a:lvl5pPr marL="2057400" indent="-228600" algn="ctr">
                <a:spcBef>
                  <a:spcPct val="50000"/>
                </a:spcBef>
                <a:defRPr sz="1600" b="1">
                  <a:solidFill>
                    <a:srgbClr val="00279F"/>
                  </a:solidFill>
                  <a:latin typeface="Arial" panose="020B0604020202020204" pitchFamily="34" charset="0"/>
                  <a:cs typeface="Arial" panose="020B0604020202020204" pitchFamily="34" charset="0"/>
                </a:defRPr>
              </a:lvl5pPr>
              <a:lvl6pPr marL="25146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6pPr>
              <a:lvl7pPr marL="29718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7pPr>
              <a:lvl8pPr marL="34290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8pPr>
              <a:lvl9pPr marL="3886200" indent="-228600" algn="ctr" eaLnBrk="0" fontAlgn="base" hangingPunct="0">
                <a:spcBef>
                  <a:spcPct val="50000"/>
                </a:spcBef>
                <a:spcAft>
                  <a:spcPct val="0"/>
                </a:spcAft>
                <a:defRPr sz="1600" b="1">
                  <a:solidFill>
                    <a:srgbClr val="00279F"/>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95000"/>
                </a:lnSpc>
                <a:spcBef>
                  <a:spcPct val="50000"/>
                </a:spcBef>
                <a:spcAft>
                  <a:spcPts val="0"/>
                </a:spcAft>
                <a:buClrTx/>
                <a:buSzTx/>
                <a:buFontTx/>
                <a:buNone/>
                <a:tabLst/>
                <a:defRPr/>
              </a:pPr>
              <a:r>
                <a:rPr kumimoji="0" lang="en-US" altLang="en-US" sz="800" b="0" i="0" u="none" strike="noStrike" kern="0" cap="none" spc="0" normalizeH="0" baseline="0" noProof="0">
                  <a:ln>
                    <a:noFill/>
                  </a:ln>
                  <a:solidFill>
                    <a:srgbClr val="465162"/>
                  </a:solidFill>
                  <a:effectLst/>
                  <a:uLnTx/>
                  <a:uFillTx/>
                </a:rPr>
                <a:t>Branded content and channels</a:t>
              </a:r>
            </a:p>
          </p:txBody>
        </p:sp>
      </p:grpSp>
      <p:sp>
        <p:nvSpPr>
          <p:cNvPr id="14" name="Oval 13">
            <a:extLst>
              <a:ext uri="{FF2B5EF4-FFF2-40B4-BE49-F238E27FC236}">
                <a16:creationId xmlns:a16="http://schemas.microsoft.com/office/drawing/2014/main" id="{98EAF579-81BF-BF40-85C4-85DEDE05CFCA}"/>
              </a:ext>
            </a:extLst>
          </p:cNvPr>
          <p:cNvSpPr/>
          <p:nvPr/>
        </p:nvSpPr>
        <p:spPr>
          <a:xfrm>
            <a:off x="3533722" y="1968964"/>
            <a:ext cx="2985078" cy="2985078"/>
          </a:xfrm>
          <a:prstGeom prst="ellipse">
            <a:avLst/>
          </a:prstGeom>
          <a:solidFill>
            <a:srgbClr val="014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3DB1BF7A-4C8D-6941-8F04-483F43360251}"/>
              </a:ext>
            </a:extLst>
          </p:cNvPr>
          <p:cNvSpPr/>
          <p:nvPr/>
        </p:nvSpPr>
        <p:spPr>
          <a:xfrm>
            <a:off x="5587486" y="1968964"/>
            <a:ext cx="2985078" cy="2985078"/>
          </a:xfrm>
          <a:prstGeom prst="ellipse">
            <a:avLst/>
          </a:prstGeom>
          <a:solidFill>
            <a:srgbClr val="014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nvGrpSpPr>
          <p:cNvPr id="16" name="Group 62">
            <a:extLst>
              <a:ext uri="{FF2B5EF4-FFF2-40B4-BE49-F238E27FC236}">
                <a16:creationId xmlns:a16="http://schemas.microsoft.com/office/drawing/2014/main" id="{0F86EB61-2413-8743-A619-19FC88C1B83D}"/>
              </a:ext>
            </a:extLst>
          </p:cNvPr>
          <p:cNvGrpSpPr/>
          <p:nvPr/>
        </p:nvGrpSpPr>
        <p:grpSpPr>
          <a:xfrm>
            <a:off x="5822517" y="2202106"/>
            <a:ext cx="2515013" cy="2515013"/>
            <a:chOff x="5751471" y="3095886"/>
            <a:chExt cx="2770569" cy="2770571"/>
          </a:xfrm>
        </p:grpSpPr>
        <p:sp>
          <p:nvSpPr>
            <p:cNvPr id="17" name="TextBox 60">
              <a:extLst>
                <a:ext uri="{FF2B5EF4-FFF2-40B4-BE49-F238E27FC236}">
                  <a16:creationId xmlns:a16="http://schemas.microsoft.com/office/drawing/2014/main" id="{AF16FE9D-BC8A-DB48-88ED-D0B5B843FDFB}"/>
                </a:ext>
              </a:extLst>
            </p:cNvPr>
            <p:cNvSpPr txBox="1"/>
            <p:nvPr/>
          </p:nvSpPr>
          <p:spPr>
            <a:xfrm rot="2658451">
              <a:off x="5751472" y="3095889"/>
              <a:ext cx="2770568" cy="2770568"/>
            </a:xfrm>
            <a:prstGeom prst="rect">
              <a:avLst/>
            </a:prstGeom>
            <a:noFill/>
          </p:spPr>
          <p:txBody>
            <a:bodyPr wrap="none" rtlCol="0">
              <a:prstTxWarp prst="textArchUp">
                <a:avLst>
                  <a:gd name="adj" fmla="val 14936113"/>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Purchase</a:t>
              </a:r>
            </a:p>
          </p:txBody>
        </p:sp>
        <p:sp>
          <p:nvSpPr>
            <p:cNvPr id="18" name="TextBox 61">
              <a:extLst>
                <a:ext uri="{FF2B5EF4-FFF2-40B4-BE49-F238E27FC236}">
                  <a16:creationId xmlns:a16="http://schemas.microsoft.com/office/drawing/2014/main" id="{9F1E7CA3-6ADF-3346-A6F1-569CB11EF823}"/>
                </a:ext>
              </a:extLst>
            </p:cNvPr>
            <p:cNvSpPr txBox="1"/>
            <p:nvPr/>
          </p:nvSpPr>
          <p:spPr>
            <a:xfrm rot="19373050">
              <a:off x="5751471" y="3095886"/>
              <a:ext cx="2770568" cy="2770567"/>
            </a:xfrm>
            <a:prstGeom prst="rect">
              <a:avLst/>
            </a:prstGeom>
            <a:noFill/>
          </p:spPr>
          <p:txBody>
            <a:bodyPr wrap="none" rtlCol="0">
              <a:prstTxWarp prst="textArchDown">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Use</a:t>
              </a:r>
            </a:p>
          </p:txBody>
        </p:sp>
      </p:grpSp>
      <p:grpSp>
        <p:nvGrpSpPr>
          <p:cNvPr id="19" name="Group 63">
            <a:extLst>
              <a:ext uri="{FF2B5EF4-FFF2-40B4-BE49-F238E27FC236}">
                <a16:creationId xmlns:a16="http://schemas.microsoft.com/office/drawing/2014/main" id="{6E605BC9-6AE2-3442-97D2-7C56A824ACD4}"/>
              </a:ext>
            </a:extLst>
          </p:cNvPr>
          <p:cNvGrpSpPr/>
          <p:nvPr/>
        </p:nvGrpSpPr>
        <p:grpSpPr>
          <a:xfrm>
            <a:off x="3744145" y="2202108"/>
            <a:ext cx="2535226" cy="2561819"/>
            <a:chOff x="5751471" y="3095890"/>
            <a:chExt cx="2792835" cy="2822134"/>
          </a:xfrm>
        </p:grpSpPr>
        <p:sp>
          <p:nvSpPr>
            <p:cNvPr id="20" name="TextBox 138">
              <a:extLst>
                <a:ext uri="{FF2B5EF4-FFF2-40B4-BE49-F238E27FC236}">
                  <a16:creationId xmlns:a16="http://schemas.microsoft.com/office/drawing/2014/main" id="{C62B4AD9-66A5-CD44-8849-80829820E9D4}"/>
                </a:ext>
              </a:extLst>
            </p:cNvPr>
            <p:cNvSpPr txBox="1"/>
            <p:nvPr/>
          </p:nvSpPr>
          <p:spPr>
            <a:xfrm rot="2469007">
              <a:off x="5773740" y="3147457"/>
              <a:ext cx="2770566" cy="2770567"/>
            </a:xfrm>
            <a:prstGeom prst="rect">
              <a:avLst/>
            </a:prstGeom>
            <a:noFill/>
          </p:spPr>
          <p:txBody>
            <a:bodyPr wrap="none" rtlCol="0">
              <a:prstTxWarp prst="textArchDown">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onsider</a:t>
              </a:r>
            </a:p>
          </p:txBody>
        </p:sp>
        <p:sp>
          <p:nvSpPr>
            <p:cNvPr id="21" name="TextBox 64">
              <a:extLst>
                <a:ext uri="{FF2B5EF4-FFF2-40B4-BE49-F238E27FC236}">
                  <a16:creationId xmlns:a16="http://schemas.microsoft.com/office/drawing/2014/main" id="{51E14ADB-E292-7442-99B8-611E71D8DC50}"/>
                </a:ext>
              </a:extLst>
            </p:cNvPr>
            <p:cNvSpPr txBox="1"/>
            <p:nvPr/>
          </p:nvSpPr>
          <p:spPr>
            <a:xfrm rot="19532756">
              <a:off x="5751471" y="3095890"/>
              <a:ext cx="2770567" cy="2770568"/>
            </a:xfrm>
            <a:prstGeom prst="rect">
              <a:avLst/>
            </a:prstGeom>
            <a:noFill/>
          </p:spPr>
          <p:txBody>
            <a:bodyPr wrap="none" rtlCol="0">
              <a:prstTxWarp prst="textArchUp">
                <a:avLst>
                  <a:gd name="adj" fmla="val 14936113"/>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Discover</a:t>
              </a:r>
            </a:p>
          </p:txBody>
        </p:sp>
      </p:grpSp>
      <p:sp>
        <p:nvSpPr>
          <p:cNvPr id="22" name="Oval 21">
            <a:extLst>
              <a:ext uri="{FF2B5EF4-FFF2-40B4-BE49-F238E27FC236}">
                <a16:creationId xmlns:a16="http://schemas.microsoft.com/office/drawing/2014/main" id="{174BECA6-086D-CA40-A1B8-8C85F7D97734}"/>
              </a:ext>
            </a:extLst>
          </p:cNvPr>
          <p:cNvSpPr/>
          <p:nvPr/>
        </p:nvSpPr>
        <p:spPr>
          <a:xfrm>
            <a:off x="3918588" y="2353830"/>
            <a:ext cx="2215346" cy="2215345"/>
          </a:xfrm>
          <a:prstGeom prst="ellipse">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0DBEF3BF-3203-8947-8A1C-DEE0561A3D07}"/>
              </a:ext>
            </a:extLst>
          </p:cNvPr>
          <p:cNvSpPr/>
          <p:nvPr/>
        </p:nvSpPr>
        <p:spPr>
          <a:xfrm>
            <a:off x="5972352" y="2353830"/>
            <a:ext cx="2215346" cy="2215345"/>
          </a:xfrm>
          <a:prstGeom prst="ellipse">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099F9524-A18E-C04E-AB66-76836300B6AE}"/>
              </a:ext>
            </a:extLst>
          </p:cNvPr>
          <p:cNvSpPr/>
          <p:nvPr/>
        </p:nvSpPr>
        <p:spPr>
          <a:xfrm>
            <a:off x="4392036" y="2827276"/>
            <a:ext cx="1268456" cy="12684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65162"/>
                </a:solidFill>
                <a:effectLst/>
                <a:uLnTx/>
                <a:uFillTx/>
                <a:latin typeface="Arial" panose="020B0604020202020204" pitchFamily="34" charset="0"/>
                <a:cs typeface="Arial" panose="020B0604020202020204" pitchFamily="34" charset="0"/>
              </a:rPr>
              <a:t>Promises</a:t>
            </a:r>
          </a:p>
        </p:txBody>
      </p:sp>
      <p:sp>
        <p:nvSpPr>
          <p:cNvPr id="25" name="Oval 24">
            <a:extLst>
              <a:ext uri="{FF2B5EF4-FFF2-40B4-BE49-F238E27FC236}">
                <a16:creationId xmlns:a16="http://schemas.microsoft.com/office/drawing/2014/main" id="{78BEE112-5144-8E40-A36C-5265A086974B}"/>
              </a:ext>
            </a:extLst>
          </p:cNvPr>
          <p:cNvSpPr/>
          <p:nvPr/>
        </p:nvSpPr>
        <p:spPr>
          <a:xfrm>
            <a:off x="6445798" y="2827276"/>
            <a:ext cx="1268456" cy="12684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465162"/>
                </a:solidFill>
                <a:effectLst/>
                <a:uLnTx/>
                <a:uFillTx/>
                <a:latin typeface="Arial" panose="020B0604020202020204" pitchFamily="34" charset="0"/>
                <a:cs typeface="Arial" panose="020B0604020202020204" pitchFamily="34" charset="0"/>
              </a:rPr>
              <a:t>Delivery</a:t>
            </a:r>
          </a:p>
        </p:txBody>
      </p:sp>
      <p:sp>
        <p:nvSpPr>
          <p:cNvPr id="26" name="Arc 18">
            <a:extLst>
              <a:ext uri="{FF2B5EF4-FFF2-40B4-BE49-F238E27FC236}">
                <a16:creationId xmlns:a16="http://schemas.microsoft.com/office/drawing/2014/main" id="{AF0F7DF3-F406-D24A-878E-82A43C3EB9CE}"/>
              </a:ext>
            </a:extLst>
          </p:cNvPr>
          <p:cNvSpPr/>
          <p:nvPr/>
        </p:nvSpPr>
        <p:spPr>
          <a:xfrm>
            <a:off x="5972351" y="2353829"/>
            <a:ext cx="2215346" cy="2215345"/>
          </a:xfrm>
          <a:prstGeom prst="arc">
            <a:avLst>
              <a:gd name="adj1" fmla="val 12922472"/>
              <a:gd name="adj2" fmla="val 17347779"/>
            </a:avLst>
          </a:prstGeom>
          <a:ln w="34925">
            <a:solidFill>
              <a:schemeClr val="bg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 name="Arc 19">
            <a:extLst>
              <a:ext uri="{FF2B5EF4-FFF2-40B4-BE49-F238E27FC236}">
                <a16:creationId xmlns:a16="http://schemas.microsoft.com/office/drawing/2014/main" id="{A241898C-3B55-3747-B5CC-B1353A853B23}"/>
              </a:ext>
            </a:extLst>
          </p:cNvPr>
          <p:cNvSpPr/>
          <p:nvPr/>
        </p:nvSpPr>
        <p:spPr>
          <a:xfrm>
            <a:off x="5972351" y="2353829"/>
            <a:ext cx="2215346" cy="2215345"/>
          </a:xfrm>
          <a:prstGeom prst="arc">
            <a:avLst>
              <a:gd name="adj1" fmla="val 20018841"/>
              <a:gd name="adj2" fmla="val 1762970"/>
            </a:avLst>
          </a:prstGeom>
          <a:ln w="34925" cap="rnd">
            <a:solidFill>
              <a:schemeClr val="bg1"/>
            </a:solidFill>
            <a:headEnd type="non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 name="Arc 20">
            <a:extLst>
              <a:ext uri="{FF2B5EF4-FFF2-40B4-BE49-F238E27FC236}">
                <a16:creationId xmlns:a16="http://schemas.microsoft.com/office/drawing/2014/main" id="{C3E1D0AC-A941-4149-9F1F-6105100A096E}"/>
              </a:ext>
            </a:extLst>
          </p:cNvPr>
          <p:cNvSpPr/>
          <p:nvPr/>
        </p:nvSpPr>
        <p:spPr>
          <a:xfrm>
            <a:off x="5972351" y="2351939"/>
            <a:ext cx="2215346" cy="2215345"/>
          </a:xfrm>
          <a:prstGeom prst="arc">
            <a:avLst>
              <a:gd name="adj1" fmla="val 4669004"/>
              <a:gd name="adj2" fmla="val 8642422"/>
            </a:avLst>
          </a:prstGeom>
          <a:ln w="34925" cap="rnd">
            <a:solidFill>
              <a:schemeClr val="bg1"/>
            </a:solidFill>
            <a:headEnd type="non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 name="Arc 56">
            <a:extLst>
              <a:ext uri="{FF2B5EF4-FFF2-40B4-BE49-F238E27FC236}">
                <a16:creationId xmlns:a16="http://schemas.microsoft.com/office/drawing/2014/main" id="{A8F4F5C4-811A-CC47-89F1-8D9D94F94287}"/>
              </a:ext>
            </a:extLst>
          </p:cNvPr>
          <p:cNvSpPr/>
          <p:nvPr/>
        </p:nvSpPr>
        <p:spPr>
          <a:xfrm flipH="1" flipV="1">
            <a:off x="3918587" y="2351938"/>
            <a:ext cx="2215346" cy="2215345"/>
          </a:xfrm>
          <a:prstGeom prst="arc">
            <a:avLst>
              <a:gd name="adj1" fmla="val 12922472"/>
              <a:gd name="adj2" fmla="val 17347779"/>
            </a:avLst>
          </a:prstGeom>
          <a:ln w="34925">
            <a:solidFill>
              <a:schemeClr val="bg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 name="Arc 57">
            <a:extLst>
              <a:ext uri="{FF2B5EF4-FFF2-40B4-BE49-F238E27FC236}">
                <a16:creationId xmlns:a16="http://schemas.microsoft.com/office/drawing/2014/main" id="{5C761F82-489B-1945-8BD6-64153BFE0AF2}"/>
              </a:ext>
            </a:extLst>
          </p:cNvPr>
          <p:cNvSpPr/>
          <p:nvPr/>
        </p:nvSpPr>
        <p:spPr>
          <a:xfrm flipH="1" flipV="1">
            <a:off x="3918587" y="2351938"/>
            <a:ext cx="2215346" cy="2215345"/>
          </a:xfrm>
          <a:prstGeom prst="arc">
            <a:avLst>
              <a:gd name="adj1" fmla="val 20018841"/>
              <a:gd name="adj2" fmla="val 1762970"/>
            </a:avLst>
          </a:prstGeom>
          <a:ln w="34925" cap="rnd">
            <a:solidFill>
              <a:schemeClr val="bg1"/>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 name="Arc 58">
            <a:extLst>
              <a:ext uri="{FF2B5EF4-FFF2-40B4-BE49-F238E27FC236}">
                <a16:creationId xmlns:a16="http://schemas.microsoft.com/office/drawing/2014/main" id="{CD2B4D43-1C0D-214A-A21A-53119001DDBE}"/>
              </a:ext>
            </a:extLst>
          </p:cNvPr>
          <p:cNvSpPr/>
          <p:nvPr/>
        </p:nvSpPr>
        <p:spPr>
          <a:xfrm flipH="1" flipV="1">
            <a:off x="3918587" y="2353828"/>
            <a:ext cx="2215346" cy="2215345"/>
          </a:xfrm>
          <a:prstGeom prst="arc">
            <a:avLst>
              <a:gd name="adj1" fmla="val 4669004"/>
              <a:gd name="adj2" fmla="val 8642422"/>
            </a:avLst>
          </a:prstGeom>
          <a:ln w="34925" cap="rnd">
            <a:solidFill>
              <a:schemeClr val="bg1"/>
            </a:solidFill>
            <a:round/>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 name="TextBox 59">
            <a:extLst>
              <a:ext uri="{FF2B5EF4-FFF2-40B4-BE49-F238E27FC236}">
                <a16:creationId xmlns:a16="http://schemas.microsoft.com/office/drawing/2014/main" id="{791C8D11-7D6C-D74B-B57C-E0C83B53EA43}"/>
              </a:ext>
            </a:extLst>
          </p:cNvPr>
          <p:cNvSpPr txBox="1"/>
          <p:nvPr/>
        </p:nvSpPr>
        <p:spPr>
          <a:xfrm>
            <a:off x="5592528" y="3342754"/>
            <a:ext cx="913926"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Evaluate</a:t>
            </a:r>
          </a:p>
        </p:txBody>
      </p:sp>
      <p:grpSp>
        <p:nvGrpSpPr>
          <p:cNvPr id="34" name="Group 157">
            <a:extLst>
              <a:ext uri="{FF2B5EF4-FFF2-40B4-BE49-F238E27FC236}">
                <a16:creationId xmlns:a16="http://schemas.microsoft.com/office/drawing/2014/main" id="{7A5BE1A2-7C97-5B44-880A-2313FE874B85}"/>
              </a:ext>
            </a:extLst>
          </p:cNvPr>
          <p:cNvGrpSpPr/>
          <p:nvPr/>
        </p:nvGrpSpPr>
        <p:grpSpPr>
          <a:xfrm>
            <a:off x="10492197" y="2944130"/>
            <a:ext cx="431133" cy="2710510"/>
            <a:chOff x="9483237" y="1321506"/>
            <a:chExt cx="273513" cy="1719570"/>
          </a:xfrm>
        </p:grpSpPr>
        <p:sp>
          <p:nvSpPr>
            <p:cNvPr id="35" name="Oval 34">
              <a:extLst>
                <a:ext uri="{FF2B5EF4-FFF2-40B4-BE49-F238E27FC236}">
                  <a16:creationId xmlns:a16="http://schemas.microsoft.com/office/drawing/2014/main" id="{EDAB95E8-E016-7448-9EBD-DD311518CDE4}"/>
                </a:ext>
              </a:extLst>
            </p:cNvPr>
            <p:cNvSpPr/>
            <p:nvPr/>
          </p:nvSpPr>
          <p:spPr>
            <a:xfrm>
              <a:off x="9483237" y="2767564"/>
              <a:ext cx="273513" cy="273512"/>
            </a:xfrm>
            <a:prstGeom prst="ellipse">
              <a:avLst/>
            </a:prstGeom>
            <a:solidFill>
              <a:srgbClr val="E4E1E6"/>
            </a:solidFill>
            <a:ln w="12700" cap="flat" cmpd="sng" algn="ctr">
              <a:noFill/>
              <a:prstDash val="solid"/>
              <a:miter lim="800000"/>
            </a:ln>
            <a:effectLst>
              <a:outerShdw blurRad="266700" sx="103000" sy="103000" algn="ctr" rotWithShape="0">
                <a:srgbClr val="E4E1E6"/>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6" name="Rectangle 159">
              <a:extLst>
                <a:ext uri="{FF2B5EF4-FFF2-40B4-BE49-F238E27FC236}">
                  <a16:creationId xmlns:a16="http://schemas.microsoft.com/office/drawing/2014/main" id="{1E44739F-5608-124F-A164-6118BB83EA60}"/>
                </a:ext>
              </a:extLst>
            </p:cNvPr>
            <p:cNvSpPr/>
            <p:nvPr/>
          </p:nvSpPr>
          <p:spPr>
            <a:xfrm>
              <a:off x="9597191" y="1321506"/>
              <a:ext cx="45719" cy="1513093"/>
            </a:xfrm>
            <a:prstGeom prst="rect">
              <a:avLst/>
            </a:prstGeom>
            <a:gradFill flip="none" rotWithShape="1">
              <a:gsLst>
                <a:gs pos="0">
                  <a:srgbClr val="E4E1E6"/>
                </a:gs>
                <a:gs pos="100000">
                  <a:srgbClr val="E4E1E6">
                    <a:alpha val="0"/>
                  </a:srgbClr>
                </a:gs>
              </a:gsLst>
              <a:lin ang="162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37" name="Group 160">
            <a:extLst>
              <a:ext uri="{FF2B5EF4-FFF2-40B4-BE49-F238E27FC236}">
                <a16:creationId xmlns:a16="http://schemas.microsoft.com/office/drawing/2014/main" id="{54E1F829-53CF-384B-9316-C7A414B7FC72}"/>
              </a:ext>
            </a:extLst>
          </p:cNvPr>
          <p:cNvGrpSpPr/>
          <p:nvPr/>
        </p:nvGrpSpPr>
        <p:grpSpPr>
          <a:xfrm>
            <a:off x="11289518" y="243775"/>
            <a:ext cx="257135" cy="3487066"/>
            <a:chOff x="3623255" y="0"/>
            <a:chExt cx="257135" cy="3487066"/>
          </a:xfrm>
        </p:grpSpPr>
        <p:sp>
          <p:nvSpPr>
            <p:cNvPr id="38" name="Oval 37">
              <a:extLst>
                <a:ext uri="{FF2B5EF4-FFF2-40B4-BE49-F238E27FC236}">
                  <a16:creationId xmlns:a16="http://schemas.microsoft.com/office/drawing/2014/main" id="{F851774E-9C5F-064F-B631-AEA0B2A39D6D}"/>
                </a:ext>
              </a:extLst>
            </p:cNvPr>
            <p:cNvSpPr/>
            <p:nvPr/>
          </p:nvSpPr>
          <p:spPr>
            <a:xfrm>
              <a:off x="3623255" y="3229934"/>
              <a:ext cx="257135" cy="257132"/>
            </a:xfrm>
            <a:prstGeom prst="ellipse">
              <a:avLst/>
            </a:prstGeom>
            <a:solidFill>
              <a:srgbClr val="E4E1E6"/>
            </a:solidFill>
            <a:ln w="12700" cap="flat" cmpd="sng" algn="ctr">
              <a:noFill/>
              <a:prstDash val="solid"/>
              <a:miter lim="800000"/>
            </a:ln>
            <a:effectLst>
              <a:outerShdw blurRad="266700" sx="103000" sy="103000" algn="ctr" rotWithShape="0">
                <a:srgbClr val="E4E1E6"/>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9" name="Rectangle 162">
              <a:extLst>
                <a:ext uri="{FF2B5EF4-FFF2-40B4-BE49-F238E27FC236}">
                  <a16:creationId xmlns:a16="http://schemas.microsoft.com/office/drawing/2014/main" id="{6553DACB-77A4-0141-BA2B-3EEDB9132E0A}"/>
                </a:ext>
              </a:extLst>
            </p:cNvPr>
            <p:cNvSpPr/>
            <p:nvPr/>
          </p:nvSpPr>
          <p:spPr>
            <a:xfrm flipH="1">
              <a:off x="3728963" y="0"/>
              <a:ext cx="45719" cy="3292954"/>
            </a:xfrm>
            <a:prstGeom prst="rect">
              <a:avLst/>
            </a:prstGeom>
            <a:gradFill flip="none" rotWithShape="1">
              <a:gsLst>
                <a:gs pos="0">
                  <a:srgbClr val="E4E1E6"/>
                </a:gs>
                <a:gs pos="100000">
                  <a:srgbClr val="E4E1E6">
                    <a:alpha val="0"/>
                  </a:srgbClr>
                </a:gs>
              </a:gsLst>
              <a:lin ang="162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40" name="Group 166">
            <a:extLst>
              <a:ext uri="{FF2B5EF4-FFF2-40B4-BE49-F238E27FC236}">
                <a16:creationId xmlns:a16="http://schemas.microsoft.com/office/drawing/2014/main" id="{4E90303F-8F20-3549-BF9E-176BA85C3165}"/>
              </a:ext>
            </a:extLst>
          </p:cNvPr>
          <p:cNvGrpSpPr/>
          <p:nvPr/>
        </p:nvGrpSpPr>
        <p:grpSpPr>
          <a:xfrm rot="10800000">
            <a:off x="1155625" y="808273"/>
            <a:ext cx="338110" cy="4585189"/>
            <a:chOff x="3623255" y="0"/>
            <a:chExt cx="257135" cy="3487066"/>
          </a:xfrm>
        </p:grpSpPr>
        <p:sp>
          <p:nvSpPr>
            <p:cNvPr id="41" name="Oval 40">
              <a:extLst>
                <a:ext uri="{FF2B5EF4-FFF2-40B4-BE49-F238E27FC236}">
                  <a16:creationId xmlns:a16="http://schemas.microsoft.com/office/drawing/2014/main" id="{8A867238-FB04-844A-BA97-172CC1EAA45A}"/>
                </a:ext>
              </a:extLst>
            </p:cNvPr>
            <p:cNvSpPr/>
            <p:nvPr/>
          </p:nvSpPr>
          <p:spPr>
            <a:xfrm>
              <a:off x="3623255" y="3229934"/>
              <a:ext cx="257135" cy="257132"/>
            </a:xfrm>
            <a:prstGeom prst="ellipse">
              <a:avLst/>
            </a:prstGeom>
            <a:solidFill>
              <a:srgbClr val="E4E1E6"/>
            </a:solidFill>
            <a:ln w="12700" cap="flat" cmpd="sng" algn="ctr">
              <a:noFill/>
              <a:prstDash val="solid"/>
              <a:miter lim="800000"/>
            </a:ln>
            <a:effectLst>
              <a:outerShdw blurRad="266700" sx="103000" sy="103000" algn="ctr" rotWithShape="0">
                <a:srgbClr val="E4E1E6"/>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2" name="Rectangle 168">
              <a:extLst>
                <a:ext uri="{FF2B5EF4-FFF2-40B4-BE49-F238E27FC236}">
                  <a16:creationId xmlns:a16="http://schemas.microsoft.com/office/drawing/2014/main" id="{9CD3E59E-C7B1-B744-BE4C-F5B9705915EF}"/>
                </a:ext>
              </a:extLst>
            </p:cNvPr>
            <p:cNvSpPr/>
            <p:nvPr/>
          </p:nvSpPr>
          <p:spPr>
            <a:xfrm flipH="1">
              <a:off x="3728963" y="0"/>
              <a:ext cx="45719" cy="3292954"/>
            </a:xfrm>
            <a:prstGeom prst="rect">
              <a:avLst/>
            </a:prstGeom>
            <a:gradFill flip="none" rotWithShape="1">
              <a:gsLst>
                <a:gs pos="0">
                  <a:srgbClr val="E4E1E6"/>
                </a:gs>
                <a:gs pos="100000">
                  <a:srgbClr val="E4E1E6">
                    <a:alpha val="0"/>
                  </a:srgbClr>
                </a:gs>
              </a:gsLst>
              <a:lin ang="162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43" name="Group 163">
            <a:extLst>
              <a:ext uri="{FF2B5EF4-FFF2-40B4-BE49-F238E27FC236}">
                <a16:creationId xmlns:a16="http://schemas.microsoft.com/office/drawing/2014/main" id="{51365F79-478A-AD45-9C0C-42A9A5D72034}"/>
              </a:ext>
            </a:extLst>
          </p:cNvPr>
          <p:cNvGrpSpPr/>
          <p:nvPr/>
        </p:nvGrpSpPr>
        <p:grpSpPr>
          <a:xfrm rot="10800000">
            <a:off x="568823" y="4933948"/>
            <a:ext cx="318437" cy="4318398"/>
            <a:chOff x="3623232" y="0"/>
            <a:chExt cx="257133" cy="3487066"/>
          </a:xfrm>
        </p:grpSpPr>
        <p:sp>
          <p:nvSpPr>
            <p:cNvPr id="44" name="Oval 43">
              <a:extLst>
                <a:ext uri="{FF2B5EF4-FFF2-40B4-BE49-F238E27FC236}">
                  <a16:creationId xmlns:a16="http://schemas.microsoft.com/office/drawing/2014/main" id="{735B1080-739F-EE4A-9FED-195669DFF5B1}"/>
                </a:ext>
              </a:extLst>
            </p:cNvPr>
            <p:cNvSpPr/>
            <p:nvPr/>
          </p:nvSpPr>
          <p:spPr>
            <a:xfrm>
              <a:off x="3623232" y="3229934"/>
              <a:ext cx="257133" cy="257132"/>
            </a:xfrm>
            <a:prstGeom prst="ellipse">
              <a:avLst/>
            </a:prstGeom>
            <a:solidFill>
              <a:srgbClr val="E4E1E6"/>
            </a:solidFill>
            <a:ln w="12700" cap="flat" cmpd="sng" algn="ctr">
              <a:noFill/>
              <a:prstDash val="solid"/>
              <a:miter lim="800000"/>
            </a:ln>
            <a:effectLst>
              <a:outerShdw blurRad="266700" sx="103000" sy="103000" algn="ctr" rotWithShape="0">
                <a:srgbClr val="E4E1E6"/>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5" name="Rectangle 165">
              <a:extLst>
                <a:ext uri="{FF2B5EF4-FFF2-40B4-BE49-F238E27FC236}">
                  <a16:creationId xmlns:a16="http://schemas.microsoft.com/office/drawing/2014/main" id="{2A806751-356D-DF4B-9DA7-259A020A4410}"/>
                </a:ext>
              </a:extLst>
            </p:cNvPr>
            <p:cNvSpPr/>
            <p:nvPr/>
          </p:nvSpPr>
          <p:spPr>
            <a:xfrm flipH="1">
              <a:off x="3728963" y="0"/>
              <a:ext cx="45719" cy="3292955"/>
            </a:xfrm>
            <a:prstGeom prst="rect">
              <a:avLst/>
            </a:prstGeom>
            <a:gradFill flip="none" rotWithShape="1">
              <a:gsLst>
                <a:gs pos="0">
                  <a:srgbClr val="E4E1E6"/>
                </a:gs>
                <a:gs pos="100000">
                  <a:srgbClr val="E4E1E6">
                    <a:alpha val="0"/>
                  </a:srgbClr>
                </a:gs>
              </a:gsLst>
              <a:lin ang="162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Tree>
    <p:extLst>
      <p:ext uri="{BB962C8B-B14F-4D97-AF65-F5344CB8AC3E}">
        <p14:creationId xmlns:p14="http://schemas.microsoft.com/office/powerpoint/2010/main" val="2861125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500" fill="hold"/>
                                        <p:tgtEl>
                                          <p:spTgt spid="15"/>
                                        </p:tgtEl>
                                        <p:attrNameLst>
                                          <p:attrName>ppt_w</p:attrName>
                                        </p:attrNameLst>
                                      </p:cBhvr>
                                      <p:tavLst>
                                        <p:tav tm="0">
                                          <p:val>
                                            <p:fltVal val="0"/>
                                          </p:val>
                                        </p:tav>
                                        <p:tav tm="100000">
                                          <p:val>
                                            <p:strVal val="#ppt_w"/>
                                          </p:val>
                                        </p:tav>
                                      </p:tavLst>
                                    </p:anim>
                                    <p:anim calcmode="lin" valueType="num">
                                      <p:cBhvr>
                                        <p:cTn id="8" dur="1500" fill="hold"/>
                                        <p:tgtEl>
                                          <p:spTgt spid="15"/>
                                        </p:tgtEl>
                                        <p:attrNameLst>
                                          <p:attrName>ppt_h</p:attrName>
                                        </p:attrNameLst>
                                      </p:cBhvr>
                                      <p:tavLst>
                                        <p:tav tm="0">
                                          <p:val>
                                            <p:fltVal val="0"/>
                                          </p:val>
                                        </p:tav>
                                        <p:tav tm="100000">
                                          <p:val>
                                            <p:strVal val="#ppt_h"/>
                                          </p:val>
                                        </p:tav>
                                      </p:tavLst>
                                    </p:anim>
                                    <p:animEffect transition="in" filter="fade">
                                      <p:cBhvr>
                                        <p:cTn id="9" dur="1500"/>
                                        <p:tgtEl>
                                          <p:spTgt spid="15"/>
                                        </p:tgtEl>
                                      </p:cBhvr>
                                    </p:animEffect>
                                  </p:childTnLst>
                                </p:cTn>
                              </p:par>
                              <p:par>
                                <p:cTn id="10" presetID="53" presetClass="entr" presetSubtype="16" fill="hold" grpId="0" nodeType="withEffect">
                                  <p:stCondLst>
                                    <p:cond delay="1000"/>
                                  </p:stCondLst>
                                  <p:childTnLst>
                                    <p:set>
                                      <p:cBhvr>
                                        <p:cTn id="11" dur="1" fill="hold">
                                          <p:stCondLst>
                                            <p:cond delay="0"/>
                                          </p:stCondLst>
                                        </p:cTn>
                                        <p:tgtEl>
                                          <p:spTgt spid="22"/>
                                        </p:tgtEl>
                                        <p:attrNameLst>
                                          <p:attrName>style.visibility</p:attrName>
                                        </p:attrNameLst>
                                      </p:cBhvr>
                                      <p:to>
                                        <p:strVal val="visible"/>
                                      </p:to>
                                    </p:set>
                                    <p:anim calcmode="lin" valueType="num">
                                      <p:cBhvr>
                                        <p:cTn id="12" dur="1000" fill="hold"/>
                                        <p:tgtEl>
                                          <p:spTgt spid="22"/>
                                        </p:tgtEl>
                                        <p:attrNameLst>
                                          <p:attrName>ppt_w</p:attrName>
                                        </p:attrNameLst>
                                      </p:cBhvr>
                                      <p:tavLst>
                                        <p:tav tm="0">
                                          <p:val>
                                            <p:fltVal val="0"/>
                                          </p:val>
                                        </p:tav>
                                        <p:tav tm="100000">
                                          <p:val>
                                            <p:strVal val="#ppt_w"/>
                                          </p:val>
                                        </p:tav>
                                      </p:tavLst>
                                    </p:anim>
                                    <p:anim calcmode="lin" valueType="num">
                                      <p:cBhvr>
                                        <p:cTn id="13" dur="1000" fill="hold"/>
                                        <p:tgtEl>
                                          <p:spTgt spid="22"/>
                                        </p:tgtEl>
                                        <p:attrNameLst>
                                          <p:attrName>ppt_h</p:attrName>
                                        </p:attrNameLst>
                                      </p:cBhvr>
                                      <p:tavLst>
                                        <p:tav tm="0">
                                          <p:val>
                                            <p:fltVal val="0"/>
                                          </p:val>
                                        </p:tav>
                                        <p:tav tm="100000">
                                          <p:val>
                                            <p:strVal val="#ppt_h"/>
                                          </p:val>
                                        </p:tav>
                                      </p:tavLst>
                                    </p:anim>
                                    <p:animEffect transition="in" filter="fade">
                                      <p:cBhvr>
                                        <p:cTn id="14" dur="1000"/>
                                        <p:tgtEl>
                                          <p:spTgt spid="22"/>
                                        </p:tgtEl>
                                      </p:cBhvr>
                                    </p:animEffect>
                                  </p:childTnLst>
                                </p:cTn>
                              </p:par>
                              <p:par>
                                <p:cTn id="15" presetID="53" presetClass="entr" presetSubtype="16" fill="hold" grpId="0" nodeType="withEffect">
                                  <p:stCondLst>
                                    <p:cond delay="1000"/>
                                  </p:stCondLst>
                                  <p:childTnLst>
                                    <p:set>
                                      <p:cBhvr>
                                        <p:cTn id="16" dur="1" fill="hold">
                                          <p:stCondLst>
                                            <p:cond delay="0"/>
                                          </p:stCondLst>
                                        </p:cTn>
                                        <p:tgtEl>
                                          <p:spTgt spid="23"/>
                                        </p:tgtEl>
                                        <p:attrNameLst>
                                          <p:attrName>style.visibility</p:attrName>
                                        </p:attrNameLst>
                                      </p:cBhvr>
                                      <p:to>
                                        <p:strVal val="visible"/>
                                      </p:to>
                                    </p:set>
                                    <p:anim calcmode="lin" valueType="num">
                                      <p:cBhvr>
                                        <p:cTn id="17" dur="1000" fill="hold"/>
                                        <p:tgtEl>
                                          <p:spTgt spid="23"/>
                                        </p:tgtEl>
                                        <p:attrNameLst>
                                          <p:attrName>ppt_w</p:attrName>
                                        </p:attrNameLst>
                                      </p:cBhvr>
                                      <p:tavLst>
                                        <p:tav tm="0">
                                          <p:val>
                                            <p:fltVal val="0"/>
                                          </p:val>
                                        </p:tav>
                                        <p:tav tm="100000">
                                          <p:val>
                                            <p:strVal val="#ppt_w"/>
                                          </p:val>
                                        </p:tav>
                                      </p:tavLst>
                                    </p:anim>
                                    <p:anim calcmode="lin" valueType="num">
                                      <p:cBhvr>
                                        <p:cTn id="18" dur="1000" fill="hold"/>
                                        <p:tgtEl>
                                          <p:spTgt spid="23"/>
                                        </p:tgtEl>
                                        <p:attrNameLst>
                                          <p:attrName>ppt_h</p:attrName>
                                        </p:attrNameLst>
                                      </p:cBhvr>
                                      <p:tavLst>
                                        <p:tav tm="0">
                                          <p:val>
                                            <p:fltVal val="0"/>
                                          </p:val>
                                        </p:tav>
                                        <p:tav tm="100000">
                                          <p:val>
                                            <p:strVal val="#ppt_h"/>
                                          </p:val>
                                        </p:tav>
                                      </p:tavLst>
                                    </p:anim>
                                    <p:animEffect transition="in" filter="fade">
                                      <p:cBhvr>
                                        <p:cTn id="19" dur="1000"/>
                                        <p:tgtEl>
                                          <p:spTgt spid="23"/>
                                        </p:tgtEl>
                                      </p:cBhvr>
                                    </p:animEffect>
                                  </p:childTnLst>
                                </p:cTn>
                              </p:par>
                              <p:par>
                                <p:cTn id="20" presetID="53" presetClass="entr" presetSubtype="16" fill="hold" grpId="0" nodeType="withEffect">
                                  <p:stCondLst>
                                    <p:cond delay="1500"/>
                                  </p:stCondLst>
                                  <p:childTnLst>
                                    <p:set>
                                      <p:cBhvr>
                                        <p:cTn id="21" dur="1" fill="hold">
                                          <p:stCondLst>
                                            <p:cond delay="0"/>
                                          </p:stCondLst>
                                        </p:cTn>
                                        <p:tgtEl>
                                          <p:spTgt spid="24"/>
                                        </p:tgtEl>
                                        <p:attrNameLst>
                                          <p:attrName>style.visibility</p:attrName>
                                        </p:attrNameLst>
                                      </p:cBhvr>
                                      <p:to>
                                        <p:strVal val="visible"/>
                                      </p:to>
                                    </p:set>
                                    <p:anim calcmode="lin" valueType="num">
                                      <p:cBhvr>
                                        <p:cTn id="22" dur="1000" fill="hold"/>
                                        <p:tgtEl>
                                          <p:spTgt spid="24"/>
                                        </p:tgtEl>
                                        <p:attrNameLst>
                                          <p:attrName>ppt_w</p:attrName>
                                        </p:attrNameLst>
                                      </p:cBhvr>
                                      <p:tavLst>
                                        <p:tav tm="0">
                                          <p:val>
                                            <p:fltVal val="0"/>
                                          </p:val>
                                        </p:tav>
                                        <p:tav tm="100000">
                                          <p:val>
                                            <p:strVal val="#ppt_w"/>
                                          </p:val>
                                        </p:tav>
                                      </p:tavLst>
                                    </p:anim>
                                    <p:anim calcmode="lin" valueType="num">
                                      <p:cBhvr>
                                        <p:cTn id="23" dur="1000" fill="hold"/>
                                        <p:tgtEl>
                                          <p:spTgt spid="24"/>
                                        </p:tgtEl>
                                        <p:attrNameLst>
                                          <p:attrName>ppt_h</p:attrName>
                                        </p:attrNameLst>
                                      </p:cBhvr>
                                      <p:tavLst>
                                        <p:tav tm="0">
                                          <p:val>
                                            <p:fltVal val="0"/>
                                          </p:val>
                                        </p:tav>
                                        <p:tav tm="100000">
                                          <p:val>
                                            <p:strVal val="#ppt_h"/>
                                          </p:val>
                                        </p:tav>
                                      </p:tavLst>
                                    </p:anim>
                                    <p:animEffect transition="in" filter="fade">
                                      <p:cBhvr>
                                        <p:cTn id="24" dur="1000"/>
                                        <p:tgtEl>
                                          <p:spTgt spid="24"/>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25"/>
                                        </p:tgtEl>
                                        <p:attrNameLst>
                                          <p:attrName>style.visibility</p:attrName>
                                        </p:attrNameLst>
                                      </p:cBhvr>
                                      <p:to>
                                        <p:strVal val="visible"/>
                                      </p:to>
                                    </p:set>
                                    <p:anim calcmode="lin" valueType="num">
                                      <p:cBhvr>
                                        <p:cTn id="27" dur="1000" fill="hold"/>
                                        <p:tgtEl>
                                          <p:spTgt spid="25"/>
                                        </p:tgtEl>
                                        <p:attrNameLst>
                                          <p:attrName>ppt_w</p:attrName>
                                        </p:attrNameLst>
                                      </p:cBhvr>
                                      <p:tavLst>
                                        <p:tav tm="0">
                                          <p:val>
                                            <p:fltVal val="0"/>
                                          </p:val>
                                        </p:tav>
                                        <p:tav tm="100000">
                                          <p:val>
                                            <p:strVal val="#ppt_w"/>
                                          </p:val>
                                        </p:tav>
                                      </p:tavLst>
                                    </p:anim>
                                    <p:anim calcmode="lin" valueType="num">
                                      <p:cBhvr>
                                        <p:cTn id="28" dur="1000" fill="hold"/>
                                        <p:tgtEl>
                                          <p:spTgt spid="25"/>
                                        </p:tgtEl>
                                        <p:attrNameLst>
                                          <p:attrName>ppt_h</p:attrName>
                                        </p:attrNameLst>
                                      </p:cBhvr>
                                      <p:tavLst>
                                        <p:tav tm="0">
                                          <p:val>
                                            <p:fltVal val="0"/>
                                          </p:val>
                                        </p:tav>
                                        <p:tav tm="100000">
                                          <p:val>
                                            <p:strVal val="#ppt_h"/>
                                          </p:val>
                                        </p:tav>
                                      </p:tavLst>
                                    </p:anim>
                                    <p:animEffect transition="in" filter="fade">
                                      <p:cBhvr>
                                        <p:cTn id="29" dur="1000"/>
                                        <p:tgtEl>
                                          <p:spTgt spid="25"/>
                                        </p:tgtEl>
                                      </p:cBhvr>
                                    </p:animEffect>
                                  </p:childTnLst>
                                </p:cTn>
                              </p:par>
                              <p:par>
                                <p:cTn id="30" presetID="10" presetClass="entr" presetSubtype="0" fill="hold" nodeType="withEffect">
                                  <p:stCondLst>
                                    <p:cond delay="225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1000"/>
                                        <p:tgtEl>
                                          <p:spTgt spid="16"/>
                                        </p:tgtEl>
                                      </p:cBhvr>
                                    </p:animEffect>
                                  </p:childTnLst>
                                </p:cTn>
                              </p:par>
                              <p:par>
                                <p:cTn id="33" presetID="10" presetClass="entr" presetSubtype="0" fill="hold" nodeType="withEffect">
                                  <p:stCondLst>
                                    <p:cond delay="22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1000"/>
                                        <p:tgtEl>
                                          <p:spTgt spid="19"/>
                                        </p:tgtEl>
                                      </p:cBhvr>
                                    </p:animEffect>
                                  </p:childTnLst>
                                </p:cTn>
                              </p:par>
                              <p:par>
                                <p:cTn id="36" presetID="22" presetClass="entr" presetSubtype="2" fill="hold" grpId="0" nodeType="withEffect">
                                  <p:stCondLst>
                                    <p:cond delay="2000"/>
                                  </p:stCondLst>
                                  <p:childTnLst>
                                    <p:set>
                                      <p:cBhvr>
                                        <p:cTn id="37" dur="1" fill="hold">
                                          <p:stCondLst>
                                            <p:cond delay="0"/>
                                          </p:stCondLst>
                                        </p:cTn>
                                        <p:tgtEl>
                                          <p:spTgt spid="31"/>
                                        </p:tgtEl>
                                        <p:attrNameLst>
                                          <p:attrName>style.visibility</p:attrName>
                                        </p:attrNameLst>
                                      </p:cBhvr>
                                      <p:to>
                                        <p:strVal val="visible"/>
                                      </p:to>
                                    </p:set>
                                    <p:animEffect transition="in" filter="wipe(right)">
                                      <p:cBhvr>
                                        <p:cTn id="38" dur="500"/>
                                        <p:tgtEl>
                                          <p:spTgt spid="31"/>
                                        </p:tgtEl>
                                      </p:cBhvr>
                                    </p:animEffect>
                                  </p:childTnLst>
                                </p:cTn>
                              </p:par>
                              <p:par>
                                <p:cTn id="39" presetID="22" presetClass="entr" presetSubtype="1" fill="hold" grpId="0" nodeType="withEffect">
                                  <p:stCondLst>
                                    <p:cond delay="2250"/>
                                  </p:stCondLst>
                                  <p:childTnLst>
                                    <p:set>
                                      <p:cBhvr>
                                        <p:cTn id="40" dur="1" fill="hold">
                                          <p:stCondLst>
                                            <p:cond delay="0"/>
                                          </p:stCondLst>
                                        </p:cTn>
                                        <p:tgtEl>
                                          <p:spTgt spid="30"/>
                                        </p:tgtEl>
                                        <p:attrNameLst>
                                          <p:attrName>style.visibility</p:attrName>
                                        </p:attrNameLst>
                                      </p:cBhvr>
                                      <p:to>
                                        <p:strVal val="visible"/>
                                      </p:to>
                                    </p:set>
                                    <p:animEffect transition="in" filter="wipe(up)">
                                      <p:cBhvr>
                                        <p:cTn id="41" dur="500"/>
                                        <p:tgtEl>
                                          <p:spTgt spid="30"/>
                                        </p:tgtEl>
                                      </p:cBhvr>
                                    </p:animEffect>
                                  </p:childTnLst>
                                </p:cTn>
                              </p:par>
                              <p:par>
                                <p:cTn id="42" presetID="22" presetClass="entr" presetSubtype="8" fill="hold" grpId="0" nodeType="withEffect">
                                  <p:stCondLst>
                                    <p:cond delay="2750"/>
                                  </p:stCondLst>
                                  <p:childTnLst>
                                    <p:set>
                                      <p:cBhvr>
                                        <p:cTn id="43" dur="1" fill="hold">
                                          <p:stCondLst>
                                            <p:cond delay="0"/>
                                          </p:stCondLst>
                                        </p:cTn>
                                        <p:tgtEl>
                                          <p:spTgt spid="29"/>
                                        </p:tgtEl>
                                        <p:attrNameLst>
                                          <p:attrName>style.visibility</p:attrName>
                                        </p:attrNameLst>
                                      </p:cBhvr>
                                      <p:to>
                                        <p:strVal val="visible"/>
                                      </p:to>
                                    </p:set>
                                    <p:animEffect transition="in" filter="wipe(left)">
                                      <p:cBhvr>
                                        <p:cTn id="44" dur="500"/>
                                        <p:tgtEl>
                                          <p:spTgt spid="29"/>
                                        </p:tgtEl>
                                      </p:cBhvr>
                                    </p:animEffect>
                                  </p:childTnLst>
                                </p:cTn>
                              </p:par>
                              <p:par>
                                <p:cTn id="45" presetID="22" presetClass="entr" presetSubtype="8" fill="hold" grpId="0" nodeType="withEffect">
                                  <p:stCondLst>
                                    <p:cond delay="3250"/>
                                  </p:stCondLst>
                                  <p:childTnLst>
                                    <p:set>
                                      <p:cBhvr>
                                        <p:cTn id="46" dur="1" fill="hold">
                                          <p:stCondLst>
                                            <p:cond delay="0"/>
                                          </p:stCondLst>
                                        </p:cTn>
                                        <p:tgtEl>
                                          <p:spTgt spid="26"/>
                                        </p:tgtEl>
                                        <p:attrNameLst>
                                          <p:attrName>style.visibility</p:attrName>
                                        </p:attrNameLst>
                                      </p:cBhvr>
                                      <p:to>
                                        <p:strVal val="visible"/>
                                      </p:to>
                                    </p:set>
                                    <p:animEffect transition="in" filter="wipe(left)">
                                      <p:cBhvr>
                                        <p:cTn id="47" dur="500"/>
                                        <p:tgtEl>
                                          <p:spTgt spid="26"/>
                                        </p:tgtEl>
                                      </p:cBhvr>
                                    </p:animEffect>
                                  </p:childTnLst>
                                </p:cTn>
                              </p:par>
                              <p:par>
                                <p:cTn id="48" presetID="22" presetClass="entr" presetSubtype="1" fill="hold" grpId="0" nodeType="withEffect">
                                  <p:stCondLst>
                                    <p:cond delay="3750"/>
                                  </p:stCondLst>
                                  <p:childTnLst>
                                    <p:set>
                                      <p:cBhvr>
                                        <p:cTn id="49" dur="1" fill="hold">
                                          <p:stCondLst>
                                            <p:cond delay="0"/>
                                          </p:stCondLst>
                                        </p:cTn>
                                        <p:tgtEl>
                                          <p:spTgt spid="27"/>
                                        </p:tgtEl>
                                        <p:attrNameLst>
                                          <p:attrName>style.visibility</p:attrName>
                                        </p:attrNameLst>
                                      </p:cBhvr>
                                      <p:to>
                                        <p:strVal val="visible"/>
                                      </p:to>
                                    </p:set>
                                    <p:animEffect transition="in" filter="wipe(up)">
                                      <p:cBhvr>
                                        <p:cTn id="50" dur="500"/>
                                        <p:tgtEl>
                                          <p:spTgt spid="27"/>
                                        </p:tgtEl>
                                      </p:cBhvr>
                                    </p:animEffect>
                                  </p:childTnLst>
                                </p:cTn>
                              </p:par>
                              <p:par>
                                <p:cTn id="51" presetID="22" presetClass="entr" presetSubtype="2" fill="hold" grpId="0" nodeType="withEffect">
                                  <p:stCondLst>
                                    <p:cond delay="4250"/>
                                  </p:stCondLst>
                                  <p:childTnLst>
                                    <p:set>
                                      <p:cBhvr>
                                        <p:cTn id="52" dur="1" fill="hold">
                                          <p:stCondLst>
                                            <p:cond delay="0"/>
                                          </p:stCondLst>
                                        </p:cTn>
                                        <p:tgtEl>
                                          <p:spTgt spid="28"/>
                                        </p:tgtEl>
                                        <p:attrNameLst>
                                          <p:attrName>style.visibility</p:attrName>
                                        </p:attrNameLst>
                                      </p:cBhvr>
                                      <p:to>
                                        <p:strVal val="visible"/>
                                      </p:to>
                                    </p:set>
                                    <p:animEffect transition="in" filter="wipe(right)">
                                      <p:cBhvr>
                                        <p:cTn id="53" dur="500"/>
                                        <p:tgtEl>
                                          <p:spTgt spid="28"/>
                                        </p:tgtEl>
                                      </p:cBhvr>
                                    </p:animEffect>
                                  </p:childTnLst>
                                </p:cTn>
                              </p:par>
                              <p:par>
                                <p:cTn id="54" presetID="16" presetClass="entr" presetSubtype="37" fill="hold" grpId="0" nodeType="withEffect">
                                  <p:stCondLst>
                                    <p:cond delay="3000"/>
                                  </p:stCondLst>
                                  <p:childTnLst>
                                    <p:set>
                                      <p:cBhvr>
                                        <p:cTn id="55" dur="1" fill="hold">
                                          <p:stCondLst>
                                            <p:cond delay="0"/>
                                          </p:stCondLst>
                                        </p:cTn>
                                        <p:tgtEl>
                                          <p:spTgt spid="32"/>
                                        </p:tgtEl>
                                        <p:attrNameLst>
                                          <p:attrName>style.visibility</p:attrName>
                                        </p:attrNameLst>
                                      </p:cBhvr>
                                      <p:to>
                                        <p:strVal val="visible"/>
                                      </p:to>
                                    </p:set>
                                    <p:animEffect transition="in" filter="barn(outVertical)">
                                      <p:cBhvr>
                                        <p:cTn id="56" dur="1000"/>
                                        <p:tgtEl>
                                          <p:spTgt spid="32"/>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 calcmode="lin" valueType="num">
                                      <p:cBhvr>
                                        <p:cTn id="59" dur="1500" fill="hold"/>
                                        <p:tgtEl>
                                          <p:spTgt spid="14"/>
                                        </p:tgtEl>
                                        <p:attrNameLst>
                                          <p:attrName>ppt_w</p:attrName>
                                        </p:attrNameLst>
                                      </p:cBhvr>
                                      <p:tavLst>
                                        <p:tav tm="0">
                                          <p:val>
                                            <p:fltVal val="0"/>
                                          </p:val>
                                        </p:tav>
                                        <p:tav tm="100000">
                                          <p:val>
                                            <p:strVal val="#ppt_w"/>
                                          </p:val>
                                        </p:tav>
                                      </p:tavLst>
                                    </p:anim>
                                    <p:anim calcmode="lin" valueType="num">
                                      <p:cBhvr>
                                        <p:cTn id="60" dur="1500" fill="hold"/>
                                        <p:tgtEl>
                                          <p:spTgt spid="14"/>
                                        </p:tgtEl>
                                        <p:attrNameLst>
                                          <p:attrName>ppt_h</p:attrName>
                                        </p:attrNameLst>
                                      </p:cBhvr>
                                      <p:tavLst>
                                        <p:tav tm="0">
                                          <p:val>
                                            <p:fltVal val="0"/>
                                          </p:val>
                                        </p:tav>
                                        <p:tav tm="100000">
                                          <p:val>
                                            <p:strVal val="#ppt_h"/>
                                          </p:val>
                                        </p:tav>
                                      </p:tavLst>
                                    </p:anim>
                                    <p:animEffect transition="in" filter="fade">
                                      <p:cBhvr>
                                        <p:cTn id="61" dur="1500"/>
                                        <p:tgtEl>
                                          <p:spTgt spid="14"/>
                                        </p:tgtEl>
                                      </p:cBhvr>
                                    </p:animEffect>
                                  </p:childTnLst>
                                </p:cTn>
                              </p:par>
                              <p:par>
                                <p:cTn id="62" presetID="12" presetClass="entr" presetSubtype="4" fill="hold" nodeType="withEffect">
                                  <p:stCondLst>
                                    <p:cond delay="0"/>
                                  </p:stCondLst>
                                  <p:childTnLst>
                                    <p:set>
                                      <p:cBhvr>
                                        <p:cTn id="63" dur="1" fill="hold">
                                          <p:stCondLst>
                                            <p:cond delay="0"/>
                                          </p:stCondLst>
                                        </p:cTn>
                                        <p:tgtEl>
                                          <p:spTgt spid="9"/>
                                        </p:tgtEl>
                                        <p:attrNameLst>
                                          <p:attrName>style.visibility</p:attrName>
                                        </p:attrNameLst>
                                      </p:cBhvr>
                                      <p:to>
                                        <p:strVal val="visible"/>
                                      </p:to>
                                    </p:set>
                                    <p:anim calcmode="lin" valueType="num">
                                      <p:cBhvr additive="base">
                                        <p:cTn id="64" dur="1000"/>
                                        <p:tgtEl>
                                          <p:spTgt spid="9"/>
                                        </p:tgtEl>
                                        <p:attrNameLst>
                                          <p:attrName>ppt_y</p:attrName>
                                        </p:attrNameLst>
                                      </p:cBhvr>
                                      <p:tavLst>
                                        <p:tav tm="0">
                                          <p:val>
                                            <p:strVal val="#ppt_y+#ppt_h*1.125000"/>
                                          </p:val>
                                        </p:tav>
                                        <p:tav tm="100000">
                                          <p:val>
                                            <p:strVal val="#ppt_y"/>
                                          </p:val>
                                        </p:tav>
                                      </p:tavLst>
                                    </p:anim>
                                    <p:animEffect transition="in" filter="wipe(up)">
                                      <p:cBhvr>
                                        <p:cTn id="65" dur="1000"/>
                                        <p:tgtEl>
                                          <p:spTgt spid="9"/>
                                        </p:tgtEl>
                                      </p:cBhvr>
                                    </p:animEffect>
                                  </p:childTnLst>
                                </p:cTn>
                              </p:par>
                              <p:par>
                                <p:cTn id="66" presetID="2" presetClass="entr" presetSubtype="4" decel="100000" fill="hold" nodeType="withEffect">
                                  <p:stCondLst>
                                    <p:cond delay="500"/>
                                  </p:stCondLst>
                                  <p:childTnLst>
                                    <p:set>
                                      <p:cBhvr>
                                        <p:cTn id="67" dur="1" fill="hold">
                                          <p:stCondLst>
                                            <p:cond delay="0"/>
                                          </p:stCondLst>
                                        </p:cTn>
                                        <p:tgtEl>
                                          <p:spTgt spid="40"/>
                                        </p:tgtEl>
                                        <p:attrNameLst>
                                          <p:attrName>style.visibility</p:attrName>
                                        </p:attrNameLst>
                                      </p:cBhvr>
                                      <p:to>
                                        <p:strVal val="visible"/>
                                      </p:to>
                                    </p:set>
                                    <p:anim calcmode="lin" valueType="num">
                                      <p:cBhvr additive="base">
                                        <p:cTn id="68" dur="6000" fill="hold"/>
                                        <p:tgtEl>
                                          <p:spTgt spid="40"/>
                                        </p:tgtEl>
                                        <p:attrNameLst>
                                          <p:attrName>ppt_x</p:attrName>
                                        </p:attrNameLst>
                                      </p:cBhvr>
                                      <p:tavLst>
                                        <p:tav tm="0">
                                          <p:val>
                                            <p:strVal val="#ppt_x"/>
                                          </p:val>
                                        </p:tav>
                                        <p:tav tm="100000">
                                          <p:val>
                                            <p:strVal val="#ppt_x"/>
                                          </p:val>
                                        </p:tav>
                                      </p:tavLst>
                                    </p:anim>
                                    <p:anim calcmode="lin" valueType="num">
                                      <p:cBhvr additive="base">
                                        <p:cTn id="69" dur="6000" fill="hold"/>
                                        <p:tgtEl>
                                          <p:spTgt spid="40"/>
                                        </p:tgtEl>
                                        <p:attrNameLst>
                                          <p:attrName>ppt_y</p:attrName>
                                        </p:attrNameLst>
                                      </p:cBhvr>
                                      <p:tavLst>
                                        <p:tav tm="0">
                                          <p:val>
                                            <p:strVal val="1+#ppt_h/2"/>
                                          </p:val>
                                        </p:tav>
                                        <p:tav tm="100000">
                                          <p:val>
                                            <p:strVal val="#ppt_y"/>
                                          </p:val>
                                        </p:tav>
                                      </p:tavLst>
                                    </p:anim>
                                  </p:childTnLst>
                                </p:cTn>
                              </p:par>
                              <p:par>
                                <p:cTn id="70" presetID="22" presetClass="entr" presetSubtype="1" fill="hold" nodeType="withEffect">
                                  <p:stCondLst>
                                    <p:cond delay="500"/>
                                  </p:stCondLst>
                                  <p:childTnLst>
                                    <p:set>
                                      <p:cBhvr>
                                        <p:cTn id="71" dur="1" fill="hold">
                                          <p:stCondLst>
                                            <p:cond delay="0"/>
                                          </p:stCondLst>
                                        </p:cTn>
                                        <p:tgtEl>
                                          <p:spTgt spid="40"/>
                                        </p:tgtEl>
                                        <p:attrNameLst>
                                          <p:attrName>style.visibility</p:attrName>
                                        </p:attrNameLst>
                                      </p:cBhvr>
                                      <p:to>
                                        <p:strVal val="visible"/>
                                      </p:to>
                                    </p:set>
                                    <p:animEffect transition="in" filter="wipe(up)">
                                      <p:cBhvr>
                                        <p:cTn id="72" dur="6000"/>
                                        <p:tgtEl>
                                          <p:spTgt spid="40"/>
                                        </p:tgtEl>
                                      </p:cBhvr>
                                    </p:animEffect>
                                  </p:childTnLst>
                                </p:cTn>
                              </p:par>
                              <p:par>
                                <p:cTn id="73" presetID="2" presetClass="entr" presetSubtype="4" decel="100000" fill="hold" nodeType="withEffect">
                                  <p:stCondLst>
                                    <p:cond delay="600"/>
                                  </p:stCondLst>
                                  <p:childTnLst>
                                    <p:set>
                                      <p:cBhvr>
                                        <p:cTn id="74" dur="1" fill="hold">
                                          <p:stCondLst>
                                            <p:cond delay="0"/>
                                          </p:stCondLst>
                                        </p:cTn>
                                        <p:tgtEl>
                                          <p:spTgt spid="43"/>
                                        </p:tgtEl>
                                        <p:attrNameLst>
                                          <p:attrName>style.visibility</p:attrName>
                                        </p:attrNameLst>
                                      </p:cBhvr>
                                      <p:to>
                                        <p:strVal val="visible"/>
                                      </p:to>
                                    </p:set>
                                    <p:anim calcmode="lin" valueType="num">
                                      <p:cBhvr additive="base">
                                        <p:cTn id="75" dur="4500" fill="hold"/>
                                        <p:tgtEl>
                                          <p:spTgt spid="43"/>
                                        </p:tgtEl>
                                        <p:attrNameLst>
                                          <p:attrName>ppt_x</p:attrName>
                                        </p:attrNameLst>
                                      </p:cBhvr>
                                      <p:tavLst>
                                        <p:tav tm="0">
                                          <p:val>
                                            <p:strVal val="#ppt_x"/>
                                          </p:val>
                                        </p:tav>
                                        <p:tav tm="100000">
                                          <p:val>
                                            <p:strVal val="#ppt_x"/>
                                          </p:val>
                                        </p:tav>
                                      </p:tavLst>
                                    </p:anim>
                                    <p:anim calcmode="lin" valueType="num">
                                      <p:cBhvr additive="base">
                                        <p:cTn id="76" dur="4500" fill="hold"/>
                                        <p:tgtEl>
                                          <p:spTgt spid="43"/>
                                        </p:tgtEl>
                                        <p:attrNameLst>
                                          <p:attrName>ppt_y</p:attrName>
                                        </p:attrNameLst>
                                      </p:cBhvr>
                                      <p:tavLst>
                                        <p:tav tm="0">
                                          <p:val>
                                            <p:strVal val="1+#ppt_h/2"/>
                                          </p:val>
                                        </p:tav>
                                        <p:tav tm="100000">
                                          <p:val>
                                            <p:strVal val="#ppt_y"/>
                                          </p:val>
                                        </p:tav>
                                      </p:tavLst>
                                    </p:anim>
                                  </p:childTnLst>
                                </p:cTn>
                              </p:par>
                              <p:par>
                                <p:cTn id="77" presetID="22" presetClass="entr" presetSubtype="1" fill="hold" nodeType="withEffect">
                                  <p:stCondLst>
                                    <p:cond delay="600"/>
                                  </p:stCondLst>
                                  <p:childTnLst>
                                    <p:set>
                                      <p:cBhvr>
                                        <p:cTn id="78" dur="1" fill="hold">
                                          <p:stCondLst>
                                            <p:cond delay="0"/>
                                          </p:stCondLst>
                                        </p:cTn>
                                        <p:tgtEl>
                                          <p:spTgt spid="43"/>
                                        </p:tgtEl>
                                        <p:attrNameLst>
                                          <p:attrName>style.visibility</p:attrName>
                                        </p:attrNameLst>
                                      </p:cBhvr>
                                      <p:to>
                                        <p:strVal val="visible"/>
                                      </p:to>
                                    </p:set>
                                    <p:animEffect transition="in" filter="wipe(up)">
                                      <p:cBhvr>
                                        <p:cTn id="79" dur="4500"/>
                                        <p:tgtEl>
                                          <p:spTgt spid="43"/>
                                        </p:tgtEl>
                                      </p:cBhvr>
                                    </p:animEffect>
                                  </p:childTnLst>
                                </p:cTn>
                              </p:par>
                              <p:par>
                                <p:cTn id="80" presetID="2" presetClass="entr" presetSubtype="1" decel="100000" fill="hold" nodeType="withEffect">
                                  <p:stCondLst>
                                    <p:cond delay="500"/>
                                  </p:stCondLst>
                                  <p:childTnLst>
                                    <p:set>
                                      <p:cBhvr>
                                        <p:cTn id="81" dur="1" fill="hold">
                                          <p:stCondLst>
                                            <p:cond delay="0"/>
                                          </p:stCondLst>
                                        </p:cTn>
                                        <p:tgtEl>
                                          <p:spTgt spid="34"/>
                                        </p:tgtEl>
                                        <p:attrNameLst>
                                          <p:attrName>style.visibility</p:attrName>
                                        </p:attrNameLst>
                                      </p:cBhvr>
                                      <p:to>
                                        <p:strVal val="visible"/>
                                      </p:to>
                                    </p:set>
                                    <p:anim calcmode="lin" valueType="num">
                                      <p:cBhvr additive="base">
                                        <p:cTn id="82" dur="6000" fill="hold"/>
                                        <p:tgtEl>
                                          <p:spTgt spid="34"/>
                                        </p:tgtEl>
                                        <p:attrNameLst>
                                          <p:attrName>ppt_x</p:attrName>
                                        </p:attrNameLst>
                                      </p:cBhvr>
                                      <p:tavLst>
                                        <p:tav tm="0">
                                          <p:val>
                                            <p:strVal val="#ppt_x"/>
                                          </p:val>
                                        </p:tav>
                                        <p:tav tm="100000">
                                          <p:val>
                                            <p:strVal val="#ppt_x"/>
                                          </p:val>
                                        </p:tav>
                                      </p:tavLst>
                                    </p:anim>
                                    <p:anim calcmode="lin" valueType="num">
                                      <p:cBhvr additive="base">
                                        <p:cTn id="83" dur="6000" fill="hold"/>
                                        <p:tgtEl>
                                          <p:spTgt spid="34"/>
                                        </p:tgtEl>
                                        <p:attrNameLst>
                                          <p:attrName>ppt_y</p:attrName>
                                        </p:attrNameLst>
                                      </p:cBhvr>
                                      <p:tavLst>
                                        <p:tav tm="0">
                                          <p:val>
                                            <p:strVal val="0-#ppt_h/2"/>
                                          </p:val>
                                        </p:tav>
                                        <p:tav tm="100000">
                                          <p:val>
                                            <p:strVal val="#ppt_y"/>
                                          </p:val>
                                        </p:tav>
                                      </p:tavLst>
                                    </p:anim>
                                  </p:childTnLst>
                                </p:cTn>
                              </p:par>
                              <p:par>
                                <p:cTn id="84" presetID="22" presetClass="entr" presetSubtype="4" fill="hold" nodeType="withEffect">
                                  <p:stCondLst>
                                    <p:cond delay="500"/>
                                  </p:stCondLst>
                                  <p:childTnLst>
                                    <p:set>
                                      <p:cBhvr>
                                        <p:cTn id="85" dur="1" fill="hold">
                                          <p:stCondLst>
                                            <p:cond delay="0"/>
                                          </p:stCondLst>
                                        </p:cTn>
                                        <p:tgtEl>
                                          <p:spTgt spid="34"/>
                                        </p:tgtEl>
                                        <p:attrNameLst>
                                          <p:attrName>style.visibility</p:attrName>
                                        </p:attrNameLst>
                                      </p:cBhvr>
                                      <p:to>
                                        <p:strVal val="visible"/>
                                      </p:to>
                                    </p:set>
                                    <p:animEffect transition="in" filter="wipe(down)">
                                      <p:cBhvr>
                                        <p:cTn id="86" dur="6000"/>
                                        <p:tgtEl>
                                          <p:spTgt spid="34"/>
                                        </p:tgtEl>
                                      </p:cBhvr>
                                    </p:animEffect>
                                  </p:childTnLst>
                                </p:cTn>
                              </p:par>
                              <p:par>
                                <p:cTn id="87" presetID="2" presetClass="entr" presetSubtype="1" decel="100000" fill="hold" nodeType="withEffect">
                                  <p:stCondLst>
                                    <p:cond delay="750"/>
                                  </p:stCondLst>
                                  <p:childTnLst>
                                    <p:set>
                                      <p:cBhvr>
                                        <p:cTn id="88" dur="1" fill="hold">
                                          <p:stCondLst>
                                            <p:cond delay="0"/>
                                          </p:stCondLst>
                                        </p:cTn>
                                        <p:tgtEl>
                                          <p:spTgt spid="37"/>
                                        </p:tgtEl>
                                        <p:attrNameLst>
                                          <p:attrName>style.visibility</p:attrName>
                                        </p:attrNameLst>
                                      </p:cBhvr>
                                      <p:to>
                                        <p:strVal val="visible"/>
                                      </p:to>
                                    </p:set>
                                    <p:anim calcmode="lin" valueType="num">
                                      <p:cBhvr additive="base">
                                        <p:cTn id="89" dur="5500" fill="hold"/>
                                        <p:tgtEl>
                                          <p:spTgt spid="37"/>
                                        </p:tgtEl>
                                        <p:attrNameLst>
                                          <p:attrName>ppt_x</p:attrName>
                                        </p:attrNameLst>
                                      </p:cBhvr>
                                      <p:tavLst>
                                        <p:tav tm="0">
                                          <p:val>
                                            <p:strVal val="#ppt_x"/>
                                          </p:val>
                                        </p:tav>
                                        <p:tav tm="100000">
                                          <p:val>
                                            <p:strVal val="#ppt_x"/>
                                          </p:val>
                                        </p:tav>
                                      </p:tavLst>
                                    </p:anim>
                                    <p:anim calcmode="lin" valueType="num">
                                      <p:cBhvr additive="base">
                                        <p:cTn id="90" dur="5500" fill="hold"/>
                                        <p:tgtEl>
                                          <p:spTgt spid="37"/>
                                        </p:tgtEl>
                                        <p:attrNameLst>
                                          <p:attrName>ppt_y</p:attrName>
                                        </p:attrNameLst>
                                      </p:cBhvr>
                                      <p:tavLst>
                                        <p:tav tm="0">
                                          <p:val>
                                            <p:strVal val="0-#ppt_h/2"/>
                                          </p:val>
                                        </p:tav>
                                        <p:tav tm="100000">
                                          <p:val>
                                            <p:strVal val="#ppt_y"/>
                                          </p:val>
                                        </p:tav>
                                      </p:tavLst>
                                    </p:anim>
                                  </p:childTnLst>
                                </p:cTn>
                              </p:par>
                              <p:par>
                                <p:cTn id="91" presetID="22" presetClass="entr" presetSubtype="4" fill="hold" nodeType="withEffect">
                                  <p:stCondLst>
                                    <p:cond delay="750"/>
                                  </p:stCondLst>
                                  <p:childTnLst>
                                    <p:set>
                                      <p:cBhvr>
                                        <p:cTn id="92" dur="1" fill="hold">
                                          <p:stCondLst>
                                            <p:cond delay="0"/>
                                          </p:stCondLst>
                                        </p:cTn>
                                        <p:tgtEl>
                                          <p:spTgt spid="37"/>
                                        </p:tgtEl>
                                        <p:attrNameLst>
                                          <p:attrName>style.visibility</p:attrName>
                                        </p:attrNameLst>
                                      </p:cBhvr>
                                      <p:to>
                                        <p:strVal val="visible"/>
                                      </p:to>
                                    </p:set>
                                    <p:animEffect transition="in" filter="wipe(down)">
                                      <p:cBhvr>
                                        <p:cTn id="93" dur="5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5F27EE6-047E-5C4C-8357-B5B7AF46940E}"/>
              </a:ext>
            </a:extLst>
          </p:cNvPr>
          <p:cNvSpPr>
            <a:spLocks noGrp="1"/>
          </p:cNvSpPr>
          <p:nvPr>
            <p:ph type="sldNum" sz="quarter" idx="4"/>
          </p:nvPr>
        </p:nvSpPr>
        <p:spPr/>
        <p:txBody>
          <a:bodyPr/>
          <a:lstStyle/>
          <a:p>
            <a:fld id="{3D966009-6E5A-4F8C-8CA7-E37AFBF5FB92}" type="slidenum">
              <a:rPr lang="en-US" smtClean="0"/>
              <a:t>177</a:t>
            </a:fld>
            <a:endParaRPr lang="en-US"/>
          </a:p>
        </p:txBody>
      </p:sp>
      <p:sp>
        <p:nvSpPr>
          <p:cNvPr id="3" name="Titel 2">
            <a:extLst>
              <a:ext uri="{FF2B5EF4-FFF2-40B4-BE49-F238E27FC236}">
                <a16:creationId xmlns:a16="http://schemas.microsoft.com/office/drawing/2014/main" id="{2FED966C-E449-4747-BC5E-19177E570C80}"/>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F2491115-5AB7-2E44-8A23-3ECDD9388F70}"/>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A28D83E4-90FD-D74D-90AD-C71D950E1BBB}"/>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94656003-6B24-DD4F-9706-F23567D51ADF}"/>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B71C37A9-F33E-794A-9DF8-4F8CE69B23BE}"/>
              </a:ext>
            </a:extLst>
          </p:cNvPr>
          <p:cNvSpPr>
            <a:spLocks noGrp="1"/>
          </p:cNvSpPr>
          <p:nvPr>
            <p:ph sz="quarter" idx="14"/>
          </p:nvPr>
        </p:nvSpPr>
        <p:spPr/>
        <p:txBody>
          <a:bodyPr/>
          <a:lstStyle/>
          <a:p>
            <a:endParaRPr lang="en-GB"/>
          </a:p>
        </p:txBody>
      </p:sp>
      <p:graphicFrame>
        <p:nvGraphicFramePr>
          <p:cNvPr id="9" name="Diagram 3">
            <a:extLst>
              <a:ext uri="{FF2B5EF4-FFF2-40B4-BE49-F238E27FC236}">
                <a16:creationId xmlns:a16="http://schemas.microsoft.com/office/drawing/2014/main" id="{7BA45182-5BE7-9D44-BED1-F64A3651E605}"/>
              </a:ext>
            </a:extLst>
          </p:cNvPr>
          <p:cNvGraphicFramePr/>
          <p:nvPr/>
        </p:nvGraphicFramePr>
        <p:xfrm>
          <a:off x="980662" y="2174875"/>
          <a:ext cx="3557408" cy="3070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reeform 20">
            <a:extLst>
              <a:ext uri="{FF2B5EF4-FFF2-40B4-BE49-F238E27FC236}">
                <a16:creationId xmlns:a16="http://schemas.microsoft.com/office/drawing/2014/main" id="{5EEAD312-C9BC-A946-8301-DD441FC10859}"/>
              </a:ext>
            </a:extLst>
          </p:cNvPr>
          <p:cNvSpPr/>
          <p:nvPr/>
        </p:nvSpPr>
        <p:spPr>
          <a:xfrm flipV="1">
            <a:off x="4038601" y="4072762"/>
            <a:ext cx="3206663" cy="218568"/>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5"/>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Freeform 21">
            <a:extLst>
              <a:ext uri="{FF2B5EF4-FFF2-40B4-BE49-F238E27FC236}">
                <a16:creationId xmlns:a16="http://schemas.microsoft.com/office/drawing/2014/main" id="{A1DCE230-F816-0041-AFD4-5EE9F62EADD5}"/>
              </a:ext>
            </a:extLst>
          </p:cNvPr>
          <p:cNvSpPr/>
          <p:nvPr/>
        </p:nvSpPr>
        <p:spPr>
          <a:xfrm flipV="1">
            <a:off x="3813811" y="4673731"/>
            <a:ext cx="3431453" cy="504060"/>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bg2"/>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9">
            <a:extLst>
              <a:ext uri="{FF2B5EF4-FFF2-40B4-BE49-F238E27FC236}">
                <a16:creationId xmlns:a16="http://schemas.microsoft.com/office/drawing/2014/main" id="{74AD0F35-13F6-344A-9ED9-CBDFF78D93BB}"/>
              </a:ext>
            </a:extLst>
          </p:cNvPr>
          <p:cNvSpPr/>
          <p:nvPr/>
        </p:nvSpPr>
        <p:spPr>
          <a:xfrm>
            <a:off x="4007180" y="3387089"/>
            <a:ext cx="3238084" cy="133743"/>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3"/>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Freeform 18">
            <a:extLst>
              <a:ext uri="{FF2B5EF4-FFF2-40B4-BE49-F238E27FC236}">
                <a16:creationId xmlns:a16="http://schemas.microsoft.com/office/drawing/2014/main" id="{0A0494C3-27A1-B047-B7CC-9FFB24AFB6EE}"/>
              </a:ext>
            </a:extLst>
          </p:cNvPr>
          <p:cNvSpPr/>
          <p:nvPr/>
        </p:nvSpPr>
        <p:spPr>
          <a:xfrm>
            <a:off x="3813811" y="2499361"/>
            <a:ext cx="3437147" cy="827231"/>
          </a:xfrm>
          <a:custGeom>
            <a:avLst/>
            <a:gdLst>
              <a:gd name="connsiteX0" fmla="*/ 3688080 w 3688080"/>
              <a:gd name="connsiteY0" fmla="*/ 0 h 965200"/>
              <a:gd name="connsiteX1" fmla="*/ 802640 w 3688080"/>
              <a:gd name="connsiteY1" fmla="*/ 0 h 965200"/>
              <a:gd name="connsiteX2" fmla="*/ 0 w 3688080"/>
              <a:gd name="connsiteY2" fmla="*/ 965200 h 965200"/>
            </a:gdLst>
            <a:ahLst/>
            <a:cxnLst>
              <a:cxn ang="0">
                <a:pos x="connsiteX0" y="connsiteY0"/>
              </a:cxn>
              <a:cxn ang="0">
                <a:pos x="connsiteX1" y="connsiteY1"/>
              </a:cxn>
              <a:cxn ang="0">
                <a:pos x="connsiteX2" y="connsiteY2"/>
              </a:cxn>
            </a:cxnLst>
            <a:rect l="l" t="t" r="r" b="b"/>
            <a:pathLst>
              <a:path w="3688080" h="965200">
                <a:moveTo>
                  <a:pt x="3688080" y="0"/>
                </a:moveTo>
                <a:lnTo>
                  <a:pt x="802640" y="0"/>
                </a:lnTo>
                <a:lnTo>
                  <a:pt x="0" y="965200"/>
                </a:lnTo>
              </a:path>
            </a:pathLst>
          </a:custGeom>
          <a:ln w="19050" cap="sq" cmpd="sng">
            <a:solidFill>
              <a:schemeClr val="accent1"/>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Rectangle 22">
            <a:extLst>
              <a:ext uri="{FF2B5EF4-FFF2-40B4-BE49-F238E27FC236}">
                <a16:creationId xmlns:a16="http://schemas.microsoft.com/office/drawing/2014/main" id="{AA81AAD5-70B5-C440-BD22-6B702C15D83B}"/>
              </a:ext>
            </a:extLst>
          </p:cNvPr>
          <p:cNvSpPr/>
          <p:nvPr/>
        </p:nvSpPr>
        <p:spPr>
          <a:xfrm>
            <a:off x="5326660" y="2093742"/>
            <a:ext cx="1945640" cy="441659"/>
          </a:xfrm>
          <a:prstGeom prst="rect">
            <a:avLst/>
          </a:prstGeom>
        </p:spPr>
        <p:txBody>
          <a:bodyPr wrap="square" lIns="182880" rIns="182880" bIns="73152">
            <a:spAutoFit/>
          </a:bodyPr>
          <a:lstStyle/>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5" name="Rectangle 5">
            <a:extLst>
              <a:ext uri="{FF2B5EF4-FFF2-40B4-BE49-F238E27FC236}">
                <a16:creationId xmlns:a16="http://schemas.microsoft.com/office/drawing/2014/main" id="{4CF1A7CD-BB4B-8140-B576-A4B5E5A39939}"/>
              </a:ext>
            </a:extLst>
          </p:cNvPr>
          <p:cNvSpPr/>
          <p:nvPr/>
        </p:nvSpPr>
        <p:spPr>
          <a:xfrm>
            <a:off x="4757083" y="2096921"/>
            <a:ext cx="755015" cy="421013"/>
          </a:xfrm>
          <a:prstGeom prst="rect">
            <a:avLst/>
          </a:prstGeom>
        </p:spPr>
        <p:txBody>
          <a:bodyPr wrap="none" lIns="91440" rIns="91440" bIns="45720">
            <a:spAutoFit/>
          </a:bodyPr>
          <a:lstStyle/>
          <a:p>
            <a:pPr algn="r">
              <a:lnSpc>
                <a:spcPct val="89000"/>
              </a:lnSpc>
            </a:pPr>
            <a:r>
              <a:rPr lang="en-US" spc="-80"/>
              <a:t>10%</a:t>
            </a:r>
          </a:p>
        </p:txBody>
      </p:sp>
      <p:sp>
        <p:nvSpPr>
          <p:cNvPr id="16" name="Rectangle 26">
            <a:extLst>
              <a:ext uri="{FF2B5EF4-FFF2-40B4-BE49-F238E27FC236}">
                <a16:creationId xmlns:a16="http://schemas.microsoft.com/office/drawing/2014/main" id="{DAE8E997-2889-8B40-A855-84D6F092DF46}"/>
              </a:ext>
            </a:extLst>
          </p:cNvPr>
          <p:cNvSpPr/>
          <p:nvPr/>
        </p:nvSpPr>
        <p:spPr>
          <a:xfrm>
            <a:off x="4757083" y="2980841"/>
            <a:ext cx="755015" cy="421013"/>
          </a:xfrm>
          <a:prstGeom prst="rect">
            <a:avLst/>
          </a:prstGeom>
        </p:spPr>
        <p:txBody>
          <a:bodyPr wrap="none" lIns="91440" rIns="91440" bIns="45720">
            <a:spAutoFit/>
          </a:bodyPr>
          <a:lstStyle/>
          <a:p>
            <a:pPr algn="r">
              <a:lnSpc>
                <a:spcPct val="89000"/>
              </a:lnSpc>
            </a:pPr>
            <a:r>
              <a:rPr lang="en-US" spc="-80"/>
              <a:t>20%</a:t>
            </a:r>
          </a:p>
        </p:txBody>
      </p:sp>
      <p:sp>
        <p:nvSpPr>
          <p:cNvPr id="17" name="Rectangle 27">
            <a:extLst>
              <a:ext uri="{FF2B5EF4-FFF2-40B4-BE49-F238E27FC236}">
                <a16:creationId xmlns:a16="http://schemas.microsoft.com/office/drawing/2014/main" id="{A774167B-A568-F84C-9B53-E2B7BAEA48C7}"/>
              </a:ext>
            </a:extLst>
          </p:cNvPr>
          <p:cNvSpPr/>
          <p:nvPr/>
        </p:nvSpPr>
        <p:spPr>
          <a:xfrm>
            <a:off x="5326660" y="2967501"/>
            <a:ext cx="1945640" cy="441659"/>
          </a:xfrm>
          <a:prstGeom prst="rect">
            <a:avLst/>
          </a:prstGeom>
        </p:spPr>
        <p:txBody>
          <a:bodyPr wrap="square" lIns="182880" rIns="182880" bIns="73152">
            <a:spAutoFit/>
          </a:bodyPr>
          <a:lstStyle/>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8" name="Rectangle 28">
            <a:extLst>
              <a:ext uri="{FF2B5EF4-FFF2-40B4-BE49-F238E27FC236}">
                <a16:creationId xmlns:a16="http://schemas.microsoft.com/office/drawing/2014/main" id="{BDBA6FF7-EED9-384E-93A0-900747002D29}"/>
              </a:ext>
            </a:extLst>
          </p:cNvPr>
          <p:cNvSpPr/>
          <p:nvPr/>
        </p:nvSpPr>
        <p:spPr>
          <a:xfrm>
            <a:off x="5326660" y="3881901"/>
            <a:ext cx="1945640" cy="441659"/>
          </a:xfrm>
          <a:prstGeom prst="rect">
            <a:avLst/>
          </a:prstGeom>
        </p:spPr>
        <p:txBody>
          <a:bodyPr wrap="square" lIns="182880" rIns="182880" bIns="73152">
            <a:spAutoFit/>
          </a:bodyPr>
          <a:lstStyle/>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9" name="Rectangle 29">
            <a:extLst>
              <a:ext uri="{FF2B5EF4-FFF2-40B4-BE49-F238E27FC236}">
                <a16:creationId xmlns:a16="http://schemas.microsoft.com/office/drawing/2014/main" id="{E2EEC0D3-D53B-0B42-A60D-65F80C9D6675}"/>
              </a:ext>
            </a:extLst>
          </p:cNvPr>
          <p:cNvSpPr/>
          <p:nvPr/>
        </p:nvSpPr>
        <p:spPr>
          <a:xfrm>
            <a:off x="5326660" y="4765821"/>
            <a:ext cx="1945640" cy="441659"/>
          </a:xfrm>
          <a:prstGeom prst="rect">
            <a:avLst/>
          </a:prstGeom>
        </p:spPr>
        <p:txBody>
          <a:bodyPr wrap="square" lIns="182880" rIns="182880" bIns="73152">
            <a:spAutoFit/>
          </a:bodyPr>
          <a:lstStyle/>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20" name="Rectangle 30">
            <a:extLst>
              <a:ext uri="{FF2B5EF4-FFF2-40B4-BE49-F238E27FC236}">
                <a16:creationId xmlns:a16="http://schemas.microsoft.com/office/drawing/2014/main" id="{CC578412-A7D1-6D41-8341-A3DF2E544C41}"/>
              </a:ext>
            </a:extLst>
          </p:cNvPr>
          <p:cNvSpPr/>
          <p:nvPr/>
        </p:nvSpPr>
        <p:spPr>
          <a:xfrm>
            <a:off x="4757083" y="3895241"/>
            <a:ext cx="755015" cy="421013"/>
          </a:xfrm>
          <a:prstGeom prst="rect">
            <a:avLst/>
          </a:prstGeom>
        </p:spPr>
        <p:txBody>
          <a:bodyPr wrap="none" lIns="91440" rIns="91440" bIns="45720">
            <a:spAutoFit/>
          </a:bodyPr>
          <a:lstStyle/>
          <a:p>
            <a:pPr algn="r">
              <a:lnSpc>
                <a:spcPct val="89000"/>
              </a:lnSpc>
            </a:pPr>
            <a:r>
              <a:rPr lang="en-US" spc="-80"/>
              <a:t>30%</a:t>
            </a:r>
          </a:p>
        </p:txBody>
      </p:sp>
      <p:sp>
        <p:nvSpPr>
          <p:cNvPr id="21" name="Rectangle 31">
            <a:extLst>
              <a:ext uri="{FF2B5EF4-FFF2-40B4-BE49-F238E27FC236}">
                <a16:creationId xmlns:a16="http://schemas.microsoft.com/office/drawing/2014/main" id="{4560FA08-C826-874B-AEE0-1C78532BF6CB}"/>
              </a:ext>
            </a:extLst>
          </p:cNvPr>
          <p:cNvSpPr/>
          <p:nvPr/>
        </p:nvSpPr>
        <p:spPr>
          <a:xfrm>
            <a:off x="4757083" y="4789321"/>
            <a:ext cx="755015" cy="421013"/>
          </a:xfrm>
          <a:prstGeom prst="rect">
            <a:avLst/>
          </a:prstGeom>
        </p:spPr>
        <p:txBody>
          <a:bodyPr wrap="none" lIns="91440" rIns="91440" bIns="45720">
            <a:spAutoFit/>
          </a:bodyPr>
          <a:lstStyle/>
          <a:p>
            <a:pPr algn="r">
              <a:lnSpc>
                <a:spcPct val="89000"/>
              </a:lnSpc>
            </a:pPr>
            <a:r>
              <a:rPr lang="en-US" spc="-80"/>
              <a:t>40%</a:t>
            </a:r>
          </a:p>
        </p:txBody>
      </p:sp>
      <p:sp>
        <p:nvSpPr>
          <p:cNvPr id="22" name="Rectangle 32">
            <a:extLst>
              <a:ext uri="{FF2B5EF4-FFF2-40B4-BE49-F238E27FC236}">
                <a16:creationId xmlns:a16="http://schemas.microsoft.com/office/drawing/2014/main" id="{5F81A3CA-3F7D-EA4B-874B-B5C6E86ADF69}"/>
              </a:ext>
            </a:extLst>
          </p:cNvPr>
          <p:cNvSpPr/>
          <p:nvPr/>
        </p:nvSpPr>
        <p:spPr>
          <a:xfrm>
            <a:off x="3083771" y="3510916"/>
            <a:ext cx="623890" cy="503215"/>
          </a:xfrm>
          <a:prstGeom prst="rect">
            <a:avLst/>
          </a:prstGeom>
        </p:spPr>
        <p:txBody>
          <a:bodyPr wrap="none" lIns="91440" rIns="91440" bIns="45720">
            <a:spAutoFit/>
          </a:bodyPr>
          <a:lstStyle/>
          <a:p>
            <a:pPr algn="ctr">
              <a:lnSpc>
                <a:spcPct val="89000"/>
              </a:lnSpc>
            </a:pPr>
            <a:r>
              <a:rPr lang="en-US" sz="3000">
                <a:solidFill>
                  <a:srgbClr val="FFFFFF"/>
                </a:solidFill>
              </a:rPr>
              <a:t>01</a:t>
            </a:r>
          </a:p>
        </p:txBody>
      </p:sp>
      <p:sp>
        <p:nvSpPr>
          <p:cNvPr id="23" name="Rectangle 34">
            <a:extLst>
              <a:ext uri="{FF2B5EF4-FFF2-40B4-BE49-F238E27FC236}">
                <a16:creationId xmlns:a16="http://schemas.microsoft.com/office/drawing/2014/main" id="{5E21CC68-6541-B745-B6E1-1E39D2475423}"/>
              </a:ext>
            </a:extLst>
          </p:cNvPr>
          <p:cNvSpPr/>
          <p:nvPr/>
        </p:nvSpPr>
        <p:spPr>
          <a:xfrm>
            <a:off x="2192231" y="3510916"/>
            <a:ext cx="623890" cy="503215"/>
          </a:xfrm>
          <a:prstGeom prst="rect">
            <a:avLst/>
          </a:prstGeom>
        </p:spPr>
        <p:txBody>
          <a:bodyPr wrap="none" lIns="91440" rIns="91440" bIns="45720">
            <a:spAutoFit/>
          </a:bodyPr>
          <a:lstStyle/>
          <a:p>
            <a:pPr algn="ctr">
              <a:lnSpc>
                <a:spcPct val="89000"/>
              </a:lnSpc>
            </a:pPr>
            <a:r>
              <a:rPr lang="en-US" sz="3000">
                <a:solidFill>
                  <a:srgbClr val="FFFFFF"/>
                </a:solidFill>
              </a:rPr>
              <a:t>02</a:t>
            </a:r>
          </a:p>
        </p:txBody>
      </p:sp>
      <p:sp>
        <p:nvSpPr>
          <p:cNvPr id="24" name="Rectangle 35">
            <a:extLst>
              <a:ext uri="{FF2B5EF4-FFF2-40B4-BE49-F238E27FC236}">
                <a16:creationId xmlns:a16="http://schemas.microsoft.com/office/drawing/2014/main" id="{7580F9CA-3C51-0F4C-BD35-9F9F71519916}"/>
              </a:ext>
            </a:extLst>
          </p:cNvPr>
          <p:cNvSpPr/>
          <p:nvPr/>
        </p:nvSpPr>
        <p:spPr>
          <a:xfrm>
            <a:off x="1605491" y="3510916"/>
            <a:ext cx="623890" cy="503215"/>
          </a:xfrm>
          <a:prstGeom prst="rect">
            <a:avLst/>
          </a:prstGeom>
        </p:spPr>
        <p:txBody>
          <a:bodyPr wrap="none" lIns="91440" rIns="91440" bIns="45720">
            <a:spAutoFit/>
          </a:bodyPr>
          <a:lstStyle/>
          <a:p>
            <a:pPr algn="ctr">
              <a:lnSpc>
                <a:spcPct val="89000"/>
              </a:lnSpc>
            </a:pPr>
            <a:r>
              <a:rPr lang="en-US" sz="3000">
                <a:solidFill>
                  <a:srgbClr val="FFFFFF"/>
                </a:solidFill>
              </a:rPr>
              <a:t>03</a:t>
            </a:r>
          </a:p>
        </p:txBody>
      </p:sp>
      <p:sp>
        <p:nvSpPr>
          <p:cNvPr id="25" name="Rectangle 36">
            <a:extLst>
              <a:ext uri="{FF2B5EF4-FFF2-40B4-BE49-F238E27FC236}">
                <a16:creationId xmlns:a16="http://schemas.microsoft.com/office/drawing/2014/main" id="{1B3692F6-4DFF-ED46-84F6-933D7BFE34F1}"/>
              </a:ext>
            </a:extLst>
          </p:cNvPr>
          <p:cNvSpPr/>
          <p:nvPr/>
        </p:nvSpPr>
        <p:spPr>
          <a:xfrm>
            <a:off x="1053677" y="3510916"/>
            <a:ext cx="623890" cy="503215"/>
          </a:xfrm>
          <a:prstGeom prst="rect">
            <a:avLst/>
          </a:prstGeom>
        </p:spPr>
        <p:txBody>
          <a:bodyPr wrap="none" lIns="91440" rIns="91440" bIns="45720">
            <a:spAutoFit/>
          </a:bodyPr>
          <a:lstStyle/>
          <a:p>
            <a:pPr algn="ctr">
              <a:lnSpc>
                <a:spcPct val="89000"/>
              </a:lnSpc>
            </a:pPr>
            <a:r>
              <a:rPr lang="en-US" sz="3000">
                <a:solidFill>
                  <a:srgbClr val="FFFFFF"/>
                </a:solidFill>
              </a:rPr>
              <a:t>04</a:t>
            </a:r>
          </a:p>
        </p:txBody>
      </p:sp>
      <p:sp>
        <p:nvSpPr>
          <p:cNvPr id="26" name="Oval 12">
            <a:extLst>
              <a:ext uri="{FF2B5EF4-FFF2-40B4-BE49-F238E27FC236}">
                <a16:creationId xmlns:a16="http://schemas.microsoft.com/office/drawing/2014/main" id="{7701F59B-E0CD-B244-AB96-76F9DCB5E0D0}"/>
              </a:ext>
            </a:extLst>
          </p:cNvPr>
          <p:cNvSpPr>
            <a:spLocks noChangeArrowheads="1"/>
          </p:cNvSpPr>
          <p:nvPr/>
        </p:nvSpPr>
        <p:spPr bwMode="auto">
          <a:xfrm>
            <a:off x="7245264" y="3083513"/>
            <a:ext cx="596614" cy="59661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Oval 12">
            <a:extLst>
              <a:ext uri="{FF2B5EF4-FFF2-40B4-BE49-F238E27FC236}">
                <a16:creationId xmlns:a16="http://schemas.microsoft.com/office/drawing/2014/main" id="{C4790EC6-5093-234D-8B2F-8325526EFA8B}"/>
              </a:ext>
            </a:extLst>
          </p:cNvPr>
          <p:cNvSpPr>
            <a:spLocks noChangeArrowheads="1"/>
          </p:cNvSpPr>
          <p:nvPr/>
        </p:nvSpPr>
        <p:spPr bwMode="auto">
          <a:xfrm>
            <a:off x="7245264" y="3988600"/>
            <a:ext cx="596614" cy="596610"/>
          </a:xfrm>
          <a:prstGeom prst="ellipse">
            <a:avLst/>
          </a:pr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Oval 12">
            <a:extLst>
              <a:ext uri="{FF2B5EF4-FFF2-40B4-BE49-F238E27FC236}">
                <a16:creationId xmlns:a16="http://schemas.microsoft.com/office/drawing/2014/main" id="{3BC7B238-B5CA-2F42-9F57-F556917137BD}"/>
              </a:ext>
            </a:extLst>
          </p:cNvPr>
          <p:cNvSpPr>
            <a:spLocks noChangeArrowheads="1"/>
          </p:cNvSpPr>
          <p:nvPr/>
        </p:nvSpPr>
        <p:spPr bwMode="auto">
          <a:xfrm>
            <a:off x="7245264" y="4873367"/>
            <a:ext cx="596614" cy="596610"/>
          </a:xfrm>
          <a:prstGeom prst="ellipse">
            <a:avLst/>
          </a:pr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Oval 12">
            <a:extLst>
              <a:ext uri="{FF2B5EF4-FFF2-40B4-BE49-F238E27FC236}">
                <a16:creationId xmlns:a16="http://schemas.microsoft.com/office/drawing/2014/main" id="{47058FDE-2A1B-DD48-B384-81F38B75F5DC}"/>
              </a:ext>
            </a:extLst>
          </p:cNvPr>
          <p:cNvSpPr>
            <a:spLocks noChangeArrowheads="1"/>
          </p:cNvSpPr>
          <p:nvPr/>
        </p:nvSpPr>
        <p:spPr bwMode="auto">
          <a:xfrm>
            <a:off x="7245264" y="2188586"/>
            <a:ext cx="596614" cy="596610"/>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30" name="Picture 33">
            <a:extLst>
              <a:ext uri="{FF2B5EF4-FFF2-40B4-BE49-F238E27FC236}">
                <a16:creationId xmlns:a16="http://schemas.microsoft.com/office/drawing/2014/main" id="{29DAB1AA-103C-144B-B89E-412B5C43FC6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21705" y="5045653"/>
            <a:ext cx="457610" cy="264278"/>
          </a:xfrm>
          <a:prstGeom prst="rect">
            <a:avLst/>
          </a:prstGeom>
        </p:spPr>
      </p:pic>
      <p:pic>
        <p:nvPicPr>
          <p:cNvPr id="31" name="Picture 37">
            <a:extLst>
              <a:ext uri="{FF2B5EF4-FFF2-40B4-BE49-F238E27FC236}">
                <a16:creationId xmlns:a16="http://schemas.microsoft.com/office/drawing/2014/main" id="{E9D93DC0-9AD6-744A-9377-CFDF828361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07810" y="3178703"/>
            <a:ext cx="271522" cy="406230"/>
          </a:xfrm>
          <a:prstGeom prst="rect">
            <a:avLst/>
          </a:prstGeom>
        </p:spPr>
      </p:pic>
      <p:pic>
        <p:nvPicPr>
          <p:cNvPr id="32" name="Picture 38">
            <a:extLst>
              <a:ext uri="{FF2B5EF4-FFF2-40B4-BE49-F238E27FC236}">
                <a16:creationId xmlns:a16="http://schemas.microsoft.com/office/drawing/2014/main" id="{6B104F64-2CF7-BA47-A9BD-03E0D672B99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21398" y="4194608"/>
            <a:ext cx="455830" cy="245448"/>
          </a:xfrm>
          <a:prstGeom prst="rect">
            <a:avLst/>
          </a:prstGeom>
        </p:spPr>
      </p:pic>
      <p:pic>
        <p:nvPicPr>
          <p:cNvPr id="33" name="Picture 39">
            <a:extLst>
              <a:ext uri="{FF2B5EF4-FFF2-40B4-BE49-F238E27FC236}">
                <a16:creationId xmlns:a16="http://schemas.microsoft.com/office/drawing/2014/main" id="{113EEA3A-00A2-7C48-9F69-BAA9EDF78AE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63291" y="2282929"/>
            <a:ext cx="366252" cy="350846"/>
          </a:xfrm>
          <a:prstGeom prst="rect">
            <a:avLst/>
          </a:prstGeom>
        </p:spPr>
      </p:pic>
    </p:spTree>
    <p:extLst>
      <p:ext uri="{BB962C8B-B14F-4D97-AF65-F5344CB8AC3E}">
        <p14:creationId xmlns:p14="http://schemas.microsoft.com/office/powerpoint/2010/main" val="2745830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graphicEl>
                                              <a:dgm id="{80C83430-0DBD-4F49-9E64-0C82594BD9F0}"/>
                                            </p:graphicEl>
                                          </p:spTgt>
                                        </p:tgtEl>
                                        <p:attrNameLst>
                                          <p:attrName>style.visibility</p:attrName>
                                        </p:attrNameLst>
                                      </p:cBhvr>
                                      <p:to>
                                        <p:strVal val="visible"/>
                                      </p:to>
                                    </p:set>
                                    <p:animEffect transition="in" filter="fade">
                                      <p:cBhvr>
                                        <p:cTn id="7" dur="300"/>
                                        <p:tgtEl>
                                          <p:spTgt spid="9">
                                            <p:graphicEl>
                                              <a:dgm id="{80C83430-0DBD-4F49-9E64-0C82594BD9F0}"/>
                                            </p:graphicEl>
                                          </p:spTgt>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300"/>
                                        <p:tgtEl>
                                          <p:spTgt spid="22"/>
                                        </p:tgtEl>
                                      </p:cBhvr>
                                    </p:animEffect>
                                  </p:childTnLst>
                                </p:cTn>
                              </p:par>
                              <p:par>
                                <p:cTn id="11" presetID="22" presetClass="entr" presetSubtype="8" fill="hold" grpId="0" nodeType="withEffect">
                                  <p:stCondLst>
                                    <p:cond delay="300"/>
                                  </p:stCondLst>
                                  <p:childTnLst>
                                    <p:set>
                                      <p:cBhvr>
                                        <p:cTn id="12" dur="1" fill="hold">
                                          <p:stCondLst>
                                            <p:cond delay="0"/>
                                          </p:stCondLst>
                                        </p:cTn>
                                        <p:tgtEl>
                                          <p:spTgt spid="13"/>
                                        </p:tgtEl>
                                        <p:attrNameLst>
                                          <p:attrName>style.visibility</p:attrName>
                                        </p:attrNameLst>
                                      </p:cBhvr>
                                      <p:to>
                                        <p:strVal val="visible"/>
                                      </p:to>
                                    </p:set>
                                    <p:animEffect transition="in" filter="wipe(left)">
                                      <p:cBhvr>
                                        <p:cTn id="13" dur="300"/>
                                        <p:tgtEl>
                                          <p:spTgt spid="1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300"/>
                                        <p:tgtEl>
                                          <p:spTgt spid="29"/>
                                        </p:tgtEl>
                                      </p:cBhvr>
                                    </p:animEffect>
                                  </p:childTnLst>
                                </p:cTn>
                              </p:par>
                              <p:par>
                                <p:cTn id="23" presetID="10" presetClass="entr" presetSubtype="0" fill="hold" nodeType="withEffect">
                                  <p:stCondLst>
                                    <p:cond delay="60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300"/>
                                        <p:tgtEl>
                                          <p:spTgt spid="33"/>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9">
                                            <p:graphicEl>
                                              <a:dgm id="{87FD9542-8FD3-C842-BF99-47B1884B62F8}"/>
                                            </p:graphicEl>
                                          </p:spTgt>
                                        </p:tgtEl>
                                        <p:attrNameLst>
                                          <p:attrName>style.visibility</p:attrName>
                                        </p:attrNameLst>
                                      </p:cBhvr>
                                      <p:to>
                                        <p:strVal val="visible"/>
                                      </p:to>
                                    </p:set>
                                    <p:animEffect transition="in" filter="fade">
                                      <p:cBhvr>
                                        <p:cTn id="28" dur="300"/>
                                        <p:tgtEl>
                                          <p:spTgt spid="9">
                                            <p:graphicEl>
                                              <a:dgm id="{87FD9542-8FD3-C842-BF99-47B1884B62F8}"/>
                                            </p:graphicEl>
                                          </p:spTgt>
                                        </p:tgtEl>
                                      </p:cBhvr>
                                    </p:animEffect>
                                  </p:childTnLst>
                                </p:cTn>
                              </p:par>
                              <p:par>
                                <p:cTn id="29" presetID="10" presetClass="entr" presetSubtype="0" fill="hold" grpId="0" nodeType="withEffect">
                                  <p:stCondLst>
                                    <p:cond delay="40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300"/>
                                        <p:tgtEl>
                                          <p:spTgt spid="23"/>
                                        </p:tgtEl>
                                      </p:cBhvr>
                                    </p:animEffect>
                                  </p:childTnLst>
                                </p:cTn>
                              </p:par>
                              <p:par>
                                <p:cTn id="32" presetID="22" presetClass="entr" presetSubtype="8" fill="hold" grpId="0" nodeType="withEffect">
                                  <p:stCondLst>
                                    <p:cond delay="500"/>
                                  </p:stCondLst>
                                  <p:childTnLst>
                                    <p:set>
                                      <p:cBhvr>
                                        <p:cTn id="33" dur="1" fill="hold">
                                          <p:stCondLst>
                                            <p:cond delay="0"/>
                                          </p:stCondLst>
                                        </p:cTn>
                                        <p:tgtEl>
                                          <p:spTgt spid="12"/>
                                        </p:tgtEl>
                                        <p:attrNameLst>
                                          <p:attrName>style.visibility</p:attrName>
                                        </p:attrNameLst>
                                      </p:cBhvr>
                                      <p:to>
                                        <p:strVal val="visible"/>
                                      </p:to>
                                    </p:set>
                                    <p:animEffect transition="in" filter="wipe(left)">
                                      <p:cBhvr>
                                        <p:cTn id="34" dur="300"/>
                                        <p:tgtEl>
                                          <p:spTgt spid="12"/>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6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300"/>
                                        <p:tgtEl>
                                          <p:spTgt spid="26"/>
                                        </p:tgtEl>
                                      </p:cBhvr>
                                    </p:animEffect>
                                  </p:childTnLst>
                                </p:cTn>
                              </p:par>
                              <p:par>
                                <p:cTn id="44" presetID="10" presetClass="entr" presetSubtype="0" fill="hold" nodeType="withEffect">
                                  <p:stCondLst>
                                    <p:cond delay="90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300"/>
                                        <p:tgtEl>
                                          <p:spTgt spid="31"/>
                                        </p:tgtEl>
                                      </p:cBhvr>
                                    </p:animEffect>
                                  </p:childTnLst>
                                </p:cTn>
                              </p:par>
                              <p:par>
                                <p:cTn id="47" presetID="10" presetClass="entr" presetSubtype="0" fill="hold" grpId="0" nodeType="withEffect">
                                  <p:stCondLst>
                                    <p:cond delay="600"/>
                                  </p:stCondLst>
                                  <p:childTnLst>
                                    <p:set>
                                      <p:cBhvr>
                                        <p:cTn id="48" dur="1" fill="hold">
                                          <p:stCondLst>
                                            <p:cond delay="0"/>
                                          </p:stCondLst>
                                        </p:cTn>
                                        <p:tgtEl>
                                          <p:spTgt spid="9">
                                            <p:graphicEl>
                                              <a:dgm id="{19D3CC6C-315D-6D46-A1D0-2DDEC1C7A2BA}"/>
                                            </p:graphicEl>
                                          </p:spTgt>
                                        </p:tgtEl>
                                        <p:attrNameLst>
                                          <p:attrName>style.visibility</p:attrName>
                                        </p:attrNameLst>
                                      </p:cBhvr>
                                      <p:to>
                                        <p:strVal val="visible"/>
                                      </p:to>
                                    </p:set>
                                    <p:animEffect transition="in" filter="fade">
                                      <p:cBhvr>
                                        <p:cTn id="49" dur="300"/>
                                        <p:tgtEl>
                                          <p:spTgt spid="9">
                                            <p:graphicEl>
                                              <a:dgm id="{19D3CC6C-315D-6D46-A1D0-2DDEC1C7A2BA}"/>
                                            </p:graphicEl>
                                          </p:spTgt>
                                        </p:tgtEl>
                                      </p:cBhvr>
                                    </p:animEffect>
                                  </p:childTnLst>
                                </p:cTn>
                              </p:par>
                              <p:par>
                                <p:cTn id="50" presetID="10" presetClass="entr" presetSubtype="0" fill="hold" grpId="0" nodeType="withEffect">
                                  <p:stCondLst>
                                    <p:cond delay="70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300"/>
                                        <p:tgtEl>
                                          <p:spTgt spid="24"/>
                                        </p:tgtEl>
                                      </p:cBhvr>
                                    </p:animEffect>
                                  </p:childTnLst>
                                </p:cTn>
                              </p:par>
                              <p:par>
                                <p:cTn id="53" presetID="22" presetClass="entr" presetSubtype="8" fill="hold" grpId="0" nodeType="withEffect">
                                  <p:stCondLst>
                                    <p:cond delay="800"/>
                                  </p:stCondLst>
                                  <p:childTnLst>
                                    <p:set>
                                      <p:cBhvr>
                                        <p:cTn id="54" dur="1" fill="hold">
                                          <p:stCondLst>
                                            <p:cond delay="0"/>
                                          </p:stCondLst>
                                        </p:cTn>
                                        <p:tgtEl>
                                          <p:spTgt spid="10"/>
                                        </p:tgtEl>
                                        <p:attrNameLst>
                                          <p:attrName>style.visibility</p:attrName>
                                        </p:attrNameLst>
                                      </p:cBhvr>
                                      <p:to>
                                        <p:strVal val="visible"/>
                                      </p:to>
                                    </p:set>
                                    <p:animEffect transition="in" filter="wipe(left)">
                                      <p:cBhvr>
                                        <p:cTn id="55" dur="300"/>
                                        <p:tgtEl>
                                          <p:spTgt spid="10"/>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90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500"/>
                                        <p:tgtEl>
                                          <p:spTgt spid="18"/>
                                        </p:tgtEl>
                                      </p:cBhvr>
                                    </p:animEffect>
                                  </p:childTnLst>
                                </p:cTn>
                              </p:par>
                              <p:par>
                                <p:cTn id="62" presetID="10" presetClass="entr" presetSubtype="0" fill="hold" grpId="0" nodeType="withEffect">
                                  <p:stCondLst>
                                    <p:cond delay="120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300"/>
                                        <p:tgtEl>
                                          <p:spTgt spid="27"/>
                                        </p:tgtEl>
                                      </p:cBhvr>
                                    </p:animEffect>
                                  </p:childTnLst>
                                </p:cTn>
                              </p:par>
                              <p:par>
                                <p:cTn id="65" presetID="10" presetClass="entr" presetSubtype="0" fill="hold" nodeType="withEffect">
                                  <p:stCondLst>
                                    <p:cond delay="120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300"/>
                                        <p:tgtEl>
                                          <p:spTgt spid="32"/>
                                        </p:tgtEl>
                                      </p:cBhvr>
                                    </p:animEffect>
                                  </p:childTnLst>
                                </p:cTn>
                              </p:par>
                              <p:par>
                                <p:cTn id="68" presetID="10" presetClass="entr" presetSubtype="0" fill="hold" grpId="0" nodeType="withEffect">
                                  <p:stCondLst>
                                    <p:cond delay="900"/>
                                  </p:stCondLst>
                                  <p:childTnLst>
                                    <p:set>
                                      <p:cBhvr>
                                        <p:cTn id="69" dur="1" fill="hold">
                                          <p:stCondLst>
                                            <p:cond delay="0"/>
                                          </p:stCondLst>
                                        </p:cTn>
                                        <p:tgtEl>
                                          <p:spTgt spid="9">
                                            <p:graphicEl>
                                              <a:dgm id="{CBDC1C1A-EBA1-C041-91B6-DB84A72A1EA4}"/>
                                            </p:graphicEl>
                                          </p:spTgt>
                                        </p:tgtEl>
                                        <p:attrNameLst>
                                          <p:attrName>style.visibility</p:attrName>
                                        </p:attrNameLst>
                                      </p:cBhvr>
                                      <p:to>
                                        <p:strVal val="visible"/>
                                      </p:to>
                                    </p:set>
                                    <p:animEffect transition="in" filter="fade">
                                      <p:cBhvr>
                                        <p:cTn id="70" dur="300"/>
                                        <p:tgtEl>
                                          <p:spTgt spid="9">
                                            <p:graphicEl>
                                              <a:dgm id="{CBDC1C1A-EBA1-C041-91B6-DB84A72A1EA4}"/>
                                            </p:graphicEl>
                                          </p:spTgt>
                                        </p:tgtEl>
                                      </p:cBhvr>
                                    </p:animEffect>
                                  </p:childTnLst>
                                </p:cTn>
                              </p:par>
                              <p:par>
                                <p:cTn id="71" presetID="10" presetClass="entr" presetSubtype="0" fill="hold" grpId="0" nodeType="withEffect">
                                  <p:stCondLst>
                                    <p:cond delay="100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300"/>
                                        <p:tgtEl>
                                          <p:spTgt spid="25"/>
                                        </p:tgtEl>
                                      </p:cBhvr>
                                    </p:animEffect>
                                  </p:childTnLst>
                                </p:cTn>
                              </p:par>
                              <p:par>
                                <p:cTn id="74" presetID="22" presetClass="entr" presetSubtype="8" fill="hold" grpId="0" nodeType="withEffect">
                                  <p:stCondLst>
                                    <p:cond delay="1100"/>
                                  </p:stCondLst>
                                  <p:childTnLst>
                                    <p:set>
                                      <p:cBhvr>
                                        <p:cTn id="75" dur="1" fill="hold">
                                          <p:stCondLst>
                                            <p:cond delay="0"/>
                                          </p:stCondLst>
                                        </p:cTn>
                                        <p:tgtEl>
                                          <p:spTgt spid="11"/>
                                        </p:tgtEl>
                                        <p:attrNameLst>
                                          <p:attrName>style.visibility</p:attrName>
                                        </p:attrNameLst>
                                      </p:cBhvr>
                                      <p:to>
                                        <p:strVal val="visible"/>
                                      </p:to>
                                    </p:set>
                                    <p:animEffect transition="in" filter="wipe(left)">
                                      <p:cBhvr>
                                        <p:cTn id="76" dur="300"/>
                                        <p:tgtEl>
                                          <p:spTgt spid="11"/>
                                        </p:tgtEl>
                                      </p:cBhvr>
                                    </p:animEffect>
                                  </p:childTnLst>
                                </p:cTn>
                              </p:par>
                              <p:par>
                                <p:cTn id="77" presetID="10" presetClass="entr" presetSubtype="0" fill="hold" grpId="0" nodeType="withEffect">
                                  <p:stCondLst>
                                    <p:cond delay="120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500"/>
                                        <p:tgtEl>
                                          <p:spTgt spid="21"/>
                                        </p:tgtEl>
                                      </p:cBhvr>
                                    </p:animEffect>
                                  </p:childTnLst>
                                </p:cTn>
                              </p:par>
                              <p:par>
                                <p:cTn id="80" presetID="10" presetClass="entr" presetSubtype="0" fill="hold" grpId="0" nodeType="withEffect">
                                  <p:stCondLst>
                                    <p:cond delay="1200"/>
                                  </p:stCondLst>
                                  <p:childTnLst>
                                    <p:set>
                                      <p:cBhvr>
                                        <p:cTn id="81" dur="1" fill="hold">
                                          <p:stCondLst>
                                            <p:cond delay="0"/>
                                          </p:stCondLst>
                                        </p:cTn>
                                        <p:tgtEl>
                                          <p:spTgt spid="19"/>
                                        </p:tgtEl>
                                        <p:attrNameLst>
                                          <p:attrName>style.visibility</p:attrName>
                                        </p:attrNameLst>
                                      </p:cBhvr>
                                      <p:to>
                                        <p:strVal val="visible"/>
                                      </p:to>
                                    </p:set>
                                    <p:animEffect transition="in" filter="fade">
                                      <p:cBhvr>
                                        <p:cTn id="82" dur="500"/>
                                        <p:tgtEl>
                                          <p:spTgt spid="19"/>
                                        </p:tgtEl>
                                      </p:cBhvr>
                                    </p:animEffect>
                                  </p:childTnLst>
                                </p:cTn>
                              </p:par>
                              <p:par>
                                <p:cTn id="83" presetID="10" presetClass="entr" presetSubtype="0" fill="hold" grpId="0" nodeType="withEffect">
                                  <p:stCondLst>
                                    <p:cond delay="1500"/>
                                  </p:stCondLst>
                                  <p:childTnLst>
                                    <p:set>
                                      <p:cBhvr>
                                        <p:cTn id="84" dur="1" fill="hold">
                                          <p:stCondLst>
                                            <p:cond delay="0"/>
                                          </p:stCondLst>
                                        </p:cTn>
                                        <p:tgtEl>
                                          <p:spTgt spid="28"/>
                                        </p:tgtEl>
                                        <p:attrNameLst>
                                          <p:attrName>style.visibility</p:attrName>
                                        </p:attrNameLst>
                                      </p:cBhvr>
                                      <p:to>
                                        <p:strVal val="visible"/>
                                      </p:to>
                                    </p:set>
                                    <p:animEffect transition="in" filter="fade">
                                      <p:cBhvr>
                                        <p:cTn id="85" dur="300"/>
                                        <p:tgtEl>
                                          <p:spTgt spid="28"/>
                                        </p:tgtEl>
                                      </p:cBhvr>
                                    </p:animEffect>
                                  </p:childTnLst>
                                </p:cTn>
                              </p:par>
                              <p:par>
                                <p:cTn id="86" presetID="10" presetClass="entr" presetSubtype="0" fill="hold" nodeType="withEffect">
                                  <p:stCondLst>
                                    <p:cond delay="1500"/>
                                  </p:stCondLst>
                                  <p:childTnLst>
                                    <p:set>
                                      <p:cBhvr>
                                        <p:cTn id="87" dur="1" fill="hold">
                                          <p:stCondLst>
                                            <p:cond delay="0"/>
                                          </p:stCondLst>
                                        </p:cTn>
                                        <p:tgtEl>
                                          <p:spTgt spid="30"/>
                                        </p:tgtEl>
                                        <p:attrNameLst>
                                          <p:attrName>style.visibility</p:attrName>
                                        </p:attrNameLst>
                                      </p:cBhvr>
                                      <p:to>
                                        <p:strVal val="visible"/>
                                      </p:to>
                                    </p:set>
                                    <p:animEffect transition="in" filter="fade">
                                      <p:cBhvr>
                                        <p:cTn id="88" dur="3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rev="1"/>
        </p:bldSub>
      </p:bldGraphic>
      <p:bldP spid="10" grpId="0" animBg="1"/>
      <p:bldP spid="11" grpId="0" animBg="1"/>
      <p:bldP spid="12" grpId="0" animBg="1"/>
      <p:bldP spid="13" grpId="0" animBg="1"/>
      <p:bldP spid="14" grpId="0"/>
      <p:bldP spid="15" grpId="0"/>
      <p:bldP spid="16" grpId="0"/>
      <p:bldP spid="17" grpId="0"/>
      <p:bldP spid="18" grpId="0"/>
      <p:bldP spid="19" grpId="0"/>
      <p:bldP spid="20" grpId="0"/>
      <p:bldP spid="21" grpId="0"/>
      <p:bldP spid="22" grpId="0"/>
      <p:bldP spid="23" grpId="0"/>
      <p:bldP spid="24" grpId="0"/>
      <p:bldP spid="25" grpId="0"/>
      <p:bldP spid="26" grpId="0" animBg="1"/>
      <p:bldP spid="27" grpId="0" animBg="1"/>
      <p:bldP spid="28" grpId="0" animBg="1"/>
      <p:bldP spid="29" grpId="0" animBg="1"/>
    </p:bld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FF6251F-A134-DE43-9F36-469861E10631}"/>
              </a:ext>
            </a:extLst>
          </p:cNvPr>
          <p:cNvSpPr>
            <a:spLocks noGrp="1"/>
          </p:cNvSpPr>
          <p:nvPr>
            <p:ph type="sldNum" sz="quarter" idx="4"/>
          </p:nvPr>
        </p:nvSpPr>
        <p:spPr/>
        <p:txBody>
          <a:bodyPr/>
          <a:lstStyle/>
          <a:p>
            <a:fld id="{3D966009-6E5A-4F8C-8CA7-E37AFBF5FB92}" type="slidenum">
              <a:rPr lang="en-US" smtClean="0"/>
              <a:t>178</a:t>
            </a:fld>
            <a:endParaRPr lang="en-US"/>
          </a:p>
        </p:txBody>
      </p:sp>
      <p:sp>
        <p:nvSpPr>
          <p:cNvPr id="3" name="Titel 2">
            <a:extLst>
              <a:ext uri="{FF2B5EF4-FFF2-40B4-BE49-F238E27FC236}">
                <a16:creationId xmlns:a16="http://schemas.microsoft.com/office/drawing/2014/main" id="{62276D82-D3C9-9545-A47D-1B7557568B58}"/>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084DB8D4-6981-F647-9D5F-BDDB52CF02EC}"/>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9E121EEB-2FF7-E84D-A41C-642FF0DC242E}"/>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7B771CDC-7A41-564D-AF9C-45D4F4971426}"/>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4AF7ECD1-752B-6F46-86E5-9C818ABBA389}"/>
              </a:ext>
            </a:extLst>
          </p:cNvPr>
          <p:cNvSpPr>
            <a:spLocks noGrp="1"/>
          </p:cNvSpPr>
          <p:nvPr>
            <p:ph sz="quarter" idx="14"/>
          </p:nvPr>
        </p:nvSpPr>
        <p:spPr/>
        <p:txBody>
          <a:bodyPr/>
          <a:lstStyle/>
          <a:p>
            <a:endParaRPr lang="en-GB"/>
          </a:p>
        </p:txBody>
      </p:sp>
      <p:sp>
        <p:nvSpPr>
          <p:cNvPr id="9" name="Freeform 26">
            <a:extLst>
              <a:ext uri="{FF2B5EF4-FFF2-40B4-BE49-F238E27FC236}">
                <a16:creationId xmlns:a16="http://schemas.microsoft.com/office/drawing/2014/main" id="{6E2C2695-AF1B-3642-9D9F-5D3E582564A5}"/>
              </a:ext>
            </a:extLst>
          </p:cNvPr>
          <p:cNvSpPr/>
          <p:nvPr/>
        </p:nvSpPr>
        <p:spPr>
          <a:xfrm>
            <a:off x="3378084" y="2472882"/>
            <a:ext cx="2308256" cy="2308256"/>
          </a:xfrm>
          <a:custGeom>
            <a:avLst/>
            <a:gdLst>
              <a:gd name="connsiteX0" fmla="*/ 0 w 3355880"/>
              <a:gd name="connsiteY0" fmla="*/ 1677940 h 3355880"/>
              <a:gd name="connsiteX1" fmla="*/ 1677940 w 3355880"/>
              <a:gd name="connsiteY1" fmla="*/ 0 h 3355880"/>
              <a:gd name="connsiteX2" fmla="*/ 3355880 w 3355880"/>
              <a:gd name="connsiteY2" fmla="*/ 1677940 h 3355880"/>
              <a:gd name="connsiteX3" fmla="*/ 1677940 w 3355880"/>
              <a:gd name="connsiteY3" fmla="*/ 3355880 h 3355880"/>
              <a:gd name="connsiteX4" fmla="*/ 0 w 3355880"/>
              <a:gd name="connsiteY4" fmla="*/ 1677940 h 3355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5880" h="3355880">
                <a:moveTo>
                  <a:pt x="0" y="1677940"/>
                </a:moveTo>
                <a:cubicBezTo>
                  <a:pt x="0" y="751239"/>
                  <a:pt x="751239" y="0"/>
                  <a:pt x="1677940" y="0"/>
                </a:cubicBezTo>
                <a:cubicBezTo>
                  <a:pt x="2604641" y="0"/>
                  <a:pt x="3355880" y="751239"/>
                  <a:pt x="3355880" y="1677940"/>
                </a:cubicBezTo>
                <a:cubicBezTo>
                  <a:pt x="3355880" y="2604641"/>
                  <a:pt x="2604641" y="3355880"/>
                  <a:pt x="1677940" y="3355880"/>
                </a:cubicBezTo>
                <a:cubicBezTo>
                  <a:pt x="751239" y="3355880"/>
                  <a:pt x="0" y="2604641"/>
                  <a:pt x="0" y="1677940"/>
                </a:cubicBezTo>
                <a:close/>
              </a:path>
            </a:pathLst>
          </a:custGeom>
          <a:solidFill>
            <a:schemeClr val="bg2"/>
          </a:solidFill>
          <a:ln w="22225">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1294132" tIns="253137" rIns="1294132" bIns="2770049" numCol="1" spcCol="1270" anchor="ctr" anchorCtr="0">
            <a:noAutofit/>
          </a:bodyPr>
          <a:lstStyle/>
          <a:p>
            <a:pPr algn="ctr" defTabSz="533387">
              <a:lnSpc>
                <a:spcPct val="90000"/>
              </a:lnSpc>
              <a:spcBef>
                <a:spcPct val="0"/>
              </a:spcBef>
              <a:spcAft>
                <a:spcPct val="35000"/>
              </a:spcAft>
            </a:pPr>
            <a:r>
              <a:rPr lang="en-US" sz="1200"/>
              <a:t> </a:t>
            </a:r>
          </a:p>
        </p:txBody>
      </p:sp>
      <p:sp>
        <p:nvSpPr>
          <p:cNvPr id="10" name="Rectangle 35">
            <a:extLst>
              <a:ext uri="{FF2B5EF4-FFF2-40B4-BE49-F238E27FC236}">
                <a16:creationId xmlns:a16="http://schemas.microsoft.com/office/drawing/2014/main" id="{854CAD6F-392B-6B4F-B5C6-C940FF697BC1}"/>
              </a:ext>
            </a:extLst>
          </p:cNvPr>
          <p:cNvSpPr/>
          <p:nvPr/>
        </p:nvSpPr>
        <p:spPr>
          <a:xfrm>
            <a:off x="725368" y="2244002"/>
            <a:ext cx="1945640" cy="675570"/>
          </a:xfrm>
          <a:prstGeom prst="rect">
            <a:avLst/>
          </a:prstGeom>
        </p:spPr>
        <p:txBody>
          <a:bodyPr wrap="square" lIns="182880" rIns="182880" bIns="73152">
            <a:spAutoFit/>
          </a:bodyPr>
          <a:lstStyle/>
          <a:p>
            <a:pPr algn="r">
              <a:lnSpc>
                <a:spcPct val="95000"/>
              </a:lnSpc>
            </a:pPr>
            <a:r>
              <a:rPr lang="en-US" sz="1600"/>
              <a:t>Xxx </a:t>
            </a:r>
            <a:r>
              <a:rPr lang="en-US" sz="1600" err="1"/>
              <a:t>xxx</a:t>
            </a:r>
            <a:r>
              <a:rPr lang="en-US" sz="1600"/>
              <a:t> x</a:t>
            </a:r>
          </a:p>
          <a:p>
            <a:pPr algn="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1" name="Rectangle 36">
            <a:extLst>
              <a:ext uri="{FF2B5EF4-FFF2-40B4-BE49-F238E27FC236}">
                <a16:creationId xmlns:a16="http://schemas.microsoft.com/office/drawing/2014/main" id="{41B9224E-79A1-F647-B21D-2AFF14388562}"/>
              </a:ext>
            </a:extLst>
          </p:cNvPr>
          <p:cNvSpPr/>
          <p:nvPr/>
        </p:nvSpPr>
        <p:spPr>
          <a:xfrm>
            <a:off x="725368" y="4317248"/>
            <a:ext cx="1945640" cy="675570"/>
          </a:xfrm>
          <a:prstGeom prst="rect">
            <a:avLst/>
          </a:prstGeom>
        </p:spPr>
        <p:txBody>
          <a:bodyPr wrap="square" lIns="182880" rIns="182880" bIns="73152">
            <a:spAutoFit/>
          </a:bodyPr>
          <a:lstStyle/>
          <a:p>
            <a:pPr algn="r">
              <a:lnSpc>
                <a:spcPct val="95000"/>
              </a:lnSpc>
            </a:pPr>
            <a:r>
              <a:rPr lang="en-US" sz="1600"/>
              <a:t>Xxx </a:t>
            </a:r>
            <a:r>
              <a:rPr lang="en-US" sz="1600" err="1"/>
              <a:t>xxx</a:t>
            </a:r>
            <a:r>
              <a:rPr lang="en-US" sz="1600"/>
              <a:t> x</a:t>
            </a:r>
          </a:p>
          <a:p>
            <a:pPr algn="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2" name="Rectangle 37">
            <a:extLst>
              <a:ext uri="{FF2B5EF4-FFF2-40B4-BE49-F238E27FC236}">
                <a16:creationId xmlns:a16="http://schemas.microsoft.com/office/drawing/2014/main" id="{0B538648-9B88-1C4D-84E6-ECF05335A70C}"/>
              </a:ext>
            </a:extLst>
          </p:cNvPr>
          <p:cNvSpPr/>
          <p:nvPr/>
        </p:nvSpPr>
        <p:spPr>
          <a:xfrm>
            <a:off x="6463633" y="2244002"/>
            <a:ext cx="1945640" cy="675570"/>
          </a:xfrm>
          <a:prstGeom prst="rect">
            <a:avLst/>
          </a:prstGeom>
        </p:spPr>
        <p:txBody>
          <a:bodyPr wrap="square" lIns="182880" rIns="182880" bIns="73152">
            <a:spAutoFit/>
          </a:bodyPr>
          <a:lstStyle/>
          <a:p>
            <a:pPr>
              <a:lnSpc>
                <a:spcPct val="95000"/>
              </a:lnSpc>
            </a:pPr>
            <a:r>
              <a:rPr lang="en-US" sz="1600"/>
              <a:t>Xxx </a:t>
            </a:r>
            <a:r>
              <a:rPr lang="en-US" sz="1600" err="1"/>
              <a:t>xxx</a:t>
            </a:r>
            <a:r>
              <a:rPr lang="en-US" sz="1600"/>
              <a:t> x</a:t>
            </a:r>
          </a:p>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sp>
        <p:nvSpPr>
          <p:cNvPr id="13" name="Rectangle 38">
            <a:extLst>
              <a:ext uri="{FF2B5EF4-FFF2-40B4-BE49-F238E27FC236}">
                <a16:creationId xmlns:a16="http://schemas.microsoft.com/office/drawing/2014/main" id="{225BF569-2B7F-8645-A58C-99EE24302C70}"/>
              </a:ext>
            </a:extLst>
          </p:cNvPr>
          <p:cNvSpPr/>
          <p:nvPr/>
        </p:nvSpPr>
        <p:spPr>
          <a:xfrm>
            <a:off x="6463633" y="4317248"/>
            <a:ext cx="1945640" cy="675570"/>
          </a:xfrm>
          <a:prstGeom prst="rect">
            <a:avLst/>
          </a:prstGeom>
        </p:spPr>
        <p:txBody>
          <a:bodyPr wrap="square" lIns="182880" rIns="182880" bIns="73152">
            <a:spAutoFit/>
          </a:bodyPr>
          <a:lstStyle/>
          <a:p>
            <a:pPr>
              <a:lnSpc>
                <a:spcPct val="95000"/>
              </a:lnSpc>
            </a:pPr>
            <a:r>
              <a:rPr lang="en-US" sz="1600"/>
              <a:t>Xxx </a:t>
            </a:r>
            <a:r>
              <a:rPr lang="en-US" sz="1600" err="1"/>
              <a:t>xxx</a:t>
            </a:r>
            <a:r>
              <a:rPr lang="en-US" sz="1600"/>
              <a:t> x</a:t>
            </a:r>
          </a:p>
          <a:p>
            <a:pPr>
              <a:lnSpc>
                <a:spcPct val="95000"/>
              </a:lnSpc>
            </a:pPr>
            <a:r>
              <a:rPr lang="en-US" sz="1100" err="1"/>
              <a:t>Xxxxx</a:t>
            </a:r>
            <a:r>
              <a:rPr lang="en-US" sz="1100"/>
              <a:t> </a:t>
            </a:r>
            <a:r>
              <a:rPr lang="en-US" sz="1100" err="1"/>
              <a:t>xxxxx</a:t>
            </a:r>
            <a:r>
              <a:rPr lang="en-US" sz="1100"/>
              <a:t> </a:t>
            </a:r>
            <a:r>
              <a:rPr lang="en-US" sz="1100" err="1"/>
              <a:t>xxxx</a:t>
            </a:r>
            <a:r>
              <a:rPr lang="en-US" sz="1100"/>
              <a:t> </a:t>
            </a:r>
            <a:br>
              <a:rPr lang="en-US" sz="1100"/>
            </a:br>
            <a:r>
              <a:rPr lang="en-US" sz="1100"/>
              <a:t>xxx </a:t>
            </a:r>
            <a:r>
              <a:rPr lang="en-US" sz="1100" err="1"/>
              <a:t>xxx</a:t>
            </a:r>
            <a:r>
              <a:rPr lang="en-US" sz="1100"/>
              <a:t> xx </a:t>
            </a:r>
            <a:r>
              <a:rPr lang="en-US" sz="1100" err="1"/>
              <a:t>xxxxxxxx</a:t>
            </a:r>
            <a:endParaRPr lang="en-US" sz="1100"/>
          </a:p>
        </p:txBody>
      </p:sp>
      <p:cxnSp>
        <p:nvCxnSpPr>
          <p:cNvPr id="14" name="Straight Connector 39">
            <a:extLst>
              <a:ext uri="{FF2B5EF4-FFF2-40B4-BE49-F238E27FC236}">
                <a16:creationId xmlns:a16="http://schemas.microsoft.com/office/drawing/2014/main" id="{ECF2339D-DD76-DB4D-B255-FD8EF54B5FFC}"/>
              </a:ext>
            </a:extLst>
          </p:cNvPr>
          <p:cNvCxnSpPr/>
          <p:nvPr/>
        </p:nvCxnSpPr>
        <p:spPr>
          <a:xfrm flipH="1" flipV="1">
            <a:off x="5361037" y="4240391"/>
            <a:ext cx="258836" cy="184533"/>
          </a:xfrm>
          <a:prstGeom prst="line">
            <a:avLst/>
          </a:prstGeom>
          <a:ln w="12700" cap="sq" cmpd="sng">
            <a:solidFill>
              <a:schemeClr val="tx1"/>
            </a:solidFill>
            <a:round/>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5" name="Freeform 40">
            <a:extLst>
              <a:ext uri="{FF2B5EF4-FFF2-40B4-BE49-F238E27FC236}">
                <a16:creationId xmlns:a16="http://schemas.microsoft.com/office/drawing/2014/main" id="{F308D6DE-2A15-CA4B-9299-2FBA340BF01A}"/>
              </a:ext>
            </a:extLst>
          </p:cNvPr>
          <p:cNvSpPr/>
          <p:nvPr/>
        </p:nvSpPr>
        <p:spPr>
          <a:xfrm>
            <a:off x="3608909" y="2703706"/>
            <a:ext cx="1846605" cy="1846604"/>
          </a:xfrm>
          <a:custGeom>
            <a:avLst/>
            <a:gdLst>
              <a:gd name="connsiteX0" fmla="*/ 0 w 2684704"/>
              <a:gd name="connsiteY0" fmla="*/ 1342352 h 2684704"/>
              <a:gd name="connsiteX1" fmla="*/ 1342352 w 2684704"/>
              <a:gd name="connsiteY1" fmla="*/ 0 h 2684704"/>
              <a:gd name="connsiteX2" fmla="*/ 2684704 w 2684704"/>
              <a:gd name="connsiteY2" fmla="*/ 1342352 h 2684704"/>
              <a:gd name="connsiteX3" fmla="*/ 1342352 w 2684704"/>
              <a:gd name="connsiteY3" fmla="*/ 2684704 h 2684704"/>
              <a:gd name="connsiteX4" fmla="*/ 0 w 2684704"/>
              <a:gd name="connsiteY4" fmla="*/ 1342352 h 2684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4704" h="2684704">
                <a:moveTo>
                  <a:pt x="0" y="1342352"/>
                </a:moveTo>
                <a:cubicBezTo>
                  <a:pt x="0" y="600991"/>
                  <a:pt x="600991" y="0"/>
                  <a:pt x="1342352" y="0"/>
                </a:cubicBezTo>
                <a:cubicBezTo>
                  <a:pt x="2083713" y="0"/>
                  <a:pt x="2684704" y="600991"/>
                  <a:pt x="2684704" y="1342352"/>
                </a:cubicBezTo>
                <a:cubicBezTo>
                  <a:pt x="2684704" y="2083713"/>
                  <a:pt x="2083713" y="2684704"/>
                  <a:pt x="1342352" y="2684704"/>
                </a:cubicBezTo>
                <a:cubicBezTo>
                  <a:pt x="600991" y="2684704"/>
                  <a:pt x="0" y="2083713"/>
                  <a:pt x="0" y="1342352"/>
                </a:cubicBezTo>
                <a:close/>
              </a:path>
            </a:pathLst>
          </a:custGeom>
          <a:solidFill>
            <a:schemeClr val="accent5"/>
          </a:solidFill>
          <a:ln w="3175" cmpd="sng">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958544" tIns="246426" rIns="958544" bIns="2125720" numCol="1" spcCol="1270" anchor="ctr" anchorCtr="0">
            <a:noAutofit/>
          </a:bodyPr>
          <a:lstStyle/>
          <a:p>
            <a:pPr algn="ctr" defTabSz="533387">
              <a:lnSpc>
                <a:spcPct val="90000"/>
              </a:lnSpc>
              <a:spcBef>
                <a:spcPct val="0"/>
              </a:spcBef>
              <a:spcAft>
                <a:spcPct val="35000"/>
              </a:spcAft>
            </a:pPr>
            <a:r>
              <a:rPr lang="en-US" sz="1200"/>
              <a:t> </a:t>
            </a:r>
          </a:p>
        </p:txBody>
      </p:sp>
      <p:sp>
        <p:nvSpPr>
          <p:cNvPr id="16" name="Oval 12">
            <a:extLst>
              <a:ext uri="{FF2B5EF4-FFF2-40B4-BE49-F238E27FC236}">
                <a16:creationId xmlns:a16="http://schemas.microsoft.com/office/drawing/2014/main" id="{744D8AF9-8460-3145-AB3D-1A6D300CE6E4}"/>
              </a:ext>
            </a:extLst>
          </p:cNvPr>
          <p:cNvSpPr>
            <a:spLocks noChangeArrowheads="1"/>
          </p:cNvSpPr>
          <p:nvPr/>
        </p:nvSpPr>
        <p:spPr bwMode="auto">
          <a:xfrm>
            <a:off x="5551442" y="4208235"/>
            <a:ext cx="924372" cy="924374"/>
          </a:xfrm>
          <a:prstGeom prst="ellipse">
            <a:avLst/>
          </a:pr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cxnSp>
        <p:nvCxnSpPr>
          <p:cNvPr id="17" name="Straight Connector 43">
            <a:extLst>
              <a:ext uri="{FF2B5EF4-FFF2-40B4-BE49-F238E27FC236}">
                <a16:creationId xmlns:a16="http://schemas.microsoft.com/office/drawing/2014/main" id="{7700AADB-69CC-474E-B64A-81754891D3D5}"/>
              </a:ext>
            </a:extLst>
          </p:cNvPr>
          <p:cNvCxnSpPr/>
          <p:nvPr/>
        </p:nvCxnSpPr>
        <p:spPr>
          <a:xfrm flipH="1">
            <a:off x="5197989" y="2847536"/>
            <a:ext cx="426346" cy="315249"/>
          </a:xfrm>
          <a:prstGeom prst="line">
            <a:avLst/>
          </a:prstGeom>
          <a:ln w="12700" cap="sq" cmpd="sng">
            <a:solidFill>
              <a:schemeClr val="tx1"/>
            </a:solidFill>
            <a:round/>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8" name="Freeform 45">
            <a:extLst>
              <a:ext uri="{FF2B5EF4-FFF2-40B4-BE49-F238E27FC236}">
                <a16:creationId xmlns:a16="http://schemas.microsoft.com/office/drawing/2014/main" id="{B9EE0B4D-6867-4E41-923A-0EC32BD431CF}"/>
              </a:ext>
            </a:extLst>
          </p:cNvPr>
          <p:cNvSpPr/>
          <p:nvPr/>
        </p:nvSpPr>
        <p:spPr>
          <a:xfrm>
            <a:off x="3839735" y="2934533"/>
            <a:ext cx="1384953" cy="1384953"/>
          </a:xfrm>
          <a:custGeom>
            <a:avLst/>
            <a:gdLst>
              <a:gd name="connsiteX0" fmla="*/ 0 w 2013528"/>
              <a:gd name="connsiteY0" fmla="*/ 1006764 h 2013528"/>
              <a:gd name="connsiteX1" fmla="*/ 1006764 w 2013528"/>
              <a:gd name="connsiteY1" fmla="*/ 0 h 2013528"/>
              <a:gd name="connsiteX2" fmla="*/ 2013528 w 2013528"/>
              <a:gd name="connsiteY2" fmla="*/ 1006764 h 2013528"/>
              <a:gd name="connsiteX3" fmla="*/ 1006764 w 2013528"/>
              <a:gd name="connsiteY3" fmla="*/ 2013528 h 2013528"/>
              <a:gd name="connsiteX4" fmla="*/ 0 w 2013528"/>
              <a:gd name="connsiteY4" fmla="*/ 1006764 h 2013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3528" h="2013528">
                <a:moveTo>
                  <a:pt x="0" y="1006764"/>
                </a:moveTo>
                <a:cubicBezTo>
                  <a:pt x="0" y="450744"/>
                  <a:pt x="450744" y="0"/>
                  <a:pt x="1006764" y="0"/>
                </a:cubicBezTo>
                <a:cubicBezTo>
                  <a:pt x="1562784" y="0"/>
                  <a:pt x="2013528" y="450744"/>
                  <a:pt x="2013528" y="1006764"/>
                </a:cubicBezTo>
                <a:cubicBezTo>
                  <a:pt x="2013528" y="1562784"/>
                  <a:pt x="1562784" y="2013528"/>
                  <a:pt x="1006764" y="2013528"/>
                </a:cubicBezTo>
                <a:cubicBezTo>
                  <a:pt x="450744" y="2013528"/>
                  <a:pt x="0" y="1562784"/>
                  <a:pt x="0" y="1006764"/>
                </a:cubicBezTo>
                <a:close/>
              </a:path>
            </a:pathLst>
          </a:custGeom>
          <a:solidFill>
            <a:schemeClr val="accent3"/>
          </a:solidFill>
          <a:ln w="3175" cmpd="sng">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622956" tIns="236358" rIns="622956" bIns="1494815" numCol="1" spcCol="1270" anchor="ctr" anchorCtr="0">
            <a:noAutofit/>
          </a:bodyPr>
          <a:lstStyle/>
          <a:p>
            <a:pPr algn="ctr" defTabSz="533387">
              <a:lnSpc>
                <a:spcPct val="90000"/>
              </a:lnSpc>
              <a:spcBef>
                <a:spcPct val="0"/>
              </a:spcBef>
              <a:spcAft>
                <a:spcPct val="35000"/>
              </a:spcAft>
            </a:pPr>
            <a:r>
              <a:rPr lang="en-US" sz="1200"/>
              <a:t> </a:t>
            </a:r>
          </a:p>
        </p:txBody>
      </p:sp>
      <p:cxnSp>
        <p:nvCxnSpPr>
          <p:cNvPr id="19" name="Straight Connector 46">
            <a:extLst>
              <a:ext uri="{FF2B5EF4-FFF2-40B4-BE49-F238E27FC236}">
                <a16:creationId xmlns:a16="http://schemas.microsoft.com/office/drawing/2014/main" id="{7D3FEDE4-4B01-1347-B056-806AE100BD21}"/>
              </a:ext>
            </a:extLst>
          </p:cNvPr>
          <p:cNvCxnSpPr/>
          <p:nvPr/>
        </p:nvCxnSpPr>
        <p:spPr>
          <a:xfrm flipV="1">
            <a:off x="3510167" y="3995380"/>
            <a:ext cx="580704" cy="408212"/>
          </a:xfrm>
          <a:prstGeom prst="line">
            <a:avLst/>
          </a:prstGeom>
          <a:ln w="12700" cap="sq" cmpd="sng">
            <a:solidFill>
              <a:schemeClr val="tx1"/>
            </a:solidFill>
            <a:round/>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20" name="Oval 12">
            <a:extLst>
              <a:ext uri="{FF2B5EF4-FFF2-40B4-BE49-F238E27FC236}">
                <a16:creationId xmlns:a16="http://schemas.microsoft.com/office/drawing/2014/main" id="{4322FA60-18A3-044F-9380-354346D11E84}"/>
              </a:ext>
            </a:extLst>
          </p:cNvPr>
          <p:cNvSpPr>
            <a:spLocks noChangeArrowheads="1"/>
          </p:cNvSpPr>
          <p:nvPr/>
        </p:nvSpPr>
        <p:spPr bwMode="auto">
          <a:xfrm>
            <a:off x="2668187" y="4208235"/>
            <a:ext cx="924373" cy="924374"/>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0">
            <a:extLst>
              <a:ext uri="{FF2B5EF4-FFF2-40B4-BE49-F238E27FC236}">
                <a16:creationId xmlns:a16="http://schemas.microsoft.com/office/drawing/2014/main" id="{EA440B0B-4595-C848-8ABA-F33A8F174079}"/>
              </a:ext>
            </a:extLst>
          </p:cNvPr>
          <p:cNvSpPr/>
          <p:nvPr/>
        </p:nvSpPr>
        <p:spPr>
          <a:xfrm>
            <a:off x="4070561" y="3165359"/>
            <a:ext cx="923302" cy="923302"/>
          </a:xfrm>
          <a:custGeom>
            <a:avLst/>
            <a:gdLst>
              <a:gd name="connsiteX0" fmla="*/ 0 w 1342352"/>
              <a:gd name="connsiteY0" fmla="*/ 671176 h 1342352"/>
              <a:gd name="connsiteX1" fmla="*/ 671176 w 1342352"/>
              <a:gd name="connsiteY1" fmla="*/ 0 h 1342352"/>
              <a:gd name="connsiteX2" fmla="*/ 1342352 w 1342352"/>
              <a:gd name="connsiteY2" fmla="*/ 671176 h 1342352"/>
              <a:gd name="connsiteX3" fmla="*/ 671176 w 1342352"/>
              <a:gd name="connsiteY3" fmla="*/ 1342352 h 1342352"/>
              <a:gd name="connsiteX4" fmla="*/ 0 w 1342352"/>
              <a:gd name="connsiteY4" fmla="*/ 671176 h 1342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52" h="1342352">
                <a:moveTo>
                  <a:pt x="0" y="671176"/>
                </a:moveTo>
                <a:cubicBezTo>
                  <a:pt x="0" y="300496"/>
                  <a:pt x="300496" y="0"/>
                  <a:pt x="671176" y="0"/>
                </a:cubicBezTo>
                <a:cubicBezTo>
                  <a:pt x="1041856" y="0"/>
                  <a:pt x="1342352" y="300496"/>
                  <a:pt x="1342352" y="671176"/>
                </a:cubicBezTo>
                <a:cubicBezTo>
                  <a:pt x="1342352" y="1041856"/>
                  <a:pt x="1041856" y="1342352"/>
                  <a:pt x="671176" y="1342352"/>
                </a:cubicBezTo>
                <a:cubicBezTo>
                  <a:pt x="300496" y="1342352"/>
                  <a:pt x="0" y="1041856"/>
                  <a:pt x="0" y="671176"/>
                </a:cubicBezTo>
                <a:close/>
              </a:path>
            </a:pathLst>
          </a:custGeom>
          <a:solidFill>
            <a:schemeClr val="accent1"/>
          </a:solidFill>
          <a:ln w="3175" cmpd="sng">
            <a:solidFill>
              <a:schemeClr val="bg1"/>
            </a:solidFill>
          </a:ln>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81927" tIns="420932" rIns="281927" bIns="420932" numCol="1" spcCol="1270" anchor="ctr" anchorCtr="0">
            <a:noAutofit/>
          </a:bodyPr>
          <a:lstStyle/>
          <a:p>
            <a:pPr algn="ctr" defTabSz="533387">
              <a:lnSpc>
                <a:spcPct val="90000"/>
              </a:lnSpc>
              <a:spcBef>
                <a:spcPct val="0"/>
              </a:spcBef>
              <a:spcAft>
                <a:spcPct val="35000"/>
              </a:spcAft>
            </a:pPr>
            <a:r>
              <a:rPr lang="en-US" sz="1200"/>
              <a:t> </a:t>
            </a:r>
          </a:p>
        </p:txBody>
      </p:sp>
      <p:cxnSp>
        <p:nvCxnSpPr>
          <p:cNvPr id="22" name="Straight Connector 51">
            <a:extLst>
              <a:ext uri="{FF2B5EF4-FFF2-40B4-BE49-F238E27FC236}">
                <a16:creationId xmlns:a16="http://schemas.microsoft.com/office/drawing/2014/main" id="{BC37C3FA-B6A4-4547-948C-5754B0F4CEA1}"/>
              </a:ext>
            </a:extLst>
          </p:cNvPr>
          <p:cNvCxnSpPr/>
          <p:nvPr/>
        </p:nvCxnSpPr>
        <p:spPr>
          <a:xfrm>
            <a:off x="3497897" y="2880610"/>
            <a:ext cx="1028511" cy="742796"/>
          </a:xfrm>
          <a:prstGeom prst="line">
            <a:avLst/>
          </a:prstGeom>
          <a:ln w="12700" cap="sq" cmpd="sng">
            <a:solidFill>
              <a:schemeClr val="tx1"/>
            </a:solidFill>
            <a:round/>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23" name="Oval 12">
            <a:extLst>
              <a:ext uri="{FF2B5EF4-FFF2-40B4-BE49-F238E27FC236}">
                <a16:creationId xmlns:a16="http://schemas.microsoft.com/office/drawing/2014/main" id="{7BFF9C5E-B6F0-A34C-A083-A26145B0706F}"/>
              </a:ext>
            </a:extLst>
          </p:cNvPr>
          <p:cNvSpPr>
            <a:spLocks noChangeArrowheads="1"/>
          </p:cNvSpPr>
          <p:nvPr/>
        </p:nvSpPr>
        <p:spPr bwMode="auto">
          <a:xfrm>
            <a:off x="2668187" y="2134989"/>
            <a:ext cx="924373" cy="924374"/>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Oval 12">
            <a:extLst>
              <a:ext uri="{FF2B5EF4-FFF2-40B4-BE49-F238E27FC236}">
                <a16:creationId xmlns:a16="http://schemas.microsoft.com/office/drawing/2014/main" id="{D5654657-45C0-6D4C-B51C-13887012BE1B}"/>
              </a:ext>
            </a:extLst>
          </p:cNvPr>
          <p:cNvSpPr>
            <a:spLocks noChangeArrowheads="1"/>
          </p:cNvSpPr>
          <p:nvPr/>
        </p:nvSpPr>
        <p:spPr bwMode="auto">
          <a:xfrm>
            <a:off x="5551442" y="2134989"/>
            <a:ext cx="924372" cy="924374"/>
          </a:xfrm>
          <a:prstGeom prst="ellipse">
            <a:avLst/>
          </a:pr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5" name="Picture 54">
            <a:extLst>
              <a:ext uri="{FF2B5EF4-FFF2-40B4-BE49-F238E27FC236}">
                <a16:creationId xmlns:a16="http://schemas.microsoft.com/office/drawing/2014/main" id="{D0AFCEB4-825F-DE4C-ABA8-B6F2CC118B0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14510" y="4491622"/>
            <a:ext cx="615988" cy="355745"/>
          </a:xfrm>
          <a:prstGeom prst="rect">
            <a:avLst/>
          </a:prstGeom>
        </p:spPr>
      </p:pic>
      <p:pic>
        <p:nvPicPr>
          <p:cNvPr id="26" name="Picture 55">
            <a:extLst>
              <a:ext uri="{FF2B5EF4-FFF2-40B4-BE49-F238E27FC236}">
                <a16:creationId xmlns:a16="http://schemas.microsoft.com/office/drawing/2014/main" id="{A1EB762C-44D7-4E47-9824-829CB511B0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0882" y="2291364"/>
            <a:ext cx="365494" cy="546824"/>
          </a:xfrm>
          <a:prstGeom prst="rect">
            <a:avLst/>
          </a:prstGeom>
        </p:spPr>
      </p:pic>
      <p:pic>
        <p:nvPicPr>
          <p:cNvPr id="27" name="Picture 56">
            <a:extLst>
              <a:ext uri="{FF2B5EF4-FFF2-40B4-BE49-F238E27FC236}">
                <a16:creationId xmlns:a16="http://schemas.microsoft.com/office/drawing/2014/main" id="{0F91247E-6BD7-C84E-BB5F-EAA83E3D02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00315" y="4516040"/>
            <a:ext cx="613591" cy="330397"/>
          </a:xfrm>
          <a:prstGeom prst="rect">
            <a:avLst/>
          </a:prstGeom>
        </p:spPr>
      </p:pic>
      <p:pic>
        <p:nvPicPr>
          <p:cNvPr id="28" name="Picture 57">
            <a:extLst>
              <a:ext uri="{FF2B5EF4-FFF2-40B4-BE49-F238E27FC236}">
                <a16:creationId xmlns:a16="http://schemas.microsoft.com/office/drawing/2014/main" id="{36B82D76-B925-3E4A-9887-27A1DFDF33A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71100" y="2353629"/>
            <a:ext cx="493009" cy="472272"/>
          </a:xfrm>
          <a:prstGeom prst="rect">
            <a:avLst/>
          </a:prstGeom>
        </p:spPr>
      </p:pic>
    </p:spTree>
    <p:extLst>
      <p:ext uri="{BB962C8B-B14F-4D97-AF65-F5344CB8AC3E}">
        <p14:creationId xmlns:p14="http://schemas.microsoft.com/office/powerpoint/2010/main" val="1036193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300"/>
                                        <p:tgtEl>
                                          <p:spTgt spid="21"/>
                                        </p:tgtEl>
                                      </p:cBhvr>
                                    </p:animEffect>
                                  </p:childTnLst>
                                </p:cTn>
                              </p:par>
                              <p:par>
                                <p:cTn id="8" presetID="22" presetClass="entr" presetSubtype="2" fill="hold" nodeType="withEffect">
                                  <p:stCondLst>
                                    <p:cond delay="200"/>
                                  </p:stCondLst>
                                  <p:childTnLst>
                                    <p:set>
                                      <p:cBhvr>
                                        <p:cTn id="9" dur="1" fill="hold">
                                          <p:stCondLst>
                                            <p:cond delay="0"/>
                                          </p:stCondLst>
                                        </p:cTn>
                                        <p:tgtEl>
                                          <p:spTgt spid="22"/>
                                        </p:tgtEl>
                                        <p:attrNameLst>
                                          <p:attrName>style.visibility</p:attrName>
                                        </p:attrNameLst>
                                      </p:cBhvr>
                                      <p:to>
                                        <p:strVal val="visible"/>
                                      </p:to>
                                    </p:set>
                                    <p:animEffect transition="in" filter="wipe(right)">
                                      <p:cBhvr>
                                        <p:cTn id="10" dur="300"/>
                                        <p:tgtEl>
                                          <p:spTgt spid="22"/>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
                                        <p:tgtEl>
                                          <p:spTgt spid="10"/>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300"/>
                                        <p:tgtEl>
                                          <p:spTgt spid="23"/>
                                        </p:tgtEl>
                                      </p:cBhvr>
                                    </p:animEffect>
                                  </p:childTnLst>
                                </p:cTn>
                              </p:par>
                              <p:par>
                                <p:cTn id="17" presetID="10" presetClass="entr" presetSubtype="0" fill="hold" nodeType="withEffect">
                                  <p:stCondLst>
                                    <p:cond delay="50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300"/>
                                        <p:tgtEl>
                                          <p:spTgt spid="2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300"/>
                                        <p:tgtEl>
                                          <p:spTgt spid="18"/>
                                        </p:tgtEl>
                                      </p:cBhvr>
                                    </p:animEffect>
                                  </p:childTnLst>
                                </p:cTn>
                              </p:par>
                              <p:par>
                                <p:cTn id="23" presetID="22" presetClass="entr" presetSubtype="2" fill="hold" nodeType="withEffect">
                                  <p:stCondLst>
                                    <p:cond delay="700"/>
                                  </p:stCondLst>
                                  <p:childTnLst>
                                    <p:set>
                                      <p:cBhvr>
                                        <p:cTn id="24" dur="1" fill="hold">
                                          <p:stCondLst>
                                            <p:cond delay="0"/>
                                          </p:stCondLst>
                                        </p:cTn>
                                        <p:tgtEl>
                                          <p:spTgt spid="19"/>
                                        </p:tgtEl>
                                        <p:attrNameLst>
                                          <p:attrName>style.visibility</p:attrName>
                                        </p:attrNameLst>
                                      </p:cBhvr>
                                      <p:to>
                                        <p:strVal val="visible"/>
                                      </p:to>
                                    </p:set>
                                    <p:animEffect transition="in" filter="wipe(right)">
                                      <p:cBhvr>
                                        <p:cTn id="25" dur="300"/>
                                        <p:tgtEl>
                                          <p:spTgt spid="19"/>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300"/>
                                        <p:tgtEl>
                                          <p:spTgt spid="11"/>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300"/>
                                        <p:tgtEl>
                                          <p:spTgt spid="20"/>
                                        </p:tgtEl>
                                      </p:cBhvr>
                                    </p:animEffect>
                                  </p:childTnLst>
                                </p:cTn>
                              </p:par>
                              <p:par>
                                <p:cTn id="32" presetID="10" presetClass="entr" presetSubtype="0" fill="hold" nodeType="withEffect">
                                  <p:stCondLst>
                                    <p:cond delay="9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300"/>
                                        <p:tgtEl>
                                          <p:spTgt spid="2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300"/>
                                        <p:tgtEl>
                                          <p:spTgt spid="15"/>
                                        </p:tgtEl>
                                      </p:cBhvr>
                                    </p:animEffect>
                                  </p:childTnLst>
                                </p:cTn>
                              </p:par>
                              <p:par>
                                <p:cTn id="38" presetID="22" presetClass="entr" presetSubtype="8" fill="hold" nodeType="withEffect">
                                  <p:stCondLst>
                                    <p:cond delay="120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300"/>
                                        <p:tgtEl>
                                          <p:spTgt spid="17"/>
                                        </p:tgtEl>
                                      </p:cBhvr>
                                    </p:animEffect>
                                  </p:childTnLst>
                                </p:cTn>
                              </p:par>
                              <p:par>
                                <p:cTn id="41" presetID="10" presetClass="entr" presetSubtype="0" fill="hold" grpId="0" nodeType="withEffect">
                                  <p:stCondLst>
                                    <p:cond delay="12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300"/>
                                        <p:tgtEl>
                                          <p:spTgt spid="12"/>
                                        </p:tgtEl>
                                      </p:cBhvr>
                                    </p:animEffect>
                                  </p:childTnLst>
                                </p:cTn>
                              </p:par>
                              <p:par>
                                <p:cTn id="44" presetID="10" presetClass="entr" presetSubtype="0" fill="hold" grpId="0" nodeType="withEffect">
                                  <p:stCondLst>
                                    <p:cond delay="1400"/>
                                  </p:stCondLst>
                                  <p:childTnLst>
                                    <p:set>
                                      <p:cBhvr>
                                        <p:cTn id="45" dur="1" fill="hold">
                                          <p:stCondLst>
                                            <p:cond delay="0"/>
                                          </p:stCondLst>
                                        </p:cTn>
                                        <p:tgtEl>
                                          <p:spTgt spid="24"/>
                                        </p:tgtEl>
                                        <p:attrNameLst>
                                          <p:attrName>style.visibility</p:attrName>
                                        </p:attrNameLst>
                                      </p:cBhvr>
                                      <p:to>
                                        <p:strVal val="visible"/>
                                      </p:to>
                                    </p:set>
                                    <p:animEffect transition="in" filter="fade">
                                      <p:cBhvr>
                                        <p:cTn id="46" dur="300"/>
                                        <p:tgtEl>
                                          <p:spTgt spid="24"/>
                                        </p:tgtEl>
                                      </p:cBhvr>
                                    </p:animEffect>
                                  </p:childTnLst>
                                </p:cTn>
                              </p:par>
                              <p:par>
                                <p:cTn id="47" presetID="10" presetClass="entr" presetSubtype="0" fill="hold" nodeType="withEffect">
                                  <p:stCondLst>
                                    <p:cond delay="140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300"/>
                                        <p:tgtEl>
                                          <p:spTgt spid="26"/>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300"/>
                                        <p:tgtEl>
                                          <p:spTgt spid="9"/>
                                        </p:tgtEl>
                                      </p:cBhvr>
                                    </p:animEffect>
                                  </p:childTnLst>
                                </p:cTn>
                              </p:par>
                              <p:par>
                                <p:cTn id="53" presetID="22" presetClass="entr" presetSubtype="8" fill="hold" nodeType="withEffect">
                                  <p:stCondLst>
                                    <p:cond delay="1700"/>
                                  </p:stCondLst>
                                  <p:childTnLst>
                                    <p:set>
                                      <p:cBhvr>
                                        <p:cTn id="54" dur="1" fill="hold">
                                          <p:stCondLst>
                                            <p:cond delay="0"/>
                                          </p:stCondLst>
                                        </p:cTn>
                                        <p:tgtEl>
                                          <p:spTgt spid="14"/>
                                        </p:tgtEl>
                                        <p:attrNameLst>
                                          <p:attrName>style.visibility</p:attrName>
                                        </p:attrNameLst>
                                      </p:cBhvr>
                                      <p:to>
                                        <p:strVal val="visible"/>
                                      </p:to>
                                    </p:set>
                                    <p:animEffect transition="in" filter="wipe(left)">
                                      <p:cBhvr>
                                        <p:cTn id="55" dur="300"/>
                                        <p:tgtEl>
                                          <p:spTgt spid="14"/>
                                        </p:tgtEl>
                                      </p:cBhvr>
                                    </p:animEffect>
                                  </p:childTnLst>
                                </p:cTn>
                              </p:par>
                              <p:par>
                                <p:cTn id="56" presetID="10" presetClass="entr" presetSubtype="0" fill="hold" grpId="0" nodeType="withEffect">
                                  <p:stCondLst>
                                    <p:cond delay="1700"/>
                                  </p:stCondLst>
                                  <p:childTnLst>
                                    <p:set>
                                      <p:cBhvr>
                                        <p:cTn id="57" dur="1" fill="hold">
                                          <p:stCondLst>
                                            <p:cond delay="0"/>
                                          </p:stCondLst>
                                        </p:cTn>
                                        <p:tgtEl>
                                          <p:spTgt spid="13"/>
                                        </p:tgtEl>
                                        <p:attrNameLst>
                                          <p:attrName>style.visibility</p:attrName>
                                        </p:attrNameLst>
                                      </p:cBhvr>
                                      <p:to>
                                        <p:strVal val="visible"/>
                                      </p:to>
                                    </p:set>
                                    <p:animEffect transition="in" filter="fade">
                                      <p:cBhvr>
                                        <p:cTn id="58" dur="300"/>
                                        <p:tgtEl>
                                          <p:spTgt spid="13"/>
                                        </p:tgtEl>
                                      </p:cBhvr>
                                    </p:animEffect>
                                  </p:childTnLst>
                                </p:cTn>
                              </p:par>
                              <p:par>
                                <p:cTn id="59" presetID="10" presetClass="entr" presetSubtype="0" fill="hold" grpId="0" nodeType="withEffect">
                                  <p:stCondLst>
                                    <p:cond delay="190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300"/>
                                        <p:tgtEl>
                                          <p:spTgt spid="16"/>
                                        </p:tgtEl>
                                      </p:cBhvr>
                                    </p:animEffect>
                                  </p:childTnLst>
                                </p:cTn>
                              </p:par>
                              <p:par>
                                <p:cTn id="62" presetID="10" presetClass="entr" presetSubtype="0" fill="hold" nodeType="withEffect">
                                  <p:stCondLst>
                                    <p:cond delay="190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3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P spid="12" grpId="0"/>
      <p:bldP spid="13" grpId="0"/>
      <p:bldP spid="15" grpId="0" animBg="1"/>
      <p:bldP spid="16" grpId="0" animBg="1"/>
      <p:bldP spid="18" grpId="0" animBg="1"/>
      <p:bldP spid="20" grpId="0" animBg="1"/>
      <p:bldP spid="21" grpId="0" animBg="1"/>
      <p:bldP spid="23" grpId="0" animBg="1"/>
      <p:bldP spid="24" grpId="0" animBg="1"/>
    </p:bld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E2C0E49-31CD-3246-89FC-7B921BFD105C}"/>
              </a:ext>
            </a:extLst>
          </p:cNvPr>
          <p:cNvSpPr>
            <a:spLocks noGrp="1"/>
          </p:cNvSpPr>
          <p:nvPr>
            <p:ph type="sldNum" sz="quarter" idx="4"/>
          </p:nvPr>
        </p:nvSpPr>
        <p:spPr/>
        <p:txBody>
          <a:bodyPr/>
          <a:lstStyle/>
          <a:p>
            <a:fld id="{3D966009-6E5A-4F8C-8CA7-E37AFBF5FB92}" type="slidenum">
              <a:rPr lang="en-US" smtClean="0"/>
              <a:t>179</a:t>
            </a:fld>
            <a:endParaRPr lang="en-US"/>
          </a:p>
        </p:txBody>
      </p:sp>
      <p:sp>
        <p:nvSpPr>
          <p:cNvPr id="3" name="Titel 2">
            <a:extLst>
              <a:ext uri="{FF2B5EF4-FFF2-40B4-BE49-F238E27FC236}">
                <a16:creationId xmlns:a16="http://schemas.microsoft.com/office/drawing/2014/main" id="{D9865884-063F-6E41-AAE0-912A84827E56}"/>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0C694611-E245-874C-B794-44C304232766}"/>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959B2559-2152-314A-842E-12B9BEDFF9F6}"/>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C6565CF3-A1BF-4145-B9F5-BD152A8A861D}"/>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63717B37-5C00-A944-85C3-0CD7BF7ADA50}"/>
              </a:ext>
            </a:extLst>
          </p:cNvPr>
          <p:cNvSpPr>
            <a:spLocks noGrp="1"/>
          </p:cNvSpPr>
          <p:nvPr>
            <p:ph sz="quarter" idx="14"/>
          </p:nvPr>
        </p:nvSpPr>
        <p:spPr/>
        <p:txBody>
          <a:bodyPr/>
          <a:lstStyle/>
          <a:p>
            <a:endParaRPr lang="en-GB"/>
          </a:p>
        </p:txBody>
      </p:sp>
      <p:graphicFrame>
        <p:nvGraphicFramePr>
          <p:cNvPr id="9" name="Diagram 30">
            <a:extLst>
              <a:ext uri="{FF2B5EF4-FFF2-40B4-BE49-F238E27FC236}">
                <a16:creationId xmlns:a16="http://schemas.microsoft.com/office/drawing/2014/main" id="{DBC6D7DC-79C3-E449-9592-033862F54DF1}"/>
              </a:ext>
            </a:extLst>
          </p:cNvPr>
          <p:cNvGraphicFramePr/>
          <p:nvPr/>
        </p:nvGraphicFramePr>
        <p:xfrm>
          <a:off x="815111" y="1981201"/>
          <a:ext cx="3888509" cy="33558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32">
            <a:extLst>
              <a:ext uri="{FF2B5EF4-FFF2-40B4-BE49-F238E27FC236}">
                <a16:creationId xmlns:a16="http://schemas.microsoft.com/office/drawing/2014/main" id="{7E3AC4CB-62A6-3F46-8998-87C01C7038B6}"/>
              </a:ext>
            </a:extLst>
          </p:cNvPr>
          <p:cNvSpPr/>
          <p:nvPr/>
        </p:nvSpPr>
        <p:spPr>
          <a:xfrm>
            <a:off x="5450226" y="4491888"/>
            <a:ext cx="3048000" cy="469296"/>
          </a:xfrm>
          <a:prstGeom prst="rect">
            <a:avLst/>
          </a:prstGeom>
        </p:spPr>
        <p:txBody>
          <a:bodyPr wrap="square" lIns="182880" rIns="182880" bIns="73152">
            <a:spAutoFit/>
          </a:bodyPr>
          <a:lstStyle/>
          <a:p>
            <a:pPr>
              <a:lnSpc>
                <a:spcPct val="89000"/>
              </a:lnSpc>
            </a:pPr>
            <a:r>
              <a:rPr lang="en-US" sz="1500" err="1"/>
              <a:t>Xxxxxxxxxxxxx</a:t>
            </a:r>
            <a:r>
              <a:rPr lang="en-US" sz="1500"/>
              <a:t> </a:t>
            </a:r>
          </a:p>
          <a:p>
            <a:pPr>
              <a:lnSpc>
                <a:spcPct val="89000"/>
              </a:lnSpc>
            </a:pPr>
            <a:r>
              <a:rPr lang="en-US" sz="1050" err="1"/>
              <a:t>Xxxxx</a:t>
            </a:r>
            <a:r>
              <a:rPr lang="en-US" sz="1050"/>
              <a:t> </a:t>
            </a:r>
            <a:r>
              <a:rPr lang="en-US" sz="1050" err="1"/>
              <a:t>xxxxx</a:t>
            </a:r>
            <a:r>
              <a:rPr lang="en-US" sz="1050"/>
              <a:t> </a:t>
            </a:r>
            <a:r>
              <a:rPr lang="en-US" sz="1050" err="1"/>
              <a:t>xxxx</a:t>
            </a:r>
            <a:r>
              <a:rPr lang="en-US" sz="1050"/>
              <a:t> xxx </a:t>
            </a:r>
            <a:r>
              <a:rPr lang="en-US" sz="1050" err="1"/>
              <a:t>xxx</a:t>
            </a:r>
            <a:r>
              <a:rPr lang="en-US" sz="1050"/>
              <a:t> xx </a:t>
            </a:r>
            <a:r>
              <a:rPr lang="en-US" sz="1050" err="1"/>
              <a:t>xxxxxxxx</a:t>
            </a:r>
            <a:endParaRPr lang="en-US" sz="1050"/>
          </a:p>
        </p:txBody>
      </p:sp>
      <p:sp>
        <p:nvSpPr>
          <p:cNvPr id="11" name="Rectangle 34">
            <a:extLst>
              <a:ext uri="{FF2B5EF4-FFF2-40B4-BE49-F238E27FC236}">
                <a16:creationId xmlns:a16="http://schemas.microsoft.com/office/drawing/2014/main" id="{7FCD7B97-EA3E-7D47-9687-8C02283C1983}"/>
              </a:ext>
            </a:extLst>
          </p:cNvPr>
          <p:cNvSpPr/>
          <p:nvPr/>
        </p:nvSpPr>
        <p:spPr>
          <a:xfrm>
            <a:off x="5450226" y="3716032"/>
            <a:ext cx="3048000" cy="469296"/>
          </a:xfrm>
          <a:prstGeom prst="rect">
            <a:avLst/>
          </a:prstGeom>
        </p:spPr>
        <p:txBody>
          <a:bodyPr wrap="square" lIns="182880" rIns="182880" bIns="73152">
            <a:spAutoFit/>
          </a:bodyPr>
          <a:lstStyle/>
          <a:p>
            <a:pPr>
              <a:lnSpc>
                <a:spcPct val="89000"/>
              </a:lnSpc>
            </a:pPr>
            <a:r>
              <a:rPr lang="en-US" sz="1500" err="1"/>
              <a:t>Xxxxxxxxxxxxx</a:t>
            </a:r>
            <a:r>
              <a:rPr lang="en-US" sz="1500"/>
              <a:t> </a:t>
            </a:r>
          </a:p>
          <a:p>
            <a:pPr>
              <a:lnSpc>
                <a:spcPct val="89000"/>
              </a:lnSpc>
            </a:pPr>
            <a:r>
              <a:rPr lang="en-US" sz="1050" err="1"/>
              <a:t>Xxxxx</a:t>
            </a:r>
            <a:r>
              <a:rPr lang="en-US" sz="1050"/>
              <a:t> </a:t>
            </a:r>
            <a:r>
              <a:rPr lang="en-US" sz="1050" err="1"/>
              <a:t>xxxxx</a:t>
            </a:r>
            <a:r>
              <a:rPr lang="en-US" sz="1050"/>
              <a:t> </a:t>
            </a:r>
            <a:r>
              <a:rPr lang="en-US" sz="1050" err="1"/>
              <a:t>xxxx</a:t>
            </a:r>
            <a:r>
              <a:rPr lang="en-US" sz="1050"/>
              <a:t> xxx </a:t>
            </a:r>
            <a:r>
              <a:rPr lang="en-US" sz="1050" err="1"/>
              <a:t>xxx</a:t>
            </a:r>
            <a:r>
              <a:rPr lang="en-US" sz="1050"/>
              <a:t> xx </a:t>
            </a:r>
            <a:r>
              <a:rPr lang="en-US" sz="1050" err="1"/>
              <a:t>xxxxxxxx</a:t>
            </a:r>
            <a:endParaRPr lang="en-US" sz="1050"/>
          </a:p>
        </p:txBody>
      </p:sp>
      <p:sp>
        <p:nvSpPr>
          <p:cNvPr id="12" name="Rectangle 35">
            <a:extLst>
              <a:ext uri="{FF2B5EF4-FFF2-40B4-BE49-F238E27FC236}">
                <a16:creationId xmlns:a16="http://schemas.microsoft.com/office/drawing/2014/main" id="{E3B9355C-8354-B745-9A3A-DBF4B78961D0}"/>
              </a:ext>
            </a:extLst>
          </p:cNvPr>
          <p:cNvSpPr/>
          <p:nvPr/>
        </p:nvSpPr>
        <p:spPr>
          <a:xfrm>
            <a:off x="5450226" y="2940178"/>
            <a:ext cx="3048000" cy="469296"/>
          </a:xfrm>
          <a:prstGeom prst="rect">
            <a:avLst/>
          </a:prstGeom>
        </p:spPr>
        <p:txBody>
          <a:bodyPr wrap="square" lIns="182880" rIns="182880" bIns="73152">
            <a:spAutoFit/>
          </a:bodyPr>
          <a:lstStyle/>
          <a:p>
            <a:pPr>
              <a:lnSpc>
                <a:spcPct val="89000"/>
              </a:lnSpc>
            </a:pPr>
            <a:r>
              <a:rPr lang="en-US" sz="1500" err="1"/>
              <a:t>Xxxxxxxxxxxxx</a:t>
            </a:r>
            <a:r>
              <a:rPr lang="en-US" sz="1500"/>
              <a:t> </a:t>
            </a:r>
          </a:p>
          <a:p>
            <a:pPr>
              <a:lnSpc>
                <a:spcPct val="89000"/>
              </a:lnSpc>
            </a:pPr>
            <a:r>
              <a:rPr lang="en-US" sz="1050" err="1"/>
              <a:t>Xxxxx</a:t>
            </a:r>
            <a:r>
              <a:rPr lang="en-US" sz="1050"/>
              <a:t> </a:t>
            </a:r>
            <a:r>
              <a:rPr lang="en-US" sz="1050" err="1"/>
              <a:t>xxxxx</a:t>
            </a:r>
            <a:r>
              <a:rPr lang="en-US" sz="1050"/>
              <a:t> </a:t>
            </a:r>
            <a:r>
              <a:rPr lang="en-US" sz="1050" err="1"/>
              <a:t>xxxx</a:t>
            </a:r>
            <a:r>
              <a:rPr lang="en-US" sz="1050"/>
              <a:t> xxx </a:t>
            </a:r>
            <a:r>
              <a:rPr lang="en-US" sz="1050" err="1"/>
              <a:t>xxx</a:t>
            </a:r>
            <a:r>
              <a:rPr lang="en-US" sz="1050"/>
              <a:t> xx </a:t>
            </a:r>
            <a:r>
              <a:rPr lang="en-US" sz="1050" err="1"/>
              <a:t>xxxxxxxx</a:t>
            </a:r>
            <a:endParaRPr lang="en-US" sz="1050"/>
          </a:p>
        </p:txBody>
      </p:sp>
      <p:sp>
        <p:nvSpPr>
          <p:cNvPr id="13" name="Rectangle 39">
            <a:extLst>
              <a:ext uri="{FF2B5EF4-FFF2-40B4-BE49-F238E27FC236}">
                <a16:creationId xmlns:a16="http://schemas.microsoft.com/office/drawing/2014/main" id="{21FC1B80-AFFE-2E42-BD6B-AC716F0F9B00}"/>
              </a:ext>
            </a:extLst>
          </p:cNvPr>
          <p:cNvSpPr/>
          <p:nvPr/>
        </p:nvSpPr>
        <p:spPr>
          <a:xfrm>
            <a:off x="5450226" y="2164323"/>
            <a:ext cx="3048000" cy="469296"/>
          </a:xfrm>
          <a:prstGeom prst="rect">
            <a:avLst/>
          </a:prstGeom>
        </p:spPr>
        <p:txBody>
          <a:bodyPr wrap="square" lIns="182880" rIns="182880" bIns="73152">
            <a:spAutoFit/>
          </a:bodyPr>
          <a:lstStyle/>
          <a:p>
            <a:pPr>
              <a:lnSpc>
                <a:spcPct val="89000"/>
              </a:lnSpc>
            </a:pPr>
            <a:r>
              <a:rPr lang="en-US" sz="1500" err="1"/>
              <a:t>Xxxxxxxxxxxxx</a:t>
            </a:r>
            <a:r>
              <a:rPr lang="en-US" sz="1500"/>
              <a:t> </a:t>
            </a:r>
          </a:p>
          <a:p>
            <a:pPr>
              <a:lnSpc>
                <a:spcPct val="89000"/>
              </a:lnSpc>
            </a:pPr>
            <a:r>
              <a:rPr lang="en-US" sz="1050" err="1"/>
              <a:t>Xxxxx</a:t>
            </a:r>
            <a:r>
              <a:rPr lang="en-US" sz="1050"/>
              <a:t> </a:t>
            </a:r>
            <a:r>
              <a:rPr lang="en-US" sz="1050" err="1"/>
              <a:t>xxxxx</a:t>
            </a:r>
            <a:r>
              <a:rPr lang="en-US" sz="1050"/>
              <a:t> </a:t>
            </a:r>
            <a:r>
              <a:rPr lang="en-US" sz="1050" err="1"/>
              <a:t>xxxx</a:t>
            </a:r>
            <a:r>
              <a:rPr lang="en-US" sz="1050"/>
              <a:t> xxx </a:t>
            </a:r>
            <a:r>
              <a:rPr lang="en-US" sz="1050" err="1"/>
              <a:t>xxx</a:t>
            </a:r>
            <a:r>
              <a:rPr lang="en-US" sz="1050"/>
              <a:t> xx </a:t>
            </a:r>
            <a:r>
              <a:rPr lang="en-US" sz="1050" err="1"/>
              <a:t>xxxxxxxx</a:t>
            </a:r>
            <a:endParaRPr lang="en-US" sz="1050"/>
          </a:p>
        </p:txBody>
      </p:sp>
      <p:cxnSp>
        <p:nvCxnSpPr>
          <p:cNvPr id="14" name="Straight Connector 40">
            <a:extLst>
              <a:ext uri="{FF2B5EF4-FFF2-40B4-BE49-F238E27FC236}">
                <a16:creationId xmlns:a16="http://schemas.microsoft.com/office/drawing/2014/main" id="{DA7BA51E-2553-C444-B6A9-1F1CF0242CF6}"/>
              </a:ext>
            </a:extLst>
          </p:cNvPr>
          <p:cNvCxnSpPr/>
          <p:nvPr/>
        </p:nvCxnSpPr>
        <p:spPr>
          <a:xfrm>
            <a:off x="3821660" y="2361110"/>
            <a:ext cx="1101320" cy="0"/>
          </a:xfrm>
          <a:prstGeom prst="line">
            <a:avLst/>
          </a:prstGeom>
          <a:ln w="3175" cmpd="sng">
            <a:solidFill>
              <a:schemeClr val="bg2"/>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5" name="Straight Connector 41">
            <a:extLst>
              <a:ext uri="{FF2B5EF4-FFF2-40B4-BE49-F238E27FC236}">
                <a16:creationId xmlns:a16="http://schemas.microsoft.com/office/drawing/2014/main" id="{BD6ED9FE-3CEC-6440-AFC2-812120CA9597}"/>
              </a:ext>
            </a:extLst>
          </p:cNvPr>
          <p:cNvCxnSpPr/>
          <p:nvPr/>
        </p:nvCxnSpPr>
        <p:spPr>
          <a:xfrm flipV="1">
            <a:off x="3796915" y="3140300"/>
            <a:ext cx="1135301" cy="0"/>
          </a:xfrm>
          <a:prstGeom prst="line">
            <a:avLst/>
          </a:prstGeom>
          <a:ln w="3175" cmpd="sng">
            <a:solidFill>
              <a:schemeClr val="accent5"/>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6" name="Straight Connector 42">
            <a:extLst>
              <a:ext uri="{FF2B5EF4-FFF2-40B4-BE49-F238E27FC236}">
                <a16:creationId xmlns:a16="http://schemas.microsoft.com/office/drawing/2014/main" id="{67B452F7-356B-AF40-B2B4-1556D27800BA}"/>
              </a:ext>
            </a:extLst>
          </p:cNvPr>
          <p:cNvCxnSpPr/>
          <p:nvPr/>
        </p:nvCxnSpPr>
        <p:spPr>
          <a:xfrm flipV="1">
            <a:off x="3686311" y="3919490"/>
            <a:ext cx="1239749" cy="0"/>
          </a:xfrm>
          <a:prstGeom prst="line">
            <a:avLst/>
          </a:prstGeom>
          <a:ln w="3175" cmpd="sng">
            <a:solidFill>
              <a:schemeClr val="accent3"/>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17" name="Straight Connector 43">
            <a:extLst>
              <a:ext uri="{FF2B5EF4-FFF2-40B4-BE49-F238E27FC236}">
                <a16:creationId xmlns:a16="http://schemas.microsoft.com/office/drawing/2014/main" id="{520ABF8B-B8EB-9340-9ABE-C6CD74A9EF0D}"/>
              </a:ext>
            </a:extLst>
          </p:cNvPr>
          <p:cNvCxnSpPr/>
          <p:nvPr/>
        </p:nvCxnSpPr>
        <p:spPr>
          <a:xfrm flipV="1">
            <a:off x="3364345" y="4698680"/>
            <a:ext cx="1564793" cy="0"/>
          </a:xfrm>
          <a:prstGeom prst="line">
            <a:avLst/>
          </a:prstGeom>
          <a:ln w="3175" cmpd="sng">
            <a:solidFill>
              <a:schemeClr val="accent1"/>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18" name="Oval 12">
            <a:extLst>
              <a:ext uri="{FF2B5EF4-FFF2-40B4-BE49-F238E27FC236}">
                <a16:creationId xmlns:a16="http://schemas.microsoft.com/office/drawing/2014/main" id="{86E035CC-BFF2-CC4F-B136-47E41F91F82A}"/>
              </a:ext>
            </a:extLst>
          </p:cNvPr>
          <p:cNvSpPr>
            <a:spLocks noChangeArrowheads="1"/>
          </p:cNvSpPr>
          <p:nvPr/>
        </p:nvSpPr>
        <p:spPr bwMode="auto">
          <a:xfrm>
            <a:off x="4926060" y="3664721"/>
            <a:ext cx="509540" cy="509538"/>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Oval 12">
            <a:extLst>
              <a:ext uri="{FF2B5EF4-FFF2-40B4-BE49-F238E27FC236}">
                <a16:creationId xmlns:a16="http://schemas.microsoft.com/office/drawing/2014/main" id="{09489B51-A49F-B248-BCD3-0676FF7F0AE4}"/>
              </a:ext>
            </a:extLst>
          </p:cNvPr>
          <p:cNvSpPr>
            <a:spLocks noChangeArrowheads="1"/>
          </p:cNvSpPr>
          <p:nvPr/>
        </p:nvSpPr>
        <p:spPr bwMode="auto">
          <a:xfrm>
            <a:off x="4929139" y="4443911"/>
            <a:ext cx="509540" cy="509538"/>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Oval 12">
            <a:extLst>
              <a:ext uri="{FF2B5EF4-FFF2-40B4-BE49-F238E27FC236}">
                <a16:creationId xmlns:a16="http://schemas.microsoft.com/office/drawing/2014/main" id="{9D551D0B-9994-6746-A068-497D4604CF9A}"/>
              </a:ext>
            </a:extLst>
          </p:cNvPr>
          <p:cNvSpPr>
            <a:spLocks noChangeArrowheads="1"/>
          </p:cNvSpPr>
          <p:nvPr/>
        </p:nvSpPr>
        <p:spPr bwMode="auto">
          <a:xfrm>
            <a:off x="4932217" y="2885531"/>
            <a:ext cx="509540" cy="509538"/>
          </a:xfrm>
          <a:prstGeom prst="ellipse">
            <a:avLst/>
          </a:pr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Oval 12">
            <a:extLst>
              <a:ext uri="{FF2B5EF4-FFF2-40B4-BE49-F238E27FC236}">
                <a16:creationId xmlns:a16="http://schemas.microsoft.com/office/drawing/2014/main" id="{491B7238-DF72-9C44-BE31-35099A03D05B}"/>
              </a:ext>
            </a:extLst>
          </p:cNvPr>
          <p:cNvSpPr>
            <a:spLocks noChangeArrowheads="1"/>
          </p:cNvSpPr>
          <p:nvPr/>
        </p:nvSpPr>
        <p:spPr bwMode="auto">
          <a:xfrm>
            <a:off x="4922980" y="2106341"/>
            <a:ext cx="509540" cy="509538"/>
          </a:xfrm>
          <a:prstGeom prst="ellipse">
            <a:avLst/>
          </a:pr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48">
            <a:extLst>
              <a:ext uri="{FF2B5EF4-FFF2-40B4-BE49-F238E27FC236}">
                <a16:creationId xmlns:a16="http://schemas.microsoft.com/office/drawing/2014/main" id="{CD493121-A8F0-CF47-AC95-CAF3923095B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7513" y="4579482"/>
            <a:ext cx="412793" cy="238396"/>
          </a:xfrm>
          <a:prstGeom prst="rect">
            <a:avLst/>
          </a:prstGeom>
        </p:spPr>
      </p:pic>
      <p:pic>
        <p:nvPicPr>
          <p:cNvPr id="23" name="Picture 49">
            <a:extLst>
              <a:ext uri="{FF2B5EF4-FFF2-40B4-BE49-F238E27FC236}">
                <a16:creationId xmlns:a16="http://schemas.microsoft.com/office/drawing/2014/main" id="{3A353200-358E-5642-AD3B-270DA1D1E5C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64523" y="2957078"/>
            <a:ext cx="244929" cy="366444"/>
          </a:xfrm>
          <a:prstGeom prst="rect">
            <a:avLst/>
          </a:prstGeom>
        </p:spPr>
      </p:pic>
      <p:pic>
        <p:nvPicPr>
          <p:cNvPr id="24" name="Picture 50">
            <a:extLst>
              <a:ext uri="{FF2B5EF4-FFF2-40B4-BE49-F238E27FC236}">
                <a16:creationId xmlns:a16="http://schemas.microsoft.com/office/drawing/2014/main" id="{0240F85C-576B-C54C-8461-1E2B9F1BFD2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75237" y="3808785"/>
            <a:ext cx="411187" cy="221410"/>
          </a:xfrm>
          <a:prstGeom prst="rect">
            <a:avLst/>
          </a:prstGeom>
        </p:spPr>
      </p:pic>
      <p:grpSp>
        <p:nvGrpSpPr>
          <p:cNvPr id="25" name="Group 51">
            <a:extLst>
              <a:ext uri="{FF2B5EF4-FFF2-40B4-BE49-F238E27FC236}">
                <a16:creationId xmlns:a16="http://schemas.microsoft.com/office/drawing/2014/main" id="{7D45DAEA-5CB6-BB4E-BB38-EAC8746D7E9C}"/>
              </a:ext>
            </a:extLst>
          </p:cNvPr>
          <p:cNvGrpSpPr>
            <a:grpSpLocks noChangeAspect="1"/>
          </p:cNvGrpSpPr>
          <p:nvPr/>
        </p:nvGrpSpPr>
        <p:grpSpPr bwMode="auto">
          <a:xfrm>
            <a:off x="5010151" y="2192338"/>
            <a:ext cx="330200" cy="315912"/>
            <a:chOff x="3156" y="841"/>
            <a:chExt cx="208" cy="199"/>
          </a:xfrm>
          <a:solidFill>
            <a:srgbClr val="FFFFFF"/>
          </a:solidFill>
        </p:grpSpPr>
        <p:sp>
          <p:nvSpPr>
            <p:cNvPr id="26" name="Freeform 5">
              <a:extLst>
                <a:ext uri="{FF2B5EF4-FFF2-40B4-BE49-F238E27FC236}">
                  <a16:creationId xmlns:a16="http://schemas.microsoft.com/office/drawing/2014/main" id="{F857E34E-F0A9-9D40-9879-A9FD5369F9B1}"/>
                </a:ext>
              </a:extLst>
            </p:cNvPr>
            <p:cNvSpPr>
              <a:spLocks noEditPoints="1"/>
            </p:cNvSpPr>
            <p:nvPr/>
          </p:nvSpPr>
          <p:spPr bwMode="auto">
            <a:xfrm>
              <a:off x="3156" y="841"/>
              <a:ext cx="208" cy="199"/>
            </a:xfrm>
            <a:custGeom>
              <a:avLst/>
              <a:gdLst>
                <a:gd name="T0" fmla="*/ 604 w 638"/>
                <a:gd name="T1" fmla="*/ 449 h 612"/>
                <a:gd name="T2" fmla="*/ 594 w 638"/>
                <a:gd name="T3" fmla="*/ 449 h 612"/>
                <a:gd name="T4" fmla="*/ 543 w 638"/>
                <a:gd name="T5" fmla="*/ 205 h 612"/>
                <a:gd name="T6" fmla="*/ 514 w 638"/>
                <a:gd name="T7" fmla="*/ 183 h 612"/>
                <a:gd name="T8" fmla="*/ 494 w 638"/>
                <a:gd name="T9" fmla="*/ 183 h 612"/>
                <a:gd name="T10" fmla="*/ 494 w 638"/>
                <a:gd name="T11" fmla="*/ 131 h 612"/>
                <a:gd name="T12" fmla="*/ 522 w 638"/>
                <a:gd name="T13" fmla="*/ 131 h 612"/>
                <a:gd name="T14" fmla="*/ 554 w 638"/>
                <a:gd name="T15" fmla="*/ 99 h 612"/>
                <a:gd name="T16" fmla="*/ 554 w 638"/>
                <a:gd name="T17" fmla="*/ 32 h 612"/>
                <a:gd name="T18" fmla="*/ 522 w 638"/>
                <a:gd name="T19" fmla="*/ 0 h 612"/>
                <a:gd name="T20" fmla="*/ 269 w 638"/>
                <a:gd name="T21" fmla="*/ 0 h 612"/>
                <a:gd name="T22" fmla="*/ 237 w 638"/>
                <a:gd name="T23" fmla="*/ 32 h 612"/>
                <a:gd name="T24" fmla="*/ 237 w 638"/>
                <a:gd name="T25" fmla="*/ 99 h 612"/>
                <a:gd name="T26" fmla="*/ 269 w 638"/>
                <a:gd name="T27" fmla="*/ 131 h 612"/>
                <a:gd name="T28" fmla="*/ 433 w 638"/>
                <a:gd name="T29" fmla="*/ 131 h 612"/>
                <a:gd name="T30" fmla="*/ 433 w 638"/>
                <a:gd name="T31" fmla="*/ 183 h 612"/>
                <a:gd name="T32" fmla="*/ 124 w 638"/>
                <a:gd name="T33" fmla="*/ 183 h 612"/>
                <a:gd name="T34" fmla="*/ 95 w 638"/>
                <a:gd name="T35" fmla="*/ 205 h 612"/>
                <a:gd name="T36" fmla="*/ 44 w 638"/>
                <a:gd name="T37" fmla="*/ 449 h 612"/>
                <a:gd name="T38" fmla="*/ 35 w 638"/>
                <a:gd name="T39" fmla="*/ 449 h 612"/>
                <a:gd name="T40" fmla="*/ 0 w 638"/>
                <a:gd name="T41" fmla="*/ 484 h 612"/>
                <a:gd name="T42" fmla="*/ 0 w 638"/>
                <a:gd name="T43" fmla="*/ 578 h 612"/>
                <a:gd name="T44" fmla="*/ 35 w 638"/>
                <a:gd name="T45" fmla="*/ 612 h 612"/>
                <a:gd name="T46" fmla="*/ 604 w 638"/>
                <a:gd name="T47" fmla="*/ 612 h 612"/>
                <a:gd name="T48" fmla="*/ 638 w 638"/>
                <a:gd name="T49" fmla="*/ 578 h 612"/>
                <a:gd name="T50" fmla="*/ 638 w 638"/>
                <a:gd name="T51" fmla="*/ 484 h 612"/>
                <a:gd name="T52" fmla="*/ 604 w 638"/>
                <a:gd name="T53" fmla="*/ 449 h 612"/>
                <a:gd name="T54" fmla="*/ 251 w 638"/>
                <a:gd name="T55" fmla="*/ 99 h 612"/>
                <a:gd name="T56" fmla="*/ 251 w 638"/>
                <a:gd name="T57" fmla="*/ 32 h 612"/>
                <a:gd name="T58" fmla="*/ 269 w 638"/>
                <a:gd name="T59" fmla="*/ 14 h 612"/>
                <a:gd name="T60" fmla="*/ 522 w 638"/>
                <a:gd name="T61" fmla="*/ 14 h 612"/>
                <a:gd name="T62" fmla="*/ 540 w 638"/>
                <a:gd name="T63" fmla="*/ 32 h 612"/>
                <a:gd name="T64" fmla="*/ 540 w 638"/>
                <a:gd name="T65" fmla="*/ 99 h 612"/>
                <a:gd name="T66" fmla="*/ 522 w 638"/>
                <a:gd name="T67" fmla="*/ 117 h 612"/>
                <a:gd name="T68" fmla="*/ 269 w 638"/>
                <a:gd name="T69" fmla="*/ 117 h 612"/>
                <a:gd name="T70" fmla="*/ 251 w 638"/>
                <a:gd name="T71" fmla="*/ 99 h 612"/>
                <a:gd name="T72" fmla="*/ 447 w 638"/>
                <a:gd name="T73" fmla="*/ 131 h 612"/>
                <a:gd name="T74" fmla="*/ 480 w 638"/>
                <a:gd name="T75" fmla="*/ 131 h 612"/>
                <a:gd name="T76" fmla="*/ 480 w 638"/>
                <a:gd name="T77" fmla="*/ 183 h 612"/>
                <a:gd name="T78" fmla="*/ 447 w 638"/>
                <a:gd name="T79" fmla="*/ 183 h 612"/>
                <a:gd name="T80" fmla="*/ 447 w 638"/>
                <a:gd name="T81" fmla="*/ 131 h 612"/>
                <a:gd name="T82" fmla="*/ 624 w 638"/>
                <a:gd name="T83" fmla="*/ 578 h 612"/>
                <a:gd name="T84" fmla="*/ 604 w 638"/>
                <a:gd name="T85" fmla="*/ 598 h 612"/>
                <a:gd name="T86" fmla="*/ 35 w 638"/>
                <a:gd name="T87" fmla="*/ 598 h 612"/>
                <a:gd name="T88" fmla="*/ 14 w 638"/>
                <a:gd name="T89" fmla="*/ 578 h 612"/>
                <a:gd name="T90" fmla="*/ 14 w 638"/>
                <a:gd name="T91" fmla="*/ 484 h 612"/>
                <a:gd name="T92" fmla="*/ 35 w 638"/>
                <a:gd name="T93" fmla="*/ 463 h 612"/>
                <a:gd name="T94" fmla="*/ 50 w 638"/>
                <a:gd name="T95" fmla="*/ 463 h 612"/>
                <a:gd name="T96" fmla="*/ 57 w 638"/>
                <a:gd name="T97" fmla="*/ 458 h 612"/>
                <a:gd name="T98" fmla="*/ 109 w 638"/>
                <a:gd name="T99" fmla="*/ 208 h 612"/>
                <a:gd name="T100" fmla="*/ 124 w 638"/>
                <a:gd name="T101" fmla="*/ 197 h 612"/>
                <a:gd name="T102" fmla="*/ 514 w 638"/>
                <a:gd name="T103" fmla="*/ 197 h 612"/>
                <a:gd name="T104" fmla="*/ 529 w 638"/>
                <a:gd name="T105" fmla="*/ 208 h 612"/>
                <a:gd name="T106" fmla="*/ 581 w 638"/>
                <a:gd name="T107" fmla="*/ 458 h 612"/>
                <a:gd name="T108" fmla="*/ 588 w 638"/>
                <a:gd name="T109" fmla="*/ 463 h 612"/>
                <a:gd name="T110" fmla="*/ 604 w 638"/>
                <a:gd name="T111" fmla="*/ 463 h 612"/>
                <a:gd name="T112" fmla="*/ 624 w 638"/>
                <a:gd name="T113" fmla="*/ 484 h 612"/>
                <a:gd name="T114" fmla="*/ 624 w 638"/>
                <a:gd name="T115" fmla="*/ 57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8" h="612">
                  <a:moveTo>
                    <a:pt x="604" y="449"/>
                  </a:moveTo>
                  <a:cubicBezTo>
                    <a:pt x="594" y="449"/>
                    <a:pt x="594" y="449"/>
                    <a:pt x="594" y="449"/>
                  </a:cubicBezTo>
                  <a:cubicBezTo>
                    <a:pt x="543" y="205"/>
                    <a:pt x="543" y="205"/>
                    <a:pt x="543" y="205"/>
                  </a:cubicBezTo>
                  <a:cubicBezTo>
                    <a:pt x="540" y="193"/>
                    <a:pt x="528" y="183"/>
                    <a:pt x="514" y="183"/>
                  </a:cubicBezTo>
                  <a:cubicBezTo>
                    <a:pt x="494" y="183"/>
                    <a:pt x="494" y="183"/>
                    <a:pt x="494" y="183"/>
                  </a:cubicBezTo>
                  <a:cubicBezTo>
                    <a:pt x="494" y="131"/>
                    <a:pt x="494" y="131"/>
                    <a:pt x="494" y="131"/>
                  </a:cubicBezTo>
                  <a:cubicBezTo>
                    <a:pt x="522" y="131"/>
                    <a:pt x="522" y="131"/>
                    <a:pt x="522" y="131"/>
                  </a:cubicBezTo>
                  <a:cubicBezTo>
                    <a:pt x="539" y="131"/>
                    <a:pt x="554" y="117"/>
                    <a:pt x="554" y="99"/>
                  </a:cubicBezTo>
                  <a:cubicBezTo>
                    <a:pt x="554" y="32"/>
                    <a:pt x="554" y="32"/>
                    <a:pt x="554" y="32"/>
                  </a:cubicBezTo>
                  <a:cubicBezTo>
                    <a:pt x="554" y="15"/>
                    <a:pt x="539" y="0"/>
                    <a:pt x="522" y="0"/>
                  </a:cubicBezTo>
                  <a:cubicBezTo>
                    <a:pt x="269" y="0"/>
                    <a:pt x="269" y="0"/>
                    <a:pt x="269" y="0"/>
                  </a:cubicBezTo>
                  <a:cubicBezTo>
                    <a:pt x="251" y="0"/>
                    <a:pt x="237" y="15"/>
                    <a:pt x="237" y="32"/>
                  </a:cubicBezTo>
                  <a:cubicBezTo>
                    <a:pt x="237" y="99"/>
                    <a:pt x="237" y="99"/>
                    <a:pt x="237" y="99"/>
                  </a:cubicBezTo>
                  <a:cubicBezTo>
                    <a:pt x="237" y="117"/>
                    <a:pt x="251" y="131"/>
                    <a:pt x="269" y="131"/>
                  </a:cubicBezTo>
                  <a:cubicBezTo>
                    <a:pt x="433" y="131"/>
                    <a:pt x="433" y="131"/>
                    <a:pt x="433" y="131"/>
                  </a:cubicBezTo>
                  <a:cubicBezTo>
                    <a:pt x="433" y="183"/>
                    <a:pt x="433" y="183"/>
                    <a:pt x="433" y="183"/>
                  </a:cubicBezTo>
                  <a:cubicBezTo>
                    <a:pt x="124" y="183"/>
                    <a:pt x="124" y="183"/>
                    <a:pt x="124" y="183"/>
                  </a:cubicBezTo>
                  <a:cubicBezTo>
                    <a:pt x="111" y="183"/>
                    <a:pt x="98" y="193"/>
                    <a:pt x="95" y="205"/>
                  </a:cubicBezTo>
                  <a:cubicBezTo>
                    <a:pt x="44" y="449"/>
                    <a:pt x="44" y="449"/>
                    <a:pt x="44" y="449"/>
                  </a:cubicBezTo>
                  <a:cubicBezTo>
                    <a:pt x="35" y="449"/>
                    <a:pt x="35" y="449"/>
                    <a:pt x="35" y="449"/>
                  </a:cubicBezTo>
                  <a:cubicBezTo>
                    <a:pt x="15" y="449"/>
                    <a:pt x="0" y="465"/>
                    <a:pt x="0" y="484"/>
                  </a:cubicBezTo>
                  <a:cubicBezTo>
                    <a:pt x="0" y="578"/>
                    <a:pt x="0" y="578"/>
                    <a:pt x="0" y="578"/>
                  </a:cubicBezTo>
                  <a:cubicBezTo>
                    <a:pt x="0" y="597"/>
                    <a:pt x="15" y="612"/>
                    <a:pt x="35" y="612"/>
                  </a:cubicBezTo>
                  <a:cubicBezTo>
                    <a:pt x="604" y="612"/>
                    <a:pt x="604" y="612"/>
                    <a:pt x="604" y="612"/>
                  </a:cubicBezTo>
                  <a:cubicBezTo>
                    <a:pt x="623" y="612"/>
                    <a:pt x="638" y="597"/>
                    <a:pt x="638" y="578"/>
                  </a:cubicBezTo>
                  <a:cubicBezTo>
                    <a:pt x="638" y="484"/>
                    <a:pt x="638" y="484"/>
                    <a:pt x="638" y="484"/>
                  </a:cubicBezTo>
                  <a:cubicBezTo>
                    <a:pt x="638" y="465"/>
                    <a:pt x="623" y="449"/>
                    <a:pt x="604" y="449"/>
                  </a:cubicBezTo>
                  <a:close/>
                  <a:moveTo>
                    <a:pt x="251" y="99"/>
                  </a:moveTo>
                  <a:cubicBezTo>
                    <a:pt x="251" y="32"/>
                    <a:pt x="251" y="32"/>
                    <a:pt x="251" y="32"/>
                  </a:cubicBezTo>
                  <a:cubicBezTo>
                    <a:pt x="251" y="22"/>
                    <a:pt x="259" y="14"/>
                    <a:pt x="269" y="14"/>
                  </a:cubicBezTo>
                  <a:cubicBezTo>
                    <a:pt x="522" y="14"/>
                    <a:pt x="522" y="14"/>
                    <a:pt x="522" y="14"/>
                  </a:cubicBezTo>
                  <a:cubicBezTo>
                    <a:pt x="531" y="14"/>
                    <a:pt x="540" y="22"/>
                    <a:pt x="540" y="32"/>
                  </a:cubicBezTo>
                  <a:cubicBezTo>
                    <a:pt x="540" y="99"/>
                    <a:pt x="540" y="99"/>
                    <a:pt x="540" y="99"/>
                  </a:cubicBezTo>
                  <a:cubicBezTo>
                    <a:pt x="540" y="109"/>
                    <a:pt x="531" y="117"/>
                    <a:pt x="522" y="117"/>
                  </a:cubicBezTo>
                  <a:cubicBezTo>
                    <a:pt x="269" y="117"/>
                    <a:pt x="269" y="117"/>
                    <a:pt x="269" y="117"/>
                  </a:cubicBezTo>
                  <a:cubicBezTo>
                    <a:pt x="259" y="117"/>
                    <a:pt x="251" y="109"/>
                    <a:pt x="251" y="99"/>
                  </a:cubicBezTo>
                  <a:close/>
                  <a:moveTo>
                    <a:pt x="447" y="131"/>
                  </a:moveTo>
                  <a:cubicBezTo>
                    <a:pt x="480" y="131"/>
                    <a:pt x="480" y="131"/>
                    <a:pt x="480" y="131"/>
                  </a:cubicBezTo>
                  <a:cubicBezTo>
                    <a:pt x="480" y="183"/>
                    <a:pt x="480" y="183"/>
                    <a:pt x="480" y="183"/>
                  </a:cubicBezTo>
                  <a:cubicBezTo>
                    <a:pt x="447" y="183"/>
                    <a:pt x="447" y="183"/>
                    <a:pt x="447" y="183"/>
                  </a:cubicBezTo>
                  <a:lnTo>
                    <a:pt x="447" y="131"/>
                  </a:lnTo>
                  <a:close/>
                  <a:moveTo>
                    <a:pt x="624" y="578"/>
                  </a:moveTo>
                  <a:cubicBezTo>
                    <a:pt x="624" y="589"/>
                    <a:pt x="615" y="598"/>
                    <a:pt x="604" y="598"/>
                  </a:cubicBezTo>
                  <a:cubicBezTo>
                    <a:pt x="35" y="598"/>
                    <a:pt x="35" y="598"/>
                    <a:pt x="35" y="598"/>
                  </a:cubicBezTo>
                  <a:cubicBezTo>
                    <a:pt x="23" y="598"/>
                    <a:pt x="14" y="589"/>
                    <a:pt x="14" y="578"/>
                  </a:cubicBezTo>
                  <a:cubicBezTo>
                    <a:pt x="14" y="484"/>
                    <a:pt x="14" y="484"/>
                    <a:pt x="14" y="484"/>
                  </a:cubicBezTo>
                  <a:cubicBezTo>
                    <a:pt x="14" y="473"/>
                    <a:pt x="23" y="463"/>
                    <a:pt x="35" y="463"/>
                  </a:cubicBezTo>
                  <a:cubicBezTo>
                    <a:pt x="50" y="463"/>
                    <a:pt x="50" y="463"/>
                    <a:pt x="50" y="463"/>
                  </a:cubicBezTo>
                  <a:cubicBezTo>
                    <a:pt x="53" y="463"/>
                    <a:pt x="56" y="461"/>
                    <a:pt x="57" y="458"/>
                  </a:cubicBezTo>
                  <a:cubicBezTo>
                    <a:pt x="109" y="208"/>
                    <a:pt x="109" y="208"/>
                    <a:pt x="109" y="208"/>
                  </a:cubicBezTo>
                  <a:cubicBezTo>
                    <a:pt x="110" y="202"/>
                    <a:pt x="117" y="197"/>
                    <a:pt x="124" y="197"/>
                  </a:cubicBezTo>
                  <a:cubicBezTo>
                    <a:pt x="514" y="197"/>
                    <a:pt x="514" y="197"/>
                    <a:pt x="514" y="197"/>
                  </a:cubicBezTo>
                  <a:cubicBezTo>
                    <a:pt x="521" y="197"/>
                    <a:pt x="528" y="202"/>
                    <a:pt x="529" y="208"/>
                  </a:cubicBezTo>
                  <a:cubicBezTo>
                    <a:pt x="581" y="458"/>
                    <a:pt x="581" y="458"/>
                    <a:pt x="581" y="458"/>
                  </a:cubicBezTo>
                  <a:cubicBezTo>
                    <a:pt x="582" y="461"/>
                    <a:pt x="585" y="463"/>
                    <a:pt x="588" y="463"/>
                  </a:cubicBezTo>
                  <a:cubicBezTo>
                    <a:pt x="604" y="463"/>
                    <a:pt x="604" y="463"/>
                    <a:pt x="604" y="463"/>
                  </a:cubicBezTo>
                  <a:cubicBezTo>
                    <a:pt x="615" y="463"/>
                    <a:pt x="624" y="473"/>
                    <a:pt x="624" y="484"/>
                  </a:cubicBezTo>
                  <a:lnTo>
                    <a:pt x="624" y="5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
              <a:extLst>
                <a:ext uri="{FF2B5EF4-FFF2-40B4-BE49-F238E27FC236}">
                  <a16:creationId xmlns:a16="http://schemas.microsoft.com/office/drawing/2014/main" id="{429005E8-E4F7-B842-B1B9-EB2A2761317F}"/>
                </a:ext>
              </a:extLst>
            </p:cNvPr>
            <p:cNvSpPr>
              <a:spLocks noEditPoints="1"/>
            </p:cNvSpPr>
            <p:nvPr/>
          </p:nvSpPr>
          <p:spPr bwMode="auto">
            <a:xfrm>
              <a:off x="3252" y="913"/>
              <a:ext cx="77" cy="51"/>
            </a:xfrm>
            <a:custGeom>
              <a:avLst/>
              <a:gdLst>
                <a:gd name="T0" fmla="*/ 17 w 234"/>
                <a:gd name="T1" fmla="*/ 155 h 155"/>
                <a:gd name="T2" fmla="*/ 218 w 234"/>
                <a:gd name="T3" fmla="*/ 155 h 155"/>
                <a:gd name="T4" fmla="*/ 230 w 234"/>
                <a:gd name="T5" fmla="*/ 150 h 155"/>
                <a:gd name="T6" fmla="*/ 233 w 234"/>
                <a:gd name="T7" fmla="*/ 137 h 155"/>
                <a:gd name="T8" fmla="*/ 214 w 234"/>
                <a:gd name="T9" fmla="*/ 14 h 155"/>
                <a:gd name="T10" fmla="*/ 197 w 234"/>
                <a:gd name="T11" fmla="*/ 0 h 155"/>
                <a:gd name="T12" fmla="*/ 18 w 234"/>
                <a:gd name="T13" fmla="*/ 0 h 155"/>
                <a:gd name="T14" fmla="*/ 2 w 234"/>
                <a:gd name="T15" fmla="*/ 15 h 155"/>
                <a:gd name="T16" fmla="*/ 1 w 234"/>
                <a:gd name="T17" fmla="*/ 138 h 155"/>
                <a:gd name="T18" fmla="*/ 5 w 234"/>
                <a:gd name="T19" fmla="*/ 150 h 155"/>
                <a:gd name="T20" fmla="*/ 17 w 234"/>
                <a:gd name="T21" fmla="*/ 155 h 155"/>
                <a:gd name="T22" fmla="*/ 16 w 234"/>
                <a:gd name="T23" fmla="*/ 15 h 155"/>
                <a:gd name="T24" fmla="*/ 18 w 234"/>
                <a:gd name="T25" fmla="*/ 14 h 155"/>
                <a:gd name="T26" fmla="*/ 197 w 234"/>
                <a:gd name="T27" fmla="*/ 14 h 155"/>
                <a:gd name="T28" fmla="*/ 200 w 234"/>
                <a:gd name="T29" fmla="*/ 16 h 155"/>
                <a:gd name="T30" fmla="*/ 220 w 234"/>
                <a:gd name="T31" fmla="*/ 139 h 155"/>
                <a:gd name="T32" fmla="*/ 219 w 234"/>
                <a:gd name="T33" fmla="*/ 140 h 155"/>
                <a:gd name="T34" fmla="*/ 218 w 234"/>
                <a:gd name="T35" fmla="*/ 141 h 155"/>
                <a:gd name="T36" fmla="*/ 17 w 234"/>
                <a:gd name="T37" fmla="*/ 141 h 155"/>
                <a:gd name="T38" fmla="*/ 15 w 234"/>
                <a:gd name="T39" fmla="*/ 140 h 155"/>
                <a:gd name="T40" fmla="*/ 15 w 234"/>
                <a:gd name="T41" fmla="*/ 138 h 155"/>
                <a:gd name="T42" fmla="*/ 16 w 234"/>
                <a:gd name="T4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4" h="155">
                  <a:moveTo>
                    <a:pt x="17" y="155"/>
                  </a:moveTo>
                  <a:cubicBezTo>
                    <a:pt x="218" y="155"/>
                    <a:pt x="218" y="155"/>
                    <a:pt x="218" y="155"/>
                  </a:cubicBezTo>
                  <a:cubicBezTo>
                    <a:pt x="223" y="155"/>
                    <a:pt x="227" y="153"/>
                    <a:pt x="230" y="150"/>
                  </a:cubicBezTo>
                  <a:cubicBezTo>
                    <a:pt x="233" y="146"/>
                    <a:pt x="234" y="142"/>
                    <a:pt x="233" y="137"/>
                  </a:cubicBezTo>
                  <a:cubicBezTo>
                    <a:pt x="214" y="14"/>
                    <a:pt x="214" y="14"/>
                    <a:pt x="214" y="14"/>
                  </a:cubicBezTo>
                  <a:cubicBezTo>
                    <a:pt x="213" y="6"/>
                    <a:pt x="205" y="0"/>
                    <a:pt x="197" y="0"/>
                  </a:cubicBezTo>
                  <a:cubicBezTo>
                    <a:pt x="18" y="0"/>
                    <a:pt x="18" y="0"/>
                    <a:pt x="18" y="0"/>
                  </a:cubicBezTo>
                  <a:cubicBezTo>
                    <a:pt x="9" y="0"/>
                    <a:pt x="2" y="7"/>
                    <a:pt x="2" y="15"/>
                  </a:cubicBezTo>
                  <a:cubicBezTo>
                    <a:pt x="1" y="138"/>
                    <a:pt x="1" y="138"/>
                    <a:pt x="1" y="138"/>
                  </a:cubicBezTo>
                  <a:cubicBezTo>
                    <a:pt x="0" y="142"/>
                    <a:pt x="2" y="147"/>
                    <a:pt x="5" y="150"/>
                  </a:cubicBezTo>
                  <a:cubicBezTo>
                    <a:pt x="8" y="153"/>
                    <a:pt x="13" y="155"/>
                    <a:pt x="17" y="155"/>
                  </a:cubicBezTo>
                  <a:close/>
                  <a:moveTo>
                    <a:pt x="16" y="15"/>
                  </a:moveTo>
                  <a:cubicBezTo>
                    <a:pt x="16" y="15"/>
                    <a:pt x="17" y="14"/>
                    <a:pt x="18" y="14"/>
                  </a:cubicBezTo>
                  <a:cubicBezTo>
                    <a:pt x="197" y="14"/>
                    <a:pt x="197" y="14"/>
                    <a:pt x="197" y="14"/>
                  </a:cubicBezTo>
                  <a:cubicBezTo>
                    <a:pt x="199" y="14"/>
                    <a:pt x="200" y="16"/>
                    <a:pt x="200" y="16"/>
                  </a:cubicBezTo>
                  <a:cubicBezTo>
                    <a:pt x="220" y="139"/>
                    <a:pt x="220" y="139"/>
                    <a:pt x="220" y="139"/>
                  </a:cubicBezTo>
                  <a:cubicBezTo>
                    <a:pt x="220" y="140"/>
                    <a:pt x="220" y="140"/>
                    <a:pt x="219" y="140"/>
                  </a:cubicBezTo>
                  <a:cubicBezTo>
                    <a:pt x="219" y="141"/>
                    <a:pt x="219" y="141"/>
                    <a:pt x="218" y="141"/>
                  </a:cubicBezTo>
                  <a:cubicBezTo>
                    <a:pt x="17" y="141"/>
                    <a:pt x="17" y="141"/>
                    <a:pt x="17" y="141"/>
                  </a:cubicBezTo>
                  <a:cubicBezTo>
                    <a:pt x="16" y="141"/>
                    <a:pt x="16" y="140"/>
                    <a:pt x="15" y="140"/>
                  </a:cubicBezTo>
                  <a:cubicBezTo>
                    <a:pt x="15" y="140"/>
                    <a:pt x="15" y="139"/>
                    <a:pt x="15" y="138"/>
                  </a:cubicBezTo>
                  <a:lnTo>
                    <a:pt x="16"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a:extLst>
                <a:ext uri="{FF2B5EF4-FFF2-40B4-BE49-F238E27FC236}">
                  <a16:creationId xmlns:a16="http://schemas.microsoft.com/office/drawing/2014/main" id="{BC8B1D5B-F434-FF48-BA5D-5F3CF34ABE5B}"/>
                </a:ext>
              </a:extLst>
            </p:cNvPr>
            <p:cNvSpPr>
              <a:spLocks noEditPoints="1"/>
            </p:cNvSpPr>
            <p:nvPr/>
          </p:nvSpPr>
          <p:spPr bwMode="auto">
            <a:xfrm>
              <a:off x="3196" y="913"/>
              <a:ext cx="48" cy="22"/>
            </a:xfrm>
            <a:custGeom>
              <a:avLst/>
              <a:gdLst>
                <a:gd name="T0" fmla="*/ 15 w 147"/>
                <a:gd name="T1" fmla="*/ 66 h 66"/>
                <a:gd name="T2" fmla="*/ 129 w 147"/>
                <a:gd name="T3" fmla="*/ 66 h 66"/>
                <a:gd name="T4" fmla="*/ 145 w 147"/>
                <a:gd name="T5" fmla="*/ 51 h 66"/>
                <a:gd name="T6" fmla="*/ 147 w 147"/>
                <a:gd name="T7" fmla="*/ 16 h 66"/>
                <a:gd name="T8" fmla="*/ 143 w 147"/>
                <a:gd name="T9" fmla="*/ 5 h 66"/>
                <a:gd name="T10" fmla="*/ 132 w 147"/>
                <a:gd name="T11" fmla="*/ 0 h 66"/>
                <a:gd name="T12" fmla="*/ 23 w 147"/>
                <a:gd name="T13" fmla="*/ 0 h 66"/>
                <a:gd name="T14" fmla="*/ 6 w 147"/>
                <a:gd name="T15" fmla="*/ 14 h 66"/>
                <a:gd name="T16" fmla="*/ 1 w 147"/>
                <a:gd name="T17" fmla="*/ 49 h 66"/>
                <a:gd name="T18" fmla="*/ 4 w 147"/>
                <a:gd name="T19" fmla="*/ 61 h 66"/>
                <a:gd name="T20" fmla="*/ 15 w 147"/>
                <a:gd name="T21" fmla="*/ 66 h 66"/>
                <a:gd name="T22" fmla="*/ 20 w 147"/>
                <a:gd name="T23" fmla="*/ 16 h 66"/>
                <a:gd name="T24" fmla="*/ 23 w 147"/>
                <a:gd name="T25" fmla="*/ 14 h 66"/>
                <a:gd name="T26" fmla="*/ 132 w 147"/>
                <a:gd name="T27" fmla="*/ 14 h 66"/>
                <a:gd name="T28" fmla="*/ 133 w 147"/>
                <a:gd name="T29" fmla="*/ 15 h 66"/>
                <a:gd name="T30" fmla="*/ 131 w 147"/>
                <a:gd name="T31" fmla="*/ 50 h 66"/>
                <a:gd name="T32" fmla="*/ 129 w 147"/>
                <a:gd name="T33" fmla="*/ 52 h 66"/>
                <a:gd name="T34" fmla="*/ 15 w 147"/>
                <a:gd name="T35" fmla="*/ 52 h 66"/>
                <a:gd name="T36" fmla="*/ 14 w 147"/>
                <a:gd name="T37" fmla="*/ 51 h 66"/>
                <a:gd name="T38" fmla="*/ 20 w 147"/>
                <a:gd name="T3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 h="66">
                  <a:moveTo>
                    <a:pt x="15" y="66"/>
                  </a:moveTo>
                  <a:cubicBezTo>
                    <a:pt x="129" y="66"/>
                    <a:pt x="129" y="66"/>
                    <a:pt x="129" y="66"/>
                  </a:cubicBezTo>
                  <a:cubicBezTo>
                    <a:pt x="138" y="66"/>
                    <a:pt x="145" y="59"/>
                    <a:pt x="145" y="51"/>
                  </a:cubicBezTo>
                  <a:cubicBezTo>
                    <a:pt x="147" y="16"/>
                    <a:pt x="147" y="16"/>
                    <a:pt x="147" y="16"/>
                  </a:cubicBezTo>
                  <a:cubicBezTo>
                    <a:pt x="147" y="12"/>
                    <a:pt x="146" y="8"/>
                    <a:pt x="143" y="5"/>
                  </a:cubicBezTo>
                  <a:cubicBezTo>
                    <a:pt x="140" y="2"/>
                    <a:pt x="136" y="0"/>
                    <a:pt x="132" y="0"/>
                  </a:cubicBezTo>
                  <a:cubicBezTo>
                    <a:pt x="23" y="0"/>
                    <a:pt x="23" y="0"/>
                    <a:pt x="23" y="0"/>
                  </a:cubicBezTo>
                  <a:cubicBezTo>
                    <a:pt x="15" y="0"/>
                    <a:pt x="7" y="6"/>
                    <a:pt x="6" y="14"/>
                  </a:cubicBezTo>
                  <a:cubicBezTo>
                    <a:pt x="1" y="49"/>
                    <a:pt x="1" y="49"/>
                    <a:pt x="1" y="49"/>
                  </a:cubicBezTo>
                  <a:cubicBezTo>
                    <a:pt x="0" y="53"/>
                    <a:pt x="1" y="57"/>
                    <a:pt x="4" y="61"/>
                  </a:cubicBezTo>
                  <a:cubicBezTo>
                    <a:pt x="7" y="64"/>
                    <a:pt x="11" y="66"/>
                    <a:pt x="15" y="66"/>
                  </a:cubicBezTo>
                  <a:close/>
                  <a:moveTo>
                    <a:pt x="20" y="16"/>
                  </a:moveTo>
                  <a:cubicBezTo>
                    <a:pt x="20" y="16"/>
                    <a:pt x="21" y="14"/>
                    <a:pt x="23" y="14"/>
                  </a:cubicBezTo>
                  <a:cubicBezTo>
                    <a:pt x="132" y="14"/>
                    <a:pt x="132" y="14"/>
                    <a:pt x="132" y="14"/>
                  </a:cubicBezTo>
                  <a:cubicBezTo>
                    <a:pt x="133" y="14"/>
                    <a:pt x="133" y="15"/>
                    <a:pt x="133" y="15"/>
                  </a:cubicBezTo>
                  <a:cubicBezTo>
                    <a:pt x="131" y="50"/>
                    <a:pt x="131" y="50"/>
                    <a:pt x="131" y="50"/>
                  </a:cubicBezTo>
                  <a:cubicBezTo>
                    <a:pt x="131" y="51"/>
                    <a:pt x="130" y="52"/>
                    <a:pt x="129" y="52"/>
                  </a:cubicBezTo>
                  <a:cubicBezTo>
                    <a:pt x="15" y="52"/>
                    <a:pt x="15" y="52"/>
                    <a:pt x="15" y="52"/>
                  </a:cubicBezTo>
                  <a:cubicBezTo>
                    <a:pt x="15" y="52"/>
                    <a:pt x="14" y="51"/>
                    <a:pt x="14" y="51"/>
                  </a:cubicBezTo>
                  <a:lnTo>
                    <a:pt x="2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a:extLst>
                <a:ext uri="{FF2B5EF4-FFF2-40B4-BE49-F238E27FC236}">
                  <a16:creationId xmlns:a16="http://schemas.microsoft.com/office/drawing/2014/main" id="{DC296648-96BB-BF4B-9E49-9E7B837B16F7}"/>
                </a:ext>
              </a:extLst>
            </p:cNvPr>
            <p:cNvSpPr>
              <a:spLocks/>
            </p:cNvSpPr>
            <p:nvPr/>
          </p:nvSpPr>
          <p:spPr bwMode="auto">
            <a:xfrm>
              <a:off x="3173" y="1005"/>
              <a:ext cx="175" cy="4"/>
            </a:xfrm>
            <a:custGeom>
              <a:avLst/>
              <a:gdLst>
                <a:gd name="T0" fmla="*/ 530 w 537"/>
                <a:gd name="T1" fmla="*/ 0 h 14"/>
                <a:gd name="T2" fmla="*/ 7 w 537"/>
                <a:gd name="T3" fmla="*/ 0 h 14"/>
                <a:gd name="T4" fmla="*/ 0 w 537"/>
                <a:gd name="T5" fmla="*/ 7 h 14"/>
                <a:gd name="T6" fmla="*/ 7 w 537"/>
                <a:gd name="T7" fmla="*/ 14 h 14"/>
                <a:gd name="T8" fmla="*/ 530 w 537"/>
                <a:gd name="T9" fmla="*/ 14 h 14"/>
                <a:gd name="T10" fmla="*/ 537 w 537"/>
                <a:gd name="T11" fmla="*/ 7 h 14"/>
                <a:gd name="T12" fmla="*/ 530 w 53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537" h="14">
                  <a:moveTo>
                    <a:pt x="530" y="0"/>
                  </a:moveTo>
                  <a:cubicBezTo>
                    <a:pt x="7" y="0"/>
                    <a:pt x="7" y="0"/>
                    <a:pt x="7" y="0"/>
                  </a:cubicBezTo>
                  <a:cubicBezTo>
                    <a:pt x="3" y="0"/>
                    <a:pt x="0" y="3"/>
                    <a:pt x="0" y="7"/>
                  </a:cubicBezTo>
                  <a:cubicBezTo>
                    <a:pt x="0" y="11"/>
                    <a:pt x="3" y="14"/>
                    <a:pt x="7" y="14"/>
                  </a:cubicBezTo>
                  <a:cubicBezTo>
                    <a:pt x="530" y="14"/>
                    <a:pt x="530" y="14"/>
                    <a:pt x="530" y="14"/>
                  </a:cubicBezTo>
                  <a:cubicBezTo>
                    <a:pt x="533" y="14"/>
                    <a:pt x="537" y="11"/>
                    <a:pt x="537" y="7"/>
                  </a:cubicBezTo>
                  <a:cubicBezTo>
                    <a:pt x="537" y="3"/>
                    <a:pt x="533" y="0"/>
                    <a:pt x="53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915B3076-FA1A-D243-89D4-82A25EF6277D}"/>
                </a:ext>
              </a:extLst>
            </p:cNvPr>
            <p:cNvSpPr>
              <a:spLocks/>
            </p:cNvSpPr>
            <p:nvPr/>
          </p:nvSpPr>
          <p:spPr bwMode="auto">
            <a:xfrm>
              <a:off x="3254" y="865"/>
              <a:ext cx="69" cy="5"/>
            </a:xfrm>
            <a:custGeom>
              <a:avLst/>
              <a:gdLst>
                <a:gd name="T0" fmla="*/ 205 w 212"/>
                <a:gd name="T1" fmla="*/ 0 h 14"/>
                <a:gd name="T2" fmla="*/ 7 w 212"/>
                <a:gd name="T3" fmla="*/ 0 h 14"/>
                <a:gd name="T4" fmla="*/ 0 w 212"/>
                <a:gd name="T5" fmla="*/ 7 h 14"/>
                <a:gd name="T6" fmla="*/ 7 w 212"/>
                <a:gd name="T7" fmla="*/ 14 h 14"/>
                <a:gd name="T8" fmla="*/ 205 w 212"/>
                <a:gd name="T9" fmla="*/ 14 h 14"/>
                <a:gd name="T10" fmla="*/ 212 w 212"/>
                <a:gd name="T11" fmla="*/ 7 h 14"/>
                <a:gd name="T12" fmla="*/ 205 w 21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12" h="14">
                  <a:moveTo>
                    <a:pt x="205" y="0"/>
                  </a:moveTo>
                  <a:cubicBezTo>
                    <a:pt x="7" y="0"/>
                    <a:pt x="7" y="0"/>
                    <a:pt x="7" y="0"/>
                  </a:cubicBezTo>
                  <a:cubicBezTo>
                    <a:pt x="4" y="0"/>
                    <a:pt x="0" y="3"/>
                    <a:pt x="0" y="7"/>
                  </a:cubicBezTo>
                  <a:cubicBezTo>
                    <a:pt x="0" y="11"/>
                    <a:pt x="4" y="14"/>
                    <a:pt x="7" y="14"/>
                  </a:cubicBezTo>
                  <a:cubicBezTo>
                    <a:pt x="205" y="14"/>
                    <a:pt x="205" y="14"/>
                    <a:pt x="205" y="14"/>
                  </a:cubicBezTo>
                  <a:cubicBezTo>
                    <a:pt x="208" y="14"/>
                    <a:pt x="212" y="11"/>
                    <a:pt x="212" y="7"/>
                  </a:cubicBezTo>
                  <a:cubicBezTo>
                    <a:pt x="212" y="3"/>
                    <a:pt x="208" y="0"/>
                    <a:pt x="20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B23A61B6-A599-5249-9C6B-A8BB889A53A4}"/>
                </a:ext>
              </a:extLst>
            </p:cNvPr>
            <p:cNvSpPr>
              <a:spLocks/>
            </p:cNvSpPr>
            <p:nvPr/>
          </p:nvSpPr>
          <p:spPr bwMode="auto">
            <a:xfrm>
              <a:off x="3254" y="855"/>
              <a:ext cx="69" cy="4"/>
            </a:xfrm>
            <a:custGeom>
              <a:avLst/>
              <a:gdLst>
                <a:gd name="T0" fmla="*/ 205 w 212"/>
                <a:gd name="T1" fmla="*/ 0 h 14"/>
                <a:gd name="T2" fmla="*/ 7 w 212"/>
                <a:gd name="T3" fmla="*/ 0 h 14"/>
                <a:gd name="T4" fmla="*/ 0 w 212"/>
                <a:gd name="T5" fmla="*/ 7 h 14"/>
                <a:gd name="T6" fmla="*/ 7 w 212"/>
                <a:gd name="T7" fmla="*/ 14 h 14"/>
                <a:gd name="T8" fmla="*/ 205 w 212"/>
                <a:gd name="T9" fmla="*/ 14 h 14"/>
                <a:gd name="T10" fmla="*/ 212 w 212"/>
                <a:gd name="T11" fmla="*/ 7 h 14"/>
                <a:gd name="T12" fmla="*/ 205 w 21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12" h="14">
                  <a:moveTo>
                    <a:pt x="205" y="0"/>
                  </a:moveTo>
                  <a:cubicBezTo>
                    <a:pt x="7" y="0"/>
                    <a:pt x="7" y="0"/>
                    <a:pt x="7" y="0"/>
                  </a:cubicBezTo>
                  <a:cubicBezTo>
                    <a:pt x="4" y="0"/>
                    <a:pt x="0" y="3"/>
                    <a:pt x="0" y="7"/>
                  </a:cubicBezTo>
                  <a:cubicBezTo>
                    <a:pt x="0" y="10"/>
                    <a:pt x="4" y="14"/>
                    <a:pt x="7" y="14"/>
                  </a:cubicBezTo>
                  <a:cubicBezTo>
                    <a:pt x="205" y="14"/>
                    <a:pt x="205" y="14"/>
                    <a:pt x="205" y="14"/>
                  </a:cubicBezTo>
                  <a:cubicBezTo>
                    <a:pt x="208" y="14"/>
                    <a:pt x="212" y="10"/>
                    <a:pt x="212" y="7"/>
                  </a:cubicBezTo>
                  <a:cubicBezTo>
                    <a:pt x="212" y="3"/>
                    <a:pt x="208" y="0"/>
                    <a:pt x="20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1260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graphicEl>
                                              <a:dgm id="{80C83430-0DBD-4F49-9E64-0C82594BD9F0}"/>
                                            </p:graphicEl>
                                          </p:spTgt>
                                        </p:tgtEl>
                                        <p:attrNameLst>
                                          <p:attrName>style.visibility</p:attrName>
                                        </p:attrNameLst>
                                      </p:cBhvr>
                                      <p:to>
                                        <p:strVal val="visible"/>
                                      </p:to>
                                    </p:set>
                                    <p:animEffect transition="in" filter="fade">
                                      <p:cBhvr>
                                        <p:cTn id="7" dur="200"/>
                                        <p:tgtEl>
                                          <p:spTgt spid="9">
                                            <p:graphicEl>
                                              <a:dgm id="{80C83430-0DBD-4F49-9E64-0C82594BD9F0}"/>
                                            </p:graphicEl>
                                          </p:spTgt>
                                        </p:tgtEl>
                                      </p:cBhvr>
                                    </p:animEffect>
                                  </p:childTnLst>
                                </p:cTn>
                              </p:par>
                              <p:par>
                                <p:cTn id="8" presetID="22" presetClass="entr" presetSubtype="8" fill="hold" nodeType="withEffect">
                                  <p:stCondLst>
                                    <p:cond delay="20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200"/>
                                        <p:tgtEl>
                                          <p:spTgt spid="17"/>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200"/>
                                        <p:tgtEl>
                                          <p:spTgt spid="19"/>
                                        </p:tgtEl>
                                      </p:cBhvr>
                                    </p:animEffect>
                                  </p:childTnLst>
                                </p:cTn>
                              </p:par>
                              <p:par>
                                <p:cTn id="14" presetID="10" presetClass="entr" presetSubtype="0" fill="hold" nodeType="withEffect">
                                  <p:stCondLst>
                                    <p:cond delay="40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200"/>
                                        <p:tgtEl>
                                          <p:spTgt spid="2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300"/>
                                  </p:stCondLst>
                                  <p:childTnLst>
                                    <p:set>
                                      <p:cBhvr>
                                        <p:cTn id="23" dur="1" fill="hold">
                                          <p:stCondLst>
                                            <p:cond delay="0"/>
                                          </p:stCondLst>
                                        </p:cTn>
                                        <p:tgtEl>
                                          <p:spTgt spid="9">
                                            <p:graphicEl>
                                              <a:dgm id="{87FD9542-8FD3-C842-BF99-47B1884B62F8}"/>
                                            </p:graphicEl>
                                          </p:spTgt>
                                        </p:tgtEl>
                                        <p:attrNameLst>
                                          <p:attrName>style.visibility</p:attrName>
                                        </p:attrNameLst>
                                      </p:cBhvr>
                                      <p:to>
                                        <p:strVal val="visible"/>
                                      </p:to>
                                    </p:set>
                                    <p:animEffect transition="in" filter="fade">
                                      <p:cBhvr>
                                        <p:cTn id="24" dur="200"/>
                                        <p:tgtEl>
                                          <p:spTgt spid="9">
                                            <p:graphicEl>
                                              <a:dgm id="{87FD9542-8FD3-C842-BF99-47B1884B62F8}"/>
                                            </p:graphicEl>
                                          </p:spTgt>
                                        </p:tgtEl>
                                      </p:cBhvr>
                                    </p:animEffect>
                                  </p:childTnLst>
                                </p:cTn>
                              </p:par>
                              <p:par>
                                <p:cTn id="25" presetID="22" presetClass="entr" presetSubtype="8" fill="hold" nodeType="with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200"/>
                                        <p:tgtEl>
                                          <p:spTgt spid="16"/>
                                        </p:tgtEl>
                                      </p:cBhvr>
                                    </p:animEffect>
                                  </p:childTnLst>
                                </p:cTn>
                              </p:par>
                              <p:par>
                                <p:cTn id="28" presetID="10" presetClass="entr" presetSubtype="0" fill="hold" grpId="0" nodeType="withEffect">
                                  <p:stCondLst>
                                    <p:cond delay="7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00"/>
                                        <p:tgtEl>
                                          <p:spTgt spid="11"/>
                                        </p:tgtEl>
                                      </p:cBhvr>
                                    </p:animEffect>
                                  </p:childTnLst>
                                </p:cTn>
                              </p:par>
                              <p:par>
                                <p:cTn id="31" presetID="10" presetClass="entr" presetSubtype="0" fill="hold" grpId="0" nodeType="withEffect">
                                  <p:stCondLst>
                                    <p:cond delay="70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200"/>
                                        <p:tgtEl>
                                          <p:spTgt spid="18"/>
                                        </p:tgtEl>
                                      </p:cBhvr>
                                    </p:animEffect>
                                  </p:childTnLst>
                                </p:cTn>
                              </p:par>
                              <p:par>
                                <p:cTn id="34" presetID="10" presetClass="entr" presetSubtype="0" fill="hold" nodeType="withEffect">
                                  <p:stCondLst>
                                    <p:cond delay="70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2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600"/>
                                  </p:stCondLst>
                                  <p:childTnLst>
                                    <p:set>
                                      <p:cBhvr>
                                        <p:cTn id="40" dur="1" fill="hold">
                                          <p:stCondLst>
                                            <p:cond delay="0"/>
                                          </p:stCondLst>
                                        </p:cTn>
                                        <p:tgtEl>
                                          <p:spTgt spid="9">
                                            <p:graphicEl>
                                              <a:dgm id="{19D3CC6C-315D-6D46-A1D0-2DDEC1C7A2BA}"/>
                                            </p:graphicEl>
                                          </p:spTgt>
                                        </p:tgtEl>
                                        <p:attrNameLst>
                                          <p:attrName>style.visibility</p:attrName>
                                        </p:attrNameLst>
                                      </p:cBhvr>
                                      <p:to>
                                        <p:strVal val="visible"/>
                                      </p:to>
                                    </p:set>
                                    <p:animEffect transition="in" filter="fade">
                                      <p:cBhvr>
                                        <p:cTn id="41" dur="200"/>
                                        <p:tgtEl>
                                          <p:spTgt spid="9">
                                            <p:graphicEl>
                                              <a:dgm id="{19D3CC6C-315D-6D46-A1D0-2DDEC1C7A2BA}"/>
                                            </p:graphicEl>
                                          </p:spTgt>
                                        </p:tgtEl>
                                      </p:cBhvr>
                                    </p:animEffect>
                                  </p:childTnLst>
                                </p:cTn>
                              </p:par>
                              <p:par>
                                <p:cTn id="42" presetID="22" presetClass="entr" presetSubtype="8" fill="hold" nodeType="withEffect">
                                  <p:stCondLst>
                                    <p:cond delay="800"/>
                                  </p:stCondLst>
                                  <p:childTnLst>
                                    <p:set>
                                      <p:cBhvr>
                                        <p:cTn id="43" dur="1" fill="hold">
                                          <p:stCondLst>
                                            <p:cond delay="0"/>
                                          </p:stCondLst>
                                        </p:cTn>
                                        <p:tgtEl>
                                          <p:spTgt spid="15"/>
                                        </p:tgtEl>
                                        <p:attrNameLst>
                                          <p:attrName>style.visibility</p:attrName>
                                        </p:attrNameLst>
                                      </p:cBhvr>
                                      <p:to>
                                        <p:strVal val="visible"/>
                                      </p:to>
                                    </p:set>
                                    <p:animEffect transition="in" filter="wipe(left)">
                                      <p:cBhvr>
                                        <p:cTn id="44" dur="200"/>
                                        <p:tgtEl>
                                          <p:spTgt spid="15"/>
                                        </p:tgtEl>
                                      </p:cBhvr>
                                    </p:animEffect>
                                  </p:childTnLst>
                                </p:cTn>
                              </p:par>
                              <p:par>
                                <p:cTn id="45" presetID="10" presetClass="entr" presetSubtype="0" fill="hold" grpId="0" nodeType="withEffect">
                                  <p:stCondLst>
                                    <p:cond delay="100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200"/>
                                        <p:tgtEl>
                                          <p:spTgt spid="12"/>
                                        </p:tgtEl>
                                      </p:cBhvr>
                                    </p:animEffect>
                                  </p:childTnLst>
                                </p:cTn>
                              </p:par>
                              <p:par>
                                <p:cTn id="48" presetID="10" presetClass="entr" presetSubtype="0" fill="hold" grpId="0" nodeType="withEffect">
                                  <p:stCondLst>
                                    <p:cond delay="100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200"/>
                                        <p:tgtEl>
                                          <p:spTgt spid="20"/>
                                        </p:tgtEl>
                                      </p:cBhvr>
                                    </p:animEffect>
                                  </p:childTnLst>
                                </p:cTn>
                              </p:par>
                              <p:par>
                                <p:cTn id="51" presetID="10" presetClass="entr" presetSubtype="0" fill="hold" nodeType="withEffect">
                                  <p:stCondLst>
                                    <p:cond delay="100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200"/>
                                        <p:tgtEl>
                                          <p:spTgt spid="23"/>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900"/>
                                  </p:stCondLst>
                                  <p:childTnLst>
                                    <p:set>
                                      <p:cBhvr>
                                        <p:cTn id="57" dur="1" fill="hold">
                                          <p:stCondLst>
                                            <p:cond delay="0"/>
                                          </p:stCondLst>
                                        </p:cTn>
                                        <p:tgtEl>
                                          <p:spTgt spid="9">
                                            <p:graphicEl>
                                              <a:dgm id="{CBDC1C1A-EBA1-C041-91B6-DB84A72A1EA4}"/>
                                            </p:graphicEl>
                                          </p:spTgt>
                                        </p:tgtEl>
                                        <p:attrNameLst>
                                          <p:attrName>style.visibility</p:attrName>
                                        </p:attrNameLst>
                                      </p:cBhvr>
                                      <p:to>
                                        <p:strVal val="visible"/>
                                      </p:to>
                                    </p:set>
                                    <p:animEffect transition="in" filter="fade">
                                      <p:cBhvr>
                                        <p:cTn id="58" dur="200"/>
                                        <p:tgtEl>
                                          <p:spTgt spid="9">
                                            <p:graphicEl>
                                              <a:dgm id="{CBDC1C1A-EBA1-C041-91B6-DB84A72A1EA4}"/>
                                            </p:graphicEl>
                                          </p:spTgt>
                                        </p:tgtEl>
                                      </p:cBhvr>
                                    </p:animEffect>
                                  </p:childTnLst>
                                </p:cTn>
                              </p:par>
                              <p:par>
                                <p:cTn id="59" presetID="22" presetClass="entr" presetSubtype="8" fill="hold" nodeType="withEffect">
                                  <p:stCondLst>
                                    <p:cond delay="1100"/>
                                  </p:stCondLst>
                                  <p:childTnLst>
                                    <p:set>
                                      <p:cBhvr>
                                        <p:cTn id="60" dur="1" fill="hold">
                                          <p:stCondLst>
                                            <p:cond delay="0"/>
                                          </p:stCondLst>
                                        </p:cTn>
                                        <p:tgtEl>
                                          <p:spTgt spid="14"/>
                                        </p:tgtEl>
                                        <p:attrNameLst>
                                          <p:attrName>style.visibility</p:attrName>
                                        </p:attrNameLst>
                                      </p:cBhvr>
                                      <p:to>
                                        <p:strVal val="visible"/>
                                      </p:to>
                                    </p:set>
                                    <p:animEffect transition="in" filter="wipe(left)">
                                      <p:cBhvr>
                                        <p:cTn id="61" dur="200"/>
                                        <p:tgtEl>
                                          <p:spTgt spid="14"/>
                                        </p:tgtEl>
                                      </p:cBhvr>
                                    </p:animEffect>
                                  </p:childTnLst>
                                </p:cTn>
                              </p:par>
                              <p:par>
                                <p:cTn id="62" presetID="10" presetClass="entr" presetSubtype="0" fill="hold" grpId="0" nodeType="withEffect">
                                  <p:stCondLst>
                                    <p:cond delay="130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200"/>
                                        <p:tgtEl>
                                          <p:spTgt spid="13"/>
                                        </p:tgtEl>
                                      </p:cBhvr>
                                    </p:animEffect>
                                  </p:childTnLst>
                                </p:cTn>
                              </p:par>
                              <p:par>
                                <p:cTn id="65" presetID="10" presetClass="entr" presetSubtype="0" fill="hold" grpId="0" nodeType="withEffect">
                                  <p:stCondLst>
                                    <p:cond delay="130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200"/>
                                        <p:tgtEl>
                                          <p:spTgt spid="21"/>
                                        </p:tgtEl>
                                      </p:cBhvr>
                                    </p:animEffect>
                                  </p:childTnLst>
                                </p:cTn>
                              </p:par>
                              <p:par>
                                <p:cTn id="68" presetID="10" presetClass="entr" presetSubtype="0" fill="hold" nodeType="withEffect">
                                  <p:stCondLst>
                                    <p:cond delay="130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rev="1"/>
        </p:bldSub>
      </p:bldGraphic>
      <p:bldP spid="10" grpId="0"/>
      <p:bldP spid="11" grpId="0"/>
      <p:bldP spid="12" grpId="0"/>
      <p:bldP spid="13" grpId="0"/>
      <p:bldP spid="18" grpId="0" animBg="1"/>
      <p:bldP spid="19" grpId="0" animBg="1"/>
      <p:bldP spid="20" grpId="0" animBg="1"/>
      <p:bldP spid="2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3184943" y="198666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9" name="Rectangle 78">
            <a:extLst>
              <a:ext uri="{FF2B5EF4-FFF2-40B4-BE49-F238E27FC236}">
                <a16:creationId xmlns:a16="http://schemas.microsoft.com/office/drawing/2014/main" id="{0B167CCD-B821-4A23-9FA7-556FD079928B}"/>
              </a:ext>
            </a:extLst>
          </p:cNvPr>
          <p:cNvSpPr/>
          <p:nvPr/>
        </p:nvSpPr>
        <p:spPr>
          <a:xfrm>
            <a:off x="891273" y="198666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2553908"/>
            <a:ext cx="7776000"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p:nvPr/>
        </p:nvCxnSpPr>
        <p:spPr>
          <a:xfrm>
            <a:off x="365682" y="3225468"/>
            <a:ext cx="7776000"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891273" y="265822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2584989"/>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2</a:t>
            </a: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3184943" y="265822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tangle 55">
            <a:extLst>
              <a:ext uri="{FF2B5EF4-FFF2-40B4-BE49-F238E27FC236}">
                <a16:creationId xmlns:a16="http://schemas.microsoft.com/office/drawing/2014/main" id="{D9FF0F48-8BA1-4352-A8D1-8CD3B18F78E0}"/>
              </a:ext>
            </a:extLst>
          </p:cNvPr>
          <p:cNvSpPr/>
          <p:nvPr/>
        </p:nvSpPr>
        <p:spPr>
          <a:xfrm>
            <a:off x="891273" y="332978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3256549"/>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3</a:t>
            </a:r>
          </a:p>
        </p:txBody>
      </p:sp>
      <p:sp>
        <p:nvSpPr>
          <p:cNvPr id="28" name="Rectangle 27">
            <a:extLst>
              <a:ext uri="{FF2B5EF4-FFF2-40B4-BE49-F238E27FC236}">
                <a16:creationId xmlns:a16="http://schemas.microsoft.com/office/drawing/2014/main" id="{B3925AB3-A14F-422D-90C2-088906BB6C96}"/>
              </a:ext>
            </a:extLst>
          </p:cNvPr>
          <p:cNvSpPr>
            <a:spLocks/>
          </p:cNvSpPr>
          <p:nvPr/>
        </p:nvSpPr>
        <p:spPr>
          <a:xfrm>
            <a:off x="3184943" y="332978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1" name="Rectangle 10">
            <a:extLst>
              <a:ext uri="{FF2B5EF4-FFF2-40B4-BE49-F238E27FC236}">
                <a16:creationId xmlns:a16="http://schemas.microsoft.com/office/drawing/2014/main" id="{9FD7097F-5451-492F-AD01-AF13FE2B5CCA}"/>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cxnSp>
        <p:nvCxnSpPr>
          <p:cNvPr id="25" name="Straight Connector 24">
            <a:extLst>
              <a:ext uri="{FF2B5EF4-FFF2-40B4-BE49-F238E27FC236}">
                <a16:creationId xmlns:a16="http://schemas.microsoft.com/office/drawing/2014/main" id="{D0CD7538-EB8C-4767-AB7D-3B144FFC874E}"/>
              </a:ext>
            </a:extLst>
          </p:cNvPr>
          <p:cNvCxnSpPr/>
          <p:nvPr/>
        </p:nvCxnSpPr>
        <p:spPr>
          <a:xfrm>
            <a:off x="365682" y="3897028"/>
            <a:ext cx="7776000" cy="0"/>
          </a:xfrm>
          <a:prstGeom prst="line">
            <a:avLst/>
          </a:prstGeom>
          <a:noFill/>
          <a:ln w="22225" cap="flat" cmpd="sng" algn="ctr">
            <a:solidFill>
              <a:srgbClr val="BBBEC2"/>
            </a:solidFill>
            <a:prstDash val="solid"/>
          </a:ln>
          <a:effectLst/>
        </p:spPr>
      </p:cxnSp>
      <p:sp>
        <p:nvSpPr>
          <p:cNvPr id="29" name="Rectangle 28">
            <a:extLst>
              <a:ext uri="{FF2B5EF4-FFF2-40B4-BE49-F238E27FC236}">
                <a16:creationId xmlns:a16="http://schemas.microsoft.com/office/drawing/2014/main" id="{80FFF5FB-625A-4E0C-8904-A0ED96BB23E5}"/>
              </a:ext>
            </a:extLst>
          </p:cNvPr>
          <p:cNvSpPr/>
          <p:nvPr/>
        </p:nvSpPr>
        <p:spPr>
          <a:xfrm>
            <a:off x="891273" y="400134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0" name="RBContent19">
            <a:extLst>
              <a:ext uri="{FF2B5EF4-FFF2-40B4-BE49-F238E27FC236}">
                <a16:creationId xmlns:a16="http://schemas.microsoft.com/office/drawing/2014/main" id="{3D7031D1-4BDE-4CE0-9758-EF3201ACAC24}"/>
              </a:ext>
            </a:extLst>
          </p:cNvPr>
          <p:cNvSpPr txBox="1"/>
          <p:nvPr/>
        </p:nvSpPr>
        <p:spPr>
          <a:xfrm>
            <a:off x="365682" y="3928109"/>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4</a:t>
            </a:r>
          </a:p>
        </p:txBody>
      </p:sp>
      <p:sp>
        <p:nvSpPr>
          <p:cNvPr id="31" name="Rectangle 30">
            <a:extLst>
              <a:ext uri="{FF2B5EF4-FFF2-40B4-BE49-F238E27FC236}">
                <a16:creationId xmlns:a16="http://schemas.microsoft.com/office/drawing/2014/main" id="{2F7D4258-5B3E-4514-880A-0C61AF2A2217}"/>
              </a:ext>
            </a:extLst>
          </p:cNvPr>
          <p:cNvSpPr>
            <a:spLocks/>
          </p:cNvSpPr>
          <p:nvPr/>
        </p:nvSpPr>
        <p:spPr>
          <a:xfrm>
            <a:off x="3184943" y="400134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32" name="Straight Connector 31">
            <a:extLst>
              <a:ext uri="{FF2B5EF4-FFF2-40B4-BE49-F238E27FC236}">
                <a16:creationId xmlns:a16="http://schemas.microsoft.com/office/drawing/2014/main" id="{C16093BE-8628-4D8F-A94E-A832F00D4497}"/>
              </a:ext>
            </a:extLst>
          </p:cNvPr>
          <p:cNvCxnSpPr/>
          <p:nvPr/>
        </p:nvCxnSpPr>
        <p:spPr>
          <a:xfrm>
            <a:off x="365682" y="4568588"/>
            <a:ext cx="7776000" cy="0"/>
          </a:xfrm>
          <a:prstGeom prst="line">
            <a:avLst/>
          </a:prstGeom>
          <a:noFill/>
          <a:ln w="22225" cap="flat" cmpd="sng" algn="ctr">
            <a:solidFill>
              <a:srgbClr val="BBBEC2"/>
            </a:solidFill>
            <a:prstDash val="solid"/>
          </a:ln>
          <a:effectLst/>
        </p:spPr>
      </p:cxnSp>
      <p:sp>
        <p:nvSpPr>
          <p:cNvPr id="34" name="Rectangle 33">
            <a:extLst>
              <a:ext uri="{FF2B5EF4-FFF2-40B4-BE49-F238E27FC236}">
                <a16:creationId xmlns:a16="http://schemas.microsoft.com/office/drawing/2014/main" id="{C2DE51E0-FD07-4DBE-8111-753A81E1FA7A}"/>
              </a:ext>
            </a:extLst>
          </p:cNvPr>
          <p:cNvSpPr/>
          <p:nvPr/>
        </p:nvSpPr>
        <p:spPr>
          <a:xfrm>
            <a:off x="891273" y="4672909"/>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5" name="RBContent19">
            <a:extLst>
              <a:ext uri="{FF2B5EF4-FFF2-40B4-BE49-F238E27FC236}">
                <a16:creationId xmlns:a16="http://schemas.microsoft.com/office/drawing/2014/main" id="{DF3D7BF0-8C76-4B6A-B0C5-294C95BF2439}"/>
              </a:ext>
            </a:extLst>
          </p:cNvPr>
          <p:cNvSpPr txBox="1"/>
          <p:nvPr/>
        </p:nvSpPr>
        <p:spPr>
          <a:xfrm>
            <a:off x="365682" y="4599669"/>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5</a:t>
            </a:r>
          </a:p>
        </p:txBody>
      </p:sp>
      <p:sp>
        <p:nvSpPr>
          <p:cNvPr id="36" name="Rectangle 35">
            <a:extLst>
              <a:ext uri="{FF2B5EF4-FFF2-40B4-BE49-F238E27FC236}">
                <a16:creationId xmlns:a16="http://schemas.microsoft.com/office/drawing/2014/main" id="{267A3152-C9AC-4ABA-8FE4-7D8870B13CA5}"/>
              </a:ext>
            </a:extLst>
          </p:cNvPr>
          <p:cNvSpPr>
            <a:spLocks/>
          </p:cNvSpPr>
          <p:nvPr/>
        </p:nvSpPr>
        <p:spPr>
          <a:xfrm>
            <a:off x="3184943" y="4672909"/>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37" name="Straight Connector 36">
            <a:extLst>
              <a:ext uri="{FF2B5EF4-FFF2-40B4-BE49-F238E27FC236}">
                <a16:creationId xmlns:a16="http://schemas.microsoft.com/office/drawing/2014/main" id="{76C8FA87-6D1D-4E44-A9B9-8FA9D0038778}"/>
              </a:ext>
            </a:extLst>
          </p:cNvPr>
          <p:cNvCxnSpPr/>
          <p:nvPr/>
        </p:nvCxnSpPr>
        <p:spPr>
          <a:xfrm>
            <a:off x="365682" y="5240148"/>
            <a:ext cx="7776000" cy="0"/>
          </a:xfrm>
          <a:prstGeom prst="line">
            <a:avLst/>
          </a:prstGeom>
          <a:noFill/>
          <a:ln w="22225" cap="flat" cmpd="sng" algn="ctr">
            <a:solidFill>
              <a:srgbClr val="BBBEC2"/>
            </a:solidFill>
            <a:prstDash val="solid"/>
          </a:ln>
          <a:effectLst/>
        </p:spPr>
      </p:cxnSp>
      <p:sp>
        <p:nvSpPr>
          <p:cNvPr id="39" name="Rectangle 38">
            <a:extLst>
              <a:ext uri="{FF2B5EF4-FFF2-40B4-BE49-F238E27FC236}">
                <a16:creationId xmlns:a16="http://schemas.microsoft.com/office/drawing/2014/main" id="{108651D0-ABFA-4432-A9B1-2F8A9A14CC53}"/>
              </a:ext>
            </a:extLst>
          </p:cNvPr>
          <p:cNvSpPr/>
          <p:nvPr/>
        </p:nvSpPr>
        <p:spPr>
          <a:xfrm>
            <a:off x="891273" y="5344471"/>
            <a:ext cx="2078963"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40" name="RBContent19">
            <a:extLst>
              <a:ext uri="{FF2B5EF4-FFF2-40B4-BE49-F238E27FC236}">
                <a16:creationId xmlns:a16="http://schemas.microsoft.com/office/drawing/2014/main" id="{B38CFFA8-A506-4D63-A265-E4E116034393}"/>
              </a:ext>
            </a:extLst>
          </p:cNvPr>
          <p:cNvSpPr txBox="1"/>
          <p:nvPr/>
        </p:nvSpPr>
        <p:spPr>
          <a:xfrm>
            <a:off x="365682" y="5271231"/>
            <a:ext cx="370030"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6</a:t>
            </a:r>
          </a:p>
        </p:txBody>
      </p:sp>
      <p:sp>
        <p:nvSpPr>
          <p:cNvPr id="41" name="Rectangle 40">
            <a:extLst>
              <a:ext uri="{FF2B5EF4-FFF2-40B4-BE49-F238E27FC236}">
                <a16:creationId xmlns:a16="http://schemas.microsoft.com/office/drawing/2014/main" id="{75CD69F6-9BE3-4599-8BCA-0203C0D3965B}"/>
              </a:ext>
            </a:extLst>
          </p:cNvPr>
          <p:cNvSpPr>
            <a:spLocks/>
          </p:cNvSpPr>
          <p:nvPr/>
        </p:nvSpPr>
        <p:spPr>
          <a:xfrm>
            <a:off x="3184943" y="5344471"/>
            <a:ext cx="495673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Content Placeholder 14">
            <a:extLst>
              <a:ext uri="{FF2B5EF4-FFF2-40B4-BE49-F238E27FC236}">
                <a16:creationId xmlns:a16="http://schemas.microsoft.com/office/drawing/2014/main" id="{21B70F61-6A5B-467D-BE90-9B9F51E7A349}"/>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3900490333"/>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3CF90D5-1126-3B4A-B975-D5A4529C68D5}"/>
              </a:ext>
            </a:extLst>
          </p:cNvPr>
          <p:cNvSpPr>
            <a:spLocks noGrp="1"/>
          </p:cNvSpPr>
          <p:nvPr>
            <p:ph type="sldNum" sz="quarter" idx="4"/>
          </p:nvPr>
        </p:nvSpPr>
        <p:spPr/>
        <p:txBody>
          <a:bodyPr/>
          <a:lstStyle/>
          <a:p>
            <a:fld id="{3D966009-6E5A-4F8C-8CA7-E37AFBF5FB92}" type="slidenum">
              <a:rPr lang="en-US" smtClean="0"/>
              <a:t>180</a:t>
            </a:fld>
            <a:endParaRPr lang="en-US"/>
          </a:p>
        </p:txBody>
      </p:sp>
      <p:sp>
        <p:nvSpPr>
          <p:cNvPr id="3" name="Titel 2">
            <a:extLst>
              <a:ext uri="{FF2B5EF4-FFF2-40B4-BE49-F238E27FC236}">
                <a16:creationId xmlns:a16="http://schemas.microsoft.com/office/drawing/2014/main" id="{BA6E5133-0485-F84F-920B-515C0026BC4D}"/>
              </a:ext>
            </a:extLst>
          </p:cNvPr>
          <p:cNvSpPr>
            <a:spLocks noGrp="1"/>
          </p:cNvSpPr>
          <p:nvPr>
            <p:ph type="title"/>
          </p:nvPr>
        </p:nvSpPr>
        <p:spPr/>
        <p:txBody>
          <a:bodyPr/>
          <a:lstStyle/>
          <a:p>
            <a:endParaRPr lang="en-GB"/>
          </a:p>
        </p:txBody>
      </p:sp>
      <p:sp>
        <p:nvSpPr>
          <p:cNvPr id="4" name="Inhaltsplatzhalter 3">
            <a:extLst>
              <a:ext uri="{FF2B5EF4-FFF2-40B4-BE49-F238E27FC236}">
                <a16:creationId xmlns:a16="http://schemas.microsoft.com/office/drawing/2014/main" id="{663623C9-579C-BC46-B141-A1150CB7B4C0}"/>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01432B15-F9C0-8143-B366-9E8AC401BF69}"/>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937B88B8-0416-9649-BABD-BAF534E57028}"/>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D45DCF5D-AFA6-364E-A471-FC1B7A686139}"/>
              </a:ext>
            </a:extLst>
          </p:cNvPr>
          <p:cNvSpPr>
            <a:spLocks noGrp="1"/>
          </p:cNvSpPr>
          <p:nvPr>
            <p:ph sz="quarter" idx="14"/>
          </p:nvPr>
        </p:nvSpPr>
        <p:spPr/>
        <p:txBody>
          <a:bodyPr/>
          <a:lstStyle/>
          <a:p>
            <a:endParaRPr lang="en-GB"/>
          </a:p>
        </p:txBody>
      </p:sp>
      <p:sp>
        <p:nvSpPr>
          <p:cNvPr id="9" name="Oval 8">
            <a:extLst>
              <a:ext uri="{FF2B5EF4-FFF2-40B4-BE49-F238E27FC236}">
                <a16:creationId xmlns:a16="http://schemas.microsoft.com/office/drawing/2014/main" id="{5D92E568-A877-E444-A41F-ECB9E9EBCD84}"/>
              </a:ext>
            </a:extLst>
          </p:cNvPr>
          <p:cNvSpPr/>
          <p:nvPr/>
        </p:nvSpPr>
        <p:spPr>
          <a:xfrm>
            <a:off x="3282751" y="2221216"/>
            <a:ext cx="2556284" cy="2556284"/>
          </a:xfrm>
          <a:prstGeom prst="ellipse">
            <a:avLst/>
          </a:prstGeom>
          <a:solidFill>
            <a:schemeClr val="bg1">
              <a:lumMod val="5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Pie 8">
            <a:extLst>
              <a:ext uri="{FF2B5EF4-FFF2-40B4-BE49-F238E27FC236}">
                <a16:creationId xmlns:a16="http://schemas.microsoft.com/office/drawing/2014/main" id="{6242595E-FB16-3741-8453-BF6EC29F3CAE}"/>
              </a:ext>
            </a:extLst>
          </p:cNvPr>
          <p:cNvSpPr/>
          <p:nvPr/>
        </p:nvSpPr>
        <p:spPr>
          <a:xfrm>
            <a:off x="2886707" y="1825171"/>
            <a:ext cx="3348372" cy="3348372"/>
          </a:xfrm>
          <a:prstGeom prst="pie">
            <a:avLst>
              <a:gd name="adj1" fmla="val 12147609"/>
              <a:gd name="adj2" fmla="val 14284542"/>
            </a:avLst>
          </a:prstGeom>
          <a:solidFill>
            <a:schemeClr val="tx2">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1" name="Pie 9">
            <a:extLst>
              <a:ext uri="{FF2B5EF4-FFF2-40B4-BE49-F238E27FC236}">
                <a16:creationId xmlns:a16="http://schemas.microsoft.com/office/drawing/2014/main" id="{A3432AD7-6547-A747-94FE-F851C80B01F6}"/>
              </a:ext>
            </a:extLst>
          </p:cNvPr>
          <p:cNvSpPr/>
          <p:nvPr/>
        </p:nvSpPr>
        <p:spPr>
          <a:xfrm>
            <a:off x="2886707" y="1825171"/>
            <a:ext cx="3348372" cy="3348372"/>
          </a:xfrm>
          <a:prstGeom prst="pie">
            <a:avLst>
              <a:gd name="adj1" fmla="val 6199411"/>
              <a:gd name="adj2" fmla="val 10253042"/>
            </a:avLst>
          </a:prstGeom>
          <a:solidFill>
            <a:schemeClr val="accent5">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Pie 10">
            <a:extLst>
              <a:ext uri="{FF2B5EF4-FFF2-40B4-BE49-F238E27FC236}">
                <a16:creationId xmlns:a16="http://schemas.microsoft.com/office/drawing/2014/main" id="{E5D17BDC-904C-3E44-8EC4-33FF00775BDA}"/>
              </a:ext>
            </a:extLst>
          </p:cNvPr>
          <p:cNvSpPr/>
          <p:nvPr/>
        </p:nvSpPr>
        <p:spPr>
          <a:xfrm>
            <a:off x="2633631" y="1591146"/>
            <a:ext cx="3816424" cy="3816424"/>
          </a:xfrm>
          <a:prstGeom prst="pie">
            <a:avLst>
              <a:gd name="adj1" fmla="val 20379763"/>
              <a:gd name="adj2" fmla="val 2003783"/>
            </a:avLst>
          </a:prstGeom>
          <a:solidFill>
            <a:schemeClr val="accent3">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3" name="Pie 11">
            <a:extLst>
              <a:ext uri="{FF2B5EF4-FFF2-40B4-BE49-F238E27FC236}">
                <a16:creationId xmlns:a16="http://schemas.microsoft.com/office/drawing/2014/main" id="{FB865577-E50E-9943-8B79-1E7830134E6B}"/>
              </a:ext>
            </a:extLst>
          </p:cNvPr>
          <p:cNvSpPr/>
          <p:nvPr/>
        </p:nvSpPr>
        <p:spPr>
          <a:xfrm>
            <a:off x="2886707" y="1825171"/>
            <a:ext cx="3348372" cy="3348372"/>
          </a:xfrm>
          <a:prstGeom prst="pie">
            <a:avLst>
              <a:gd name="adj1" fmla="val 18316965"/>
              <a:gd name="adj2" fmla="val 21079154"/>
            </a:avLst>
          </a:prstGeom>
          <a:solidFill>
            <a:schemeClr val="accent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4" name="Pie 38">
            <a:extLst>
              <a:ext uri="{FF2B5EF4-FFF2-40B4-BE49-F238E27FC236}">
                <a16:creationId xmlns:a16="http://schemas.microsoft.com/office/drawing/2014/main" id="{ADDD0C0F-D377-404D-9AC5-B46B46063766}"/>
              </a:ext>
            </a:extLst>
          </p:cNvPr>
          <p:cNvSpPr/>
          <p:nvPr/>
        </p:nvSpPr>
        <p:spPr>
          <a:xfrm>
            <a:off x="2561623" y="1519138"/>
            <a:ext cx="3960440" cy="3960440"/>
          </a:xfrm>
          <a:prstGeom prst="pie">
            <a:avLst>
              <a:gd name="adj1" fmla="val 9630247"/>
              <a:gd name="adj2" fmla="val 11520264"/>
            </a:avLst>
          </a:prstGeom>
          <a:solidFill>
            <a:schemeClr val="accent6">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5" name="Pie 42">
            <a:extLst>
              <a:ext uri="{FF2B5EF4-FFF2-40B4-BE49-F238E27FC236}">
                <a16:creationId xmlns:a16="http://schemas.microsoft.com/office/drawing/2014/main" id="{68286F32-69AA-1947-A593-D84FA2078006}"/>
              </a:ext>
            </a:extLst>
          </p:cNvPr>
          <p:cNvSpPr/>
          <p:nvPr/>
        </p:nvSpPr>
        <p:spPr>
          <a:xfrm>
            <a:off x="3086221" y="2024686"/>
            <a:ext cx="2949344" cy="2949344"/>
          </a:xfrm>
          <a:prstGeom prst="pie">
            <a:avLst>
              <a:gd name="adj1" fmla="val 1652294"/>
              <a:gd name="adj2" fmla="val 4142044"/>
            </a:avLst>
          </a:prstGeom>
          <a:solidFill>
            <a:schemeClr val="accent3">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6" name="Group 66">
            <a:extLst>
              <a:ext uri="{FF2B5EF4-FFF2-40B4-BE49-F238E27FC236}">
                <a16:creationId xmlns:a16="http://schemas.microsoft.com/office/drawing/2014/main" id="{9B99A18A-C769-1243-9030-3B46B59135A7}"/>
              </a:ext>
            </a:extLst>
          </p:cNvPr>
          <p:cNvGrpSpPr/>
          <p:nvPr/>
        </p:nvGrpSpPr>
        <p:grpSpPr>
          <a:xfrm>
            <a:off x="3062763" y="2001228"/>
            <a:ext cx="2996260" cy="2996260"/>
            <a:chOff x="3185119" y="1363965"/>
            <a:chExt cx="2556284" cy="2556284"/>
          </a:xfrm>
        </p:grpSpPr>
        <p:grpSp>
          <p:nvGrpSpPr>
            <p:cNvPr id="17" name="Group 65">
              <a:extLst>
                <a:ext uri="{FF2B5EF4-FFF2-40B4-BE49-F238E27FC236}">
                  <a16:creationId xmlns:a16="http://schemas.microsoft.com/office/drawing/2014/main" id="{BF9DB010-60D4-9C49-8D9F-B0522BA36EBE}"/>
                </a:ext>
              </a:extLst>
            </p:cNvPr>
            <p:cNvGrpSpPr/>
            <p:nvPr/>
          </p:nvGrpSpPr>
          <p:grpSpPr>
            <a:xfrm>
              <a:off x="3378898" y="1551650"/>
              <a:ext cx="2180915" cy="2180915"/>
              <a:chOff x="3378898" y="1551650"/>
              <a:chExt cx="2180915" cy="2180915"/>
            </a:xfrm>
          </p:grpSpPr>
          <p:cxnSp>
            <p:nvCxnSpPr>
              <p:cNvPr id="24" name="Straight Connector 52">
                <a:extLst>
                  <a:ext uri="{FF2B5EF4-FFF2-40B4-BE49-F238E27FC236}">
                    <a16:creationId xmlns:a16="http://schemas.microsoft.com/office/drawing/2014/main" id="{6C36C424-A621-5A4A-8CA9-348622B77197}"/>
                  </a:ext>
                </a:extLst>
              </p:cNvPr>
              <p:cNvCxnSpPr>
                <a:stCxn id="9" idx="0"/>
                <a:endCxn id="9" idx="4"/>
              </p:cNvCxnSpPr>
              <p:nvPr/>
            </p:nvCxnSpPr>
            <p:spPr>
              <a:xfrm>
                <a:off x="4469356" y="1551650"/>
                <a:ext cx="0" cy="2180915"/>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53">
                <a:extLst>
                  <a:ext uri="{FF2B5EF4-FFF2-40B4-BE49-F238E27FC236}">
                    <a16:creationId xmlns:a16="http://schemas.microsoft.com/office/drawing/2014/main" id="{4D230E5A-FD95-C842-AB32-CF8B0595DD36}"/>
                  </a:ext>
                </a:extLst>
              </p:cNvPr>
              <p:cNvCxnSpPr>
                <a:stCxn id="9" idx="6"/>
                <a:endCxn id="9" idx="2"/>
              </p:cNvCxnSpPr>
              <p:nvPr/>
            </p:nvCxnSpPr>
            <p:spPr>
              <a:xfrm flipH="1">
                <a:off x="3378898" y="2642107"/>
                <a:ext cx="2180915"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8" name="Group 61">
              <a:extLst>
                <a:ext uri="{FF2B5EF4-FFF2-40B4-BE49-F238E27FC236}">
                  <a16:creationId xmlns:a16="http://schemas.microsoft.com/office/drawing/2014/main" id="{D5C05AA0-B26E-A24E-BB48-6EC9EF0E228E}"/>
                </a:ext>
              </a:extLst>
            </p:cNvPr>
            <p:cNvGrpSpPr/>
            <p:nvPr/>
          </p:nvGrpSpPr>
          <p:grpSpPr>
            <a:xfrm rot="1800000">
              <a:off x="3185119" y="1363965"/>
              <a:ext cx="2556284" cy="2556284"/>
              <a:chOff x="3302242" y="1480164"/>
              <a:chExt cx="2556284" cy="2556284"/>
            </a:xfrm>
          </p:grpSpPr>
          <p:cxnSp>
            <p:nvCxnSpPr>
              <p:cNvPr id="22" name="Straight Connector 59">
                <a:extLst>
                  <a:ext uri="{FF2B5EF4-FFF2-40B4-BE49-F238E27FC236}">
                    <a16:creationId xmlns:a16="http://schemas.microsoft.com/office/drawing/2014/main" id="{71F31C3A-4C75-6848-A44C-B18B91398919}"/>
                  </a:ext>
                </a:extLst>
              </p:cNvPr>
              <p:cNvCxnSpPr/>
              <p:nvPr/>
            </p:nvCxnSpPr>
            <p:spPr>
              <a:xfrm>
                <a:off x="4580384" y="1480164"/>
                <a:ext cx="0" cy="2556284"/>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60">
                <a:extLst>
                  <a:ext uri="{FF2B5EF4-FFF2-40B4-BE49-F238E27FC236}">
                    <a16:creationId xmlns:a16="http://schemas.microsoft.com/office/drawing/2014/main" id="{B08BF217-FA72-F142-85EF-FF6C5A7EEE10}"/>
                  </a:ext>
                </a:extLst>
              </p:cNvPr>
              <p:cNvCxnSpPr/>
              <p:nvPr/>
            </p:nvCxnSpPr>
            <p:spPr>
              <a:xfrm flipH="1">
                <a:off x="3302242" y="2758306"/>
                <a:ext cx="2556284"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62">
              <a:extLst>
                <a:ext uri="{FF2B5EF4-FFF2-40B4-BE49-F238E27FC236}">
                  <a16:creationId xmlns:a16="http://schemas.microsoft.com/office/drawing/2014/main" id="{CD2E9D73-F707-7F4E-97FA-6E36A1EAF754}"/>
                </a:ext>
              </a:extLst>
            </p:cNvPr>
            <p:cNvGrpSpPr/>
            <p:nvPr/>
          </p:nvGrpSpPr>
          <p:grpSpPr>
            <a:xfrm rot="3600000">
              <a:off x="3185119" y="1363965"/>
              <a:ext cx="2556284" cy="2556284"/>
              <a:chOff x="3302242" y="1480164"/>
              <a:chExt cx="2556284" cy="2556284"/>
            </a:xfrm>
          </p:grpSpPr>
          <p:cxnSp>
            <p:nvCxnSpPr>
              <p:cNvPr id="20" name="Straight Connector 63">
                <a:extLst>
                  <a:ext uri="{FF2B5EF4-FFF2-40B4-BE49-F238E27FC236}">
                    <a16:creationId xmlns:a16="http://schemas.microsoft.com/office/drawing/2014/main" id="{82D18F61-C70D-BD42-8823-B88B1CF7B5A1}"/>
                  </a:ext>
                </a:extLst>
              </p:cNvPr>
              <p:cNvCxnSpPr/>
              <p:nvPr/>
            </p:nvCxnSpPr>
            <p:spPr>
              <a:xfrm>
                <a:off x="4580384" y="1480164"/>
                <a:ext cx="0" cy="2556284"/>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374E11DD-5379-F045-AD6D-BCD3FB1BBF09}"/>
                  </a:ext>
                </a:extLst>
              </p:cNvPr>
              <p:cNvCxnSpPr/>
              <p:nvPr/>
            </p:nvCxnSpPr>
            <p:spPr>
              <a:xfrm flipH="1">
                <a:off x="3302242" y="2758306"/>
                <a:ext cx="2556284"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pSp>
      </p:grpSp>
      <p:sp useBgFill="1">
        <p:nvSpPr>
          <p:cNvPr id="26" name="Oval 25">
            <a:extLst>
              <a:ext uri="{FF2B5EF4-FFF2-40B4-BE49-F238E27FC236}">
                <a16:creationId xmlns:a16="http://schemas.microsoft.com/office/drawing/2014/main" id="{64E52032-E869-B444-A735-37DF54B3E9C8}"/>
              </a:ext>
            </a:extLst>
          </p:cNvPr>
          <p:cNvSpPr/>
          <p:nvPr/>
        </p:nvSpPr>
        <p:spPr>
          <a:xfrm>
            <a:off x="3878665" y="2817130"/>
            <a:ext cx="1364456" cy="1364456"/>
          </a:xfrm>
          <a:prstGeom prst="ellips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47">
            <a:extLst>
              <a:ext uri="{FF2B5EF4-FFF2-40B4-BE49-F238E27FC236}">
                <a16:creationId xmlns:a16="http://schemas.microsoft.com/office/drawing/2014/main" id="{ADCE8B97-39FC-6C46-B76C-7AB35C50F755}"/>
              </a:ext>
            </a:extLst>
          </p:cNvPr>
          <p:cNvSpPr/>
          <p:nvPr/>
        </p:nvSpPr>
        <p:spPr>
          <a:xfrm>
            <a:off x="6253808" y="2001228"/>
            <a:ext cx="1630618" cy="520527"/>
          </a:xfrm>
          <a:prstGeom prst="rect">
            <a:avLst/>
          </a:prstGeom>
        </p:spPr>
        <p:txBody>
          <a:bodyPr wrap="square" lIns="0" tIns="0" rIns="0" bIns="0">
            <a:spAutoFit/>
          </a:bodyPr>
          <a:lstStyle/>
          <a:p>
            <a:pPr>
              <a:lnSpc>
                <a:spcPct val="89000"/>
              </a:lnSpc>
            </a:pPr>
            <a:r>
              <a:rPr lang="fr-FR" sz="1600"/>
              <a:t>04 00 / 06 50</a:t>
            </a:r>
          </a:p>
          <a:p>
            <a:pP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grpSp>
        <p:nvGrpSpPr>
          <p:cNvPr id="28" name="Group 35">
            <a:extLst>
              <a:ext uri="{FF2B5EF4-FFF2-40B4-BE49-F238E27FC236}">
                <a16:creationId xmlns:a16="http://schemas.microsoft.com/office/drawing/2014/main" id="{31BD69CB-55E8-3E48-9AC3-6B7FC26BBAB9}"/>
              </a:ext>
            </a:extLst>
          </p:cNvPr>
          <p:cNvGrpSpPr>
            <a:grpSpLocks noChangeAspect="1"/>
          </p:cNvGrpSpPr>
          <p:nvPr/>
        </p:nvGrpSpPr>
        <p:grpSpPr>
          <a:xfrm>
            <a:off x="5522421" y="2436008"/>
            <a:ext cx="263334" cy="524940"/>
            <a:chOff x="4542701" y="-2257066"/>
            <a:chExt cx="725488" cy="1446213"/>
          </a:xfrm>
        </p:grpSpPr>
        <p:sp>
          <p:nvSpPr>
            <p:cNvPr id="29" name="Freeform 36">
              <a:extLst>
                <a:ext uri="{FF2B5EF4-FFF2-40B4-BE49-F238E27FC236}">
                  <a16:creationId xmlns:a16="http://schemas.microsoft.com/office/drawing/2014/main" id="{129FAE12-5B62-1C44-96BA-05EE0693F073}"/>
                </a:ext>
              </a:extLst>
            </p:cNvPr>
            <p:cNvSpPr>
              <a:spLocks noEditPoints="1"/>
            </p:cNvSpPr>
            <p:nvPr/>
          </p:nvSpPr>
          <p:spPr bwMode="auto">
            <a:xfrm>
              <a:off x="4768126" y="-2257066"/>
              <a:ext cx="273050" cy="273050"/>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5 w 46"/>
                <a:gd name="T13" fmla="*/ 23 h 46"/>
                <a:gd name="T14" fmla="*/ 23 w 46"/>
                <a:gd name="T15" fmla="*/ 41 h 46"/>
                <a:gd name="T16" fmla="*/ 41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5"/>
                    <a:pt x="0" y="23"/>
                  </a:cubicBezTo>
                  <a:cubicBezTo>
                    <a:pt x="0" y="10"/>
                    <a:pt x="10" y="0"/>
                    <a:pt x="23" y="0"/>
                  </a:cubicBezTo>
                  <a:cubicBezTo>
                    <a:pt x="36" y="0"/>
                    <a:pt x="46" y="10"/>
                    <a:pt x="46" y="23"/>
                  </a:cubicBezTo>
                  <a:cubicBezTo>
                    <a:pt x="46" y="35"/>
                    <a:pt x="36" y="46"/>
                    <a:pt x="23" y="46"/>
                  </a:cubicBezTo>
                  <a:close/>
                  <a:moveTo>
                    <a:pt x="23" y="4"/>
                  </a:moveTo>
                  <a:cubicBezTo>
                    <a:pt x="13" y="4"/>
                    <a:pt x="5" y="13"/>
                    <a:pt x="5" y="23"/>
                  </a:cubicBezTo>
                  <a:cubicBezTo>
                    <a:pt x="5" y="33"/>
                    <a:pt x="13" y="41"/>
                    <a:pt x="23" y="41"/>
                  </a:cubicBezTo>
                  <a:cubicBezTo>
                    <a:pt x="33" y="41"/>
                    <a:pt x="41" y="33"/>
                    <a:pt x="41" y="23"/>
                  </a:cubicBezTo>
                  <a:cubicBezTo>
                    <a:pt x="41" y="13"/>
                    <a:pt x="33" y="4"/>
                    <a:pt x="23"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7">
              <a:extLst>
                <a:ext uri="{FF2B5EF4-FFF2-40B4-BE49-F238E27FC236}">
                  <a16:creationId xmlns:a16="http://schemas.microsoft.com/office/drawing/2014/main" id="{F49FDEF1-826B-7A46-BA3F-FE9C7274BC28}"/>
                </a:ext>
              </a:extLst>
            </p:cNvPr>
            <p:cNvSpPr>
              <a:spLocks noEditPoints="1"/>
            </p:cNvSpPr>
            <p:nvPr/>
          </p:nvSpPr>
          <p:spPr bwMode="auto">
            <a:xfrm>
              <a:off x="4542701" y="-1953853"/>
              <a:ext cx="725488" cy="1143000"/>
            </a:xfrm>
            <a:custGeom>
              <a:avLst/>
              <a:gdLst>
                <a:gd name="T0" fmla="*/ 68 w 122"/>
                <a:gd name="T1" fmla="*/ 182 h 192"/>
                <a:gd name="T2" fmla="*/ 54 w 122"/>
                <a:gd name="T3" fmla="*/ 183 h 192"/>
                <a:gd name="T4" fmla="*/ 32 w 122"/>
                <a:gd name="T5" fmla="*/ 182 h 192"/>
                <a:gd name="T6" fmla="*/ 35 w 122"/>
                <a:gd name="T7" fmla="*/ 54 h 192"/>
                <a:gd name="T8" fmla="*/ 10 w 122"/>
                <a:gd name="T9" fmla="*/ 96 h 192"/>
                <a:gd name="T10" fmla="*/ 1 w 122"/>
                <a:gd name="T11" fmla="*/ 85 h 192"/>
                <a:gd name="T12" fmla="*/ 4 w 122"/>
                <a:gd name="T13" fmla="*/ 76 h 192"/>
                <a:gd name="T14" fmla="*/ 61 w 122"/>
                <a:gd name="T15" fmla="*/ 0 h 192"/>
                <a:gd name="T16" fmla="*/ 118 w 122"/>
                <a:gd name="T17" fmla="*/ 76 h 192"/>
                <a:gd name="T18" fmla="*/ 121 w 122"/>
                <a:gd name="T19" fmla="*/ 85 h 192"/>
                <a:gd name="T20" fmla="*/ 112 w 122"/>
                <a:gd name="T21" fmla="*/ 96 h 192"/>
                <a:gd name="T22" fmla="*/ 87 w 122"/>
                <a:gd name="T23" fmla="*/ 54 h 192"/>
                <a:gd name="T24" fmla="*/ 90 w 122"/>
                <a:gd name="T25" fmla="*/ 182 h 192"/>
                <a:gd name="T26" fmla="*/ 79 w 122"/>
                <a:gd name="T27" fmla="*/ 192 h 192"/>
                <a:gd name="T28" fmla="*/ 63 w 122"/>
                <a:gd name="T29" fmla="*/ 100 h 192"/>
                <a:gd name="T30" fmla="*/ 79 w 122"/>
                <a:gd name="T31" fmla="*/ 187 h 192"/>
                <a:gd name="T32" fmla="*/ 79 w 122"/>
                <a:gd name="T33" fmla="*/ 187 h 192"/>
                <a:gd name="T34" fmla="*/ 86 w 122"/>
                <a:gd name="T35" fmla="*/ 182 h 192"/>
                <a:gd name="T36" fmla="*/ 85 w 122"/>
                <a:gd name="T37" fmla="*/ 160 h 192"/>
                <a:gd name="T38" fmla="*/ 82 w 122"/>
                <a:gd name="T39" fmla="*/ 43 h 192"/>
                <a:gd name="T40" fmla="*/ 87 w 122"/>
                <a:gd name="T41" fmla="*/ 42 h 192"/>
                <a:gd name="T42" fmla="*/ 112 w 122"/>
                <a:gd name="T43" fmla="*/ 91 h 192"/>
                <a:gd name="T44" fmla="*/ 116 w 122"/>
                <a:gd name="T45" fmla="*/ 86 h 192"/>
                <a:gd name="T46" fmla="*/ 116 w 122"/>
                <a:gd name="T47" fmla="*/ 84 h 192"/>
                <a:gd name="T48" fmla="*/ 93 w 122"/>
                <a:gd name="T49" fmla="*/ 17 h 192"/>
                <a:gd name="T50" fmla="*/ 29 w 122"/>
                <a:gd name="T51" fmla="*/ 17 h 192"/>
                <a:gd name="T52" fmla="*/ 6 w 122"/>
                <a:gd name="T53" fmla="*/ 84 h 192"/>
                <a:gd name="T54" fmla="*/ 6 w 122"/>
                <a:gd name="T55" fmla="*/ 86 h 192"/>
                <a:gd name="T56" fmla="*/ 10 w 122"/>
                <a:gd name="T57" fmla="*/ 91 h 192"/>
                <a:gd name="T58" fmla="*/ 35 w 122"/>
                <a:gd name="T59" fmla="*/ 42 h 192"/>
                <a:gd name="T60" fmla="*/ 40 w 122"/>
                <a:gd name="T61" fmla="*/ 43 h 192"/>
                <a:gd name="T62" fmla="*/ 37 w 122"/>
                <a:gd name="T63" fmla="*/ 160 h 192"/>
                <a:gd name="T64" fmla="*/ 36 w 122"/>
                <a:gd name="T65" fmla="*/ 181 h 192"/>
                <a:gd name="T66" fmla="*/ 43 w 122"/>
                <a:gd name="T67" fmla="*/ 187 h 192"/>
                <a:gd name="T68" fmla="*/ 59 w 122"/>
                <a:gd name="T69" fmla="*/ 10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92">
                  <a:moveTo>
                    <a:pt x="79" y="192"/>
                  </a:moveTo>
                  <a:cubicBezTo>
                    <a:pt x="74" y="192"/>
                    <a:pt x="69" y="188"/>
                    <a:pt x="68" y="182"/>
                  </a:cubicBezTo>
                  <a:cubicBezTo>
                    <a:pt x="61" y="120"/>
                    <a:pt x="61" y="120"/>
                    <a:pt x="61" y="120"/>
                  </a:cubicBezTo>
                  <a:cubicBezTo>
                    <a:pt x="54" y="183"/>
                    <a:pt x="54" y="183"/>
                    <a:pt x="54" y="183"/>
                  </a:cubicBezTo>
                  <a:cubicBezTo>
                    <a:pt x="53" y="188"/>
                    <a:pt x="48" y="192"/>
                    <a:pt x="43" y="192"/>
                  </a:cubicBezTo>
                  <a:cubicBezTo>
                    <a:pt x="37" y="192"/>
                    <a:pt x="32" y="188"/>
                    <a:pt x="32" y="182"/>
                  </a:cubicBezTo>
                  <a:cubicBezTo>
                    <a:pt x="32" y="182"/>
                    <a:pt x="32" y="182"/>
                    <a:pt x="32" y="182"/>
                  </a:cubicBezTo>
                  <a:cubicBezTo>
                    <a:pt x="32" y="179"/>
                    <a:pt x="34" y="103"/>
                    <a:pt x="35" y="54"/>
                  </a:cubicBezTo>
                  <a:cubicBezTo>
                    <a:pt x="18" y="91"/>
                    <a:pt x="18" y="91"/>
                    <a:pt x="18" y="91"/>
                  </a:cubicBezTo>
                  <a:cubicBezTo>
                    <a:pt x="17" y="94"/>
                    <a:pt x="14" y="96"/>
                    <a:pt x="10" y="96"/>
                  </a:cubicBezTo>
                  <a:cubicBezTo>
                    <a:pt x="9" y="96"/>
                    <a:pt x="8" y="96"/>
                    <a:pt x="7" y="95"/>
                  </a:cubicBezTo>
                  <a:cubicBezTo>
                    <a:pt x="3" y="94"/>
                    <a:pt x="0" y="89"/>
                    <a:pt x="1" y="85"/>
                  </a:cubicBezTo>
                  <a:cubicBezTo>
                    <a:pt x="1" y="85"/>
                    <a:pt x="1" y="85"/>
                    <a:pt x="1" y="85"/>
                  </a:cubicBezTo>
                  <a:cubicBezTo>
                    <a:pt x="1" y="84"/>
                    <a:pt x="3" y="81"/>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1"/>
                    <a:pt x="121" y="84"/>
                    <a:pt x="121" y="85"/>
                  </a:cubicBezTo>
                  <a:cubicBezTo>
                    <a:pt x="121" y="85"/>
                    <a:pt x="121" y="85"/>
                    <a:pt x="121" y="85"/>
                  </a:cubicBezTo>
                  <a:cubicBezTo>
                    <a:pt x="122" y="89"/>
                    <a:pt x="119" y="94"/>
                    <a:pt x="115" y="95"/>
                  </a:cubicBezTo>
                  <a:cubicBezTo>
                    <a:pt x="114" y="96"/>
                    <a:pt x="113" y="96"/>
                    <a:pt x="112" y="96"/>
                  </a:cubicBezTo>
                  <a:cubicBezTo>
                    <a:pt x="108" y="96"/>
                    <a:pt x="105" y="94"/>
                    <a:pt x="104" y="91"/>
                  </a:cubicBezTo>
                  <a:cubicBezTo>
                    <a:pt x="87" y="54"/>
                    <a:pt x="87" y="54"/>
                    <a:pt x="87" y="54"/>
                  </a:cubicBezTo>
                  <a:cubicBezTo>
                    <a:pt x="88" y="103"/>
                    <a:pt x="90" y="179"/>
                    <a:pt x="90" y="182"/>
                  </a:cubicBezTo>
                  <a:cubicBezTo>
                    <a:pt x="90" y="182"/>
                    <a:pt x="90" y="182"/>
                    <a:pt x="90" y="182"/>
                  </a:cubicBezTo>
                  <a:cubicBezTo>
                    <a:pt x="90" y="188"/>
                    <a:pt x="85" y="192"/>
                    <a:pt x="79" y="192"/>
                  </a:cubicBezTo>
                  <a:cubicBezTo>
                    <a:pt x="79" y="192"/>
                    <a:pt x="79" y="192"/>
                    <a:pt x="79" y="192"/>
                  </a:cubicBezTo>
                  <a:close/>
                  <a:moveTo>
                    <a:pt x="61" y="98"/>
                  </a:moveTo>
                  <a:cubicBezTo>
                    <a:pt x="62" y="98"/>
                    <a:pt x="63" y="99"/>
                    <a:pt x="63" y="100"/>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9"/>
                    <a:pt x="85" y="176"/>
                  </a:cubicBezTo>
                  <a:cubicBezTo>
                    <a:pt x="85" y="172"/>
                    <a:pt x="85" y="167"/>
                    <a:pt x="85" y="160"/>
                  </a:cubicBezTo>
                  <a:cubicBezTo>
                    <a:pt x="85" y="147"/>
                    <a:pt x="84" y="130"/>
                    <a:pt x="84" y="112"/>
                  </a:cubicBezTo>
                  <a:cubicBezTo>
                    <a:pt x="83" y="77"/>
                    <a:pt x="82" y="43"/>
                    <a:pt x="82" y="43"/>
                  </a:cubicBezTo>
                  <a:cubicBezTo>
                    <a:pt x="82" y="41"/>
                    <a:pt x="83" y="41"/>
                    <a:pt x="84" y="40"/>
                  </a:cubicBezTo>
                  <a:cubicBezTo>
                    <a:pt x="85" y="40"/>
                    <a:pt x="86" y="41"/>
                    <a:pt x="87" y="42"/>
                  </a:cubicBezTo>
                  <a:cubicBezTo>
                    <a:pt x="108" y="89"/>
                    <a:pt x="108" y="89"/>
                    <a:pt x="108" y="89"/>
                  </a:cubicBezTo>
                  <a:cubicBezTo>
                    <a:pt x="109" y="90"/>
                    <a:pt x="110" y="91"/>
                    <a:pt x="112" y="91"/>
                  </a:cubicBezTo>
                  <a:cubicBezTo>
                    <a:pt x="112" y="91"/>
                    <a:pt x="113" y="91"/>
                    <a:pt x="113" y="91"/>
                  </a:cubicBezTo>
                  <a:cubicBezTo>
                    <a:pt x="115" y="90"/>
                    <a:pt x="117" y="88"/>
                    <a:pt x="116" y="86"/>
                  </a:cubicBezTo>
                  <a:cubicBezTo>
                    <a:pt x="116" y="86"/>
                    <a:pt x="116" y="86"/>
                    <a:pt x="116" y="86"/>
                  </a:cubicBezTo>
                  <a:cubicBezTo>
                    <a:pt x="116" y="86"/>
                    <a:pt x="116" y="85"/>
                    <a:pt x="116" y="84"/>
                  </a:cubicBezTo>
                  <a:cubicBezTo>
                    <a:pt x="115" y="82"/>
                    <a:pt x="114" y="80"/>
                    <a:pt x="114" y="78"/>
                  </a:cubicBezTo>
                  <a:cubicBezTo>
                    <a:pt x="108" y="61"/>
                    <a:pt x="96" y="23"/>
                    <a:pt x="93" y="17"/>
                  </a:cubicBezTo>
                  <a:cubicBezTo>
                    <a:pt x="90" y="11"/>
                    <a:pt x="84" y="5"/>
                    <a:pt x="61" y="5"/>
                  </a:cubicBezTo>
                  <a:cubicBezTo>
                    <a:pt x="38" y="5"/>
                    <a:pt x="32" y="11"/>
                    <a:pt x="29" y="17"/>
                  </a:cubicBezTo>
                  <a:cubicBezTo>
                    <a:pt x="26" y="23"/>
                    <a:pt x="14" y="61"/>
                    <a:pt x="8" y="78"/>
                  </a:cubicBezTo>
                  <a:cubicBezTo>
                    <a:pt x="8" y="80"/>
                    <a:pt x="7" y="82"/>
                    <a:pt x="6" y="84"/>
                  </a:cubicBezTo>
                  <a:cubicBezTo>
                    <a:pt x="6" y="85"/>
                    <a:pt x="6" y="86"/>
                    <a:pt x="6" y="86"/>
                  </a:cubicBezTo>
                  <a:cubicBezTo>
                    <a:pt x="6" y="86"/>
                    <a:pt x="6" y="86"/>
                    <a:pt x="6" y="86"/>
                  </a:cubicBezTo>
                  <a:cubicBezTo>
                    <a:pt x="5" y="88"/>
                    <a:pt x="6" y="90"/>
                    <a:pt x="9" y="91"/>
                  </a:cubicBezTo>
                  <a:cubicBezTo>
                    <a:pt x="9" y="91"/>
                    <a:pt x="10" y="91"/>
                    <a:pt x="10" y="91"/>
                  </a:cubicBezTo>
                  <a:cubicBezTo>
                    <a:pt x="12" y="91"/>
                    <a:pt x="13" y="90"/>
                    <a:pt x="14" y="89"/>
                  </a:cubicBezTo>
                  <a:cubicBezTo>
                    <a:pt x="35" y="42"/>
                    <a:pt x="35" y="42"/>
                    <a:pt x="35" y="42"/>
                  </a:cubicBezTo>
                  <a:cubicBezTo>
                    <a:pt x="36" y="41"/>
                    <a:pt x="37" y="40"/>
                    <a:pt x="38" y="40"/>
                  </a:cubicBezTo>
                  <a:cubicBezTo>
                    <a:pt x="39" y="41"/>
                    <a:pt x="40" y="41"/>
                    <a:pt x="40" y="43"/>
                  </a:cubicBezTo>
                  <a:cubicBezTo>
                    <a:pt x="40" y="43"/>
                    <a:pt x="39" y="78"/>
                    <a:pt x="38" y="112"/>
                  </a:cubicBezTo>
                  <a:cubicBezTo>
                    <a:pt x="38" y="130"/>
                    <a:pt x="37" y="147"/>
                    <a:pt x="37" y="160"/>
                  </a:cubicBezTo>
                  <a:cubicBezTo>
                    <a:pt x="37" y="167"/>
                    <a:pt x="37" y="172"/>
                    <a:pt x="36" y="176"/>
                  </a:cubicBezTo>
                  <a:cubicBezTo>
                    <a:pt x="36" y="178"/>
                    <a:pt x="36" y="180"/>
                    <a:pt x="36" y="181"/>
                  </a:cubicBezTo>
                  <a:cubicBezTo>
                    <a:pt x="36" y="181"/>
                    <a:pt x="36" y="182"/>
                    <a:pt x="36" y="182"/>
                  </a:cubicBezTo>
                  <a:cubicBezTo>
                    <a:pt x="36" y="185"/>
                    <a:pt x="39" y="187"/>
                    <a:pt x="43" y="187"/>
                  </a:cubicBezTo>
                  <a:cubicBezTo>
                    <a:pt x="46" y="187"/>
                    <a:pt x="49" y="185"/>
                    <a:pt x="49" y="182"/>
                  </a:cubicBezTo>
                  <a:cubicBezTo>
                    <a:pt x="59" y="100"/>
                    <a:pt x="59" y="100"/>
                    <a:pt x="59" y="100"/>
                  </a:cubicBezTo>
                  <a:cubicBezTo>
                    <a:pt x="59" y="99"/>
                    <a:pt x="60" y="98"/>
                    <a:pt x="61" y="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Freeform 73">
            <a:extLst>
              <a:ext uri="{FF2B5EF4-FFF2-40B4-BE49-F238E27FC236}">
                <a16:creationId xmlns:a16="http://schemas.microsoft.com/office/drawing/2014/main" id="{6ABD8833-CF64-C24C-AAB2-0FD033A3AB20}"/>
              </a:ext>
            </a:extLst>
          </p:cNvPr>
          <p:cNvSpPr/>
          <p:nvPr/>
        </p:nvSpPr>
        <p:spPr>
          <a:xfrm>
            <a:off x="5784057" y="2209801"/>
            <a:ext cx="425450" cy="142875"/>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45">
            <a:extLst>
              <a:ext uri="{FF2B5EF4-FFF2-40B4-BE49-F238E27FC236}">
                <a16:creationId xmlns:a16="http://schemas.microsoft.com/office/drawing/2014/main" id="{C34CE12A-84E5-CF4E-9887-5F0E93DF27DE}"/>
              </a:ext>
            </a:extLst>
          </p:cNvPr>
          <p:cNvSpPr/>
          <p:nvPr/>
        </p:nvSpPr>
        <p:spPr>
          <a:xfrm>
            <a:off x="6264246" y="4701363"/>
            <a:ext cx="1630618" cy="520527"/>
          </a:xfrm>
          <a:prstGeom prst="rect">
            <a:avLst/>
          </a:prstGeom>
        </p:spPr>
        <p:txBody>
          <a:bodyPr wrap="square" lIns="0" tIns="0" rIns="0" bIns="0">
            <a:spAutoFit/>
          </a:bodyPr>
          <a:lstStyle/>
          <a:p>
            <a:pPr>
              <a:lnSpc>
                <a:spcPct val="89000"/>
              </a:lnSpc>
            </a:pPr>
            <a:r>
              <a:rPr lang="fr-FR" sz="1600"/>
              <a:t>07 00 / 11 50</a:t>
            </a:r>
          </a:p>
          <a:p>
            <a:pP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sp>
        <p:nvSpPr>
          <p:cNvPr id="33" name="Rectangle 46">
            <a:extLst>
              <a:ext uri="{FF2B5EF4-FFF2-40B4-BE49-F238E27FC236}">
                <a16:creationId xmlns:a16="http://schemas.microsoft.com/office/drawing/2014/main" id="{4713F610-17E8-8E43-A0E6-3B0D62458248}"/>
              </a:ext>
            </a:extLst>
          </p:cNvPr>
          <p:cNvSpPr/>
          <p:nvPr/>
        </p:nvSpPr>
        <p:spPr>
          <a:xfrm>
            <a:off x="6677799" y="3311545"/>
            <a:ext cx="1630618" cy="520527"/>
          </a:xfrm>
          <a:prstGeom prst="rect">
            <a:avLst/>
          </a:prstGeom>
        </p:spPr>
        <p:txBody>
          <a:bodyPr wrap="square" lIns="0" tIns="0" rIns="0" bIns="0">
            <a:spAutoFit/>
          </a:bodyPr>
          <a:lstStyle/>
          <a:p>
            <a:pPr>
              <a:lnSpc>
                <a:spcPct val="89000"/>
              </a:lnSpc>
            </a:pPr>
            <a:r>
              <a:rPr lang="fr-FR" sz="1600"/>
              <a:t>05 15 / 07 50</a:t>
            </a:r>
          </a:p>
          <a:p>
            <a:pP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grpSp>
        <p:nvGrpSpPr>
          <p:cNvPr id="34" name="Group 29">
            <a:extLst>
              <a:ext uri="{FF2B5EF4-FFF2-40B4-BE49-F238E27FC236}">
                <a16:creationId xmlns:a16="http://schemas.microsoft.com/office/drawing/2014/main" id="{B0B9B568-BF8D-4F4D-9776-E9AAC314A73B}"/>
              </a:ext>
            </a:extLst>
          </p:cNvPr>
          <p:cNvGrpSpPr>
            <a:grpSpLocks noChangeAspect="1"/>
          </p:cNvGrpSpPr>
          <p:nvPr/>
        </p:nvGrpSpPr>
        <p:grpSpPr>
          <a:xfrm>
            <a:off x="5917888" y="3380449"/>
            <a:ext cx="263912" cy="524940"/>
            <a:chOff x="2096364" y="-2257065"/>
            <a:chExt cx="727075" cy="1446212"/>
          </a:xfrm>
        </p:grpSpPr>
        <p:sp>
          <p:nvSpPr>
            <p:cNvPr id="35" name="Freeform 30">
              <a:extLst>
                <a:ext uri="{FF2B5EF4-FFF2-40B4-BE49-F238E27FC236}">
                  <a16:creationId xmlns:a16="http://schemas.microsoft.com/office/drawing/2014/main" id="{AD7FD68B-9DAF-244C-B5A1-4BB9E3E61EF5}"/>
                </a:ext>
              </a:extLst>
            </p:cNvPr>
            <p:cNvSpPr>
              <a:spLocks noEditPoints="1"/>
            </p:cNvSpPr>
            <p:nvPr/>
          </p:nvSpPr>
          <p:spPr bwMode="auto">
            <a:xfrm>
              <a:off x="2323376" y="-2257065"/>
              <a:ext cx="273050" cy="273049"/>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5 h 46"/>
                <a:gd name="T12" fmla="*/ 5 w 46"/>
                <a:gd name="T13" fmla="*/ 23 h 46"/>
                <a:gd name="T14" fmla="*/ 23 w 46"/>
                <a:gd name="T15" fmla="*/ 41 h 46"/>
                <a:gd name="T16" fmla="*/ 41 w 46"/>
                <a:gd name="T17" fmla="*/ 23 h 46"/>
                <a:gd name="T18" fmla="*/ 23 w 46"/>
                <a:gd name="T19"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0"/>
                    <a:pt x="10" y="0"/>
                    <a:pt x="23" y="0"/>
                  </a:cubicBezTo>
                  <a:cubicBezTo>
                    <a:pt x="36" y="0"/>
                    <a:pt x="46" y="10"/>
                    <a:pt x="46" y="23"/>
                  </a:cubicBezTo>
                  <a:cubicBezTo>
                    <a:pt x="46" y="36"/>
                    <a:pt x="36" y="46"/>
                    <a:pt x="23" y="46"/>
                  </a:cubicBezTo>
                  <a:close/>
                  <a:moveTo>
                    <a:pt x="23" y="5"/>
                  </a:moveTo>
                  <a:cubicBezTo>
                    <a:pt x="13" y="5"/>
                    <a:pt x="5" y="13"/>
                    <a:pt x="5" y="23"/>
                  </a:cubicBezTo>
                  <a:cubicBezTo>
                    <a:pt x="5" y="33"/>
                    <a:pt x="13" y="41"/>
                    <a:pt x="23" y="41"/>
                  </a:cubicBezTo>
                  <a:cubicBezTo>
                    <a:pt x="33" y="41"/>
                    <a:pt x="41" y="33"/>
                    <a:pt x="41" y="23"/>
                  </a:cubicBezTo>
                  <a:cubicBezTo>
                    <a:pt x="41" y="13"/>
                    <a:pt x="33" y="5"/>
                    <a:pt x="2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a:extLst>
                <a:ext uri="{FF2B5EF4-FFF2-40B4-BE49-F238E27FC236}">
                  <a16:creationId xmlns:a16="http://schemas.microsoft.com/office/drawing/2014/main" id="{6C47F6FF-C7AE-7B42-88F8-3417F6421AE2}"/>
                </a:ext>
              </a:extLst>
            </p:cNvPr>
            <p:cNvSpPr>
              <a:spLocks noEditPoints="1"/>
            </p:cNvSpPr>
            <p:nvPr/>
          </p:nvSpPr>
          <p:spPr bwMode="auto">
            <a:xfrm>
              <a:off x="2096364" y="-1953853"/>
              <a:ext cx="727075" cy="1143000"/>
            </a:xfrm>
            <a:custGeom>
              <a:avLst/>
              <a:gdLst>
                <a:gd name="T0" fmla="*/ 68 w 122"/>
                <a:gd name="T1" fmla="*/ 182 h 192"/>
                <a:gd name="T2" fmla="*/ 60 w 122"/>
                <a:gd name="T3" fmla="*/ 129 h 192"/>
                <a:gd name="T4" fmla="*/ 43 w 122"/>
                <a:gd name="T5" fmla="*/ 192 h 192"/>
                <a:gd name="T6" fmla="*/ 32 w 122"/>
                <a:gd name="T7" fmla="*/ 182 h 192"/>
                <a:gd name="T8" fmla="*/ 22 w 122"/>
                <a:gd name="T9" fmla="*/ 129 h 192"/>
                <a:gd name="T10" fmla="*/ 20 w 122"/>
                <a:gd name="T11" fmla="*/ 126 h 192"/>
                <a:gd name="T12" fmla="*/ 18 w 122"/>
                <a:gd name="T13" fmla="*/ 91 h 192"/>
                <a:gd name="T14" fmla="*/ 7 w 122"/>
                <a:gd name="T15" fmla="*/ 95 h 192"/>
                <a:gd name="T16" fmla="*/ 1 w 122"/>
                <a:gd name="T17" fmla="*/ 84 h 192"/>
                <a:gd name="T18" fmla="*/ 25 w 122"/>
                <a:gd name="T19" fmla="*/ 15 h 192"/>
                <a:gd name="T20" fmla="*/ 97 w 122"/>
                <a:gd name="T21" fmla="*/ 15 h 192"/>
                <a:gd name="T22" fmla="*/ 121 w 122"/>
                <a:gd name="T23" fmla="*/ 84 h 192"/>
                <a:gd name="T24" fmla="*/ 115 w 122"/>
                <a:gd name="T25" fmla="*/ 95 h 192"/>
                <a:gd name="T26" fmla="*/ 112 w 122"/>
                <a:gd name="T27" fmla="*/ 96 h 192"/>
                <a:gd name="T28" fmla="*/ 91 w 122"/>
                <a:gd name="T29" fmla="*/ 62 h 192"/>
                <a:gd name="T30" fmla="*/ 102 w 122"/>
                <a:gd name="T31" fmla="*/ 126 h 192"/>
                <a:gd name="T32" fmla="*/ 100 w 122"/>
                <a:gd name="T33" fmla="*/ 129 h 192"/>
                <a:gd name="T34" fmla="*/ 90 w 122"/>
                <a:gd name="T35" fmla="*/ 182 h 192"/>
                <a:gd name="T36" fmla="*/ 79 w 122"/>
                <a:gd name="T37" fmla="*/ 192 h 192"/>
                <a:gd name="T38" fmla="*/ 58 w 122"/>
                <a:gd name="T39" fmla="*/ 124 h 192"/>
                <a:gd name="T40" fmla="*/ 66 w 122"/>
                <a:gd name="T41" fmla="*/ 126 h 192"/>
                <a:gd name="T42" fmla="*/ 79 w 122"/>
                <a:gd name="T43" fmla="*/ 187 h 192"/>
                <a:gd name="T44" fmla="*/ 79 w 122"/>
                <a:gd name="T45" fmla="*/ 187 h 192"/>
                <a:gd name="T46" fmla="*/ 86 w 122"/>
                <a:gd name="T47" fmla="*/ 182 h 192"/>
                <a:gd name="T48" fmla="*/ 85 w 122"/>
                <a:gd name="T49" fmla="*/ 154 h 192"/>
                <a:gd name="T50" fmla="*/ 85 w 122"/>
                <a:gd name="T51" fmla="*/ 125 h 192"/>
                <a:gd name="T52" fmla="*/ 97 w 122"/>
                <a:gd name="T53" fmla="*/ 124 h 192"/>
                <a:gd name="T54" fmla="*/ 85 w 122"/>
                <a:gd name="T55" fmla="*/ 40 h 192"/>
                <a:gd name="T56" fmla="*/ 108 w 122"/>
                <a:gd name="T57" fmla="*/ 89 h 192"/>
                <a:gd name="T58" fmla="*/ 112 w 122"/>
                <a:gd name="T59" fmla="*/ 91 h 192"/>
                <a:gd name="T60" fmla="*/ 116 w 122"/>
                <a:gd name="T61" fmla="*/ 86 h 192"/>
                <a:gd name="T62" fmla="*/ 116 w 122"/>
                <a:gd name="T63" fmla="*/ 84 h 192"/>
                <a:gd name="T64" fmla="*/ 93 w 122"/>
                <a:gd name="T65" fmla="*/ 17 h 192"/>
                <a:gd name="T66" fmla="*/ 29 w 122"/>
                <a:gd name="T67" fmla="*/ 17 h 192"/>
                <a:gd name="T68" fmla="*/ 6 w 122"/>
                <a:gd name="T69" fmla="*/ 84 h 192"/>
                <a:gd name="T70" fmla="*/ 6 w 122"/>
                <a:gd name="T71" fmla="*/ 86 h 192"/>
                <a:gd name="T72" fmla="*/ 10 w 122"/>
                <a:gd name="T73" fmla="*/ 91 h 192"/>
                <a:gd name="T74" fmla="*/ 34 w 122"/>
                <a:gd name="T75" fmla="*/ 41 h 192"/>
                <a:gd name="T76" fmla="*/ 38 w 122"/>
                <a:gd name="T77" fmla="*/ 43 h 192"/>
                <a:gd name="T78" fmla="*/ 36 w 122"/>
                <a:gd name="T79" fmla="*/ 124 h 192"/>
                <a:gd name="T80" fmla="*/ 38 w 122"/>
                <a:gd name="T81" fmla="*/ 126 h 192"/>
                <a:gd name="T82" fmla="*/ 37 w 122"/>
                <a:gd name="T83" fmla="*/ 173 h 192"/>
                <a:gd name="T84" fmla="*/ 36 w 122"/>
                <a:gd name="T85" fmla="*/ 182 h 192"/>
                <a:gd name="T86" fmla="*/ 43 w 122"/>
                <a:gd name="T87" fmla="*/ 187 h 192"/>
                <a:gd name="T88" fmla="*/ 56 w 122"/>
                <a:gd name="T89" fmla="*/ 12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192">
                  <a:moveTo>
                    <a:pt x="79" y="192"/>
                  </a:moveTo>
                  <a:cubicBezTo>
                    <a:pt x="74" y="192"/>
                    <a:pt x="69" y="187"/>
                    <a:pt x="68" y="182"/>
                  </a:cubicBezTo>
                  <a:cubicBezTo>
                    <a:pt x="62" y="129"/>
                    <a:pt x="62" y="129"/>
                    <a:pt x="62" y="129"/>
                  </a:cubicBezTo>
                  <a:cubicBezTo>
                    <a:pt x="60" y="129"/>
                    <a:pt x="60" y="129"/>
                    <a:pt x="60" y="129"/>
                  </a:cubicBezTo>
                  <a:cubicBezTo>
                    <a:pt x="54" y="182"/>
                    <a:pt x="54" y="182"/>
                    <a:pt x="54" y="182"/>
                  </a:cubicBezTo>
                  <a:cubicBezTo>
                    <a:pt x="53" y="187"/>
                    <a:pt x="48" y="192"/>
                    <a:pt x="43" y="192"/>
                  </a:cubicBezTo>
                  <a:cubicBezTo>
                    <a:pt x="37" y="192"/>
                    <a:pt x="32" y="187"/>
                    <a:pt x="32" y="182"/>
                  </a:cubicBezTo>
                  <a:cubicBezTo>
                    <a:pt x="32" y="182"/>
                    <a:pt x="32" y="182"/>
                    <a:pt x="32" y="182"/>
                  </a:cubicBezTo>
                  <a:cubicBezTo>
                    <a:pt x="32" y="180"/>
                    <a:pt x="33" y="145"/>
                    <a:pt x="33" y="129"/>
                  </a:cubicBezTo>
                  <a:cubicBezTo>
                    <a:pt x="22" y="129"/>
                    <a:pt x="22" y="129"/>
                    <a:pt x="22" y="129"/>
                  </a:cubicBezTo>
                  <a:cubicBezTo>
                    <a:pt x="21" y="129"/>
                    <a:pt x="21" y="128"/>
                    <a:pt x="20" y="128"/>
                  </a:cubicBezTo>
                  <a:cubicBezTo>
                    <a:pt x="20" y="127"/>
                    <a:pt x="20" y="127"/>
                    <a:pt x="20" y="126"/>
                  </a:cubicBezTo>
                  <a:cubicBezTo>
                    <a:pt x="31" y="62"/>
                    <a:pt x="31" y="62"/>
                    <a:pt x="31" y="62"/>
                  </a:cubicBezTo>
                  <a:cubicBezTo>
                    <a:pt x="18" y="91"/>
                    <a:pt x="18" y="91"/>
                    <a:pt x="18" y="91"/>
                  </a:cubicBezTo>
                  <a:cubicBezTo>
                    <a:pt x="17" y="94"/>
                    <a:pt x="14" y="96"/>
                    <a:pt x="10" y="96"/>
                  </a:cubicBezTo>
                  <a:cubicBezTo>
                    <a:pt x="9" y="96"/>
                    <a:pt x="8" y="95"/>
                    <a:pt x="7" y="95"/>
                  </a:cubicBezTo>
                  <a:cubicBezTo>
                    <a:pt x="3" y="93"/>
                    <a:pt x="0" y="89"/>
                    <a:pt x="1" y="85"/>
                  </a:cubicBezTo>
                  <a:cubicBezTo>
                    <a:pt x="1" y="85"/>
                    <a:pt x="1" y="85"/>
                    <a:pt x="1" y="84"/>
                  </a:cubicBezTo>
                  <a:cubicBezTo>
                    <a:pt x="1" y="84"/>
                    <a:pt x="3" y="80"/>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0"/>
                    <a:pt x="121" y="84"/>
                    <a:pt x="121" y="84"/>
                  </a:cubicBezTo>
                  <a:cubicBezTo>
                    <a:pt x="121" y="85"/>
                    <a:pt x="121" y="85"/>
                    <a:pt x="121" y="85"/>
                  </a:cubicBezTo>
                  <a:cubicBezTo>
                    <a:pt x="122" y="89"/>
                    <a:pt x="119" y="93"/>
                    <a:pt x="115" y="95"/>
                  </a:cubicBezTo>
                  <a:cubicBezTo>
                    <a:pt x="114" y="95"/>
                    <a:pt x="113" y="96"/>
                    <a:pt x="112" y="96"/>
                  </a:cubicBezTo>
                  <a:cubicBezTo>
                    <a:pt x="112" y="96"/>
                    <a:pt x="112" y="96"/>
                    <a:pt x="112" y="96"/>
                  </a:cubicBezTo>
                  <a:cubicBezTo>
                    <a:pt x="108" y="96"/>
                    <a:pt x="105" y="94"/>
                    <a:pt x="104" y="91"/>
                  </a:cubicBezTo>
                  <a:cubicBezTo>
                    <a:pt x="91" y="62"/>
                    <a:pt x="91" y="62"/>
                    <a:pt x="91" y="62"/>
                  </a:cubicBezTo>
                  <a:cubicBezTo>
                    <a:pt x="102" y="126"/>
                    <a:pt x="102" y="126"/>
                    <a:pt x="102" y="126"/>
                  </a:cubicBezTo>
                  <a:cubicBezTo>
                    <a:pt x="102" y="126"/>
                    <a:pt x="102" y="126"/>
                    <a:pt x="102" y="126"/>
                  </a:cubicBezTo>
                  <a:cubicBezTo>
                    <a:pt x="102" y="128"/>
                    <a:pt x="101" y="129"/>
                    <a:pt x="100" y="129"/>
                  </a:cubicBezTo>
                  <a:cubicBezTo>
                    <a:pt x="100" y="129"/>
                    <a:pt x="100" y="129"/>
                    <a:pt x="100" y="129"/>
                  </a:cubicBezTo>
                  <a:cubicBezTo>
                    <a:pt x="89" y="129"/>
                    <a:pt x="89" y="129"/>
                    <a:pt x="89" y="129"/>
                  </a:cubicBezTo>
                  <a:cubicBezTo>
                    <a:pt x="89" y="145"/>
                    <a:pt x="90" y="180"/>
                    <a:pt x="90" y="182"/>
                  </a:cubicBezTo>
                  <a:cubicBezTo>
                    <a:pt x="90" y="182"/>
                    <a:pt x="90" y="182"/>
                    <a:pt x="90" y="182"/>
                  </a:cubicBezTo>
                  <a:cubicBezTo>
                    <a:pt x="90" y="187"/>
                    <a:pt x="85" y="192"/>
                    <a:pt x="79" y="192"/>
                  </a:cubicBezTo>
                  <a:cubicBezTo>
                    <a:pt x="79" y="192"/>
                    <a:pt x="79" y="192"/>
                    <a:pt x="79" y="192"/>
                  </a:cubicBezTo>
                  <a:close/>
                  <a:moveTo>
                    <a:pt x="58" y="124"/>
                  </a:moveTo>
                  <a:cubicBezTo>
                    <a:pt x="64" y="124"/>
                    <a:pt x="64" y="124"/>
                    <a:pt x="64" y="124"/>
                  </a:cubicBezTo>
                  <a:cubicBezTo>
                    <a:pt x="65" y="124"/>
                    <a:pt x="66" y="125"/>
                    <a:pt x="66" y="126"/>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8"/>
                    <a:pt x="85" y="173"/>
                  </a:cubicBezTo>
                  <a:cubicBezTo>
                    <a:pt x="85" y="168"/>
                    <a:pt x="85" y="161"/>
                    <a:pt x="85" y="154"/>
                  </a:cubicBezTo>
                  <a:cubicBezTo>
                    <a:pt x="84" y="140"/>
                    <a:pt x="84" y="126"/>
                    <a:pt x="84" y="126"/>
                  </a:cubicBezTo>
                  <a:cubicBezTo>
                    <a:pt x="84" y="126"/>
                    <a:pt x="84" y="125"/>
                    <a:pt x="85" y="125"/>
                  </a:cubicBezTo>
                  <a:cubicBezTo>
                    <a:pt x="85" y="124"/>
                    <a:pt x="86" y="124"/>
                    <a:pt x="86" y="124"/>
                  </a:cubicBezTo>
                  <a:cubicBezTo>
                    <a:pt x="97" y="124"/>
                    <a:pt x="97" y="124"/>
                    <a:pt x="97" y="124"/>
                  </a:cubicBezTo>
                  <a:cubicBezTo>
                    <a:pt x="84" y="43"/>
                    <a:pt x="84" y="43"/>
                    <a:pt x="84" y="43"/>
                  </a:cubicBezTo>
                  <a:cubicBezTo>
                    <a:pt x="83" y="42"/>
                    <a:pt x="84" y="40"/>
                    <a:pt x="85" y="40"/>
                  </a:cubicBezTo>
                  <a:cubicBezTo>
                    <a:pt x="86" y="40"/>
                    <a:pt x="88" y="40"/>
                    <a:pt x="88" y="41"/>
                  </a:cubicBezTo>
                  <a:cubicBezTo>
                    <a:pt x="108" y="89"/>
                    <a:pt x="108" y="89"/>
                    <a:pt x="108" y="89"/>
                  </a:cubicBezTo>
                  <a:cubicBezTo>
                    <a:pt x="109" y="90"/>
                    <a:pt x="110" y="91"/>
                    <a:pt x="112" y="91"/>
                  </a:cubicBezTo>
                  <a:cubicBezTo>
                    <a:pt x="112" y="91"/>
                    <a:pt x="112" y="91"/>
                    <a:pt x="112" y="91"/>
                  </a:cubicBezTo>
                  <a:cubicBezTo>
                    <a:pt x="112" y="91"/>
                    <a:pt x="113" y="91"/>
                    <a:pt x="113" y="91"/>
                  </a:cubicBezTo>
                  <a:cubicBezTo>
                    <a:pt x="115" y="90"/>
                    <a:pt x="117" y="88"/>
                    <a:pt x="116" y="86"/>
                  </a:cubicBezTo>
                  <a:cubicBezTo>
                    <a:pt x="116" y="86"/>
                    <a:pt x="116" y="86"/>
                    <a:pt x="116" y="86"/>
                  </a:cubicBezTo>
                  <a:cubicBezTo>
                    <a:pt x="116" y="85"/>
                    <a:pt x="116" y="85"/>
                    <a:pt x="116" y="84"/>
                  </a:cubicBezTo>
                  <a:cubicBezTo>
                    <a:pt x="115" y="82"/>
                    <a:pt x="114" y="80"/>
                    <a:pt x="114" y="77"/>
                  </a:cubicBezTo>
                  <a:cubicBezTo>
                    <a:pt x="108" y="61"/>
                    <a:pt x="96" y="23"/>
                    <a:pt x="93" y="17"/>
                  </a:cubicBezTo>
                  <a:cubicBezTo>
                    <a:pt x="90" y="11"/>
                    <a:pt x="84" y="5"/>
                    <a:pt x="61" y="5"/>
                  </a:cubicBezTo>
                  <a:cubicBezTo>
                    <a:pt x="38" y="5"/>
                    <a:pt x="32" y="11"/>
                    <a:pt x="29" y="17"/>
                  </a:cubicBezTo>
                  <a:cubicBezTo>
                    <a:pt x="26" y="23"/>
                    <a:pt x="14" y="61"/>
                    <a:pt x="8" y="77"/>
                  </a:cubicBezTo>
                  <a:cubicBezTo>
                    <a:pt x="8" y="80"/>
                    <a:pt x="7" y="82"/>
                    <a:pt x="6" y="84"/>
                  </a:cubicBezTo>
                  <a:cubicBezTo>
                    <a:pt x="6" y="85"/>
                    <a:pt x="6" y="85"/>
                    <a:pt x="6" y="86"/>
                  </a:cubicBezTo>
                  <a:cubicBezTo>
                    <a:pt x="6" y="86"/>
                    <a:pt x="6" y="86"/>
                    <a:pt x="6" y="86"/>
                  </a:cubicBezTo>
                  <a:cubicBezTo>
                    <a:pt x="5" y="88"/>
                    <a:pt x="7" y="90"/>
                    <a:pt x="9" y="91"/>
                  </a:cubicBezTo>
                  <a:cubicBezTo>
                    <a:pt x="9" y="91"/>
                    <a:pt x="10" y="91"/>
                    <a:pt x="10" y="91"/>
                  </a:cubicBezTo>
                  <a:cubicBezTo>
                    <a:pt x="12" y="91"/>
                    <a:pt x="13" y="90"/>
                    <a:pt x="14" y="89"/>
                  </a:cubicBezTo>
                  <a:cubicBezTo>
                    <a:pt x="34" y="41"/>
                    <a:pt x="34" y="41"/>
                    <a:pt x="34" y="41"/>
                  </a:cubicBezTo>
                  <a:cubicBezTo>
                    <a:pt x="34" y="40"/>
                    <a:pt x="36" y="40"/>
                    <a:pt x="37" y="40"/>
                  </a:cubicBezTo>
                  <a:cubicBezTo>
                    <a:pt x="38" y="40"/>
                    <a:pt x="39" y="42"/>
                    <a:pt x="38" y="43"/>
                  </a:cubicBezTo>
                  <a:cubicBezTo>
                    <a:pt x="25" y="124"/>
                    <a:pt x="25" y="124"/>
                    <a:pt x="25" y="124"/>
                  </a:cubicBezTo>
                  <a:cubicBezTo>
                    <a:pt x="36" y="124"/>
                    <a:pt x="36" y="124"/>
                    <a:pt x="36" y="124"/>
                  </a:cubicBezTo>
                  <a:cubicBezTo>
                    <a:pt x="36" y="124"/>
                    <a:pt x="37" y="124"/>
                    <a:pt x="37" y="125"/>
                  </a:cubicBezTo>
                  <a:cubicBezTo>
                    <a:pt x="38" y="125"/>
                    <a:pt x="38" y="126"/>
                    <a:pt x="38" y="126"/>
                  </a:cubicBezTo>
                  <a:cubicBezTo>
                    <a:pt x="38" y="126"/>
                    <a:pt x="37" y="140"/>
                    <a:pt x="37" y="154"/>
                  </a:cubicBezTo>
                  <a:cubicBezTo>
                    <a:pt x="37" y="161"/>
                    <a:pt x="37" y="168"/>
                    <a:pt x="37" y="173"/>
                  </a:cubicBezTo>
                  <a:cubicBezTo>
                    <a:pt x="37" y="176"/>
                    <a:pt x="36" y="178"/>
                    <a:pt x="36" y="180"/>
                  </a:cubicBezTo>
                  <a:cubicBezTo>
                    <a:pt x="36" y="181"/>
                    <a:pt x="36" y="181"/>
                    <a:pt x="36" y="182"/>
                  </a:cubicBezTo>
                  <a:cubicBezTo>
                    <a:pt x="36" y="182"/>
                    <a:pt x="36" y="182"/>
                    <a:pt x="36" y="182"/>
                  </a:cubicBezTo>
                  <a:cubicBezTo>
                    <a:pt x="37" y="185"/>
                    <a:pt x="39" y="187"/>
                    <a:pt x="43" y="187"/>
                  </a:cubicBezTo>
                  <a:cubicBezTo>
                    <a:pt x="46" y="187"/>
                    <a:pt x="49" y="185"/>
                    <a:pt x="49" y="182"/>
                  </a:cubicBezTo>
                  <a:cubicBezTo>
                    <a:pt x="56" y="126"/>
                    <a:pt x="56" y="126"/>
                    <a:pt x="56" y="126"/>
                  </a:cubicBezTo>
                  <a:cubicBezTo>
                    <a:pt x="56" y="125"/>
                    <a:pt x="57" y="124"/>
                    <a:pt x="58" y="1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48">
            <a:extLst>
              <a:ext uri="{FF2B5EF4-FFF2-40B4-BE49-F238E27FC236}">
                <a16:creationId xmlns:a16="http://schemas.microsoft.com/office/drawing/2014/main" id="{E87B4601-FDFD-C447-A008-4F3D9ECB6487}"/>
              </a:ext>
            </a:extLst>
          </p:cNvPr>
          <p:cNvGrpSpPr>
            <a:grpSpLocks noChangeAspect="1"/>
          </p:cNvGrpSpPr>
          <p:nvPr/>
        </p:nvGrpSpPr>
        <p:grpSpPr>
          <a:xfrm>
            <a:off x="5137683" y="4092192"/>
            <a:ext cx="263334" cy="524940"/>
            <a:chOff x="4542701" y="-2257065"/>
            <a:chExt cx="725488" cy="1446212"/>
          </a:xfrm>
        </p:grpSpPr>
        <p:sp>
          <p:nvSpPr>
            <p:cNvPr id="38" name="Freeform 49">
              <a:extLst>
                <a:ext uri="{FF2B5EF4-FFF2-40B4-BE49-F238E27FC236}">
                  <a16:creationId xmlns:a16="http://schemas.microsoft.com/office/drawing/2014/main" id="{13922555-BCCF-5F4D-B0F5-C4A7177E1F79}"/>
                </a:ext>
              </a:extLst>
            </p:cNvPr>
            <p:cNvSpPr>
              <a:spLocks noEditPoints="1"/>
            </p:cNvSpPr>
            <p:nvPr/>
          </p:nvSpPr>
          <p:spPr bwMode="auto">
            <a:xfrm>
              <a:off x="4768126" y="-2257065"/>
              <a:ext cx="273050" cy="273049"/>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5 w 46"/>
                <a:gd name="T13" fmla="*/ 23 h 46"/>
                <a:gd name="T14" fmla="*/ 23 w 46"/>
                <a:gd name="T15" fmla="*/ 41 h 46"/>
                <a:gd name="T16" fmla="*/ 41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5"/>
                    <a:pt x="0" y="23"/>
                  </a:cubicBezTo>
                  <a:cubicBezTo>
                    <a:pt x="0" y="10"/>
                    <a:pt x="10" y="0"/>
                    <a:pt x="23" y="0"/>
                  </a:cubicBezTo>
                  <a:cubicBezTo>
                    <a:pt x="36" y="0"/>
                    <a:pt x="46" y="10"/>
                    <a:pt x="46" y="23"/>
                  </a:cubicBezTo>
                  <a:cubicBezTo>
                    <a:pt x="46" y="35"/>
                    <a:pt x="36" y="46"/>
                    <a:pt x="23" y="46"/>
                  </a:cubicBezTo>
                  <a:close/>
                  <a:moveTo>
                    <a:pt x="23" y="4"/>
                  </a:moveTo>
                  <a:cubicBezTo>
                    <a:pt x="13" y="4"/>
                    <a:pt x="5" y="13"/>
                    <a:pt x="5" y="23"/>
                  </a:cubicBezTo>
                  <a:cubicBezTo>
                    <a:pt x="5" y="33"/>
                    <a:pt x="13" y="41"/>
                    <a:pt x="23" y="41"/>
                  </a:cubicBezTo>
                  <a:cubicBezTo>
                    <a:pt x="33" y="41"/>
                    <a:pt x="41" y="33"/>
                    <a:pt x="41" y="23"/>
                  </a:cubicBezTo>
                  <a:cubicBezTo>
                    <a:pt x="41" y="13"/>
                    <a:pt x="33" y="4"/>
                    <a:pt x="23"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0">
              <a:extLst>
                <a:ext uri="{FF2B5EF4-FFF2-40B4-BE49-F238E27FC236}">
                  <a16:creationId xmlns:a16="http://schemas.microsoft.com/office/drawing/2014/main" id="{BD16B135-CDF3-5A4C-9929-BC1744960225}"/>
                </a:ext>
              </a:extLst>
            </p:cNvPr>
            <p:cNvSpPr>
              <a:spLocks noEditPoints="1"/>
            </p:cNvSpPr>
            <p:nvPr/>
          </p:nvSpPr>
          <p:spPr bwMode="auto">
            <a:xfrm>
              <a:off x="4542701" y="-1953853"/>
              <a:ext cx="725488" cy="1143000"/>
            </a:xfrm>
            <a:custGeom>
              <a:avLst/>
              <a:gdLst>
                <a:gd name="T0" fmla="*/ 68 w 122"/>
                <a:gd name="T1" fmla="*/ 182 h 192"/>
                <a:gd name="T2" fmla="*/ 54 w 122"/>
                <a:gd name="T3" fmla="*/ 183 h 192"/>
                <a:gd name="T4" fmla="*/ 32 w 122"/>
                <a:gd name="T5" fmla="*/ 182 h 192"/>
                <a:gd name="T6" fmla="*/ 35 w 122"/>
                <a:gd name="T7" fmla="*/ 54 h 192"/>
                <a:gd name="T8" fmla="*/ 10 w 122"/>
                <a:gd name="T9" fmla="*/ 96 h 192"/>
                <a:gd name="T10" fmla="*/ 1 w 122"/>
                <a:gd name="T11" fmla="*/ 85 h 192"/>
                <a:gd name="T12" fmla="*/ 4 w 122"/>
                <a:gd name="T13" fmla="*/ 76 h 192"/>
                <a:gd name="T14" fmla="*/ 61 w 122"/>
                <a:gd name="T15" fmla="*/ 0 h 192"/>
                <a:gd name="T16" fmla="*/ 118 w 122"/>
                <a:gd name="T17" fmla="*/ 76 h 192"/>
                <a:gd name="T18" fmla="*/ 121 w 122"/>
                <a:gd name="T19" fmla="*/ 85 h 192"/>
                <a:gd name="T20" fmla="*/ 112 w 122"/>
                <a:gd name="T21" fmla="*/ 96 h 192"/>
                <a:gd name="T22" fmla="*/ 87 w 122"/>
                <a:gd name="T23" fmla="*/ 54 h 192"/>
                <a:gd name="T24" fmla="*/ 90 w 122"/>
                <a:gd name="T25" fmla="*/ 182 h 192"/>
                <a:gd name="T26" fmla="*/ 79 w 122"/>
                <a:gd name="T27" fmla="*/ 192 h 192"/>
                <a:gd name="T28" fmla="*/ 63 w 122"/>
                <a:gd name="T29" fmla="*/ 100 h 192"/>
                <a:gd name="T30" fmla="*/ 79 w 122"/>
                <a:gd name="T31" fmla="*/ 187 h 192"/>
                <a:gd name="T32" fmla="*/ 79 w 122"/>
                <a:gd name="T33" fmla="*/ 187 h 192"/>
                <a:gd name="T34" fmla="*/ 86 w 122"/>
                <a:gd name="T35" fmla="*/ 182 h 192"/>
                <a:gd name="T36" fmla="*/ 85 w 122"/>
                <a:gd name="T37" fmla="*/ 160 h 192"/>
                <a:gd name="T38" fmla="*/ 82 w 122"/>
                <a:gd name="T39" fmla="*/ 43 h 192"/>
                <a:gd name="T40" fmla="*/ 87 w 122"/>
                <a:gd name="T41" fmla="*/ 42 h 192"/>
                <a:gd name="T42" fmla="*/ 112 w 122"/>
                <a:gd name="T43" fmla="*/ 91 h 192"/>
                <a:gd name="T44" fmla="*/ 116 w 122"/>
                <a:gd name="T45" fmla="*/ 86 h 192"/>
                <a:gd name="T46" fmla="*/ 116 w 122"/>
                <a:gd name="T47" fmla="*/ 84 h 192"/>
                <a:gd name="T48" fmla="*/ 93 w 122"/>
                <a:gd name="T49" fmla="*/ 17 h 192"/>
                <a:gd name="T50" fmla="*/ 29 w 122"/>
                <a:gd name="T51" fmla="*/ 17 h 192"/>
                <a:gd name="T52" fmla="*/ 6 w 122"/>
                <a:gd name="T53" fmla="*/ 84 h 192"/>
                <a:gd name="T54" fmla="*/ 6 w 122"/>
                <a:gd name="T55" fmla="*/ 86 h 192"/>
                <a:gd name="T56" fmla="*/ 10 w 122"/>
                <a:gd name="T57" fmla="*/ 91 h 192"/>
                <a:gd name="T58" fmla="*/ 35 w 122"/>
                <a:gd name="T59" fmla="*/ 42 h 192"/>
                <a:gd name="T60" fmla="*/ 40 w 122"/>
                <a:gd name="T61" fmla="*/ 43 h 192"/>
                <a:gd name="T62" fmla="*/ 37 w 122"/>
                <a:gd name="T63" fmla="*/ 160 h 192"/>
                <a:gd name="T64" fmla="*/ 36 w 122"/>
                <a:gd name="T65" fmla="*/ 181 h 192"/>
                <a:gd name="T66" fmla="*/ 43 w 122"/>
                <a:gd name="T67" fmla="*/ 187 h 192"/>
                <a:gd name="T68" fmla="*/ 59 w 122"/>
                <a:gd name="T69" fmla="*/ 10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92">
                  <a:moveTo>
                    <a:pt x="79" y="192"/>
                  </a:moveTo>
                  <a:cubicBezTo>
                    <a:pt x="74" y="192"/>
                    <a:pt x="69" y="188"/>
                    <a:pt x="68" y="182"/>
                  </a:cubicBezTo>
                  <a:cubicBezTo>
                    <a:pt x="61" y="120"/>
                    <a:pt x="61" y="120"/>
                    <a:pt x="61" y="120"/>
                  </a:cubicBezTo>
                  <a:cubicBezTo>
                    <a:pt x="54" y="183"/>
                    <a:pt x="54" y="183"/>
                    <a:pt x="54" y="183"/>
                  </a:cubicBezTo>
                  <a:cubicBezTo>
                    <a:pt x="53" y="188"/>
                    <a:pt x="48" y="192"/>
                    <a:pt x="43" y="192"/>
                  </a:cubicBezTo>
                  <a:cubicBezTo>
                    <a:pt x="37" y="192"/>
                    <a:pt x="32" y="188"/>
                    <a:pt x="32" y="182"/>
                  </a:cubicBezTo>
                  <a:cubicBezTo>
                    <a:pt x="32" y="182"/>
                    <a:pt x="32" y="182"/>
                    <a:pt x="32" y="182"/>
                  </a:cubicBezTo>
                  <a:cubicBezTo>
                    <a:pt x="32" y="179"/>
                    <a:pt x="34" y="103"/>
                    <a:pt x="35" y="54"/>
                  </a:cubicBezTo>
                  <a:cubicBezTo>
                    <a:pt x="18" y="91"/>
                    <a:pt x="18" y="91"/>
                    <a:pt x="18" y="91"/>
                  </a:cubicBezTo>
                  <a:cubicBezTo>
                    <a:pt x="17" y="94"/>
                    <a:pt x="14" y="96"/>
                    <a:pt x="10" y="96"/>
                  </a:cubicBezTo>
                  <a:cubicBezTo>
                    <a:pt x="9" y="96"/>
                    <a:pt x="8" y="96"/>
                    <a:pt x="7" y="95"/>
                  </a:cubicBezTo>
                  <a:cubicBezTo>
                    <a:pt x="3" y="94"/>
                    <a:pt x="0" y="89"/>
                    <a:pt x="1" y="85"/>
                  </a:cubicBezTo>
                  <a:cubicBezTo>
                    <a:pt x="1" y="85"/>
                    <a:pt x="1" y="85"/>
                    <a:pt x="1" y="85"/>
                  </a:cubicBezTo>
                  <a:cubicBezTo>
                    <a:pt x="1" y="84"/>
                    <a:pt x="3" y="81"/>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1"/>
                    <a:pt x="121" y="84"/>
                    <a:pt x="121" y="85"/>
                  </a:cubicBezTo>
                  <a:cubicBezTo>
                    <a:pt x="121" y="85"/>
                    <a:pt x="121" y="85"/>
                    <a:pt x="121" y="85"/>
                  </a:cubicBezTo>
                  <a:cubicBezTo>
                    <a:pt x="122" y="89"/>
                    <a:pt x="119" y="94"/>
                    <a:pt x="115" y="95"/>
                  </a:cubicBezTo>
                  <a:cubicBezTo>
                    <a:pt x="114" y="96"/>
                    <a:pt x="113" y="96"/>
                    <a:pt x="112" y="96"/>
                  </a:cubicBezTo>
                  <a:cubicBezTo>
                    <a:pt x="108" y="96"/>
                    <a:pt x="105" y="94"/>
                    <a:pt x="104" y="91"/>
                  </a:cubicBezTo>
                  <a:cubicBezTo>
                    <a:pt x="87" y="54"/>
                    <a:pt x="87" y="54"/>
                    <a:pt x="87" y="54"/>
                  </a:cubicBezTo>
                  <a:cubicBezTo>
                    <a:pt x="88" y="103"/>
                    <a:pt x="90" y="179"/>
                    <a:pt x="90" y="182"/>
                  </a:cubicBezTo>
                  <a:cubicBezTo>
                    <a:pt x="90" y="182"/>
                    <a:pt x="90" y="182"/>
                    <a:pt x="90" y="182"/>
                  </a:cubicBezTo>
                  <a:cubicBezTo>
                    <a:pt x="90" y="188"/>
                    <a:pt x="85" y="192"/>
                    <a:pt x="79" y="192"/>
                  </a:cubicBezTo>
                  <a:cubicBezTo>
                    <a:pt x="79" y="192"/>
                    <a:pt x="79" y="192"/>
                    <a:pt x="79" y="192"/>
                  </a:cubicBezTo>
                  <a:close/>
                  <a:moveTo>
                    <a:pt x="61" y="98"/>
                  </a:moveTo>
                  <a:cubicBezTo>
                    <a:pt x="62" y="98"/>
                    <a:pt x="63" y="99"/>
                    <a:pt x="63" y="100"/>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9"/>
                    <a:pt x="85" y="176"/>
                  </a:cubicBezTo>
                  <a:cubicBezTo>
                    <a:pt x="85" y="172"/>
                    <a:pt x="85" y="167"/>
                    <a:pt x="85" y="160"/>
                  </a:cubicBezTo>
                  <a:cubicBezTo>
                    <a:pt x="85" y="147"/>
                    <a:pt x="84" y="130"/>
                    <a:pt x="84" y="112"/>
                  </a:cubicBezTo>
                  <a:cubicBezTo>
                    <a:pt x="83" y="77"/>
                    <a:pt x="82" y="43"/>
                    <a:pt x="82" y="43"/>
                  </a:cubicBezTo>
                  <a:cubicBezTo>
                    <a:pt x="82" y="41"/>
                    <a:pt x="83" y="41"/>
                    <a:pt x="84" y="40"/>
                  </a:cubicBezTo>
                  <a:cubicBezTo>
                    <a:pt x="85" y="40"/>
                    <a:pt x="86" y="41"/>
                    <a:pt x="87" y="42"/>
                  </a:cubicBezTo>
                  <a:cubicBezTo>
                    <a:pt x="108" y="89"/>
                    <a:pt x="108" y="89"/>
                    <a:pt x="108" y="89"/>
                  </a:cubicBezTo>
                  <a:cubicBezTo>
                    <a:pt x="109" y="90"/>
                    <a:pt x="110" y="91"/>
                    <a:pt x="112" y="91"/>
                  </a:cubicBezTo>
                  <a:cubicBezTo>
                    <a:pt x="112" y="91"/>
                    <a:pt x="113" y="91"/>
                    <a:pt x="113" y="91"/>
                  </a:cubicBezTo>
                  <a:cubicBezTo>
                    <a:pt x="115" y="90"/>
                    <a:pt x="117" y="88"/>
                    <a:pt x="116" y="86"/>
                  </a:cubicBezTo>
                  <a:cubicBezTo>
                    <a:pt x="116" y="86"/>
                    <a:pt x="116" y="86"/>
                    <a:pt x="116" y="86"/>
                  </a:cubicBezTo>
                  <a:cubicBezTo>
                    <a:pt x="116" y="86"/>
                    <a:pt x="116" y="85"/>
                    <a:pt x="116" y="84"/>
                  </a:cubicBezTo>
                  <a:cubicBezTo>
                    <a:pt x="115" y="82"/>
                    <a:pt x="114" y="80"/>
                    <a:pt x="114" y="78"/>
                  </a:cubicBezTo>
                  <a:cubicBezTo>
                    <a:pt x="108" y="61"/>
                    <a:pt x="96" y="23"/>
                    <a:pt x="93" y="17"/>
                  </a:cubicBezTo>
                  <a:cubicBezTo>
                    <a:pt x="90" y="11"/>
                    <a:pt x="84" y="5"/>
                    <a:pt x="61" y="5"/>
                  </a:cubicBezTo>
                  <a:cubicBezTo>
                    <a:pt x="38" y="5"/>
                    <a:pt x="32" y="11"/>
                    <a:pt x="29" y="17"/>
                  </a:cubicBezTo>
                  <a:cubicBezTo>
                    <a:pt x="26" y="23"/>
                    <a:pt x="14" y="61"/>
                    <a:pt x="8" y="78"/>
                  </a:cubicBezTo>
                  <a:cubicBezTo>
                    <a:pt x="8" y="80"/>
                    <a:pt x="7" y="82"/>
                    <a:pt x="6" y="84"/>
                  </a:cubicBezTo>
                  <a:cubicBezTo>
                    <a:pt x="6" y="85"/>
                    <a:pt x="6" y="86"/>
                    <a:pt x="6" y="86"/>
                  </a:cubicBezTo>
                  <a:cubicBezTo>
                    <a:pt x="6" y="86"/>
                    <a:pt x="6" y="86"/>
                    <a:pt x="6" y="86"/>
                  </a:cubicBezTo>
                  <a:cubicBezTo>
                    <a:pt x="5" y="88"/>
                    <a:pt x="6" y="90"/>
                    <a:pt x="9" y="91"/>
                  </a:cubicBezTo>
                  <a:cubicBezTo>
                    <a:pt x="9" y="91"/>
                    <a:pt x="10" y="91"/>
                    <a:pt x="10" y="91"/>
                  </a:cubicBezTo>
                  <a:cubicBezTo>
                    <a:pt x="12" y="91"/>
                    <a:pt x="13" y="90"/>
                    <a:pt x="14" y="89"/>
                  </a:cubicBezTo>
                  <a:cubicBezTo>
                    <a:pt x="35" y="42"/>
                    <a:pt x="35" y="42"/>
                    <a:pt x="35" y="42"/>
                  </a:cubicBezTo>
                  <a:cubicBezTo>
                    <a:pt x="36" y="41"/>
                    <a:pt x="37" y="40"/>
                    <a:pt x="38" y="40"/>
                  </a:cubicBezTo>
                  <a:cubicBezTo>
                    <a:pt x="39" y="41"/>
                    <a:pt x="40" y="41"/>
                    <a:pt x="40" y="43"/>
                  </a:cubicBezTo>
                  <a:cubicBezTo>
                    <a:pt x="40" y="43"/>
                    <a:pt x="39" y="78"/>
                    <a:pt x="38" y="112"/>
                  </a:cubicBezTo>
                  <a:cubicBezTo>
                    <a:pt x="38" y="130"/>
                    <a:pt x="37" y="147"/>
                    <a:pt x="37" y="160"/>
                  </a:cubicBezTo>
                  <a:cubicBezTo>
                    <a:pt x="37" y="167"/>
                    <a:pt x="37" y="172"/>
                    <a:pt x="36" y="176"/>
                  </a:cubicBezTo>
                  <a:cubicBezTo>
                    <a:pt x="36" y="178"/>
                    <a:pt x="36" y="180"/>
                    <a:pt x="36" y="181"/>
                  </a:cubicBezTo>
                  <a:cubicBezTo>
                    <a:pt x="36" y="181"/>
                    <a:pt x="36" y="182"/>
                    <a:pt x="36" y="182"/>
                  </a:cubicBezTo>
                  <a:cubicBezTo>
                    <a:pt x="36" y="185"/>
                    <a:pt x="39" y="187"/>
                    <a:pt x="43" y="187"/>
                  </a:cubicBezTo>
                  <a:cubicBezTo>
                    <a:pt x="46" y="187"/>
                    <a:pt x="49" y="185"/>
                    <a:pt x="49" y="182"/>
                  </a:cubicBezTo>
                  <a:cubicBezTo>
                    <a:pt x="59" y="100"/>
                    <a:pt x="59" y="100"/>
                    <a:pt x="59" y="100"/>
                  </a:cubicBezTo>
                  <a:cubicBezTo>
                    <a:pt x="59" y="99"/>
                    <a:pt x="60" y="98"/>
                    <a:pt x="61" y="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Freeform 74">
            <a:extLst>
              <a:ext uri="{FF2B5EF4-FFF2-40B4-BE49-F238E27FC236}">
                <a16:creationId xmlns:a16="http://schemas.microsoft.com/office/drawing/2014/main" id="{7249DB34-AFF2-9A43-8C09-01A718618FA8}"/>
              </a:ext>
            </a:extLst>
          </p:cNvPr>
          <p:cNvSpPr/>
          <p:nvPr/>
        </p:nvSpPr>
        <p:spPr>
          <a:xfrm flipV="1">
            <a:off x="5479533" y="4646038"/>
            <a:ext cx="729973" cy="259766"/>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1" name="Straight Connector 80">
            <a:extLst>
              <a:ext uri="{FF2B5EF4-FFF2-40B4-BE49-F238E27FC236}">
                <a16:creationId xmlns:a16="http://schemas.microsoft.com/office/drawing/2014/main" id="{C9B98907-8613-5845-BCA4-A19D53527168}"/>
              </a:ext>
            </a:extLst>
          </p:cNvPr>
          <p:cNvCxnSpPr/>
          <p:nvPr/>
        </p:nvCxnSpPr>
        <p:spPr>
          <a:xfrm>
            <a:off x="6436814" y="3498912"/>
            <a:ext cx="180747" cy="0"/>
          </a:xfrm>
          <a:prstGeom prst="line">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cxnSp>
      <p:sp>
        <p:nvSpPr>
          <p:cNvPr id="42" name="Rectangle 25">
            <a:extLst>
              <a:ext uri="{FF2B5EF4-FFF2-40B4-BE49-F238E27FC236}">
                <a16:creationId xmlns:a16="http://schemas.microsoft.com/office/drawing/2014/main" id="{01EA3B70-E1F6-6A4D-AEC8-7E5A7AC41EEB}"/>
              </a:ext>
            </a:extLst>
          </p:cNvPr>
          <p:cNvSpPr/>
          <p:nvPr/>
        </p:nvSpPr>
        <p:spPr>
          <a:xfrm>
            <a:off x="1239670" y="4701363"/>
            <a:ext cx="1630618" cy="520527"/>
          </a:xfrm>
          <a:prstGeom prst="rect">
            <a:avLst/>
          </a:prstGeom>
        </p:spPr>
        <p:txBody>
          <a:bodyPr wrap="square" lIns="0" tIns="0" rIns="0" bIns="0">
            <a:spAutoFit/>
          </a:bodyPr>
          <a:lstStyle/>
          <a:p>
            <a:pPr algn="r">
              <a:lnSpc>
                <a:spcPct val="89000"/>
              </a:lnSpc>
            </a:pPr>
            <a:r>
              <a:rPr lang="fr-FR" sz="1600"/>
              <a:t>14 00 / 15 50</a:t>
            </a:r>
          </a:p>
          <a:p>
            <a:pPr algn="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sp>
        <p:nvSpPr>
          <p:cNvPr id="43" name="Rectangle 43">
            <a:extLst>
              <a:ext uri="{FF2B5EF4-FFF2-40B4-BE49-F238E27FC236}">
                <a16:creationId xmlns:a16="http://schemas.microsoft.com/office/drawing/2014/main" id="{D77D790E-702C-1C4E-B537-BA471CB76604}"/>
              </a:ext>
            </a:extLst>
          </p:cNvPr>
          <p:cNvSpPr/>
          <p:nvPr/>
        </p:nvSpPr>
        <p:spPr>
          <a:xfrm>
            <a:off x="698754" y="3311545"/>
            <a:ext cx="1630618" cy="520527"/>
          </a:xfrm>
          <a:prstGeom prst="rect">
            <a:avLst/>
          </a:prstGeom>
        </p:spPr>
        <p:txBody>
          <a:bodyPr wrap="square" lIns="0" tIns="0" rIns="0" bIns="0">
            <a:spAutoFit/>
          </a:bodyPr>
          <a:lstStyle/>
          <a:p>
            <a:pPr algn="r">
              <a:lnSpc>
                <a:spcPct val="89000"/>
              </a:lnSpc>
            </a:pPr>
            <a:r>
              <a:rPr lang="fr-FR" sz="1600"/>
              <a:t>14 75 / 17 50</a:t>
            </a:r>
          </a:p>
          <a:p>
            <a:pPr algn="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sp>
        <p:nvSpPr>
          <p:cNvPr id="44" name="Rectangle 44">
            <a:extLst>
              <a:ext uri="{FF2B5EF4-FFF2-40B4-BE49-F238E27FC236}">
                <a16:creationId xmlns:a16="http://schemas.microsoft.com/office/drawing/2014/main" id="{8D62F42E-A011-8048-9869-A27C8C557521}"/>
              </a:ext>
            </a:extLst>
          </p:cNvPr>
          <p:cNvSpPr/>
          <p:nvPr/>
        </p:nvSpPr>
        <p:spPr>
          <a:xfrm>
            <a:off x="1239670" y="2001228"/>
            <a:ext cx="1630618" cy="520527"/>
          </a:xfrm>
          <a:prstGeom prst="rect">
            <a:avLst/>
          </a:prstGeom>
        </p:spPr>
        <p:txBody>
          <a:bodyPr wrap="square" lIns="0" tIns="0" rIns="0" bIns="0">
            <a:spAutoFit/>
          </a:bodyPr>
          <a:lstStyle/>
          <a:p>
            <a:pPr algn="r">
              <a:lnSpc>
                <a:spcPct val="89000"/>
              </a:lnSpc>
            </a:pPr>
            <a:r>
              <a:rPr lang="fr-FR" sz="1600"/>
              <a:t>18 00 / 19 50</a:t>
            </a:r>
          </a:p>
          <a:p>
            <a:pPr algn="r">
              <a:lnSpc>
                <a:spcPct val="89000"/>
              </a:lnSpc>
            </a:pPr>
            <a:r>
              <a:rPr lang="fr-FR" sz="1100"/>
              <a:t>Xx </a:t>
            </a:r>
            <a:r>
              <a:rPr lang="fr-FR" sz="1100" err="1"/>
              <a:t>xxxx</a:t>
            </a:r>
            <a:r>
              <a:rPr lang="fr-FR" sz="1100"/>
              <a:t> xxx </a:t>
            </a:r>
            <a:r>
              <a:rPr lang="fr-FR" sz="1100" err="1"/>
              <a:t>xxxxxx</a:t>
            </a:r>
            <a:r>
              <a:rPr lang="fr-FR" sz="1100"/>
              <a:t> </a:t>
            </a:r>
            <a:r>
              <a:rPr lang="fr-FR" sz="1100" err="1"/>
              <a:t>xxxxxx</a:t>
            </a:r>
            <a:r>
              <a:rPr lang="fr-FR" sz="1100"/>
              <a:t> xxx xx</a:t>
            </a:r>
            <a:endParaRPr lang="en-US" sz="1100"/>
          </a:p>
        </p:txBody>
      </p:sp>
      <p:grpSp>
        <p:nvGrpSpPr>
          <p:cNvPr id="45" name="Group 19">
            <a:extLst>
              <a:ext uri="{FF2B5EF4-FFF2-40B4-BE49-F238E27FC236}">
                <a16:creationId xmlns:a16="http://schemas.microsoft.com/office/drawing/2014/main" id="{0B3BB93F-747B-D44B-9BAF-075253FD23F8}"/>
              </a:ext>
            </a:extLst>
          </p:cNvPr>
          <p:cNvGrpSpPr>
            <a:grpSpLocks noChangeAspect="1"/>
          </p:cNvGrpSpPr>
          <p:nvPr/>
        </p:nvGrpSpPr>
        <p:grpSpPr>
          <a:xfrm>
            <a:off x="3506198" y="4064525"/>
            <a:ext cx="263334" cy="524940"/>
            <a:chOff x="4542701" y="-2257066"/>
            <a:chExt cx="725488" cy="1446213"/>
          </a:xfrm>
        </p:grpSpPr>
        <p:sp>
          <p:nvSpPr>
            <p:cNvPr id="46" name="Freeform 20">
              <a:extLst>
                <a:ext uri="{FF2B5EF4-FFF2-40B4-BE49-F238E27FC236}">
                  <a16:creationId xmlns:a16="http://schemas.microsoft.com/office/drawing/2014/main" id="{930F1165-433B-4D41-91EC-557593BB49B9}"/>
                </a:ext>
              </a:extLst>
            </p:cNvPr>
            <p:cNvSpPr>
              <a:spLocks noEditPoints="1"/>
            </p:cNvSpPr>
            <p:nvPr/>
          </p:nvSpPr>
          <p:spPr bwMode="auto">
            <a:xfrm>
              <a:off x="4768126" y="-2257066"/>
              <a:ext cx="273050" cy="273050"/>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4 h 46"/>
                <a:gd name="T12" fmla="*/ 5 w 46"/>
                <a:gd name="T13" fmla="*/ 23 h 46"/>
                <a:gd name="T14" fmla="*/ 23 w 46"/>
                <a:gd name="T15" fmla="*/ 41 h 46"/>
                <a:gd name="T16" fmla="*/ 41 w 46"/>
                <a:gd name="T17" fmla="*/ 23 h 46"/>
                <a:gd name="T18" fmla="*/ 23 w 46"/>
                <a:gd name="T19"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5"/>
                    <a:pt x="0" y="23"/>
                  </a:cubicBezTo>
                  <a:cubicBezTo>
                    <a:pt x="0" y="10"/>
                    <a:pt x="10" y="0"/>
                    <a:pt x="23" y="0"/>
                  </a:cubicBezTo>
                  <a:cubicBezTo>
                    <a:pt x="36" y="0"/>
                    <a:pt x="46" y="10"/>
                    <a:pt x="46" y="23"/>
                  </a:cubicBezTo>
                  <a:cubicBezTo>
                    <a:pt x="46" y="35"/>
                    <a:pt x="36" y="46"/>
                    <a:pt x="23" y="46"/>
                  </a:cubicBezTo>
                  <a:close/>
                  <a:moveTo>
                    <a:pt x="23" y="4"/>
                  </a:moveTo>
                  <a:cubicBezTo>
                    <a:pt x="13" y="4"/>
                    <a:pt x="5" y="13"/>
                    <a:pt x="5" y="23"/>
                  </a:cubicBezTo>
                  <a:cubicBezTo>
                    <a:pt x="5" y="33"/>
                    <a:pt x="13" y="41"/>
                    <a:pt x="23" y="41"/>
                  </a:cubicBezTo>
                  <a:cubicBezTo>
                    <a:pt x="33" y="41"/>
                    <a:pt x="41" y="33"/>
                    <a:pt x="41" y="23"/>
                  </a:cubicBezTo>
                  <a:cubicBezTo>
                    <a:pt x="41" y="13"/>
                    <a:pt x="33" y="4"/>
                    <a:pt x="23"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1">
              <a:extLst>
                <a:ext uri="{FF2B5EF4-FFF2-40B4-BE49-F238E27FC236}">
                  <a16:creationId xmlns:a16="http://schemas.microsoft.com/office/drawing/2014/main" id="{9EAEEF86-7D17-334E-AB35-8520084C7F5B}"/>
                </a:ext>
              </a:extLst>
            </p:cNvPr>
            <p:cNvSpPr>
              <a:spLocks noEditPoints="1"/>
            </p:cNvSpPr>
            <p:nvPr/>
          </p:nvSpPr>
          <p:spPr bwMode="auto">
            <a:xfrm>
              <a:off x="4542701" y="-1953853"/>
              <a:ext cx="725488" cy="1143000"/>
            </a:xfrm>
            <a:custGeom>
              <a:avLst/>
              <a:gdLst>
                <a:gd name="T0" fmla="*/ 68 w 122"/>
                <a:gd name="T1" fmla="*/ 182 h 192"/>
                <a:gd name="T2" fmla="*/ 54 w 122"/>
                <a:gd name="T3" fmla="*/ 183 h 192"/>
                <a:gd name="T4" fmla="*/ 32 w 122"/>
                <a:gd name="T5" fmla="*/ 182 h 192"/>
                <a:gd name="T6" fmla="*/ 35 w 122"/>
                <a:gd name="T7" fmla="*/ 54 h 192"/>
                <a:gd name="T8" fmla="*/ 10 w 122"/>
                <a:gd name="T9" fmla="*/ 96 h 192"/>
                <a:gd name="T10" fmla="*/ 1 w 122"/>
                <a:gd name="T11" fmla="*/ 85 h 192"/>
                <a:gd name="T12" fmla="*/ 4 w 122"/>
                <a:gd name="T13" fmla="*/ 76 h 192"/>
                <a:gd name="T14" fmla="*/ 61 w 122"/>
                <a:gd name="T15" fmla="*/ 0 h 192"/>
                <a:gd name="T16" fmla="*/ 118 w 122"/>
                <a:gd name="T17" fmla="*/ 76 h 192"/>
                <a:gd name="T18" fmla="*/ 121 w 122"/>
                <a:gd name="T19" fmla="*/ 85 h 192"/>
                <a:gd name="T20" fmla="*/ 112 w 122"/>
                <a:gd name="T21" fmla="*/ 96 h 192"/>
                <a:gd name="T22" fmla="*/ 87 w 122"/>
                <a:gd name="T23" fmla="*/ 54 h 192"/>
                <a:gd name="T24" fmla="*/ 90 w 122"/>
                <a:gd name="T25" fmla="*/ 182 h 192"/>
                <a:gd name="T26" fmla="*/ 79 w 122"/>
                <a:gd name="T27" fmla="*/ 192 h 192"/>
                <a:gd name="T28" fmla="*/ 63 w 122"/>
                <a:gd name="T29" fmla="*/ 100 h 192"/>
                <a:gd name="T30" fmla="*/ 79 w 122"/>
                <a:gd name="T31" fmla="*/ 187 h 192"/>
                <a:gd name="T32" fmla="*/ 79 w 122"/>
                <a:gd name="T33" fmla="*/ 187 h 192"/>
                <a:gd name="T34" fmla="*/ 86 w 122"/>
                <a:gd name="T35" fmla="*/ 182 h 192"/>
                <a:gd name="T36" fmla="*/ 85 w 122"/>
                <a:gd name="T37" fmla="*/ 160 h 192"/>
                <a:gd name="T38" fmla="*/ 82 w 122"/>
                <a:gd name="T39" fmla="*/ 43 h 192"/>
                <a:gd name="T40" fmla="*/ 87 w 122"/>
                <a:gd name="T41" fmla="*/ 42 h 192"/>
                <a:gd name="T42" fmla="*/ 112 w 122"/>
                <a:gd name="T43" fmla="*/ 91 h 192"/>
                <a:gd name="T44" fmla="*/ 116 w 122"/>
                <a:gd name="T45" fmla="*/ 86 h 192"/>
                <a:gd name="T46" fmla="*/ 116 w 122"/>
                <a:gd name="T47" fmla="*/ 84 h 192"/>
                <a:gd name="T48" fmla="*/ 93 w 122"/>
                <a:gd name="T49" fmla="*/ 17 h 192"/>
                <a:gd name="T50" fmla="*/ 29 w 122"/>
                <a:gd name="T51" fmla="*/ 17 h 192"/>
                <a:gd name="T52" fmla="*/ 6 w 122"/>
                <a:gd name="T53" fmla="*/ 84 h 192"/>
                <a:gd name="T54" fmla="*/ 6 w 122"/>
                <a:gd name="T55" fmla="*/ 86 h 192"/>
                <a:gd name="T56" fmla="*/ 10 w 122"/>
                <a:gd name="T57" fmla="*/ 91 h 192"/>
                <a:gd name="T58" fmla="*/ 35 w 122"/>
                <a:gd name="T59" fmla="*/ 42 h 192"/>
                <a:gd name="T60" fmla="*/ 40 w 122"/>
                <a:gd name="T61" fmla="*/ 43 h 192"/>
                <a:gd name="T62" fmla="*/ 37 w 122"/>
                <a:gd name="T63" fmla="*/ 160 h 192"/>
                <a:gd name="T64" fmla="*/ 36 w 122"/>
                <a:gd name="T65" fmla="*/ 181 h 192"/>
                <a:gd name="T66" fmla="*/ 43 w 122"/>
                <a:gd name="T67" fmla="*/ 187 h 192"/>
                <a:gd name="T68" fmla="*/ 59 w 122"/>
                <a:gd name="T69" fmla="*/ 10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92">
                  <a:moveTo>
                    <a:pt x="79" y="192"/>
                  </a:moveTo>
                  <a:cubicBezTo>
                    <a:pt x="74" y="192"/>
                    <a:pt x="69" y="188"/>
                    <a:pt x="68" y="182"/>
                  </a:cubicBezTo>
                  <a:cubicBezTo>
                    <a:pt x="61" y="120"/>
                    <a:pt x="61" y="120"/>
                    <a:pt x="61" y="120"/>
                  </a:cubicBezTo>
                  <a:cubicBezTo>
                    <a:pt x="54" y="183"/>
                    <a:pt x="54" y="183"/>
                    <a:pt x="54" y="183"/>
                  </a:cubicBezTo>
                  <a:cubicBezTo>
                    <a:pt x="53" y="188"/>
                    <a:pt x="48" y="192"/>
                    <a:pt x="43" y="192"/>
                  </a:cubicBezTo>
                  <a:cubicBezTo>
                    <a:pt x="37" y="192"/>
                    <a:pt x="32" y="188"/>
                    <a:pt x="32" y="182"/>
                  </a:cubicBezTo>
                  <a:cubicBezTo>
                    <a:pt x="32" y="182"/>
                    <a:pt x="32" y="182"/>
                    <a:pt x="32" y="182"/>
                  </a:cubicBezTo>
                  <a:cubicBezTo>
                    <a:pt x="32" y="179"/>
                    <a:pt x="34" y="103"/>
                    <a:pt x="35" y="54"/>
                  </a:cubicBezTo>
                  <a:cubicBezTo>
                    <a:pt x="18" y="91"/>
                    <a:pt x="18" y="91"/>
                    <a:pt x="18" y="91"/>
                  </a:cubicBezTo>
                  <a:cubicBezTo>
                    <a:pt x="17" y="94"/>
                    <a:pt x="14" y="96"/>
                    <a:pt x="10" y="96"/>
                  </a:cubicBezTo>
                  <a:cubicBezTo>
                    <a:pt x="9" y="96"/>
                    <a:pt x="8" y="96"/>
                    <a:pt x="7" y="95"/>
                  </a:cubicBezTo>
                  <a:cubicBezTo>
                    <a:pt x="3" y="94"/>
                    <a:pt x="0" y="89"/>
                    <a:pt x="1" y="85"/>
                  </a:cubicBezTo>
                  <a:cubicBezTo>
                    <a:pt x="1" y="85"/>
                    <a:pt x="1" y="85"/>
                    <a:pt x="1" y="85"/>
                  </a:cubicBezTo>
                  <a:cubicBezTo>
                    <a:pt x="1" y="84"/>
                    <a:pt x="3" y="81"/>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1"/>
                    <a:pt x="121" y="84"/>
                    <a:pt x="121" y="85"/>
                  </a:cubicBezTo>
                  <a:cubicBezTo>
                    <a:pt x="121" y="85"/>
                    <a:pt x="121" y="85"/>
                    <a:pt x="121" y="85"/>
                  </a:cubicBezTo>
                  <a:cubicBezTo>
                    <a:pt x="122" y="89"/>
                    <a:pt x="119" y="94"/>
                    <a:pt x="115" y="95"/>
                  </a:cubicBezTo>
                  <a:cubicBezTo>
                    <a:pt x="114" y="96"/>
                    <a:pt x="113" y="96"/>
                    <a:pt x="112" y="96"/>
                  </a:cubicBezTo>
                  <a:cubicBezTo>
                    <a:pt x="108" y="96"/>
                    <a:pt x="105" y="94"/>
                    <a:pt x="104" y="91"/>
                  </a:cubicBezTo>
                  <a:cubicBezTo>
                    <a:pt x="87" y="54"/>
                    <a:pt x="87" y="54"/>
                    <a:pt x="87" y="54"/>
                  </a:cubicBezTo>
                  <a:cubicBezTo>
                    <a:pt x="88" y="103"/>
                    <a:pt x="90" y="179"/>
                    <a:pt x="90" y="182"/>
                  </a:cubicBezTo>
                  <a:cubicBezTo>
                    <a:pt x="90" y="182"/>
                    <a:pt x="90" y="182"/>
                    <a:pt x="90" y="182"/>
                  </a:cubicBezTo>
                  <a:cubicBezTo>
                    <a:pt x="90" y="188"/>
                    <a:pt x="85" y="192"/>
                    <a:pt x="79" y="192"/>
                  </a:cubicBezTo>
                  <a:cubicBezTo>
                    <a:pt x="79" y="192"/>
                    <a:pt x="79" y="192"/>
                    <a:pt x="79" y="192"/>
                  </a:cubicBezTo>
                  <a:close/>
                  <a:moveTo>
                    <a:pt x="61" y="98"/>
                  </a:moveTo>
                  <a:cubicBezTo>
                    <a:pt x="62" y="98"/>
                    <a:pt x="63" y="99"/>
                    <a:pt x="63" y="100"/>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9"/>
                    <a:pt x="85" y="176"/>
                  </a:cubicBezTo>
                  <a:cubicBezTo>
                    <a:pt x="85" y="172"/>
                    <a:pt x="85" y="167"/>
                    <a:pt x="85" y="160"/>
                  </a:cubicBezTo>
                  <a:cubicBezTo>
                    <a:pt x="85" y="147"/>
                    <a:pt x="84" y="130"/>
                    <a:pt x="84" y="112"/>
                  </a:cubicBezTo>
                  <a:cubicBezTo>
                    <a:pt x="83" y="77"/>
                    <a:pt x="82" y="43"/>
                    <a:pt x="82" y="43"/>
                  </a:cubicBezTo>
                  <a:cubicBezTo>
                    <a:pt x="82" y="41"/>
                    <a:pt x="83" y="41"/>
                    <a:pt x="84" y="40"/>
                  </a:cubicBezTo>
                  <a:cubicBezTo>
                    <a:pt x="85" y="40"/>
                    <a:pt x="86" y="41"/>
                    <a:pt x="87" y="42"/>
                  </a:cubicBezTo>
                  <a:cubicBezTo>
                    <a:pt x="108" y="89"/>
                    <a:pt x="108" y="89"/>
                    <a:pt x="108" y="89"/>
                  </a:cubicBezTo>
                  <a:cubicBezTo>
                    <a:pt x="109" y="90"/>
                    <a:pt x="110" y="91"/>
                    <a:pt x="112" y="91"/>
                  </a:cubicBezTo>
                  <a:cubicBezTo>
                    <a:pt x="112" y="91"/>
                    <a:pt x="113" y="91"/>
                    <a:pt x="113" y="91"/>
                  </a:cubicBezTo>
                  <a:cubicBezTo>
                    <a:pt x="115" y="90"/>
                    <a:pt x="117" y="88"/>
                    <a:pt x="116" y="86"/>
                  </a:cubicBezTo>
                  <a:cubicBezTo>
                    <a:pt x="116" y="86"/>
                    <a:pt x="116" y="86"/>
                    <a:pt x="116" y="86"/>
                  </a:cubicBezTo>
                  <a:cubicBezTo>
                    <a:pt x="116" y="86"/>
                    <a:pt x="116" y="85"/>
                    <a:pt x="116" y="84"/>
                  </a:cubicBezTo>
                  <a:cubicBezTo>
                    <a:pt x="115" y="82"/>
                    <a:pt x="114" y="80"/>
                    <a:pt x="114" y="78"/>
                  </a:cubicBezTo>
                  <a:cubicBezTo>
                    <a:pt x="108" y="61"/>
                    <a:pt x="96" y="23"/>
                    <a:pt x="93" y="17"/>
                  </a:cubicBezTo>
                  <a:cubicBezTo>
                    <a:pt x="90" y="11"/>
                    <a:pt x="84" y="5"/>
                    <a:pt x="61" y="5"/>
                  </a:cubicBezTo>
                  <a:cubicBezTo>
                    <a:pt x="38" y="5"/>
                    <a:pt x="32" y="11"/>
                    <a:pt x="29" y="17"/>
                  </a:cubicBezTo>
                  <a:cubicBezTo>
                    <a:pt x="26" y="23"/>
                    <a:pt x="14" y="61"/>
                    <a:pt x="8" y="78"/>
                  </a:cubicBezTo>
                  <a:cubicBezTo>
                    <a:pt x="8" y="80"/>
                    <a:pt x="7" y="82"/>
                    <a:pt x="6" y="84"/>
                  </a:cubicBezTo>
                  <a:cubicBezTo>
                    <a:pt x="6" y="85"/>
                    <a:pt x="6" y="86"/>
                    <a:pt x="6" y="86"/>
                  </a:cubicBezTo>
                  <a:cubicBezTo>
                    <a:pt x="6" y="86"/>
                    <a:pt x="6" y="86"/>
                    <a:pt x="6" y="86"/>
                  </a:cubicBezTo>
                  <a:cubicBezTo>
                    <a:pt x="5" y="88"/>
                    <a:pt x="6" y="90"/>
                    <a:pt x="9" y="91"/>
                  </a:cubicBezTo>
                  <a:cubicBezTo>
                    <a:pt x="9" y="91"/>
                    <a:pt x="10" y="91"/>
                    <a:pt x="10" y="91"/>
                  </a:cubicBezTo>
                  <a:cubicBezTo>
                    <a:pt x="12" y="91"/>
                    <a:pt x="13" y="90"/>
                    <a:pt x="14" y="89"/>
                  </a:cubicBezTo>
                  <a:cubicBezTo>
                    <a:pt x="35" y="42"/>
                    <a:pt x="35" y="42"/>
                    <a:pt x="35" y="42"/>
                  </a:cubicBezTo>
                  <a:cubicBezTo>
                    <a:pt x="36" y="41"/>
                    <a:pt x="37" y="40"/>
                    <a:pt x="38" y="40"/>
                  </a:cubicBezTo>
                  <a:cubicBezTo>
                    <a:pt x="39" y="41"/>
                    <a:pt x="40" y="41"/>
                    <a:pt x="40" y="43"/>
                  </a:cubicBezTo>
                  <a:cubicBezTo>
                    <a:pt x="40" y="43"/>
                    <a:pt x="39" y="78"/>
                    <a:pt x="38" y="112"/>
                  </a:cubicBezTo>
                  <a:cubicBezTo>
                    <a:pt x="38" y="130"/>
                    <a:pt x="37" y="147"/>
                    <a:pt x="37" y="160"/>
                  </a:cubicBezTo>
                  <a:cubicBezTo>
                    <a:pt x="37" y="167"/>
                    <a:pt x="37" y="172"/>
                    <a:pt x="36" y="176"/>
                  </a:cubicBezTo>
                  <a:cubicBezTo>
                    <a:pt x="36" y="178"/>
                    <a:pt x="36" y="180"/>
                    <a:pt x="36" y="181"/>
                  </a:cubicBezTo>
                  <a:cubicBezTo>
                    <a:pt x="36" y="181"/>
                    <a:pt x="36" y="182"/>
                    <a:pt x="36" y="182"/>
                  </a:cubicBezTo>
                  <a:cubicBezTo>
                    <a:pt x="36" y="185"/>
                    <a:pt x="39" y="187"/>
                    <a:pt x="43" y="187"/>
                  </a:cubicBezTo>
                  <a:cubicBezTo>
                    <a:pt x="46" y="187"/>
                    <a:pt x="49" y="185"/>
                    <a:pt x="49" y="182"/>
                  </a:cubicBezTo>
                  <a:cubicBezTo>
                    <a:pt x="59" y="100"/>
                    <a:pt x="59" y="100"/>
                    <a:pt x="59" y="100"/>
                  </a:cubicBezTo>
                  <a:cubicBezTo>
                    <a:pt x="59" y="99"/>
                    <a:pt x="60" y="98"/>
                    <a:pt x="61" y="9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22">
            <a:extLst>
              <a:ext uri="{FF2B5EF4-FFF2-40B4-BE49-F238E27FC236}">
                <a16:creationId xmlns:a16="http://schemas.microsoft.com/office/drawing/2014/main" id="{FF477BDD-97C3-C642-B2AE-E8DE752464F1}"/>
              </a:ext>
            </a:extLst>
          </p:cNvPr>
          <p:cNvGrpSpPr>
            <a:grpSpLocks noChangeAspect="1"/>
          </p:cNvGrpSpPr>
          <p:nvPr/>
        </p:nvGrpSpPr>
        <p:grpSpPr>
          <a:xfrm>
            <a:off x="3481500" y="2315449"/>
            <a:ext cx="263912" cy="524940"/>
            <a:chOff x="2096364" y="-2257066"/>
            <a:chExt cx="727075" cy="1446213"/>
          </a:xfrm>
        </p:grpSpPr>
        <p:sp>
          <p:nvSpPr>
            <p:cNvPr id="49" name="Freeform 23">
              <a:extLst>
                <a:ext uri="{FF2B5EF4-FFF2-40B4-BE49-F238E27FC236}">
                  <a16:creationId xmlns:a16="http://schemas.microsoft.com/office/drawing/2014/main" id="{643AC802-E906-6941-A445-49E378763AA0}"/>
                </a:ext>
              </a:extLst>
            </p:cNvPr>
            <p:cNvSpPr>
              <a:spLocks noEditPoints="1"/>
            </p:cNvSpPr>
            <p:nvPr/>
          </p:nvSpPr>
          <p:spPr bwMode="auto">
            <a:xfrm>
              <a:off x="2323376" y="-2257066"/>
              <a:ext cx="273050" cy="273050"/>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5 h 46"/>
                <a:gd name="T12" fmla="*/ 5 w 46"/>
                <a:gd name="T13" fmla="*/ 23 h 46"/>
                <a:gd name="T14" fmla="*/ 23 w 46"/>
                <a:gd name="T15" fmla="*/ 41 h 46"/>
                <a:gd name="T16" fmla="*/ 41 w 46"/>
                <a:gd name="T17" fmla="*/ 23 h 46"/>
                <a:gd name="T18" fmla="*/ 23 w 46"/>
                <a:gd name="T19"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0"/>
                    <a:pt x="10" y="0"/>
                    <a:pt x="23" y="0"/>
                  </a:cubicBezTo>
                  <a:cubicBezTo>
                    <a:pt x="36" y="0"/>
                    <a:pt x="46" y="10"/>
                    <a:pt x="46" y="23"/>
                  </a:cubicBezTo>
                  <a:cubicBezTo>
                    <a:pt x="46" y="36"/>
                    <a:pt x="36" y="46"/>
                    <a:pt x="23" y="46"/>
                  </a:cubicBezTo>
                  <a:close/>
                  <a:moveTo>
                    <a:pt x="23" y="5"/>
                  </a:moveTo>
                  <a:cubicBezTo>
                    <a:pt x="13" y="5"/>
                    <a:pt x="5" y="13"/>
                    <a:pt x="5" y="23"/>
                  </a:cubicBezTo>
                  <a:cubicBezTo>
                    <a:pt x="5" y="33"/>
                    <a:pt x="13" y="41"/>
                    <a:pt x="23" y="41"/>
                  </a:cubicBezTo>
                  <a:cubicBezTo>
                    <a:pt x="33" y="41"/>
                    <a:pt x="41" y="33"/>
                    <a:pt x="41" y="23"/>
                  </a:cubicBezTo>
                  <a:cubicBezTo>
                    <a:pt x="41" y="13"/>
                    <a:pt x="33" y="5"/>
                    <a:pt x="2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
              <a:extLst>
                <a:ext uri="{FF2B5EF4-FFF2-40B4-BE49-F238E27FC236}">
                  <a16:creationId xmlns:a16="http://schemas.microsoft.com/office/drawing/2014/main" id="{D83E0C9C-BFAF-384D-8AF4-870ACA6DB721}"/>
                </a:ext>
              </a:extLst>
            </p:cNvPr>
            <p:cNvSpPr>
              <a:spLocks noEditPoints="1"/>
            </p:cNvSpPr>
            <p:nvPr/>
          </p:nvSpPr>
          <p:spPr bwMode="auto">
            <a:xfrm>
              <a:off x="2096364" y="-1953853"/>
              <a:ext cx="727075" cy="1143000"/>
            </a:xfrm>
            <a:custGeom>
              <a:avLst/>
              <a:gdLst>
                <a:gd name="T0" fmla="*/ 68 w 122"/>
                <a:gd name="T1" fmla="*/ 182 h 192"/>
                <a:gd name="T2" fmla="*/ 60 w 122"/>
                <a:gd name="T3" fmla="*/ 129 h 192"/>
                <a:gd name="T4" fmla="*/ 43 w 122"/>
                <a:gd name="T5" fmla="*/ 192 h 192"/>
                <a:gd name="T6" fmla="*/ 32 w 122"/>
                <a:gd name="T7" fmla="*/ 182 h 192"/>
                <a:gd name="T8" fmla="*/ 22 w 122"/>
                <a:gd name="T9" fmla="*/ 129 h 192"/>
                <a:gd name="T10" fmla="*/ 20 w 122"/>
                <a:gd name="T11" fmla="*/ 126 h 192"/>
                <a:gd name="T12" fmla="*/ 18 w 122"/>
                <a:gd name="T13" fmla="*/ 91 h 192"/>
                <a:gd name="T14" fmla="*/ 7 w 122"/>
                <a:gd name="T15" fmla="*/ 95 h 192"/>
                <a:gd name="T16" fmla="*/ 1 w 122"/>
                <a:gd name="T17" fmla="*/ 84 h 192"/>
                <a:gd name="T18" fmla="*/ 25 w 122"/>
                <a:gd name="T19" fmla="*/ 15 h 192"/>
                <a:gd name="T20" fmla="*/ 97 w 122"/>
                <a:gd name="T21" fmla="*/ 15 h 192"/>
                <a:gd name="T22" fmla="*/ 121 w 122"/>
                <a:gd name="T23" fmla="*/ 84 h 192"/>
                <a:gd name="T24" fmla="*/ 115 w 122"/>
                <a:gd name="T25" fmla="*/ 95 h 192"/>
                <a:gd name="T26" fmla="*/ 112 w 122"/>
                <a:gd name="T27" fmla="*/ 96 h 192"/>
                <a:gd name="T28" fmla="*/ 91 w 122"/>
                <a:gd name="T29" fmla="*/ 62 h 192"/>
                <a:gd name="T30" fmla="*/ 102 w 122"/>
                <a:gd name="T31" fmla="*/ 126 h 192"/>
                <a:gd name="T32" fmla="*/ 100 w 122"/>
                <a:gd name="T33" fmla="*/ 129 h 192"/>
                <a:gd name="T34" fmla="*/ 90 w 122"/>
                <a:gd name="T35" fmla="*/ 182 h 192"/>
                <a:gd name="T36" fmla="*/ 79 w 122"/>
                <a:gd name="T37" fmla="*/ 192 h 192"/>
                <a:gd name="T38" fmla="*/ 58 w 122"/>
                <a:gd name="T39" fmla="*/ 124 h 192"/>
                <a:gd name="T40" fmla="*/ 66 w 122"/>
                <a:gd name="T41" fmla="*/ 126 h 192"/>
                <a:gd name="T42" fmla="*/ 79 w 122"/>
                <a:gd name="T43" fmla="*/ 187 h 192"/>
                <a:gd name="T44" fmla="*/ 79 w 122"/>
                <a:gd name="T45" fmla="*/ 187 h 192"/>
                <a:gd name="T46" fmla="*/ 86 w 122"/>
                <a:gd name="T47" fmla="*/ 182 h 192"/>
                <a:gd name="T48" fmla="*/ 85 w 122"/>
                <a:gd name="T49" fmla="*/ 154 h 192"/>
                <a:gd name="T50" fmla="*/ 85 w 122"/>
                <a:gd name="T51" fmla="*/ 125 h 192"/>
                <a:gd name="T52" fmla="*/ 97 w 122"/>
                <a:gd name="T53" fmla="*/ 124 h 192"/>
                <a:gd name="T54" fmla="*/ 85 w 122"/>
                <a:gd name="T55" fmla="*/ 40 h 192"/>
                <a:gd name="T56" fmla="*/ 108 w 122"/>
                <a:gd name="T57" fmla="*/ 89 h 192"/>
                <a:gd name="T58" fmla="*/ 112 w 122"/>
                <a:gd name="T59" fmla="*/ 91 h 192"/>
                <a:gd name="T60" fmla="*/ 116 w 122"/>
                <a:gd name="T61" fmla="*/ 86 h 192"/>
                <a:gd name="T62" fmla="*/ 116 w 122"/>
                <a:gd name="T63" fmla="*/ 84 h 192"/>
                <a:gd name="T64" fmla="*/ 93 w 122"/>
                <a:gd name="T65" fmla="*/ 17 h 192"/>
                <a:gd name="T66" fmla="*/ 29 w 122"/>
                <a:gd name="T67" fmla="*/ 17 h 192"/>
                <a:gd name="T68" fmla="*/ 6 w 122"/>
                <a:gd name="T69" fmla="*/ 84 h 192"/>
                <a:gd name="T70" fmla="*/ 6 w 122"/>
                <a:gd name="T71" fmla="*/ 86 h 192"/>
                <a:gd name="T72" fmla="*/ 10 w 122"/>
                <a:gd name="T73" fmla="*/ 91 h 192"/>
                <a:gd name="T74" fmla="*/ 34 w 122"/>
                <a:gd name="T75" fmla="*/ 41 h 192"/>
                <a:gd name="T76" fmla="*/ 38 w 122"/>
                <a:gd name="T77" fmla="*/ 43 h 192"/>
                <a:gd name="T78" fmla="*/ 36 w 122"/>
                <a:gd name="T79" fmla="*/ 124 h 192"/>
                <a:gd name="T80" fmla="*/ 38 w 122"/>
                <a:gd name="T81" fmla="*/ 126 h 192"/>
                <a:gd name="T82" fmla="*/ 37 w 122"/>
                <a:gd name="T83" fmla="*/ 173 h 192"/>
                <a:gd name="T84" fmla="*/ 36 w 122"/>
                <a:gd name="T85" fmla="*/ 182 h 192"/>
                <a:gd name="T86" fmla="*/ 43 w 122"/>
                <a:gd name="T87" fmla="*/ 187 h 192"/>
                <a:gd name="T88" fmla="*/ 56 w 122"/>
                <a:gd name="T89" fmla="*/ 12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192">
                  <a:moveTo>
                    <a:pt x="79" y="192"/>
                  </a:moveTo>
                  <a:cubicBezTo>
                    <a:pt x="74" y="192"/>
                    <a:pt x="69" y="187"/>
                    <a:pt x="68" y="182"/>
                  </a:cubicBezTo>
                  <a:cubicBezTo>
                    <a:pt x="62" y="129"/>
                    <a:pt x="62" y="129"/>
                    <a:pt x="62" y="129"/>
                  </a:cubicBezTo>
                  <a:cubicBezTo>
                    <a:pt x="60" y="129"/>
                    <a:pt x="60" y="129"/>
                    <a:pt x="60" y="129"/>
                  </a:cubicBezTo>
                  <a:cubicBezTo>
                    <a:pt x="54" y="182"/>
                    <a:pt x="54" y="182"/>
                    <a:pt x="54" y="182"/>
                  </a:cubicBezTo>
                  <a:cubicBezTo>
                    <a:pt x="53" y="187"/>
                    <a:pt x="48" y="192"/>
                    <a:pt x="43" y="192"/>
                  </a:cubicBezTo>
                  <a:cubicBezTo>
                    <a:pt x="37" y="192"/>
                    <a:pt x="32" y="187"/>
                    <a:pt x="32" y="182"/>
                  </a:cubicBezTo>
                  <a:cubicBezTo>
                    <a:pt x="32" y="182"/>
                    <a:pt x="32" y="182"/>
                    <a:pt x="32" y="182"/>
                  </a:cubicBezTo>
                  <a:cubicBezTo>
                    <a:pt x="32" y="180"/>
                    <a:pt x="33" y="145"/>
                    <a:pt x="33" y="129"/>
                  </a:cubicBezTo>
                  <a:cubicBezTo>
                    <a:pt x="22" y="129"/>
                    <a:pt x="22" y="129"/>
                    <a:pt x="22" y="129"/>
                  </a:cubicBezTo>
                  <a:cubicBezTo>
                    <a:pt x="21" y="129"/>
                    <a:pt x="21" y="128"/>
                    <a:pt x="20" y="128"/>
                  </a:cubicBezTo>
                  <a:cubicBezTo>
                    <a:pt x="20" y="127"/>
                    <a:pt x="20" y="127"/>
                    <a:pt x="20" y="126"/>
                  </a:cubicBezTo>
                  <a:cubicBezTo>
                    <a:pt x="31" y="62"/>
                    <a:pt x="31" y="62"/>
                    <a:pt x="31" y="62"/>
                  </a:cubicBezTo>
                  <a:cubicBezTo>
                    <a:pt x="18" y="91"/>
                    <a:pt x="18" y="91"/>
                    <a:pt x="18" y="91"/>
                  </a:cubicBezTo>
                  <a:cubicBezTo>
                    <a:pt x="17" y="94"/>
                    <a:pt x="14" y="96"/>
                    <a:pt x="10" y="96"/>
                  </a:cubicBezTo>
                  <a:cubicBezTo>
                    <a:pt x="9" y="96"/>
                    <a:pt x="8" y="95"/>
                    <a:pt x="7" y="95"/>
                  </a:cubicBezTo>
                  <a:cubicBezTo>
                    <a:pt x="3" y="93"/>
                    <a:pt x="0" y="89"/>
                    <a:pt x="1" y="85"/>
                  </a:cubicBezTo>
                  <a:cubicBezTo>
                    <a:pt x="1" y="85"/>
                    <a:pt x="1" y="85"/>
                    <a:pt x="1" y="84"/>
                  </a:cubicBezTo>
                  <a:cubicBezTo>
                    <a:pt x="1" y="84"/>
                    <a:pt x="3" y="80"/>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0"/>
                    <a:pt x="121" y="84"/>
                    <a:pt x="121" y="84"/>
                  </a:cubicBezTo>
                  <a:cubicBezTo>
                    <a:pt x="121" y="85"/>
                    <a:pt x="121" y="85"/>
                    <a:pt x="121" y="85"/>
                  </a:cubicBezTo>
                  <a:cubicBezTo>
                    <a:pt x="122" y="89"/>
                    <a:pt x="119" y="93"/>
                    <a:pt x="115" y="95"/>
                  </a:cubicBezTo>
                  <a:cubicBezTo>
                    <a:pt x="114" y="95"/>
                    <a:pt x="113" y="96"/>
                    <a:pt x="112" y="96"/>
                  </a:cubicBezTo>
                  <a:cubicBezTo>
                    <a:pt x="112" y="96"/>
                    <a:pt x="112" y="96"/>
                    <a:pt x="112" y="96"/>
                  </a:cubicBezTo>
                  <a:cubicBezTo>
                    <a:pt x="108" y="96"/>
                    <a:pt x="105" y="94"/>
                    <a:pt x="104" y="91"/>
                  </a:cubicBezTo>
                  <a:cubicBezTo>
                    <a:pt x="91" y="62"/>
                    <a:pt x="91" y="62"/>
                    <a:pt x="91" y="62"/>
                  </a:cubicBezTo>
                  <a:cubicBezTo>
                    <a:pt x="102" y="126"/>
                    <a:pt x="102" y="126"/>
                    <a:pt x="102" y="126"/>
                  </a:cubicBezTo>
                  <a:cubicBezTo>
                    <a:pt x="102" y="126"/>
                    <a:pt x="102" y="126"/>
                    <a:pt x="102" y="126"/>
                  </a:cubicBezTo>
                  <a:cubicBezTo>
                    <a:pt x="102" y="128"/>
                    <a:pt x="101" y="129"/>
                    <a:pt x="100" y="129"/>
                  </a:cubicBezTo>
                  <a:cubicBezTo>
                    <a:pt x="100" y="129"/>
                    <a:pt x="100" y="129"/>
                    <a:pt x="100" y="129"/>
                  </a:cubicBezTo>
                  <a:cubicBezTo>
                    <a:pt x="89" y="129"/>
                    <a:pt x="89" y="129"/>
                    <a:pt x="89" y="129"/>
                  </a:cubicBezTo>
                  <a:cubicBezTo>
                    <a:pt x="89" y="145"/>
                    <a:pt x="90" y="180"/>
                    <a:pt x="90" y="182"/>
                  </a:cubicBezTo>
                  <a:cubicBezTo>
                    <a:pt x="90" y="182"/>
                    <a:pt x="90" y="182"/>
                    <a:pt x="90" y="182"/>
                  </a:cubicBezTo>
                  <a:cubicBezTo>
                    <a:pt x="90" y="187"/>
                    <a:pt x="85" y="192"/>
                    <a:pt x="79" y="192"/>
                  </a:cubicBezTo>
                  <a:cubicBezTo>
                    <a:pt x="79" y="192"/>
                    <a:pt x="79" y="192"/>
                    <a:pt x="79" y="192"/>
                  </a:cubicBezTo>
                  <a:close/>
                  <a:moveTo>
                    <a:pt x="58" y="124"/>
                  </a:moveTo>
                  <a:cubicBezTo>
                    <a:pt x="64" y="124"/>
                    <a:pt x="64" y="124"/>
                    <a:pt x="64" y="124"/>
                  </a:cubicBezTo>
                  <a:cubicBezTo>
                    <a:pt x="65" y="124"/>
                    <a:pt x="66" y="125"/>
                    <a:pt x="66" y="126"/>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8"/>
                    <a:pt x="85" y="173"/>
                  </a:cubicBezTo>
                  <a:cubicBezTo>
                    <a:pt x="85" y="168"/>
                    <a:pt x="85" y="161"/>
                    <a:pt x="85" y="154"/>
                  </a:cubicBezTo>
                  <a:cubicBezTo>
                    <a:pt x="84" y="140"/>
                    <a:pt x="84" y="126"/>
                    <a:pt x="84" y="126"/>
                  </a:cubicBezTo>
                  <a:cubicBezTo>
                    <a:pt x="84" y="126"/>
                    <a:pt x="84" y="125"/>
                    <a:pt x="85" y="125"/>
                  </a:cubicBezTo>
                  <a:cubicBezTo>
                    <a:pt x="85" y="124"/>
                    <a:pt x="86" y="124"/>
                    <a:pt x="86" y="124"/>
                  </a:cubicBezTo>
                  <a:cubicBezTo>
                    <a:pt x="97" y="124"/>
                    <a:pt x="97" y="124"/>
                    <a:pt x="97" y="124"/>
                  </a:cubicBezTo>
                  <a:cubicBezTo>
                    <a:pt x="84" y="43"/>
                    <a:pt x="84" y="43"/>
                    <a:pt x="84" y="43"/>
                  </a:cubicBezTo>
                  <a:cubicBezTo>
                    <a:pt x="83" y="42"/>
                    <a:pt x="84" y="40"/>
                    <a:pt x="85" y="40"/>
                  </a:cubicBezTo>
                  <a:cubicBezTo>
                    <a:pt x="86" y="40"/>
                    <a:pt x="88" y="40"/>
                    <a:pt x="88" y="41"/>
                  </a:cubicBezTo>
                  <a:cubicBezTo>
                    <a:pt x="108" y="89"/>
                    <a:pt x="108" y="89"/>
                    <a:pt x="108" y="89"/>
                  </a:cubicBezTo>
                  <a:cubicBezTo>
                    <a:pt x="109" y="90"/>
                    <a:pt x="110" y="91"/>
                    <a:pt x="112" y="91"/>
                  </a:cubicBezTo>
                  <a:cubicBezTo>
                    <a:pt x="112" y="91"/>
                    <a:pt x="112" y="91"/>
                    <a:pt x="112" y="91"/>
                  </a:cubicBezTo>
                  <a:cubicBezTo>
                    <a:pt x="112" y="91"/>
                    <a:pt x="113" y="91"/>
                    <a:pt x="113" y="91"/>
                  </a:cubicBezTo>
                  <a:cubicBezTo>
                    <a:pt x="115" y="90"/>
                    <a:pt x="117" y="88"/>
                    <a:pt x="116" y="86"/>
                  </a:cubicBezTo>
                  <a:cubicBezTo>
                    <a:pt x="116" y="86"/>
                    <a:pt x="116" y="86"/>
                    <a:pt x="116" y="86"/>
                  </a:cubicBezTo>
                  <a:cubicBezTo>
                    <a:pt x="116" y="85"/>
                    <a:pt x="116" y="85"/>
                    <a:pt x="116" y="84"/>
                  </a:cubicBezTo>
                  <a:cubicBezTo>
                    <a:pt x="115" y="82"/>
                    <a:pt x="114" y="80"/>
                    <a:pt x="114" y="77"/>
                  </a:cubicBezTo>
                  <a:cubicBezTo>
                    <a:pt x="108" y="61"/>
                    <a:pt x="96" y="23"/>
                    <a:pt x="93" y="17"/>
                  </a:cubicBezTo>
                  <a:cubicBezTo>
                    <a:pt x="90" y="11"/>
                    <a:pt x="84" y="5"/>
                    <a:pt x="61" y="5"/>
                  </a:cubicBezTo>
                  <a:cubicBezTo>
                    <a:pt x="38" y="5"/>
                    <a:pt x="32" y="11"/>
                    <a:pt x="29" y="17"/>
                  </a:cubicBezTo>
                  <a:cubicBezTo>
                    <a:pt x="26" y="23"/>
                    <a:pt x="14" y="61"/>
                    <a:pt x="8" y="77"/>
                  </a:cubicBezTo>
                  <a:cubicBezTo>
                    <a:pt x="8" y="80"/>
                    <a:pt x="7" y="82"/>
                    <a:pt x="6" y="84"/>
                  </a:cubicBezTo>
                  <a:cubicBezTo>
                    <a:pt x="6" y="85"/>
                    <a:pt x="6" y="85"/>
                    <a:pt x="6" y="86"/>
                  </a:cubicBezTo>
                  <a:cubicBezTo>
                    <a:pt x="6" y="86"/>
                    <a:pt x="6" y="86"/>
                    <a:pt x="6" y="86"/>
                  </a:cubicBezTo>
                  <a:cubicBezTo>
                    <a:pt x="5" y="88"/>
                    <a:pt x="7" y="90"/>
                    <a:pt x="9" y="91"/>
                  </a:cubicBezTo>
                  <a:cubicBezTo>
                    <a:pt x="9" y="91"/>
                    <a:pt x="10" y="91"/>
                    <a:pt x="10" y="91"/>
                  </a:cubicBezTo>
                  <a:cubicBezTo>
                    <a:pt x="12" y="91"/>
                    <a:pt x="13" y="90"/>
                    <a:pt x="14" y="89"/>
                  </a:cubicBezTo>
                  <a:cubicBezTo>
                    <a:pt x="34" y="41"/>
                    <a:pt x="34" y="41"/>
                    <a:pt x="34" y="41"/>
                  </a:cubicBezTo>
                  <a:cubicBezTo>
                    <a:pt x="34" y="40"/>
                    <a:pt x="36" y="40"/>
                    <a:pt x="37" y="40"/>
                  </a:cubicBezTo>
                  <a:cubicBezTo>
                    <a:pt x="38" y="40"/>
                    <a:pt x="39" y="42"/>
                    <a:pt x="38" y="43"/>
                  </a:cubicBezTo>
                  <a:cubicBezTo>
                    <a:pt x="25" y="124"/>
                    <a:pt x="25" y="124"/>
                    <a:pt x="25" y="124"/>
                  </a:cubicBezTo>
                  <a:cubicBezTo>
                    <a:pt x="36" y="124"/>
                    <a:pt x="36" y="124"/>
                    <a:pt x="36" y="124"/>
                  </a:cubicBezTo>
                  <a:cubicBezTo>
                    <a:pt x="36" y="124"/>
                    <a:pt x="37" y="124"/>
                    <a:pt x="37" y="125"/>
                  </a:cubicBezTo>
                  <a:cubicBezTo>
                    <a:pt x="38" y="125"/>
                    <a:pt x="38" y="126"/>
                    <a:pt x="38" y="126"/>
                  </a:cubicBezTo>
                  <a:cubicBezTo>
                    <a:pt x="38" y="126"/>
                    <a:pt x="37" y="140"/>
                    <a:pt x="37" y="154"/>
                  </a:cubicBezTo>
                  <a:cubicBezTo>
                    <a:pt x="37" y="161"/>
                    <a:pt x="37" y="168"/>
                    <a:pt x="37" y="173"/>
                  </a:cubicBezTo>
                  <a:cubicBezTo>
                    <a:pt x="37" y="176"/>
                    <a:pt x="36" y="178"/>
                    <a:pt x="36" y="180"/>
                  </a:cubicBezTo>
                  <a:cubicBezTo>
                    <a:pt x="36" y="181"/>
                    <a:pt x="36" y="181"/>
                    <a:pt x="36" y="182"/>
                  </a:cubicBezTo>
                  <a:cubicBezTo>
                    <a:pt x="36" y="182"/>
                    <a:pt x="36" y="182"/>
                    <a:pt x="36" y="182"/>
                  </a:cubicBezTo>
                  <a:cubicBezTo>
                    <a:pt x="37" y="185"/>
                    <a:pt x="39" y="187"/>
                    <a:pt x="43" y="187"/>
                  </a:cubicBezTo>
                  <a:cubicBezTo>
                    <a:pt x="46" y="187"/>
                    <a:pt x="49" y="185"/>
                    <a:pt x="49" y="182"/>
                  </a:cubicBezTo>
                  <a:cubicBezTo>
                    <a:pt x="56" y="126"/>
                    <a:pt x="56" y="126"/>
                    <a:pt x="56" y="126"/>
                  </a:cubicBezTo>
                  <a:cubicBezTo>
                    <a:pt x="56" y="125"/>
                    <a:pt x="57" y="124"/>
                    <a:pt x="58" y="1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 name="Group 39">
            <a:extLst>
              <a:ext uri="{FF2B5EF4-FFF2-40B4-BE49-F238E27FC236}">
                <a16:creationId xmlns:a16="http://schemas.microsoft.com/office/drawing/2014/main" id="{3E176448-A8E3-5F48-ADE1-87888FF21839}"/>
              </a:ext>
            </a:extLst>
          </p:cNvPr>
          <p:cNvGrpSpPr>
            <a:grpSpLocks noChangeAspect="1"/>
          </p:cNvGrpSpPr>
          <p:nvPr/>
        </p:nvGrpSpPr>
        <p:grpSpPr>
          <a:xfrm>
            <a:off x="2725416" y="3308441"/>
            <a:ext cx="263912" cy="524940"/>
            <a:chOff x="2096364" y="-2257066"/>
            <a:chExt cx="727075" cy="1446213"/>
          </a:xfrm>
        </p:grpSpPr>
        <p:sp>
          <p:nvSpPr>
            <p:cNvPr id="52" name="Freeform 40">
              <a:extLst>
                <a:ext uri="{FF2B5EF4-FFF2-40B4-BE49-F238E27FC236}">
                  <a16:creationId xmlns:a16="http://schemas.microsoft.com/office/drawing/2014/main" id="{651D4DC0-A335-5C4F-AADC-84429F96CB72}"/>
                </a:ext>
              </a:extLst>
            </p:cNvPr>
            <p:cNvSpPr>
              <a:spLocks noEditPoints="1"/>
            </p:cNvSpPr>
            <p:nvPr/>
          </p:nvSpPr>
          <p:spPr bwMode="auto">
            <a:xfrm>
              <a:off x="2323376" y="-2257066"/>
              <a:ext cx="273050" cy="273050"/>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5 h 46"/>
                <a:gd name="T12" fmla="*/ 5 w 46"/>
                <a:gd name="T13" fmla="*/ 23 h 46"/>
                <a:gd name="T14" fmla="*/ 23 w 46"/>
                <a:gd name="T15" fmla="*/ 41 h 46"/>
                <a:gd name="T16" fmla="*/ 41 w 46"/>
                <a:gd name="T17" fmla="*/ 23 h 46"/>
                <a:gd name="T18" fmla="*/ 23 w 46"/>
                <a:gd name="T19"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0"/>
                    <a:pt x="10" y="0"/>
                    <a:pt x="23" y="0"/>
                  </a:cubicBezTo>
                  <a:cubicBezTo>
                    <a:pt x="36" y="0"/>
                    <a:pt x="46" y="10"/>
                    <a:pt x="46" y="23"/>
                  </a:cubicBezTo>
                  <a:cubicBezTo>
                    <a:pt x="46" y="36"/>
                    <a:pt x="36" y="46"/>
                    <a:pt x="23" y="46"/>
                  </a:cubicBezTo>
                  <a:close/>
                  <a:moveTo>
                    <a:pt x="23" y="5"/>
                  </a:moveTo>
                  <a:cubicBezTo>
                    <a:pt x="13" y="5"/>
                    <a:pt x="5" y="13"/>
                    <a:pt x="5" y="23"/>
                  </a:cubicBezTo>
                  <a:cubicBezTo>
                    <a:pt x="5" y="33"/>
                    <a:pt x="13" y="41"/>
                    <a:pt x="23" y="41"/>
                  </a:cubicBezTo>
                  <a:cubicBezTo>
                    <a:pt x="33" y="41"/>
                    <a:pt x="41" y="33"/>
                    <a:pt x="41" y="23"/>
                  </a:cubicBezTo>
                  <a:cubicBezTo>
                    <a:pt x="41" y="13"/>
                    <a:pt x="33" y="5"/>
                    <a:pt x="23"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1">
              <a:extLst>
                <a:ext uri="{FF2B5EF4-FFF2-40B4-BE49-F238E27FC236}">
                  <a16:creationId xmlns:a16="http://schemas.microsoft.com/office/drawing/2014/main" id="{F3FC51FD-E6ED-E045-8FAE-22D0126B140D}"/>
                </a:ext>
              </a:extLst>
            </p:cNvPr>
            <p:cNvSpPr>
              <a:spLocks noEditPoints="1"/>
            </p:cNvSpPr>
            <p:nvPr/>
          </p:nvSpPr>
          <p:spPr bwMode="auto">
            <a:xfrm>
              <a:off x="2096364" y="-1953853"/>
              <a:ext cx="727075" cy="1143000"/>
            </a:xfrm>
            <a:custGeom>
              <a:avLst/>
              <a:gdLst>
                <a:gd name="T0" fmla="*/ 68 w 122"/>
                <a:gd name="T1" fmla="*/ 182 h 192"/>
                <a:gd name="T2" fmla="*/ 60 w 122"/>
                <a:gd name="T3" fmla="*/ 129 h 192"/>
                <a:gd name="T4" fmla="*/ 43 w 122"/>
                <a:gd name="T5" fmla="*/ 192 h 192"/>
                <a:gd name="T6" fmla="*/ 32 w 122"/>
                <a:gd name="T7" fmla="*/ 182 h 192"/>
                <a:gd name="T8" fmla="*/ 22 w 122"/>
                <a:gd name="T9" fmla="*/ 129 h 192"/>
                <a:gd name="T10" fmla="*/ 20 w 122"/>
                <a:gd name="T11" fmla="*/ 126 h 192"/>
                <a:gd name="T12" fmla="*/ 18 w 122"/>
                <a:gd name="T13" fmla="*/ 91 h 192"/>
                <a:gd name="T14" fmla="*/ 7 w 122"/>
                <a:gd name="T15" fmla="*/ 95 h 192"/>
                <a:gd name="T16" fmla="*/ 1 w 122"/>
                <a:gd name="T17" fmla="*/ 84 h 192"/>
                <a:gd name="T18" fmla="*/ 25 w 122"/>
                <a:gd name="T19" fmla="*/ 15 h 192"/>
                <a:gd name="T20" fmla="*/ 97 w 122"/>
                <a:gd name="T21" fmla="*/ 15 h 192"/>
                <a:gd name="T22" fmla="*/ 121 w 122"/>
                <a:gd name="T23" fmla="*/ 84 h 192"/>
                <a:gd name="T24" fmla="*/ 115 w 122"/>
                <a:gd name="T25" fmla="*/ 95 h 192"/>
                <a:gd name="T26" fmla="*/ 112 w 122"/>
                <a:gd name="T27" fmla="*/ 96 h 192"/>
                <a:gd name="T28" fmla="*/ 91 w 122"/>
                <a:gd name="T29" fmla="*/ 62 h 192"/>
                <a:gd name="T30" fmla="*/ 102 w 122"/>
                <a:gd name="T31" fmla="*/ 126 h 192"/>
                <a:gd name="T32" fmla="*/ 100 w 122"/>
                <a:gd name="T33" fmla="*/ 129 h 192"/>
                <a:gd name="T34" fmla="*/ 90 w 122"/>
                <a:gd name="T35" fmla="*/ 182 h 192"/>
                <a:gd name="T36" fmla="*/ 79 w 122"/>
                <a:gd name="T37" fmla="*/ 192 h 192"/>
                <a:gd name="T38" fmla="*/ 58 w 122"/>
                <a:gd name="T39" fmla="*/ 124 h 192"/>
                <a:gd name="T40" fmla="*/ 66 w 122"/>
                <a:gd name="T41" fmla="*/ 126 h 192"/>
                <a:gd name="T42" fmla="*/ 79 w 122"/>
                <a:gd name="T43" fmla="*/ 187 h 192"/>
                <a:gd name="T44" fmla="*/ 79 w 122"/>
                <a:gd name="T45" fmla="*/ 187 h 192"/>
                <a:gd name="T46" fmla="*/ 86 w 122"/>
                <a:gd name="T47" fmla="*/ 182 h 192"/>
                <a:gd name="T48" fmla="*/ 85 w 122"/>
                <a:gd name="T49" fmla="*/ 154 h 192"/>
                <a:gd name="T50" fmla="*/ 85 w 122"/>
                <a:gd name="T51" fmla="*/ 125 h 192"/>
                <a:gd name="T52" fmla="*/ 97 w 122"/>
                <a:gd name="T53" fmla="*/ 124 h 192"/>
                <a:gd name="T54" fmla="*/ 85 w 122"/>
                <a:gd name="T55" fmla="*/ 40 h 192"/>
                <a:gd name="T56" fmla="*/ 108 w 122"/>
                <a:gd name="T57" fmla="*/ 89 h 192"/>
                <a:gd name="T58" fmla="*/ 112 w 122"/>
                <a:gd name="T59" fmla="*/ 91 h 192"/>
                <a:gd name="T60" fmla="*/ 116 w 122"/>
                <a:gd name="T61" fmla="*/ 86 h 192"/>
                <a:gd name="T62" fmla="*/ 116 w 122"/>
                <a:gd name="T63" fmla="*/ 84 h 192"/>
                <a:gd name="T64" fmla="*/ 93 w 122"/>
                <a:gd name="T65" fmla="*/ 17 h 192"/>
                <a:gd name="T66" fmla="*/ 29 w 122"/>
                <a:gd name="T67" fmla="*/ 17 h 192"/>
                <a:gd name="T68" fmla="*/ 6 w 122"/>
                <a:gd name="T69" fmla="*/ 84 h 192"/>
                <a:gd name="T70" fmla="*/ 6 w 122"/>
                <a:gd name="T71" fmla="*/ 86 h 192"/>
                <a:gd name="T72" fmla="*/ 10 w 122"/>
                <a:gd name="T73" fmla="*/ 91 h 192"/>
                <a:gd name="T74" fmla="*/ 34 w 122"/>
                <a:gd name="T75" fmla="*/ 41 h 192"/>
                <a:gd name="T76" fmla="*/ 38 w 122"/>
                <a:gd name="T77" fmla="*/ 43 h 192"/>
                <a:gd name="T78" fmla="*/ 36 w 122"/>
                <a:gd name="T79" fmla="*/ 124 h 192"/>
                <a:gd name="T80" fmla="*/ 38 w 122"/>
                <a:gd name="T81" fmla="*/ 126 h 192"/>
                <a:gd name="T82" fmla="*/ 37 w 122"/>
                <a:gd name="T83" fmla="*/ 173 h 192"/>
                <a:gd name="T84" fmla="*/ 36 w 122"/>
                <a:gd name="T85" fmla="*/ 182 h 192"/>
                <a:gd name="T86" fmla="*/ 43 w 122"/>
                <a:gd name="T87" fmla="*/ 187 h 192"/>
                <a:gd name="T88" fmla="*/ 56 w 122"/>
                <a:gd name="T89" fmla="*/ 12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192">
                  <a:moveTo>
                    <a:pt x="79" y="192"/>
                  </a:moveTo>
                  <a:cubicBezTo>
                    <a:pt x="74" y="192"/>
                    <a:pt x="69" y="187"/>
                    <a:pt x="68" y="182"/>
                  </a:cubicBezTo>
                  <a:cubicBezTo>
                    <a:pt x="62" y="129"/>
                    <a:pt x="62" y="129"/>
                    <a:pt x="62" y="129"/>
                  </a:cubicBezTo>
                  <a:cubicBezTo>
                    <a:pt x="60" y="129"/>
                    <a:pt x="60" y="129"/>
                    <a:pt x="60" y="129"/>
                  </a:cubicBezTo>
                  <a:cubicBezTo>
                    <a:pt x="54" y="182"/>
                    <a:pt x="54" y="182"/>
                    <a:pt x="54" y="182"/>
                  </a:cubicBezTo>
                  <a:cubicBezTo>
                    <a:pt x="53" y="187"/>
                    <a:pt x="48" y="192"/>
                    <a:pt x="43" y="192"/>
                  </a:cubicBezTo>
                  <a:cubicBezTo>
                    <a:pt x="37" y="192"/>
                    <a:pt x="32" y="187"/>
                    <a:pt x="32" y="182"/>
                  </a:cubicBezTo>
                  <a:cubicBezTo>
                    <a:pt x="32" y="182"/>
                    <a:pt x="32" y="182"/>
                    <a:pt x="32" y="182"/>
                  </a:cubicBezTo>
                  <a:cubicBezTo>
                    <a:pt x="32" y="180"/>
                    <a:pt x="33" y="145"/>
                    <a:pt x="33" y="129"/>
                  </a:cubicBezTo>
                  <a:cubicBezTo>
                    <a:pt x="22" y="129"/>
                    <a:pt x="22" y="129"/>
                    <a:pt x="22" y="129"/>
                  </a:cubicBezTo>
                  <a:cubicBezTo>
                    <a:pt x="21" y="129"/>
                    <a:pt x="21" y="128"/>
                    <a:pt x="20" y="128"/>
                  </a:cubicBezTo>
                  <a:cubicBezTo>
                    <a:pt x="20" y="127"/>
                    <a:pt x="20" y="127"/>
                    <a:pt x="20" y="126"/>
                  </a:cubicBezTo>
                  <a:cubicBezTo>
                    <a:pt x="31" y="62"/>
                    <a:pt x="31" y="62"/>
                    <a:pt x="31" y="62"/>
                  </a:cubicBezTo>
                  <a:cubicBezTo>
                    <a:pt x="18" y="91"/>
                    <a:pt x="18" y="91"/>
                    <a:pt x="18" y="91"/>
                  </a:cubicBezTo>
                  <a:cubicBezTo>
                    <a:pt x="17" y="94"/>
                    <a:pt x="14" y="96"/>
                    <a:pt x="10" y="96"/>
                  </a:cubicBezTo>
                  <a:cubicBezTo>
                    <a:pt x="9" y="96"/>
                    <a:pt x="8" y="95"/>
                    <a:pt x="7" y="95"/>
                  </a:cubicBezTo>
                  <a:cubicBezTo>
                    <a:pt x="3" y="93"/>
                    <a:pt x="0" y="89"/>
                    <a:pt x="1" y="85"/>
                  </a:cubicBezTo>
                  <a:cubicBezTo>
                    <a:pt x="1" y="85"/>
                    <a:pt x="1" y="85"/>
                    <a:pt x="1" y="84"/>
                  </a:cubicBezTo>
                  <a:cubicBezTo>
                    <a:pt x="1" y="84"/>
                    <a:pt x="3" y="80"/>
                    <a:pt x="4" y="76"/>
                  </a:cubicBezTo>
                  <a:cubicBezTo>
                    <a:pt x="10" y="58"/>
                    <a:pt x="22" y="21"/>
                    <a:pt x="25" y="15"/>
                  </a:cubicBezTo>
                  <a:cubicBezTo>
                    <a:pt x="30" y="4"/>
                    <a:pt x="41" y="0"/>
                    <a:pt x="61" y="0"/>
                  </a:cubicBezTo>
                  <a:cubicBezTo>
                    <a:pt x="81" y="0"/>
                    <a:pt x="92" y="4"/>
                    <a:pt x="97" y="15"/>
                  </a:cubicBezTo>
                  <a:cubicBezTo>
                    <a:pt x="100" y="21"/>
                    <a:pt x="112" y="58"/>
                    <a:pt x="118" y="76"/>
                  </a:cubicBezTo>
                  <a:cubicBezTo>
                    <a:pt x="119" y="80"/>
                    <a:pt x="121" y="84"/>
                    <a:pt x="121" y="84"/>
                  </a:cubicBezTo>
                  <a:cubicBezTo>
                    <a:pt x="121" y="85"/>
                    <a:pt x="121" y="85"/>
                    <a:pt x="121" y="85"/>
                  </a:cubicBezTo>
                  <a:cubicBezTo>
                    <a:pt x="122" y="89"/>
                    <a:pt x="119" y="93"/>
                    <a:pt x="115" y="95"/>
                  </a:cubicBezTo>
                  <a:cubicBezTo>
                    <a:pt x="114" y="95"/>
                    <a:pt x="113" y="96"/>
                    <a:pt x="112" y="96"/>
                  </a:cubicBezTo>
                  <a:cubicBezTo>
                    <a:pt x="112" y="96"/>
                    <a:pt x="112" y="96"/>
                    <a:pt x="112" y="96"/>
                  </a:cubicBezTo>
                  <a:cubicBezTo>
                    <a:pt x="108" y="96"/>
                    <a:pt x="105" y="94"/>
                    <a:pt x="104" y="91"/>
                  </a:cubicBezTo>
                  <a:cubicBezTo>
                    <a:pt x="91" y="62"/>
                    <a:pt x="91" y="62"/>
                    <a:pt x="91" y="62"/>
                  </a:cubicBezTo>
                  <a:cubicBezTo>
                    <a:pt x="102" y="126"/>
                    <a:pt x="102" y="126"/>
                    <a:pt x="102" y="126"/>
                  </a:cubicBezTo>
                  <a:cubicBezTo>
                    <a:pt x="102" y="126"/>
                    <a:pt x="102" y="126"/>
                    <a:pt x="102" y="126"/>
                  </a:cubicBezTo>
                  <a:cubicBezTo>
                    <a:pt x="102" y="128"/>
                    <a:pt x="101" y="129"/>
                    <a:pt x="100" y="129"/>
                  </a:cubicBezTo>
                  <a:cubicBezTo>
                    <a:pt x="100" y="129"/>
                    <a:pt x="100" y="129"/>
                    <a:pt x="100" y="129"/>
                  </a:cubicBezTo>
                  <a:cubicBezTo>
                    <a:pt x="89" y="129"/>
                    <a:pt x="89" y="129"/>
                    <a:pt x="89" y="129"/>
                  </a:cubicBezTo>
                  <a:cubicBezTo>
                    <a:pt x="89" y="145"/>
                    <a:pt x="90" y="180"/>
                    <a:pt x="90" y="182"/>
                  </a:cubicBezTo>
                  <a:cubicBezTo>
                    <a:pt x="90" y="182"/>
                    <a:pt x="90" y="182"/>
                    <a:pt x="90" y="182"/>
                  </a:cubicBezTo>
                  <a:cubicBezTo>
                    <a:pt x="90" y="187"/>
                    <a:pt x="85" y="192"/>
                    <a:pt x="79" y="192"/>
                  </a:cubicBezTo>
                  <a:cubicBezTo>
                    <a:pt x="79" y="192"/>
                    <a:pt x="79" y="192"/>
                    <a:pt x="79" y="192"/>
                  </a:cubicBezTo>
                  <a:close/>
                  <a:moveTo>
                    <a:pt x="58" y="124"/>
                  </a:moveTo>
                  <a:cubicBezTo>
                    <a:pt x="64" y="124"/>
                    <a:pt x="64" y="124"/>
                    <a:pt x="64" y="124"/>
                  </a:cubicBezTo>
                  <a:cubicBezTo>
                    <a:pt x="65" y="124"/>
                    <a:pt x="66" y="125"/>
                    <a:pt x="66" y="126"/>
                  </a:cubicBezTo>
                  <a:cubicBezTo>
                    <a:pt x="73" y="182"/>
                    <a:pt x="73" y="182"/>
                    <a:pt x="73" y="182"/>
                  </a:cubicBezTo>
                  <a:cubicBezTo>
                    <a:pt x="73" y="185"/>
                    <a:pt x="76" y="187"/>
                    <a:pt x="79" y="187"/>
                  </a:cubicBezTo>
                  <a:cubicBezTo>
                    <a:pt x="79" y="189"/>
                    <a:pt x="79" y="189"/>
                    <a:pt x="79" y="189"/>
                  </a:cubicBezTo>
                  <a:cubicBezTo>
                    <a:pt x="79" y="187"/>
                    <a:pt x="79" y="187"/>
                    <a:pt x="79" y="187"/>
                  </a:cubicBezTo>
                  <a:cubicBezTo>
                    <a:pt x="83" y="187"/>
                    <a:pt x="85" y="185"/>
                    <a:pt x="86" y="182"/>
                  </a:cubicBezTo>
                  <a:cubicBezTo>
                    <a:pt x="86" y="182"/>
                    <a:pt x="86" y="182"/>
                    <a:pt x="86" y="182"/>
                  </a:cubicBezTo>
                  <a:cubicBezTo>
                    <a:pt x="86" y="181"/>
                    <a:pt x="86" y="178"/>
                    <a:pt x="85" y="173"/>
                  </a:cubicBezTo>
                  <a:cubicBezTo>
                    <a:pt x="85" y="168"/>
                    <a:pt x="85" y="161"/>
                    <a:pt x="85" y="154"/>
                  </a:cubicBezTo>
                  <a:cubicBezTo>
                    <a:pt x="84" y="140"/>
                    <a:pt x="84" y="126"/>
                    <a:pt x="84" y="126"/>
                  </a:cubicBezTo>
                  <a:cubicBezTo>
                    <a:pt x="84" y="126"/>
                    <a:pt x="84" y="125"/>
                    <a:pt x="85" y="125"/>
                  </a:cubicBezTo>
                  <a:cubicBezTo>
                    <a:pt x="85" y="124"/>
                    <a:pt x="86" y="124"/>
                    <a:pt x="86" y="124"/>
                  </a:cubicBezTo>
                  <a:cubicBezTo>
                    <a:pt x="97" y="124"/>
                    <a:pt x="97" y="124"/>
                    <a:pt x="97" y="124"/>
                  </a:cubicBezTo>
                  <a:cubicBezTo>
                    <a:pt x="84" y="43"/>
                    <a:pt x="84" y="43"/>
                    <a:pt x="84" y="43"/>
                  </a:cubicBezTo>
                  <a:cubicBezTo>
                    <a:pt x="83" y="42"/>
                    <a:pt x="84" y="40"/>
                    <a:pt x="85" y="40"/>
                  </a:cubicBezTo>
                  <a:cubicBezTo>
                    <a:pt x="86" y="40"/>
                    <a:pt x="88" y="40"/>
                    <a:pt x="88" y="41"/>
                  </a:cubicBezTo>
                  <a:cubicBezTo>
                    <a:pt x="108" y="89"/>
                    <a:pt x="108" y="89"/>
                    <a:pt x="108" y="89"/>
                  </a:cubicBezTo>
                  <a:cubicBezTo>
                    <a:pt x="109" y="90"/>
                    <a:pt x="110" y="91"/>
                    <a:pt x="112" y="91"/>
                  </a:cubicBezTo>
                  <a:cubicBezTo>
                    <a:pt x="112" y="91"/>
                    <a:pt x="112" y="91"/>
                    <a:pt x="112" y="91"/>
                  </a:cubicBezTo>
                  <a:cubicBezTo>
                    <a:pt x="112" y="91"/>
                    <a:pt x="113" y="91"/>
                    <a:pt x="113" y="91"/>
                  </a:cubicBezTo>
                  <a:cubicBezTo>
                    <a:pt x="115" y="90"/>
                    <a:pt x="117" y="88"/>
                    <a:pt x="116" y="86"/>
                  </a:cubicBezTo>
                  <a:cubicBezTo>
                    <a:pt x="116" y="86"/>
                    <a:pt x="116" y="86"/>
                    <a:pt x="116" y="86"/>
                  </a:cubicBezTo>
                  <a:cubicBezTo>
                    <a:pt x="116" y="85"/>
                    <a:pt x="116" y="85"/>
                    <a:pt x="116" y="84"/>
                  </a:cubicBezTo>
                  <a:cubicBezTo>
                    <a:pt x="115" y="82"/>
                    <a:pt x="114" y="80"/>
                    <a:pt x="114" y="77"/>
                  </a:cubicBezTo>
                  <a:cubicBezTo>
                    <a:pt x="108" y="61"/>
                    <a:pt x="96" y="23"/>
                    <a:pt x="93" y="17"/>
                  </a:cubicBezTo>
                  <a:cubicBezTo>
                    <a:pt x="90" y="11"/>
                    <a:pt x="84" y="5"/>
                    <a:pt x="61" y="5"/>
                  </a:cubicBezTo>
                  <a:cubicBezTo>
                    <a:pt x="38" y="5"/>
                    <a:pt x="32" y="11"/>
                    <a:pt x="29" y="17"/>
                  </a:cubicBezTo>
                  <a:cubicBezTo>
                    <a:pt x="26" y="23"/>
                    <a:pt x="14" y="61"/>
                    <a:pt x="8" y="77"/>
                  </a:cubicBezTo>
                  <a:cubicBezTo>
                    <a:pt x="8" y="80"/>
                    <a:pt x="7" y="82"/>
                    <a:pt x="6" y="84"/>
                  </a:cubicBezTo>
                  <a:cubicBezTo>
                    <a:pt x="6" y="85"/>
                    <a:pt x="6" y="85"/>
                    <a:pt x="6" y="86"/>
                  </a:cubicBezTo>
                  <a:cubicBezTo>
                    <a:pt x="6" y="86"/>
                    <a:pt x="6" y="86"/>
                    <a:pt x="6" y="86"/>
                  </a:cubicBezTo>
                  <a:cubicBezTo>
                    <a:pt x="5" y="88"/>
                    <a:pt x="7" y="90"/>
                    <a:pt x="9" y="91"/>
                  </a:cubicBezTo>
                  <a:cubicBezTo>
                    <a:pt x="9" y="91"/>
                    <a:pt x="10" y="91"/>
                    <a:pt x="10" y="91"/>
                  </a:cubicBezTo>
                  <a:cubicBezTo>
                    <a:pt x="12" y="91"/>
                    <a:pt x="13" y="90"/>
                    <a:pt x="14" y="89"/>
                  </a:cubicBezTo>
                  <a:cubicBezTo>
                    <a:pt x="34" y="41"/>
                    <a:pt x="34" y="41"/>
                    <a:pt x="34" y="41"/>
                  </a:cubicBezTo>
                  <a:cubicBezTo>
                    <a:pt x="34" y="40"/>
                    <a:pt x="36" y="40"/>
                    <a:pt x="37" y="40"/>
                  </a:cubicBezTo>
                  <a:cubicBezTo>
                    <a:pt x="38" y="40"/>
                    <a:pt x="39" y="42"/>
                    <a:pt x="38" y="43"/>
                  </a:cubicBezTo>
                  <a:cubicBezTo>
                    <a:pt x="25" y="124"/>
                    <a:pt x="25" y="124"/>
                    <a:pt x="25" y="124"/>
                  </a:cubicBezTo>
                  <a:cubicBezTo>
                    <a:pt x="36" y="124"/>
                    <a:pt x="36" y="124"/>
                    <a:pt x="36" y="124"/>
                  </a:cubicBezTo>
                  <a:cubicBezTo>
                    <a:pt x="36" y="124"/>
                    <a:pt x="37" y="124"/>
                    <a:pt x="37" y="125"/>
                  </a:cubicBezTo>
                  <a:cubicBezTo>
                    <a:pt x="38" y="125"/>
                    <a:pt x="38" y="126"/>
                    <a:pt x="38" y="126"/>
                  </a:cubicBezTo>
                  <a:cubicBezTo>
                    <a:pt x="38" y="126"/>
                    <a:pt x="37" y="140"/>
                    <a:pt x="37" y="154"/>
                  </a:cubicBezTo>
                  <a:cubicBezTo>
                    <a:pt x="37" y="161"/>
                    <a:pt x="37" y="168"/>
                    <a:pt x="37" y="173"/>
                  </a:cubicBezTo>
                  <a:cubicBezTo>
                    <a:pt x="37" y="176"/>
                    <a:pt x="36" y="178"/>
                    <a:pt x="36" y="180"/>
                  </a:cubicBezTo>
                  <a:cubicBezTo>
                    <a:pt x="36" y="181"/>
                    <a:pt x="36" y="181"/>
                    <a:pt x="36" y="182"/>
                  </a:cubicBezTo>
                  <a:cubicBezTo>
                    <a:pt x="36" y="182"/>
                    <a:pt x="36" y="182"/>
                    <a:pt x="36" y="182"/>
                  </a:cubicBezTo>
                  <a:cubicBezTo>
                    <a:pt x="37" y="185"/>
                    <a:pt x="39" y="187"/>
                    <a:pt x="43" y="187"/>
                  </a:cubicBezTo>
                  <a:cubicBezTo>
                    <a:pt x="46" y="187"/>
                    <a:pt x="49" y="185"/>
                    <a:pt x="49" y="182"/>
                  </a:cubicBezTo>
                  <a:cubicBezTo>
                    <a:pt x="56" y="126"/>
                    <a:pt x="56" y="126"/>
                    <a:pt x="56" y="126"/>
                  </a:cubicBezTo>
                  <a:cubicBezTo>
                    <a:pt x="56" y="125"/>
                    <a:pt x="57" y="124"/>
                    <a:pt x="58" y="12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Freeform 75">
            <a:extLst>
              <a:ext uri="{FF2B5EF4-FFF2-40B4-BE49-F238E27FC236}">
                <a16:creationId xmlns:a16="http://schemas.microsoft.com/office/drawing/2014/main" id="{535CC288-9AB0-6F42-BD10-5253D24CC5CC}"/>
              </a:ext>
            </a:extLst>
          </p:cNvPr>
          <p:cNvSpPr/>
          <p:nvPr/>
        </p:nvSpPr>
        <p:spPr>
          <a:xfrm flipH="1">
            <a:off x="2918136" y="2209801"/>
            <a:ext cx="425450" cy="142875"/>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Freeform 76">
            <a:extLst>
              <a:ext uri="{FF2B5EF4-FFF2-40B4-BE49-F238E27FC236}">
                <a16:creationId xmlns:a16="http://schemas.microsoft.com/office/drawing/2014/main" id="{7C3F5673-A332-D04D-844F-8DBC445BFA43}"/>
              </a:ext>
            </a:extLst>
          </p:cNvPr>
          <p:cNvSpPr/>
          <p:nvPr/>
        </p:nvSpPr>
        <p:spPr>
          <a:xfrm flipH="1" flipV="1">
            <a:off x="2918312" y="4632592"/>
            <a:ext cx="419172" cy="273212"/>
          </a:xfrm>
          <a:custGeom>
            <a:avLst/>
            <a:gdLst>
              <a:gd name="connsiteX0" fmla="*/ 0 w 425450"/>
              <a:gd name="connsiteY0" fmla="*/ 142875 h 142875"/>
              <a:gd name="connsiteX1" fmla="*/ 168275 w 425450"/>
              <a:gd name="connsiteY1" fmla="*/ 0 h 142875"/>
              <a:gd name="connsiteX2" fmla="*/ 425450 w 425450"/>
              <a:gd name="connsiteY2" fmla="*/ 0 h 142875"/>
              <a:gd name="connsiteX0" fmla="*/ 0 w 241564"/>
              <a:gd name="connsiteY0" fmla="*/ 142875 h 142875"/>
              <a:gd name="connsiteX1" fmla="*/ 168275 w 241564"/>
              <a:gd name="connsiteY1" fmla="*/ 0 h 142875"/>
              <a:gd name="connsiteX2" fmla="*/ 241564 w 241564"/>
              <a:gd name="connsiteY2" fmla="*/ 1245 h 142875"/>
            </a:gdLst>
            <a:ahLst/>
            <a:cxnLst>
              <a:cxn ang="0">
                <a:pos x="connsiteX0" y="connsiteY0"/>
              </a:cxn>
              <a:cxn ang="0">
                <a:pos x="connsiteX1" y="connsiteY1"/>
              </a:cxn>
              <a:cxn ang="0">
                <a:pos x="connsiteX2" y="connsiteY2"/>
              </a:cxn>
            </a:cxnLst>
            <a:rect l="l" t="t" r="r" b="b"/>
            <a:pathLst>
              <a:path w="241564" h="142875">
                <a:moveTo>
                  <a:pt x="0" y="142875"/>
                </a:moveTo>
                <a:lnTo>
                  <a:pt x="168275" y="0"/>
                </a:lnTo>
                <a:lnTo>
                  <a:pt x="241564" y="1245"/>
                </a:lnTo>
              </a:path>
            </a:pathLst>
          </a:cu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6" name="Straight Connector 81">
            <a:extLst>
              <a:ext uri="{FF2B5EF4-FFF2-40B4-BE49-F238E27FC236}">
                <a16:creationId xmlns:a16="http://schemas.microsoft.com/office/drawing/2014/main" id="{B5CA5FAE-AB27-AD40-8344-D1282D9C64A6}"/>
              </a:ext>
            </a:extLst>
          </p:cNvPr>
          <p:cNvCxnSpPr/>
          <p:nvPr/>
        </p:nvCxnSpPr>
        <p:spPr>
          <a:xfrm>
            <a:off x="2392046" y="3498912"/>
            <a:ext cx="180747" cy="0"/>
          </a:xfrm>
          <a:prstGeom prst="line">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1648030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300" fill="hold"/>
                                        <p:tgtEl>
                                          <p:spTgt spid="13"/>
                                        </p:tgtEl>
                                        <p:attrNameLst>
                                          <p:attrName>ppt_w</p:attrName>
                                        </p:attrNameLst>
                                      </p:cBhvr>
                                      <p:tavLst>
                                        <p:tav tm="0">
                                          <p:val>
                                            <p:fltVal val="0"/>
                                          </p:val>
                                        </p:tav>
                                        <p:tav tm="100000">
                                          <p:val>
                                            <p:strVal val="#ppt_w"/>
                                          </p:val>
                                        </p:tav>
                                      </p:tavLst>
                                    </p:anim>
                                    <p:anim calcmode="lin" valueType="num">
                                      <p:cBhvr>
                                        <p:cTn id="8" dur="300" fill="hold"/>
                                        <p:tgtEl>
                                          <p:spTgt spid="13"/>
                                        </p:tgtEl>
                                        <p:attrNameLst>
                                          <p:attrName>ppt_h</p:attrName>
                                        </p:attrNameLst>
                                      </p:cBhvr>
                                      <p:tavLst>
                                        <p:tav tm="0">
                                          <p:val>
                                            <p:fltVal val="0"/>
                                          </p:val>
                                        </p:tav>
                                        <p:tav tm="100000">
                                          <p:val>
                                            <p:strVal val="#ppt_h"/>
                                          </p:val>
                                        </p:tav>
                                      </p:tavLst>
                                    </p:anim>
                                    <p:animEffect transition="in" filter="fade">
                                      <p:cBhvr>
                                        <p:cTn id="9" dur="300"/>
                                        <p:tgtEl>
                                          <p:spTgt spid="13"/>
                                        </p:tgtEl>
                                      </p:cBhvr>
                                    </p:animEffect>
                                    <p:anim calcmode="lin" valueType="num">
                                      <p:cBhvr>
                                        <p:cTn id="10" dur="300" fill="hold"/>
                                        <p:tgtEl>
                                          <p:spTgt spid="13"/>
                                        </p:tgtEl>
                                        <p:attrNameLst>
                                          <p:attrName>ppt_x</p:attrName>
                                        </p:attrNameLst>
                                      </p:cBhvr>
                                      <p:tavLst>
                                        <p:tav tm="0">
                                          <p:val>
                                            <p:fltVal val="0.5"/>
                                          </p:val>
                                        </p:tav>
                                        <p:tav tm="100000">
                                          <p:val>
                                            <p:strVal val="#ppt_x"/>
                                          </p:val>
                                        </p:tav>
                                      </p:tavLst>
                                    </p:anim>
                                    <p:anim calcmode="lin" valueType="num">
                                      <p:cBhvr>
                                        <p:cTn id="11" dur="300" fill="hold"/>
                                        <p:tgtEl>
                                          <p:spTgt spid="13"/>
                                        </p:tgtEl>
                                        <p:attrNameLst>
                                          <p:attrName>ppt_y</p:attrName>
                                        </p:attrNameLst>
                                      </p:cBhvr>
                                      <p:tavLst>
                                        <p:tav tm="0">
                                          <p:val>
                                            <p:fltVal val="0.5"/>
                                          </p:val>
                                        </p:tav>
                                        <p:tav tm="100000">
                                          <p:val>
                                            <p:strVal val="#ppt_y"/>
                                          </p:val>
                                        </p:tav>
                                      </p:tavLst>
                                    </p:anim>
                                  </p:childTnLst>
                                </p:cTn>
                              </p:par>
                              <p:par>
                                <p:cTn id="12" presetID="10" presetClass="entr" presetSubtype="0" fill="hold" grpId="0" nodeType="withEffect">
                                  <p:stCondLst>
                                    <p:cond delay="20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300"/>
                                        <p:tgtEl>
                                          <p:spTgt spid="27"/>
                                        </p:tgtEl>
                                      </p:cBhvr>
                                    </p:animEffect>
                                  </p:childTnLst>
                                </p:cTn>
                              </p:par>
                              <p:par>
                                <p:cTn id="15" presetID="10" presetClass="entr" presetSubtype="0" fill="hold" nodeType="withEffect">
                                  <p:stCondLst>
                                    <p:cond delay="2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300"/>
                                        <p:tgtEl>
                                          <p:spTgt spid="28"/>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300"/>
                                        <p:tgtEl>
                                          <p:spTgt spid="31"/>
                                        </p:tgtEl>
                                      </p:cBhvr>
                                    </p:animEffect>
                                  </p:childTnLst>
                                </p:cTn>
                              </p:par>
                              <p:par>
                                <p:cTn id="21" presetID="53" presetClass="entr" presetSubtype="528" fill="hold" grpId="0" nodeType="withEffect">
                                  <p:stCondLst>
                                    <p:cond delay="200"/>
                                  </p:stCondLst>
                                  <p:childTnLst>
                                    <p:set>
                                      <p:cBhvr>
                                        <p:cTn id="22" dur="1" fill="hold">
                                          <p:stCondLst>
                                            <p:cond delay="0"/>
                                          </p:stCondLst>
                                        </p:cTn>
                                        <p:tgtEl>
                                          <p:spTgt spid="12"/>
                                        </p:tgtEl>
                                        <p:attrNameLst>
                                          <p:attrName>style.visibility</p:attrName>
                                        </p:attrNameLst>
                                      </p:cBhvr>
                                      <p:to>
                                        <p:strVal val="visible"/>
                                      </p:to>
                                    </p:set>
                                    <p:anim calcmode="lin" valueType="num">
                                      <p:cBhvr>
                                        <p:cTn id="23" dur="300" fill="hold"/>
                                        <p:tgtEl>
                                          <p:spTgt spid="12"/>
                                        </p:tgtEl>
                                        <p:attrNameLst>
                                          <p:attrName>ppt_w</p:attrName>
                                        </p:attrNameLst>
                                      </p:cBhvr>
                                      <p:tavLst>
                                        <p:tav tm="0">
                                          <p:val>
                                            <p:fltVal val="0"/>
                                          </p:val>
                                        </p:tav>
                                        <p:tav tm="100000">
                                          <p:val>
                                            <p:strVal val="#ppt_w"/>
                                          </p:val>
                                        </p:tav>
                                      </p:tavLst>
                                    </p:anim>
                                    <p:anim calcmode="lin" valueType="num">
                                      <p:cBhvr>
                                        <p:cTn id="24" dur="300" fill="hold"/>
                                        <p:tgtEl>
                                          <p:spTgt spid="12"/>
                                        </p:tgtEl>
                                        <p:attrNameLst>
                                          <p:attrName>ppt_h</p:attrName>
                                        </p:attrNameLst>
                                      </p:cBhvr>
                                      <p:tavLst>
                                        <p:tav tm="0">
                                          <p:val>
                                            <p:fltVal val="0"/>
                                          </p:val>
                                        </p:tav>
                                        <p:tav tm="100000">
                                          <p:val>
                                            <p:strVal val="#ppt_h"/>
                                          </p:val>
                                        </p:tav>
                                      </p:tavLst>
                                    </p:anim>
                                    <p:animEffect transition="in" filter="fade">
                                      <p:cBhvr>
                                        <p:cTn id="25" dur="300"/>
                                        <p:tgtEl>
                                          <p:spTgt spid="12"/>
                                        </p:tgtEl>
                                      </p:cBhvr>
                                    </p:animEffect>
                                    <p:anim calcmode="lin" valueType="num">
                                      <p:cBhvr>
                                        <p:cTn id="26" dur="300" fill="hold"/>
                                        <p:tgtEl>
                                          <p:spTgt spid="12"/>
                                        </p:tgtEl>
                                        <p:attrNameLst>
                                          <p:attrName>ppt_x</p:attrName>
                                        </p:attrNameLst>
                                      </p:cBhvr>
                                      <p:tavLst>
                                        <p:tav tm="0">
                                          <p:val>
                                            <p:fltVal val="0.5"/>
                                          </p:val>
                                        </p:tav>
                                        <p:tav tm="100000">
                                          <p:val>
                                            <p:strVal val="#ppt_x"/>
                                          </p:val>
                                        </p:tav>
                                      </p:tavLst>
                                    </p:anim>
                                    <p:anim calcmode="lin" valueType="num">
                                      <p:cBhvr>
                                        <p:cTn id="27" dur="300" fill="hold"/>
                                        <p:tgtEl>
                                          <p:spTgt spid="12"/>
                                        </p:tgtEl>
                                        <p:attrNameLst>
                                          <p:attrName>ppt_y</p:attrName>
                                        </p:attrNameLst>
                                      </p:cBhvr>
                                      <p:tavLst>
                                        <p:tav tm="0">
                                          <p:val>
                                            <p:fltVal val="0.5"/>
                                          </p:val>
                                        </p:tav>
                                        <p:tav tm="100000">
                                          <p:val>
                                            <p:strVal val="#ppt_y"/>
                                          </p:val>
                                        </p:tav>
                                      </p:tavLst>
                                    </p:anim>
                                  </p:childTnLst>
                                </p:cTn>
                              </p:par>
                              <p:par>
                                <p:cTn id="28" presetID="10" presetClass="entr" presetSubtype="0" fill="hold" grpId="0" nodeType="withEffect">
                                  <p:stCondLst>
                                    <p:cond delay="6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300"/>
                                        <p:tgtEl>
                                          <p:spTgt spid="33"/>
                                        </p:tgtEl>
                                      </p:cBhvr>
                                    </p:animEffect>
                                  </p:childTnLst>
                                </p:cTn>
                              </p:par>
                              <p:par>
                                <p:cTn id="31" presetID="10" presetClass="entr" presetSubtype="0" fill="hold" nodeType="withEffect">
                                  <p:stCondLst>
                                    <p:cond delay="60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300"/>
                                        <p:tgtEl>
                                          <p:spTgt spid="34"/>
                                        </p:tgtEl>
                                      </p:cBhvr>
                                    </p:animEffect>
                                  </p:childTnLst>
                                </p:cTn>
                              </p:par>
                              <p:par>
                                <p:cTn id="34" presetID="10" presetClass="entr" presetSubtype="0" fill="hold" nodeType="withEffect">
                                  <p:stCondLst>
                                    <p:cond delay="6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300"/>
                                        <p:tgtEl>
                                          <p:spTgt spid="41"/>
                                        </p:tgtEl>
                                      </p:cBhvr>
                                    </p:animEffect>
                                  </p:childTnLst>
                                </p:cTn>
                              </p:par>
                              <p:par>
                                <p:cTn id="37" presetID="53" presetClass="entr" presetSubtype="528" fill="hold" grpId="0" nodeType="withEffect">
                                  <p:stCondLst>
                                    <p:cond delay="600"/>
                                  </p:stCondLst>
                                  <p:childTnLst>
                                    <p:set>
                                      <p:cBhvr>
                                        <p:cTn id="38" dur="1" fill="hold">
                                          <p:stCondLst>
                                            <p:cond delay="0"/>
                                          </p:stCondLst>
                                        </p:cTn>
                                        <p:tgtEl>
                                          <p:spTgt spid="15"/>
                                        </p:tgtEl>
                                        <p:attrNameLst>
                                          <p:attrName>style.visibility</p:attrName>
                                        </p:attrNameLst>
                                      </p:cBhvr>
                                      <p:to>
                                        <p:strVal val="visible"/>
                                      </p:to>
                                    </p:set>
                                    <p:anim calcmode="lin" valueType="num">
                                      <p:cBhvr>
                                        <p:cTn id="39" dur="300" fill="hold"/>
                                        <p:tgtEl>
                                          <p:spTgt spid="15"/>
                                        </p:tgtEl>
                                        <p:attrNameLst>
                                          <p:attrName>ppt_w</p:attrName>
                                        </p:attrNameLst>
                                      </p:cBhvr>
                                      <p:tavLst>
                                        <p:tav tm="0">
                                          <p:val>
                                            <p:fltVal val="0"/>
                                          </p:val>
                                        </p:tav>
                                        <p:tav tm="100000">
                                          <p:val>
                                            <p:strVal val="#ppt_w"/>
                                          </p:val>
                                        </p:tav>
                                      </p:tavLst>
                                    </p:anim>
                                    <p:anim calcmode="lin" valueType="num">
                                      <p:cBhvr>
                                        <p:cTn id="40" dur="300" fill="hold"/>
                                        <p:tgtEl>
                                          <p:spTgt spid="15"/>
                                        </p:tgtEl>
                                        <p:attrNameLst>
                                          <p:attrName>ppt_h</p:attrName>
                                        </p:attrNameLst>
                                      </p:cBhvr>
                                      <p:tavLst>
                                        <p:tav tm="0">
                                          <p:val>
                                            <p:fltVal val="0"/>
                                          </p:val>
                                        </p:tav>
                                        <p:tav tm="100000">
                                          <p:val>
                                            <p:strVal val="#ppt_h"/>
                                          </p:val>
                                        </p:tav>
                                      </p:tavLst>
                                    </p:anim>
                                    <p:animEffect transition="in" filter="fade">
                                      <p:cBhvr>
                                        <p:cTn id="41" dur="300"/>
                                        <p:tgtEl>
                                          <p:spTgt spid="15"/>
                                        </p:tgtEl>
                                      </p:cBhvr>
                                    </p:animEffect>
                                    <p:anim calcmode="lin" valueType="num">
                                      <p:cBhvr>
                                        <p:cTn id="42" dur="300" fill="hold"/>
                                        <p:tgtEl>
                                          <p:spTgt spid="15"/>
                                        </p:tgtEl>
                                        <p:attrNameLst>
                                          <p:attrName>ppt_x</p:attrName>
                                        </p:attrNameLst>
                                      </p:cBhvr>
                                      <p:tavLst>
                                        <p:tav tm="0">
                                          <p:val>
                                            <p:fltVal val="0.5"/>
                                          </p:val>
                                        </p:tav>
                                        <p:tav tm="100000">
                                          <p:val>
                                            <p:strVal val="#ppt_x"/>
                                          </p:val>
                                        </p:tav>
                                      </p:tavLst>
                                    </p:anim>
                                    <p:anim calcmode="lin" valueType="num">
                                      <p:cBhvr>
                                        <p:cTn id="43" dur="300" fill="hold"/>
                                        <p:tgtEl>
                                          <p:spTgt spid="15"/>
                                        </p:tgtEl>
                                        <p:attrNameLst>
                                          <p:attrName>ppt_y</p:attrName>
                                        </p:attrNameLst>
                                      </p:cBhvr>
                                      <p:tavLst>
                                        <p:tav tm="0">
                                          <p:val>
                                            <p:fltVal val="0.5"/>
                                          </p:val>
                                        </p:tav>
                                        <p:tav tm="100000">
                                          <p:val>
                                            <p:strVal val="#ppt_y"/>
                                          </p:val>
                                        </p:tav>
                                      </p:tavLst>
                                    </p:anim>
                                  </p:childTnLst>
                                </p:cTn>
                              </p:par>
                              <p:par>
                                <p:cTn id="44" presetID="10" presetClass="entr" presetSubtype="0" fill="hold" grpId="0" nodeType="withEffect">
                                  <p:stCondLst>
                                    <p:cond delay="90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300"/>
                                        <p:tgtEl>
                                          <p:spTgt spid="32"/>
                                        </p:tgtEl>
                                      </p:cBhvr>
                                    </p:animEffect>
                                  </p:childTnLst>
                                </p:cTn>
                              </p:par>
                              <p:par>
                                <p:cTn id="47" presetID="10" presetClass="entr" presetSubtype="0" fill="hold" nodeType="withEffect">
                                  <p:stCondLst>
                                    <p:cond delay="900"/>
                                  </p:stCondLst>
                                  <p:childTnLst>
                                    <p:set>
                                      <p:cBhvr>
                                        <p:cTn id="48" dur="1" fill="hold">
                                          <p:stCondLst>
                                            <p:cond delay="0"/>
                                          </p:stCondLst>
                                        </p:cTn>
                                        <p:tgtEl>
                                          <p:spTgt spid="37"/>
                                        </p:tgtEl>
                                        <p:attrNameLst>
                                          <p:attrName>style.visibility</p:attrName>
                                        </p:attrNameLst>
                                      </p:cBhvr>
                                      <p:to>
                                        <p:strVal val="visible"/>
                                      </p:to>
                                    </p:set>
                                    <p:animEffect transition="in" filter="fade">
                                      <p:cBhvr>
                                        <p:cTn id="49" dur="300"/>
                                        <p:tgtEl>
                                          <p:spTgt spid="37"/>
                                        </p:tgtEl>
                                      </p:cBhvr>
                                    </p:animEffect>
                                  </p:childTnLst>
                                </p:cTn>
                              </p:par>
                              <p:par>
                                <p:cTn id="50" presetID="10" presetClass="entr" presetSubtype="0" fill="hold" grpId="0" nodeType="withEffect">
                                  <p:stCondLst>
                                    <p:cond delay="90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300"/>
                                        <p:tgtEl>
                                          <p:spTgt spid="40"/>
                                        </p:tgtEl>
                                      </p:cBhvr>
                                    </p:animEffect>
                                  </p:childTnLst>
                                </p:cTn>
                              </p:par>
                              <p:par>
                                <p:cTn id="53" presetID="53" presetClass="entr" presetSubtype="528" fill="hold" grpId="0" nodeType="withEffect">
                                  <p:stCondLst>
                                    <p:cond delay="900"/>
                                  </p:stCondLst>
                                  <p:childTnLst>
                                    <p:set>
                                      <p:cBhvr>
                                        <p:cTn id="54" dur="1" fill="hold">
                                          <p:stCondLst>
                                            <p:cond delay="0"/>
                                          </p:stCondLst>
                                        </p:cTn>
                                        <p:tgtEl>
                                          <p:spTgt spid="11"/>
                                        </p:tgtEl>
                                        <p:attrNameLst>
                                          <p:attrName>style.visibility</p:attrName>
                                        </p:attrNameLst>
                                      </p:cBhvr>
                                      <p:to>
                                        <p:strVal val="visible"/>
                                      </p:to>
                                    </p:set>
                                    <p:anim calcmode="lin" valueType="num">
                                      <p:cBhvr>
                                        <p:cTn id="55" dur="300" fill="hold"/>
                                        <p:tgtEl>
                                          <p:spTgt spid="11"/>
                                        </p:tgtEl>
                                        <p:attrNameLst>
                                          <p:attrName>ppt_w</p:attrName>
                                        </p:attrNameLst>
                                      </p:cBhvr>
                                      <p:tavLst>
                                        <p:tav tm="0">
                                          <p:val>
                                            <p:fltVal val="0"/>
                                          </p:val>
                                        </p:tav>
                                        <p:tav tm="100000">
                                          <p:val>
                                            <p:strVal val="#ppt_w"/>
                                          </p:val>
                                        </p:tav>
                                      </p:tavLst>
                                    </p:anim>
                                    <p:anim calcmode="lin" valueType="num">
                                      <p:cBhvr>
                                        <p:cTn id="56" dur="300" fill="hold"/>
                                        <p:tgtEl>
                                          <p:spTgt spid="11"/>
                                        </p:tgtEl>
                                        <p:attrNameLst>
                                          <p:attrName>ppt_h</p:attrName>
                                        </p:attrNameLst>
                                      </p:cBhvr>
                                      <p:tavLst>
                                        <p:tav tm="0">
                                          <p:val>
                                            <p:fltVal val="0"/>
                                          </p:val>
                                        </p:tav>
                                        <p:tav tm="100000">
                                          <p:val>
                                            <p:strVal val="#ppt_h"/>
                                          </p:val>
                                        </p:tav>
                                      </p:tavLst>
                                    </p:anim>
                                    <p:animEffect transition="in" filter="fade">
                                      <p:cBhvr>
                                        <p:cTn id="57" dur="300"/>
                                        <p:tgtEl>
                                          <p:spTgt spid="11"/>
                                        </p:tgtEl>
                                      </p:cBhvr>
                                    </p:animEffect>
                                    <p:anim calcmode="lin" valueType="num">
                                      <p:cBhvr>
                                        <p:cTn id="58" dur="300" fill="hold"/>
                                        <p:tgtEl>
                                          <p:spTgt spid="11"/>
                                        </p:tgtEl>
                                        <p:attrNameLst>
                                          <p:attrName>ppt_x</p:attrName>
                                        </p:attrNameLst>
                                      </p:cBhvr>
                                      <p:tavLst>
                                        <p:tav tm="0">
                                          <p:val>
                                            <p:fltVal val="0.5"/>
                                          </p:val>
                                        </p:tav>
                                        <p:tav tm="100000">
                                          <p:val>
                                            <p:strVal val="#ppt_x"/>
                                          </p:val>
                                        </p:tav>
                                      </p:tavLst>
                                    </p:anim>
                                    <p:anim calcmode="lin" valueType="num">
                                      <p:cBhvr>
                                        <p:cTn id="59" dur="300" fill="hold"/>
                                        <p:tgtEl>
                                          <p:spTgt spid="11"/>
                                        </p:tgtEl>
                                        <p:attrNameLst>
                                          <p:attrName>ppt_y</p:attrName>
                                        </p:attrNameLst>
                                      </p:cBhvr>
                                      <p:tavLst>
                                        <p:tav tm="0">
                                          <p:val>
                                            <p:fltVal val="0.5"/>
                                          </p:val>
                                        </p:tav>
                                        <p:tav tm="100000">
                                          <p:val>
                                            <p:strVal val="#ppt_y"/>
                                          </p:val>
                                        </p:tav>
                                      </p:tavLst>
                                    </p:anim>
                                  </p:childTnLst>
                                </p:cTn>
                              </p:par>
                              <p:par>
                                <p:cTn id="60" presetID="10" presetClass="entr" presetSubtype="0" fill="hold" grpId="0" nodeType="withEffect">
                                  <p:stCondLst>
                                    <p:cond delay="1200"/>
                                  </p:stCondLst>
                                  <p:childTnLst>
                                    <p:set>
                                      <p:cBhvr>
                                        <p:cTn id="61" dur="1" fill="hold">
                                          <p:stCondLst>
                                            <p:cond delay="0"/>
                                          </p:stCondLst>
                                        </p:cTn>
                                        <p:tgtEl>
                                          <p:spTgt spid="42"/>
                                        </p:tgtEl>
                                        <p:attrNameLst>
                                          <p:attrName>style.visibility</p:attrName>
                                        </p:attrNameLst>
                                      </p:cBhvr>
                                      <p:to>
                                        <p:strVal val="visible"/>
                                      </p:to>
                                    </p:set>
                                    <p:animEffect transition="in" filter="fade">
                                      <p:cBhvr>
                                        <p:cTn id="62" dur="300"/>
                                        <p:tgtEl>
                                          <p:spTgt spid="42"/>
                                        </p:tgtEl>
                                      </p:cBhvr>
                                    </p:animEffect>
                                  </p:childTnLst>
                                </p:cTn>
                              </p:par>
                              <p:par>
                                <p:cTn id="63" presetID="10" presetClass="entr" presetSubtype="0" fill="hold" nodeType="withEffect">
                                  <p:stCondLst>
                                    <p:cond delay="1200"/>
                                  </p:stCondLst>
                                  <p:childTnLst>
                                    <p:set>
                                      <p:cBhvr>
                                        <p:cTn id="64" dur="1" fill="hold">
                                          <p:stCondLst>
                                            <p:cond delay="0"/>
                                          </p:stCondLst>
                                        </p:cTn>
                                        <p:tgtEl>
                                          <p:spTgt spid="45"/>
                                        </p:tgtEl>
                                        <p:attrNameLst>
                                          <p:attrName>style.visibility</p:attrName>
                                        </p:attrNameLst>
                                      </p:cBhvr>
                                      <p:to>
                                        <p:strVal val="visible"/>
                                      </p:to>
                                    </p:set>
                                    <p:animEffect transition="in" filter="fade">
                                      <p:cBhvr>
                                        <p:cTn id="65" dur="300"/>
                                        <p:tgtEl>
                                          <p:spTgt spid="45"/>
                                        </p:tgtEl>
                                      </p:cBhvr>
                                    </p:animEffect>
                                  </p:childTnLst>
                                </p:cTn>
                              </p:par>
                              <p:par>
                                <p:cTn id="66" presetID="10" presetClass="entr" presetSubtype="0" fill="hold" grpId="0" nodeType="withEffect">
                                  <p:stCondLst>
                                    <p:cond delay="1200"/>
                                  </p:stCondLst>
                                  <p:childTnLst>
                                    <p:set>
                                      <p:cBhvr>
                                        <p:cTn id="67" dur="1" fill="hold">
                                          <p:stCondLst>
                                            <p:cond delay="0"/>
                                          </p:stCondLst>
                                        </p:cTn>
                                        <p:tgtEl>
                                          <p:spTgt spid="55"/>
                                        </p:tgtEl>
                                        <p:attrNameLst>
                                          <p:attrName>style.visibility</p:attrName>
                                        </p:attrNameLst>
                                      </p:cBhvr>
                                      <p:to>
                                        <p:strVal val="visible"/>
                                      </p:to>
                                    </p:set>
                                    <p:animEffect transition="in" filter="fade">
                                      <p:cBhvr>
                                        <p:cTn id="68" dur="300"/>
                                        <p:tgtEl>
                                          <p:spTgt spid="55"/>
                                        </p:tgtEl>
                                      </p:cBhvr>
                                    </p:animEffect>
                                  </p:childTnLst>
                                </p:cTn>
                              </p:par>
                              <p:par>
                                <p:cTn id="69" presetID="53" presetClass="entr" presetSubtype="528" fill="hold" grpId="0" nodeType="withEffect">
                                  <p:stCondLst>
                                    <p:cond delay="1200"/>
                                  </p:stCondLst>
                                  <p:childTnLst>
                                    <p:set>
                                      <p:cBhvr>
                                        <p:cTn id="70" dur="1" fill="hold">
                                          <p:stCondLst>
                                            <p:cond delay="0"/>
                                          </p:stCondLst>
                                        </p:cTn>
                                        <p:tgtEl>
                                          <p:spTgt spid="14"/>
                                        </p:tgtEl>
                                        <p:attrNameLst>
                                          <p:attrName>style.visibility</p:attrName>
                                        </p:attrNameLst>
                                      </p:cBhvr>
                                      <p:to>
                                        <p:strVal val="visible"/>
                                      </p:to>
                                    </p:set>
                                    <p:anim calcmode="lin" valueType="num">
                                      <p:cBhvr>
                                        <p:cTn id="71" dur="300" fill="hold"/>
                                        <p:tgtEl>
                                          <p:spTgt spid="14"/>
                                        </p:tgtEl>
                                        <p:attrNameLst>
                                          <p:attrName>ppt_w</p:attrName>
                                        </p:attrNameLst>
                                      </p:cBhvr>
                                      <p:tavLst>
                                        <p:tav tm="0">
                                          <p:val>
                                            <p:fltVal val="0"/>
                                          </p:val>
                                        </p:tav>
                                        <p:tav tm="100000">
                                          <p:val>
                                            <p:strVal val="#ppt_w"/>
                                          </p:val>
                                        </p:tav>
                                      </p:tavLst>
                                    </p:anim>
                                    <p:anim calcmode="lin" valueType="num">
                                      <p:cBhvr>
                                        <p:cTn id="72" dur="300" fill="hold"/>
                                        <p:tgtEl>
                                          <p:spTgt spid="14"/>
                                        </p:tgtEl>
                                        <p:attrNameLst>
                                          <p:attrName>ppt_h</p:attrName>
                                        </p:attrNameLst>
                                      </p:cBhvr>
                                      <p:tavLst>
                                        <p:tav tm="0">
                                          <p:val>
                                            <p:fltVal val="0"/>
                                          </p:val>
                                        </p:tav>
                                        <p:tav tm="100000">
                                          <p:val>
                                            <p:strVal val="#ppt_h"/>
                                          </p:val>
                                        </p:tav>
                                      </p:tavLst>
                                    </p:anim>
                                    <p:animEffect transition="in" filter="fade">
                                      <p:cBhvr>
                                        <p:cTn id="73" dur="300"/>
                                        <p:tgtEl>
                                          <p:spTgt spid="14"/>
                                        </p:tgtEl>
                                      </p:cBhvr>
                                    </p:animEffect>
                                    <p:anim calcmode="lin" valueType="num">
                                      <p:cBhvr>
                                        <p:cTn id="74" dur="300" fill="hold"/>
                                        <p:tgtEl>
                                          <p:spTgt spid="14"/>
                                        </p:tgtEl>
                                        <p:attrNameLst>
                                          <p:attrName>ppt_x</p:attrName>
                                        </p:attrNameLst>
                                      </p:cBhvr>
                                      <p:tavLst>
                                        <p:tav tm="0">
                                          <p:val>
                                            <p:fltVal val="0.5"/>
                                          </p:val>
                                        </p:tav>
                                        <p:tav tm="100000">
                                          <p:val>
                                            <p:strVal val="#ppt_x"/>
                                          </p:val>
                                        </p:tav>
                                      </p:tavLst>
                                    </p:anim>
                                    <p:anim calcmode="lin" valueType="num">
                                      <p:cBhvr>
                                        <p:cTn id="75" dur="300" fill="hold"/>
                                        <p:tgtEl>
                                          <p:spTgt spid="14"/>
                                        </p:tgtEl>
                                        <p:attrNameLst>
                                          <p:attrName>ppt_y</p:attrName>
                                        </p:attrNameLst>
                                      </p:cBhvr>
                                      <p:tavLst>
                                        <p:tav tm="0">
                                          <p:val>
                                            <p:fltVal val="0.5"/>
                                          </p:val>
                                        </p:tav>
                                        <p:tav tm="100000">
                                          <p:val>
                                            <p:strVal val="#ppt_y"/>
                                          </p:val>
                                        </p:tav>
                                      </p:tavLst>
                                    </p:anim>
                                  </p:childTnLst>
                                </p:cTn>
                              </p:par>
                              <p:par>
                                <p:cTn id="76" presetID="10" presetClass="entr" presetSubtype="0" fill="hold" grpId="0" nodeType="withEffect">
                                  <p:stCondLst>
                                    <p:cond delay="1500"/>
                                  </p:stCondLst>
                                  <p:childTnLst>
                                    <p:set>
                                      <p:cBhvr>
                                        <p:cTn id="77" dur="1" fill="hold">
                                          <p:stCondLst>
                                            <p:cond delay="0"/>
                                          </p:stCondLst>
                                        </p:cTn>
                                        <p:tgtEl>
                                          <p:spTgt spid="43"/>
                                        </p:tgtEl>
                                        <p:attrNameLst>
                                          <p:attrName>style.visibility</p:attrName>
                                        </p:attrNameLst>
                                      </p:cBhvr>
                                      <p:to>
                                        <p:strVal val="visible"/>
                                      </p:to>
                                    </p:set>
                                    <p:animEffect transition="in" filter="fade">
                                      <p:cBhvr>
                                        <p:cTn id="78" dur="300"/>
                                        <p:tgtEl>
                                          <p:spTgt spid="43"/>
                                        </p:tgtEl>
                                      </p:cBhvr>
                                    </p:animEffect>
                                  </p:childTnLst>
                                </p:cTn>
                              </p:par>
                              <p:par>
                                <p:cTn id="79" presetID="10" presetClass="entr" presetSubtype="0" fill="hold" nodeType="withEffect">
                                  <p:stCondLst>
                                    <p:cond delay="150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300"/>
                                        <p:tgtEl>
                                          <p:spTgt spid="51"/>
                                        </p:tgtEl>
                                      </p:cBhvr>
                                    </p:animEffect>
                                  </p:childTnLst>
                                </p:cTn>
                              </p:par>
                              <p:par>
                                <p:cTn id="82" presetID="10" presetClass="entr" presetSubtype="0" fill="hold" nodeType="withEffect">
                                  <p:stCondLst>
                                    <p:cond delay="1500"/>
                                  </p:stCondLst>
                                  <p:childTnLst>
                                    <p:set>
                                      <p:cBhvr>
                                        <p:cTn id="83" dur="1" fill="hold">
                                          <p:stCondLst>
                                            <p:cond delay="0"/>
                                          </p:stCondLst>
                                        </p:cTn>
                                        <p:tgtEl>
                                          <p:spTgt spid="56"/>
                                        </p:tgtEl>
                                        <p:attrNameLst>
                                          <p:attrName>style.visibility</p:attrName>
                                        </p:attrNameLst>
                                      </p:cBhvr>
                                      <p:to>
                                        <p:strVal val="visible"/>
                                      </p:to>
                                    </p:set>
                                    <p:animEffect transition="in" filter="fade">
                                      <p:cBhvr>
                                        <p:cTn id="84" dur="300"/>
                                        <p:tgtEl>
                                          <p:spTgt spid="56"/>
                                        </p:tgtEl>
                                      </p:cBhvr>
                                    </p:animEffect>
                                  </p:childTnLst>
                                </p:cTn>
                              </p:par>
                              <p:par>
                                <p:cTn id="85" presetID="53" presetClass="entr" presetSubtype="528" fill="hold" grpId="0" nodeType="withEffect">
                                  <p:stCondLst>
                                    <p:cond delay="1500"/>
                                  </p:stCondLst>
                                  <p:childTnLst>
                                    <p:set>
                                      <p:cBhvr>
                                        <p:cTn id="86" dur="1" fill="hold">
                                          <p:stCondLst>
                                            <p:cond delay="0"/>
                                          </p:stCondLst>
                                        </p:cTn>
                                        <p:tgtEl>
                                          <p:spTgt spid="10"/>
                                        </p:tgtEl>
                                        <p:attrNameLst>
                                          <p:attrName>style.visibility</p:attrName>
                                        </p:attrNameLst>
                                      </p:cBhvr>
                                      <p:to>
                                        <p:strVal val="visible"/>
                                      </p:to>
                                    </p:set>
                                    <p:anim calcmode="lin" valueType="num">
                                      <p:cBhvr>
                                        <p:cTn id="87" dur="300" fill="hold"/>
                                        <p:tgtEl>
                                          <p:spTgt spid="10"/>
                                        </p:tgtEl>
                                        <p:attrNameLst>
                                          <p:attrName>ppt_w</p:attrName>
                                        </p:attrNameLst>
                                      </p:cBhvr>
                                      <p:tavLst>
                                        <p:tav tm="0">
                                          <p:val>
                                            <p:fltVal val="0"/>
                                          </p:val>
                                        </p:tav>
                                        <p:tav tm="100000">
                                          <p:val>
                                            <p:strVal val="#ppt_w"/>
                                          </p:val>
                                        </p:tav>
                                      </p:tavLst>
                                    </p:anim>
                                    <p:anim calcmode="lin" valueType="num">
                                      <p:cBhvr>
                                        <p:cTn id="88" dur="300" fill="hold"/>
                                        <p:tgtEl>
                                          <p:spTgt spid="10"/>
                                        </p:tgtEl>
                                        <p:attrNameLst>
                                          <p:attrName>ppt_h</p:attrName>
                                        </p:attrNameLst>
                                      </p:cBhvr>
                                      <p:tavLst>
                                        <p:tav tm="0">
                                          <p:val>
                                            <p:fltVal val="0"/>
                                          </p:val>
                                        </p:tav>
                                        <p:tav tm="100000">
                                          <p:val>
                                            <p:strVal val="#ppt_h"/>
                                          </p:val>
                                        </p:tav>
                                      </p:tavLst>
                                    </p:anim>
                                    <p:animEffect transition="in" filter="fade">
                                      <p:cBhvr>
                                        <p:cTn id="89" dur="300"/>
                                        <p:tgtEl>
                                          <p:spTgt spid="10"/>
                                        </p:tgtEl>
                                      </p:cBhvr>
                                    </p:animEffect>
                                    <p:anim calcmode="lin" valueType="num">
                                      <p:cBhvr>
                                        <p:cTn id="90" dur="300" fill="hold"/>
                                        <p:tgtEl>
                                          <p:spTgt spid="10"/>
                                        </p:tgtEl>
                                        <p:attrNameLst>
                                          <p:attrName>ppt_x</p:attrName>
                                        </p:attrNameLst>
                                      </p:cBhvr>
                                      <p:tavLst>
                                        <p:tav tm="0">
                                          <p:val>
                                            <p:fltVal val="0.5"/>
                                          </p:val>
                                        </p:tav>
                                        <p:tav tm="100000">
                                          <p:val>
                                            <p:strVal val="#ppt_x"/>
                                          </p:val>
                                        </p:tav>
                                      </p:tavLst>
                                    </p:anim>
                                    <p:anim calcmode="lin" valueType="num">
                                      <p:cBhvr>
                                        <p:cTn id="91" dur="300" fill="hold"/>
                                        <p:tgtEl>
                                          <p:spTgt spid="10"/>
                                        </p:tgtEl>
                                        <p:attrNameLst>
                                          <p:attrName>ppt_y</p:attrName>
                                        </p:attrNameLst>
                                      </p:cBhvr>
                                      <p:tavLst>
                                        <p:tav tm="0">
                                          <p:val>
                                            <p:fltVal val="0.5"/>
                                          </p:val>
                                        </p:tav>
                                        <p:tav tm="100000">
                                          <p:val>
                                            <p:strVal val="#ppt_y"/>
                                          </p:val>
                                        </p:tav>
                                      </p:tavLst>
                                    </p:anim>
                                  </p:childTnLst>
                                </p:cTn>
                              </p:par>
                              <p:par>
                                <p:cTn id="92" presetID="10" presetClass="entr" presetSubtype="0" fill="hold" grpId="0" nodeType="withEffect">
                                  <p:stCondLst>
                                    <p:cond delay="1800"/>
                                  </p:stCondLst>
                                  <p:childTnLst>
                                    <p:set>
                                      <p:cBhvr>
                                        <p:cTn id="93" dur="1" fill="hold">
                                          <p:stCondLst>
                                            <p:cond delay="0"/>
                                          </p:stCondLst>
                                        </p:cTn>
                                        <p:tgtEl>
                                          <p:spTgt spid="44"/>
                                        </p:tgtEl>
                                        <p:attrNameLst>
                                          <p:attrName>style.visibility</p:attrName>
                                        </p:attrNameLst>
                                      </p:cBhvr>
                                      <p:to>
                                        <p:strVal val="visible"/>
                                      </p:to>
                                    </p:set>
                                    <p:animEffect transition="in" filter="fade">
                                      <p:cBhvr>
                                        <p:cTn id="94" dur="300"/>
                                        <p:tgtEl>
                                          <p:spTgt spid="44"/>
                                        </p:tgtEl>
                                      </p:cBhvr>
                                    </p:animEffect>
                                  </p:childTnLst>
                                </p:cTn>
                              </p:par>
                              <p:par>
                                <p:cTn id="95" presetID="10" presetClass="entr" presetSubtype="0" fill="hold" nodeType="withEffect">
                                  <p:stCondLst>
                                    <p:cond delay="1800"/>
                                  </p:stCondLst>
                                  <p:childTnLst>
                                    <p:set>
                                      <p:cBhvr>
                                        <p:cTn id="96" dur="1" fill="hold">
                                          <p:stCondLst>
                                            <p:cond delay="0"/>
                                          </p:stCondLst>
                                        </p:cTn>
                                        <p:tgtEl>
                                          <p:spTgt spid="48"/>
                                        </p:tgtEl>
                                        <p:attrNameLst>
                                          <p:attrName>style.visibility</p:attrName>
                                        </p:attrNameLst>
                                      </p:cBhvr>
                                      <p:to>
                                        <p:strVal val="visible"/>
                                      </p:to>
                                    </p:set>
                                    <p:animEffect transition="in" filter="fade">
                                      <p:cBhvr>
                                        <p:cTn id="97" dur="300"/>
                                        <p:tgtEl>
                                          <p:spTgt spid="48"/>
                                        </p:tgtEl>
                                      </p:cBhvr>
                                    </p:animEffect>
                                  </p:childTnLst>
                                </p:cTn>
                              </p:par>
                              <p:par>
                                <p:cTn id="98" presetID="10" presetClass="entr" presetSubtype="0" fill="hold" grpId="0" nodeType="withEffect">
                                  <p:stCondLst>
                                    <p:cond delay="180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3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27" grpId="0"/>
      <p:bldP spid="31" grpId="0" animBg="1"/>
      <p:bldP spid="32" grpId="0"/>
      <p:bldP spid="33" grpId="0"/>
      <p:bldP spid="40" grpId="0" animBg="1"/>
      <p:bldP spid="42" grpId="0"/>
      <p:bldP spid="43" grpId="0"/>
      <p:bldP spid="44" grpId="0"/>
      <p:bldP spid="54" grpId="0" animBg="1"/>
      <p:bldP spid="55" grpId="0" animBg="1"/>
    </p:bld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58808CA3-5BA0-4749-8FCF-63ADFDC11F62}"/>
              </a:ext>
            </a:extLst>
          </p:cNvPr>
          <p:cNvGraphicFramePr>
            <a:graphicFrameLocks noChangeAspect="1"/>
          </p:cNvGraphicFramePr>
          <p:nvPr>
            <p:custDataLst>
              <p:tags r:id="rId1"/>
            </p:custDataLst>
            <p:extLst>
              <p:ext uri="{D42A27DB-BD31-4B8C-83A1-F6EECF244321}">
                <p14:modId xmlns:p14="http://schemas.microsoft.com/office/powerpoint/2010/main" val="28028282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3" name="Objekt 12" hidden="1">
                        <a:extLst>
                          <a:ext uri="{FF2B5EF4-FFF2-40B4-BE49-F238E27FC236}">
                            <a16:creationId xmlns:a16="http://schemas.microsoft.com/office/drawing/2014/main" id="{58808CA3-5BA0-4749-8FCF-63ADFDC11F6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092FEDDA-B602-9941-B67F-EE896689F014}"/>
              </a:ext>
            </a:extLst>
          </p:cNvPr>
          <p:cNvGrpSpPr/>
          <p:nvPr/>
        </p:nvGrpSpPr>
        <p:grpSpPr>
          <a:xfrm>
            <a:off x="673264" y="1618944"/>
            <a:ext cx="10826703" cy="4294494"/>
            <a:chOff x="673264" y="1164899"/>
            <a:chExt cx="10826703" cy="5010672"/>
          </a:xfrm>
        </p:grpSpPr>
        <p:sp>
          <p:nvSpPr>
            <p:cNvPr id="56" name="Rectangle: Rounded Corners 38">
              <a:extLst>
                <a:ext uri="{FF2B5EF4-FFF2-40B4-BE49-F238E27FC236}">
                  <a16:creationId xmlns:a16="http://schemas.microsoft.com/office/drawing/2014/main" id="{971596B2-CD1D-A641-A28A-9870B424F027}"/>
                </a:ext>
              </a:extLst>
            </p:cNvPr>
            <p:cNvSpPr/>
            <p:nvPr/>
          </p:nvSpPr>
          <p:spPr>
            <a:xfrm>
              <a:off x="728782" y="1378050"/>
              <a:ext cx="3447627" cy="4797521"/>
            </a:xfrm>
            <a:prstGeom prst="roundRect">
              <a:avLst>
                <a:gd name="adj" fmla="val 4167"/>
              </a:avLst>
            </a:prstGeom>
            <a:gradFill>
              <a:gsLst>
                <a:gs pos="48000">
                  <a:srgbClr val="F7F8F5"/>
                </a:gs>
                <a:gs pos="0">
                  <a:schemeClr val="bg1"/>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65000"/>
                    <a:lumOff val="35000"/>
                  </a:schemeClr>
                </a:solidFill>
                <a:latin typeface="Arial" panose="020B0604020202020204" pitchFamily="34" charset="0"/>
                <a:cs typeface="Arial" panose="020B0604020202020204" pitchFamily="34" charset="0"/>
              </a:endParaRPr>
            </a:p>
          </p:txBody>
        </p:sp>
        <p:sp>
          <p:nvSpPr>
            <p:cNvPr id="66" name="Rectangle: Rounded Corners 174">
              <a:extLst>
                <a:ext uri="{FF2B5EF4-FFF2-40B4-BE49-F238E27FC236}">
                  <a16:creationId xmlns:a16="http://schemas.microsoft.com/office/drawing/2014/main" id="{7D698208-CB94-714A-8E3F-1B6889EE75FB}"/>
                </a:ext>
              </a:extLst>
            </p:cNvPr>
            <p:cNvSpPr/>
            <p:nvPr/>
          </p:nvSpPr>
          <p:spPr>
            <a:xfrm>
              <a:off x="1263475" y="1164899"/>
              <a:ext cx="2378241" cy="426302"/>
            </a:xfrm>
            <a:prstGeom prst="roundRect">
              <a:avLst>
                <a:gd name="adj" fmla="val 9620"/>
              </a:avLst>
            </a:prstGeom>
            <a:solidFill>
              <a:schemeClr val="bg1"/>
            </a:solidFill>
            <a:ln w="9525">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9F6D91AD-E515-9045-AC25-4F10F79FC7FC}"/>
                </a:ext>
              </a:extLst>
            </p:cNvPr>
            <p:cNvSpPr/>
            <p:nvPr/>
          </p:nvSpPr>
          <p:spPr>
            <a:xfrm>
              <a:off x="1263474" y="1216454"/>
              <a:ext cx="2378241" cy="323193"/>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7998" tIns="0" rIns="0" bIns="0" rtlCol="0" anchor="ctr"/>
            <a:lstStyle/>
            <a:p>
              <a:pPr algn="ctr"/>
              <a:r>
                <a:rPr lang="en-GB" sz="1000" spc="20">
                  <a:solidFill>
                    <a:schemeClr val="bg2">
                      <a:lumMod val="10000"/>
                    </a:schemeClr>
                  </a:solidFill>
                  <a:latin typeface="Arial" panose="020B0604020202020204" pitchFamily="34" charset="0"/>
                  <a:cs typeface="Arial" panose="020B0604020202020204" pitchFamily="34" charset="0"/>
                </a:rPr>
                <a:t>Net Promoter Score</a:t>
              </a:r>
            </a:p>
          </p:txBody>
        </p:sp>
        <p:grpSp>
          <p:nvGrpSpPr>
            <p:cNvPr id="3" name="Group 2">
              <a:extLst>
                <a:ext uri="{FF2B5EF4-FFF2-40B4-BE49-F238E27FC236}">
                  <a16:creationId xmlns:a16="http://schemas.microsoft.com/office/drawing/2014/main" id="{81C628DC-799B-EE44-A72E-424194816BBB}"/>
                </a:ext>
              </a:extLst>
            </p:cNvPr>
            <p:cNvGrpSpPr/>
            <p:nvPr/>
          </p:nvGrpSpPr>
          <p:grpSpPr>
            <a:xfrm>
              <a:off x="933526" y="1973027"/>
              <a:ext cx="3027228" cy="1815585"/>
              <a:chOff x="1866651" y="3946511"/>
              <a:chExt cx="6055157" cy="3631590"/>
            </a:xfrm>
          </p:grpSpPr>
          <p:grpSp>
            <p:nvGrpSpPr>
              <p:cNvPr id="5" name="Group 4">
                <a:extLst>
                  <a:ext uri="{FF2B5EF4-FFF2-40B4-BE49-F238E27FC236}">
                    <a16:creationId xmlns:a16="http://schemas.microsoft.com/office/drawing/2014/main" id="{33017D0F-53F0-3446-8C47-CE2598967D8B}"/>
                  </a:ext>
                </a:extLst>
              </p:cNvPr>
              <p:cNvGrpSpPr/>
              <p:nvPr/>
            </p:nvGrpSpPr>
            <p:grpSpPr>
              <a:xfrm>
                <a:off x="2763370" y="3946511"/>
                <a:ext cx="4283537" cy="3631590"/>
                <a:chOff x="3000119" y="4799578"/>
                <a:chExt cx="3256587" cy="2760940"/>
              </a:xfrm>
            </p:grpSpPr>
            <p:sp>
              <p:nvSpPr>
                <p:cNvPr id="75" name="Pie 74">
                  <a:extLst>
                    <a:ext uri="{FF2B5EF4-FFF2-40B4-BE49-F238E27FC236}">
                      <a16:creationId xmlns:a16="http://schemas.microsoft.com/office/drawing/2014/main" id="{FDE61475-BDD5-174F-A92B-8841CACC07D4}"/>
                    </a:ext>
                  </a:extLst>
                </p:cNvPr>
                <p:cNvSpPr/>
                <p:nvPr/>
              </p:nvSpPr>
              <p:spPr>
                <a:xfrm>
                  <a:off x="3016707" y="5897125"/>
                  <a:ext cx="3239999" cy="526514"/>
                </a:xfrm>
                <a:prstGeom prst="pie">
                  <a:avLst>
                    <a:gd name="adj1" fmla="val 17453599"/>
                    <a:gd name="adj2" fmla="val 29894"/>
                  </a:avLst>
                </a:prstGeom>
                <a:solidFill>
                  <a:srgbClr val="D9D9D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74" name="Pie 73">
                  <a:extLst>
                    <a:ext uri="{FF2B5EF4-FFF2-40B4-BE49-F238E27FC236}">
                      <a16:creationId xmlns:a16="http://schemas.microsoft.com/office/drawing/2014/main" id="{4DAC0DDD-EEAA-744C-A31B-D5FEC6A23C73}"/>
                    </a:ext>
                  </a:extLst>
                </p:cNvPr>
                <p:cNvSpPr/>
                <p:nvPr/>
              </p:nvSpPr>
              <p:spPr>
                <a:xfrm>
                  <a:off x="3015203" y="5899936"/>
                  <a:ext cx="3239999" cy="526514"/>
                </a:xfrm>
                <a:prstGeom prst="pie">
                  <a:avLst>
                    <a:gd name="adj1" fmla="val 13977784"/>
                    <a:gd name="adj2" fmla="val 17482465"/>
                  </a:avLst>
                </a:prstGeom>
                <a:solidFill>
                  <a:srgbClr val="ADAAAB"/>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68" name="Freeform 67">
                  <a:extLst>
                    <a:ext uri="{FF2B5EF4-FFF2-40B4-BE49-F238E27FC236}">
                      <a16:creationId xmlns:a16="http://schemas.microsoft.com/office/drawing/2014/main" id="{4909D265-8A23-0B4C-A7D6-5CD0E450E966}"/>
                    </a:ext>
                  </a:extLst>
                </p:cNvPr>
                <p:cNvSpPr/>
                <p:nvPr/>
              </p:nvSpPr>
              <p:spPr>
                <a:xfrm>
                  <a:off x="3222995" y="4799578"/>
                  <a:ext cx="2760068" cy="2760940"/>
                </a:xfrm>
                <a:custGeom>
                  <a:avLst/>
                  <a:gdLst>
                    <a:gd name="connsiteX0" fmla="*/ 2321088 w 4643685"/>
                    <a:gd name="connsiteY0" fmla="*/ 4645151 h 4645152"/>
                    <a:gd name="connsiteX1" fmla="*/ 2321130 w 4643685"/>
                    <a:gd name="connsiteY1" fmla="*/ 4645151 h 4645152"/>
                    <a:gd name="connsiteX2" fmla="*/ 2321109 w 4643685"/>
                    <a:gd name="connsiteY2" fmla="*/ 4645152 h 4645152"/>
                    <a:gd name="connsiteX3" fmla="*/ 4643684 w 4643685"/>
                    <a:gd name="connsiteY3" fmla="*/ 2322555 h 4645152"/>
                    <a:gd name="connsiteX4" fmla="*/ 4643685 w 4643685"/>
                    <a:gd name="connsiteY4" fmla="*/ 2322576 h 4645152"/>
                    <a:gd name="connsiteX5" fmla="*/ 4643684 w 4643685"/>
                    <a:gd name="connsiteY5" fmla="*/ 2322597 h 4645152"/>
                    <a:gd name="connsiteX6" fmla="*/ 2321109 w 4643685"/>
                    <a:gd name="connsiteY6" fmla="*/ 0 h 4645152"/>
                    <a:gd name="connsiteX7" fmla="*/ 4631694 w 4643685"/>
                    <a:gd name="connsiteY7" fmla="*/ 2085106 h 4645152"/>
                    <a:gd name="connsiteX8" fmla="*/ 4642219 w 4643685"/>
                    <a:gd name="connsiteY8" fmla="*/ 2293534 h 4645152"/>
                    <a:gd name="connsiteX9" fmla="*/ 0 w 4643685"/>
                    <a:gd name="connsiteY9" fmla="*/ 2293534 h 4645152"/>
                    <a:gd name="connsiteX10" fmla="*/ 10524 w 4643685"/>
                    <a:gd name="connsiteY10" fmla="*/ 2085106 h 4645152"/>
                    <a:gd name="connsiteX11" fmla="*/ 2321109 w 4643685"/>
                    <a:gd name="connsiteY11" fmla="*/ 0 h 464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43685" h="4645152">
                      <a:moveTo>
                        <a:pt x="2321088" y="4645151"/>
                      </a:moveTo>
                      <a:lnTo>
                        <a:pt x="2321130" y="4645151"/>
                      </a:lnTo>
                      <a:lnTo>
                        <a:pt x="2321109" y="4645152"/>
                      </a:lnTo>
                      <a:close/>
                      <a:moveTo>
                        <a:pt x="4643684" y="2322555"/>
                      </a:moveTo>
                      <a:lnTo>
                        <a:pt x="4643685" y="2322576"/>
                      </a:lnTo>
                      <a:lnTo>
                        <a:pt x="4643684" y="2322597"/>
                      </a:lnTo>
                      <a:close/>
                      <a:moveTo>
                        <a:pt x="2321109" y="0"/>
                      </a:moveTo>
                      <a:cubicBezTo>
                        <a:pt x="3523662" y="0"/>
                        <a:pt x="4512755" y="913933"/>
                        <a:pt x="4631694" y="2085106"/>
                      </a:cubicBezTo>
                      <a:lnTo>
                        <a:pt x="4642219" y="2293534"/>
                      </a:lnTo>
                      <a:lnTo>
                        <a:pt x="0" y="2293534"/>
                      </a:lnTo>
                      <a:lnTo>
                        <a:pt x="10524" y="2085106"/>
                      </a:lnTo>
                      <a:cubicBezTo>
                        <a:pt x="129463" y="913933"/>
                        <a:pt x="1118556" y="0"/>
                        <a:pt x="2321109" y="0"/>
                      </a:cubicBezTo>
                      <a:close/>
                    </a:path>
                  </a:pathLst>
                </a:custGeom>
                <a:solidFill>
                  <a:schemeClr val="accent6">
                    <a:lumMod val="40000"/>
                    <a:lumOff val="60000"/>
                  </a:schemeClr>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69" name="Pie 68">
                  <a:extLst>
                    <a:ext uri="{FF2B5EF4-FFF2-40B4-BE49-F238E27FC236}">
                      <a16:creationId xmlns:a16="http://schemas.microsoft.com/office/drawing/2014/main" id="{CAF5097B-2783-7A41-B5BB-5C5693A2DA0B}"/>
                    </a:ext>
                  </a:extLst>
                </p:cNvPr>
                <p:cNvSpPr/>
                <p:nvPr/>
              </p:nvSpPr>
              <p:spPr>
                <a:xfrm>
                  <a:off x="3000119" y="5908727"/>
                  <a:ext cx="3239999" cy="526514"/>
                </a:xfrm>
                <a:prstGeom prst="pie">
                  <a:avLst>
                    <a:gd name="adj1" fmla="val 10812858"/>
                    <a:gd name="adj2" fmla="val 14033474"/>
                  </a:avLst>
                </a:prstGeom>
                <a:solidFill>
                  <a:srgbClr val="01404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72" name="Block Arc 71">
                  <a:extLst>
                    <a:ext uri="{FF2B5EF4-FFF2-40B4-BE49-F238E27FC236}">
                      <a16:creationId xmlns:a16="http://schemas.microsoft.com/office/drawing/2014/main" id="{249804D6-54DA-BA43-95A1-68D7989ACFB4}"/>
                    </a:ext>
                  </a:extLst>
                </p:cNvPr>
                <p:cNvSpPr/>
                <p:nvPr/>
              </p:nvSpPr>
              <p:spPr>
                <a:xfrm>
                  <a:off x="3226074" y="5794726"/>
                  <a:ext cx="2743129" cy="747403"/>
                </a:xfrm>
                <a:prstGeom prst="blockArc">
                  <a:avLst>
                    <a:gd name="adj1" fmla="val 10811775"/>
                    <a:gd name="adj2" fmla="val 19341329"/>
                    <a:gd name="adj3" fmla="val 49760"/>
                  </a:avLst>
                </a:prstGeom>
                <a:solidFill>
                  <a:schemeClr val="bg1"/>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cxnSp>
              <p:nvCxnSpPr>
                <p:cNvPr id="73" name="Straight Connector 72">
                  <a:extLst>
                    <a:ext uri="{FF2B5EF4-FFF2-40B4-BE49-F238E27FC236}">
                      <a16:creationId xmlns:a16="http://schemas.microsoft.com/office/drawing/2014/main" id="{34394370-B57C-734D-847D-9365B5791885}"/>
                    </a:ext>
                  </a:extLst>
                </p:cNvPr>
                <p:cNvCxnSpPr/>
                <p:nvPr/>
              </p:nvCxnSpPr>
              <p:spPr>
                <a:xfrm flipV="1">
                  <a:off x="4601645" y="4969972"/>
                  <a:ext cx="1530320" cy="1181675"/>
                </a:xfrm>
                <a:prstGeom prst="line">
                  <a:avLst/>
                </a:prstGeom>
                <a:noFill/>
                <a:ln w="25400" cap="flat">
                  <a:gradFill>
                    <a:gsLst>
                      <a:gs pos="0">
                        <a:schemeClr val="tx1">
                          <a:lumMod val="50000"/>
                          <a:lumOff val="50000"/>
                        </a:schemeClr>
                      </a:gs>
                      <a:gs pos="100000">
                        <a:schemeClr val="bg2">
                          <a:lumMod val="10000"/>
                        </a:schemeClr>
                      </a:gs>
                    </a:gsLst>
                    <a:lin ang="10800000" scaled="0"/>
                  </a:gradFill>
                  <a:prstDash val="solid"/>
                  <a:miter lim="400000"/>
                  <a:headEnd type="oval" w="lg" len="lg"/>
                </a:ln>
                <a:effectLst>
                  <a:glow rad="76200">
                    <a:schemeClr val="bg2">
                      <a:alpha val="34000"/>
                    </a:schemeClr>
                  </a:glow>
                </a:effectLst>
                <a:sp3d/>
              </p:spPr>
              <p:style>
                <a:lnRef idx="0">
                  <a:scrgbClr r="0" g="0" b="0"/>
                </a:lnRef>
                <a:fillRef idx="0">
                  <a:scrgbClr r="0" g="0" b="0"/>
                </a:fillRef>
                <a:effectRef idx="0">
                  <a:scrgbClr r="0" g="0" b="0"/>
                </a:effectRef>
                <a:fontRef idx="none"/>
              </p:style>
            </p:cxnSp>
          </p:grpSp>
          <p:sp>
            <p:nvSpPr>
              <p:cNvPr id="78" name="TextBox 77">
                <a:extLst>
                  <a:ext uri="{FF2B5EF4-FFF2-40B4-BE49-F238E27FC236}">
                    <a16:creationId xmlns:a16="http://schemas.microsoft.com/office/drawing/2014/main" id="{3BC2020E-B7FC-ED4C-BD65-0A575F4704F4}"/>
                  </a:ext>
                </a:extLst>
              </p:cNvPr>
              <p:cNvSpPr txBox="1"/>
              <p:nvPr/>
            </p:nvSpPr>
            <p:spPr>
              <a:xfrm>
                <a:off x="1866651" y="5501103"/>
                <a:ext cx="754459" cy="307812"/>
              </a:xfrm>
              <a:prstGeom prst="rect">
                <a:avLst/>
              </a:prstGeom>
              <a:noFill/>
              <a:ln w="12700">
                <a:noFill/>
              </a:ln>
            </p:spPr>
            <p:txBody>
              <a:bodyPr wrap="square" lIns="0" tIns="0" rIns="0" bIns="0" rtlCol="0" anchor="ctr">
                <a:spAutoFit/>
              </a:bodyPr>
              <a:lstStyle/>
              <a:p>
                <a:pPr algn="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sp>
            <p:nvSpPr>
              <p:cNvPr id="79" name="TextBox 78">
                <a:extLst>
                  <a:ext uri="{FF2B5EF4-FFF2-40B4-BE49-F238E27FC236}">
                    <a16:creationId xmlns:a16="http://schemas.microsoft.com/office/drawing/2014/main" id="{74F5FDE9-1A22-8243-89D1-1125393B1901}"/>
                  </a:ext>
                </a:extLst>
              </p:cNvPr>
              <p:cNvSpPr txBox="1"/>
              <p:nvPr/>
            </p:nvSpPr>
            <p:spPr>
              <a:xfrm>
                <a:off x="7167349" y="5501103"/>
                <a:ext cx="754459" cy="307812"/>
              </a:xfrm>
              <a:prstGeom prst="rect">
                <a:avLst/>
              </a:prstGeom>
              <a:noFill/>
              <a:ln w="12700">
                <a:noFill/>
              </a:ln>
            </p:spPr>
            <p:txBody>
              <a:bodyPr wrap="square" lIns="0" tIns="0" rIns="0" bIns="0" rtlCol="0" anchor="ctr">
                <a:spAutoFit/>
              </a:bodyPr>
              <a:lstStyle/>
              <a:p>
                <a:pP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grpSp>
        <p:grpSp>
          <p:nvGrpSpPr>
            <p:cNvPr id="80" name="Group 79">
              <a:extLst>
                <a:ext uri="{FF2B5EF4-FFF2-40B4-BE49-F238E27FC236}">
                  <a16:creationId xmlns:a16="http://schemas.microsoft.com/office/drawing/2014/main" id="{C023A2AA-06E5-6347-BDF9-467D8864ADDB}"/>
                </a:ext>
              </a:extLst>
            </p:cNvPr>
            <p:cNvGrpSpPr/>
            <p:nvPr/>
          </p:nvGrpSpPr>
          <p:grpSpPr>
            <a:xfrm>
              <a:off x="1523839" y="3093867"/>
              <a:ext cx="1815011" cy="629927"/>
              <a:chOff x="2504097" y="2869228"/>
              <a:chExt cx="4078800" cy="1260000"/>
            </a:xfrm>
          </p:grpSpPr>
          <p:sp>
            <p:nvSpPr>
              <p:cNvPr id="81" name="Rectangle: Rounded Corners 45">
                <a:extLst>
                  <a:ext uri="{FF2B5EF4-FFF2-40B4-BE49-F238E27FC236}">
                    <a16:creationId xmlns:a16="http://schemas.microsoft.com/office/drawing/2014/main" id="{5B440629-EB38-1045-B4A7-59F0F5E79699}"/>
                  </a:ext>
                </a:extLst>
              </p:cNvPr>
              <p:cNvSpPr/>
              <p:nvPr/>
            </p:nvSpPr>
            <p:spPr>
              <a:xfrm>
                <a:off x="2504097" y="2869228"/>
                <a:ext cx="4078800" cy="1260000"/>
              </a:xfrm>
              <a:prstGeom prst="roundRect">
                <a:avLst>
                  <a:gd name="adj" fmla="val 11735"/>
                </a:avLst>
              </a:prstGeom>
              <a:solidFill>
                <a:schemeClr val="bg1"/>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B07CE606-DE3E-D846-B593-7DCA566BFEDF}"/>
                  </a:ext>
                </a:extLst>
              </p:cNvPr>
              <p:cNvSpPr txBox="1"/>
              <p:nvPr/>
            </p:nvSpPr>
            <p:spPr>
              <a:xfrm>
                <a:off x="2823570" y="3068965"/>
                <a:ext cx="3425666" cy="492499"/>
              </a:xfrm>
              <a:prstGeom prst="rect">
                <a:avLst/>
              </a:prstGeom>
              <a:noFill/>
              <a:ln w="12700">
                <a:noFill/>
              </a:ln>
            </p:spPr>
            <p:txBody>
              <a:bodyPr wrap="square" lIns="0" tIns="0" rIns="0" bIns="0" rtlCol="0" anchor="ctr">
                <a:spAutoFit/>
              </a:bodyPr>
              <a:lstStyle/>
              <a:p>
                <a:pPr algn="ctr" defTabSz="457109"/>
                <a:r>
                  <a:rPr lang="en-GB" sz="1600" b="1" spc="20">
                    <a:solidFill>
                      <a:schemeClr val="bg2">
                        <a:lumMod val="10000"/>
                      </a:schemeClr>
                    </a:solidFill>
                    <a:latin typeface="Arial" panose="020B0604020202020204" pitchFamily="34" charset="0"/>
                    <a:cs typeface="Arial" panose="020B0604020202020204" pitchFamily="34" charset="0"/>
                  </a:rPr>
                  <a:t>+48.00</a:t>
                </a:r>
              </a:p>
            </p:txBody>
          </p:sp>
          <p:sp>
            <p:nvSpPr>
              <p:cNvPr id="83" name="TextBox 82">
                <a:extLst>
                  <a:ext uri="{FF2B5EF4-FFF2-40B4-BE49-F238E27FC236}">
                    <a16:creationId xmlns:a16="http://schemas.microsoft.com/office/drawing/2014/main" id="{766486A6-9849-F142-8543-8AA236B5B4A0}"/>
                  </a:ext>
                </a:extLst>
              </p:cNvPr>
              <p:cNvSpPr txBox="1"/>
              <p:nvPr/>
            </p:nvSpPr>
            <p:spPr>
              <a:xfrm>
                <a:off x="2847460" y="3573652"/>
                <a:ext cx="3425666"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pPr algn="ctr"/>
                <a:r>
                  <a:rPr lang="en-GB" sz="900" b="0" cap="none">
                    <a:solidFill>
                      <a:schemeClr val="bg2">
                        <a:lumMod val="50000"/>
                      </a:schemeClr>
                    </a:solidFill>
                    <a:latin typeface="Arial" panose="020B0604020202020204" pitchFamily="34" charset="0"/>
                    <a:cs typeface="Arial" panose="020B0604020202020204" pitchFamily="34" charset="0"/>
                  </a:rPr>
                  <a:t>Promoter Increment</a:t>
                </a:r>
              </a:p>
            </p:txBody>
          </p:sp>
        </p:grpSp>
        <p:cxnSp>
          <p:nvCxnSpPr>
            <p:cNvPr id="87" name="Straight Connector 86">
              <a:extLst>
                <a:ext uri="{FF2B5EF4-FFF2-40B4-BE49-F238E27FC236}">
                  <a16:creationId xmlns:a16="http://schemas.microsoft.com/office/drawing/2014/main" id="{0D1F321B-E7CA-314A-AECC-0128F40205A9}"/>
                </a:ext>
              </a:extLst>
            </p:cNvPr>
            <p:cNvCxnSpPr>
              <a:cxnSpLocks/>
            </p:cNvCxnSpPr>
            <p:nvPr/>
          </p:nvCxnSpPr>
          <p:spPr>
            <a:xfrm flipH="1">
              <a:off x="673264" y="5368637"/>
              <a:ext cx="3523455" cy="0"/>
            </a:xfrm>
            <a:prstGeom prst="line">
              <a:avLst/>
            </a:prstGeom>
            <a:ln w="63500" cap="sq">
              <a:solidFill>
                <a:schemeClr val="bg1"/>
              </a:solidFill>
              <a:prstDash val="solid"/>
              <a:miter lim="800000"/>
              <a:headEnd type="none"/>
              <a:tailEnd type="none"/>
            </a:ln>
            <a:effectLst/>
          </p:spPr>
          <p:style>
            <a:lnRef idx="3">
              <a:schemeClr val="accent1"/>
            </a:lnRef>
            <a:fillRef idx="0">
              <a:schemeClr val="accent1"/>
            </a:fillRef>
            <a:effectRef idx="2">
              <a:schemeClr val="accent1"/>
            </a:effectRef>
            <a:fontRef idx="minor">
              <a:schemeClr val="tx1"/>
            </a:fontRef>
          </p:style>
        </p:cxnSp>
        <p:grpSp>
          <p:nvGrpSpPr>
            <p:cNvPr id="8" name="Group 7">
              <a:extLst>
                <a:ext uri="{FF2B5EF4-FFF2-40B4-BE49-F238E27FC236}">
                  <a16:creationId xmlns:a16="http://schemas.microsoft.com/office/drawing/2014/main" id="{01BBA0B8-36DA-6B49-B124-1CBFE8CAD292}"/>
                </a:ext>
              </a:extLst>
            </p:cNvPr>
            <p:cNvGrpSpPr/>
            <p:nvPr/>
          </p:nvGrpSpPr>
          <p:grpSpPr>
            <a:xfrm>
              <a:off x="1128883" y="4211562"/>
              <a:ext cx="2612217" cy="882669"/>
              <a:chOff x="2149093" y="9105904"/>
              <a:chExt cx="5225038" cy="1765543"/>
            </a:xfrm>
          </p:grpSpPr>
          <p:sp>
            <p:nvSpPr>
              <p:cNvPr id="84" name="Oval 83">
                <a:extLst>
                  <a:ext uri="{FF2B5EF4-FFF2-40B4-BE49-F238E27FC236}">
                    <a16:creationId xmlns:a16="http://schemas.microsoft.com/office/drawing/2014/main" id="{32F63591-CF77-BC46-BC9F-CD04B56C7916}"/>
                  </a:ext>
                </a:extLst>
              </p:cNvPr>
              <p:cNvSpPr/>
              <p:nvPr/>
            </p:nvSpPr>
            <p:spPr>
              <a:xfrm>
                <a:off x="2149093" y="9105904"/>
                <a:ext cx="417956" cy="417956"/>
              </a:xfrm>
              <a:prstGeom prst="ellipse">
                <a:avLst/>
              </a:prstGeom>
              <a:solidFill>
                <a:srgbClr val="01404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800" b="1">
                  <a:solidFill>
                    <a:schemeClr val="bg2">
                      <a:lumMod val="10000"/>
                    </a:schemeClr>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B4FEC0C1-08C2-264A-9287-F2851ED81B84}"/>
                  </a:ext>
                </a:extLst>
              </p:cNvPr>
              <p:cNvSpPr txBox="1"/>
              <p:nvPr/>
            </p:nvSpPr>
            <p:spPr>
              <a:xfrm>
                <a:off x="2827275" y="9207744"/>
                <a:ext cx="1723943"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900" b="0" cap="none">
                    <a:solidFill>
                      <a:schemeClr val="bg2">
                        <a:lumMod val="50000"/>
                      </a:schemeClr>
                    </a:solidFill>
                    <a:latin typeface="Arial" panose="020B0604020202020204" pitchFamily="34" charset="0"/>
                    <a:cs typeface="Arial" panose="020B0604020202020204" pitchFamily="34" charset="0"/>
                  </a:rPr>
                  <a:t>Detractors</a:t>
                </a:r>
              </a:p>
            </p:txBody>
          </p:sp>
          <p:sp>
            <p:nvSpPr>
              <p:cNvPr id="86" name="TextBox 85">
                <a:extLst>
                  <a:ext uri="{FF2B5EF4-FFF2-40B4-BE49-F238E27FC236}">
                    <a16:creationId xmlns:a16="http://schemas.microsoft.com/office/drawing/2014/main" id="{59FE6512-614F-8847-8808-8464E458668B}"/>
                  </a:ext>
                </a:extLst>
              </p:cNvPr>
              <p:cNvSpPr txBox="1"/>
              <p:nvPr/>
            </p:nvSpPr>
            <p:spPr>
              <a:xfrm>
                <a:off x="5650188" y="9157850"/>
                <a:ext cx="1723943" cy="369375"/>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1200" cap="none">
                    <a:solidFill>
                      <a:srgbClr val="C9446F"/>
                    </a:solidFill>
                    <a:latin typeface="Arial" panose="020B0604020202020204" pitchFamily="34" charset="0"/>
                    <a:cs typeface="Arial" panose="020B0604020202020204" pitchFamily="34" charset="0"/>
                  </a:rPr>
                  <a:t>162 (17%)</a:t>
                </a:r>
              </a:p>
            </p:txBody>
          </p:sp>
          <p:sp>
            <p:nvSpPr>
              <p:cNvPr id="90" name="Oval 89">
                <a:extLst>
                  <a:ext uri="{FF2B5EF4-FFF2-40B4-BE49-F238E27FC236}">
                    <a16:creationId xmlns:a16="http://schemas.microsoft.com/office/drawing/2014/main" id="{F2D7CB68-E6EE-4F40-AB1F-05E21F840C9B}"/>
                  </a:ext>
                </a:extLst>
              </p:cNvPr>
              <p:cNvSpPr/>
              <p:nvPr/>
            </p:nvSpPr>
            <p:spPr>
              <a:xfrm>
                <a:off x="2149093" y="9777554"/>
                <a:ext cx="417956" cy="417956"/>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800" b="1">
                  <a:solidFill>
                    <a:schemeClr val="bg2">
                      <a:lumMod val="10000"/>
                    </a:schemeClr>
                  </a:solidFill>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D1790123-86E0-904A-857F-FA3B13BE2170}"/>
                  </a:ext>
                </a:extLst>
              </p:cNvPr>
              <p:cNvSpPr txBox="1"/>
              <p:nvPr/>
            </p:nvSpPr>
            <p:spPr>
              <a:xfrm>
                <a:off x="2827275" y="9879394"/>
                <a:ext cx="1723943"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900" b="0" cap="none">
                    <a:solidFill>
                      <a:schemeClr val="bg2">
                        <a:lumMod val="50000"/>
                      </a:schemeClr>
                    </a:solidFill>
                    <a:latin typeface="Arial" panose="020B0604020202020204" pitchFamily="34" charset="0"/>
                    <a:cs typeface="Arial" panose="020B0604020202020204" pitchFamily="34" charset="0"/>
                  </a:rPr>
                  <a:t>Passives</a:t>
                </a:r>
              </a:p>
            </p:txBody>
          </p:sp>
          <p:sp>
            <p:nvSpPr>
              <p:cNvPr id="92" name="TextBox 91">
                <a:extLst>
                  <a:ext uri="{FF2B5EF4-FFF2-40B4-BE49-F238E27FC236}">
                    <a16:creationId xmlns:a16="http://schemas.microsoft.com/office/drawing/2014/main" id="{9A107BEF-EF17-744C-ACE9-F35DAC04FADF}"/>
                  </a:ext>
                </a:extLst>
              </p:cNvPr>
              <p:cNvSpPr txBox="1"/>
              <p:nvPr/>
            </p:nvSpPr>
            <p:spPr>
              <a:xfrm>
                <a:off x="5650188" y="9829500"/>
                <a:ext cx="1723943" cy="369375"/>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1200" cap="none">
                    <a:solidFill>
                      <a:schemeClr val="bg2">
                        <a:lumMod val="50000"/>
                      </a:schemeClr>
                    </a:solidFill>
                    <a:latin typeface="Arial" panose="020B0604020202020204" pitchFamily="34" charset="0"/>
                    <a:cs typeface="Arial" panose="020B0604020202020204" pitchFamily="34" charset="0"/>
                  </a:rPr>
                  <a:t>171 (18%)</a:t>
                </a:r>
              </a:p>
            </p:txBody>
          </p:sp>
          <p:sp>
            <p:nvSpPr>
              <p:cNvPr id="93" name="Oval 92">
                <a:extLst>
                  <a:ext uri="{FF2B5EF4-FFF2-40B4-BE49-F238E27FC236}">
                    <a16:creationId xmlns:a16="http://schemas.microsoft.com/office/drawing/2014/main" id="{FF376370-5D56-EC4F-8176-B4F5BD8665F5}"/>
                  </a:ext>
                </a:extLst>
              </p:cNvPr>
              <p:cNvSpPr/>
              <p:nvPr/>
            </p:nvSpPr>
            <p:spPr>
              <a:xfrm>
                <a:off x="2149093" y="10450126"/>
                <a:ext cx="417956" cy="417956"/>
              </a:xfrm>
              <a:prstGeom prst="ellipse">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800" b="1">
                  <a:solidFill>
                    <a:schemeClr val="bg2">
                      <a:lumMod val="10000"/>
                    </a:schemeClr>
                  </a:solidFill>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A90486A4-E2E9-A543-9FE0-2DF7C28FFA62}"/>
                  </a:ext>
                </a:extLst>
              </p:cNvPr>
              <p:cNvSpPr txBox="1"/>
              <p:nvPr/>
            </p:nvSpPr>
            <p:spPr>
              <a:xfrm>
                <a:off x="2827275" y="10551966"/>
                <a:ext cx="1723943"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900" b="0" cap="none">
                    <a:solidFill>
                      <a:schemeClr val="bg2">
                        <a:lumMod val="50000"/>
                      </a:schemeClr>
                    </a:solidFill>
                    <a:latin typeface="Arial" panose="020B0604020202020204" pitchFamily="34" charset="0"/>
                    <a:cs typeface="Arial" panose="020B0604020202020204" pitchFamily="34" charset="0"/>
                  </a:rPr>
                  <a:t>Promoters</a:t>
                </a:r>
              </a:p>
            </p:txBody>
          </p:sp>
          <p:sp>
            <p:nvSpPr>
              <p:cNvPr id="95" name="TextBox 94">
                <a:extLst>
                  <a:ext uri="{FF2B5EF4-FFF2-40B4-BE49-F238E27FC236}">
                    <a16:creationId xmlns:a16="http://schemas.microsoft.com/office/drawing/2014/main" id="{99CC76CA-46C7-4740-A6E5-CB2ED1B08B2D}"/>
                  </a:ext>
                </a:extLst>
              </p:cNvPr>
              <p:cNvSpPr txBox="1"/>
              <p:nvPr/>
            </p:nvSpPr>
            <p:spPr>
              <a:xfrm>
                <a:off x="5650188" y="10502072"/>
                <a:ext cx="1723943" cy="369375"/>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1200" cap="none">
                    <a:solidFill>
                      <a:schemeClr val="bg2">
                        <a:lumMod val="50000"/>
                      </a:schemeClr>
                    </a:solidFill>
                    <a:latin typeface="Arial" panose="020B0604020202020204" pitchFamily="34" charset="0"/>
                    <a:cs typeface="Arial" panose="020B0604020202020204" pitchFamily="34" charset="0"/>
                  </a:rPr>
                  <a:t>618 (65%)</a:t>
                </a:r>
              </a:p>
            </p:txBody>
          </p:sp>
        </p:grpSp>
        <p:sp>
          <p:nvSpPr>
            <p:cNvPr id="97" name="TextBox 96">
              <a:extLst>
                <a:ext uri="{FF2B5EF4-FFF2-40B4-BE49-F238E27FC236}">
                  <a16:creationId xmlns:a16="http://schemas.microsoft.com/office/drawing/2014/main" id="{AC8ECEA9-AE3D-F044-86EE-F7B2FEED035E}"/>
                </a:ext>
              </a:extLst>
            </p:cNvPr>
            <p:cNvSpPr txBox="1"/>
            <p:nvPr/>
          </p:nvSpPr>
          <p:spPr>
            <a:xfrm>
              <a:off x="1416533" y="5428841"/>
              <a:ext cx="2072123" cy="307777"/>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r>
                <a:rPr lang="en-GB" sz="1000" cap="none">
                  <a:solidFill>
                    <a:schemeClr val="bg2">
                      <a:lumMod val="10000"/>
                    </a:schemeClr>
                  </a:solidFill>
                  <a:latin typeface="Arial" panose="020B0604020202020204" pitchFamily="34" charset="0"/>
                  <a:cs typeface="Arial" panose="020B0604020202020204" pitchFamily="34" charset="0"/>
                </a:rPr>
                <a:t>% Promoter - % Detractors  = 48</a:t>
              </a:r>
            </a:p>
          </p:txBody>
        </p:sp>
        <p:sp>
          <p:nvSpPr>
            <p:cNvPr id="99" name="Rectangle: Rounded Corners 38">
              <a:extLst>
                <a:ext uri="{FF2B5EF4-FFF2-40B4-BE49-F238E27FC236}">
                  <a16:creationId xmlns:a16="http://schemas.microsoft.com/office/drawing/2014/main" id="{76300383-E427-8447-AE9C-77890C4D01E1}"/>
                </a:ext>
              </a:extLst>
            </p:cNvPr>
            <p:cNvSpPr/>
            <p:nvPr/>
          </p:nvSpPr>
          <p:spPr>
            <a:xfrm>
              <a:off x="4401464" y="1378050"/>
              <a:ext cx="3447627" cy="4797521"/>
            </a:xfrm>
            <a:prstGeom prst="roundRect">
              <a:avLst>
                <a:gd name="adj" fmla="val 4167"/>
              </a:avLst>
            </a:prstGeom>
            <a:gradFill>
              <a:gsLst>
                <a:gs pos="34000">
                  <a:srgbClr val="F7F8F5"/>
                </a:gs>
                <a:gs pos="0">
                  <a:schemeClr val="bg1"/>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65000"/>
                    <a:lumOff val="35000"/>
                  </a:schemeClr>
                </a:solidFill>
                <a:latin typeface="Arial" panose="020B0604020202020204" pitchFamily="34" charset="0"/>
                <a:cs typeface="Arial" panose="020B0604020202020204" pitchFamily="34" charset="0"/>
              </a:endParaRPr>
            </a:p>
          </p:txBody>
        </p:sp>
        <p:sp>
          <p:nvSpPr>
            <p:cNvPr id="107" name="Rectangle: Rounded Corners 174">
              <a:extLst>
                <a:ext uri="{FF2B5EF4-FFF2-40B4-BE49-F238E27FC236}">
                  <a16:creationId xmlns:a16="http://schemas.microsoft.com/office/drawing/2014/main" id="{F9F4B649-FCBD-A34D-9AD1-7012850E12EC}"/>
                </a:ext>
              </a:extLst>
            </p:cNvPr>
            <p:cNvSpPr/>
            <p:nvPr/>
          </p:nvSpPr>
          <p:spPr>
            <a:xfrm>
              <a:off x="4936156" y="1164899"/>
              <a:ext cx="2378241" cy="426302"/>
            </a:xfrm>
            <a:prstGeom prst="roundRect">
              <a:avLst>
                <a:gd name="adj" fmla="val 9620"/>
              </a:avLst>
            </a:prstGeom>
            <a:solidFill>
              <a:schemeClr val="bg1"/>
            </a:solidFill>
            <a:ln w="9525">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Arial" panose="020B0604020202020204" pitchFamily="34" charset="0"/>
                <a:cs typeface="Arial" panose="020B0604020202020204" pitchFamily="34" charset="0"/>
              </a:endParaRPr>
            </a:p>
          </p:txBody>
        </p:sp>
        <p:sp>
          <p:nvSpPr>
            <p:cNvPr id="108" name="Rectangle 107">
              <a:extLst>
                <a:ext uri="{FF2B5EF4-FFF2-40B4-BE49-F238E27FC236}">
                  <a16:creationId xmlns:a16="http://schemas.microsoft.com/office/drawing/2014/main" id="{3ABC81CC-44E1-A440-8A50-A9CA489EDC03}"/>
                </a:ext>
              </a:extLst>
            </p:cNvPr>
            <p:cNvSpPr/>
            <p:nvPr/>
          </p:nvSpPr>
          <p:spPr>
            <a:xfrm>
              <a:off x="4936156" y="1216454"/>
              <a:ext cx="2378241" cy="323193"/>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7998" tIns="0" rIns="0" bIns="0" rtlCol="0" anchor="ctr"/>
            <a:lstStyle/>
            <a:p>
              <a:pPr algn="ctr"/>
              <a:r>
                <a:rPr lang="en-GB" sz="1000" spc="20">
                  <a:solidFill>
                    <a:schemeClr val="bg2">
                      <a:lumMod val="10000"/>
                    </a:schemeClr>
                  </a:solidFill>
                  <a:latin typeface="Arial" panose="020B0604020202020204" pitchFamily="34" charset="0"/>
                  <a:cs typeface="Arial" panose="020B0604020202020204" pitchFamily="34" charset="0"/>
                </a:rPr>
                <a:t>Customer Retention</a:t>
              </a:r>
            </a:p>
          </p:txBody>
        </p:sp>
        <p:grpSp>
          <p:nvGrpSpPr>
            <p:cNvPr id="4" name="Group 3">
              <a:extLst>
                <a:ext uri="{FF2B5EF4-FFF2-40B4-BE49-F238E27FC236}">
                  <a16:creationId xmlns:a16="http://schemas.microsoft.com/office/drawing/2014/main" id="{40926AD1-F0FB-6649-8559-61A9A812DC65}"/>
                </a:ext>
              </a:extLst>
            </p:cNvPr>
            <p:cNvGrpSpPr/>
            <p:nvPr/>
          </p:nvGrpSpPr>
          <p:grpSpPr>
            <a:xfrm>
              <a:off x="4606208" y="1973027"/>
              <a:ext cx="3027228" cy="1815585"/>
              <a:chOff x="9212864" y="3946511"/>
              <a:chExt cx="6055157" cy="3631590"/>
            </a:xfrm>
          </p:grpSpPr>
          <p:grpSp>
            <p:nvGrpSpPr>
              <p:cNvPr id="100" name="Group 99">
                <a:extLst>
                  <a:ext uri="{FF2B5EF4-FFF2-40B4-BE49-F238E27FC236}">
                    <a16:creationId xmlns:a16="http://schemas.microsoft.com/office/drawing/2014/main" id="{DBA16474-69BB-A24C-83B1-8D16B07F2B7E}"/>
                  </a:ext>
                </a:extLst>
              </p:cNvPr>
              <p:cNvGrpSpPr/>
              <p:nvPr/>
            </p:nvGrpSpPr>
            <p:grpSpPr>
              <a:xfrm>
                <a:off x="10109583" y="3946511"/>
                <a:ext cx="4283537" cy="3631590"/>
                <a:chOff x="3000119" y="4799578"/>
                <a:chExt cx="3256587" cy="2760940"/>
              </a:xfrm>
            </p:grpSpPr>
            <p:sp>
              <p:nvSpPr>
                <p:cNvPr id="101" name="Pie 100">
                  <a:extLst>
                    <a:ext uri="{FF2B5EF4-FFF2-40B4-BE49-F238E27FC236}">
                      <a16:creationId xmlns:a16="http://schemas.microsoft.com/office/drawing/2014/main" id="{96385E1C-9C33-554E-B9C0-945061DA0E9D}"/>
                    </a:ext>
                  </a:extLst>
                </p:cNvPr>
                <p:cNvSpPr/>
                <p:nvPr/>
              </p:nvSpPr>
              <p:spPr>
                <a:xfrm>
                  <a:off x="3016707" y="5897125"/>
                  <a:ext cx="3239999" cy="526514"/>
                </a:xfrm>
                <a:prstGeom prst="pie">
                  <a:avLst>
                    <a:gd name="adj1" fmla="val 19664480"/>
                    <a:gd name="adj2" fmla="val 29894"/>
                  </a:avLst>
                </a:prstGeom>
                <a:solidFill>
                  <a:srgbClr val="D9D9D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02" name="Pie 101">
                  <a:extLst>
                    <a:ext uri="{FF2B5EF4-FFF2-40B4-BE49-F238E27FC236}">
                      <a16:creationId xmlns:a16="http://schemas.microsoft.com/office/drawing/2014/main" id="{A0213062-5404-BE45-83B1-921A4FBECD28}"/>
                    </a:ext>
                  </a:extLst>
                </p:cNvPr>
                <p:cNvSpPr/>
                <p:nvPr/>
              </p:nvSpPr>
              <p:spPr>
                <a:xfrm>
                  <a:off x="3015203" y="5899936"/>
                  <a:ext cx="3239999" cy="526514"/>
                </a:xfrm>
                <a:prstGeom prst="pie">
                  <a:avLst>
                    <a:gd name="adj1" fmla="val 13977784"/>
                    <a:gd name="adj2" fmla="val 19880546"/>
                  </a:avLst>
                </a:prstGeom>
                <a:solidFill>
                  <a:srgbClr val="94C5EA"/>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03" name="Freeform 102">
                  <a:extLst>
                    <a:ext uri="{FF2B5EF4-FFF2-40B4-BE49-F238E27FC236}">
                      <a16:creationId xmlns:a16="http://schemas.microsoft.com/office/drawing/2014/main" id="{73CEE7E2-60E3-8B4B-B528-0C53E847C478}"/>
                    </a:ext>
                  </a:extLst>
                </p:cNvPr>
                <p:cNvSpPr/>
                <p:nvPr/>
              </p:nvSpPr>
              <p:spPr>
                <a:xfrm>
                  <a:off x="3222995" y="4799578"/>
                  <a:ext cx="2760068" cy="2760940"/>
                </a:xfrm>
                <a:custGeom>
                  <a:avLst/>
                  <a:gdLst>
                    <a:gd name="connsiteX0" fmla="*/ 2321088 w 4643685"/>
                    <a:gd name="connsiteY0" fmla="*/ 4645151 h 4645152"/>
                    <a:gd name="connsiteX1" fmla="*/ 2321130 w 4643685"/>
                    <a:gd name="connsiteY1" fmla="*/ 4645151 h 4645152"/>
                    <a:gd name="connsiteX2" fmla="*/ 2321109 w 4643685"/>
                    <a:gd name="connsiteY2" fmla="*/ 4645152 h 4645152"/>
                    <a:gd name="connsiteX3" fmla="*/ 4643684 w 4643685"/>
                    <a:gd name="connsiteY3" fmla="*/ 2322555 h 4645152"/>
                    <a:gd name="connsiteX4" fmla="*/ 4643685 w 4643685"/>
                    <a:gd name="connsiteY4" fmla="*/ 2322576 h 4645152"/>
                    <a:gd name="connsiteX5" fmla="*/ 4643684 w 4643685"/>
                    <a:gd name="connsiteY5" fmla="*/ 2322597 h 4645152"/>
                    <a:gd name="connsiteX6" fmla="*/ 2321109 w 4643685"/>
                    <a:gd name="connsiteY6" fmla="*/ 0 h 4645152"/>
                    <a:gd name="connsiteX7" fmla="*/ 4631694 w 4643685"/>
                    <a:gd name="connsiteY7" fmla="*/ 2085106 h 4645152"/>
                    <a:gd name="connsiteX8" fmla="*/ 4642219 w 4643685"/>
                    <a:gd name="connsiteY8" fmla="*/ 2293534 h 4645152"/>
                    <a:gd name="connsiteX9" fmla="*/ 0 w 4643685"/>
                    <a:gd name="connsiteY9" fmla="*/ 2293534 h 4645152"/>
                    <a:gd name="connsiteX10" fmla="*/ 10524 w 4643685"/>
                    <a:gd name="connsiteY10" fmla="*/ 2085106 h 4645152"/>
                    <a:gd name="connsiteX11" fmla="*/ 2321109 w 4643685"/>
                    <a:gd name="connsiteY11" fmla="*/ 0 h 464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43685" h="4645152">
                      <a:moveTo>
                        <a:pt x="2321088" y="4645151"/>
                      </a:moveTo>
                      <a:lnTo>
                        <a:pt x="2321130" y="4645151"/>
                      </a:lnTo>
                      <a:lnTo>
                        <a:pt x="2321109" y="4645152"/>
                      </a:lnTo>
                      <a:close/>
                      <a:moveTo>
                        <a:pt x="4643684" y="2322555"/>
                      </a:moveTo>
                      <a:lnTo>
                        <a:pt x="4643685" y="2322576"/>
                      </a:lnTo>
                      <a:lnTo>
                        <a:pt x="4643684" y="2322597"/>
                      </a:lnTo>
                      <a:close/>
                      <a:moveTo>
                        <a:pt x="2321109" y="0"/>
                      </a:moveTo>
                      <a:cubicBezTo>
                        <a:pt x="3523662" y="0"/>
                        <a:pt x="4512755" y="913933"/>
                        <a:pt x="4631694" y="2085106"/>
                      </a:cubicBezTo>
                      <a:lnTo>
                        <a:pt x="4642219" y="2293534"/>
                      </a:lnTo>
                      <a:lnTo>
                        <a:pt x="0" y="2293534"/>
                      </a:lnTo>
                      <a:lnTo>
                        <a:pt x="10524" y="2085106"/>
                      </a:lnTo>
                      <a:cubicBezTo>
                        <a:pt x="129463" y="913933"/>
                        <a:pt x="1118556" y="0"/>
                        <a:pt x="2321109" y="0"/>
                      </a:cubicBezTo>
                      <a:close/>
                    </a:path>
                  </a:pathLst>
                </a:custGeom>
                <a:solidFill>
                  <a:schemeClr val="accent6">
                    <a:lumMod val="40000"/>
                    <a:lumOff val="60000"/>
                  </a:schemeClr>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04" name="Pie 103">
                  <a:extLst>
                    <a:ext uri="{FF2B5EF4-FFF2-40B4-BE49-F238E27FC236}">
                      <a16:creationId xmlns:a16="http://schemas.microsoft.com/office/drawing/2014/main" id="{F73258F7-6969-654F-8D95-B615CA691066}"/>
                    </a:ext>
                  </a:extLst>
                </p:cNvPr>
                <p:cNvSpPr/>
                <p:nvPr/>
              </p:nvSpPr>
              <p:spPr>
                <a:xfrm>
                  <a:off x="3000119" y="5908727"/>
                  <a:ext cx="3239999" cy="526514"/>
                </a:xfrm>
                <a:prstGeom prst="pie">
                  <a:avLst>
                    <a:gd name="adj1" fmla="val 10812858"/>
                    <a:gd name="adj2" fmla="val 14033474"/>
                  </a:avLst>
                </a:prstGeom>
                <a:solidFill>
                  <a:srgbClr val="01404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05" name="Block Arc 104">
                  <a:extLst>
                    <a:ext uri="{FF2B5EF4-FFF2-40B4-BE49-F238E27FC236}">
                      <a16:creationId xmlns:a16="http://schemas.microsoft.com/office/drawing/2014/main" id="{56C8E7B9-731B-BF4B-B1FE-1AE210CC6322}"/>
                    </a:ext>
                  </a:extLst>
                </p:cNvPr>
                <p:cNvSpPr/>
                <p:nvPr/>
              </p:nvSpPr>
              <p:spPr>
                <a:xfrm>
                  <a:off x="3226074" y="5792915"/>
                  <a:ext cx="2743129" cy="751024"/>
                </a:xfrm>
                <a:prstGeom prst="blockArc">
                  <a:avLst>
                    <a:gd name="adj1" fmla="val 10811775"/>
                    <a:gd name="adj2" fmla="val 19913624"/>
                    <a:gd name="adj3" fmla="val 48286"/>
                  </a:avLst>
                </a:prstGeom>
                <a:solidFill>
                  <a:schemeClr val="bg1"/>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cxnSp>
              <p:nvCxnSpPr>
                <p:cNvPr id="106" name="Straight Connector 105">
                  <a:extLst>
                    <a:ext uri="{FF2B5EF4-FFF2-40B4-BE49-F238E27FC236}">
                      <a16:creationId xmlns:a16="http://schemas.microsoft.com/office/drawing/2014/main" id="{FA5802C7-5C67-9848-AFBD-1A36BA4EA918}"/>
                    </a:ext>
                  </a:extLst>
                </p:cNvPr>
                <p:cNvCxnSpPr>
                  <a:cxnSpLocks/>
                </p:cNvCxnSpPr>
                <p:nvPr/>
              </p:nvCxnSpPr>
              <p:spPr>
                <a:xfrm flipV="1">
                  <a:off x="4601645" y="5281720"/>
                  <a:ext cx="1653556" cy="869929"/>
                </a:xfrm>
                <a:prstGeom prst="line">
                  <a:avLst/>
                </a:prstGeom>
                <a:noFill/>
                <a:ln w="25400" cap="flat">
                  <a:gradFill>
                    <a:gsLst>
                      <a:gs pos="0">
                        <a:schemeClr val="tx1">
                          <a:lumMod val="50000"/>
                          <a:lumOff val="50000"/>
                        </a:schemeClr>
                      </a:gs>
                      <a:gs pos="100000">
                        <a:schemeClr val="bg2">
                          <a:lumMod val="10000"/>
                        </a:schemeClr>
                      </a:gs>
                    </a:gsLst>
                    <a:lin ang="10800000" scaled="0"/>
                  </a:gradFill>
                  <a:prstDash val="solid"/>
                  <a:miter lim="400000"/>
                  <a:headEnd type="oval" w="lg" len="lg"/>
                </a:ln>
                <a:effectLst>
                  <a:glow rad="76200">
                    <a:schemeClr val="bg2">
                      <a:alpha val="34000"/>
                    </a:schemeClr>
                  </a:glow>
                </a:effectLst>
                <a:sp3d/>
              </p:spPr>
              <p:style>
                <a:lnRef idx="0">
                  <a:scrgbClr r="0" g="0" b="0"/>
                </a:lnRef>
                <a:fillRef idx="0">
                  <a:scrgbClr r="0" g="0" b="0"/>
                </a:fillRef>
                <a:effectRef idx="0">
                  <a:scrgbClr r="0" g="0" b="0"/>
                </a:effectRef>
                <a:fontRef idx="none"/>
              </p:style>
            </p:cxnSp>
          </p:grpSp>
          <p:sp>
            <p:nvSpPr>
              <p:cNvPr id="109" name="TextBox 108">
                <a:extLst>
                  <a:ext uri="{FF2B5EF4-FFF2-40B4-BE49-F238E27FC236}">
                    <a16:creationId xmlns:a16="http://schemas.microsoft.com/office/drawing/2014/main" id="{DC9B64C7-C83E-9942-835A-498EB9F513C4}"/>
                  </a:ext>
                </a:extLst>
              </p:cNvPr>
              <p:cNvSpPr txBox="1"/>
              <p:nvPr/>
            </p:nvSpPr>
            <p:spPr>
              <a:xfrm>
                <a:off x="9212864" y="5501103"/>
                <a:ext cx="754459" cy="307812"/>
              </a:xfrm>
              <a:prstGeom prst="rect">
                <a:avLst/>
              </a:prstGeom>
              <a:noFill/>
              <a:ln w="12700">
                <a:noFill/>
              </a:ln>
            </p:spPr>
            <p:txBody>
              <a:bodyPr wrap="square" lIns="0" tIns="0" rIns="0" bIns="0" rtlCol="0" anchor="ctr">
                <a:spAutoFit/>
              </a:bodyPr>
              <a:lstStyle/>
              <a:p>
                <a:pPr algn="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sp>
            <p:nvSpPr>
              <p:cNvPr id="110" name="TextBox 109">
                <a:extLst>
                  <a:ext uri="{FF2B5EF4-FFF2-40B4-BE49-F238E27FC236}">
                    <a16:creationId xmlns:a16="http://schemas.microsoft.com/office/drawing/2014/main" id="{8D7DB5D3-CDEB-9147-A287-B7F181CF66A8}"/>
                  </a:ext>
                </a:extLst>
              </p:cNvPr>
              <p:cNvSpPr txBox="1"/>
              <p:nvPr/>
            </p:nvSpPr>
            <p:spPr>
              <a:xfrm>
                <a:off x="14513562" y="5501103"/>
                <a:ext cx="754459" cy="307812"/>
              </a:xfrm>
              <a:prstGeom prst="rect">
                <a:avLst/>
              </a:prstGeom>
              <a:noFill/>
              <a:ln w="12700">
                <a:noFill/>
              </a:ln>
            </p:spPr>
            <p:txBody>
              <a:bodyPr wrap="square" lIns="0" tIns="0" rIns="0" bIns="0" rtlCol="0" anchor="ctr">
                <a:spAutoFit/>
              </a:bodyPr>
              <a:lstStyle/>
              <a:p>
                <a:pP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grpSp>
        <p:grpSp>
          <p:nvGrpSpPr>
            <p:cNvPr id="111" name="Group 110">
              <a:extLst>
                <a:ext uri="{FF2B5EF4-FFF2-40B4-BE49-F238E27FC236}">
                  <a16:creationId xmlns:a16="http://schemas.microsoft.com/office/drawing/2014/main" id="{401B1263-C40D-4D4C-A9D5-95FD44FE3432}"/>
                </a:ext>
              </a:extLst>
            </p:cNvPr>
            <p:cNvGrpSpPr/>
            <p:nvPr/>
          </p:nvGrpSpPr>
          <p:grpSpPr>
            <a:xfrm>
              <a:off x="5196521" y="3093867"/>
              <a:ext cx="1815011" cy="629927"/>
              <a:chOff x="2504097" y="2869228"/>
              <a:chExt cx="4078800" cy="1260000"/>
            </a:xfrm>
          </p:grpSpPr>
          <p:sp>
            <p:nvSpPr>
              <p:cNvPr id="112" name="Rectangle: Rounded Corners 45">
                <a:extLst>
                  <a:ext uri="{FF2B5EF4-FFF2-40B4-BE49-F238E27FC236}">
                    <a16:creationId xmlns:a16="http://schemas.microsoft.com/office/drawing/2014/main" id="{592A7BFE-DD35-F344-A90A-10D6DE07CB3A}"/>
                  </a:ext>
                </a:extLst>
              </p:cNvPr>
              <p:cNvSpPr/>
              <p:nvPr/>
            </p:nvSpPr>
            <p:spPr>
              <a:xfrm>
                <a:off x="2504097" y="2869228"/>
                <a:ext cx="4078800" cy="1260000"/>
              </a:xfrm>
              <a:prstGeom prst="roundRect">
                <a:avLst>
                  <a:gd name="adj" fmla="val 11735"/>
                </a:avLst>
              </a:prstGeom>
              <a:solidFill>
                <a:schemeClr val="bg1"/>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E28B2726-8B34-BB46-9FB6-B4DD0B632E9D}"/>
                  </a:ext>
                </a:extLst>
              </p:cNvPr>
              <p:cNvSpPr txBox="1"/>
              <p:nvPr/>
            </p:nvSpPr>
            <p:spPr>
              <a:xfrm>
                <a:off x="2847460" y="3068965"/>
                <a:ext cx="3425666" cy="492499"/>
              </a:xfrm>
              <a:prstGeom prst="rect">
                <a:avLst/>
              </a:prstGeom>
              <a:noFill/>
              <a:ln w="12700">
                <a:noFill/>
              </a:ln>
            </p:spPr>
            <p:txBody>
              <a:bodyPr wrap="square" lIns="0" tIns="0" rIns="0" bIns="0" rtlCol="0" anchor="ctr">
                <a:spAutoFit/>
              </a:bodyPr>
              <a:lstStyle/>
              <a:p>
                <a:pPr algn="ctr" defTabSz="457109"/>
                <a:r>
                  <a:rPr lang="en-GB" sz="1600" b="1" spc="20">
                    <a:solidFill>
                      <a:schemeClr val="bg2">
                        <a:lumMod val="10000"/>
                      </a:schemeClr>
                    </a:solidFill>
                    <a:latin typeface="Arial" panose="020B0604020202020204" pitchFamily="34" charset="0"/>
                    <a:cs typeface="Arial" panose="020B0604020202020204" pitchFamily="34" charset="0"/>
                  </a:rPr>
                  <a:t>92%</a:t>
                </a:r>
              </a:p>
            </p:txBody>
          </p:sp>
          <p:sp>
            <p:nvSpPr>
              <p:cNvPr id="115" name="TextBox 114">
                <a:extLst>
                  <a:ext uri="{FF2B5EF4-FFF2-40B4-BE49-F238E27FC236}">
                    <a16:creationId xmlns:a16="http://schemas.microsoft.com/office/drawing/2014/main" id="{8193203A-BA96-4F48-80F8-8F5B59492434}"/>
                  </a:ext>
                </a:extLst>
              </p:cNvPr>
              <p:cNvSpPr txBox="1"/>
              <p:nvPr/>
            </p:nvSpPr>
            <p:spPr>
              <a:xfrm>
                <a:off x="2847460" y="3573652"/>
                <a:ext cx="3425666"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pPr algn="ctr"/>
                <a:r>
                  <a:rPr lang="en-GB" sz="900" b="0" cap="none">
                    <a:solidFill>
                      <a:schemeClr val="bg2">
                        <a:lumMod val="50000"/>
                      </a:schemeClr>
                    </a:solidFill>
                    <a:latin typeface="Arial" panose="020B0604020202020204" pitchFamily="34" charset="0"/>
                    <a:cs typeface="Arial" panose="020B0604020202020204" pitchFamily="34" charset="0"/>
                  </a:rPr>
                  <a:t>Target &gt;= 90%</a:t>
                </a:r>
              </a:p>
            </p:txBody>
          </p:sp>
        </p:grpSp>
        <p:graphicFrame>
          <p:nvGraphicFramePr>
            <p:cNvPr id="118" name="Chart 117">
              <a:extLst>
                <a:ext uri="{FF2B5EF4-FFF2-40B4-BE49-F238E27FC236}">
                  <a16:creationId xmlns:a16="http://schemas.microsoft.com/office/drawing/2014/main" id="{0308450F-913F-D24A-B1C2-16B251DCCF81}"/>
                </a:ext>
              </a:extLst>
            </p:cNvPr>
            <p:cNvGraphicFramePr/>
            <p:nvPr>
              <p:extLst>
                <p:ext uri="{D42A27DB-BD31-4B8C-83A1-F6EECF244321}">
                  <p14:modId xmlns:p14="http://schemas.microsoft.com/office/powerpoint/2010/main" val="2431265729"/>
                </p:ext>
              </p:extLst>
            </p:nvPr>
          </p:nvGraphicFramePr>
          <p:xfrm>
            <a:off x="4528137" y="3783851"/>
            <a:ext cx="3166726" cy="2256664"/>
          </p:xfrm>
          <a:graphic>
            <a:graphicData uri="http://schemas.openxmlformats.org/drawingml/2006/chart">
              <c:chart xmlns:c="http://schemas.openxmlformats.org/drawingml/2006/chart" xmlns:r="http://schemas.openxmlformats.org/officeDocument/2006/relationships" r:id="rId6"/>
            </a:graphicData>
          </a:graphic>
        </p:graphicFrame>
        <p:sp>
          <p:nvSpPr>
            <p:cNvPr id="119" name="Rectangle: Rounded Corners 38">
              <a:extLst>
                <a:ext uri="{FF2B5EF4-FFF2-40B4-BE49-F238E27FC236}">
                  <a16:creationId xmlns:a16="http://schemas.microsoft.com/office/drawing/2014/main" id="{B914A7E5-F2A3-E443-BF1F-FDFC195E94A6}"/>
                </a:ext>
              </a:extLst>
            </p:cNvPr>
            <p:cNvSpPr/>
            <p:nvPr/>
          </p:nvSpPr>
          <p:spPr>
            <a:xfrm>
              <a:off x="8052340" y="1378050"/>
              <a:ext cx="3447627" cy="4797521"/>
            </a:xfrm>
            <a:prstGeom prst="roundRect">
              <a:avLst>
                <a:gd name="adj" fmla="val 4167"/>
              </a:avLst>
            </a:prstGeom>
            <a:gradFill>
              <a:gsLst>
                <a:gs pos="32000">
                  <a:srgbClr val="F7F8F5"/>
                </a:gs>
                <a:gs pos="0">
                  <a:schemeClr val="bg1"/>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lumMod val="65000"/>
                    <a:lumOff val="35000"/>
                  </a:schemeClr>
                </a:solidFill>
                <a:latin typeface="Arial" panose="020B0604020202020204" pitchFamily="34" charset="0"/>
                <a:cs typeface="Arial" panose="020B0604020202020204" pitchFamily="34" charset="0"/>
              </a:endParaRPr>
            </a:p>
          </p:txBody>
        </p:sp>
        <p:sp>
          <p:nvSpPr>
            <p:cNvPr id="127" name="Rectangle: Rounded Corners 174">
              <a:extLst>
                <a:ext uri="{FF2B5EF4-FFF2-40B4-BE49-F238E27FC236}">
                  <a16:creationId xmlns:a16="http://schemas.microsoft.com/office/drawing/2014/main" id="{02667DD9-BD44-3548-99D1-75E24A0F981E}"/>
                </a:ext>
              </a:extLst>
            </p:cNvPr>
            <p:cNvSpPr/>
            <p:nvPr/>
          </p:nvSpPr>
          <p:spPr>
            <a:xfrm>
              <a:off x="8587032" y="1164899"/>
              <a:ext cx="2378241" cy="426302"/>
            </a:xfrm>
            <a:prstGeom prst="roundRect">
              <a:avLst>
                <a:gd name="adj" fmla="val 9620"/>
              </a:avLst>
            </a:prstGeom>
            <a:solidFill>
              <a:schemeClr val="bg1"/>
            </a:solidFill>
            <a:ln w="9525">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latin typeface="Arial" panose="020B0604020202020204" pitchFamily="34" charset="0"/>
                <a:cs typeface="Arial" panose="020B0604020202020204" pitchFamily="34" charset="0"/>
              </a:endParaRPr>
            </a:p>
          </p:txBody>
        </p:sp>
        <p:sp>
          <p:nvSpPr>
            <p:cNvPr id="128" name="Rectangle 127">
              <a:extLst>
                <a:ext uri="{FF2B5EF4-FFF2-40B4-BE49-F238E27FC236}">
                  <a16:creationId xmlns:a16="http://schemas.microsoft.com/office/drawing/2014/main" id="{6F9F656F-A21E-6E4F-9ED9-868D155A227A}"/>
                </a:ext>
              </a:extLst>
            </p:cNvPr>
            <p:cNvSpPr/>
            <p:nvPr/>
          </p:nvSpPr>
          <p:spPr>
            <a:xfrm>
              <a:off x="8587032" y="1216454"/>
              <a:ext cx="2378241" cy="323193"/>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7998" tIns="0" rIns="0" bIns="0" rtlCol="0" anchor="ctr"/>
            <a:lstStyle/>
            <a:p>
              <a:pPr algn="ctr"/>
              <a:r>
                <a:rPr lang="en-GB" sz="1000" spc="20">
                  <a:solidFill>
                    <a:schemeClr val="bg2">
                      <a:lumMod val="10000"/>
                    </a:schemeClr>
                  </a:solidFill>
                  <a:latin typeface="Arial" panose="020B0604020202020204" pitchFamily="34" charset="0"/>
                  <a:cs typeface="Arial" panose="020B0604020202020204" pitchFamily="34" charset="0"/>
                </a:rPr>
                <a:t>Customer Effort Score</a:t>
              </a:r>
            </a:p>
          </p:txBody>
        </p:sp>
        <p:grpSp>
          <p:nvGrpSpPr>
            <p:cNvPr id="6" name="Group 5">
              <a:extLst>
                <a:ext uri="{FF2B5EF4-FFF2-40B4-BE49-F238E27FC236}">
                  <a16:creationId xmlns:a16="http://schemas.microsoft.com/office/drawing/2014/main" id="{FD899B7F-0D1A-4048-8CC6-746EF7AD25C1}"/>
                </a:ext>
              </a:extLst>
            </p:cNvPr>
            <p:cNvGrpSpPr/>
            <p:nvPr/>
          </p:nvGrpSpPr>
          <p:grpSpPr>
            <a:xfrm>
              <a:off x="8257084" y="1882230"/>
              <a:ext cx="3027228" cy="1906382"/>
              <a:chOff x="16515461" y="3764896"/>
              <a:chExt cx="6055157" cy="3813205"/>
            </a:xfrm>
          </p:grpSpPr>
          <p:grpSp>
            <p:nvGrpSpPr>
              <p:cNvPr id="120" name="Group 119">
                <a:extLst>
                  <a:ext uri="{FF2B5EF4-FFF2-40B4-BE49-F238E27FC236}">
                    <a16:creationId xmlns:a16="http://schemas.microsoft.com/office/drawing/2014/main" id="{E38C9C5D-2AAF-9F44-BDBE-333110AC14F2}"/>
                  </a:ext>
                </a:extLst>
              </p:cNvPr>
              <p:cNvGrpSpPr/>
              <p:nvPr/>
            </p:nvGrpSpPr>
            <p:grpSpPr>
              <a:xfrm>
                <a:off x="17412180" y="3764896"/>
                <a:ext cx="4283537" cy="3813205"/>
                <a:chOff x="3000119" y="4661504"/>
                <a:chExt cx="3256587" cy="2899014"/>
              </a:xfrm>
            </p:grpSpPr>
            <p:sp>
              <p:nvSpPr>
                <p:cNvPr id="121" name="Pie 120">
                  <a:extLst>
                    <a:ext uri="{FF2B5EF4-FFF2-40B4-BE49-F238E27FC236}">
                      <a16:creationId xmlns:a16="http://schemas.microsoft.com/office/drawing/2014/main" id="{CB2AAAF5-BB4D-F343-8445-83395E17C20C}"/>
                    </a:ext>
                  </a:extLst>
                </p:cNvPr>
                <p:cNvSpPr/>
                <p:nvPr/>
              </p:nvSpPr>
              <p:spPr>
                <a:xfrm>
                  <a:off x="3016707" y="5897125"/>
                  <a:ext cx="3239999" cy="526514"/>
                </a:xfrm>
                <a:prstGeom prst="pie">
                  <a:avLst>
                    <a:gd name="adj1" fmla="val 17453599"/>
                    <a:gd name="adj2" fmla="val 29894"/>
                  </a:avLst>
                </a:prstGeom>
                <a:solidFill>
                  <a:srgbClr val="D9D9D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22" name="Pie 121">
                  <a:extLst>
                    <a:ext uri="{FF2B5EF4-FFF2-40B4-BE49-F238E27FC236}">
                      <a16:creationId xmlns:a16="http://schemas.microsoft.com/office/drawing/2014/main" id="{3487E30C-9385-254F-BD8D-1B9240F7D6CB}"/>
                    </a:ext>
                  </a:extLst>
                </p:cNvPr>
                <p:cNvSpPr/>
                <p:nvPr/>
              </p:nvSpPr>
              <p:spPr>
                <a:xfrm>
                  <a:off x="3015203" y="5899936"/>
                  <a:ext cx="3239999" cy="526514"/>
                </a:xfrm>
                <a:prstGeom prst="pie">
                  <a:avLst>
                    <a:gd name="adj1" fmla="val 13977784"/>
                    <a:gd name="adj2" fmla="val 17482465"/>
                  </a:avLst>
                </a:prstGeom>
                <a:solidFill>
                  <a:srgbClr val="ADAAAB"/>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23" name="Freeform 122">
                  <a:extLst>
                    <a:ext uri="{FF2B5EF4-FFF2-40B4-BE49-F238E27FC236}">
                      <a16:creationId xmlns:a16="http://schemas.microsoft.com/office/drawing/2014/main" id="{2D984828-D600-8F48-AB7C-D2343573297E}"/>
                    </a:ext>
                  </a:extLst>
                </p:cNvPr>
                <p:cNvSpPr/>
                <p:nvPr/>
              </p:nvSpPr>
              <p:spPr>
                <a:xfrm>
                  <a:off x="3222995" y="4799578"/>
                  <a:ext cx="2760068" cy="2760940"/>
                </a:xfrm>
                <a:custGeom>
                  <a:avLst/>
                  <a:gdLst>
                    <a:gd name="connsiteX0" fmla="*/ 2321088 w 4643685"/>
                    <a:gd name="connsiteY0" fmla="*/ 4645151 h 4645152"/>
                    <a:gd name="connsiteX1" fmla="*/ 2321130 w 4643685"/>
                    <a:gd name="connsiteY1" fmla="*/ 4645151 h 4645152"/>
                    <a:gd name="connsiteX2" fmla="*/ 2321109 w 4643685"/>
                    <a:gd name="connsiteY2" fmla="*/ 4645152 h 4645152"/>
                    <a:gd name="connsiteX3" fmla="*/ 4643684 w 4643685"/>
                    <a:gd name="connsiteY3" fmla="*/ 2322555 h 4645152"/>
                    <a:gd name="connsiteX4" fmla="*/ 4643685 w 4643685"/>
                    <a:gd name="connsiteY4" fmla="*/ 2322576 h 4645152"/>
                    <a:gd name="connsiteX5" fmla="*/ 4643684 w 4643685"/>
                    <a:gd name="connsiteY5" fmla="*/ 2322597 h 4645152"/>
                    <a:gd name="connsiteX6" fmla="*/ 2321109 w 4643685"/>
                    <a:gd name="connsiteY6" fmla="*/ 0 h 4645152"/>
                    <a:gd name="connsiteX7" fmla="*/ 4631694 w 4643685"/>
                    <a:gd name="connsiteY7" fmla="*/ 2085106 h 4645152"/>
                    <a:gd name="connsiteX8" fmla="*/ 4642219 w 4643685"/>
                    <a:gd name="connsiteY8" fmla="*/ 2293534 h 4645152"/>
                    <a:gd name="connsiteX9" fmla="*/ 0 w 4643685"/>
                    <a:gd name="connsiteY9" fmla="*/ 2293534 h 4645152"/>
                    <a:gd name="connsiteX10" fmla="*/ 10524 w 4643685"/>
                    <a:gd name="connsiteY10" fmla="*/ 2085106 h 4645152"/>
                    <a:gd name="connsiteX11" fmla="*/ 2321109 w 4643685"/>
                    <a:gd name="connsiteY11" fmla="*/ 0 h 464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43685" h="4645152">
                      <a:moveTo>
                        <a:pt x="2321088" y="4645151"/>
                      </a:moveTo>
                      <a:lnTo>
                        <a:pt x="2321130" y="4645151"/>
                      </a:lnTo>
                      <a:lnTo>
                        <a:pt x="2321109" y="4645152"/>
                      </a:lnTo>
                      <a:close/>
                      <a:moveTo>
                        <a:pt x="4643684" y="2322555"/>
                      </a:moveTo>
                      <a:lnTo>
                        <a:pt x="4643685" y="2322576"/>
                      </a:lnTo>
                      <a:lnTo>
                        <a:pt x="4643684" y="2322597"/>
                      </a:lnTo>
                      <a:close/>
                      <a:moveTo>
                        <a:pt x="2321109" y="0"/>
                      </a:moveTo>
                      <a:cubicBezTo>
                        <a:pt x="3523662" y="0"/>
                        <a:pt x="4512755" y="913933"/>
                        <a:pt x="4631694" y="2085106"/>
                      </a:cubicBezTo>
                      <a:lnTo>
                        <a:pt x="4642219" y="2293534"/>
                      </a:lnTo>
                      <a:lnTo>
                        <a:pt x="0" y="2293534"/>
                      </a:lnTo>
                      <a:lnTo>
                        <a:pt x="10524" y="2085106"/>
                      </a:lnTo>
                      <a:cubicBezTo>
                        <a:pt x="129463" y="913933"/>
                        <a:pt x="1118556" y="0"/>
                        <a:pt x="2321109" y="0"/>
                      </a:cubicBezTo>
                      <a:close/>
                    </a:path>
                  </a:pathLst>
                </a:custGeom>
                <a:solidFill>
                  <a:schemeClr val="accent6">
                    <a:lumMod val="40000"/>
                    <a:lumOff val="60000"/>
                  </a:schemeClr>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fromWordArt="0" anchor="ctr" anchorCtr="0" forceAA="0" compatLnSpc="1">
                  <a:prstTxWarp prst="textNoShape">
                    <a:avLst/>
                  </a:prstTxWarp>
                  <a:no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24" name="Pie 123">
                  <a:extLst>
                    <a:ext uri="{FF2B5EF4-FFF2-40B4-BE49-F238E27FC236}">
                      <a16:creationId xmlns:a16="http://schemas.microsoft.com/office/drawing/2014/main" id="{A0A8EA9C-107F-EF4A-8B77-8BDD6D4FBC23}"/>
                    </a:ext>
                  </a:extLst>
                </p:cNvPr>
                <p:cNvSpPr/>
                <p:nvPr/>
              </p:nvSpPr>
              <p:spPr>
                <a:xfrm>
                  <a:off x="3000119" y="5908727"/>
                  <a:ext cx="3239999" cy="526514"/>
                </a:xfrm>
                <a:prstGeom prst="pie">
                  <a:avLst>
                    <a:gd name="adj1" fmla="val 10812858"/>
                    <a:gd name="adj2" fmla="val 14033474"/>
                  </a:avLst>
                </a:prstGeom>
                <a:solidFill>
                  <a:srgbClr val="014049"/>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sp>
              <p:nvSpPr>
                <p:cNvPr id="125" name="Block Arc 124">
                  <a:extLst>
                    <a:ext uri="{FF2B5EF4-FFF2-40B4-BE49-F238E27FC236}">
                      <a16:creationId xmlns:a16="http://schemas.microsoft.com/office/drawing/2014/main" id="{94A2548E-A00B-7948-9747-235A42B29F31}"/>
                    </a:ext>
                  </a:extLst>
                </p:cNvPr>
                <p:cNvSpPr/>
                <p:nvPr/>
              </p:nvSpPr>
              <p:spPr>
                <a:xfrm>
                  <a:off x="3226074" y="4796862"/>
                  <a:ext cx="2743129" cy="2743129"/>
                </a:xfrm>
                <a:prstGeom prst="blockArc">
                  <a:avLst>
                    <a:gd name="adj1" fmla="val 10811775"/>
                    <a:gd name="adj2" fmla="val 14246196"/>
                    <a:gd name="adj3" fmla="val 48937"/>
                  </a:avLst>
                </a:prstGeom>
                <a:solidFill>
                  <a:schemeClr val="bg1"/>
                </a:solidFill>
                <a:ln w="12700" cap="flat">
                  <a:noFill/>
                  <a:miter lim="400000"/>
                </a:ln>
                <a:effectLst>
                  <a:innerShdw blurRad="393700" dist="50800" dir="18900000">
                    <a:prstClr val="black">
                      <a:alpha val="31000"/>
                    </a:prstClr>
                  </a:inn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667" hangingPunct="0"/>
                  <a:endParaRPr lang="en-US" sz="1600">
                    <a:solidFill>
                      <a:srgbClr val="FFFFFF"/>
                    </a:solidFill>
                    <a:latin typeface="Arial" panose="020B0604020202020204" pitchFamily="34" charset="0"/>
                    <a:cs typeface="Arial" panose="020B0604020202020204" pitchFamily="34" charset="0"/>
                    <a:sym typeface="Helvetica Neue Medium"/>
                  </a:endParaRPr>
                </a:p>
              </p:txBody>
            </p:sp>
            <p:cxnSp>
              <p:nvCxnSpPr>
                <p:cNvPr id="126" name="Straight Connector 125">
                  <a:extLst>
                    <a:ext uri="{FF2B5EF4-FFF2-40B4-BE49-F238E27FC236}">
                      <a16:creationId xmlns:a16="http://schemas.microsoft.com/office/drawing/2014/main" id="{E68CB18B-1E66-854A-B149-1A1CDDE2FCDC}"/>
                    </a:ext>
                  </a:extLst>
                </p:cNvPr>
                <p:cNvCxnSpPr>
                  <a:cxnSpLocks/>
                </p:cNvCxnSpPr>
                <p:nvPr/>
              </p:nvCxnSpPr>
              <p:spPr>
                <a:xfrm flipH="1" flipV="1">
                  <a:off x="3623094" y="4661504"/>
                  <a:ext cx="973004" cy="1514134"/>
                </a:xfrm>
                <a:prstGeom prst="line">
                  <a:avLst/>
                </a:prstGeom>
                <a:noFill/>
                <a:ln w="25400" cap="flat">
                  <a:gradFill>
                    <a:gsLst>
                      <a:gs pos="0">
                        <a:schemeClr val="tx1">
                          <a:lumMod val="50000"/>
                          <a:lumOff val="50000"/>
                        </a:schemeClr>
                      </a:gs>
                      <a:gs pos="100000">
                        <a:schemeClr val="bg2">
                          <a:lumMod val="10000"/>
                        </a:schemeClr>
                      </a:gs>
                    </a:gsLst>
                    <a:lin ang="10800000" scaled="0"/>
                  </a:gradFill>
                  <a:prstDash val="solid"/>
                  <a:miter lim="400000"/>
                  <a:headEnd type="oval" w="lg" len="lg"/>
                </a:ln>
                <a:effectLst>
                  <a:glow rad="76200">
                    <a:schemeClr val="bg2">
                      <a:alpha val="34000"/>
                    </a:schemeClr>
                  </a:glow>
                </a:effectLst>
                <a:sp3d/>
              </p:spPr>
              <p:style>
                <a:lnRef idx="0">
                  <a:scrgbClr r="0" g="0" b="0"/>
                </a:lnRef>
                <a:fillRef idx="0">
                  <a:scrgbClr r="0" g="0" b="0"/>
                </a:fillRef>
                <a:effectRef idx="0">
                  <a:scrgbClr r="0" g="0" b="0"/>
                </a:effectRef>
                <a:fontRef idx="none"/>
              </p:style>
            </p:cxnSp>
          </p:grpSp>
          <p:sp>
            <p:nvSpPr>
              <p:cNvPr id="129" name="TextBox 128">
                <a:extLst>
                  <a:ext uri="{FF2B5EF4-FFF2-40B4-BE49-F238E27FC236}">
                    <a16:creationId xmlns:a16="http://schemas.microsoft.com/office/drawing/2014/main" id="{B963CC32-5C9F-0E4C-9DA2-CE0C3B9CAA07}"/>
                  </a:ext>
                </a:extLst>
              </p:cNvPr>
              <p:cNvSpPr txBox="1"/>
              <p:nvPr/>
            </p:nvSpPr>
            <p:spPr>
              <a:xfrm>
                <a:off x="16515461" y="5501103"/>
                <a:ext cx="754459" cy="307812"/>
              </a:xfrm>
              <a:prstGeom prst="rect">
                <a:avLst/>
              </a:prstGeom>
              <a:noFill/>
              <a:ln w="12700">
                <a:noFill/>
              </a:ln>
            </p:spPr>
            <p:txBody>
              <a:bodyPr wrap="square" lIns="0" tIns="0" rIns="0" bIns="0" rtlCol="0" anchor="ctr">
                <a:spAutoFit/>
              </a:bodyPr>
              <a:lstStyle/>
              <a:p>
                <a:pPr algn="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sp>
            <p:nvSpPr>
              <p:cNvPr id="130" name="TextBox 129">
                <a:extLst>
                  <a:ext uri="{FF2B5EF4-FFF2-40B4-BE49-F238E27FC236}">
                    <a16:creationId xmlns:a16="http://schemas.microsoft.com/office/drawing/2014/main" id="{A55B881A-CFEB-6445-B74B-3CBCD4B8C3F6}"/>
                  </a:ext>
                </a:extLst>
              </p:cNvPr>
              <p:cNvSpPr txBox="1"/>
              <p:nvPr/>
            </p:nvSpPr>
            <p:spPr>
              <a:xfrm>
                <a:off x="21816159" y="5501103"/>
                <a:ext cx="754459" cy="307812"/>
              </a:xfrm>
              <a:prstGeom prst="rect">
                <a:avLst/>
              </a:prstGeom>
              <a:noFill/>
              <a:ln w="12700">
                <a:noFill/>
              </a:ln>
            </p:spPr>
            <p:txBody>
              <a:bodyPr wrap="square" lIns="0" tIns="0" rIns="0" bIns="0" rtlCol="0" anchor="ctr">
                <a:spAutoFit/>
              </a:bodyPr>
              <a:lstStyle/>
              <a:p>
                <a:pPr defTabSz="457109"/>
                <a:r>
                  <a:rPr lang="en-GB" sz="1000" spc="20">
                    <a:solidFill>
                      <a:schemeClr val="bg2">
                        <a:lumMod val="10000"/>
                      </a:schemeClr>
                    </a:solidFill>
                    <a:latin typeface="Arial" panose="020B0604020202020204" pitchFamily="34" charset="0"/>
                    <a:cs typeface="Arial" panose="020B0604020202020204" pitchFamily="34" charset="0"/>
                  </a:rPr>
                  <a:t>+100</a:t>
                </a:r>
              </a:p>
            </p:txBody>
          </p:sp>
        </p:grpSp>
        <p:grpSp>
          <p:nvGrpSpPr>
            <p:cNvPr id="131" name="Group 130">
              <a:extLst>
                <a:ext uri="{FF2B5EF4-FFF2-40B4-BE49-F238E27FC236}">
                  <a16:creationId xmlns:a16="http://schemas.microsoft.com/office/drawing/2014/main" id="{71DF7562-6D94-FD44-8B47-30328127B413}"/>
                </a:ext>
              </a:extLst>
            </p:cNvPr>
            <p:cNvGrpSpPr/>
            <p:nvPr/>
          </p:nvGrpSpPr>
          <p:grpSpPr>
            <a:xfrm>
              <a:off x="8847397" y="3093867"/>
              <a:ext cx="1815011" cy="629927"/>
              <a:chOff x="2504097" y="2869228"/>
              <a:chExt cx="4078800" cy="1260000"/>
            </a:xfrm>
          </p:grpSpPr>
          <p:sp>
            <p:nvSpPr>
              <p:cNvPr id="132" name="Rectangle: Rounded Corners 45">
                <a:extLst>
                  <a:ext uri="{FF2B5EF4-FFF2-40B4-BE49-F238E27FC236}">
                    <a16:creationId xmlns:a16="http://schemas.microsoft.com/office/drawing/2014/main" id="{C426C24C-9E58-5048-B723-50554C4C04F8}"/>
                  </a:ext>
                </a:extLst>
              </p:cNvPr>
              <p:cNvSpPr/>
              <p:nvPr/>
            </p:nvSpPr>
            <p:spPr>
              <a:xfrm>
                <a:off x="2504097" y="2869228"/>
                <a:ext cx="4078800" cy="1260000"/>
              </a:xfrm>
              <a:prstGeom prst="roundRect">
                <a:avLst>
                  <a:gd name="adj" fmla="val 11735"/>
                </a:avLst>
              </a:prstGeom>
              <a:solidFill>
                <a:schemeClr val="bg1"/>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BF8C9DC8-ACEC-DE4C-9CBE-64E4373AE288}"/>
                  </a:ext>
                </a:extLst>
              </p:cNvPr>
              <p:cNvSpPr txBox="1"/>
              <p:nvPr/>
            </p:nvSpPr>
            <p:spPr>
              <a:xfrm>
                <a:off x="2847460" y="3068965"/>
                <a:ext cx="3425666" cy="492499"/>
              </a:xfrm>
              <a:prstGeom prst="rect">
                <a:avLst/>
              </a:prstGeom>
              <a:noFill/>
              <a:ln w="12700">
                <a:noFill/>
              </a:ln>
            </p:spPr>
            <p:txBody>
              <a:bodyPr wrap="square" lIns="0" tIns="0" rIns="0" bIns="0" rtlCol="0" anchor="ctr">
                <a:spAutoFit/>
              </a:bodyPr>
              <a:lstStyle/>
              <a:p>
                <a:pPr algn="ctr" defTabSz="457109"/>
                <a:r>
                  <a:rPr lang="en-GB" sz="1600" b="1" spc="20">
                    <a:solidFill>
                      <a:schemeClr val="bg2">
                        <a:lumMod val="10000"/>
                      </a:schemeClr>
                    </a:solidFill>
                    <a:latin typeface="Arial" panose="020B0604020202020204" pitchFamily="34" charset="0"/>
                    <a:cs typeface="Arial" panose="020B0604020202020204" pitchFamily="34" charset="0"/>
                  </a:rPr>
                  <a:t>1.7</a:t>
                </a:r>
              </a:p>
            </p:txBody>
          </p:sp>
          <p:sp>
            <p:nvSpPr>
              <p:cNvPr id="134" name="TextBox 133">
                <a:extLst>
                  <a:ext uri="{FF2B5EF4-FFF2-40B4-BE49-F238E27FC236}">
                    <a16:creationId xmlns:a16="http://schemas.microsoft.com/office/drawing/2014/main" id="{C18B97CE-39AB-554D-8FE6-1AD87E8F148F}"/>
                  </a:ext>
                </a:extLst>
              </p:cNvPr>
              <p:cNvSpPr txBox="1"/>
              <p:nvPr/>
            </p:nvSpPr>
            <p:spPr>
              <a:xfrm>
                <a:off x="2847460" y="3573652"/>
                <a:ext cx="3425666" cy="277030"/>
              </a:xfrm>
              <a:prstGeom prst="rect">
                <a:avLst/>
              </a:prstGeom>
              <a:noFill/>
            </p:spPr>
            <p:txBody>
              <a:bodyPr wrap="square" lIns="0" tIns="0" rIns="0" bIns="0" rtlCol="0" anchor="b">
                <a:spAutoFit/>
              </a:bodyPr>
              <a:lstStyle>
                <a:defPPr>
                  <a:defRPr lang="en-US"/>
                </a:defPPr>
                <a:lvl1pPr defTabSz="2438522">
                  <a:lnSpc>
                    <a:spcPct val="100000"/>
                  </a:lnSpc>
                  <a:defRPr sz="2800" b="1" cap="all" spc="40">
                    <a:solidFill>
                      <a:srgbClr val="2E2E2E"/>
                    </a:solidFill>
                    <a:latin typeface="+mj-lt"/>
                    <a:cs typeface="+mj-cs"/>
                  </a:defRPr>
                </a:lvl1pPr>
              </a:lstStyle>
              <a:p>
                <a:pPr algn="ctr"/>
                <a:r>
                  <a:rPr lang="en-GB" sz="900" b="0" cap="none">
                    <a:solidFill>
                      <a:schemeClr val="bg2">
                        <a:lumMod val="50000"/>
                      </a:schemeClr>
                    </a:solidFill>
                    <a:latin typeface="Arial" panose="020B0604020202020204" pitchFamily="34" charset="0"/>
                    <a:cs typeface="Arial" panose="020B0604020202020204" pitchFamily="34" charset="0"/>
                  </a:rPr>
                  <a:t>Detractors Efforts</a:t>
                </a:r>
              </a:p>
            </p:txBody>
          </p:sp>
        </p:grpSp>
      </p:grpSp>
      <p:graphicFrame>
        <p:nvGraphicFramePr>
          <p:cNvPr id="135" name="Chart 134">
            <a:extLst>
              <a:ext uri="{FF2B5EF4-FFF2-40B4-BE49-F238E27FC236}">
                <a16:creationId xmlns:a16="http://schemas.microsoft.com/office/drawing/2014/main" id="{5AF6D40B-798D-6F45-86CB-C1329A832141}"/>
              </a:ext>
            </a:extLst>
          </p:cNvPr>
          <p:cNvGraphicFramePr/>
          <p:nvPr/>
        </p:nvGraphicFramePr>
        <p:xfrm>
          <a:off x="7905016" y="3093867"/>
          <a:ext cx="3751200" cy="3506235"/>
        </p:xfrm>
        <a:graphic>
          <a:graphicData uri="http://schemas.openxmlformats.org/drawingml/2006/chart">
            <c:chart xmlns:c="http://schemas.openxmlformats.org/drawingml/2006/chart" xmlns:r="http://schemas.openxmlformats.org/officeDocument/2006/relationships" r:id="rId7"/>
          </a:graphicData>
        </a:graphic>
      </p:graphicFrame>
      <p:sp>
        <p:nvSpPr>
          <p:cNvPr id="7" name="Inhaltsplatzhalter 6">
            <a:extLst>
              <a:ext uri="{FF2B5EF4-FFF2-40B4-BE49-F238E27FC236}">
                <a16:creationId xmlns:a16="http://schemas.microsoft.com/office/drawing/2014/main" id="{91A5433E-46DB-5542-86FB-3D760CCECA5F}"/>
              </a:ext>
            </a:extLst>
          </p:cNvPr>
          <p:cNvSpPr>
            <a:spLocks noGrp="1"/>
          </p:cNvSpPr>
          <p:nvPr>
            <p:ph sz="quarter" idx="10"/>
          </p:nvPr>
        </p:nvSpPr>
        <p:spPr/>
        <p:txBody>
          <a:bodyPr/>
          <a:lstStyle/>
          <a:p>
            <a:endParaRPr lang="en-GB">
              <a:latin typeface="Arial" panose="020B0604020202020204" pitchFamily="34" charset="0"/>
              <a:cs typeface="Arial" panose="020B0604020202020204" pitchFamily="34" charset="0"/>
            </a:endParaRPr>
          </a:p>
        </p:txBody>
      </p:sp>
      <p:sp>
        <p:nvSpPr>
          <p:cNvPr id="10" name="Textplatzhalter 9">
            <a:extLst>
              <a:ext uri="{FF2B5EF4-FFF2-40B4-BE49-F238E27FC236}">
                <a16:creationId xmlns:a16="http://schemas.microsoft.com/office/drawing/2014/main" id="{8F2496B3-D547-3C48-80B1-9EADAE0F2135}"/>
              </a:ext>
            </a:extLst>
          </p:cNvPr>
          <p:cNvSpPr>
            <a:spLocks noGrp="1"/>
          </p:cNvSpPr>
          <p:nvPr>
            <p:ph type="body" sz="quarter" idx="12"/>
          </p:nvPr>
        </p:nvSpPr>
        <p:spPr/>
        <p:txBody>
          <a:bodyPr/>
          <a:lstStyle/>
          <a:p>
            <a:endParaRPr lang="en-GB"/>
          </a:p>
        </p:txBody>
      </p:sp>
      <p:sp>
        <p:nvSpPr>
          <p:cNvPr id="12" name="Inhaltsplatzhalter 11">
            <a:extLst>
              <a:ext uri="{FF2B5EF4-FFF2-40B4-BE49-F238E27FC236}">
                <a16:creationId xmlns:a16="http://schemas.microsoft.com/office/drawing/2014/main" id="{6B634D7F-BE43-AF4C-9271-DCBC90EA8ED8}"/>
              </a:ext>
            </a:extLst>
          </p:cNvPr>
          <p:cNvSpPr>
            <a:spLocks noGrp="1"/>
          </p:cNvSpPr>
          <p:nvPr>
            <p:ph sz="quarter" idx="14"/>
          </p:nvPr>
        </p:nvSpPr>
        <p:spPr/>
        <p:txBody>
          <a:bodyPr/>
          <a:lstStyle/>
          <a:p>
            <a:endParaRPr lang="en-GB"/>
          </a:p>
        </p:txBody>
      </p:sp>
      <p:sp>
        <p:nvSpPr>
          <p:cNvPr id="76" name="Titel 2">
            <a:extLst>
              <a:ext uri="{FF2B5EF4-FFF2-40B4-BE49-F238E27FC236}">
                <a16:creationId xmlns:a16="http://schemas.microsoft.com/office/drawing/2014/main" id="{D48F0C6A-C13C-E348-9EA2-8C8974DBCE7D}"/>
              </a:ext>
            </a:extLst>
          </p:cNvPr>
          <p:cNvSpPr>
            <a:spLocks noGrp="1"/>
          </p:cNvSpPr>
          <p:nvPr>
            <p:ph type="title"/>
          </p:nvPr>
        </p:nvSpPr>
        <p:spPr>
          <a:xfrm>
            <a:off x="365682" y="397932"/>
            <a:ext cx="9940367" cy="795805"/>
          </a:xfrm>
        </p:spPr>
        <p:txBody>
          <a:bodyPr vert="horz"/>
          <a:lstStyle/>
          <a:p>
            <a:pPr defTabSz="412709" hangingPunct="0">
              <a:defRPr/>
            </a:pPr>
            <a:r>
              <a:rPr lang="en-US" kern="0">
                <a:solidFill>
                  <a:srgbClr val="014049"/>
                </a:solidFill>
                <a:latin typeface="Century Gothic" panose="020B0502020202020204" pitchFamily="34" charset="0"/>
                <a:ea typeface="Helvetica Neue"/>
                <a:cs typeface="Helvetica Neue"/>
                <a:sym typeface="Helvetica Neue"/>
              </a:rPr>
              <a:t>Customer Satisfaction KPI Dashboard</a:t>
            </a:r>
          </a:p>
        </p:txBody>
      </p:sp>
      <p:sp>
        <p:nvSpPr>
          <p:cNvPr id="77" name="Rectangle 76">
            <a:extLst>
              <a:ext uri="{FF2B5EF4-FFF2-40B4-BE49-F238E27FC236}">
                <a16:creationId xmlns:a16="http://schemas.microsoft.com/office/drawing/2014/main" id="{BC693C38-C101-C342-A0EA-8D3840405CF0}"/>
              </a:ext>
            </a:extLst>
          </p:cNvPr>
          <p:cNvSpPr/>
          <p:nvPr/>
        </p:nvSpPr>
        <p:spPr>
          <a:xfrm>
            <a:off x="9518507" y="-27275"/>
            <a:ext cx="2671454" cy="96707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Animation</a:t>
            </a:r>
          </a:p>
        </p:txBody>
      </p:sp>
    </p:spTree>
    <p:extLst>
      <p:ext uri="{BB962C8B-B14F-4D97-AF65-F5344CB8AC3E}">
        <p14:creationId xmlns:p14="http://schemas.microsoft.com/office/powerpoint/2010/main" val="868372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wipe(left)">
                                      <p:cBhvr>
                                        <p:cTn id="7" dur="20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5" grpId="0">
        <p:bldAsOne/>
      </p:bldGraphic>
    </p:bld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 name="Object 97" hidden="1">
            <a:extLst>
              <a:ext uri="{FF2B5EF4-FFF2-40B4-BE49-F238E27FC236}">
                <a16:creationId xmlns:a16="http://schemas.microsoft.com/office/drawing/2014/main" id="{96327BCF-E8DE-AE4D-96A7-24201A611D95}"/>
              </a:ext>
            </a:extLst>
          </p:cNvPr>
          <p:cNvGraphicFramePr>
            <a:graphicFrameLocks noChangeAspect="1"/>
          </p:cNvGraphicFramePr>
          <p:nvPr>
            <p:custDataLst>
              <p:tags r:id="rId1"/>
            </p:custDataLst>
            <p:extLst>
              <p:ext uri="{D42A27DB-BD31-4B8C-83A1-F6EECF244321}">
                <p14:modId xmlns:p14="http://schemas.microsoft.com/office/powerpoint/2010/main" val="8969234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8" name="Object 97" hidden="1">
                        <a:extLst>
                          <a:ext uri="{FF2B5EF4-FFF2-40B4-BE49-F238E27FC236}">
                            <a16:creationId xmlns:a16="http://schemas.microsoft.com/office/drawing/2014/main" id="{96327BCF-E8DE-AE4D-96A7-24201A611D9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464A2380-0FB1-EA47-9C56-775A1D660F7F}"/>
              </a:ext>
            </a:extLst>
          </p:cNvPr>
          <p:cNvSpPr>
            <a:spLocks noGrp="1"/>
          </p:cNvSpPr>
          <p:nvPr>
            <p:ph type="sldNum" sz="quarter" idx="4"/>
          </p:nvPr>
        </p:nvSpPr>
        <p:spPr/>
        <p:txBody>
          <a:bodyPr/>
          <a:lstStyle/>
          <a:p>
            <a:fld id="{3D966009-6E5A-4F8C-8CA7-E37AFBF5FB92}" type="slidenum">
              <a:rPr lang="en-US" smtClean="0"/>
              <a:t>182</a:t>
            </a:fld>
            <a:endParaRPr lang="en-US"/>
          </a:p>
        </p:txBody>
      </p:sp>
      <p:sp>
        <p:nvSpPr>
          <p:cNvPr id="3" name="Titel 2">
            <a:extLst>
              <a:ext uri="{FF2B5EF4-FFF2-40B4-BE49-F238E27FC236}">
                <a16:creationId xmlns:a16="http://schemas.microsoft.com/office/drawing/2014/main" id="{7A1E9BAC-D8EF-C748-83AE-DE90BE4ABF41}"/>
              </a:ext>
            </a:extLst>
          </p:cNvPr>
          <p:cNvSpPr>
            <a:spLocks noGrp="1"/>
          </p:cNvSpPr>
          <p:nvPr>
            <p:ph type="title"/>
          </p:nvPr>
        </p:nvSpPr>
        <p:spPr/>
        <p:txBody>
          <a:bodyPr vert="horz"/>
          <a:lstStyle/>
          <a:p>
            <a:pPr lvl="0" defTabSz="914400">
              <a:lnSpc>
                <a:spcPct val="100000"/>
              </a:lnSpc>
              <a:spcBef>
                <a:spcPts val="0"/>
              </a:spcBef>
              <a:defRPr/>
            </a:pPr>
            <a:r>
              <a:rPr lang="en-US">
                <a:solidFill>
                  <a:srgbClr val="465162"/>
                </a:solidFill>
                <a:latin typeface="Century Gothic" panose="020B0502020202020204" pitchFamily="34" charset="0"/>
                <a:cs typeface="Arial"/>
              </a:rPr>
              <a:t>Process Automation</a:t>
            </a:r>
          </a:p>
        </p:txBody>
      </p:sp>
      <p:sp>
        <p:nvSpPr>
          <p:cNvPr id="4" name="Inhaltsplatzhalter 3">
            <a:extLst>
              <a:ext uri="{FF2B5EF4-FFF2-40B4-BE49-F238E27FC236}">
                <a16:creationId xmlns:a16="http://schemas.microsoft.com/office/drawing/2014/main" id="{E942267E-B67C-4E4D-A70E-FBF662FE7103}"/>
              </a:ext>
            </a:extLst>
          </p:cNvPr>
          <p:cNvSpPr>
            <a:spLocks noGrp="1"/>
          </p:cNvSpPr>
          <p:nvPr>
            <p:ph sz="quarter" idx="10"/>
          </p:nvPr>
        </p:nvSpPr>
        <p:spPr/>
        <p:txBody>
          <a:bodyPr/>
          <a:lstStyle/>
          <a:p>
            <a:endParaRPr lang="en-GB"/>
          </a:p>
        </p:txBody>
      </p:sp>
      <p:sp>
        <p:nvSpPr>
          <p:cNvPr id="6" name="Textplatzhalter 5">
            <a:extLst>
              <a:ext uri="{FF2B5EF4-FFF2-40B4-BE49-F238E27FC236}">
                <a16:creationId xmlns:a16="http://schemas.microsoft.com/office/drawing/2014/main" id="{6D23E367-FA5C-5042-BCFB-1F2D19B2D29E}"/>
              </a:ext>
            </a:extLst>
          </p:cNvPr>
          <p:cNvSpPr>
            <a:spLocks noGrp="1"/>
          </p:cNvSpPr>
          <p:nvPr>
            <p:ph type="body" sz="quarter" idx="12"/>
          </p:nvPr>
        </p:nvSpPr>
        <p:spPr/>
        <p:txBody>
          <a:bodyPr/>
          <a:lstStyle/>
          <a:p>
            <a:endParaRPr lang="en-GB"/>
          </a:p>
        </p:txBody>
      </p:sp>
      <p:sp>
        <p:nvSpPr>
          <p:cNvPr id="7" name="Textplatzhalter 6">
            <a:extLst>
              <a:ext uri="{FF2B5EF4-FFF2-40B4-BE49-F238E27FC236}">
                <a16:creationId xmlns:a16="http://schemas.microsoft.com/office/drawing/2014/main" id="{A16F090E-9521-BA45-B6D4-A866E27385EB}"/>
              </a:ext>
            </a:extLst>
          </p:cNvPr>
          <p:cNvSpPr>
            <a:spLocks noGrp="1"/>
          </p:cNvSpPr>
          <p:nvPr>
            <p:ph type="body" sz="quarter" idx="13"/>
          </p:nvPr>
        </p:nvSpPr>
        <p:spPr/>
        <p:txBody>
          <a:bodyPr/>
          <a:lstStyle/>
          <a:p>
            <a:endParaRPr lang="en-GB"/>
          </a:p>
        </p:txBody>
      </p:sp>
      <p:sp>
        <p:nvSpPr>
          <p:cNvPr id="8" name="Inhaltsplatzhalter 7">
            <a:extLst>
              <a:ext uri="{FF2B5EF4-FFF2-40B4-BE49-F238E27FC236}">
                <a16:creationId xmlns:a16="http://schemas.microsoft.com/office/drawing/2014/main" id="{9D82BAFD-20D1-014D-B114-EAC4BB72B240}"/>
              </a:ext>
            </a:extLst>
          </p:cNvPr>
          <p:cNvSpPr>
            <a:spLocks noGrp="1"/>
          </p:cNvSpPr>
          <p:nvPr>
            <p:ph sz="quarter" idx="14"/>
          </p:nvPr>
        </p:nvSpPr>
        <p:spPr/>
        <p:txBody>
          <a:bodyPr/>
          <a:lstStyle/>
          <a:p>
            <a:endParaRPr lang="en-GB"/>
          </a:p>
        </p:txBody>
      </p:sp>
      <p:grpSp>
        <p:nvGrpSpPr>
          <p:cNvPr id="9" name="Group 216">
            <a:extLst>
              <a:ext uri="{FF2B5EF4-FFF2-40B4-BE49-F238E27FC236}">
                <a16:creationId xmlns:a16="http://schemas.microsoft.com/office/drawing/2014/main" id="{0C0853CE-04D7-7540-8EE2-A558C181F7AE}"/>
              </a:ext>
            </a:extLst>
          </p:cNvPr>
          <p:cNvGrpSpPr/>
          <p:nvPr/>
        </p:nvGrpSpPr>
        <p:grpSpPr>
          <a:xfrm>
            <a:off x="-1016836" y="-1274356"/>
            <a:ext cx="5485270" cy="6123226"/>
            <a:chOff x="-1343478" y="-1394857"/>
            <a:chExt cx="5485270" cy="6123226"/>
          </a:xfrm>
          <a:solidFill>
            <a:schemeClr val="bg1">
              <a:lumMod val="85000"/>
            </a:schemeClr>
          </a:solidFill>
        </p:grpSpPr>
        <p:grpSp>
          <p:nvGrpSpPr>
            <p:cNvPr id="10" name="Group 217">
              <a:extLst>
                <a:ext uri="{FF2B5EF4-FFF2-40B4-BE49-F238E27FC236}">
                  <a16:creationId xmlns:a16="http://schemas.microsoft.com/office/drawing/2014/main" id="{90FA35E9-1CC1-3448-9BF9-BC633816A2C1}"/>
                </a:ext>
              </a:extLst>
            </p:cNvPr>
            <p:cNvGrpSpPr/>
            <p:nvPr/>
          </p:nvGrpSpPr>
          <p:grpSpPr>
            <a:xfrm rot="12597560" flipH="1">
              <a:off x="-1343478" y="-360857"/>
              <a:ext cx="5485270" cy="4256452"/>
              <a:chOff x="2438400" y="1005871"/>
              <a:chExt cx="6414912" cy="4977834"/>
            </a:xfrm>
            <a:grpFill/>
          </p:grpSpPr>
          <p:cxnSp>
            <p:nvCxnSpPr>
              <p:cNvPr id="21" name="Straight Connector 228">
                <a:extLst>
                  <a:ext uri="{FF2B5EF4-FFF2-40B4-BE49-F238E27FC236}">
                    <a16:creationId xmlns:a16="http://schemas.microsoft.com/office/drawing/2014/main" id="{E98B5D26-AB2A-AD42-9940-4E863BFA5E6A}"/>
                  </a:ext>
                </a:extLst>
              </p:cNvPr>
              <p:cNvCxnSpPr/>
              <p:nvPr/>
            </p:nvCxnSpPr>
            <p:spPr>
              <a:xfrm flipV="1">
                <a:off x="2614864" y="3850105"/>
                <a:ext cx="1411705" cy="2133600"/>
              </a:xfrm>
              <a:prstGeom prst="line">
                <a:avLst/>
              </a:prstGeom>
              <a:grpFill/>
              <a:ln w="6350" cap="flat" cmpd="sng" algn="ctr">
                <a:solidFill>
                  <a:srgbClr val="DBE2ED"/>
                </a:solidFill>
                <a:prstDash val="solid"/>
                <a:miter lim="800000"/>
              </a:ln>
              <a:effectLst/>
            </p:spPr>
          </p:cxnSp>
          <p:cxnSp>
            <p:nvCxnSpPr>
              <p:cNvPr id="22" name="Straight Connector 229">
                <a:extLst>
                  <a:ext uri="{FF2B5EF4-FFF2-40B4-BE49-F238E27FC236}">
                    <a16:creationId xmlns:a16="http://schemas.microsoft.com/office/drawing/2014/main" id="{0ACE59F7-3D43-534E-B44A-2C8FDA803C7C}"/>
                  </a:ext>
                </a:extLst>
              </p:cNvPr>
              <p:cNvCxnSpPr/>
              <p:nvPr/>
            </p:nvCxnSpPr>
            <p:spPr>
              <a:xfrm>
                <a:off x="4026569" y="3866147"/>
                <a:ext cx="1267327" cy="882316"/>
              </a:xfrm>
              <a:prstGeom prst="line">
                <a:avLst/>
              </a:prstGeom>
              <a:grpFill/>
              <a:ln w="6350" cap="flat" cmpd="sng" algn="ctr">
                <a:solidFill>
                  <a:srgbClr val="DBE2ED"/>
                </a:solidFill>
                <a:prstDash val="solid"/>
                <a:miter lim="800000"/>
              </a:ln>
              <a:effectLst/>
            </p:spPr>
          </p:cxnSp>
          <p:cxnSp>
            <p:nvCxnSpPr>
              <p:cNvPr id="23" name="Straight Connector 230">
                <a:extLst>
                  <a:ext uri="{FF2B5EF4-FFF2-40B4-BE49-F238E27FC236}">
                    <a16:creationId xmlns:a16="http://schemas.microsoft.com/office/drawing/2014/main" id="{6F3FFBA0-1F8C-3F4E-8D97-19FF7F19C4C3}"/>
                  </a:ext>
                </a:extLst>
              </p:cNvPr>
              <p:cNvCxnSpPr/>
              <p:nvPr/>
            </p:nvCxnSpPr>
            <p:spPr>
              <a:xfrm flipH="1">
                <a:off x="2614864" y="4780546"/>
                <a:ext cx="2662990" cy="1199465"/>
              </a:xfrm>
              <a:prstGeom prst="line">
                <a:avLst/>
              </a:prstGeom>
              <a:grpFill/>
              <a:ln w="6350" cap="flat" cmpd="sng" algn="ctr">
                <a:solidFill>
                  <a:srgbClr val="DBE2ED"/>
                </a:solidFill>
                <a:prstDash val="solid"/>
                <a:miter lim="800000"/>
              </a:ln>
              <a:effectLst/>
            </p:spPr>
          </p:cxnSp>
          <p:cxnSp>
            <p:nvCxnSpPr>
              <p:cNvPr id="24" name="Straight Connector 231">
                <a:extLst>
                  <a:ext uri="{FF2B5EF4-FFF2-40B4-BE49-F238E27FC236}">
                    <a16:creationId xmlns:a16="http://schemas.microsoft.com/office/drawing/2014/main" id="{3D62FD40-BA34-DA4A-B565-4738B5EBFA1A}"/>
                  </a:ext>
                </a:extLst>
              </p:cNvPr>
              <p:cNvCxnSpPr/>
              <p:nvPr/>
            </p:nvCxnSpPr>
            <p:spPr>
              <a:xfrm>
                <a:off x="2470486" y="3850104"/>
                <a:ext cx="2823411" cy="914400"/>
              </a:xfrm>
              <a:prstGeom prst="line">
                <a:avLst/>
              </a:prstGeom>
              <a:grpFill/>
              <a:ln w="6350" cap="flat" cmpd="sng" algn="ctr">
                <a:solidFill>
                  <a:srgbClr val="DBE2ED"/>
                </a:solidFill>
                <a:prstDash val="solid"/>
                <a:miter lim="800000"/>
              </a:ln>
              <a:effectLst/>
            </p:spPr>
          </p:cxnSp>
          <p:cxnSp>
            <p:nvCxnSpPr>
              <p:cNvPr id="25" name="Straight Connector 232">
                <a:extLst>
                  <a:ext uri="{FF2B5EF4-FFF2-40B4-BE49-F238E27FC236}">
                    <a16:creationId xmlns:a16="http://schemas.microsoft.com/office/drawing/2014/main" id="{2773AD04-8B61-A94A-BFC5-07FFEF716722}"/>
                  </a:ext>
                </a:extLst>
              </p:cNvPr>
              <p:cNvCxnSpPr/>
              <p:nvPr/>
            </p:nvCxnSpPr>
            <p:spPr>
              <a:xfrm flipV="1">
                <a:off x="2438400" y="2823411"/>
                <a:ext cx="3834063" cy="1026694"/>
              </a:xfrm>
              <a:prstGeom prst="line">
                <a:avLst/>
              </a:prstGeom>
              <a:grpFill/>
              <a:ln w="6350" cap="flat" cmpd="sng" algn="ctr">
                <a:solidFill>
                  <a:srgbClr val="DBE2ED"/>
                </a:solidFill>
                <a:prstDash val="solid"/>
                <a:miter lim="800000"/>
              </a:ln>
              <a:effectLst/>
            </p:spPr>
          </p:cxnSp>
          <p:cxnSp>
            <p:nvCxnSpPr>
              <p:cNvPr id="26" name="Straight Connector 233">
                <a:extLst>
                  <a:ext uri="{FF2B5EF4-FFF2-40B4-BE49-F238E27FC236}">
                    <a16:creationId xmlns:a16="http://schemas.microsoft.com/office/drawing/2014/main" id="{6DFC1501-BA91-704B-BD83-2393E4E1F599}"/>
                  </a:ext>
                </a:extLst>
              </p:cNvPr>
              <p:cNvCxnSpPr>
                <a:cxnSpLocks/>
              </p:cNvCxnSpPr>
              <p:nvPr/>
            </p:nvCxnSpPr>
            <p:spPr>
              <a:xfrm flipH="1" flipV="1">
                <a:off x="4660231" y="2180695"/>
                <a:ext cx="1666449" cy="649161"/>
              </a:xfrm>
              <a:prstGeom prst="line">
                <a:avLst/>
              </a:prstGeom>
              <a:grpFill/>
              <a:ln w="6350" cap="flat" cmpd="sng" algn="ctr">
                <a:solidFill>
                  <a:srgbClr val="DBE2ED"/>
                </a:solidFill>
                <a:prstDash val="solid"/>
                <a:miter lim="800000"/>
              </a:ln>
              <a:effectLst/>
            </p:spPr>
          </p:cxnSp>
          <p:cxnSp>
            <p:nvCxnSpPr>
              <p:cNvPr id="27" name="Straight Connector 234">
                <a:extLst>
                  <a:ext uri="{FF2B5EF4-FFF2-40B4-BE49-F238E27FC236}">
                    <a16:creationId xmlns:a16="http://schemas.microsoft.com/office/drawing/2014/main" id="{0E447A25-DA29-6B4B-863F-C701C1032E2A}"/>
                  </a:ext>
                </a:extLst>
              </p:cNvPr>
              <p:cNvCxnSpPr/>
              <p:nvPr/>
            </p:nvCxnSpPr>
            <p:spPr>
              <a:xfrm flipH="1">
                <a:off x="4026568" y="2130451"/>
                <a:ext cx="633663" cy="1732003"/>
              </a:xfrm>
              <a:prstGeom prst="line">
                <a:avLst/>
              </a:prstGeom>
              <a:grpFill/>
              <a:ln w="6350" cap="flat" cmpd="sng" algn="ctr">
                <a:solidFill>
                  <a:srgbClr val="DBE2ED"/>
                </a:solidFill>
                <a:prstDash val="solid"/>
                <a:miter lim="800000"/>
              </a:ln>
              <a:effectLst/>
            </p:spPr>
          </p:cxnSp>
          <p:cxnSp>
            <p:nvCxnSpPr>
              <p:cNvPr id="28" name="Straight Connector 235">
                <a:extLst>
                  <a:ext uri="{FF2B5EF4-FFF2-40B4-BE49-F238E27FC236}">
                    <a16:creationId xmlns:a16="http://schemas.microsoft.com/office/drawing/2014/main" id="{CD8CB79A-E606-5146-BBF1-CDA7819127FD}"/>
                  </a:ext>
                </a:extLst>
              </p:cNvPr>
              <p:cNvCxnSpPr/>
              <p:nvPr/>
            </p:nvCxnSpPr>
            <p:spPr>
              <a:xfrm>
                <a:off x="4058654" y="3900351"/>
                <a:ext cx="3547859" cy="1029176"/>
              </a:xfrm>
              <a:prstGeom prst="line">
                <a:avLst/>
              </a:prstGeom>
              <a:grpFill/>
              <a:ln w="6350" cap="flat" cmpd="sng" algn="ctr">
                <a:solidFill>
                  <a:srgbClr val="DBE2ED"/>
                </a:solidFill>
                <a:prstDash val="solid"/>
                <a:miter lim="800000"/>
              </a:ln>
              <a:effectLst/>
            </p:spPr>
          </p:cxnSp>
          <p:cxnSp>
            <p:nvCxnSpPr>
              <p:cNvPr id="29" name="Straight Connector 236">
                <a:extLst>
                  <a:ext uri="{FF2B5EF4-FFF2-40B4-BE49-F238E27FC236}">
                    <a16:creationId xmlns:a16="http://schemas.microsoft.com/office/drawing/2014/main" id="{07F381C3-B7FF-E04E-A38D-41A126280265}"/>
                  </a:ext>
                </a:extLst>
              </p:cNvPr>
              <p:cNvCxnSpPr>
                <a:cxnSpLocks/>
              </p:cNvCxnSpPr>
              <p:nvPr/>
            </p:nvCxnSpPr>
            <p:spPr>
              <a:xfrm>
                <a:off x="5293895" y="4752158"/>
                <a:ext cx="2423967" cy="206942"/>
              </a:xfrm>
              <a:prstGeom prst="line">
                <a:avLst/>
              </a:prstGeom>
              <a:grpFill/>
              <a:ln w="6350" cap="flat" cmpd="sng" algn="ctr">
                <a:solidFill>
                  <a:srgbClr val="DBE2ED"/>
                </a:solidFill>
                <a:prstDash val="solid"/>
                <a:miter lim="800000"/>
              </a:ln>
              <a:effectLst/>
            </p:spPr>
          </p:cxnSp>
          <p:cxnSp>
            <p:nvCxnSpPr>
              <p:cNvPr id="30" name="Straight Connector 237">
                <a:extLst>
                  <a:ext uri="{FF2B5EF4-FFF2-40B4-BE49-F238E27FC236}">
                    <a16:creationId xmlns:a16="http://schemas.microsoft.com/office/drawing/2014/main" id="{85F61B84-5B81-4D4E-8E35-2B4352629D2A}"/>
                  </a:ext>
                </a:extLst>
              </p:cNvPr>
              <p:cNvCxnSpPr>
                <a:cxnSpLocks/>
              </p:cNvCxnSpPr>
              <p:nvPr/>
            </p:nvCxnSpPr>
            <p:spPr>
              <a:xfrm flipV="1">
                <a:off x="7720417" y="2374233"/>
                <a:ext cx="1107852" cy="2518579"/>
              </a:xfrm>
              <a:prstGeom prst="line">
                <a:avLst/>
              </a:prstGeom>
              <a:grpFill/>
              <a:ln w="6350" cap="flat" cmpd="sng" algn="ctr">
                <a:solidFill>
                  <a:srgbClr val="DBE2ED"/>
                </a:solidFill>
                <a:prstDash val="solid"/>
                <a:miter lim="800000"/>
              </a:ln>
              <a:effectLst/>
            </p:spPr>
          </p:cxnSp>
          <p:cxnSp>
            <p:nvCxnSpPr>
              <p:cNvPr id="31" name="Straight Connector 238">
                <a:extLst>
                  <a:ext uri="{FF2B5EF4-FFF2-40B4-BE49-F238E27FC236}">
                    <a16:creationId xmlns:a16="http://schemas.microsoft.com/office/drawing/2014/main" id="{4EAA33CC-FB67-274C-86DE-ECC5B8612AD8}"/>
                  </a:ext>
                </a:extLst>
              </p:cNvPr>
              <p:cNvCxnSpPr/>
              <p:nvPr/>
            </p:nvCxnSpPr>
            <p:spPr>
              <a:xfrm flipH="1">
                <a:off x="5277856" y="2374234"/>
                <a:ext cx="3547859" cy="2406316"/>
              </a:xfrm>
              <a:prstGeom prst="line">
                <a:avLst/>
              </a:prstGeom>
              <a:grpFill/>
              <a:ln w="6350" cap="flat" cmpd="sng" algn="ctr">
                <a:solidFill>
                  <a:srgbClr val="DBE2ED"/>
                </a:solidFill>
                <a:prstDash val="solid"/>
                <a:miter lim="800000"/>
              </a:ln>
              <a:effectLst/>
            </p:spPr>
          </p:cxnSp>
          <p:cxnSp>
            <p:nvCxnSpPr>
              <p:cNvPr id="32" name="Straight Connector 239">
                <a:extLst>
                  <a:ext uri="{FF2B5EF4-FFF2-40B4-BE49-F238E27FC236}">
                    <a16:creationId xmlns:a16="http://schemas.microsoft.com/office/drawing/2014/main" id="{A6A6C20B-A66D-9149-B4A6-79B8B843A1BB}"/>
                  </a:ext>
                </a:extLst>
              </p:cNvPr>
              <p:cNvCxnSpPr/>
              <p:nvPr/>
            </p:nvCxnSpPr>
            <p:spPr>
              <a:xfrm flipH="1" flipV="1">
                <a:off x="6248402" y="2823413"/>
                <a:ext cx="1435769" cy="2119645"/>
              </a:xfrm>
              <a:prstGeom prst="line">
                <a:avLst/>
              </a:prstGeom>
              <a:grpFill/>
              <a:ln w="6350" cap="flat" cmpd="sng" algn="ctr">
                <a:solidFill>
                  <a:srgbClr val="DBE2ED"/>
                </a:solidFill>
                <a:prstDash val="solid"/>
                <a:miter lim="800000"/>
              </a:ln>
              <a:effectLst/>
            </p:spPr>
          </p:cxnSp>
          <p:cxnSp>
            <p:nvCxnSpPr>
              <p:cNvPr id="33" name="Straight Connector 240">
                <a:extLst>
                  <a:ext uri="{FF2B5EF4-FFF2-40B4-BE49-F238E27FC236}">
                    <a16:creationId xmlns:a16="http://schemas.microsoft.com/office/drawing/2014/main" id="{F2664C9C-67D9-F04B-86D2-91350CF48DF2}"/>
                  </a:ext>
                </a:extLst>
              </p:cNvPr>
              <p:cNvCxnSpPr/>
              <p:nvPr/>
            </p:nvCxnSpPr>
            <p:spPr>
              <a:xfrm flipV="1">
                <a:off x="6302617" y="2374233"/>
                <a:ext cx="2550695" cy="449179"/>
              </a:xfrm>
              <a:prstGeom prst="line">
                <a:avLst/>
              </a:prstGeom>
              <a:grpFill/>
              <a:ln w="6350" cap="flat" cmpd="sng" algn="ctr">
                <a:solidFill>
                  <a:srgbClr val="DBE2ED"/>
                </a:solidFill>
                <a:prstDash val="solid"/>
                <a:miter lim="800000"/>
              </a:ln>
              <a:effectLst/>
            </p:spPr>
          </p:cxnSp>
          <p:cxnSp>
            <p:nvCxnSpPr>
              <p:cNvPr id="34" name="Straight Connector 241">
                <a:extLst>
                  <a:ext uri="{FF2B5EF4-FFF2-40B4-BE49-F238E27FC236}">
                    <a16:creationId xmlns:a16="http://schemas.microsoft.com/office/drawing/2014/main" id="{158DA814-69D5-C041-A70E-AC7BC400CEA8}"/>
                  </a:ext>
                </a:extLst>
              </p:cNvPr>
              <p:cNvCxnSpPr/>
              <p:nvPr/>
            </p:nvCxnSpPr>
            <p:spPr>
              <a:xfrm flipV="1">
                <a:off x="4660231" y="1005871"/>
                <a:ext cx="1238497" cy="1124581"/>
              </a:xfrm>
              <a:prstGeom prst="line">
                <a:avLst/>
              </a:prstGeom>
              <a:grpFill/>
              <a:ln w="6350" cap="flat" cmpd="sng" algn="ctr">
                <a:solidFill>
                  <a:srgbClr val="DBE2ED"/>
                </a:solidFill>
                <a:prstDash val="solid"/>
                <a:miter lim="800000"/>
              </a:ln>
              <a:effectLst/>
            </p:spPr>
          </p:cxnSp>
          <p:cxnSp>
            <p:nvCxnSpPr>
              <p:cNvPr id="35" name="Straight Connector 242">
                <a:extLst>
                  <a:ext uri="{FF2B5EF4-FFF2-40B4-BE49-F238E27FC236}">
                    <a16:creationId xmlns:a16="http://schemas.microsoft.com/office/drawing/2014/main" id="{0239A3B1-8D6C-0C43-8287-644BEA2CA5EB}"/>
                  </a:ext>
                </a:extLst>
              </p:cNvPr>
              <p:cNvCxnSpPr>
                <a:cxnSpLocks/>
              </p:cNvCxnSpPr>
              <p:nvPr/>
            </p:nvCxnSpPr>
            <p:spPr>
              <a:xfrm>
                <a:off x="5889382" y="1005872"/>
                <a:ext cx="399120" cy="1858616"/>
              </a:xfrm>
              <a:prstGeom prst="line">
                <a:avLst/>
              </a:prstGeom>
              <a:grpFill/>
              <a:ln w="6350" cap="flat" cmpd="sng" algn="ctr">
                <a:solidFill>
                  <a:srgbClr val="DBE2ED"/>
                </a:solidFill>
                <a:prstDash val="solid"/>
                <a:miter lim="800000"/>
              </a:ln>
              <a:effectLst/>
            </p:spPr>
          </p:cxnSp>
          <p:cxnSp>
            <p:nvCxnSpPr>
              <p:cNvPr id="36" name="Straight Connector 243">
                <a:extLst>
                  <a:ext uri="{FF2B5EF4-FFF2-40B4-BE49-F238E27FC236}">
                    <a16:creationId xmlns:a16="http://schemas.microsoft.com/office/drawing/2014/main" id="{98C8AF05-DC7F-E948-ABDC-4CFFAC014536}"/>
                  </a:ext>
                </a:extLst>
              </p:cNvPr>
              <p:cNvCxnSpPr/>
              <p:nvPr/>
            </p:nvCxnSpPr>
            <p:spPr>
              <a:xfrm flipH="1">
                <a:off x="5250253" y="2914731"/>
                <a:ext cx="995592" cy="1898902"/>
              </a:xfrm>
              <a:prstGeom prst="line">
                <a:avLst/>
              </a:prstGeom>
              <a:grpFill/>
              <a:ln w="6350" cap="flat" cmpd="sng" algn="ctr">
                <a:solidFill>
                  <a:srgbClr val="DBE2ED"/>
                </a:solidFill>
                <a:prstDash val="solid"/>
                <a:miter lim="800000"/>
              </a:ln>
              <a:effectLst/>
            </p:spPr>
          </p:cxnSp>
          <p:cxnSp>
            <p:nvCxnSpPr>
              <p:cNvPr id="37" name="Straight Connector 244">
                <a:extLst>
                  <a:ext uri="{FF2B5EF4-FFF2-40B4-BE49-F238E27FC236}">
                    <a16:creationId xmlns:a16="http://schemas.microsoft.com/office/drawing/2014/main" id="{B26FD9CD-1E8B-9E47-B051-804A1CF862AC}"/>
                  </a:ext>
                </a:extLst>
              </p:cNvPr>
              <p:cNvCxnSpPr/>
              <p:nvPr/>
            </p:nvCxnSpPr>
            <p:spPr>
              <a:xfrm>
                <a:off x="4644190" y="2164653"/>
                <a:ext cx="621140" cy="2671436"/>
              </a:xfrm>
              <a:prstGeom prst="line">
                <a:avLst/>
              </a:prstGeom>
              <a:grpFill/>
              <a:ln w="6350" cap="flat" cmpd="sng" algn="ctr">
                <a:solidFill>
                  <a:srgbClr val="DBE2ED"/>
                </a:solidFill>
                <a:prstDash val="solid"/>
                <a:miter lim="800000"/>
              </a:ln>
              <a:effectLst/>
            </p:spPr>
          </p:cxnSp>
        </p:grpSp>
        <p:grpSp>
          <p:nvGrpSpPr>
            <p:cNvPr id="11" name="Group 218">
              <a:extLst>
                <a:ext uri="{FF2B5EF4-FFF2-40B4-BE49-F238E27FC236}">
                  <a16:creationId xmlns:a16="http://schemas.microsoft.com/office/drawing/2014/main" id="{A3D6F863-A977-AD47-9DD2-1FEDFE987E0F}"/>
                </a:ext>
              </a:extLst>
            </p:cNvPr>
            <p:cNvGrpSpPr/>
            <p:nvPr/>
          </p:nvGrpSpPr>
          <p:grpSpPr>
            <a:xfrm rot="13901237">
              <a:off x="-1795509" y="-216746"/>
              <a:ext cx="6123226" cy="3767003"/>
              <a:chOff x="7062846" y="3526301"/>
              <a:chExt cx="5305580" cy="3263988"/>
            </a:xfrm>
            <a:grpFill/>
          </p:grpSpPr>
          <p:sp>
            <p:nvSpPr>
              <p:cNvPr id="12" name="Oval 11">
                <a:extLst>
                  <a:ext uri="{FF2B5EF4-FFF2-40B4-BE49-F238E27FC236}">
                    <a16:creationId xmlns:a16="http://schemas.microsoft.com/office/drawing/2014/main" id="{3B5C76BF-E9AC-534E-B747-C884FB3C182A}"/>
                  </a:ext>
                </a:extLst>
              </p:cNvPr>
              <p:cNvSpPr/>
              <p:nvPr/>
            </p:nvSpPr>
            <p:spPr>
              <a:xfrm rot="20296323" flipH="1">
                <a:off x="8662849" y="3526301"/>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3" name="Oval 12">
                <a:extLst>
                  <a:ext uri="{FF2B5EF4-FFF2-40B4-BE49-F238E27FC236}">
                    <a16:creationId xmlns:a16="http://schemas.microsoft.com/office/drawing/2014/main" id="{04788FD0-B9AB-D243-ACD8-1655BBD4AB2D}"/>
                  </a:ext>
                </a:extLst>
              </p:cNvPr>
              <p:cNvSpPr/>
              <p:nvPr/>
            </p:nvSpPr>
            <p:spPr>
              <a:xfrm rot="20296323" flipH="1">
                <a:off x="8860284" y="4838570"/>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4" name="Oval 13">
                <a:extLst>
                  <a:ext uri="{FF2B5EF4-FFF2-40B4-BE49-F238E27FC236}">
                    <a16:creationId xmlns:a16="http://schemas.microsoft.com/office/drawing/2014/main" id="{A92D8EE8-D93E-2440-B773-0DB38C68BB98}"/>
                  </a:ext>
                </a:extLst>
              </p:cNvPr>
              <p:cNvSpPr/>
              <p:nvPr/>
            </p:nvSpPr>
            <p:spPr>
              <a:xfrm rot="20296323" flipH="1">
                <a:off x="7062846" y="5227707"/>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5" name="Oval 14">
                <a:extLst>
                  <a:ext uri="{FF2B5EF4-FFF2-40B4-BE49-F238E27FC236}">
                    <a16:creationId xmlns:a16="http://schemas.microsoft.com/office/drawing/2014/main" id="{198B95E1-0676-984A-9922-10B6AAE63F8F}"/>
                  </a:ext>
                </a:extLst>
              </p:cNvPr>
              <p:cNvSpPr/>
              <p:nvPr/>
            </p:nvSpPr>
            <p:spPr>
              <a:xfrm rot="20296323" flipH="1">
                <a:off x="8518918" y="6640896"/>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6" name="Oval 15">
                <a:extLst>
                  <a:ext uri="{FF2B5EF4-FFF2-40B4-BE49-F238E27FC236}">
                    <a16:creationId xmlns:a16="http://schemas.microsoft.com/office/drawing/2014/main" id="{D93FBDC5-F603-D142-A946-70707A2CB556}"/>
                  </a:ext>
                </a:extLst>
              </p:cNvPr>
              <p:cNvSpPr/>
              <p:nvPr/>
            </p:nvSpPr>
            <p:spPr>
              <a:xfrm rot="20296323" flipH="1">
                <a:off x="10079178" y="5906810"/>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7" name="Oval 16">
                <a:extLst>
                  <a:ext uri="{FF2B5EF4-FFF2-40B4-BE49-F238E27FC236}">
                    <a16:creationId xmlns:a16="http://schemas.microsoft.com/office/drawing/2014/main" id="{A25C7AC3-1D8D-874F-9423-D634998D84AA}"/>
                  </a:ext>
                </a:extLst>
              </p:cNvPr>
              <p:cNvSpPr/>
              <p:nvPr/>
            </p:nvSpPr>
            <p:spPr>
              <a:xfrm rot="20296323" flipH="1">
                <a:off x="10683602" y="4962941"/>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8" name="Oval 17">
                <a:extLst>
                  <a:ext uri="{FF2B5EF4-FFF2-40B4-BE49-F238E27FC236}">
                    <a16:creationId xmlns:a16="http://schemas.microsoft.com/office/drawing/2014/main" id="{4E5903AD-7843-5545-B8B5-BAEAF57E42D1}"/>
                  </a:ext>
                </a:extLst>
              </p:cNvPr>
              <p:cNvSpPr/>
              <p:nvPr/>
            </p:nvSpPr>
            <p:spPr>
              <a:xfrm rot="20296323" flipH="1">
                <a:off x="12219033" y="5992906"/>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9" name="Oval 18">
                <a:extLst>
                  <a:ext uri="{FF2B5EF4-FFF2-40B4-BE49-F238E27FC236}">
                    <a16:creationId xmlns:a16="http://schemas.microsoft.com/office/drawing/2014/main" id="{686985F8-3A48-A844-81C7-15F1064CF85C}"/>
                  </a:ext>
                </a:extLst>
              </p:cNvPr>
              <p:cNvSpPr/>
              <p:nvPr/>
            </p:nvSpPr>
            <p:spPr>
              <a:xfrm rot="20296323" flipH="1">
                <a:off x="11731603" y="4518872"/>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20" name="Oval 19">
                <a:extLst>
                  <a:ext uri="{FF2B5EF4-FFF2-40B4-BE49-F238E27FC236}">
                    <a16:creationId xmlns:a16="http://schemas.microsoft.com/office/drawing/2014/main" id="{C5E9A2AF-5547-A146-A098-8CAF3774B6DA}"/>
                  </a:ext>
                </a:extLst>
              </p:cNvPr>
              <p:cNvSpPr/>
              <p:nvPr/>
            </p:nvSpPr>
            <p:spPr>
              <a:xfrm rot="20296323" flipH="1">
                <a:off x="9833315" y="3958950"/>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grpSp>
      </p:grpSp>
      <p:grpSp>
        <p:nvGrpSpPr>
          <p:cNvPr id="38" name="Group 245">
            <a:extLst>
              <a:ext uri="{FF2B5EF4-FFF2-40B4-BE49-F238E27FC236}">
                <a16:creationId xmlns:a16="http://schemas.microsoft.com/office/drawing/2014/main" id="{881863DC-D8BD-8447-B6AF-23912163B77B}"/>
              </a:ext>
            </a:extLst>
          </p:cNvPr>
          <p:cNvGrpSpPr/>
          <p:nvPr/>
        </p:nvGrpSpPr>
        <p:grpSpPr>
          <a:xfrm rot="17606459">
            <a:off x="8047099" y="2787778"/>
            <a:ext cx="5919734" cy="4114997"/>
            <a:chOff x="5706071" y="2645717"/>
            <a:chExt cx="6894460" cy="4792561"/>
          </a:xfrm>
          <a:solidFill>
            <a:schemeClr val="bg1">
              <a:lumMod val="85000"/>
            </a:schemeClr>
          </a:solidFill>
        </p:grpSpPr>
        <p:grpSp>
          <p:nvGrpSpPr>
            <p:cNvPr id="39" name="Group 246">
              <a:extLst>
                <a:ext uri="{FF2B5EF4-FFF2-40B4-BE49-F238E27FC236}">
                  <a16:creationId xmlns:a16="http://schemas.microsoft.com/office/drawing/2014/main" id="{D8D34E53-24DE-FC40-A5EB-29C47F75C21B}"/>
                </a:ext>
              </a:extLst>
            </p:cNvPr>
            <p:cNvGrpSpPr/>
            <p:nvPr/>
          </p:nvGrpSpPr>
          <p:grpSpPr>
            <a:xfrm rot="20296323" flipH="1">
              <a:off x="5883460" y="2645717"/>
              <a:ext cx="6176152" cy="4792561"/>
              <a:chOff x="2438400" y="1005871"/>
              <a:chExt cx="6414912" cy="4977833"/>
            </a:xfrm>
            <a:grpFill/>
          </p:grpSpPr>
          <p:cxnSp>
            <p:nvCxnSpPr>
              <p:cNvPr id="50" name="Straight Connector 257">
                <a:extLst>
                  <a:ext uri="{FF2B5EF4-FFF2-40B4-BE49-F238E27FC236}">
                    <a16:creationId xmlns:a16="http://schemas.microsoft.com/office/drawing/2014/main" id="{72E28C6D-4AED-C74C-9F63-E139FFFA2B8E}"/>
                  </a:ext>
                </a:extLst>
              </p:cNvPr>
              <p:cNvCxnSpPr/>
              <p:nvPr/>
            </p:nvCxnSpPr>
            <p:spPr>
              <a:xfrm flipV="1">
                <a:off x="2614864" y="3850104"/>
                <a:ext cx="1411705" cy="2133600"/>
              </a:xfrm>
              <a:prstGeom prst="line">
                <a:avLst/>
              </a:prstGeom>
              <a:grpFill/>
              <a:ln w="6350" cap="flat" cmpd="sng" algn="ctr">
                <a:solidFill>
                  <a:srgbClr val="DBE2ED"/>
                </a:solidFill>
                <a:prstDash val="solid"/>
                <a:miter lim="800000"/>
              </a:ln>
              <a:effectLst/>
            </p:spPr>
          </p:cxnSp>
          <p:cxnSp>
            <p:nvCxnSpPr>
              <p:cNvPr id="51" name="Straight Connector 258">
                <a:extLst>
                  <a:ext uri="{FF2B5EF4-FFF2-40B4-BE49-F238E27FC236}">
                    <a16:creationId xmlns:a16="http://schemas.microsoft.com/office/drawing/2014/main" id="{C2D0EEC1-88BC-4144-8B69-FFE490FE5479}"/>
                  </a:ext>
                </a:extLst>
              </p:cNvPr>
              <p:cNvCxnSpPr/>
              <p:nvPr/>
            </p:nvCxnSpPr>
            <p:spPr>
              <a:xfrm>
                <a:off x="4026569" y="3866146"/>
                <a:ext cx="1267327" cy="882316"/>
              </a:xfrm>
              <a:prstGeom prst="line">
                <a:avLst/>
              </a:prstGeom>
              <a:grpFill/>
              <a:ln w="6350" cap="flat" cmpd="sng" algn="ctr">
                <a:solidFill>
                  <a:srgbClr val="DBE2ED"/>
                </a:solidFill>
                <a:prstDash val="solid"/>
                <a:miter lim="800000"/>
              </a:ln>
              <a:effectLst/>
            </p:spPr>
          </p:cxnSp>
          <p:cxnSp>
            <p:nvCxnSpPr>
              <p:cNvPr id="52" name="Straight Connector 259">
                <a:extLst>
                  <a:ext uri="{FF2B5EF4-FFF2-40B4-BE49-F238E27FC236}">
                    <a16:creationId xmlns:a16="http://schemas.microsoft.com/office/drawing/2014/main" id="{FD437DBD-0AB6-9647-A502-945736480DDB}"/>
                  </a:ext>
                </a:extLst>
              </p:cNvPr>
              <p:cNvCxnSpPr/>
              <p:nvPr/>
            </p:nvCxnSpPr>
            <p:spPr>
              <a:xfrm flipH="1">
                <a:off x="2614864" y="4780546"/>
                <a:ext cx="2662990" cy="1199465"/>
              </a:xfrm>
              <a:prstGeom prst="line">
                <a:avLst/>
              </a:prstGeom>
              <a:grpFill/>
              <a:ln w="6350" cap="flat" cmpd="sng" algn="ctr">
                <a:solidFill>
                  <a:srgbClr val="DBE2ED"/>
                </a:solidFill>
                <a:prstDash val="solid"/>
                <a:miter lim="800000"/>
              </a:ln>
              <a:effectLst/>
            </p:spPr>
          </p:cxnSp>
          <p:cxnSp>
            <p:nvCxnSpPr>
              <p:cNvPr id="53" name="Straight Connector 260">
                <a:extLst>
                  <a:ext uri="{FF2B5EF4-FFF2-40B4-BE49-F238E27FC236}">
                    <a16:creationId xmlns:a16="http://schemas.microsoft.com/office/drawing/2014/main" id="{5D2A9951-BD4A-CE4B-B0E5-F339CA8D17B3}"/>
                  </a:ext>
                </a:extLst>
              </p:cNvPr>
              <p:cNvCxnSpPr/>
              <p:nvPr/>
            </p:nvCxnSpPr>
            <p:spPr>
              <a:xfrm>
                <a:off x="2470485" y="3850104"/>
                <a:ext cx="2823411" cy="914400"/>
              </a:xfrm>
              <a:prstGeom prst="line">
                <a:avLst/>
              </a:prstGeom>
              <a:grpFill/>
              <a:ln w="6350" cap="flat" cmpd="sng" algn="ctr">
                <a:solidFill>
                  <a:srgbClr val="DBE2ED"/>
                </a:solidFill>
                <a:prstDash val="solid"/>
                <a:miter lim="800000"/>
              </a:ln>
              <a:effectLst/>
            </p:spPr>
          </p:cxnSp>
          <p:cxnSp>
            <p:nvCxnSpPr>
              <p:cNvPr id="54" name="Straight Connector 261">
                <a:extLst>
                  <a:ext uri="{FF2B5EF4-FFF2-40B4-BE49-F238E27FC236}">
                    <a16:creationId xmlns:a16="http://schemas.microsoft.com/office/drawing/2014/main" id="{C0598E96-5C84-284E-8FAF-6E3067B03207}"/>
                  </a:ext>
                </a:extLst>
              </p:cNvPr>
              <p:cNvCxnSpPr/>
              <p:nvPr/>
            </p:nvCxnSpPr>
            <p:spPr>
              <a:xfrm flipV="1">
                <a:off x="2438400" y="2823411"/>
                <a:ext cx="3834062" cy="1026694"/>
              </a:xfrm>
              <a:prstGeom prst="line">
                <a:avLst/>
              </a:prstGeom>
              <a:grpFill/>
              <a:ln w="6350" cap="flat" cmpd="sng" algn="ctr">
                <a:solidFill>
                  <a:srgbClr val="DBE2ED"/>
                </a:solidFill>
                <a:prstDash val="solid"/>
                <a:miter lim="800000"/>
              </a:ln>
              <a:effectLst/>
            </p:spPr>
          </p:cxnSp>
          <p:cxnSp>
            <p:nvCxnSpPr>
              <p:cNvPr id="55" name="Straight Connector 262">
                <a:extLst>
                  <a:ext uri="{FF2B5EF4-FFF2-40B4-BE49-F238E27FC236}">
                    <a16:creationId xmlns:a16="http://schemas.microsoft.com/office/drawing/2014/main" id="{0914C1DF-5BA1-5842-9A5C-BF4D12E2583D}"/>
                  </a:ext>
                </a:extLst>
              </p:cNvPr>
              <p:cNvCxnSpPr>
                <a:cxnSpLocks/>
              </p:cNvCxnSpPr>
              <p:nvPr/>
            </p:nvCxnSpPr>
            <p:spPr>
              <a:xfrm flipH="1" flipV="1">
                <a:off x="4660231" y="2180695"/>
                <a:ext cx="1666449" cy="649161"/>
              </a:xfrm>
              <a:prstGeom prst="line">
                <a:avLst/>
              </a:prstGeom>
              <a:grpFill/>
              <a:ln w="6350" cap="flat" cmpd="sng" algn="ctr">
                <a:solidFill>
                  <a:srgbClr val="DBE2ED"/>
                </a:solidFill>
                <a:prstDash val="solid"/>
                <a:miter lim="800000"/>
              </a:ln>
              <a:effectLst/>
            </p:spPr>
          </p:cxnSp>
          <p:cxnSp>
            <p:nvCxnSpPr>
              <p:cNvPr id="56" name="Straight Connector 263">
                <a:extLst>
                  <a:ext uri="{FF2B5EF4-FFF2-40B4-BE49-F238E27FC236}">
                    <a16:creationId xmlns:a16="http://schemas.microsoft.com/office/drawing/2014/main" id="{02F8D039-E33E-FD4A-AB85-142F3B6EA99C}"/>
                  </a:ext>
                </a:extLst>
              </p:cNvPr>
              <p:cNvCxnSpPr/>
              <p:nvPr/>
            </p:nvCxnSpPr>
            <p:spPr>
              <a:xfrm flipH="1">
                <a:off x="4026568" y="2130450"/>
                <a:ext cx="633663" cy="1732003"/>
              </a:xfrm>
              <a:prstGeom prst="line">
                <a:avLst/>
              </a:prstGeom>
              <a:grpFill/>
              <a:ln w="6350" cap="flat" cmpd="sng" algn="ctr">
                <a:solidFill>
                  <a:srgbClr val="DBE2ED"/>
                </a:solidFill>
                <a:prstDash val="solid"/>
                <a:miter lim="800000"/>
              </a:ln>
              <a:effectLst/>
            </p:spPr>
          </p:cxnSp>
          <p:cxnSp>
            <p:nvCxnSpPr>
              <p:cNvPr id="57" name="Straight Connector 264">
                <a:extLst>
                  <a:ext uri="{FF2B5EF4-FFF2-40B4-BE49-F238E27FC236}">
                    <a16:creationId xmlns:a16="http://schemas.microsoft.com/office/drawing/2014/main" id="{9A7C1ED5-0AF3-154D-8501-892AE8521938}"/>
                  </a:ext>
                </a:extLst>
              </p:cNvPr>
              <p:cNvCxnSpPr/>
              <p:nvPr/>
            </p:nvCxnSpPr>
            <p:spPr>
              <a:xfrm>
                <a:off x="4058654" y="3900350"/>
                <a:ext cx="3547859" cy="1029176"/>
              </a:xfrm>
              <a:prstGeom prst="line">
                <a:avLst/>
              </a:prstGeom>
              <a:grpFill/>
              <a:ln w="6350" cap="flat" cmpd="sng" algn="ctr">
                <a:solidFill>
                  <a:srgbClr val="DBE2ED"/>
                </a:solidFill>
                <a:prstDash val="solid"/>
                <a:miter lim="800000"/>
              </a:ln>
              <a:effectLst/>
            </p:spPr>
          </p:cxnSp>
          <p:cxnSp>
            <p:nvCxnSpPr>
              <p:cNvPr id="58" name="Straight Connector 265">
                <a:extLst>
                  <a:ext uri="{FF2B5EF4-FFF2-40B4-BE49-F238E27FC236}">
                    <a16:creationId xmlns:a16="http://schemas.microsoft.com/office/drawing/2014/main" id="{AE3A3289-B3E9-C340-AE4C-A86D6B309019}"/>
                  </a:ext>
                </a:extLst>
              </p:cNvPr>
              <p:cNvCxnSpPr>
                <a:cxnSpLocks/>
              </p:cNvCxnSpPr>
              <p:nvPr/>
            </p:nvCxnSpPr>
            <p:spPr>
              <a:xfrm>
                <a:off x="5293895" y="4752157"/>
                <a:ext cx="2423966" cy="206942"/>
              </a:xfrm>
              <a:prstGeom prst="line">
                <a:avLst/>
              </a:prstGeom>
              <a:grpFill/>
              <a:ln w="6350" cap="flat" cmpd="sng" algn="ctr">
                <a:solidFill>
                  <a:srgbClr val="DBE2ED"/>
                </a:solidFill>
                <a:prstDash val="solid"/>
                <a:miter lim="800000"/>
              </a:ln>
              <a:effectLst/>
            </p:spPr>
          </p:cxnSp>
          <p:cxnSp>
            <p:nvCxnSpPr>
              <p:cNvPr id="59" name="Straight Connector 266">
                <a:extLst>
                  <a:ext uri="{FF2B5EF4-FFF2-40B4-BE49-F238E27FC236}">
                    <a16:creationId xmlns:a16="http://schemas.microsoft.com/office/drawing/2014/main" id="{C8D8FCFA-47EE-8848-AB81-E14AB3BCFD1C}"/>
                  </a:ext>
                </a:extLst>
              </p:cNvPr>
              <p:cNvCxnSpPr>
                <a:cxnSpLocks/>
              </p:cNvCxnSpPr>
              <p:nvPr/>
            </p:nvCxnSpPr>
            <p:spPr>
              <a:xfrm flipV="1">
                <a:off x="7720416" y="2374232"/>
                <a:ext cx="1107852" cy="2518579"/>
              </a:xfrm>
              <a:prstGeom prst="line">
                <a:avLst/>
              </a:prstGeom>
              <a:grpFill/>
              <a:ln w="6350" cap="flat" cmpd="sng" algn="ctr">
                <a:solidFill>
                  <a:srgbClr val="DBE2ED"/>
                </a:solidFill>
                <a:prstDash val="solid"/>
                <a:miter lim="800000"/>
              </a:ln>
              <a:effectLst/>
            </p:spPr>
          </p:cxnSp>
          <p:cxnSp>
            <p:nvCxnSpPr>
              <p:cNvPr id="60" name="Straight Connector 267">
                <a:extLst>
                  <a:ext uri="{FF2B5EF4-FFF2-40B4-BE49-F238E27FC236}">
                    <a16:creationId xmlns:a16="http://schemas.microsoft.com/office/drawing/2014/main" id="{9EAC0759-80DD-5C4E-91C9-E1EFC75B327F}"/>
                  </a:ext>
                </a:extLst>
              </p:cNvPr>
              <p:cNvCxnSpPr/>
              <p:nvPr/>
            </p:nvCxnSpPr>
            <p:spPr>
              <a:xfrm flipH="1">
                <a:off x="5277855" y="2374233"/>
                <a:ext cx="3547859" cy="2406316"/>
              </a:xfrm>
              <a:prstGeom prst="line">
                <a:avLst/>
              </a:prstGeom>
              <a:grpFill/>
              <a:ln w="6350" cap="flat" cmpd="sng" algn="ctr">
                <a:solidFill>
                  <a:srgbClr val="DBE2ED"/>
                </a:solidFill>
                <a:prstDash val="solid"/>
                <a:miter lim="800000"/>
              </a:ln>
              <a:effectLst/>
            </p:spPr>
          </p:cxnSp>
          <p:cxnSp>
            <p:nvCxnSpPr>
              <p:cNvPr id="61" name="Straight Connector 268">
                <a:extLst>
                  <a:ext uri="{FF2B5EF4-FFF2-40B4-BE49-F238E27FC236}">
                    <a16:creationId xmlns:a16="http://schemas.microsoft.com/office/drawing/2014/main" id="{F09B124E-D63F-E14A-9A9C-E01CA799618E}"/>
                  </a:ext>
                </a:extLst>
              </p:cNvPr>
              <p:cNvCxnSpPr/>
              <p:nvPr/>
            </p:nvCxnSpPr>
            <p:spPr>
              <a:xfrm flipH="1" flipV="1">
                <a:off x="6248401" y="2823412"/>
                <a:ext cx="1435769" cy="2119645"/>
              </a:xfrm>
              <a:prstGeom prst="line">
                <a:avLst/>
              </a:prstGeom>
              <a:grpFill/>
              <a:ln w="6350" cap="flat" cmpd="sng" algn="ctr">
                <a:solidFill>
                  <a:srgbClr val="DBE2ED"/>
                </a:solidFill>
                <a:prstDash val="solid"/>
                <a:miter lim="800000"/>
              </a:ln>
              <a:effectLst/>
            </p:spPr>
          </p:cxnSp>
          <p:cxnSp>
            <p:nvCxnSpPr>
              <p:cNvPr id="62" name="Straight Connector 269">
                <a:extLst>
                  <a:ext uri="{FF2B5EF4-FFF2-40B4-BE49-F238E27FC236}">
                    <a16:creationId xmlns:a16="http://schemas.microsoft.com/office/drawing/2014/main" id="{5E8028E2-5004-274C-9A60-403A5C024534}"/>
                  </a:ext>
                </a:extLst>
              </p:cNvPr>
              <p:cNvCxnSpPr/>
              <p:nvPr/>
            </p:nvCxnSpPr>
            <p:spPr>
              <a:xfrm flipV="1">
                <a:off x="6302617" y="2374233"/>
                <a:ext cx="2550695" cy="449180"/>
              </a:xfrm>
              <a:prstGeom prst="line">
                <a:avLst/>
              </a:prstGeom>
              <a:grpFill/>
              <a:ln w="6350" cap="flat" cmpd="sng" algn="ctr">
                <a:solidFill>
                  <a:srgbClr val="DBE2ED"/>
                </a:solidFill>
                <a:prstDash val="solid"/>
                <a:miter lim="800000"/>
              </a:ln>
              <a:effectLst/>
            </p:spPr>
          </p:cxnSp>
          <p:cxnSp>
            <p:nvCxnSpPr>
              <p:cNvPr id="63" name="Straight Connector 270">
                <a:extLst>
                  <a:ext uri="{FF2B5EF4-FFF2-40B4-BE49-F238E27FC236}">
                    <a16:creationId xmlns:a16="http://schemas.microsoft.com/office/drawing/2014/main" id="{0417DEF9-4FC0-254D-AC0E-B39FA6EBEC6B}"/>
                  </a:ext>
                </a:extLst>
              </p:cNvPr>
              <p:cNvCxnSpPr/>
              <p:nvPr/>
            </p:nvCxnSpPr>
            <p:spPr>
              <a:xfrm flipV="1">
                <a:off x="4660231" y="1005871"/>
                <a:ext cx="1238496" cy="1124581"/>
              </a:xfrm>
              <a:prstGeom prst="line">
                <a:avLst/>
              </a:prstGeom>
              <a:grpFill/>
              <a:ln w="6350" cap="flat" cmpd="sng" algn="ctr">
                <a:solidFill>
                  <a:srgbClr val="DBE2ED"/>
                </a:solidFill>
                <a:prstDash val="solid"/>
                <a:miter lim="800000"/>
              </a:ln>
              <a:effectLst/>
            </p:spPr>
          </p:cxnSp>
          <p:cxnSp>
            <p:nvCxnSpPr>
              <p:cNvPr id="64" name="Straight Connector 271">
                <a:extLst>
                  <a:ext uri="{FF2B5EF4-FFF2-40B4-BE49-F238E27FC236}">
                    <a16:creationId xmlns:a16="http://schemas.microsoft.com/office/drawing/2014/main" id="{7440077F-5037-C54B-A6C3-A2636E56B73C}"/>
                  </a:ext>
                </a:extLst>
              </p:cNvPr>
              <p:cNvCxnSpPr>
                <a:cxnSpLocks/>
              </p:cNvCxnSpPr>
              <p:nvPr/>
            </p:nvCxnSpPr>
            <p:spPr>
              <a:xfrm>
                <a:off x="5889383" y="1005871"/>
                <a:ext cx="399120" cy="1858616"/>
              </a:xfrm>
              <a:prstGeom prst="line">
                <a:avLst/>
              </a:prstGeom>
              <a:grpFill/>
              <a:ln w="6350" cap="flat" cmpd="sng" algn="ctr">
                <a:solidFill>
                  <a:srgbClr val="DBE2ED"/>
                </a:solidFill>
                <a:prstDash val="solid"/>
                <a:miter lim="800000"/>
              </a:ln>
              <a:effectLst/>
            </p:spPr>
          </p:cxnSp>
          <p:cxnSp>
            <p:nvCxnSpPr>
              <p:cNvPr id="65" name="Straight Connector 272">
                <a:extLst>
                  <a:ext uri="{FF2B5EF4-FFF2-40B4-BE49-F238E27FC236}">
                    <a16:creationId xmlns:a16="http://schemas.microsoft.com/office/drawing/2014/main" id="{E3377AA5-61D1-E946-AE99-ED369C6AA8D0}"/>
                  </a:ext>
                </a:extLst>
              </p:cNvPr>
              <p:cNvCxnSpPr/>
              <p:nvPr/>
            </p:nvCxnSpPr>
            <p:spPr>
              <a:xfrm flipH="1">
                <a:off x="5250253" y="2914731"/>
                <a:ext cx="995592" cy="1898902"/>
              </a:xfrm>
              <a:prstGeom prst="line">
                <a:avLst/>
              </a:prstGeom>
              <a:grpFill/>
              <a:ln w="6350" cap="flat" cmpd="sng" algn="ctr">
                <a:solidFill>
                  <a:srgbClr val="DBE2ED"/>
                </a:solidFill>
                <a:prstDash val="solid"/>
                <a:miter lim="800000"/>
              </a:ln>
              <a:effectLst/>
            </p:spPr>
          </p:cxnSp>
          <p:cxnSp>
            <p:nvCxnSpPr>
              <p:cNvPr id="66" name="Straight Connector 273">
                <a:extLst>
                  <a:ext uri="{FF2B5EF4-FFF2-40B4-BE49-F238E27FC236}">
                    <a16:creationId xmlns:a16="http://schemas.microsoft.com/office/drawing/2014/main" id="{6519F54E-0847-A948-AF4D-BBCBEECB3949}"/>
                  </a:ext>
                </a:extLst>
              </p:cNvPr>
              <p:cNvCxnSpPr/>
              <p:nvPr/>
            </p:nvCxnSpPr>
            <p:spPr>
              <a:xfrm>
                <a:off x="4644190" y="2164653"/>
                <a:ext cx="621140" cy="2671436"/>
              </a:xfrm>
              <a:prstGeom prst="line">
                <a:avLst/>
              </a:prstGeom>
              <a:grpFill/>
              <a:ln w="6350" cap="flat" cmpd="sng" algn="ctr">
                <a:solidFill>
                  <a:srgbClr val="DBE2ED"/>
                </a:solidFill>
                <a:prstDash val="solid"/>
                <a:miter lim="800000"/>
              </a:ln>
              <a:effectLst/>
            </p:spPr>
          </p:cxnSp>
        </p:grpSp>
        <p:grpSp>
          <p:nvGrpSpPr>
            <p:cNvPr id="40" name="Group 247">
              <a:extLst>
                <a:ext uri="{FF2B5EF4-FFF2-40B4-BE49-F238E27FC236}">
                  <a16:creationId xmlns:a16="http://schemas.microsoft.com/office/drawing/2014/main" id="{8F51E51A-C448-3F48-AB1F-C42FDB112DCA}"/>
                </a:ext>
              </a:extLst>
            </p:cNvPr>
            <p:cNvGrpSpPr/>
            <p:nvPr/>
          </p:nvGrpSpPr>
          <p:grpSpPr>
            <a:xfrm>
              <a:off x="5706071" y="2873948"/>
              <a:ext cx="6894460" cy="4241465"/>
              <a:chOff x="7062860" y="3526309"/>
              <a:chExt cx="5305592" cy="3263995"/>
            </a:xfrm>
            <a:grpFill/>
          </p:grpSpPr>
          <p:sp>
            <p:nvSpPr>
              <p:cNvPr id="41" name="Oval 40">
                <a:extLst>
                  <a:ext uri="{FF2B5EF4-FFF2-40B4-BE49-F238E27FC236}">
                    <a16:creationId xmlns:a16="http://schemas.microsoft.com/office/drawing/2014/main" id="{FD427247-E0C0-9A4B-B495-8FAC311798DD}"/>
                  </a:ext>
                </a:extLst>
              </p:cNvPr>
              <p:cNvSpPr/>
              <p:nvPr/>
            </p:nvSpPr>
            <p:spPr>
              <a:xfrm rot="20296323" flipH="1">
                <a:off x="8662867" y="3526309"/>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2" name="Oval 41">
                <a:extLst>
                  <a:ext uri="{FF2B5EF4-FFF2-40B4-BE49-F238E27FC236}">
                    <a16:creationId xmlns:a16="http://schemas.microsoft.com/office/drawing/2014/main" id="{BDBCE6AF-FE86-FB40-8F03-1FA8B2FA4F6B}"/>
                  </a:ext>
                </a:extLst>
              </p:cNvPr>
              <p:cNvSpPr/>
              <p:nvPr/>
            </p:nvSpPr>
            <p:spPr>
              <a:xfrm rot="20296323" flipH="1">
                <a:off x="8907796" y="4876102"/>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3" name="Oval 42">
                <a:extLst>
                  <a:ext uri="{FF2B5EF4-FFF2-40B4-BE49-F238E27FC236}">
                    <a16:creationId xmlns:a16="http://schemas.microsoft.com/office/drawing/2014/main" id="{9133492A-6514-4547-97B3-2EF9D2F65204}"/>
                  </a:ext>
                </a:extLst>
              </p:cNvPr>
              <p:cNvSpPr/>
              <p:nvPr/>
            </p:nvSpPr>
            <p:spPr>
              <a:xfrm rot="20296323" flipH="1">
                <a:off x="7062860" y="5227719"/>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4" name="Oval 43">
                <a:extLst>
                  <a:ext uri="{FF2B5EF4-FFF2-40B4-BE49-F238E27FC236}">
                    <a16:creationId xmlns:a16="http://schemas.microsoft.com/office/drawing/2014/main" id="{73F79AEF-1681-674D-BE5C-6348F1C6376D}"/>
                  </a:ext>
                </a:extLst>
              </p:cNvPr>
              <p:cNvSpPr/>
              <p:nvPr/>
            </p:nvSpPr>
            <p:spPr>
              <a:xfrm rot="20296323" flipH="1">
                <a:off x="8518936" y="6640911"/>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5" name="Oval 44">
                <a:extLst>
                  <a:ext uri="{FF2B5EF4-FFF2-40B4-BE49-F238E27FC236}">
                    <a16:creationId xmlns:a16="http://schemas.microsoft.com/office/drawing/2014/main" id="{24DF7CCF-CAAD-AC43-B508-C46EAF4A17F3}"/>
                  </a:ext>
                </a:extLst>
              </p:cNvPr>
              <p:cNvSpPr/>
              <p:nvPr/>
            </p:nvSpPr>
            <p:spPr>
              <a:xfrm rot="20296323" flipH="1">
                <a:off x="10079199" y="5906823"/>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6" name="Oval 45">
                <a:extLst>
                  <a:ext uri="{FF2B5EF4-FFF2-40B4-BE49-F238E27FC236}">
                    <a16:creationId xmlns:a16="http://schemas.microsoft.com/office/drawing/2014/main" id="{7735D33B-52BA-5446-90C3-8CCE7ECD87DD}"/>
                  </a:ext>
                </a:extLst>
              </p:cNvPr>
              <p:cNvSpPr/>
              <p:nvPr/>
            </p:nvSpPr>
            <p:spPr>
              <a:xfrm rot="20296323" flipH="1">
                <a:off x="10683625" y="4962952"/>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7" name="Oval 46">
                <a:extLst>
                  <a:ext uri="{FF2B5EF4-FFF2-40B4-BE49-F238E27FC236}">
                    <a16:creationId xmlns:a16="http://schemas.microsoft.com/office/drawing/2014/main" id="{6679DA6F-DA32-3541-A593-459BE35DA132}"/>
                  </a:ext>
                </a:extLst>
              </p:cNvPr>
              <p:cNvSpPr/>
              <p:nvPr/>
            </p:nvSpPr>
            <p:spPr>
              <a:xfrm rot="20296323" flipH="1">
                <a:off x="12219059" y="5992920"/>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8" name="Oval 47">
                <a:extLst>
                  <a:ext uri="{FF2B5EF4-FFF2-40B4-BE49-F238E27FC236}">
                    <a16:creationId xmlns:a16="http://schemas.microsoft.com/office/drawing/2014/main" id="{FD49D9CC-D193-454E-8E7B-2BDF31953575}"/>
                  </a:ext>
                </a:extLst>
              </p:cNvPr>
              <p:cNvSpPr/>
              <p:nvPr/>
            </p:nvSpPr>
            <p:spPr>
              <a:xfrm rot="20296323" flipH="1">
                <a:off x="11731627" y="4518881"/>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49" name="Oval 48">
                <a:extLst>
                  <a:ext uri="{FF2B5EF4-FFF2-40B4-BE49-F238E27FC236}">
                    <a16:creationId xmlns:a16="http://schemas.microsoft.com/office/drawing/2014/main" id="{547F0241-450F-3D46-8DC2-07BAAF61E64F}"/>
                  </a:ext>
                </a:extLst>
              </p:cNvPr>
              <p:cNvSpPr/>
              <p:nvPr/>
            </p:nvSpPr>
            <p:spPr>
              <a:xfrm rot="20296323" flipH="1">
                <a:off x="9833315" y="3958950"/>
                <a:ext cx="149393" cy="149393"/>
              </a:xfrm>
              <a:prstGeom prst="ellipse">
                <a:avLst/>
              </a:prstGeom>
              <a:grpFill/>
              <a:ln w="12700" cap="flat" cmpd="sng" algn="ctr">
                <a:solidFill>
                  <a:srgbClr val="DBE2E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grpSp>
      </p:grpSp>
      <p:sp>
        <p:nvSpPr>
          <p:cNvPr id="67" name="Oval 66">
            <a:extLst>
              <a:ext uri="{FF2B5EF4-FFF2-40B4-BE49-F238E27FC236}">
                <a16:creationId xmlns:a16="http://schemas.microsoft.com/office/drawing/2014/main" id="{FB87CABF-5709-FC4A-98D7-05A5A9E6472E}"/>
              </a:ext>
            </a:extLst>
          </p:cNvPr>
          <p:cNvSpPr/>
          <p:nvPr/>
        </p:nvSpPr>
        <p:spPr>
          <a:xfrm>
            <a:off x="1882990" y="4594848"/>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68" name="Oval 67">
            <a:extLst>
              <a:ext uri="{FF2B5EF4-FFF2-40B4-BE49-F238E27FC236}">
                <a16:creationId xmlns:a16="http://schemas.microsoft.com/office/drawing/2014/main" id="{5F8A9FDA-AAE4-FB48-B58D-EA57518C01A0}"/>
              </a:ext>
            </a:extLst>
          </p:cNvPr>
          <p:cNvSpPr/>
          <p:nvPr/>
        </p:nvSpPr>
        <p:spPr>
          <a:xfrm>
            <a:off x="3396660" y="3363882"/>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69" name="Oval 68">
            <a:extLst>
              <a:ext uri="{FF2B5EF4-FFF2-40B4-BE49-F238E27FC236}">
                <a16:creationId xmlns:a16="http://schemas.microsoft.com/office/drawing/2014/main" id="{85883883-4843-D24C-92B2-6556980083E2}"/>
              </a:ext>
            </a:extLst>
          </p:cNvPr>
          <p:cNvSpPr/>
          <p:nvPr/>
        </p:nvSpPr>
        <p:spPr>
          <a:xfrm>
            <a:off x="4910330" y="3881485"/>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70" name="Oval 69">
            <a:extLst>
              <a:ext uri="{FF2B5EF4-FFF2-40B4-BE49-F238E27FC236}">
                <a16:creationId xmlns:a16="http://schemas.microsoft.com/office/drawing/2014/main" id="{D8FB6BA4-C7A0-A34D-955A-0913EB67CED0}"/>
              </a:ext>
            </a:extLst>
          </p:cNvPr>
          <p:cNvSpPr/>
          <p:nvPr/>
        </p:nvSpPr>
        <p:spPr>
          <a:xfrm>
            <a:off x="6424000" y="3754171"/>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71" name="Oval 70">
            <a:extLst>
              <a:ext uri="{FF2B5EF4-FFF2-40B4-BE49-F238E27FC236}">
                <a16:creationId xmlns:a16="http://schemas.microsoft.com/office/drawing/2014/main" id="{8C109F9A-A5F8-8748-8CA8-CE84CAF1F007}"/>
              </a:ext>
            </a:extLst>
          </p:cNvPr>
          <p:cNvSpPr/>
          <p:nvPr/>
        </p:nvSpPr>
        <p:spPr>
          <a:xfrm>
            <a:off x="7937670" y="3945747"/>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72" name="Oval 71">
            <a:extLst>
              <a:ext uri="{FF2B5EF4-FFF2-40B4-BE49-F238E27FC236}">
                <a16:creationId xmlns:a16="http://schemas.microsoft.com/office/drawing/2014/main" id="{05161E64-3A4E-144B-A453-D6F8EC065229}"/>
              </a:ext>
            </a:extLst>
          </p:cNvPr>
          <p:cNvSpPr/>
          <p:nvPr/>
        </p:nvSpPr>
        <p:spPr>
          <a:xfrm>
            <a:off x="9451340" y="4615722"/>
            <a:ext cx="154478" cy="154478"/>
          </a:xfrm>
          <a:prstGeom prst="ellipse">
            <a:avLst/>
          </a:prstGeom>
          <a:solidFill>
            <a:schemeClr val="bg1">
              <a:lumMod val="65000"/>
            </a:schemeClr>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grpSp>
        <p:nvGrpSpPr>
          <p:cNvPr id="73" name="Group 58369">
            <a:extLst>
              <a:ext uri="{FF2B5EF4-FFF2-40B4-BE49-F238E27FC236}">
                <a16:creationId xmlns:a16="http://schemas.microsoft.com/office/drawing/2014/main" id="{D22ECD89-F3BE-F746-A586-EC625B1951F6}"/>
              </a:ext>
            </a:extLst>
          </p:cNvPr>
          <p:cNvGrpSpPr/>
          <p:nvPr/>
        </p:nvGrpSpPr>
        <p:grpSpPr>
          <a:xfrm>
            <a:off x="1860785" y="1988390"/>
            <a:ext cx="1848355" cy="1251384"/>
            <a:chOff x="1490031" y="2013952"/>
            <a:chExt cx="1848355" cy="1251384"/>
          </a:xfrm>
          <a:solidFill>
            <a:srgbClr val="333657"/>
          </a:solidFill>
        </p:grpSpPr>
        <p:sp>
          <p:nvSpPr>
            <p:cNvPr id="74" name="Isosceles Triangle 58367">
              <a:extLst>
                <a:ext uri="{FF2B5EF4-FFF2-40B4-BE49-F238E27FC236}">
                  <a16:creationId xmlns:a16="http://schemas.microsoft.com/office/drawing/2014/main" id="{4E2CE2AC-8C99-2D40-B266-35DDED98FF7E}"/>
                </a:ext>
              </a:extLst>
            </p:cNvPr>
            <p:cNvSpPr/>
            <p:nvPr/>
          </p:nvSpPr>
          <p:spPr bwMode="auto">
            <a:xfrm rot="10800000">
              <a:off x="2647710" y="3029948"/>
              <a:ext cx="397266" cy="235388"/>
            </a:xfrm>
            <a:prstGeom prst="triangle">
              <a:avLst>
                <a:gd name="adj" fmla="val 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75" name="Rectangle: Rounded Corners 170">
              <a:extLst>
                <a:ext uri="{FF2B5EF4-FFF2-40B4-BE49-F238E27FC236}">
                  <a16:creationId xmlns:a16="http://schemas.microsoft.com/office/drawing/2014/main" id="{EBFC326D-170E-2741-B5E2-71BF24964ACE}"/>
                </a:ext>
              </a:extLst>
            </p:cNvPr>
            <p:cNvSpPr/>
            <p:nvPr/>
          </p:nvSpPr>
          <p:spPr>
            <a:xfrm>
              <a:off x="1490031" y="2013952"/>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2</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Monitor &amp; relate production, distribution &amp; shipment of products and services</a:t>
              </a:r>
            </a:p>
          </p:txBody>
        </p:sp>
      </p:grpSp>
      <p:grpSp>
        <p:nvGrpSpPr>
          <p:cNvPr id="77" name="Group 184">
            <a:extLst>
              <a:ext uri="{FF2B5EF4-FFF2-40B4-BE49-F238E27FC236}">
                <a16:creationId xmlns:a16="http://schemas.microsoft.com/office/drawing/2014/main" id="{DB452D74-B93B-2149-A504-4852761560D2}"/>
              </a:ext>
            </a:extLst>
          </p:cNvPr>
          <p:cNvGrpSpPr/>
          <p:nvPr/>
        </p:nvGrpSpPr>
        <p:grpSpPr>
          <a:xfrm rot="10800000" flipH="1" flipV="1">
            <a:off x="1759670" y="4665278"/>
            <a:ext cx="1848355" cy="1249086"/>
            <a:chOff x="1490031" y="1806115"/>
            <a:chExt cx="1848355" cy="1249086"/>
          </a:xfrm>
          <a:solidFill>
            <a:srgbClr val="333657"/>
          </a:solidFill>
        </p:grpSpPr>
        <p:sp>
          <p:nvSpPr>
            <p:cNvPr id="78" name="Isosceles Triangle 185">
              <a:extLst>
                <a:ext uri="{FF2B5EF4-FFF2-40B4-BE49-F238E27FC236}">
                  <a16:creationId xmlns:a16="http://schemas.microsoft.com/office/drawing/2014/main" id="{B155691D-15BD-2047-B5CF-59C5ABDD4E53}"/>
                </a:ext>
              </a:extLst>
            </p:cNvPr>
            <p:cNvSpPr/>
            <p:nvPr/>
          </p:nvSpPr>
          <p:spPr bwMode="auto">
            <a:xfrm rot="155759">
              <a:off x="1830193" y="1806115"/>
              <a:ext cx="397266" cy="235388"/>
            </a:xfrm>
            <a:prstGeom prst="triangle">
              <a:avLst>
                <a:gd name="adj" fmla="val 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79" name="Rectangle: Rounded Corners 186">
              <a:extLst>
                <a:ext uri="{FF2B5EF4-FFF2-40B4-BE49-F238E27FC236}">
                  <a16:creationId xmlns:a16="http://schemas.microsoft.com/office/drawing/2014/main" id="{62E9F4E8-3AFA-EA42-B413-7A29BC95727D}"/>
                </a:ext>
              </a:extLst>
            </p:cNvPr>
            <p:cNvSpPr/>
            <p:nvPr/>
          </p:nvSpPr>
          <p:spPr>
            <a:xfrm>
              <a:off x="1490031" y="2013952"/>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1</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Administrator schedules meeting for candidate to complete paperwo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grpSp>
      <p:grpSp>
        <p:nvGrpSpPr>
          <p:cNvPr id="99" name="Group 98">
            <a:extLst>
              <a:ext uri="{FF2B5EF4-FFF2-40B4-BE49-F238E27FC236}">
                <a16:creationId xmlns:a16="http://schemas.microsoft.com/office/drawing/2014/main" id="{1B1E7FBA-C2B9-5F4B-BA8A-FD74516DA4FE}"/>
              </a:ext>
            </a:extLst>
          </p:cNvPr>
          <p:cNvGrpSpPr/>
          <p:nvPr/>
        </p:nvGrpSpPr>
        <p:grpSpPr>
          <a:xfrm>
            <a:off x="4784812" y="4168995"/>
            <a:ext cx="1848355" cy="1251384"/>
            <a:chOff x="4784812" y="4168995"/>
            <a:chExt cx="1848355" cy="1251384"/>
          </a:xfrm>
          <a:solidFill>
            <a:srgbClr val="333657"/>
          </a:solidFill>
        </p:grpSpPr>
        <p:sp>
          <p:nvSpPr>
            <p:cNvPr id="82" name="Isosceles Triangle 192">
              <a:extLst>
                <a:ext uri="{FF2B5EF4-FFF2-40B4-BE49-F238E27FC236}">
                  <a16:creationId xmlns:a16="http://schemas.microsoft.com/office/drawing/2014/main" id="{DCD7C037-73DC-F849-A5C8-FB01E58C3DC4}"/>
                </a:ext>
              </a:extLst>
            </p:cNvPr>
            <p:cNvSpPr/>
            <p:nvPr/>
          </p:nvSpPr>
          <p:spPr bwMode="auto">
            <a:xfrm rot="10800000" flipH="1" flipV="1">
              <a:off x="5078222" y="4168995"/>
              <a:ext cx="397266" cy="235388"/>
            </a:xfrm>
            <a:prstGeom prst="triangle">
              <a:avLst>
                <a:gd name="adj" fmla="val 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83" name="Rectangle: Rounded Corners 193">
              <a:extLst>
                <a:ext uri="{FF2B5EF4-FFF2-40B4-BE49-F238E27FC236}">
                  <a16:creationId xmlns:a16="http://schemas.microsoft.com/office/drawing/2014/main" id="{3C675A92-37FE-2A45-BCEC-B76B96986DA9}"/>
                </a:ext>
              </a:extLst>
            </p:cNvPr>
            <p:cNvSpPr/>
            <p:nvPr/>
          </p:nvSpPr>
          <p:spPr>
            <a:xfrm rot="10800000" flipH="1" flipV="1">
              <a:off x="4784812" y="4379130"/>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3</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Regular check-ins on internal inventories, productions, distributions &amp; sales</a:t>
              </a:r>
            </a:p>
          </p:txBody>
        </p:sp>
      </p:grpSp>
      <p:grpSp>
        <p:nvGrpSpPr>
          <p:cNvPr id="85" name="Group 196">
            <a:extLst>
              <a:ext uri="{FF2B5EF4-FFF2-40B4-BE49-F238E27FC236}">
                <a16:creationId xmlns:a16="http://schemas.microsoft.com/office/drawing/2014/main" id="{6D53D479-99D6-FE4E-86B0-438BD993871F}"/>
              </a:ext>
            </a:extLst>
          </p:cNvPr>
          <p:cNvGrpSpPr/>
          <p:nvPr/>
        </p:nvGrpSpPr>
        <p:grpSpPr>
          <a:xfrm>
            <a:off x="4864389" y="2412023"/>
            <a:ext cx="1848355" cy="1251384"/>
            <a:chOff x="1490031" y="2013952"/>
            <a:chExt cx="1848355" cy="1251384"/>
          </a:xfrm>
          <a:solidFill>
            <a:srgbClr val="333657"/>
          </a:solidFill>
        </p:grpSpPr>
        <p:sp>
          <p:nvSpPr>
            <p:cNvPr id="86" name="Isosceles Triangle 198">
              <a:extLst>
                <a:ext uri="{FF2B5EF4-FFF2-40B4-BE49-F238E27FC236}">
                  <a16:creationId xmlns:a16="http://schemas.microsoft.com/office/drawing/2014/main" id="{E9051020-5CBC-8C40-9B46-3FB98EBD1283}"/>
                </a:ext>
              </a:extLst>
            </p:cNvPr>
            <p:cNvSpPr/>
            <p:nvPr/>
          </p:nvSpPr>
          <p:spPr bwMode="auto">
            <a:xfrm rot="10800000">
              <a:off x="2647710" y="3029948"/>
              <a:ext cx="397266" cy="235388"/>
            </a:xfrm>
            <a:prstGeom prst="triangle">
              <a:avLst>
                <a:gd name="adj" fmla="val 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87" name="Rectangle: Rounded Corners 199">
              <a:extLst>
                <a:ext uri="{FF2B5EF4-FFF2-40B4-BE49-F238E27FC236}">
                  <a16:creationId xmlns:a16="http://schemas.microsoft.com/office/drawing/2014/main" id="{D69A44B5-FCAE-FD41-A4CF-2F93A1233391}"/>
                </a:ext>
              </a:extLst>
            </p:cNvPr>
            <p:cNvSpPr/>
            <p:nvPr/>
          </p:nvSpPr>
          <p:spPr>
            <a:xfrm>
              <a:off x="1490031" y="2013952"/>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4</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Using different strategies and approaches to view the entire chain regularly.</a:t>
              </a:r>
            </a:p>
          </p:txBody>
        </p:sp>
      </p:grpSp>
      <p:grpSp>
        <p:nvGrpSpPr>
          <p:cNvPr id="100" name="Group 99">
            <a:extLst>
              <a:ext uri="{FF2B5EF4-FFF2-40B4-BE49-F238E27FC236}">
                <a16:creationId xmlns:a16="http://schemas.microsoft.com/office/drawing/2014/main" id="{7E9C2C76-CE7B-E040-B50D-6BADF6C5259F}"/>
              </a:ext>
            </a:extLst>
          </p:cNvPr>
          <p:cNvGrpSpPr/>
          <p:nvPr/>
        </p:nvGrpSpPr>
        <p:grpSpPr>
          <a:xfrm>
            <a:off x="8156260" y="4931394"/>
            <a:ext cx="1848355" cy="1251384"/>
            <a:chOff x="8156260" y="4931394"/>
            <a:chExt cx="1848355" cy="1251384"/>
          </a:xfrm>
          <a:solidFill>
            <a:srgbClr val="333657"/>
          </a:solidFill>
        </p:grpSpPr>
        <p:sp>
          <p:nvSpPr>
            <p:cNvPr id="90" name="Isosceles Triangle 205">
              <a:extLst>
                <a:ext uri="{FF2B5EF4-FFF2-40B4-BE49-F238E27FC236}">
                  <a16:creationId xmlns:a16="http://schemas.microsoft.com/office/drawing/2014/main" id="{9A1C337E-322B-FD4E-9805-B12BC36F111E}"/>
                </a:ext>
              </a:extLst>
            </p:cNvPr>
            <p:cNvSpPr/>
            <p:nvPr/>
          </p:nvSpPr>
          <p:spPr bwMode="auto">
            <a:xfrm rot="10800000" flipH="1" flipV="1">
              <a:off x="9080437" y="4931394"/>
              <a:ext cx="397266" cy="235388"/>
            </a:xfrm>
            <a:prstGeom prst="triangle">
              <a:avLst>
                <a:gd name="adj" fmla="val 10000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91" name="Rectangle: Rounded Corners 206">
              <a:extLst>
                <a:ext uri="{FF2B5EF4-FFF2-40B4-BE49-F238E27FC236}">
                  <a16:creationId xmlns:a16="http://schemas.microsoft.com/office/drawing/2014/main" id="{08DEF25F-EBAE-D64A-A489-BD9AC99E861F}"/>
                </a:ext>
              </a:extLst>
            </p:cNvPr>
            <p:cNvSpPr/>
            <p:nvPr/>
          </p:nvSpPr>
          <p:spPr>
            <a:xfrm rot="10800000" flipH="1" flipV="1">
              <a:off x="8156260" y="5141529"/>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6</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Control the management flow of products &amp; services, from product origin.</a:t>
              </a:r>
            </a:p>
          </p:txBody>
        </p:sp>
      </p:grpSp>
      <p:grpSp>
        <p:nvGrpSpPr>
          <p:cNvPr id="93" name="Group 208">
            <a:extLst>
              <a:ext uri="{FF2B5EF4-FFF2-40B4-BE49-F238E27FC236}">
                <a16:creationId xmlns:a16="http://schemas.microsoft.com/office/drawing/2014/main" id="{FE029CE2-E6AD-F04E-B94D-A06959C9A88E}"/>
              </a:ext>
            </a:extLst>
          </p:cNvPr>
          <p:cNvGrpSpPr/>
          <p:nvPr/>
        </p:nvGrpSpPr>
        <p:grpSpPr>
          <a:xfrm>
            <a:off x="8003400" y="2614082"/>
            <a:ext cx="1848355" cy="1251384"/>
            <a:chOff x="1490031" y="2013952"/>
            <a:chExt cx="1848355" cy="1251384"/>
          </a:xfrm>
          <a:solidFill>
            <a:srgbClr val="333657"/>
          </a:solidFill>
        </p:grpSpPr>
        <p:sp>
          <p:nvSpPr>
            <p:cNvPr id="94" name="Isosceles Triangle 210">
              <a:extLst>
                <a:ext uri="{FF2B5EF4-FFF2-40B4-BE49-F238E27FC236}">
                  <a16:creationId xmlns:a16="http://schemas.microsoft.com/office/drawing/2014/main" id="{6FB2F3D7-4A92-A841-B921-205BAD0245E6}"/>
                </a:ext>
              </a:extLst>
            </p:cNvPr>
            <p:cNvSpPr/>
            <p:nvPr/>
          </p:nvSpPr>
          <p:spPr bwMode="auto">
            <a:xfrm rot="10800000">
              <a:off x="1636645" y="3029948"/>
              <a:ext cx="397266" cy="235388"/>
            </a:xfrm>
            <a:prstGeom prst="triangle">
              <a:avLst>
                <a:gd name="adj" fmla="val 100000"/>
              </a:avLst>
            </a:prstGeom>
            <a:grpFill/>
            <a:ln w="12700" cap="flat" cmpd="sng" algn="ctr">
              <a:no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600" b="1" i="0" u="none" strike="noStrike" kern="1200" cap="none" spc="0" normalizeH="0" baseline="0" noProof="0">
                <a:ln>
                  <a:noFill/>
                </a:ln>
                <a:solidFill>
                  <a:srgbClr val="00279F"/>
                </a:solidFill>
                <a:effectLst/>
                <a:uLnTx/>
                <a:uFillTx/>
                <a:latin typeface="Arial" panose="020B0604020202020204" pitchFamily="34" charset="0"/>
                <a:ea typeface="+mn-ea"/>
                <a:cs typeface="Arial" panose="020B0604020202020204" pitchFamily="34" charset="0"/>
              </a:endParaRPr>
            </a:p>
          </p:txBody>
        </p:sp>
        <p:sp>
          <p:nvSpPr>
            <p:cNvPr id="95" name="Rectangle: Rounded Corners 211">
              <a:extLst>
                <a:ext uri="{FF2B5EF4-FFF2-40B4-BE49-F238E27FC236}">
                  <a16:creationId xmlns:a16="http://schemas.microsoft.com/office/drawing/2014/main" id="{B2B8AC7D-61CA-1149-A487-8C8104DF8D8B}"/>
                </a:ext>
              </a:extLst>
            </p:cNvPr>
            <p:cNvSpPr/>
            <p:nvPr/>
          </p:nvSpPr>
          <p:spPr>
            <a:xfrm>
              <a:off x="1490031" y="2013952"/>
              <a:ext cx="1848355" cy="1041249"/>
            </a:xfrm>
            <a:prstGeom prst="roundRect">
              <a:avLst>
                <a:gd name="adj" fmla="val 3556"/>
              </a:avLst>
            </a:prstGeom>
            <a:grpFill/>
            <a:ln w="12700" cap="flat" cmpd="sng" algn="ctr">
              <a:noFill/>
              <a:prstDash val="solid"/>
              <a:miter lim="800000"/>
            </a:ln>
            <a:effectLst/>
          </p:spPr>
          <p:txBody>
            <a:bodyPr rtlCol="0" anchor="ctr"/>
            <a:lstStyle/>
            <a:p>
              <a:pPr lvl="0">
                <a:lnSpc>
                  <a:spcPct val="130000"/>
                </a:lnSpc>
                <a:defRPr/>
              </a:pPr>
              <a:r>
                <a:rPr lang="en-US" sz="1100" b="1" kern="0">
                  <a:solidFill>
                    <a:prstClr val="white"/>
                  </a:solidFill>
                  <a:latin typeface="Century Gothic" panose="020B0502020202020204" pitchFamily="34" charset="0"/>
                  <a:cs typeface="Segoe UI" panose="020B0502040204020203" pitchFamily="34" charset="0"/>
                </a:rPr>
                <a:t>STAGE 05</a:t>
              </a:r>
              <a:endParaRPr lang="id-ID" sz="1100" b="1" kern="0">
                <a:solidFill>
                  <a:prstClr val="white"/>
                </a:solidFill>
                <a:latin typeface="Century Gothic" panose="020B0502020202020204" pitchFamily="34" charset="0"/>
                <a:cs typeface="Segoe UI" panose="020B0502040204020203" pitchFamily="34" charset="0"/>
              </a:endParaRPr>
            </a:p>
            <a:p>
              <a:pPr lvl="0">
                <a:lnSpc>
                  <a:spcPct val="130000"/>
                </a:lnSpc>
                <a:defRPr/>
              </a:pPr>
              <a:r>
                <a:rPr lang="en-US" sz="800" kern="0">
                  <a:solidFill>
                    <a:prstClr val="white"/>
                  </a:solidFill>
                  <a:latin typeface="Century Gothic" panose="020B0502020202020204" pitchFamily="34" charset="0"/>
                  <a:cs typeface="Segoe UI Light" panose="020B0502040204020203" pitchFamily="34" charset="0"/>
                </a:rPr>
                <a:t>Working efficiently at each and every step involved in the entire chain process.</a:t>
              </a:r>
            </a:p>
          </p:txBody>
        </p:sp>
      </p:grpSp>
      <p:sp>
        <p:nvSpPr>
          <p:cNvPr id="101" name="Rectangle 100">
            <a:extLst>
              <a:ext uri="{FF2B5EF4-FFF2-40B4-BE49-F238E27FC236}">
                <a16:creationId xmlns:a16="http://schemas.microsoft.com/office/drawing/2014/main" id="{07A03BFA-E243-214B-8659-A28217D9DC37}"/>
              </a:ext>
            </a:extLst>
          </p:cNvPr>
          <p:cNvSpPr/>
          <p:nvPr/>
        </p:nvSpPr>
        <p:spPr>
          <a:xfrm>
            <a:off x="9518507" y="-27275"/>
            <a:ext cx="2671454" cy="96707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Animation</a:t>
            </a:r>
          </a:p>
        </p:txBody>
      </p:sp>
    </p:spTree>
    <p:extLst>
      <p:ext uri="{BB962C8B-B14F-4D97-AF65-F5344CB8AC3E}">
        <p14:creationId xmlns:p14="http://schemas.microsoft.com/office/powerpoint/2010/main" val="3748877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67"/>
                                        </p:tgtEl>
                                        <p:attrNameLst>
                                          <p:attrName>style.visibility</p:attrName>
                                        </p:attrNameLst>
                                      </p:cBhvr>
                                      <p:to>
                                        <p:strVal val="visible"/>
                                      </p:to>
                                    </p:set>
                                    <p:anim calcmode="lin" valueType="num">
                                      <p:cBhvr>
                                        <p:cTn id="7" dur="1000" fill="hold"/>
                                        <p:tgtEl>
                                          <p:spTgt spid="67"/>
                                        </p:tgtEl>
                                        <p:attrNameLst>
                                          <p:attrName>ppt_w</p:attrName>
                                        </p:attrNameLst>
                                      </p:cBhvr>
                                      <p:tavLst>
                                        <p:tav tm="0">
                                          <p:val>
                                            <p:fltVal val="0"/>
                                          </p:val>
                                        </p:tav>
                                        <p:tav tm="100000">
                                          <p:val>
                                            <p:strVal val="#ppt_w"/>
                                          </p:val>
                                        </p:tav>
                                      </p:tavLst>
                                    </p:anim>
                                    <p:anim calcmode="lin" valueType="num">
                                      <p:cBhvr>
                                        <p:cTn id="8" dur="1000" fill="hold"/>
                                        <p:tgtEl>
                                          <p:spTgt spid="67"/>
                                        </p:tgtEl>
                                        <p:attrNameLst>
                                          <p:attrName>ppt_h</p:attrName>
                                        </p:attrNameLst>
                                      </p:cBhvr>
                                      <p:tavLst>
                                        <p:tav tm="0">
                                          <p:val>
                                            <p:fltVal val="0"/>
                                          </p:val>
                                        </p:tav>
                                        <p:tav tm="100000">
                                          <p:val>
                                            <p:strVal val="#ppt_h"/>
                                          </p:val>
                                        </p:tav>
                                      </p:tavLst>
                                    </p:anim>
                                    <p:animEffect transition="in" filter="fade">
                                      <p:cBhvr>
                                        <p:cTn id="9" dur="1000"/>
                                        <p:tgtEl>
                                          <p:spTgt spid="67"/>
                                        </p:tgtEl>
                                      </p:cBhvr>
                                    </p:animEffect>
                                  </p:childTnLst>
                                </p:cTn>
                              </p:par>
                              <p:par>
                                <p:cTn id="10" presetID="53" presetClass="entr" presetSubtype="16" fill="hold" grpId="0" nodeType="withEffect">
                                  <p:stCondLst>
                                    <p:cond delay="1250"/>
                                  </p:stCondLst>
                                  <p:childTnLst>
                                    <p:set>
                                      <p:cBhvr>
                                        <p:cTn id="11" dur="1" fill="hold">
                                          <p:stCondLst>
                                            <p:cond delay="0"/>
                                          </p:stCondLst>
                                        </p:cTn>
                                        <p:tgtEl>
                                          <p:spTgt spid="68"/>
                                        </p:tgtEl>
                                        <p:attrNameLst>
                                          <p:attrName>style.visibility</p:attrName>
                                        </p:attrNameLst>
                                      </p:cBhvr>
                                      <p:to>
                                        <p:strVal val="visible"/>
                                      </p:to>
                                    </p:set>
                                    <p:anim calcmode="lin" valueType="num">
                                      <p:cBhvr>
                                        <p:cTn id="12" dur="1000" fill="hold"/>
                                        <p:tgtEl>
                                          <p:spTgt spid="68"/>
                                        </p:tgtEl>
                                        <p:attrNameLst>
                                          <p:attrName>ppt_w</p:attrName>
                                        </p:attrNameLst>
                                      </p:cBhvr>
                                      <p:tavLst>
                                        <p:tav tm="0">
                                          <p:val>
                                            <p:fltVal val="0"/>
                                          </p:val>
                                        </p:tav>
                                        <p:tav tm="100000">
                                          <p:val>
                                            <p:strVal val="#ppt_w"/>
                                          </p:val>
                                        </p:tav>
                                      </p:tavLst>
                                    </p:anim>
                                    <p:anim calcmode="lin" valueType="num">
                                      <p:cBhvr>
                                        <p:cTn id="13" dur="1000" fill="hold"/>
                                        <p:tgtEl>
                                          <p:spTgt spid="68"/>
                                        </p:tgtEl>
                                        <p:attrNameLst>
                                          <p:attrName>ppt_h</p:attrName>
                                        </p:attrNameLst>
                                      </p:cBhvr>
                                      <p:tavLst>
                                        <p:tav tm="0">
                                          <p:val>
                                            <p:fltVal val="0"/>
                                          </p:val>
                                        </p:tav>
                                        <p:tav tm="100000">
                                          <p:val>
                                            <p:strVal val="#ppt_h"/>
                                          </p:val>
                                        </p:tav>
                                      </p:tavLst>
                                    </p:anim>
                                    <p:animEffect transition="in" filter="fade">
                                      <p:cBhvr>
                                        <p:cTn id="14" dur="1000"/>
                                        <p:tgtEl>
                                          <p:spTgt spid="68"/>
                                        </p:tgtEl>
                                      </p:cBhvr>
                                    </p:animEffect>
                                  </p:childTnLst>
                                </p:cTn>
                              </p:par>
                              <p:par>
                                <p:cTn id="15" presetID="53" presetClass="entr" presetSubtype="16" fill="hold" grpId="0" nodeType="withEffect">
                                  <p:stCondLst>
                                    <p:cond delay="2000"/>
                                  </p:stCondLst>
                                  <p:childTnLst>
                                    <p:set>
                                      <p:cBhvr>
                                        <p:cTn id="16" dur="1" fill="hold">
                                          <p:stCondLst>
                                            <p:cond delay="0"/>
                                          </p:stCondLst>
                                        </p:cTn>
                                        <p:tgtEl>
                                          <p:spTgt spid="69"/>
                                        </p:tgtEl>
                                        <p:attrNameLst>
                                          <p:attrName>style.visibility</p:attrName>
                                        </p:attrNameLst>
                                      </p:cBhvr>
                                      <p:to>
                                        <p:strVal val="visible"/>
                                      </p:to>
                                    </p:set>
                                    <p:anim calcmode="lin" valueType="num">
                                      <p:cBhvr>
                                        <p:cTn id="17" dur="1000" fill="hold"/>
                                        <p:tgtEl>
                                          <p:spTgt spid="69"/>
                                        </p:tgtEl>
                                        <p:attrNameLst>
                                          <p:attrName>ppt_w</p:attrName>
                                        </p:attrNameLst>
                                      </p:cBhvr>
                                      <p:tavLst>
                                        <p:tav tm="0">
                                          <p:val>
                                            <p:fltVal val="0"/>
                                          </p:val>
                                        </p:tav>
                                        <p:tav tm="100000">
                                          <p:val>
                                            <p:strVal val="#ppt_w"/>
                                          </p:val>
                                        </p:tav>
                                      </p:tavLst>
                                    </p:anim>
                                    <p:anim calcmode="lin" valueType="num">
                                      <p:cBhvr>
                                        <p:cTn id="18" dur="1000" fill="hold"/>
                                        <p:tgtEl>
                                          <p:spTgt spid="69"/>
                                        </p:tgtEl>
                                        <p:attrNameLst>
                                          <p:attrName>ppt_h</p:attrName>
                                        </p:attrNameLst>
                                      </p:cBhvr>
                                      <p:tavLst>
                                        <p:tav tm="0">
                                          <p:val>
                                            <p:fltVal val="0"/>
                                          </p:val>
                                        </p:tav>
                                        <p:tav tm="100000">
                                          <p:val>
                                            <p:strVal val="#ppt_h"/>
                                          </p:val>
                                        </p:tav>
                                      </p:tavLst>
                                    </p:anim>
                                    <p:animEffect transition="in" filter="fade">
                                      <p:cBhvr>
                                        <p:cTn id="19" dur="1000"/>
                                        <p:tgtEl>
                                          <p:spTgt spid="69"/>
                                        </p:tgtEl>
                                      </p:cBhvr>
                                    </p:animEffect>
                                  </p:childTnLst>
                                </p:cTn>
                              </p:par>
                              <p:par>
                                <p:cTn id="20" presetID="53" presetClass="entr" presetSubtype="16" fill="hold" grpId="0" nodeType="withEffect">
                                  <p:stCondLst>
                                    <p:cond delay="2750"/>
                                  </p:stCondLst>
                                  <p:childTnLst>
                                    <p:set>
                                      <p:cBhvr>
                                        <p:cTn id="21" dur="1" fill="hold">
                                          <p:stCondLst>
                                            <p:cond delay="0"/>
                                          </p:stCondLst>
                                        </p:cTn>
                                        <p:tgtEl>
                                          <p:spTgt spid="70"/>
                                        </p:tgtEl>
                                        <p:attrNameLst>
                                          <p:attrName>style.visibility</p:attrName>
                                        </p:attrNameLst>
                                      </p:cBhvr>
                                      <p:to>
                                        <p:strVal val="visible"/>
                                      </p:to>
                                    </p:set>
                                    <p:anim calcmode="lin" valueType="num">
                                      <p:cBhvr>
                                        <p:cTn id="22" dur="1000" fill="hold"/>
                                        <p:tgtEl>
                                          <p:spTgt spid="70"/>
                                        </p:tgtEl>
                                        <p:attrNameLst>
                                          <p:attrName>ppt_w</p:attrName>
                                        </p:attrNameLst>
                                      </p:cBhvr>
                                      <p:tavLst>
                                        <p:tav tm="0">
                                          <p:val>
                                            <p:fltVal val="0"/>
                                          </p:val>
                                        </p:tav>
                                        <p:tav tm="100000">
                                          <p:val>
                                            <p:strVal val="#ppt_w"/>
                                          </p:val>
                                        </p:tav>
                                      </p:tavLst>
                                    </p:anim>
                                    <p:anim calcmode="lin" valueType="num">
                                      <p:cBhvr>
                                        <p:cTn id="23" dur="1000" fill="hold"/>
                                        <p:tgtEl>
                                          <p:spTgt spid="70"/>
                                        </p:tgtEl>
                                        <p:attrNameLst>
                                          <p:attrName>ppt_h</p:attrName>
                                        </p:attrNameLst>
                                      </p:cBhvr>
                                      <p:tavLst>
                                        <p:tav tm="0">
                                          <p:val>
                                            <p:fltVal val="0"/>
                                          </p:val>
                                        </p:tav>
                                        <p:tav tm="100000">
                                          <p:val>
                                            <p:strVal val="#ppt_h"/>
                                          </p:val>
                                        </p:tav>
                                      </p:tavLst>
                                    </p:anim>
                                    <p:animEffect transition="in" filter="fade">
                                      <p:cBhvr>
                                        <p:cTn id="24" dur="1000"/>
                                        <p:tgtEl>
                                          <p:spTgt spid="70"/>
                                        </p:tgtEl>
                                      </p:cBhvr>
                                    </p:animEffect>
                                  </p:childTnLst>
                                </p:cTn>
                              </p:par>
                              <p:par>
                                <p:cTn id="25" presetID="53" presetClass="entr" presetSubtype="16" fill="hold" grpId="0" nodeType="withEffect">
                                  <p:stCondLst>
                                    <p:cond delay="3500"/>
                                  </p:stCondLst>
                                  <p:childTnLst>
                                    <p:set>
                                      <p:cBhvr>
                                        <p:cTn id="26" dur="1" fill="hold">
                                          <p:stCondLst>
                                            <p:cond delay="0"/>
                                          </p:stCondLst>
                                        </p:cTn>
                                        <p:tgtEl>
                                          <p:spTgt spid="71"/>
                                        </p:tgtEl>
                                        <p:attrNameLst>
                                          <p:attrName>style.visibility</p:attrName>
                                        </p:attrNameLst>
                                      </p:cBhvr>
                                      <p:to>
                                        <p:strVal val="visible"/>
                                      </p:to>
                                    </p:set>
                                    <p:anim calcmode="lin" valueType="num">
                                      <p:cBhvr>
                                        <p:cTn id="27" dur="1000" fill="hold"/>
                                        <p:tgtEl>
                                          <p:spTgt spid="71"/>
                                        </p:tgtEl>
                                        <p:attrNameLst>
                                          <p:attrName>ppt_w</p:attrName>
                                        </p:attrNameLst>
                                      </p:cBhvr>
                                      <p:tavLst>
                                        <p:tav tm="0">
                                          <p:val>
                                            <p:fltVal val="0"/>
                                          </p:val>
                                        </p:tav>
                                        <p:tav tm="100000">
                                          <p:val>
                                            <p:strVal val="#ppt_w"/>
                                          </p:val>
                                        </p:tav>
                                      </p:tavLst>
                                    </p:anim>
                                    <p:anim calcmode="lin" valueType="num">
                                      <p:cBhvr>
                                        <p:cTn id="28" dur="1000" fill="hold"/>
                                        <p:tgtEl>
                                          <p:spTgt spid="71"/>
                                        </p:tgtEl>
                                        <p:attrNameLst>
                                          <p:attrName>ppt_h</p:attrName>
                                        </p:attrNameLst>
                                      </p:cBhvr>
                                      <p:tavLst>
                                        <p:tav tm="0">
                                          <p:val>
                                            <p:fltVal val="0"/>
                                          </p:val>
                                        </p:tav>
                                        <p:tav tm="100000">
                                          <p:val>
                                            <p:strVal val="#ppt_h"/>
                                          </p:val>
                                        </p:tav>
                                      </p:tavLst>
                                    </p:anim>
                                    <p:animEffect transition="in" filter="fade">
                                      <p:cBhvr>
                                        <p:cTn id="29" dur="1000"/>
                                        <p:tgtEl>
                                          <p:spTgt spid="71"/>
                                        </p:tgtEl>
                                      </p:cBhvr>
                                    </p:animEffect>
                                  </p:childTnLst>
                                </p:cTn>
                              </p:par>
                              <p:par>
                                <p:cTn id="30" presetID="53" presetClass="entr" presetSubtype="16" fill="hold" grpId="0" nodeType="withEffect">
                                  <p:stCondLst>
                                    <p:cond delay="4250"/>
                                  </p:stCondLst>
                                  <p:childTnLst>
                                    <p:set>
                                      <p:cBhvr>
                                        <p:cTn id="31" dur="1" fill="hold">
                                          <p:stCondLst>
                                            <p:cond delay="0"/>
                                          </p:stCondLst>
                                        </p:cTn>
                                        <p:tgtEl>
                                          <p:spTgt spid="72"/>
                                        </p:tgtEl>
                                        <p:attrNameLst>
                                          <p:attrName>style.visibility</p:attrName>
                                        </p:attrNameLst>
                                      </p:cBhvr>
                                      <p:to>
                                        <p:strVal val="visible"/>
                                      </p:to>
                                    </p:set>
                                    <p:anim calcmode="lin" valueType="num">
                                      <p:cBhvr>
                                        <p:cTn id="32" dur="1000" fill="hold"/>
                                        <p:tgtEl>
                                          <p:spTgt spid="72"/>
                                        </p:tgtEl>
                                        <p:attrNameLst>
                                          <p:attrName>ppt_w</p:attrName>
                                        </p:attrNameLst>
                                      </p:cBhvr>
                                      <p:tavLst>
                                        <p:tav tm="0">
                                          <p:val>
                                            <p:fltVal val="0"/>
                                          </p:val>
                                        </p:tav>
                                        <p:tav tm="100000">
                                          <p:val>
                                            <p:strVal val="#ppt_w"/>
                                          </p:val>
                                        </p:tav>
                                      </p:tavLst>
                                    </p:anim>
                                    <p:anim calcmode="lin" valueType="num">
                                      <p:cBhvr>
                                        <p:cTn id="33" dur="1000" fill="hold"/>
                                        <p:tgtEl>
                                          <p:spTgt spid="72"/>
                                        </p:tgtEl>
                                        <p:attrNameLst>
                                          <p:attrName>ppt_h</p:attrName>
                                        </p:attrNameLst>
                                      </p:cBhvr>
                                      <p:tavLst>
                                        <p:tav tm="0">
                                          <p:val>
                                            <p:fltVal val="0"/>
                                          </p:val>
                                        </p:tav>
                                        <p:tav tm="100000">
                                          <p:val>
                                            <p:strVal val="#ppt_h"/>
                                          </p:val>
                                        </p:tav>
                                      </p:tavLst>
                                    </p:anim>
                                    <p:animEffect transition="in" filter="fade">
                                      <p:cBhvr>
                                        <p:cTn id="34" dur="1000"/>
                                        <p:tgtEl>
                                          <p:spTgt spid="72"/>
                                        </p:tgtEl>
                                      </p:cBhvr>
                                    </p:animEffect>
                                  </p:childTnLst>
                                </p:cTn>
                              </p:par>
                              <p:par>
                                <p:cTn id="35" presetID="12" presetClass="entr" presetSubtype="1" fill="hold" nodeType="withEffect">
                                  <p:stCondLst>
                                    <p:cond delay="500"/>
                                  </p:stCondLst>
                                  <p:childTnLst>
                                    <p:set>
                                      <p:cBhvr>
                                        <p:cTn id="36" dur="1" fill="hold">
                                          <p:stCondLst>
                                            <p:cond delay="0"/>
                                          </p:stCondLst>
                                        </p:cTn>
                                        <p:tgtEl>
                                          <p:spTgt spid="77"/>
                                        </p:tgtEl>
                                        <p:attrNameLst>
                                          <p:attrName>style.visibility</p:attrName>
                                        </p:attrNameLst>
                                      </p:cBhvr>
                                      <p:to>
                                        <p:strVal val="visible"/>
                                      </p:to>
                                    </p:set>
                                    <p:anim calcmode="lin" valueType="num">
                                      <p:cBhvr additive="base">
                                        <p:cTn id="37" dur="750"/>
                                        <p:tgtEl>
                                          <p:spTgt spid="77"/>
                                        </p:tgtEl>
                                        <p:attrNameLst>
                                          <p:attrName>ppt_y</p:attrName>
                                        </p:attrNameLst>
                                      </p:cBhvr>
                                      <p:tavLst>
                                        <p:tav tm="0">
                                          <p:val>
                                            <p:strVal val="#ppt_y-#ppt_h*1.125000"/>
                                          </p:val>
                                        </p:tav>
                                        <p:tav tm="100000">
                                          <p:val>
                                            <p:strVal val="#ppt_y"/>
                                          </p:val>
                                        </p:tav>
                                      </p:tavLst>
                                    </p:anim>
                                    <p:animEffect transition="in" filter="wipe(down)">
                                      <p:cBhvr>
                                        <p:cTn id="38" dur="750"/>
                                        <p:tgtEl>
                                          <p:spTgt spid="77"/>
                                        </p:tgtEl>
                                      </p:cBhvr>
                                    </p:animEffect>
                                  </p:childTnLst>
                                </p:cTn>
                              </p:par>
                              <p:par>
                                <p:cTn id="39" presetID="12" presetClass="entr" presetSubtype="4" fill="hold" nodeType="withEffect">
                                  <p:stCondLst>
                                    <p:cond delay="1250"/>
                                  </p:stCondLst>
                                  <p:childTnLst>
                                    <p:set>
                                      <p:cBhvr>
                                        <p:cTn id="40" dur="1" fill="hold">
                                          <p:stCondLst>
                                            <p:cond delay="0"/>
                                          </p:stCondLst>
                                        </p:cTn>
                                        <p:tgtEl>
                                          <p:spTgt spid="73"/>
                                        </p:tgtEl>
                                        <p:attrNameLst>
                                          <p:attrName>style.visibility</p:attrName>
                                        </p:attrNameLst>
                                      </p:cBhvr>
                                      <p:to>
                                        <p:strVal val="visible"/>
                                      </p:to>
                                    </p:set>
                                    <p:anim calcmode="lin" valueType="num">
                                      <p:cBhvr additive="base">
                                        <p:cTn id="41" dur="750"/>
                                        <p:tgtEl>
                                          <p:spTgt spid="73"/>
                                        </p:tgtEl>
                                        <p:attrNameLst>
                                          <p:attrName>ppt_y</p:attrName>
                                        </p:attrNameLst>
                                      </p:cBhvr>
                                      <p:tavLst>
                                        <p:tav tm="0">
                                          <p:val>
                                            <p:strVal val="#ppt_y+#ppt_h*1.125000"/>
                                          </p:val>
                                        </p:tav>
                                        <p:tav tm="100000">
                                          <p:val>
                                            <p:strVal val="#ppt_y"/>
                                          </p:val>
                                        </p:tav>
                                      </p:tavLst>
                                    </p:anim>
                                    <p:animEffect transition="in" filter="wipe(up)">
                                      <p:cBhvr>
                                        <p:cTn id="42" dur="750"/>
                                        <p:tgtEl>
                                          <p:spTgt spid="73"/>
                                        </p:tgtEl>
                                      </p:cBhvr>
                                    </p:animEffect>
                                  </p:childTnLst>
                                </p:cTn>
                              </p:par>
                              <p:par>
                                <p:cTn id="43" presetID="12" presetClass="entr" presetSubtype="4" fill="hold" nodeType="withEffect">
                                  <p:stCondLst>
                                    <p:cond delay="2750"/>
                                  </p:stCondLst>
                                  <p:childTnLst>
                                    <p:set>
                                      <p:cBhvr>
                                        <p:cTn id="44" dur="1" fill="hold">
                                          <p:stCondLst>
                                            <p:cond delay="0"/>
                                          </p:stCondLst>
                                        </p:cTn>
                                        <p:tgtEl>
                                          <p:spTgt spid="85"/>
                                        </p:tgtEl>
                                        <p:attrNameLst>
                                          <p:attrName>style.visibility</p:attrName>
                                        </p:attrNameLst>
                                      </p:cBhvr>
                                      <p:to>
                                        <p:strVal val="visible"/>
                                      </p:to>
                                    </p:set>
                                    <p:anim calcmode="lin" valueType="num">
                                      <p:cBhvr additive="base">
                                        <p:cTn id="45" dur="750"/>
                                        <p:tgtEl>
                                          <p:spTgt spid="85"/>
                                        </p:tgtEl>
                                        <p:attrNameLst>
                                          <p:attrName>ppt_y</p:attrName>
                                        </p:attrNameLst>
                                      </p:cBhvr>
                                      <p:tavLst>
                                        <p:tav tm="0">
                                          <p:val>
                                            <p:strVal val="#ppt_y+#ppt_h*1.125000"/>
                                          </p:val>
                                        </p:tav>
                                        <p:tav tm="100000">
                                          <p:val>
                                            <p:strVal val="#ppt_y"/>
                                          </p:val>
                                        </p:tav>
                                      </p:tavLst>
                                    </p:anim>
                                    <p:animEffect transition="in" filter="wipe(up)">
                                      <p:cBhvr>
                                        <p:cTn id="46" dur="750"/>
                                        <p:tgtEl>
                                          <p:spTgt spid="85"/>
                                        </p:tgtEl>
                                      </p:cBhvr>
                                    </p:animEffect>
                                  </p:childTnLst>
                                </p:cTn>
                              </p:par>
                              <p:par>
                                <p:cTn id="47" presetID="12" presetClass="entr" presetSubtype="4" fill="hold" nodeType="withEffect">
                                  <p:stCondLst>
                                    <p:cond delay="3500"/>
                                  </p:stCondLst>
                                  <p:childTnLst>
                                    <p:set>
                                      <p:cBhvr>
                                        <p:cTn id="48" dur="1" fill="hold">
                                          <p:stCondLst>
                                            <p:cond delay="0"/>
                                          </p:stCondLst>
                                        </p:cTn>
                                        <p:tgtEl>
                                          <p:spTgt spid="93"/>
                                        </p:tgtEl>
                                        <p:attrNameLst>
                                          <p:attrName>style.visibility</p:attrName>
                                        </p:attrNameLst>
                                      </p:cBhvr>
                                      <p:to>
                                        <p:strVal val="visible"/>
                                      </p:to>
                                    </p:set>
                                    <p:anim calcmode="lin" valueType="num">
                                      <p:cBhvr additive="base">
                                        <p:cTn id="49" dur="750"/>
                                        <p:tgtEl>
                                          <p:spTgt spid="93"/>
                                        </p:tgtEl>
                                        <p:attrNameLst>
                                          <p:attrName>ppt_y</p:attrName>
                                        </p:attrNameLst>
                                      </p:cBhvr>
                                      <p:tavLst>
                                        <p:tav tm="0">
                                          <p:val>
                                            <p:strVal val="#ppt_y+#ppt_h*1.125000"/>
                                          </p:val>
                                        </p:tav>
                                        <p:tav tm="100000">
                                          <p:val>
                                            <p:strVal val="#ppt_y"/>
                                          </p:val>
                                        </p:tav>
                                      </p:tavLst>
                                    </p:anim>
                                    <p:animEffect transition="in" filter="wipe(up)">
                                      <p:cBhvr>
                                        <p:cTn id="50" dur="750"/>
                                        <p:tgtEl>
                                          <p:spTgt spid="93"/>
                                        </p:tgtEl>
                                      </p:cBhvr>
                                    </p:animEffect>
                                  </p:childTnLst>
                                </p:cTn>
                              </p:par>
                              <p:par>
                                <p:cTn id="51" presetID="10" presetClass="entr" presetSubtype="0" fill="hold" nodeType="withEffect">
                                  <p:stCondLst>
                                    <p:cond delay="150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2000"/>
                                        <p:tgtEl>
                                          <p:spTgt spid="38"/>
                                        </p:tgtEl>
                                      </p:cBhvr>
                                    </p:animEffect>
                                  </p:childTnLst>
                                </p:cTn>
                              </p:par>
                              <p:par>
                                <p:cTn id="54" presetID="8" presetClass="emph" presetSubtype="0" repeatCount="indefinite" fill="hold" nodeType="withEffect">
                                  <p:stCondLst>
                                    <p:cond delay="1500"/>
                                  </p:stCondLst>
                                  <p:childTnLst>
                                    <p:animRot by="-21600000">
                                      <p:cBhvr>
                                        <p:cTn id="55" dur="40000" fill="hold"/>
                                        <p:tgtEl>
                                          <p:spTgt spid="38"/>
                                        </p:tgtEl>
                                        <p:attrNameLst>
                                          <p:attrName>r</p:attrName>
                                        </p:attrNameLst>
                                      </p:cBhvr>
                                    </p:animRot>
                                  </p:childTnLst>
                                </p:cTn>
                              </p:par>
                              <p:par>
                                <p:cTn id="56" presetID="10" presetClass="entr" presetSubtype="0" fill="hold" nodeType="withEffect">
                                  <p:stCondLst>
                                    <p:cond delay="150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2000"/>
                                        <p:tgtEl>
                                          <p:spTgt spid="9"/>
                                        </p:tgtEl>
                                      </p:cBhvr>
                                    </p:animEffect>
                                  </p:childTnLst>
                                </p:cTn>
                              </p:par>
                              <p:par>
                                <p:cTn id="59" presetID="8" presetClass="emph" presetSubtype="0" repeatCount="indefinite" fill="hold" nodeType="withEffect">
                                  <p:stCondLst>
                                    <p:cond delay="1500"/>
                                  </p:stCondLst>
                                  <p:childTnLst>
                                    <p:animRot by="21600000">
                                      <p:cBhvr>
                                        <p:cTn id="60" dur="40000" fill="hold"/>
                                        <p:tgtEl>
                                          <p:spTgt spid="9"/>
                                        </p:tgtEl>
                                        <p:attrNameLst>
                                          <p:attrName>r</p:attrName>
                                        </p:attrNameLst>
                                      </p:cBhvr>
                                    </p:animRot>
                                  </p:childTnLst>
                                </p:cTn>
                              </p:par>
                              <p:par>
                                <p:cTn id="61" presetID="6" presetClass="emph" presetSubtype="0" repeatCount="indefinite" autoRev="1" fill="hold" nodeType="withEffect">
                                  <p:stCondLst>
                                    <p:cond delay="0"/>
                                  </p:stCondLst>
                                  <p:endCondLst>
                                    <p:cond evt="onNext" delay="0">
                                      <p:tgtEl>
                                        <p:sldTgt/>
                                      </p:tgtEl>
                                    </p:cond>
                                  </p:endCondLst>
                                  <p:childTnLst>
                                    <p:animScale>
                                      <p:cBhvr>
                                        <p:cTn id="62" dur="3000" fill="hold"/>
                                        <p:tgtEl>
                                          <p:spTgt spid="9"/>
                                        </p:tgtEl>
                                      </p:cBhvr>
                                      <p:by x="125000" y="125000"/>
                                    </p:animScale>
                                  </p:childTnLst>
                                </p:cTn>
                              </p:par>
                              <p:par>
                                <p:cTn id="63" presetID="6" presetClass="emph" presetSubtype="0" repeatCount="indefinite" autoRev="1" fill="hold" nodeType="withEffect">
                                  <p:stCondLst>
                                    <p:cond delay="0"/>
                                  </p:stCondLst>
                                  <p:endCondLst>
                                    <p:cond evt="onNext" delay="0">
                                      <p:tgtEl>
                                        <p:sldTgt/>
                                      </p:tgtEl>
                                    </p:cond>
                                  </p:endCondLst>
                                  <p:childTnLst>
                                    <p:animScale>
                                      <p:cBhvr>
                                        <p:cTn id="64" dur="3000" fill="hold"/>
                                        <p:tgtEl>
                                          <p:spTgt spid="38"/>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P spid="70" grpId="0" animBg="1"/>
      <p:bldP spid="71" grpId="0" animBg="1"/>
      <p:bldP spid="72" grpId="0" animBg="1"/>
    </p:bld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C89FB0B-56DF-AD45-A82E-F7FC39C1000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Objekt 8" hidden="1">
                        <a:extLst>
                          <a:ext uri="{FF2B5EF4-FFF2-40B4-BE49-F238E27FC236}">
                            <a16:creationId xmlns:a16="http://schemas.microsoft.com/office/drawing/2014/main" id="{3C89FB0B-56DF-AD45-A82E-F7FC39C1000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8" name="Rechteck 37"/>
          <p:cNvSpPr/>
          <p:nvPr/>
        </p:nvSpPr>
        <p:spPr bwMode="gray">
          <a:xfrm>
            <a:off x="9473479" y="2398462"/>
            <a:ext cx="2351444" cy="1080000"/>
          </a:xfrm>
          <a:prstGeom prst="rect">
            <a:avLst/>
          </a:prstGeom>
          <a:solidFill>
            <a:srgbClr val="8D8EA8">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lnSpc>
                <a:spcPts val="1519"/>
              </a:lnSpc>
              <a:spcAft>
                <a:spcPts val="999"/>
              </a:spcAft>
            </a:pPr>
            <a:r>
              <a:rPr lang="en-US" sz="1100" b="1">
                <a:solidFill>
                  <a:srgbClr val="000000"/>
                </a:solidFill>
                <a:latin typeface="Century Gothic" panose="020B0502020202020204" pitchFamily="34" charset="0"/>
              </a:rPr>
              <a:t>Question Mark</a:t>
            </a:r>
          </a:p>
          <a:p>
            <a:pPr defTabSz="913577">
              <a:lnSpc>
                <a:spcPts val="1519"/>
              </a:lnSpc>
              <a:spcAft>
                <a:spcPts val="999"/>
              </a:spcAft>
            </a:pPr>
            <a:r>
              <a:rPr lang="en-US" sz="1000">
                <a:solidFill>
                  <a:srgbClr val="000000"/>
                </a:solidFill>
                <a:latin typeface="Century Gothic" panose="020B0502020202020204" pitchFamily="34" charset="0"/>
              </a:rPr>
              <a:t>Products with high market growth but low market share and     uncertain growth rate.</a:t>
            </a:r>
          </a:p>
        </p:txBody>
      </p:sp>
      <p:sp>
        <p:nvSpPr>
          <p:cNvPr id="39" name="Rechteck 38"/>
          <p:cNvSpPr/>
          <p:nvPr/>
        </p:nvSpPr>
        <p:spPr bwMode="gray">
          <a:xfrm>
            <a:off x="9473742" y="4664269"/>
            <a:ext cx="2350919" cy="1080000"/>
          </a:xfrm>
          <a:prstGeom prst="rect">
            <a:avLst/>
          </a:prstGeom>
          <a:solidFill>
            <a:srgbClr val="8D8EA8">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lnSpc>
                <a:spcPts val="1519"/>
              </a:lnSpc>
              <a:spcAft>
                <a:spcPts val="999"/>
              </a:spcAft>
            </a:pPr>
            <a:r>
              <a:rPr lang="en-US" sz="1100" b="1">
                <a:solidFill>
                  <a:srgbClr val="000000"/>
                </a:solidFill>
                <a:latin typeface="Century Gothic" panose="020B0502020202020204" pitchFamily="34" charset="0"/>
              </a:rPr>
              <a:t>Dogs</a:t>
            </a:r>
            <a:r>
              <a:rPr lang="en-US" sz="1100">
                <a:solidFill>
                  <a:srgbClr val="000000"/>
                </a:solidFill>
                <a:latin typeface="Century Gothic" panose="020B0502020202020204" pitchFamily="34" charset="0"/>
              </a:rPr>
              <a:t> </a:t>
            </a:r>
          </a:p>
          <a:p>
            <a:pPr defTabSz="913577">
              <a:lnSpc>
                <a:spcPts val="1519"/>
              </a:lnSpc>
              <a:spcAft>
                <a:spcPts val="999"/>
              </a:spcAft>
            </a:pPr>
            <a:r>
              <a:rPr lang="en-US" sz="1000">
                <a:solidFill>
                  <a:srgbClr val="000000"/>
                </a:solidFill>
                <a:latin typeface="Century Gothic" panose="020B0502020202020204" pitchFamily="34" charset="0"/>
              </a:rPr>
              <a:t>Products that should be taken         off market if not profitable.</a:t>
            </a:r>
          </a:p>
        </p:txBody>
      </p:sp>
      <p:sp>
        <p:nvSpPr>
          <p:cNvPr id="43" name="Rechteck 42"/>
          <p:cNvSpPr/>
          <p:nvPr/>
        </p:nvSpPr>
        <p:spPr bwMode="gray">
          <a:xfrm>
            <a:off x="367186" y="4655880"/>
            <a:ext cx="2356575" cy="1080000"/>
          </a:xfrm>
          <a:prstGeom prst="rect">
            <a:avLst/>
          </a:prstGeom>
          <a:solidFill>
            <a:srgbClr val="8D8EA8">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lnSpc>
                <a:spcPts val="1519"/>
              </a:lnSpc>
              <a:spcAft>
                <a:spcPts val="999"/>
              </a:spcAft>
            </a:pPr>
            <a:r>
              <a:rPr lang="en-US" sz="1100" b="1">
                <a:solidFill>
                  <a:srgbClr val="000000"/>
                </a:solidFill>
                <a:latin typeface="Century Gothic" panose="020B0502020202020204" pitchFamily="34" charset="0"/>
              </a:rPr>
              <a:t>Cash Cows</a:t>
            </a:r>
          </a:p>
          <a:p>
            <a:pPr defTabSz="913577">
              <a:lnSpc>
                <a:spcPts val="1519"/>
              </a:lnSpc>
              <a:spcAft>
                <a:spcPts val="999"/>
              </a:spcAft>
            </a:pPr>
            <a:r>
              <a:rPr lang="en-US" sz="1000">
                <a:solidFill>
                  <a:srgbClr val="000000"/>
                </a:solidFill>
                <a:latin typeface="Century Gothic" panose="020B0502020202020204" pitchFamily="34" charset="0"/>
              </a:rPr>
              <a:t>Very profitable products w/        strong market growth and              high and stable market share.</a:t>
            </a:r>
          </a:p>
        </p:txBody>
      </p:sp>
      <p:sp>
        <p:nvSpPr>
          <p:cNvPr id="61" name="Titel 1">
            <a:extLst>
              <a:ext uri="{FF2B5EF4-FFF2-40B4-BE49-F238E27FC236}">
                <a16:creationId xmlns:a16="http://schemas.microsoft.com/office/drawing/2014/main" id="{9BD95BFE-5725-D040-B794-AFE919B76D0E}"/>
              </a:ext>
            </a:extLst>
          </p:cNvPr>
          <p:cNvSpPr>
            <a:spLocks noGrp="1"/>
          </p:cNvSpPr>
          <p:nvPr>
            <p:ph type="title"/>
          </p:nvPr>
        </p:nvSpPr>
        <p:spPr bwMode="gray"/>
        <p:txBody>
          <a:bodyPr vert="horz" anchor="ctr"/>
          <a:lstStyle/>
          <a:p>
            <a:r>
              <a:rPr lang="en-US" sz="2598">
                <a:solidFill>
                  <a:schemeClr val="tx2"/>
                </a:solidFill>
                <a:latin typeface="Century Gothic" panose="020B0502020202020204" pitchFamily="34" charset="0"/>
              </a:rPr>
              <a:t>3. BCG Growth-Share Matrix</a:t>
            </a:r>
          </a:p>
        </p:txBody>
      </p:sp>
      <p:sp>
        <p:nvSpPr>
          <p:cNvPr id="2" name="Inhaltsplatzhalter 1">
            <a:extLst>
              <a:ext uri="{FF2B5EF4-FFF2-40B4-BE49-F238E27FC236}">
                <a16:creationId xmlns:a16="http://schemas.microsoft.com/office/drawing/2014/main" id="{7A772A23-ED52-9342-931A-827F131C3026}"/>
              </a:ext>
            </a:extLst>
          </p:cNvPr>
          <p:cNvSpPr>
            <a:spLocks noGrp="1"/>
          </p:cNvSpPr>
          <p:nvPr>
            <p:ph sz="quarter" idx="10"/>
          </p:nvPr>
        </p:nvSpPr>
        <p:spPr/>
        <p:txBody>
          <a:bodyPr/>
          <a:lstStyle/>
          <a:p>
            <a:endParaRPr lang="en-GB"/>
          </a:p>
        </p:txBody>
      </p:sp>
      <p:sp>
        <p:nvSpPr>
          <p:cNvPr id="5" name="Textplatzhalter 4">
            <a:extLst>
              <a:ext uri="{FF2B5EF4-FFF2-40B4-BE49-F238E27FC236}">
                <a16:creationId xmlns:a16="http://schemas.microsoft.com/office/drawing/2014/main" id="{E53F7518-6FC4-7E4E-BD8D-0A58046DAF71}"/>
              </a:ext>
            </a:extLst>
          </p:cNvPr>
          <p:cNvSpPr>
            <a:spLocks noGrp="1"/>
          </p:cNvSpPr>
          <p:nvPr>
            <p:ph type="body" sz="quarter" idx="12"/>
          </p:nvPr>
        </p:nvSpPr>
        <p:spPr/>
        <p:txBody>
          <a:bodyPr/>
          <a:lstStyle/>
          <a:p>
            <a:endParaRPr lang="en-GB"/>
          </a:p>
        </p:txBody>
      </p:sp>
      <p:sp>
        <p:nvSpPr>
          <p:cNvPr id="6" name="Textplatzhalter 5">
            <a:extLst>
              <a:ext uri="{FF2B5EF4-FFF2-40B4-BE49-F238E27FC236}">
                <a16:creationId xmlns:a16="http://schemas.microsoft.com/office/drawing/2014/main" id="{39A60646-E058-A049-B66A-0C5986F2F93F}"/>
              </a:ext>
            </a:extLst>
          </p:cNvPr>
          <p:cNvSpPr>
            <a:spLocks noGrp="1"/>
          </p:cNvSpPr>
          <p:nvPr>
            <p:ph type="body" sz="quarter" idx="13"/>
          </p:nvPr>
        </p:nvSpPr>
        <p:spPr/>
        <p:txBody>
          <a:bodyPr/>
          <a:lstStyle/>
          <a:p>
            <a:endParaRPr lang="en-GB"/>
          </a:p>
        </p:txBody>
      </p:sp>
      <p:sp>
        <p:nvSpPr>
          <p:cNvPr id="7" name="Inhaltsplatzhalter 6">
            <a:extLst>
              <a:ext uri="{FF2B5EF4-FFF2-40B4-BE49-F238E27FC236}">
                <a16:creationId xmlns:a16="http://schemas.microsoft.com/office/drawing/2014/main" id="{2D385ED5-FF01-804D-BAD3-542E258DD4C2}"/>
              </a:ext>
            </a:extLst>
          </p:cNvPr>
          <p:cNvSpPr>
            <a:spLocks noGrp="1"/>
          </p:cNvSpPr>
          <p:nvPr>
            <p:ph sz="quarter" idx="14"/>
          </p:nvPr>
        </p:nvSpPr>
        <p:spPr/>
        <p:txBody>
          <a:bodyPr/>
          <a:lstStyle/>
          <a:p>
            <a:endParaRPr lang="en-GB"/>
          </a:p>
        </p:txBody>
      </p:sp>
      <p:grpSp>
        <p:nvGrpSpPr>
          <p:cNvPr id="23" name="Group 22">
            <a:extLst>
              <a:ext uri="{FF2B5EF4-FFF2-40B4-BE49-F238E27FC236}">
                <a16:creationId xmlns:a16="http://schemas.microsoft.com/office/drawing/2014/main" id="{0676DD0F-CD2C-9344-AFF8-2F04B2DF8A25}"/>
              </a:ext>
            </a:extLst>
          </p:cNvPr>
          <p:cNvGrpSpPr/>
          <p:nvPr/>
        </p:nvGrpSpPr>
        <p:grpSpPr>
          <a:xfrm>
            <a:off x="2623454" y="1858996"/>
            <a:ext cx="6920574" cy="4034785"/>
            <a:chOff x="4216895" y="2109733"/>
            <a:chExt cx="7443307" cy="4339549"/>
          </a:xfrm>
        </p:grpSpPr>
        <p:sp>
          <p:nvSpPr>
            <p:cNvPr id="97" name="Freeform 96">
              <a:extLst>
                <a:ext uri="{FF2B5EF4-FFF2-40B4-BE49-F238E27FC236}">
                  <a16:creationId xmlns:a16="http://schemas.microsoft.com/office/drawing/2014/main" id="{536F2C54-C225-DA4F-A48B-762F25DF8471}"/>
                </a:ext>
              </a:extLst>
            </p:cNvPr>
            <p:cNvSpPr/>
            <p:nvPr/>
          </p:nvSpPr>
          <p:spPr>
            <a:xfrm>
              <a:off x="4809066" y="2246202"/>
              <a:ext cx="3255432" cy="1828802"/>
            </a:xfrm>
            <a:custGeom>
              <a:avLst/>
              <a:gdLst>
                <a:gd name="connsiteX0" fmla="*/ 0 w 3255433"/>
                <a:gd name="connsiteY0" fmla="*/ 0 h 1828800"/>
                <a:gd name="connsiteX1" fmla="*/ 3255433 w 3255433"/>
                <a:gd name="connsiteY1" fmla="*/ 0 h 1828800"/>
                <a:gd name="connsiteX2" fmla="*/ 3255433 w 3255433"/>
                <a:gd name="connsiteY2" fmla="*/ 964374 h 1828800"/>
                <a:gd name="connsiteX3" fmla="*/ 3195805 w 3255433"/>
                <a:gd name="connsiteY3" fmla="*/ 967385 h 1828800"/>
                <a:gd name="connsiteX4" fmla="*/ 2393475 w 3255433"/>
                <a:gd name="connsiteY4" fmla="*/ 1692781 h 1828800"/>
                <a:gd name="connsiteX5" fmla="*/ 2379763 w 3255433"/>
                <a:gd name="connsiteY5" fmla="*/ 1828800 h 1828800"/>
                <a:gd name="connsiteX6" fmla="*/ 0 w 3255433"/>
                <a:gd name="connsiteY6"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433" h="1828800">
                  <a:moveTo>
                    <a:pt x="0" y="0"/>
                  </a:moveTo>
                  <a:lnTo>
                    <a:pt x="3255433" y="0"/>
                  </a:lnTo>
                  <a:lnTo>
                    <a:pt x="3255433" y="964374"/>
                  </a:lnTo>
                  <a:lnTo>
                    <a:pt x="3195805" y="967385"/>
                  </a:lnTo>
                  <a:cubicBezTo>
                    <a:pt x="2796192" y="1007968"/>
                    <a:pt x="2472649" y="1305867"/>
                    <a:pt x="2393475" y="1692781"/>
                  </a:cubicBezTo>
                  <a:lnTo>
                    <a:pt x="2379763" y="1828800"/>
                  </a:lnTo>
                  <a:lnTo>
                    <a:pt x="0" y="1828800"/>
                  </a:lnTo>
                  <a:close/>
                </a:path>
              </a:pathLst>
            </a:cu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01" name="Freeform 100">
              <a:extLst>
                <a:ext uri="{FF2B5EF4-FFF2-40B4-BE49-F238E27FC236}">
                  <a16:creationId xmlns:a16="http://schemas.microsoft.com/office/drawing/2014/main" id="{B0E5A36B-E034-1A48-A3E0-3904B4611BA4}"/>
                </a:ext>
              </a:extLst>
            </p:cNvPr>
            <p:cNvSpPr/>
            <p:nvPr/>
          </p:nvSpPr>
          <p:spPr>
            <a:xfrm>
              <a:off x="4809066" y="4141338"/>
              <a:ext cx="3255432" cy="1828802"/>
            </a:xfrm>
            <a:custGeom>
              <a:avLst/>
              <a:gdLst>
                <a:gd name="connsiteX0" fmla="*/ 0 w 3255433"/>
                <a:gd name="connsiteY0" fmla="*/ 0 h 1828800"/>
                <a:gd name="connsiteX1" fmla="*/ 2377156 w 3255433"/>
                <a:gd name="connsiteY1" fmla="*/ 0 h 1828800"/>
                <a:gd name="connsiteX2" fmla="*/ 2393478 w 3255433"/>
                <a:gd name="connsiteY2" fmla="*/ 161909 h 1828800"/>
                <a:gd name="connsiteX3" fmla="*/ 3195808 w 3255433"/>
                <a:gd name="connsiteY3" fmla="*/ 887304 h 1828800"/>
                <a:gd name="connsiteX4" fmla="*/ 3255433 w 3255433"/>
                <a:gd name="connsiteY4" fmla="*/ 890315 h 1828800"/>
                <a:gd name="connsiteX5" fmla="*/ 3255433 w 3255433"/>
                <a:gd name="connsiteY5" fmla="*/ 1828800 h 1828800"/>
                <a:gd name="connsiteX6" fmla="*/ 0 w 3255433"/>
                <a:gd name="connsiteY6"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433" h="1828800">
                  <a:moveTo>
                    <a:pt x="0" y="0"/>
                  </a:moveTo>
                  <a:lnTo>
                    <a:pt x="2377156" y="0"/>
                  </a:lnTo>
                  <a:lnTo>
                    <a:pt x="2393478" y="161909"/>
                  </a:lnTo>
                  <a:cubicBezTo>
                    <a:pt x="2472652" y="548823"/>
                    <a:pt x="2796195" y="846721"/>
                    <a:pt x="3195808" y="887304"/>
                  </a:cubicBezTo>
                  <a:lnTo>
                    <a:pt x="3255433" y="890315"/>
                  </a:lnTo>
                  <a:lnTo>
                    <a:pt x="3255433" y="1828800"/>
                  </a:lnTo>
                  <a:lnTo>
                    <a:pt x="0" y="1828800"/>
                  </a:lnTo>
                  <a:close/>
                </a:path>
              </a:pathLst>
            </a:cu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00" name="Freeform 99">
              <a:extLst>
                <a:ext uri="{FF2B5EF4-FFF2-40B4-BE49-F238E27FC236}">
                  <a16:creationId xmlns:a16="http://schemas.microsoft.com/office/drawing/2014/main" id="{FB5AB187-DDCA-4242-AC18-2BF1F112FFBA}"/>
                </a:ext>
              </a:extLst>
            </p:cNvPr>
            <p:cNvSpPr/>
            <p:nvPr/>
          </p:nvSpPr>
          <p:spPr>
            <a:xfrm>
              <a:off x="8132232" y="2246202"/>
              <a:ext cx="3255432" cy="1828802"/>
            </a:xfrm>
            <a:custGeom>
              <a:avLst/>
              <a:gdLst>
                <a:gd name="connsiteX0" fmla="*/ 0 w 3255433"/>
                <a:gd name="connsiteY0" fmla="*/ 0 h 1828800"/>
                <a:gd name="connsiteX1" fmla="*/ 3255433 w 3255433"/>
                <a:gd name="connsiteY1" fmla="*/ 0 h 1828800"/>
                <a:gd name="connsiteX2" fmla="*/ 3255433 w 3255433"/>
                <a:gd name="connsiteY2" fmla="*/ 1828800 h 1828800"/>
                <a:gd name="connsiteX3" fmla="*/ 862409 w 3255433"/>
                <a:gd name="connsiteY3" fmla="*/ 1828800 h 1828800"/>
                <a:gd name="connsiteX4" fmla="*/ 849258 w 3255433"/>
                <a:gd name="connsiteY4" fmla="*/ 1698338 h 1828800"/>
                <a:gd name="connsiteX5" fmla="*/ 46927 w 3255433"/>
                <a:gd name="connsiteY5" fmla="*/ 972942 h 1828800"/>
                <a:gd name="connsiteX6" fmla="*/ 0 w 3255433"/>
                <a:gd name="connsiteY6" fmla="*/ 970573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433" h="1828800">
                  <a:moveTo>
                    <a:pt x="0" y="0"/>
                  </a:moveTo>
                  <a:lnTo>
                    <a:pt x="3255433" y="0"/>
                  </a:lnTo>
                  <a:lnTo>
                    <a:pt x="3255433" y="1828800"/>
                  </a:lnTo>
                  <a:lnTo>
                    <a:pt x="862409" y="1828800"/>
                  </a:lnTo>
                  <a:lnTo>
                    <a:pt x="849258" y="1698338"/>
                  </a:lnTo>
                  <a:cubicBezTo>
                    <a:pt x="770084" y="1311424"/>
                    <a:pt x="446540" y="1013525"/>
                    <a:pt x="46927" y="972942"/>
                  </a:cubicBezTo>
                  <a:lnTo>
                    <a:pt x="0" y="970573"/>
                  </a:lnTo>
                  <a:close/>
                </a:path>
              </a:pathLst>
            </a:cu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02" name="Freeform 101">
              <a:extLst>
                <a:ext uri="{FF2B5EF4-FFF2-40B4-BE49-F238E27FC236}">
                  <a16:creationId xmlns:a16="http://schemas.microsoft.com/office/drawing/2014/main" id="{061B5833-3867-9147-91C3-C8A9E8F2B038}"/>
                </a:ext>
              </a:extLst>
            </p:cNvPr>
            <p:cNvSpPr/>
            <p:nvPr/>
          </p:nvSpPr>
          <p:spPr>
            <a:xfrm>
              <a:off x="8132232" y="4141338"/>
              <a:ext cx="3255432" cy="1828802"/>
            </a:xfrm>
            <a:custGeom>
              <a:avLst/>
              <a:gdLst>
                <a:gd name="connsiteX0" fmla="*/ 860926 w 3255433"/>
                <a:gd name="connsiteY0" fmla="*/ 0 h 1828800"/>
                <a:gd name="connsiteX1" fmla="*/ 3255433 w 3255433"/>
                <a:gd name="connsiteY1" fmla="*/ 0 h 1828800"/>
                <a:gd name="connsiteX2" fmla="*/ 3255433 w 3255433"/>
                <a:gd name="connsiteY2" fmla="*/ 1828800 h 1828800"/>
                <a:gd name="connsiteX3" fmla="*/ 0 w 3255433"/>
                <a:gd name="connsiteY3" fmla="*/ 1828800 h 1828800"/>
                <a:gd name="connsiteX4" fmla="*/ 0 w 3255433"/>
                <a:gd name="connsiteY4" fmla="*/ 885300 h 1828800"/>
                <a:gd name="connsiteX5" fmla="*/ 42693 w 3255433"/>
                <a:gd name="connsiteY5" fmla="*/ 883144 h 1828800"/>
                <a:gd name="connsiteX6" fmla="*/ 845024 w 3255433"/>
                <a:gd name="connsiteY6" fmla="*/ 157749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433" h="1828800">
                  <a:moveTo>
                    <a:pt x="860926" y="0"/>
                  </a:moveTo>
                  <a:lnTo>
                    <a:pt x="3255433" y="0"/>
                  </a:lnTo>
                  <a:lnTo>
                    <a:pt x="3255433" y="1828800"/>
                  </a:lnTo>
                  <a:lnTo>
                    <a:pt x="0" y="1828800"/>
                  </a:lnTo>
                  <a:lnTo>
                    <a:pt x="0" y="885300"/>
                  </a:lnTo>
                  <a:lnTo>
                    <a:pt x="42693" y="883144"/>
                  </a:lnTo>
                  <a:cubicBezTo>
                    <a:pt x="442306" y="842561"/>
                    <a:pt x="765850" y="544663"/>
                    <a:pt x="845024" y="157749"/>
                  </a:cubicBezTo>
                  <a:close/>
                </a:path>
              </a:pathLst>
            </a:cu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grpSp>
          <p:nvGrpSpPr>
            <p:cNvPr id="86" name="Group 15">
              <a:extLst>
                <a:ext uri="{FF2B5EF4-FFF2-40B4-BE49-F238E27FC236}">
                  <a16:creationId xmlns:a16="http://schemas.microsoft.com/office/drawing/2014/main" id="{4DB15024-A00B-0748-9A2E-7811A61F8B0F}"/>
                </a:ext>
              </a:extLst>
            </p:cNvPr>
            <p:cNvGrpSpPr/>
            <p:nvPr/>
          </p:nvGrpSpPr>
          <p:grpSpPr>
            <a:xfrm rot="18947122">
              <a:off x="10220100" y="4786391"/>
              <a:ext cx="497859" cy="497858"/>
              <a:chOff x="79556" y="79556"/>
              <a:chExt cx="1362943" cy="1362943"/>
            </a:xfrm>
          </p:grpSpPr>
          <p:sp>
            <p:nvSpPr>
              <p:cNvPr id="87" name="Овал 1">
                <a:extLst>
                  <a:ext uri="{FF2B5EF4-FFF2-40B4-BE49-F238E27FC236}">
                    <a16:creationId xmlns:a16="http://schemas.microsoft.com/office/drawing/2014/main" id="{5D66489E-C5F4-2349-BFB5-CEE14C10FD5E}"/>
                  </a:ext>
                </a:extLst>
              </p:cNvPr>
              <p:cNvSpPr/>
              <p:nvPr/>
            </p:nvSpPr>
            <p:spPr>
              <a:xfrm rot="4970797">
                <a:off x="79556" y="79556"/>
                <a:ext cx="1362943" cy="1362943"/>
              </a:xfrm>
              <a:prstGeom prst="ellipse">
                <a:avLst/>
              </a:prstGeom>
              <a:gradFill flip="none" rotWithShape="1">
                <a:gsLst>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88" name="Полилиния 51">
                <a:extLst>
                  <a:ext uri="{FF2B5EF4-FFF2-40B4-BE49-F238E27FC236}">
                    <a16:creationId xmlns:a16="http://schemas.microsoft.com/office/drawing/2014/main" id="{C0BFF09A-1E72-D84D-BE55-C88E72574623}"/>
                  </a:ext>
                </a:extLst>
              </p:cNvPr>
              <p:cNvSpPr/>
              <p:nvPr/>
            </p:nvSpPr>
            <p:spPr>
              <a:xfrm rot="4970797">
                <a:off x="1024876" y="849491"/>
                <a:ext cx="465394" cy="355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50" y="468"/>
                    </a:lnTo>
                    <a:cubicBezTo>
                      <a:pt x="10458" y="2931"/>
                      <a:pt x="17520" y="10439"/>
                      <a:pt x="21211" y="20474"/>
                    </a:cubicBezTo>
                    <a:lnTo>
                      <a:pt x="21600" y="21600"/>
                    </a:lnTo>
                    <a:lnTo>
                      <a:pt x="21431" y="21500"/>
                    </a:lnTo>
                    <a:cubicBezTo>
                      <a:pt x="18065" y="19635"/>
                      <a:pt x="14365" y="18604"/>
                      <a:pt x="10480" y="18604"/>
                    </a:cubicBezTo>
                    <a:cubicBezTo>
                      <a:pt x="9994" y="18604"/>
                      <a:pt x="9512" y="18620"/>
                      <a:pt x="9032" y="18652"/>
                    </a:cubicBezTo>
                    <a:lnTo>
                      <a:pt x="8101" y="18745"/>
                    </a:lnTo>
                    <a:lnTo>
                      <a:pt x="7883" y="17506"/>
                    </a:lnTo>
                    <a:cubicBezTo>
                      <a:pt x="6611" y="11031"/>
                      <a:pt x="4028" y="5244"/>
                      <a:pt x="528" y="659"/>
                    </a:cubicBezTo>
                    <a:lnTo>
                      <a:pt x="0" y="0"/>
                    </a:lnTo>
                    <a:close/>
                  </a:path>
                </a:pathLst>
              </a:custGeom>
              <a:solidFill>
                <a:srgbClr val="FFFFFF"/>
              </a:soli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grpSp>
        <p:grpSp>
          <p:nvGrpSpPr>
            <p:cNvPr id="18" name="Group 17">
              <a:extLst>
                <a:ext uri="{FF2B5EF4-FFF2-40B4-BE49-F238E27FC236}">
                  <a16:creationId xmlns:a16="http://schemas.microsoft.com/office/drawing/2014/main" id="{71E2FC5E-AD39-D545-90C8-D4687C7F795C}"/>
                </a:ext>
              </a:extLst>
            </p:cNvPr>
            <p:cNvGrpSpPr/>
            <p:nvPr/>
          </p:nvGrpSpPr>
          <p:grpSpPr>
            <a:xfrm>
              <a:off x="4741331" y="2118833"/>
              <a:ext cx="6790266" cy="3931924"/>
              <a:chOff x="4741333" y="2017233"/>
              <a:chExt cx="6790267" cy="3931920"/>
            </a:xfrm>
          </p:grpSpPr>
          <p:cxnSp>
            <p:nvCxnSpPr>
              <p:cNvPr id="10" name="Straight Arrow Connector 9">
                <a:extLst>
                  <a:ext uri="{FF2B5EF4-FFF2-40B4-BE49-F238E27FC236}">
                    <a16:creationId xmlns:a16="http://schemas.microsoft.com/office/drawing/2014/main" id="{1692ECA3-A1A5-8E4B-98C2-83235129D217}"/>
                  </a:ext>
                </a:extLst>
              </p:cNvPr>
              <p:cNvCxnSpPr>
                <a:cxnSpLocks/>
              </p:cNvCxnSpPr>
              <p:nvPr/>
            </p:nvCxnSpPr>
            <p:spPr>
              <a:xfrm flipV="1">
                <a:off x="4741333" y="2017233"/>
                <a:ext cx="0" cy="3931920"/>
              </a:xfrm>
              <a:prstGeom prst="straightConnector1">
                <a:avLst/>
              </a:prstGeom>
              <a:ln w="12700">
                <a:solidFill>
                  <a:schemeClr val="bg1">
                    <a:lumMod val="65000"/>
                  </a:schemeClr>
                </a:solidFill>
                <a:tailEnd type="stealth"/>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BBB9FE9A-7512-6449-BEBE-C0458D31CE2E}"/>
                  </a:ext>
                </a:extLst>
              </p:cNvPr>
              <p:cNvCxnSpPr>
                <a:cxnSpLocks/>
              </p:cNvCxnSpPr>
              <p:nvPr/>
            </p:nvCxnSpPr>
            <p:spPr>
              <a:xfrm flipV="1">
                <a:off x="4741333" y="5943710"/>
                <a:ext cx="6790267" cy="1"/>
              </a:xfrm>
              <a:prstGeom prst="straightConnector1">
                <a:avLst/>
              </a:prstGeom>
              <a:ln w="12700">
                <a:solidFill>
                  <a:schemeClr val="bg1">
                    <a:lumMod val="65000"/>
                  </a:schemeClr>
                </a:solidFill>
                <a:tailEnd type="stealth"/>
              </a:ln>
            </p:spPr>
            <p:style>
              <a:lnRef idx="1">
                <a:schemeClr val="accent1"/>
              </a:lnRef>
              <a:fillRef idx="0">
                <a:schemeClr val="accent1"/>
              </a:fillRef>
              <a:effectRef idx="0">
                <a:schemeClr val="accent1"/>
              </a:effectRef>
              <a:fontRef idx="minor">
                <a:schemeClr val="tx1"/>
              </a:fontRef>
            </p:style>
          </p:cxnSp>
        </p:grpSp>
        <p:sp>
          <p:nvSpPr>
            <p:cNvPr id="21" name="Circular Arrow 20">
              <a:extLst>
                <a:ext uri="{FF2B5EF4-FFF2-40B4-BE49-F238E27FC236}">
                  <a16:creationId xmlns:a16="http://schemas.microsoft.com/office/drawing/2014/main" id="{E9775662-1502-1241-8168-2E1EDB5691B6}"/>
                </a:ext>
              </a:extLst>
            </p:cNvPr>
            <p:cNvSpPr/>
            <p:nvPr/>
          </p:nvSpPr>
          <p:spPr>
            <a:xfrm rot="12769242">
              <a:off x="7235182" y="3270873"/>
              <a:ext cx="1707113" cy="1707115"/>
            </a:xfrm>
            <a:prstGeom prst="circularArrow">
              <a:avLst>
                <a:gd name="adj1" fmla="val 5062"/>
                <a:gd name="adj2" fmla="val 639361"/>
                <a:gd name="adj3" fmla="val 18840276"/>
                <a:gd name="adj4" fmla="val 19826901"/>
                <a:gd name="adj5" fmla="val 5088"/>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000000"/>
                </a:solidFill>
                <a:latin typeface="Calibri Light"/>
              </a:endParaRPr>
            </a:p>
          </p:txBody>
        </p:sp>
        <p:sp>
          <p:nvSpPr>
            <p:cNvPr id="104" name="Titel 1">
              <a:extLst>
                <a:ext uri="{FF2B5EF4-FFF2-40B4-BE49-F238E27FC236}">
                  <a16:creationId xmlns:a16="http://schemas.microsoft.com/office/drawing/2014/main" id="{E8FBBD32-8E6C-474C-89A7-950A3581A45A}"/>
                </a:ext>
              </a:extLst>
            </p:cNvPr>
            <p:cNvSpPr txBox="1">
              <a:spLocks/>
            </p:cNvSpPr>
            <p:nvPr/>
          </p:nvSpPr>
          <p:spPr bwMode="gray">
            <a:xfrm>
              <a:off x="7540820" y="3938150"/>
              <a:ext cx="1115092" cy="37256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lnSpc>
                  <a:spcPct val="100000"/>
                </a:lnSpc>
              </a:pPr>
              <a:r>
                <a:rPr lang="en-US" sz="1299" b="1">
                  <a:solidFill>
                    <a:srgbClr val="000000"/>
                  </a:solidFill>
                  <a:latin typeface="Century Gothic" panose="020B0502020202020204" pitchFamily="34" charset="0"/>
                </a:rPr>
                <a:t>Product </a:t>
              </a:r>
            </a:p>
            <a:p>
              <a:pPr algn="ctr" defTabSz="913577">
                <a:lnSpc>
                  <a:spcPct val="100000"/>
                </a:lnSpc>
              </a:pPr>
              <a:r>
                <a:rPr lang="en-US" sz="1299" b="1">
                  <a:solidFill>
                    <a:srgbClr val="000000"/>
                  </a:solidFill>
                  <a:latin typeface="Century Gothic" panose="020B0502020202020204" pitchFamily="34" charset="0"/>
                </a:rPr>
                <a:t>Life Cycle</a:t>
              </a:r>
            </a:p>
          </p:txBody>
        </p:sp>
        <p:grpSp>
          <p:nvGrpSpPr>
            <p:cNvPr id="105" name="Group 15">
              <a:extLst>
                <a:ext uri="{FF2B5EF4-FFF2-40B4-BE49-F238E27FC236}">
                  <a16:creationId xmlns:a16="http://schemas.microsoft.com/office/drawing/2014/main" id="{CBB3043F-13A6-9044-8342-4B459C896A13}"/>
                </a:ext>
              </a:extLst>
            </p:cNvPr>
            <p:cNvGrpSpPr/>
            <p:nvPr/>
          </p:nvGrpSpPr>
          <p:grpSpPr>
            <a:xfrm rot="9088848">
              <a:off x="8577240" y="2481968"/>
              <a:ext cx="690659" cy="690659"/>
              <a:chOff x="79556" y="79556"/>
              <a:chExt cx="1362943" cy="1362943"/>
            </a:xfrm>
          </p:grpSpPr>
          <p:sp>
            <p:nvSpPr>
              <p:cNvPr id="106" name="Овал 1">
                <a:extLst>
                  <a:ext uri="{FF2B5EF4-FFF2-40B4-BE49-F238E27FC236}">
                    <a16:creationId xmlns:a16="http://schemas.microsoft.com/office/drawing/2014/main" id="{973B49C9-06F4-3B4D-8D64-34E39DECC907}"/>
                  </a:ext>
                </a:extLst>
              </p:cNvPr>
              <p:cNvSpPr/>
              <p:nvPr/>
            </p:nvSpPr>
            <p:spPr>
              <a:xfrm rot="4970797">
                <a:off x="79556" y="79556"/>
                <a:ext cx="1362943" cy="1362943"/>
              </a:xfrm>
              <a:prstGeom prst="ellipse">
                <a:avLst/>
              </a:prstGeom>
              <a:gradFill flip="none" rotWithShape="1">
                <a:gsLst>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07" name="Полилиния 51">
                <a:extLst>
                  <a:ext uri="{FF2B5EF4-FFF2-40B4-BE49-F238E27FC236}">
                    <a16:creationId xmlns:a16="http://schemas.microsoft.com/office/drawing/2014/main" id="{3061E20E-65A6-FF44-9B3B-228237FBC616}"/>
                  </a:ext>
                </a:extLst>
              </p:cNvPr>
              <p:cNvSpPr/>
              <p:nvPr/>
            </p:nvSpPr>
            <p:spPr>
              <a:xfrm rot="4970797">
                <a:off x="1024876" y="849491"/>
                <a:ext cx="465394" cy="355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50" y="468"/>
                    </a:lnTo>
                    <a:cubicBezTo>
                      <a:pt x="10458" y="2931"/>
                      <a:pt x="17520" y="10439"/>
                      <a:pt x="21211" y="20474"/>
                    </a:cubicBezTo>
                    <a:lnTo>
                      <a:pt x="21600" y="21600"/>
                    </a:lnTo>
                    <a:lnTo>
                      <a:pt x="21431" y="21500"/>
                    </a:lnTo>
                    <a:cubicBezTo>
                      <a:pt x="18065" y="19635"/>
                      <a:pt x="14365" y="18604"/>
                      <a:pt x="10480" y="18604"/>
                    </a:cubicBezTo>
                    <a:cubicBezTo>
                      <a:pt x="9994" y="18604"/>
                      <a:pt x="9512" y="18620"/>
                      <a:pt x="9032" y="18652"/>
                    </a:cubicBezTo>
                    <a:lnTo>
                      <a:pt x="8101" y="18745"/>
                    </a:lnTo>
                    <a:lnTo>
                      <a:pt x="7883" y="17506"/>
                    </a:lnTo>
                    <a:cubicBezTo>
                      <a:pt x="6611" y="11031"/>
                      <a:pt x="4028" y="5244"/>
                      <a:pt x="528" y="659"/>
                    </a:cubicBezTo>
                    <a:lnTo>
                      <a:pt x="0" y="0"/>
                    </a:lnTo>
                    <a:close/>
                  </a:path>
                </a:pathLst>
              </a:custGeom>
              <a:solidFill>
                <a:srgbClr val="FFFFFF"/>
              </a:soli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grpSp>
        <p:grpSp>
          <p:nvGrpSpPr>
            <p:cNvPr id="108" name="Group 15">
              <a:extLst>
                <a:ext uri="{FF2B5EF4-FFF2-40B4-BE49-F238E27FC236}">
                  <a16:creationId xmlns:a16="http://schemas.microsoft.com/office/drawing/2014/main" id="{8425D03C-1585-A844-9C56-06E85193CDC4}"/>
                </a:ext>
              </a:extLst>
            </p:cNvPr>
            <p:cNvGrpSpPr/>
            <p:nvPr/>
          </p:nvGrpSpPr>
          <p:grpSpPr>
            <a:xfrm rot="14278870">
              <a:off x="6770736" y="4978317"/>
              <a:ext cx="817122" cy="817120"/>
              <a:chOff x="79556" y="79556"/>
              <a:chExt cx="1362943" cy="1362943"/>
            </a:xfrm>
          </p:grpSpPr>
          <p:sp>
            <p:nvSpPr>
              <p:cNvPr id="109" name="Овал 1">
                <a:extLst>
                  <a:ext uri="{FF2B5EF4-FFF2-40B4-BE49-F238E27FC236}">
                    <a16:creationId xmlns:a16="http://schemas.microsoft.com/office/drawing/2014/main" id="{265BCA84-57F9-BB4F-A3AA-0794994BF6D2}"/>
                  </a:ext>
                </a:extLst>
              </p:cNvPr>
              <p:cNvSpPr/>
              <p:nvPr/>
            </p:nvSpPr>
            <p:spPr>
              <a:xfrm rot="4970797">
                <a:off x="79556" y="79556"/>
                <a:ext cx="1362943" cy="1362943"/>
              </a:xfrm>
              <a:prstGeom prst="ellipse">
                <a:avLst/>
              </a:prstGeom>
              <a:gradFill flip="none" rotWithShape="1">
                <a:gsLst>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10" name="Полилиния 51">
                <a:extLst>
                  <a:ext uri="{FF2B5EF4-FFF2-40B4-BE49-F238E27FC236}">
                    <a16:creationId xmlns:a16="http://schemas.microsoft.com/office/drawing/2014/main" id="{EACC9E56-EB4F-E14C-AA40-D6B1F8ECFFF8}"/>
                  </a:ext>
                </a:extLst>
              </p:cNvPr>
              <p:cNvSpPr/>
              <p:nvPr/>
            </p:nvSpPr>
            <p:spPr>
              <a:xfrm rot="4970797">
                <a:off x="1024876" y="849491"/>
                <a:ext cx="465394" cy="355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50" y="468"/>
                    </a:lnTo>
                    <a:cubicBezTo>
                      <a:pt x="10458" y="2931"/>
                      <a:pt x="17520" y="10439"/>
                      <a:pt x="21211" y="20474"/>
                    </a:cubicBezTo>
                    <a:lnTo>
                      <a:pt x="21600" y="21600"/>
                    </a:lnTo>
                    <a:lnTo>
                      <a:pt x="21431" y="21500"/>
                    </a:lnTo>
                    <a:cubicBezTo>
                      <a:pt x="18065" y="19635"/>
                      <a:pt x="14365" y="18604"/>
                      <a:pt x="10480" y="18604"/>
                    </a:cubicBezTo>
                    <a:cubicBezTo>
                      <a:pt x="9994" y="18604"/>
                      <a:pt x="9512" y="18620"/>
                      <a:pt x="9032" y="18652"/>
                    </a:cubicBezTo>
                    <a:lnTo>
                      <a:pt x="8101" y="18745"/>
                    </a:lnTo>
                    <a:lnTo>
                      <a:pt x="7883" y="17506"/>
                    </a:lnTo>
                    <a:cubicBezTo>
                      <a:pt x="6611" y="11031"/>
                      <a:pt x="4028" y="5244"/>
                      <a:pt x="528" y="659"/>
                    </a:cubicBezTo>
                    <a:lnTo>
                      <a:pt x="0" y="0"/>
                    </a:lnTo>
                    <a:close/>
                  </a:path>
                </a:pathLst>
              </a:custGeom>
              <a:solidFill>
                <a:srgbClr val="FFFFFF"/>
              </a:soli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grpSp>
        <p:grpSp>
          <p:nvGrpSpPr>
            <p:cNvPr id="111" name="Group 15">
              <a:extLst>
                <a:ext uri="{FF2B5EF4-FFF2-40B4-BE49-F238E27FC236}">
                  <a16:creationId xmlns:a16="http://schemas.microsoft.com/office/drawing/2014/main" id="{F4FC129C-1842-4541-B78E-4D2C2F41B9FB}"/>
                </a:ext>
              </a:extLst>
            </p:cNvPr>
            <p:cNvGrpSpPr/>
            <p:nvPr/>
          </p:nvGrpSpPr>
          <p:grpSpPr>
            <a:xfrm>
              <a:off x="5519986" y="2672578"/>
              <a:ext cx="1003081" cy="1003081"/>
              <a:chOff x="79556" y="79556"/>
              <a:chExt cx="1362943" cy="1362943"/>
            </a:xfrm>
          </p:grpSpPr>
          <p:sp>
            <p:nvSpPr>
              <p:cNvPr id="112" name="Овал 1">
                <a:extLst>
                  <a:ext uri="{FF2B5EF4-FFF2-40B4-BE49-F238E27FC236}">
                    <a16:creationId xmlns:a16="http://schemas.microsoft.com/office/drawing/2014/main" id="{1D3AE68F-7281-1E4A-80E6-2E69CFB96FDB}"/>
                  </a:ext>
                </a:extLst>
              </p:cNvPr>
              <p:cNvSpPr/>
              <p:nvPr/>
            </p:nvSpPr>
            <p:spPr>
              <a:xfrm rot="4970797">
                <a:off x="79556" y="79556"/>
                <a:ext cx="1362943" cy="1362943"/>
              </a:xfrm>
              <a:prstGeom prst="ellipse">
                <a:avLst/>
              </a:prstGeom>
              <a:gradFill flip="none" rotWithShape="1">
                <a:gsLst>
                  <a:gs pos="0">
                    <a:srgbClr val="5C5C5C"/>
                  </a:gs>
                  <a:gs pos="100000">
                    <a:srgbClr val="FFFFFF"/>
                  </a:gs>
                </a:gsLst>
                <a:path path="circle">
                  <a:fillToRect l="62278" t="119636" r="37721" b="-19636"/>
                </a:path>
              </a:gra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sp>
            <p:nvSpPr>
              <p:cNvPr id="113" name="Полилиния 51">
                <a:extLst>
                  <a:ext uri="{FF2B5EF4-FFF2-40B4-BE49-F238E27FC236}">
                    <a16:creationId xmlns:a16="http://schemas.microsoft.com/office/drawing/2014/main" id="{3EF5D762-5E9D-1548-8EE9-8ADB2F734959}"/>
                  </a:ext>
                </a:extLst>
              </p:cNvPr>
              <p:cNvSpPr/>
              <p:nvPr/>
            </p:nvSpPr>
            <p:spPr>
              <a:xfrm rot="4970797">
                <a:off x="1024876" y="849491"/>
                <a:ext cx="465394" cy="355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50" y="468"/>
                    </a:lnTo>
                    <a:cubicBezTo>
                      <a:pt x="10458" y="2931"/>
                      <a:pt x="17520" y="10439"/>
                      <a:pt x="21211" y="20474"/>
                    </a:cubicBezTo>
                    <a:lnTo>
                      <a:pt x="21600" y="21600"/>
                    </a:lnTo>
                    <a:lnTo>
                      <a:pt x="21431" y="21500"/>
                    </a:lnTo>
                    <a:cubicBezTo>
                      <a:pt x="18065" y="19635"/>
                      <a:pt x="14365" y="18604"/>
                      <a:pt x="10480" y="18604"/>
                    </a:cubicBezTo>
                    <a:cubicBezTo>
                      <a:pt x="9994" y="18604"/>
                      <a:pt x="9512" y="18620"/>
                      <a:pt x="9032" y="18652"/>
                    </a:cubicBezTo>
                    <a:lnTo>
                      <a:pt x="8101" y="18745"/>
                    </a:lnTo>
                    <a:lnTo>
                      <a:pt x="7883" y="17506"/>
                    </a:lnTo>
                    <a:cubicBezTo>
                      <a:pt x="6611" y="11031"/>
                      <a:pt x="4028" y="5244"/>
                      <a:pt x="528" y="659"/>
                    </a:cubicBezTo>
                    <a:lnTo>
                      <a:pt x="0" y="0"/>
                    </a:lnTo>
                    <a:close/>
                  </a:path>
                </a:pathLst>
              </a:custGeom>
              <a:solidFill>
                <a:srgbClr val="FFFFFF"/>
              </a:solidFill>
              <a:ln w="12700" cap="flat">
                <a:noFill/>
                <a:miter lim="400000"/>
              </a:ln>
              <a:effectLst/>
            </p:spPr>
            <p:txBody>
              <a:bodyPr wrap="square" lIns="35967" tIns="35967" rIns="35967" bIns="35967" numCol="1" anchor="ctr">
                <a:noAutofit/>
              </a:bodyPr>
              <a:lstStyle/>
              <a:p>
                <a:pPr defTabSz="913577">
                  <a:defRPr sz="600">
                    <a:solidFill>
                      <a:srgbClr val="FFFFFF"/>
                    </a:solidFill>
                    <a:latin typeface="Calibri Light"/>
                    <a:ea typeface="Calibri Light"/>
                    <a:cs typeface="Calibri Light"/>
                    <a:sym typeface="Calibri Light"/>
                  </a:defRPr>
                </a:pPr>
                <a:endParaRPr sz="599">
                  <a:solidFill>
                    <a:srgbClr val="FFFFFF"/>
                  </a:solidFill>
                  <a:latin typeface="Calibri Light"/>
                  <a:cs typeface="Calibri Light"/>
                  <a:sym typeface="Calibri Light"/>
                </a:endParaRPr>
              </a:p>
            </p:txBody>
          </p:sp>
        </p:grpSp>
        <p:sp>
          <p:nvSpPr>
            <p:cNvPr id="114" name="Titel 1">
              <a:extLst>
                <a:ext uri="{FF2B5EF4-FFF2-40B4-BE49-F238E27FC236}">
                  <a16:creationId xmlns:a16="http://schemas.microsoft.com/office/drawing/2014/main" id="{947F5EB4-ECD8-C44F-9607-095C3736877D}"/>
                </a:ext>
              </a:extLst>
            </p:cNvPr>
            <p:cNvSpPr txBox="1">
              <a:spLocks/>
            </p:cNvSpPr>
            <p:nvPr/>
          </p:nvSpPr>
          <p:spPr bwMode="gray">
            <a:xfrm>
              <a:off x="7040669" y="6076721"/>
              <a:ext cx="2183125" cy="37256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100" b="1">
                  <a:solidFill>
                    <a:srgbClr val="000000"/>
                  </a:solidFill>
                  <a:latin typeface="Century Gothic" panose="020B0502020202020204" pitchFamily="34" charset="0"/>
                </a:rPr>
                <a:t>Relative Market Share</a:t>
              </a:r>
            </a:p>
          </p:txBody>
        </p:sp>
        <p:sp>
          <p:nvSpPr>
            <p:cNvPr id="115" name="Titel 1">
              <a:extLst>
                <a:ext uri="{FF2B5EF4-FFF2-40B4-BE49-F238E27FC236}">
                  <a16:creationId xmlns:a16="http://schemas.microsoft.com/office/drawing/2014/main" id="{66280573-FE82-924A-B16A-682F2FFE76AC}"/>
                </a:ext>
              </a:extLst>
            </p:cNvPr>
            <p:cNvSpPr txBox="1">
              <a:spLocks/>
            </p:cNvSpPr>
            <p:nvPr/>
          </p:nvSpPr>
          <p:spPr bwMode="gray">
            <a:xfrm rot="16200000">
              <a:off x="3460705" y="3938149"/>
              <a:ext cx="2183126" cy="37256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100" b="1">
                  <a:solidFill>
                    <a:srgbClr val="000000"/>
                  </a:solidFill>
                  <a:latin typeface="Century Gothic" panose="020B0502020202020204" pitchFamily="34" charset="0"/>
                </a:rPr>
                <a:t>Market Growth Rate</a:t>
              </a:r>
            </a:p>
          </p:txBody>
        </p:sp>
        <p:sp>
          <p:nvSpPr>
            <p:cNvPr id="116" name="Titel 1">
              <a:extLst>
                <a:ext uri="{FF2B5EF4-FFF2-40B4-BE49-F238E27FC236}">
                  <a16:creationId xmlns:a16="http://schemas.microsoft.com/office/drawing/2014/main" id="{43E07835-1231-204B-8C9B-271C2F0513F3}"/>
                </a:ext>
              </a:extLst>
            </p:cNvPr>
            <p:cNvSpPr txBox="1">
              <a:spLocks/>
            </p:cNvSpPr>
            <p:nvPr/>
          </p:nvSpPr>
          <p:spPr bwMode="gray">
            <a:xfrm>
              <a:off x="4224324" y="2109733"/>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899">
                  <a:solidFill>
                    <a:srgbClr val="000000"/>
                  </a:solidFill>
                  <a:latin typeface="Century Gothic" panose="020B0502020202020204" pitchFamily="34" charset="0"/>
                </a:rPr>
                <a:t>High</a:t>
              </a:r>
            </a:p>
          </p:txBody>
        </p:sp>
        <p:sp>
          <p:nvSpPr>
            <p:cNvPr id="117" name="Titel 1">
              <a:extLst>
                <a:ext uri="{FF2B5EF4-FFF2-40B4-BE49-F238E27FC236}">
                  <a16:creationId xmlns:a16="http://schemas.microsoft.com/office/drawing/2014/main" id="{A25B6362-E621-E340-B1DB-CD0725174305}"/>
                </a:ext>
              </a:extLst>
            </p:cNvPr>
            <p:cNvSpPr txBox="1">
              <a:spLocks/>
            </p:cNvSpPr>
            <p:nvPr/>
          </p:nvSpPr>
          <p:spPr bwMode="gray">
            <a:xfrm>
              <a:off x="4216895" y="5793704"/>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899">
                  <a:solidFill>
                    <a:srgbClr val="000000"/>
                  </a:solidFill>
                  <a:latin typeface="Century Gothic" panose="020B0502020202020204" pitchFamily="34" charset="0"/>
                </a:rPr>
                <a:t>Low</a:t>
              </a:r>
            </a:p>
          </p:txBody>
        </p:sp>
        <p:sp>
          <p:nvSpPr>
            <p:cNvPr id="118" name="Titel 1">
              <a:extLst>
                <a:ext uri="{FF2B5EF4-FFF2-40B4-BE49-F238E27FC236}">
                  <a16:creationId xmlns:a16="http://schemas.microsoft.com/office/drawing/2014/main" id="{781C762F-84D1-5743-A945-3ADA5F5EF85E}"/>
                </a:ext>
              </a:extLst>
            </p:cNvPr>
            <p:cNvSpPr txBox="1">
              <a:spLocks/>
            </p:cNvSpPr>
            <p:nvPr/>
          </p:nvSpPr>
          <p:spPr bwMode="gray">
            <a:xfrm>
              <a:off x="10996695" y="6009712"/>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899">
                  <a:solidFill>
                    <a:srgbClr val="000000"/>
                  </a:solidFill>
                  <a:latin typeface="Century Gothic" panose="020B0502020202020204" pitchFamily="34" charset="0"/>
                </a:rPr>
                <a:t>Low</a:t>
              </a:r>
            </a:p>
          </p:txBody>
        </p:sp>
        <p:sp>
          <p:nvSpPr>
            <p:cNvPr id="119" name="Titel 1">
              <a:extLst>
                <a:ext uri="{FF2B5EF4-FFF2-40B4-BE49-F238E27FC236}">
                  <a16:creationId xmlns:a16="http://schemas.microsoft.com/office/drawing/2014/main" id="{64EF1767-A00E-7247-93CE-C9539C6BF459}"/>
                </a:ext>
              </a:extLst>
            </p:cNvPr>
            <p:cNvSpPr txBox="1">
              <a:spLocks/>
            </p:cNvSpPr>
            <p:nvPr/>
          </p:nvSpPr>
          <p:spPr bwMode="gray">
            <a:xfrm>
              <a:off x="4568706" y="6021177"/>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899">
                  <a:solidFill>
                    <a:srgbClr val="000000"/>
                  </a:solidFill>
                  <a:latin typeface="Century Gothic" panose="020B0502020202020204" pitchFamily="34" charset="0"/>
                </a:rPr>
                <a:t>High</a:t>
              </a:r>
            </a:p>
          </p:txBody>
        </p:sp>
        <p:sp>
          <p:nvSpPr>
            <p:cNvPr id="22" name="Right Arrow 21">
              <a:extLst>
                <a:ext uri="{FF2B5EF4-FFF2-40B4-BE49-F238E27FC236}">
                  <a16:creationId xmlns:a16="http://schemas.microsoft.com/office/drawing/2014/main" id="{782BC032-6EBA-B44F-A857-68C0C0509E95}"/>
                </a:ext>
              </a:extLst>
            </p:cNvPr>
            <p:cNvSpPr/>
            <p:nvPr/>
          </p:nvSpPr>
          <p:spPr>
            <a:xfrm flipH="1">
              <a:off x="7654389" y="2548411"/>
              <a:ext cx="739204" cy="392857"/>
            </a:xfrm>
            <a:prstGeom prst="rightArrow">
              <a:avLst>
                <a:gd name="adj1" fmla="val 75862"/>
                <a:gd name="adj2" fmla="val 50000"/>
              </a:avLst>
            </a:prstGeom>
            <a:solidFill>
              <a:srgbClr val="FFFFFF"/>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20" name="Titel 1">
              <a:extLst>
                <a:ext uri="{FF2B5EF4-FFF2-40B4-BE49-F238E27FC236}">
                  <a16:creationId xmlns:a16="http://schemas.microsoft.com/office/drawing/2014/main" id="{93F03B6F-1597-4045-8266-8D6DF84ED0B4}"/>
                </a:ext>
              </a:extLst>
            </p:cNvPr>
            <p:cNvSpPr txBox="1">
              <a:spLocks/>
            </p:cNvSpPr>
            <p:nvPr/>
          </p:nvSpPr>
          <p:spPr bwMode="gray">
            <a:xfrm>
              <a:off x="7762463" y="2577606"/>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099">
                  <a:solidFill>
                    <a:srgbClr val="000000"/>
                  </a:solidFill>
                  <a:latin typeface="Century Gothic" panose="020B0502020202020204" pitchFamily="34" charset="0"/>
                </a:rPr>
                <a:t>Invest</a:t>
              </a:r>
            </a:p>
          </p:txBody>
        </p:sp>
        <p:sp>
          <p:nvSpPr>
            <p:cNvPr id="121" name="Right Arrow 120">
              <a:extLst>
                <a:ext uri="{FF2B5EF4-FFF2-40B4-BE49-F238E27FC236}">
                  <a16:creationId xmlns:a16="http://schemas.microsoft.com/office/drawing/2014/main" id="{615CD810-7FED-A64E-B5F6-A0F1B16EF5F0}"/>
                </a:ext>
              </a:extLst>
            </p:cNvPr>
            <p:cNvSpPr/>
            <p:nvPr/>
          </p:nvSpPr>
          <p:spPr>
            <a:xfrm rot="16200000" flipH="1">
              <a:off x="5659188" y="4023751"/>
              <a:ext cx="739205" cy="392857"/>
            </a:xfrm>
            <a:prstGeom prst="rightArrow">
              <a:avLst>
                <a:gd name="adj1" fmla="val 75862"/>
                <a:gd name="adj2" fmla="val 50000"/>
              </a:avLst>
            </a:prstGeom>
            <a:solidFill>
              <a:srgbClr val="FFFFFF"/>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22" name="Titel 1">
              <a:extLst>
                <a:ext uri="{FF2B5EF4-FFF2-40B4-BE49-F238E27FC236}">
                  <a16:creationId xmlns:a16="http://schemas.microsoft.com/office/drawing/2014/main" id="{2B3D9F08-C313-DA41-9B7C-38C2D1DC7D9F}"/>
                </a:ext>
              </a:extLst>
            </p:cNvPr>
            <p:cNvSpPr txBox="1">
              <a:spLocks/>
            </p:cNvSpPr>
            <p:nvPr/>
          </p:nvSpPr>
          <p:spPr bwMode="gray">
            <a:xfrm rot="16200000">
              <a:off x="5707286" y="3991993"/>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099">
                  <a:solidFill>
                    <a:srgbClr val="000000"/>
                  </a:solidFill>
                  <a:latin typeface="Century Gothic" panose="020B0502020202020204" pitchFamily="34" charset="0"/>
                </a:rPr>
                <a:t>Slim</a:t>
              </a:r>
            </a:p>
          </p:txBody>
        </p:sp>
        <p:sp>
          <p:nvSpPr>
            <p:cNvPr id="123" name="Right Arrow 122">
              <a:extLst>
                <a:ext uri="{FF2B5EF4-FFF2-40B4-BE49-F238E27FC236}">
                  <a16:creationId xmlns:a16="http://schemas.microsoft.com/office/drawing/2014/main" id="{3146FB8A-8AFE-8C46-9A4A-D180BBEC94E5}"/>
                </a:ext>
              </a:extLst>
            </p:cNvPr>
            <p:cNvSpPr/>
            <p:nvPr/>
          </p:nvSpPr>
          <p:spPr>
            <a:xfrm>
              <a:off x="7808590" y="5303987"/>
              <a:ext cx="739204" cy="392857"/>
            </a:xfrm>
            <a:prstGeom prst="rightArrow">
              <a:avLst>
                <a:gd name="adj1" fmla="val 75862"/>
                <a:gd name="adj2" fmla="val 50000"/>
              </a:avLst>
            </a:prstGeom>
            <a:solidFill>
              <a:srgbClr val="FFFFFF"/>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24" name="Titel 1">
              <a:extLst>
                <a:ext uri="{FF2B5EF4-FFF2-40B4-BE49-F238E27FC236}">
                  <a16:creationId xmlns:a16="http://schemas.microsoft.com/office/drawing/2014/main" id="{7F9C7FBF-7430-BD46-9DA2-DA58C6A76AFF}"/>
                </a:ext>
              </a:extLst>
            </p:cNvPr>
            <p:cNvSpPr txBox="1">
              <a:spLocks/>
            </p:cNvSpPr>
            <p:nvPr/>
          </p:nvSpPr>
          <p:spPr bwMode="gray">
            <a:xfrm>
              <a:off x="7784585" y="5333183"/>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099">
                  <a:solidFill>
                    <a:srgbClr val="000000"/>
                  </a:solidFill>
                  <a:latin typeface="Century Gothic" panose="020B0502020202020204" pitchFamily="34" charset="0"/>
                </a:rPr>
                <a:t>Skim</a:t>
              </a:r>
            </a:p>
          </p:txBody>
        </p:sp>
        <p:sp>
          <p:nvSpPr>
            <p:cNvPr id="125" name="Right Arrow 124">
              <a:extLst>
                <a:ext uri="{FF2B5EF4-FFF2-40B4-BE49-F238E27FC236}">
                  <a16:creationId xmlns:a16="http://schemas.microsoft.com/office/drawing/2014/main" id="{F25BDECF-D40D-2543-A838-9FFD8663BE08}"/>
                </a:ext>
              </a:extLst>
            </p:cNvPr>
            <p:cNvSpPr/>
            <p:nvPr/>
          </p:nvSpPr>
          <p:spPr>
            <a:xfrm>
              <a:off x="10920998" y="4841530"/>
              <a:ext cx="739204" cy="392857"/>
            </a:xfrm>
            <a:prstGeom prst="rightArrow">
              <a:avLst>
                <a:gd name="adj1" fmla="val 75862"/>
                <a:gd name="adj2" fmla="val 50000"/>
              </a:avLst>
            </a:prstGeom>
            <a:solidFill>
              <a:srgbClr val="FFFFFF"/>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err="1">
                <a:solidFill>
                  <a:srgbClr val="FFFFFF"/>
                </a:solidFill>
                <a:latin typeface="Calibri Light"/>
              </a:endParaRPr>
            </a:p>
          </p:txBody>
        </p:sp>
        <p:sp>
          <p:nvSpPr>
            <p:cNvPr id="126" name="Titel 1">
              <a:extLst>
                <a:ext uri="{FF2B5EF4-FFF2-40B4-BE49-F238E27FC236}">
                  <a16:creationId xmlns:a16="http://schemas.microsoft.com/office/drawing/2014/main" id="{237D051F-1F91-B045-93D0-5A1C4FF547DF}"/>
                </a:ext>
              </a:extLst>
            </p:cNvPr>
            <p:cNvSpPr txBox="1">
              <a:spLocks/>
            </p:cNvSpPr>
            <p:nvPr/>
          </p:nvSpPr>
          <p:spPr bwMode="gray">
            <a:xfrm>
              <a:off x="10917314" y="4870720"/>
              <a:ext cx="655887" cy="352872"/>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defTabSz="913577"/>
              <a:r>
                <a:rPr lang="en-US" sz="1099">
                  <a:solidFill>
                    <a:srgbClr val="000000"/>
                  </a:solidFill>
                  <a:latin typeface="Century Gothic" panose="020B0502020202020204" pitchFamily="34" charset="0"/>
                </a:rPr>
                <a:t>Divest</a:t>
              </a:r>
            </a:p>
          </p:txBody>
        </p:sp>
      </p:grpSp>
      <p:sp>
        <p:nvSpPr>
          <p:cNvPr id="34" name="Rechteck 33"/>
          <p:cNvSpPr/>
          <p:nvPr/>
        </p:nvSpPr>
        <p:spPr bwMode="gray">
          <a:xfrm>
            <a:off x="392245" y="2390073"/>
            <a:ext cx="2329046" cy="1080000"/>
          </a:xfrm>
          <a:prstGeom prst="rect">
            <a:avLst/>
          </a:prstGeom>
          <a:solidFill>
            <a:srgbClr val="8D8EA8">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lvl="0" defTabSz="913577">
              <a:lnSpc>
                <a:spcPts val="1519"/>
              </a:lnSpc>
              <a:spcAft>
                <a:spcPts val="999"/>
              </a:spcAft>
            </a:pPr>
            <a:r>
              <a:rPr lang="en-US" sz="1100" b="1">
                <a:solidFill>
                  <a:srgbClr val="252625"/>
                </a:solidFill>
                <a:latin typeface="Century Gothic" panose="020B0502020202020204" pitchFamily="34" charset="0"/>
              </a:rPr>
              <a:t>Stars</a:t>
            </a:r>
          </a:p>
          <a:p>
            <a:pPr lvl="0" defTabSz="913577">
              <a:lnSpc>
                <a:spcPts val="1519"/>
              </a:lnSpc>
              <a:spcAft>
                <a:spcPts val="999"/>
              </a:spcAft>
            </a:pPr>
            <a:r>
              <a:rPr lang="en-US" sz="1000">
                <a:solidFill>
                  <a:srgbClr val="252625"/>
                </a:solidFill>
                <a:latin typeface="Century Gothic" panose="020B0502020202020204" pitchFamily="34" charset="0"/>
              </a:rPr>
              <a:t>Potentially profitable products with high market share in     rapidly growing market.</a:t>
            </a:r>
          </a:p>
        </p:txBody>
      </p:sp>
      <p:pic>
        <p:nvPicPr>
          <p:cNvPr id="3" name="Picture 2">
            <a:hlinkClick r:id="rId5"/>
            <a:extLst>
              <a:ext uri="{FF2B5EF4-FFF2-40B4-BE49-F238E27FC236}">
                <a16:creationId xmlns:a16="http://schemas.microsoft.com/office/drawing/2014/main" id="{91C0561B-3F51-804E-ABBE-6FE0709608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69187" y="6523390"/>
            <a:ext cx="1101967" cy="315986"/>
          </a:xfrm>
          <a:prstGeom prst="rect">
            <a:avLst/>
          </a:prstGeom>
        </p:spPr>
      </p:pic>
    </p:spTree>
    <p:extLst>
      <p:ext uri="{BB962C8B-B14F-4D97-AF65-F5344CB8AC3E}">
        <p14:creationId xmlns:p14="http://schemas.microsoft.com/office/powerpoint/2010/main" val="2227282562"/>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2D88486-B618-974D-A3BB-2972DFD5961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5" name="Objekt 4" hidden="1">
                        <a:extLst>
                          <a:ext uri="{FF2B5EF4-FFF2-40B4-BE49-F238E27FC236}">
                            <a16:creationId xmlns:a16="http://schemas.microsoft.com/office/drawing/2014/main" id="{82D88486-B618-974D-A3BB-2972DFD5961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E867F63-D96A-9248-A290-7B2EA99D5FAA}"/>
              </a:ext>
            </a:extLst>
          </p:cNvPr>
          <p:cNvGrpSpPr/>
          <p:nvPr/>
        </p:nvGrpSpPr>
        <p:grpSpPr>
          <a:xfrm>
            <a:off x="363918" y="1609912"/>
            <a:ext cx="11456607" cy="4303526"/>
            <a:chOff x="363918" y="1609912"/>
            <a:chExt cx="10269441" cy="4625696"/>
          </a:xfrm>
        </p:grpSpPr>
        <p:sp>
          <p:nvSpPr>
            <p:cNvPr id="58" name="Trapezoid 57">
              <a:extLst>
                <a:ext uri="{FF2B5EF4-FFF2-40B4-BE49-F238E27FC236}">
                  <a16:creationId xmlns:a16="http://schemas.microsoft.com/office/drawing/2014/main" id="{E252DBF1-F51F-D644-9FEF-119C0E45C65B}"/>
                </a:ext>
              </a:extLst>
            </p:cNvPr>
            <p:cNvSpPr/>
            <p:nvPr/>
          </p:nvSpPr>
          <p:spPr bwMode="gray">
            <a:xfrm flipV="1">
              <a:off x="1127720" y="4786013"/>
              <a:ext cx="8244233" cy="1181887"/>
            </a:xfrm>
            <a:prstGeom prst="trapezoid">
              <a:avLst>
                <a:gd name="adj" fmla="val 102063"/>
              </a:avLst>
            </a:prstGeom>
            <a:noFill/>
            <a:ln w="12700">
              <a:solidFill>
                <a:schemeClr val="accent2"/>
              </a:solidFill>
              <a:prstDash val="sysDash"/>
              <a:round/>
              <a:headEnd/>
              <a:tailEnd/>
            </a:ln>
            <a:effectLst/>
          </p:spPr>
          <p:txBody>
            <a:bodyPr rtlCol="0" anchor="ctr"/>
            <a:lstStyle/>
            <a:p>
              <a:pPr defTabSz="913577"/>
              <a:endParaRPr lang="en-US" sz="1798">
                <a:latin typeface="Century Gothic" panose="020B0502020202020204" pitchFamily="34" charset="0"/>
              </a:endParaRPr>
            </a:p>
          </p:txBody>
        </p:sp>
        <p:sp>
          <p:nvSpPr>
            <p:cNvPr id="60" name="Rechteck 27">
              <a:extLst>
                <a:ext uri="{FF2B5EF4-FFF2-40B4-BE49-F238E27FC236}">
                  <a16:creationId xmlns:a16="http://schemas.microsoft.com/office/drawing/2014/main" id="{B14D7673-3A9C-AD44-9E81-F9955BB1E938}"/>
                </a:ext>
              </a:extLst>
            </p:cNvPr>
            <p:cNvSpPr/>
            <p:nvPr/>
          </p:nvSpPr>
          <p:spPr bwMode="gray">
            <a:xfrm>
              <a:off x="951646" y="3284803"/>
              <a:ext cx="1449120" cy="1393415"/>
            </a:xfrm>
            <a:prstGeom prst="roundRect">
              <a:avLst>
                <a:gd name="adj" fmla="val 5097"/>
              </a:avLst>
            </a:prstGeom>
            <a:solidFill>
              <a:srgbClr val="747F83"/>
            </a:solidFill>
            <a:ln w="12700">
              <a:noFill/>
              <a:miter lim="800000"/>
              <a:headEnd/>
              <a:tailEnd/>
            </a:ln>
            <a:effectLst/>
          </p:spPr>
          <p:txBody>
            <a:bodyPr lIns="71934" tIns="0" rIns="35967" bIns="0" anchor="ctr" anchorCtr="0"/>
            <a:lstStyle/>
            <a:p>
              <a:pPr defTabSz="913577">
                <a:buClr>
                  <a:srgbClr val="7D7D7D"/>
                </a:buClr>
              </a:pPr>
              <a:r>
                <a:rPr lang="en-US" sz="1299">
                  <a:solidFill>
                    <a:srgbClr val="FFFFFF"/>
                  </a:solidFill>
                  <a:latin typeface="Arial" panose="020B0604020202020204" pitchFamily="34" charset="0"/>
                  <a:cs typeface="Arial" panose="020B0604020202020204" pitchFamily="34" charset="0"/>
                </a:rPr>
                <a:t>Inbound Logistics</a:t>
              </a:r>
            </a:p>
          </p:txBody>
        </p:sp>
        <p:sp>
          <p:nvSpPr>
            <p:cNvPr id="61" name="Rechteck 28">
              <a:extLst>
                <a:ext uri="{FF2B5EF4-FFF2-40B4-BE49-F238E27FC236}">
                  <a16:creationId xmlns:a16="http://schemas.microsoft.com/office/drawing/2014/main" id="{30D08FCA-CC70-CA48-9BBD-167A1CA338B6}"/>
                </a:ext>
              </a:extLst>
            </p:cNvPr>
            <p:cNvSpPr/>
            <p:nvPr/>
          </p:nvSpPr>
          <p:spPr bwMode="gray">
            <a:xfrm>
              <a:off x="2528896" y="3284803"/>
              <a:ext cx="1449120" cy="1393415"/>
            </a:xfrm>
            <a:prstGeom prst="roundRect">
              <a:avLst>
                <a:gd name="adj" fmla="val 5097"/>
              </a:avLst>
            </a:prstGeom>
            <a:solidFill>
              <a:srgbClr val="747F83"/>
            </a:solidFill>
            <a:ln w="12700">
              <a:noFill/>
              <a:miter lim="800000"/>
              <a:headEnd/>
              <a:tailEnd/>
            </a:ln>
            <a:effectLst/>
          </p:spPr>
          <p:txBody>
            <a:bodyPr lIns="71934" tIns="0" rIns="35967" bIns="0" anchor="ctr" anchorCtr="0"/>
            <a:lstStyle/>
            <a:p>
              <a:pPr defTabSz="913577">
                <a:buClr>
                  <a:srgbClr val="7D7D7D"/>
                </a:buClr>
              </a:pPr>
              <a:r>
                <a:rPr lang="en-US" sz="1299">
                  <a:solidFill>
                    <a:srgbClr val="FFFFFF"/>
                  </a:solidFill>
                  <a:latin typeface="Arial" panose="020B0604020202020204" pitchFamily="34" charset="0"/>
                  <a:cs typeface="Arial" panose="020B0604020202020204" pitchFamily="34" charset="0"/>
                </a:rPr>
                <a:t>Operations</a:t>
              </a:r>
            </a:p>
          </p:txBody>
        </p:sp>
        <p:sp>
          <p:nvSpPr>
            <p:cNvPr id="62" name="Rechteck 30">
              <a:extLst>
                <a:ext uri="{FF2B5EF4-FFF2-40B4-BE49-F238E27FC236}">
                  <a16:creationId xmlns:a16="http://schemas.microsoft.com/office/drawing/2014/main" id="{F3FB0096-2D42-3F41-B1EE-B127A55C5CF9}"/>
                </a:ext>
              </a:extLst>
            </p:cNvPr>
            <p:cNvSpPr/>
            <p:nvPr/>
          </p:nvSpPr>
          <p:spPr bwMode="gray">
            <a:xfrm>
              <a:off x="4106146" y="3284803"/>
              <a:ext cx="1449120" cy="1393415"/>
            </a:xfrm>
            <a:prstGeom prst="roundRect">
              <a:avLst>
                <a:gd name="adj" fmla="val 6061"/>
              </a:avLst>
            </a:prstGeom>
            <a:solidFill>
              <a:srgbClr val="747F83"/>
            </a:solidFill>
            <a:ln w="12700">
              <a:noFill/>
              <a:miter lim="800000"/>
              <a:headEnd/>
              <a:tailEnd/>
            </a:ln>
            <a:effectLst/>
          </p:spPr>
          <p:txBody>
            <a:bodyPr lIns="71934" tIns="0" rIns="35967" bIns="0" anchor="ctr" anchorCtr="0"/>
            <a:lstStyle/>
            <a:p>
              <a:pPr defTabSz="913577">
                <a:buClr>
                  <a:srgbClr val="7D7D7D"/>
                </a:buClr>
              </a:pPr>
              <a:r>
                <a:rPr lang="en-US" sz="1299">
                  <a:solidFill>
                    <a:srgbClr val="FFFFFF"/>
                  </a:solidFill>
                  <a:latin typeface="Arial" panose="020B0604020202020204" pitchFamily="34" charset="0"/>
                  <a:cs typeface="Arial" panose="020B0604020202020204" pitchFamily="34" charset="0"/>
                </a:rPr>
                <a:t>Outbound Logistics</a:t>
              </a:r>
            </a:p>
          </p:txBody>
        </p:sp>
        <p:sp>
          <p:nvSpPr>
            <p:cNvPr id="63" name="Rechteck 31">
              <a:extLst>
                <a:ext uri="{FF2B5EF4-FFF2-40B4-BE49-F238E27FC236}">
                  <a16:creationId xmlns:a16="http://schemas.microsoft.com/office/drawing/2014/main" id="{FD84E413-A627-C54B-BD5C-7082057AC17C}"/>
                </a:ext>
              </a:extLst>
            </p:cNvPr>
            <p:cNvSpPr/>
            <p:nvPr/>
          </p:nvSpPr>
          <p:spPr bwMode="gray">
            <a:xfrm>
              <a:off x="5683396" y="3284803"/>
              <a:ext cx="1449120" cy="1393415"/>
            </a:xfrm>
            <a:prstGeom prst="roundRect">
              <a:avLst>
                <a:gd name="adj" fmla="val 5097"/>
              </a:avLst>
            </a:prstGeom>
            <a:solidFill>
              <a:srgbClr val="747F83"/>
            </a:solidFill>
            <a:ln w="12700">
              <a:noFill/>
              <a:miter lim="800000"/>
              <a:headEnd/>
              <a:tailEnd/>
            </a:ln>
            <a:effectLst/>
          </p:spPr>
          <p:txBody>
            <a:bodyPr lIns="71934" tIns="0" rIns="35967" bIns="0" anchor="ctr" anchorCtr="0"/>
            <a:lstStyle/>
            <a:p>
              <a:pPr defTabSz="913577">
                <a:buClr>
                  <a:srgbClr val="7D7D7D"/>
                </a:buClr>
              </a:pPr>
              <a:r>
                <a:rPr lang="en-US" sz="1299">
                  <a:solidFill>
                    <a:srgbClr val="FFFFFF"/>
                  </a:solidFill>
                  <a:latin typeface="Arial" panose="020B0604020202020204" pitchFamily="34" charset="0"/>
                  <a:cs typeface="Arial" panose="020B0604020202020204" pitchFamily="34" charset="0"/>
                </a:rPr>
                <a:t>Marketing</a:t>
              </a:r>
              <a:br>
                <a:rPr lang="en-US" sz="1299">
                  <a:solidFill>
                    <a:srgbClr val="FFFFFF"/>
                  </a:solidFill>
                  <a:latin typeface="Arial" panose="020B0604020202020204" pitchFamily="34" charset="0"/>
                  <a:cs typeface="Arial" panose="020B0604020202020204" pitchFamily="34" charset="0"/>
                </a:rPr>
              </a:br>
              <a:r>
                <a:rPr lang="en-US" sz="1299">
                  <a:solidFill>
                    <a:srgbClr val="FFFFFF"/>
                  </a:solidFill>
                  <a:latin typeface="Arial" panose="020B0604020202020204" pitchFamily="34" charset="0"/>
                  <a:cs typeface="Arial" panose="020B0604020202020204" pitchFamily="34" charset="0"/>
                </a:rPr>
                <a:t>and Sales</a:t>
              </a:r>
            </a:p>
          </p:txBody>
        </p:sp>
        <p:grpSp>
          <p:nvGrpSpPr>
            <p:cNvPr id="10" name="Group 9">
              <a:extLst>
                <a:ext uri="{FF2B5EF4-FFF2-40B4-BE49-F238E27FC236}">
                  <a16:creationId xmlns:a16="http://schemas.microsoft.com/office/drawing/2014/main" id="{05AD66B0-8865-BE45-83A9-C3A12874CF3A}"/>
                </a:ext>
              </a:extLst>
            </p:cNvPr>
            <p:cNvGrpSpPr/>
            <p:nvPr/>
          </p:nvGrpSpPr>
          <p:grpSpPr>
            <a:xfrm>
              <a:off x="951648" y="1832901"/>
              <a:ext cx="8015781" cy="310325"/>
              <a:chOff x="1616965" y="1909101"/>
              <a:chExt cx="8023095" cy="310608"/>
            </a:xfrm>
          </p:grpSpPr>
          <p:sp>
            <p:nvSpPr>
              <p:cNvPr id="85" name="Freeform 24">
                <a:extLst>
                  <a:ext uri="{FF2B5EF4-FFF2-40B4-BE49-F238E27FC236}">
                    <a16:creationId xmlns:a16="http://schemas.microsoft.com/office/drawing/2014/main" id="{D87B2653-815B-BE4F-923B-762588B0256E}"/>
                  </a:ext>
                </a:extLst>
              </p:cNvPr>
              <p:cNvSpPr>
                <a:spLocks/>
              </p:cNvSpPr>
              <p:nvPr/>
            </p:nvSpPr>
            <p:spPr bwMode="gray">
              <a:xfrm>
                <a:off x="1616965" y="1909101"/>
                <a:ext cx="8023095" cy="302907"/>
              </a:xfrm>
              <a:custGeom>
                <a:avLst/>
                <a:gdLst>
                  <a:gd name="connsiteX0" fmla="*/ 10000 w 10000"/>
                  <a:gd name="connsiteY0" fmla="*/ 6902 h 10000"/>
                  <a:gd name="connsiteX1" fmla="*/ 6809 w 10000"/>
                  <a:gd name="connsiteY1" fmla="*/ 0 h 10000"/>
                  <a:gd name="connsiteX2" fmla="*/ 0 w 10000"/>
                  <a:gd name="connsiteY2" fmla="*/ 0 h 10000"/>
                  <a:gd name="connsiteX3" fmla="*/ 0 w 10000"/>
                  <a:gd name="connsiteY3" fmla="*/ 10000 h 10000"/>
                  <a:gd name="connsiteX4" fmla="*/ 6809 w 10000"/>
                  <a:gd name="connsiteY4" fmla="*/ 6902 h 10000"/>
                  <a:gd name="connsiteX5" fmla="*/ 10000 w 10000"/>
                  <a:gd name="connsiteY5" fmla="*/ 6902 h 10000"/>
                  <a:gd name="connsiteX0" fmla="*/ 10000 w 10000"/>
                  <a:gd name="connsiteY0" fmla="*/ 6902 h 6975"/>
                  <a:gd name="connsiteX1" fmla="*/ 6809 w 10000"/>
                  <a:gd name="connsiteY1" fmla="*/ 0 h 6975"/>
                  <a:gd name="connsiteX2" fmla="*/ 0 w 10000"/>
                  <a:gd name="connsiteY2" fmla="*/ 0 h 6975"/>
                  <a:gd name="connsiteX3" fmla="*/ 0 w 10000"/>
                  <a:gd name="connsiteY3" fmla="*/ 6975 h 6975"/>
                  <a:gd name="connsiteX4" fmla="*/ 6809 w 10000"/>
                  <a:gd name="connsiteY4" fmla="*/ 6902 h 6975"/>
                  <a:gd name="connsiteX5" fmla="*/ 10000 w 10000"/>
                  <a:gd name="connsiteY5" fmla="*/ 6902 h 6975"/>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1 w 10001"/>
                  <a:gd name="connsiteY0" fmla="*/ 9895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9895 h 10069"/>
                  <a:gd name="connsiteX0" fmla="*/ 10001 w 10001"/>
                  <a:gd name="connsiteY0" fmla="*/ 10069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8884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9658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9986 w 9986"/>
                  <a:gd name="connsiteY0" fmla="*/ 10069 h 10069"/>
                  <a:gd name="connsiteX1" fmla="*/ 9658 w 9986"/>
                  <a:gd name="connsiteY1" fmla="*/ 0 h 10069"/>
                  <a:gd name="connsiteX2" fmla="*/ 1 w 9986"/>
                  <a:gd name="connsiteY2" fmla="*/ 0 h 10069"/>
                  <a:gd name="connsiteX3" fmla="*/ 0 w 9986"/>
                  <a:gd name="connsiteY3" fmla="*/ 10069 h 10069"/>
                  <a:gd name="connsiteX4" fmla="*/ 9986 w 9986"/>
                  <a:gd name="connsiteY4" fmla="*/ 10069 h 10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 h="10069">
                    <a:moveTo>
                      <a:pt x="9986" y="10069"/>
                    </a:moveTo>
                    <a:cubicBezTo>
                      <a:pt x="9872" y="6713"/>
                      <a:pt x="9772" y="3356"/>
                      <a:pt x="9658" y="0"/>
                    </a:cubicBezTo>
                    <a:lnTo>
                      <a:pt x="1" y="0"/>
                    </a:lnTo>
                    <a:cubicBezTo>
                      <a:pt x="1" y="3356"/>
                      <a:pt x="0" y="6713"/>
                      <a:pt x="0" y="10069"/>
                    </a:cubicBezTo>
                    <a:lnTo>
                      <a:pt x="9986" y="10069"/>
                    </a:lnTo>
                    <a:close/>
                  </a:path>
                </a:pathLst>
              </a:custGeom>
              <a:solidFill>
                <a:schemeClr val="accent2">
                  <a:lumMod val="20000"/>
                  <a:lumOff val="80000"/>
                </a:schemeClr>
              </a:solidFill>
              <a:ln w="19050">
                <a:noFill/>
                <a:miter lim="800000"/>
                <a:headEnd/>
                <a:tailEnd/>
              </a:ln>
              <a:effectLst/>
            </p:spPr>
            <p:txBody>
              <a:bodyPr lIns="71934" tIns="0" rIns="35967" bIns="0" anchor="ctr" anchorCtr="0"/>
              <a:lstStyle/>
              <a:p>
                <a:pPr defTabSz="913577">
                  <a:lnSpc>
                    <a:spcPct val="80000"/>
                  </a:lnSpc>
                  <a:buClr>
                    <a:srgbClr val="7D7D7D"/>
                  </a:buClr>
                </a:pPr>
                <a:endParaRPr lang="en-US" sz="1798">
                  <a:latin typeface="Arial" panose="020B0604020202020204" pitchFamily="34" charset="0"/>
                  <a:cs typeface="Arial" panose="020B0604020202020204" pitchFamily="34" charset="0"/>
                </a:endParaRPr>
              </a:p>
            </p:txBody>
          </p:sp>
          <p:sp>
            <p:nvSpPr>
              <p:cNvPr id="65" name="Rechteck 43">
                <a:extLst>
                  <a:ext uri="{FF2B5EF4-FFF2-40B4-BE49-F238E27FC236}">
                    <a16:creationId xmlns:a16="http://schemas.microsoft.com/office/drawing/2014/main" id="{FD21FABF-DADB-4949-9414-E9C0D1B9D19F}"/>
                  </a:ext>
                </a:extLst>
              </p:cNvPr>
              <p:cNvSpPr/>
              <p:nvPr/>
            </p:nvSpPr>
            <p:spPr bwMode="gray">
              <a:xfrm>
                <a:off x="1845115" y="1927183"/>
                <a:ext cx="3248318" cy="292526"/>
              </a:xfrm>
              <a:prstGeom prst="rect">
                <a:avLst/>
              </a:prstGeom>
              <a:effectLst/>
            </p:spPr>
            <p:txBody>
              <a:bodyPr wrap="square">
                <a:spAutoFit/>
              </a:bodyPr>
              <a:lstStyle/>
              <a:p>
                <a:pPr defTabSz="913577">
                  <a:spcAft>
                    <a:spcPts val="999"/>
                  </a:spcAft>
                  <a:buClr>
                    <a:srgbClr val="7D7D7D"/>
                  </a:buClr>
                </a:pPr>
                <a:r>
                  <a:rPr lang="en-US" sz="1299">
                    <a:latin typeface="Arial" panose="020B0604020202020204" pitchFamily="34" charset="0"/>
                    <a:cs typeface="Arial" panose="020B0604020202020204" pitchFamily="34" charset="0"/>
                  </a:rPr>
                  <a:t>Firm Infrastructure</a:t>
                </a:r>
              </a:p>
            </p:txBody>
          </p:sp>
        </p:grpSp>
        <p:grpSp>
          <p:nvGrpSpPr>
            <p:cNvPr id="11" name="Group 10">
              <a:extLst>
                <a:ext uri="{FF2B5EF4-FFF2-40B4-BE49-F238E27FC236}">
                  <a16:creationId xmlns:a16="http://schemas.microsoft.com/office/drawing/2014/main" id="{263C6706-795E-1740-A67B-8DC5C3A46766}"/>
                </a:ext>
              </a:extLst>
            </p:cNvPr>
            <p:cNvGrpSpPr/>
            <p:nvPr/>
          </p:nvGrpSpPr>
          <p:grpSpPr>
            <a:xfrm>
              <a:off x="951648" y="2178401"/>
              <a:ext cx="8313336" cy="308862"/>
              <a:chOff x="1616966" y="2254920"/>
              <a:chExt cx="8320921" cy="309144"/>
            </a:xfrm>
          </p:grpSpPr>
          <p:sp>
            <p:nvSpPr>
              <p:cNvPr id="86" name="Freeform 24">
                <a:extLst>
                  <a:ext uri="{FF2B5EF4-FFF2-40B4-BE49-F238E27FC236}">
                    <a16:creationId xmlns:a16="http://schemas.microsoft.com/office/drawing/2014/main" id="{C9B8C016-E7B4-0544-8C25-5C95909DC69A}"/>
                  </a:ext>
                </a:extLst>
              </p:cNvPr>
              <p:cNvSpPr>
                <a:spLocks/>
              </p:cNvSpPr>
              <p:nvPr/>
            </p:nvSpPr>
            <p:spPr bwMode="gray">
              <a:xfrm>
                <a:off x="1616966" y="2254920"/>
                <a:ext cx="8320921" cy="308503"/>
              </a:xfrm>
              <a:custGeom>
                <a:avLst/>
                <a:gdLst>
                  <a:gd name="connsiteX0" fmla="*/ 10000 w 10000"/>
                  <a:gd name="connsiteY0" fmla="*/ 6902 h 10000"/>
                  <a:gd name="connsiteX1" fmla="*/ 6809 w 10000"/>
                  <a:gd name="connsiteY1" fmla="*/ 0 h 10000"/>
                  <a:gd name="connsiteX2" fmla="*/ 0 w 10000"/>
                  <a:gd name="connsiteY2" fmla="*/ 0 h 10000"/>
                  <a:gd name="connsiteX3" fmla="*/ 0 w 10000"/>
                  <a:gd name="connsiteY3" fmla="*/ 10000 h 10000"/>
                  <a:gd name="connsiteX4" fmla="*/ 6809 w 10000"/>
                  <a:gd name="connsiteY4" fmla="*/ 6902 h 10000"/>
                  <a:gd name="connsiteX5" fmla="*/ 10000 w 10000"/>
                  <a:gd name="connsiteY5" fmla="*/ 6902 h 10000"/>
                  <a:gd name="connsiteX0" fmla="*/ 10000 w 10000"/>
                  <a:gd name="connsiteY0" fmla="*/ 6902 h 6975"/>
                  <a:gd name="connsiteX1" fmla="*/ 6809 w 10000"/>
                  <a:gd name="connsiteY1" fmla="*/ 0 h 6975"/>
                  <a:gd name="connsiteX2" fmla="*/ 0 w 10000"/>
                  <a:gd name="connsiteY2" fmla="*/ 0 h 6975"/>
                  <a:gd name="connsiteX3" fmla="*/ 0 w 10000"/>
                  <a:gd name="connsiteY3" fmla="*/ 6975 h 6975"/>
                  <a:gd name="connsiteX4" fmla="*/ 6809 w 10000"/>
                  <a:gd name="connsiteY4" fmla="*/ 6902 h 6975"/>
                  <a:gd name="connsiteX5" fmla="*/ 10000 w 10000"/>
                  <a:gd name="connsiteY5" fmla="*/ 6902 h 6975"/>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1 w 10001"/>
                  <a:gd name="connsiteY0" fmla="*/ 9895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9895 h 10069"/>
                  <a:gd name="connsiteX0" fmla="*/ 10001 w 10001"/>
                  <a:gd name="connsiteY0" fmla="*/ 10069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8884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9682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9991 w 9991"/>
                  <a:gd name="connsiteY0" fmla="*/ 10255 h 10255"/>
                  <a:gd name="connsiteX1" fmla="*/ 9682 w 9991"/>
                  <a:gd name="connsiteY1" fmla="*/ 0 h 10255"/>
                  <a:gd name="connsiteX2" fmla="*/ 1 w 9991"/>
                  <a:gd name="connsiteY2" fmla="*/ 0 h 10255"/>
                  <a:gd name="connsiteX3" fmla="*/ 0 w 9991"/>
                  <a:gd name="connsiteY3" fmla="*/ 10069 h 10255"/>
                  <a:gd name="connsiteX4" fmla="*/ 9991 w 9991"/>
                  <a:gd name="connsiteY4" fmla="*/ 10255 h 10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1" h="10255">
                    <a:moveTo>
                      <a:pt x="9991" y="10255"/>
                    </a:moveTo>
                    <a:cubicBezTo>
                      <a:pt x="9885" y="6899"/>
                      <a:pt x="9788" y="3356"/>
                      <a:pt x="9682" y="0"/>
                    </a:cubicBezTo>
                    <a:lnTo>
                      <a:pt x="1" y="0"/>
                    </a:lnTo>
                    <a:cubicBezTo>
                      <a:pt x="1" y="3356"/>
                      <a:pt x="0" y="6713"/>
                      <a:pt x="0" y="10069"/>
                    </a:cubicBezTo>
                    <a:cubicBezTo>
                      <a:pt x="3334" y="10069"/>
                      <a:pt x="6657" y="10255"/>
                      <a:pt x="9991" y="10255"/>
                    </a:cubicBezTo>
                    <a:close/>
                  </a:path>
                </a:pathLst>
              </a:custGeom>
              <a:solidFill>
                <a:schemeClr val="accent2">
                  <a:lumMod val="20000"/>
                  <a:lumOff val="80000"/>
                </a:schemeClr>
              </a:solidFill>
              <a:ln w="19050">
                <a:noFill/>
                <a:miter lim="800000"/>
                <a:headEnd/>
                <a:tailEnd/>
              </a:ln>
              <a:effectLst/>
            </p:spPr>
            <p:txBody>
              <a:bodyPr lIns="71934" tIns="0" rIns="35967" bIns="0" anchor="ctr" anchorCtr="0"/>
              <a:lstStyle/>
              <a:p>
                <a:pPr defTabSz="913577">
                  <a:lnSpc>
                    <a:spcPct val="80000"/>
                  </a:lnSpc>
                  <a:buClr>
                    <a:srgbClr val="7D7D7D"/>
                  </a:buClr>
                </a:pPr>
                <a:endParaRPr lang="en-US" sz="1798">
                  <a:latin typeface="Arial" panose="020B0604020202020204" pitchFamily="34" charset="0"/>
                  <a:cs typeface="Arial" panose="020B0604020202020204" pitchFamily="34" charset="0"/>
                </a:endParaRPr>
              </a:p>
            </p:txBody>
          </p:sp>
          <p:sp>
            <p:nvSpPr>
              <p:cNvPr id="66" name="Rechteck 44">
                <a:extLst>
                  <a:ext uri="{FF2B5EF4-FFF2-40B4-BE49-F238E27FC236}">
                    <a16:creationId xmlns:a16="http://schemas.microsoft.com/office/drawing/2014/main" id="{C926D86A-B102-8347-93AB-C8C84E9D2B57}"/>
                  </a:ext>
                </a:extLst>
              </p:cNvPr>
              <p:cNvSpPr/>
              <p:nvPr/>
            </p:nvSpPr>
            <p:spPr bwMode="gray">
              <a:xfrm>
                <a:off x="1845114" y="2271539"/>
                <a:ext cx="3136270" cy="292525"/>
              </a:xfrm>
              <a:prstGeom prst="rect">
                <a:avLst/>
              </a:prstGeom>
              <a:effectLst/>
            </p:spPr>
            <p:txBody>
              <a:bodyPr wrap="square">
                <a:spAutoFit/>
              </a:bodyPr>
              <a:lstStyle/>
              <a:p>
                <a:pPr defTabSz="913577">
                  <a:spcAft>
                    <a:spcPts val="999"/>
                  </a:spcAft>
                  <a:buClr>
                    <a:srgbClr val="7D7D7D"/>
                  </a:buClr>
                </a:pPr>
                <a:r>
                  <a:rPr lang="en-US" sz="1299">
                    <a:latin typeface="Arial" panose="020B0604020202020204" pitchFamily="34" charset="0"/>
                    <a:cs typeface="Arial" panose="020B0604020202020204" pitchFamily="34" charset="0"/>
                  </a:rPr>
                  <a:t>Human Resources</a:t>
                </a:r>
              </a:p>
            </p:txBody>
          </p:sp>
        </p:grpSp>
        <p:grpSp>
          <p:nvGrpSpPr>
            <p:cNvPr id="12" name="Group 11">
              <a:extLst>
                <a:ext uri="{FF2B5EF4-FFF2-40B4-BE49-F238E27FC236}">
                  <a16:creationId xmlns:a16="http://schemas.microsoft.com/office/drawing/2014/main" id="{062A44BA-BF83-9343-B79C-E8AD6D511C12}"/>
                </a:ext>
              </a:extLst>
            </p:cNvPr>
            <p:cNvGrpSpPr/>
            <p:nvPr/>
          </p:nvGrpSpPr>
          <p:grpSpPr>
            <a:xfrm>
              <a:off x="951649" y="2529497"/>
              <a:ext cx="8619035" cy="312888"/>
              <a:chOff x="1616966" y="2606335"/>
              <a:chExt cx="8626899" cy="313174"/>
            </a:xfrm>
          </p:grpSpPr>
          <p:sp>
            <p:nvSpPr>
              <p:cNvPr id="88" name="Freeform 24">
                <a:extLst>
                  <a:ext uri="{FF2B5EF4-FFF2-40B4-BE49-F238E27FC236}">
                    <a16:creationId xmlns:a16="http://schemas.microsoft.com/office/drawing/2014/main" id="{847285A5-75A1-C640-99A9-7EF62BA56992}"/>
                  </a:ext>
                </a:extLst>
              </p:cNvPr>
              <p:cNvSpPr>
                <a:spLocks/>
              </p:cNvSpPr>
              <p:nvPr/>
            </p:nvSpPr>
            <p:spPr bwMode="gray">
              <a:xfrm>
                <a:off x="1616966" y="2606335"/>
                <a:ext cx="8626899" cy="305694"/>
              </a:xfrm>
              <a:custGeom>
                <a:avLst/>
                <a:gdLst>
                  <a:gd name="connsiteX0" fmla="*/ 10000 w 10000"/>
                  <a:gd name="connsiteY0" fmla="*/ 6902 h 10000"/>
                  <a:gd name="connsiteX1" fmla="*/ 6809 w 10000"/>
                  <a:gd name="connsiteY1" fmla="*/ 0 h 10000"/>
                  <a:gd name="connsiteX2" fmla="*/ 0 w 10000"/>
                  <a:gd name="connsiteY2" fmla="*/ 0 h 10000"/>
                  <a:gd name="connsiteX3" fmla="*/ 0 w 10000"/>
                  <a:gd name="connsiteY3" fmla="*/ 10000 h 10000"/>
                  <a:gd name="connsiteX4" fmla="*/ 6809 w 10000"/>
                  <a:gd name="connsiteY4" fmla="*/ 6902 h 10000"/>
                  <a:gd name="connsiteX5" fmla="*/ 10000 w 10000"/>
                  <a:gd name="connsiteY5" fmla="*/ 6902 h 10000"/>
                  <a:gd name="connsiteX0" fmla="*/ 10000 w 10000"/>
                  <a:gd name="connsiteY0" fmla="*/ 6902 h 6975"/>
                  <a:gd name="connsiteX1" fmla="*/ 6809 w 10000"/>
                  <a:gd name="connsiteY1" fmla="*/ 0 h 6975"/>
                  <a:gd name="connsiteX2" fmla="*/ 0 w 10000"/>
                  <a:gd name="connsiteY2" fmla="*/ 0 h 6975"/>
                  <a:gd name="connsiteX3" fmla="*/ 0 w 10000"/>
                  <a:gd name="connsiteY3" fmla="*/ 6975 h 6975"/>
                  <a:gd name="connsiteX4" fmla="*/ 6809 w 10000"/>
                  <a:gd name="connsiteY4" fmla="*/ 6902 h 6975"/>
                  <a:gd name="connsiteX5" fmla="*/ 10000 w 10000"/>
                  <a:gd name="connsiteY5" fmla="*/ 6902 h 6975"/>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1 w 10001"/>
                  <a:gd name="connsiteY0" fmla="*/ 9895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9895 h 10069"/>
                  <a:gd name="connsiteX0" fmla="*/ 10001 w 10001"/>
                  <a:gd name="connsiteY0" fmla="*/ 10069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8884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966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9951 w 9951"/>
                  <a:gd name="connsiteY0" fmla="*/ 10069 h 10069"/>
                  <a:gd name="connsiteX1" fmla="*/ 9660 w 9951"/>
                  <a:gd name="connsiteY1" fmla="*/ 0 h 10069"/>
                  <a:gd name="connsiteX2" fmla="*/ 1 w 9951"/>
                  <a:gd name="connsiteY2" fmla="*/ 0 h 10069"/>
                  <a:gd name="connsiteX3" fmla="*/ 0 w 9951"/>
                  <a:gd name="connsiteY3" fmla="*/ 10069 h 10069"/>
                  <a:gd name="connsiteX4" fmla="*/ 9951 w 9951"/>
                  <a:gd name="connsiteY4" fmla="*/ 10069 h 10069"/>
                  <a:gd name="connsiteX0" fmla="*/ 10000 w 10000"/>
                  <a:gd name="connsiteY0" fmla="*/ 10000 h 10000"/>
                  <a:gd name="connsiteX1" fmla="*/ 9708 w 10000"/>
                  <a:gd name="connsiteY1" fmla="*/ 0 h 10000"/>
                  <a:gd name="connsiteX2" fmla="*/ 1 w 10000"/>
                  <a:gd name="connsiteY2" fmla="*/ 0 h 10000"/>
                  <a:gd name="connsiteX3" fmla="*/ 0 w 10000"/>
                  <a:gd name="connsiteY3" fmla="*/ 10000 h 10000"/>
                  <a:gd name="connsiteX4" fmla="*/ 10000 w 10000"/>
                  <a:gd name="connsiteY4" fmla="*/ 10000 h 10000"/>
                  <a:gd name="connsiteX0" fmla="*/ 10000 w 10000"/>
                  <a:gd name="connsiteY0" fmla="*/ 10092 h 10092"/>
                  <a:gd name="connsiteX1" fmla="*/ 9694 w 10000"/>
                  <a:gd name="connsiteY1" fmla="*/ 0 h 10092"/>
                  <a:gd name="connsiteX2" fmla="*/ 1 w 10000"/>
                  <a:gd name="connsiteY2" fmla="*/ 92 h 10092"/>
                  <a:gd name="connsiteX3" fmla="*/ 0 w 10000"/>
                  <a:gd name="connsiteY3" fmla="*/ 10092 h 10092"/>
                  <a:gd name="connsiteX4" fmla="*/ 10000 w 10000"/>
                  <a:gd name="connsiteY4" fmla="*/ 10092 h 10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92">
                    <a:moveTo>
                      <a:pt x="10000" y="10092"/>
                    </a:moveTo>
                    <a:cubicBezTo>
                      <a:pt x="9903" y="6759"/>
                      <a:pt x="9791" y="3333"/>
                      <a:pt x="9694" y="0"/>
                    </a:cubicBezTo>
                    <a:lnTo>
                      <a:pt x="1" y="92"/>
                    </a:lnTo>
                    <a:cubicBezTo>
                      <a:pt x="1" y="3425"/>
                      <a:pt x="0" y="6759"/>
                      <a:pt x="0" y="10092"/>
                    </a:cubicBezTo>
                    <a:lnTo>
                      <a:pt x="10000" y="10092"/>
                    </a:lnTo>
                    <a:close/>
                  </a:path>
                </a:pathLst>
              </a:custGeom>
              <a:solidFill>
                <a:schemeClr val="accent2">
                  <a:lumMod val="20000"/>
                  <a:lumOff val="80000"/>
                </a:schemeClr>
              </a:solidFill>
              <a:ln w="19050">
                <a:noFill/>
                <a:miter lim="800000"/>
                <a:headEnd/>
                <a:tailEnd/>
              </a:ln>
              <a:effectLst/>
            </p:spPr>
            <p:txBody>
              <a:bodyPr lIns="71934" tIns="0" rIns="35967" bIns="0" anchor="ctr" anchorCtr="0"/>
              <a:lstStyle/>
              <a:p>
                <a:pPr defTabSz="913577">
                  <a:lnSpc>
                    <a:spcPct val="80000"/>
                  </a:lnSpc>
                  <a:buClr>
                    <a:srgbClr val="7D7D7D"/>
                  </a:buClr>
                </a:pPr>
                <a:endParaRPr lang="en-US" sz="1798">
                  <a:latin typeface="Arial" panose="020B0604020202020204" pitchFamily="34" charset="0"/>
                  <a:cs typeface="Arial" panose="020B0604020202020204" pitchFamily="34" charset="0"/>
                </a:endParaRPr>
              </a:p>
            </p:txBody>
          </p:sp>
          <p:sp>
            <p:nvSpPr>
              <p:cNvPr id="67" name="Rechteck 45">
                <a:extLst>
                  <a:ext uri="{FF2B5EF4-FFF2-40B4-BE49-F238E27FC236}">
                    <a16:creationId xmlns:a16="http://schemas.microsoft.com/office/drawing/2014/main" id="{D207E79B-C874-B541-A7A6-146D52933542}"/>
                  </a:ext>
                </a:extLst>
              </p:cNvPr>
              <p:cNvSpPr/>
              <p:nvPr/>
            </p:nvSpPr>
            <p:spPr bwMode="gray">
              <a:xfrm>
                <a:off x="1843069" y="2626983"/>
                <a:ext cx="4100579" cy="292526"/>
              </a:xfrm>
              <a:prstGeom prst="rect">
                <a:avLst/>
              </a:prstGeom>
              <a:effectLst/>
            </p:spPr>
            <p:txBody>
              <a:bodyPr wrap="square">
                <a:spAutoFit/>
              </a:bodyPr>
              <a:lstStyle/>
              <a:p>
                <a:pPr defTabSz="913577">
                  <a:spcAft>
                    <a:spcPts val="999"/>
                  </a:spcAft>
                  <a:buClr>
                    <a:srgbClr val="7D7D7D"/>
                  </a:buClr>
                </a:pPr>
                <a:r>
                  <a:rPr lang="en-US" sz="1299">
                    <a:latin typeface="Arial" panose="020B0604020202020204" pitchFamily="34" charset="0"/>
                    <a:cs typeface="Arial" panose="020B0604020202020204" pitchFamily="34" charset="0"/>
                  </a:rPr>
                  <a:t>Technology Development</a:t>
                </a:r>
              </a:p>
            </p:txBody>
          </p:sp>
        </p:grpSp>
        <p:grpSp>
          <p:nvGrpSpPr>
            <p:cNvPr id="13" name="Group 12">
              <a:extLst>
                <a:ext uri="{FF2B5EF4-FFF2-40B4-BE49-F238E27FC236}">
                  <a16:creationId xmlns:a16="http://schemas.microsoft.com/office/drawing/2014/main" id="{B33D1B67-51FD-C945-A346-D4FE8935776E}"/>
                </a:ext>
              </a:extLst>
            </p:cNvPr>
            <p:cNvGrpSpPr/>
            <p:nvPr/>
          </p:nvGrpSpPr>
          <p:grpSpPr>
            <a:xfrm>
              <a:off x="951647" y="2877788"/>
              <a:ext cx="8918744" cy="309665"/>
              <a:chOff x="1616966" y="2954942"/>
              <a:chExt cx="8926882" cy="309948"/>
            </a:xfrm>
          </p:grpSpPr>
          <p:sp>
            <p:nvSpPr>
              <p:cNvPr id="89" name="Freeform 24">
                <a:extLst>
                  <a:ext uri="{FF2B5EF4-FFF2-40B4-BE49-F238E27FC236}">
                    <a16:creationId xmlns:a16="http://schemas.microsoft.com/office/drawing/2014/main" id="{FAD7A63E-0B8C-6D4C-826C-18784588BEF8}"/>
                  </a:ext>
                </a:extLst>
              </p:cNvPr>
              <p:cNvSpPr>
                <a:spLocks/>
              </p:cNvSpPr>
              <p:nvPr/>
            </p:nvSpPr>
            <p:spPr bwMode="gray">
              <a:xfrm>
                <a:off x="1616966" y="2954942"/>
                <a:ext cx="8926882" cy="305705"/>
              </a:xfrm>
              <a:custGeom>
                <a:avLst/>
                <a:gdLst>
                  <a:gd name="connsiteX0" fmla="*/ 10000 w 10000"/>
                  <a:gd name="connsiteY0" fmla="*/ 6902 h 10000"/>
                  <a:gd name="connsiteX1" fmla="*/ 6809 w 10000"/>
                  <a:gd name="connsiteY1" fmla="*/ 0 h 10000"/>
                  <a:gd name="connsiteX2" fmla="*/ 0 w 10000"/>
                  <a:gd name="connsiteY2" fmla="*/ 0 h 10000"/>
                  <a:gd name="connsiteX3" fmla="*/ 0 w 10000"/>
                  <a:gd name="connsiteY3" fmla="*/ 10000 h 10000"/>
                  <a:gd name="connsiteX4" fmla="*/ 6809 w 10000"/>
                  <a:gd name="connsiteY4" fmla="*/ 6902 h 10000"/>
                  <a:gd name="connsiteX5" fmla="*/ 10000 w 10000"/>
                  <a:gd name="connsiteY5" fmla="*/ 6902 h 10000"/>
                  <a:gd name="connsiteX0" fmla="*/ 10000 w 10000"/>
                  <a:gd name="connsiteY0" fmla="*/ 6902 h 6975"/>
                  <a:gd name="connsiteX1" fmla="*/ 6809 w 10000"/>
                  <a:gd name="connsiteY1" fmla="*/ 0 h 6975"/>
                  <a:gd name="connsiteX2" fmla="*/ 0 w 10000"/>
                  <a:gd name="connsiteY2" fmla="*/ 0 h 6975"/>
                  <a:gd name="connsiteX3" fmla="*/ 0 w 10000"/>
                  <a:gd name="connsiteY3" fmla="*/ 6975 h 6975"/>
                  <a:gd name="connsiteX4" fmla="*/ 6809 w 10000"/>
                  <a:gd name="connsiteY4" fmla="*/ 6902 h 6975"/>
                  <a:gd name="connsiteX5" fmla="*/ 10000 w 10000"/>
                  <a:gd name="connsiteY5" fmla="*/ 6902 h 6975"/>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0 w 10000"/>
                  <a:gd name="connsiteY0" fmla="*/ 9895 h 10000"/>
                  <a:gd name="connsiteX1" fmla="*/ 6809 w 10000"/>
                  <a:gd name="connsiteY1" fmla="*/ 0 h 10000"/>
                  <a:gd name="connsiteX2" fmla="*/ 0 w 10000"/>
                  <a:gd name="connsiteY2" fmla="*/ 0 h 10000"/>
                  <a:gd name="connsiteX3" fmla="*/ 0 w 10000"/>
                  <a:gd name="connsiteY3" fmla="*/ 10000 h 10000"/>
                  <a:gd name="connsiteX4" fmla="*/ 10000 w 10000"/>
                  <a:gd name="connsiteY4" fmla="*/ 9895 h 10000"/>
                  <a:gd name="connsiteX0" fmla="*/ 10001 w 10001"/>
                  <a:gd name="connsiteY0" fmla="*/ 9895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9895 h 10069"/>
                  <a:gd name="connsiteX0" fmla="*/ 10001 w 10001"/>
                  <a:gd name="connsiteY0" fmla="*/ 10069 h 10069"/>
                  <a:gd name="connsiteX1" fmla="*/ 681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8884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9642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069 h 10069"/>
                  <a:gd name="connsiteX1" fmla="*/ 9690 w 10001"/>
                  <a:gd name="connsiteY1" fmla="*/ 0 h 10069"/>
                  <a:gd name="connsiteX2" fmla="*/ 1 w 10001"/>
                  <a:gd name="connsiteY2" fmla="*/ 0 h 10069"/>
                  <a:gd name="connsiteX3" fmla="*/ 0 w 10001"/>
                  <a:gd name="connsiteY3" fmla="*/ 10069 h 10069"/>
                  <a:gd name="connsiteX4" fmla="*/ 10001 w 10001"/>
                  <a:gd name="connsiteY4" fmla="*/ 10069 h 10069"/>
                  <a:gd name="connsiteX0" fmla="*/ 10001 w 10001"/>
                  <a:gd name="connsiteY0" fmla="*/ 10162 h 10162"/>
                  <a:gd name="connsiteX1" fmla="*/ 9637 w 10001"/>
                  <a:gd name="connsiteY1" fmla="*/ 0 h 10162"/>
                  <a:gd name="connsiteX2" fmla="*/ 1 w 10001"/>
                  <a:gd name="connsiteY2" fmla="*/ 93 h 10162"/>
                  <a:gd name="connsiteX3" fmla="*/ 0 w 10001"/>
                  <a:gd name="connsiteY3" fmla="*/ 10162 h 10162"/>
                  <a:gd name="connsiteX4" fmla="*/ 10001 w 10001"/>
                  <a:gd name="connsiteY4" fmla="*/ 10162 h 10162"/>
                  <a:gd name="connsiteX0" fmla="*/ 9922 w 9922"/>
                  <a:gd name="connsiteY0" fmla="*/ 10162 h 10162"/>
                  <a:gd name="connsiteX1" fmla="*/ 9637 w 9922"/>
                  <a:gd name="connsiteY1" fmla="*/ 0 h 10162"/>
                  <a:gd name="connsiteX2" fmla="*/ 1 w 9922"/>
                  <a:gd name="connsiteY2" fmla="*/ 93 h 10162"/>
                  <a:gd name="connsiteX3" fmla="*/ 0 w 9922"/>
                  <a:gd name="connsiteY3" fmla="*/ 10162 h 10162"/>
                  <a:gd name="connsiteX4" fmla="*/ 9922 w 9922"/>
                  <a:gd name="connsiteY4" fmla="*/ 10162 h 10162"/>
                  <a:gd name="connsiteX0" fmla="*/ 10000 w 10000"/>
                  <a:gd name="connsiteY0" fmla="*/ 10000 h 10000"/>
                  <a:gd name="connsiteX1" fmla="*/ 9713 w 10000"/>
                  <a:gd name="connsiteY1" fmla="*/ 0 h 10000"/>
                  <a:gd name="connsiteX2" fmla="*/ 1 w 10000"/>
                  <a:gd name="connsiteY2" fmla="*/ 92 h 10000"/>
                  <a:gd name="connsiteX3" fmla="*/ 0 w 10000"/>
                  <a:gd name="connsiteY3" fmla="*/ 10000 h 10000"/>
                  <a:gd name="connsiteX4" fmla="*/ 1000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10000"/>
                    </a:moveTo>
                    <a:cubicBezTo>
                      <a:pt x="9904" y="6667"/>
                      <a:pt x="9809" y="3333"/>
                      <a:pt x="9713" y="0"/>
                    </a:cubicBezTo>
                    <a:lnTo>
                      <a:pt x="1" y="92"/>
                    </a:lnTo>
                    <a:cubicBezTo>
                      <a:pt x="1" y="3394"/>
                      <a:pt x="0" y="6698"/>
                      <a:pt x="0" y="10000"/>
                    </a:cubicBezTo>
                    <a:lnTo>
                      <a:pt x="10000" y="10000"/>
                    </a:lnTo>
                    <a:close/>
                  </a:path>
                </a:pathLst>
              </a:custGeom>
              <a:solidFill>
                <a:schemeClr val="accent2">
                  <a:lumMod val="20000"/>
                  <a:lumOff val="80000"/>
                </a:schemeClr>
              </a:solidFill>
              <a:ln w="19050">
                <a:noFill/>
                <a:miter lim="800000"/>
                <a:headEnd/>
                <a:tailEnd/>
              </a:ln>
              <a:effectLst/>
            </p:spPr>
            <p:txBody>
              <a:bodyPr lIns="71934" tIns="0" rIns="35967" bIns="0" anchor="ctr" anchorCtr="0"/>
              <a:lstStyle/>
              <a:p>
                <a:pPr defTabSz="913577">
                  <a:lnSpc>
                    <a:spcPct val="80000"/>
                  </a:lnSpc>
                  <a:buClr>
                    <a:srgbClr val="7D7D7D"/>
                  </a:buClr>
                </a:pPr>
                <a:endParaRPr lang="en-US" sz="1798">
                  <a:latin typeface="Arial" panose="020B0604020202020204" pitchFamily="34" charset="0"/>
                  <a:cs typeface="Arial" panose="020B0604020202020204" pitchFamily="34" charset="0"/>
                </a:endParaRPr>
              </a:p>
            </p:txBody>
          </p:sp>
          <p:sp>
            <p:nvSpPr>
              <p:cNvPr id="68" name="Rechteck 46">
                <a:extLst>
                  <a:ext uri="{FF2B5EF4-FFF2-40B4-BE49-F238E27FC236}">
                    <a16:creationId xmlns:a16="http://schemas.microsoft.com/office/drawing/2014/main" id="{826F251A-7646-C442-864A-D5272A85C4DE}"/>
                  </a:ext>
                </a:extLst>
              </p:cNvPr>
              <p:cNvSpPr/>
              <p:nvPr/>
            </p:nvSpPr>
            <p:spPr bwMode="gray">
              <a:xfrm>
                <a:off x="1812488" y="2972364"/>
                <a:ext cx="2323539" cy="292526"/>
              </a:xfrm>
              <a:prstGeom prst="rect">
                <a:avLst/>
              </a:prstGeom>
              <a:effectLst/>
            </p:spPr>
            <p:txBody>
              <a:bodyPr wrap="square">
                <a:spAutoFit/>
              </a:bodyPr>
              <a:lstStyle/>
              <a:p>
                <a:pPr defTabSz="913577">
                  <a:spcAft>
                    <a:spcPts val="999"/>
                  </a:spcAft>
                  <a:buClr>
                    <a:srgbClr val="7D7D7D"/>
                  </a:buClr>
                </a:pPr>
                <a:r>
                  <a:rPr lang="en-US" sz="1299">
                    <a:latin typeface="Arial" panose="020B0604020202020204" pitchFamily="34" charset="0"/>
                    <a:cs typeface="Arial" panose="020B0604020202020204" pitchFamily="34" charset="0"/>
                  </a:rPr>
                  <a:t>Procurement</a:t>
                </a:r>
              </a:p>
            </p:txBody>
          </p:sp>
        </p:grpSp>
        <p:sp>
          <p:nvSpPr>
            <p:cNvPr id="82" name="Freeform 7">
              <a:extLst>
                <a:ext uri="{FF2B5EF4-FFF2-40B4-BE49-F238E27FC236}">
                  <a16:creationId xmlns:a16="http://schemas.microsoft.com/office/drawing/2014/main" id="{06DB852B-E01C-F44B-8D20-80A3F8EF9B02}"/>
                </a:ext>
              </a:extLst>
            </p:cNvPr>
            <p:cNvSpPr>
              <a:spLocks noChangeAspect="1"/>
            </p:cNvSpPr>
            <p:nvPr/>
          </p:nvSpPr>
          <p:spPr bwMode="gray">
            <a:xfrm>
              <a:off x="8909545" y="1832901"/>
              <a:ext cx="1723814" cy="2847526"/>
            </a:xfrm>
            <a:custGeom>
              <a:avLst/>
              <a:gdLst>
                <a:gd name="T0" fmla="*/ 0 w 705"/>
                <a:gd name="T1" fmla="*/ 0 h 1724"/>
                <a:gd name="T2" fmla="*/ 212 w 705"/>
                <a:gd name="T3" fmla="*/ 0 h 1724"/>
                <a:gd name="T4" fmla="*/ 705 w 705"/>
                <a:gd name="T5" fmla="*/ 861 h 1724"/>
                <a:gd name="T6" fmla="*/ 212 w 705"/>
                <a:gd name="T7" fmla="*/ 1724 h 1724"/>
                <a:gd name="T8" fmla="*/ 0 w 705"/>
                <a:gd name="T9" fmla="*/ 1724 h 1724"/>
                <a:gd name="T10" fmla="*/ 493 w 705"/>
                <a:gd name="T11" fmla="*/ 861 h 1724"/>
                <a:gd name="T12" fmla="*/ 0 w 705"/>
                <a:gd name="T13" fmla="*/ 0 h 1724"/>
              </a:gdLst>
              <a:ahLst/>
              <a:cxnLst>
                <a:cxn ang="0">
                  <a:pos x="T0" y="T1"/>
                </a:cxn>
                <a:cxn ang="0">
                  <a:pos x="T2" y="T3"/>
                </a:cxn>
                <a:cxn ang="0">
                  <a:pos x="T4" y="T5"/>
                </a:cxn>
                <a:cxn ang="0">
                  <a:pos x="T6" y="T7"/>
                </a:cxn>
                <a:cxn ang="0">
                  <a:pos x="T8" y="T9"/>
                </a:cxn>
                <a:cxn ang="0">
                  <a:pos x="T10" y="T11"/>
                </a:cxn>
                <a:cxn ang="0">
                  <a:pos x="T12" y="T13"/>
                </a:cxn>
              </a:cxnLst>
              <a:rect l="0" t="0" r="r" b="b"/>
              <a:pathLst>
                <a:path w="705" h="1724">
                  <a:moveTo>
                    <a:pt x="0" y="0"/>
                  </a:moveTo>
                  <a:lnTo>
                    <a:pt x="212" y="0"/>
                  </a:lnTo>
                  <a:lnTo>
                    <a:pt x="705" y="861"/>
                  </a:lnTo>
                  <a:lnTo>
                    <a:pt x="212" y="1724"/>
                  </a:lnTo>
                  <a:lnTo>
                    <a:pt x="0" y="1724"/>
                  </a:lnTo>
                  <a:lnTo>
                    <a:pt x="493" y="861"/>
                  </a:lnTo>
                  <a:lnTo>
                    <a:pt x="0" y="0"/>
                  </a:lnTo>
                  <a:close/>
                </a:path>
              </a:pathLst>
            </a:custGeom>
            <a:solidFill>
              <a:srgbClr val="D0D1E1"/>
            </a:solidFill>
            <a:ln w="0">
              <a:noFill/>
              <a:prstDash val="solid"/>
              <a:round/>
              <a:headEnd/>
              <a:tailEnd/>
            </a:ln>
            <a:effectLst/>
          </p:spPr>
          <p:txBody>
            <a:bodyPr vert="horz" wrap="square" lIns="91357" tIns="45678" rIns="91357" bIns="45678" numCol="1" anchor="t" anchorCtr="0" compatLnSpc="1">
              <a:prstTxWarp prst="textNoShape">
                <a:avLst/>
              </a:prstTxWarp>
            </a:bodyPr>
            <a:lstStyle/>
            <a:p>
              <a:pPr defTabSz="913577"/>
              <a:endParaRPr lang="en-US" sz="1798">
                <a:latin typeface="Century Gothic" panose="020B0502020202020204" pitchFamily="34" charset="0"/>
              </a:endParaRPr>
            </a:p>
          </p:txBody>
        </p:sp>
        <p:sp>
          <p:nvSpPr>
            <p:cNvPr id="75" name="Geschweifte Klammer rechts 53">
              <a:extLst>
                <a:ext uri="{FF2B5EF4-FFF2-40B4-BE49-F238E27FC236}">
                  <a16:creationId xmlns:a16="http://schemas.microsoft.com/office/drawing/2014/main" id="{2471A051-AEE2-034D-AAEB-8C7AC024E49F}"/>
                </a:ext>
              </a:extLst>
            </p:cNvPr>
            <p:cNvSpPr/>
            <p:nvPr/>
          </p:nvSpPr>
          <p:spPr bwMode="gray">
            <a:xfrm rot="10800000">
              <a:off x="748768" y="1831208"/>
              <a:ext cx="154668" cy="1352723"/>
            </a:xfrm>
            <a:prstGeom prst="rightBrace">
              <a:avLst/>
            </a:prstGeom>
            <a:ln w="12700">
              <a:solidFill>
                <a:srgbClr val="01404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a:solidFill>
                  <a:srgbClr val="000000"/>
                </a:solidFill>
                <a:latin typeface="Arial" panose="020B0604020202020204" pitchFamily="34" charset="0"/>
                <a:cs typeface="Arial" panose="020B0604020202020204" pitchFamily="34" charset="0"/>
              </a:endParaRPr>
            </a:p>
          </p:txBody>
        </p:sp>
        <p:sp>
          <p:nvSpPr>
            <p:cNvPr id="76" name="Textfeld 54">
              <a:extLst>
                <a:ext uri="{FF2B5EF4-FFF2-40B4-BE49-F238E27FC236}">
                  <a16:creationId xmlns:a16="http://schemas.microsoft.com/office/drawing/2014/main" id="{5950FEAA-4531-294C-ABDF-BC1A63358F18}"/>
                </a:ext>
              </a:extLst>
            </p:cNvPr>
            <p:cNvSpPr txBox="1"/>
            <p:nvPr/>
          </p:nvSpPr>
          <p:spPr bwMode="gray">
            <a:xfrm rot="10800000">
              <a:off x="363918" y="1609912"/>
              <a:ext cx="429264" cy="1843134"/>
            </a:xfrm>
            <a:prstGeom prst="rect">
              <a:avLst/>
            </a:prstGeom>
            <a:noFill/>
            <a:effectLst/>
          </p:spPr>
          <p:txBody>
            <a:bodyPr vert="vert" wrap="square" lIns="0" tIns="71934" rIns="0" bIns="71934" rtlCol="0" anchor="ctr" anchorCtr="0">
              <a:noAutofit/>
            </a:bodyPr>
            <a:lstStyle/>
            <a:p>
              <a:pPr defTabSz="913577">
                <a:lnSpc>
                  <a:spcPct val="80000"/>
                </a:lnSpc>
              </a:pPr>
              <a:r>
                <a:rPr lang="en-US" sz="1099">
                  <a:latin typeface="Century Gothic" panose="020B0502020202020204" pitchFamily="34" charset="0"/>
                </a:rPr>
                <a:t>Support Activities</a:t>
              </a:r>
            </a:p>
          </p:txBody>
        </p:sp>
        <p:sp>
          <p:nvSpPr>
            <p:cNvPr id="77" name="Textfeld 55">
              <a:extLst>
                <a:ext uri="{FF2B5EF4-FFF2-40B4-BE49-F238E27FC236}">
                  <a16:creationId xmlns:a16="http://schemas.microsoft.com/office/drawing/2014/main" id="{490004DF-D170-094E-A3F0-F6304EE0302D}"/>
                </a:ext>
              </a:extLst>
            </p:cNvPr>
            <p:cNvSpPr txBox="1"/>
            <p:nvPr/>
          </p:nvSpPr>
          <p:spPr bwMode="gray">
            <a:xfrm rot="10800000">
              <a:off x="363918" y="3058211"/>
              <a:ext cx="429264" cy="1843134"/>
            </a:xfrm>
            <a:prstGeom prst="rect">
              <a:avLst/>
            </a:prstGeom>
            <a:noFill/>
            <a:effectLst/>
          </p:spPr>
          <p:txBody>
            <a:bodyPr vert="vert" wrap="square" lIns="0" tIns="71934" rIns="0" bIns="71934" rtlCol="0" anchor="ctr" anchorCtr="0">
              <a:noAutofit/>
            </a:bodyPr>
            <a:lstStyle/>
            <a:p>
              <a:pPr defTabSz="913577">
                <a:lnSpc>
                  <a:spcPct val="80000"/>
                </a:lnSpc>
              </a:pPr>
              <a:r>
                <a:rPr lang="en-US" sz="1099">
                  <a:latin typeface="Arial" panose="020B0604020202020204" pitchFamily="34" charset="0"/>
                  <a:cs typeface="Arial" panose="020B0604020202020204" pitchFamily="34" charset="0"/>
                </a:rPr>
                <a:t>Primary Activities</a:t>
              </a:r>
            </a:p>
          </p:txBody>
        </p:sp>
        <p:sp>
          <p:nvSpPr>
            <p:cNvPr id="78" name="Geschweifte Klammer rechts 56">
              <a:extLst>
                <a:ext uri="{FF2B5EF4-FFF2-40B4-BE49-F238E27FC236}">
                  <a16:creationId xmlns:a16="http://schemas.microsoft.com/office/drawing/2014/main" id="{FAA44C3D-AE24-E04F-95CB-81D0B45BB9B6}"/>
                </a:ext>
              </a:extLst>
            </p:cNvPr>
            <p:cNvSpPr/>
            <p:nvPr/>
          </p:nvSpPr>
          <p:spPr bwMode="gray">
            <a:xfrm rot="10800000">
              <a:off x="748768" y="3308391"/>
              <a:ext cx="154668" cy="1352723"/>
            </a:xfrm>
            <a:prstGeom prst="rightBrace">
              <a:avLst/>
            </a:prstGeom>
            <a:ln w="12700">
              <a:solidFill>
                <a:srgbClr val="01404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a:solidFill>
                  <a:srgbClr val="000000"/>
                </a:solidFill>
                <a:latin typeface="Arial" panose="020B0604020202020204" pitchFamily="34" charset="0"/>
                <a:cs typeface="Arial" panose="020B0604020202020204" pitchFamily="34" charset="0"/>
              </a:endParaRPr>
            </a:p>
          </p:txBody>
        </p:sp>
        <p:sp>
          <p:nvSpPr>
            <p:cNvPr id="81" name="Rechteck 59">
              <a:extLst>
                <a:ext uri="{FF2B5EF4-FFF2-40B4-BE49-F238E27FC236}">
                  <a16:creationId xmlns:a16="http://schemas.microsoft.com/office/drawing/2014/main" id="{EE5DB9E8-94EB-8D41-8532-6E42598ACE94}"/>
                </a:ext>
              </a:extLst>
            </p:cNvPr>
            <p:cNvSpPr/>
            <p:nvPr/>
          </p:nvSpPr>
          <p:spPr bwMode="gray">
            <a:xfrm>
              <a:off x="4500541" y="5073473"/>
              <a:ext cx="1850101" cy="252147"/>
            </a:xfrm>
            <a:prstGeom prst="rect">
              <a:avLst/>
            </a:prstGeom>
            <a:effectLst/>
          </p:spPr>
          <p:txBody>
            <a:bodyPr wrap="none" anchor="ctr">
              <a:spAutoFit/>
            </a:bodyPr>
            <a:lstStyle/>
            <a:p>
              <a:pPr defTabSz="913577">
                <a:lnSpc>
                  <a:spcPct val="80000"/>
                </a:lnSpc>
              </a:pPr>
              <a:r>
                <a:rPr lang="en-US" sz="1299" b="1">
                  <a:solidFill>
                    <a:srgbClr val="262626"/>
                  </a:solidFill>
                  <a:latin typeface="Arial" panose="020B0604020202020204" pitchFamily="34" charset="0"/>
                  <a:cs typeface="Arial" panose="020B0604020202020204" pitchFamily="34" charset="0"/>
                </a:rPr>
                <a:t>Industry Value Chain</a:t>
              </a:r>
            </a:p>
          </p:txBody>
        </p:sp>
        <p:grpSp>
          <p:nvGrpSpPr>
            <p:cNvPr id="9" name="Group 8">
              <a:extLst>
                <a:ext uri="{FF2B5EF4-FFF2-40B4-BE49-F238E27FC236}">
                  <a16:creationId xmlns:a16="http://schemas.microsoft.com/office/drawing/2014/main" id="{B696350E-433F-E743-8408-16C174830D0E}"/>
                </a:ext>
              </a:extLst>
            </p:cNvPr>
            <p:cNvGrpSpPr/>
            <p:nvPr/>
          </p:nvGrpSpPr>
          <p:grpSpPr>
            <a:xfrm>
              <a:off x="7218230" y="3284803"/>
              <a:ext cx="2616287" cy="1393415"/>
              <a:chOff x="7889265" y="3362328"/>
              <a:chExt cx="2618674" cy="1394686"/>
            </a:xfrm>
          </p:grpSpPr>
          <p:sp>
            <p:nvSpPr>
              <p:cNvPr id="147" name="Freeform 146">
                <a:extLst>
                  <a:ext uri="{FF2B5EF4-FFF2-40B4-BE49-F238E27FC236}">
                    <a16:creationId xmlns:a16="http://schemas.microsoft.com/office/drawing/2014/main" id="{11191B1C-52C7-744D-B357-D9E49A571762}"/>
                  </a:ext>
                </a:extLst>
              </p:cNvPr>
              <p:cNvSpPr/>
              <p:nvPr/>
            </p:nvSpPr>
            <p:spPr bwMode="gray">
              <a:xfrm>
                <a:off x="7889265" y="3362328"/>
                <a:ext cx="2618674" cy="1394686"/>
              </a:xfrm>
              <a:custGeom>
                <a:avLst/>
                <a:gdLst>
                  <a:gd name="connsiteX0" fmla="*/ 71087 w 2618674"/>
                  <a:gd name="connsiteY0" fmla="*/ 0 h 1394686"/>
                  <a:gd name="connsiteX1" fmla="*/ 1379355 w 2618674"/>
                  <a:gd name="connsiteY1" fmla="*/ 0 h 1394686"/>
                  <a:gd name="connsiteX2" fmla="*/ 1398444 w 2618674"/>
                  <a:gd name="connsiteY2" fmla="*/ 3854 h 1394686"/>
                  <a:gd name="connsiteX3" fmla="*/ 2618674 w 2618674"/>
                  <a:gd name="connsiteY3" fmla="*/ 3854 h 1394686"/>
                  <a:gd name="connsiteX4" fmla="*/ 1432535 w 2618674"/>
                  <a:gd name="connsiteY4" fmla="*/ 1366830 h 1394686"/>
                  <a:gd name="connsiteX5" fmla="*/ 1429621 w 2618674"/>
                  <a:gd name="connsiteY5" fmla="*/ 1373865 h 1394686"/>
                  <a:gd name="connsiteX6" fmla="*/ 1421858 w 2618674"/>
                  <a:gd name="connsiteY6" fmla="*/ 1379100 h 1394686"/>
                  <a:gd name="connsiteX7" fmla="*/ 1408294 w 2618674"/>
                  <a:gd name="connsiteY7" fmla="*/ 1394685 h 1394686"/>
                  <a:gd name="connsiteX8" fmla="*/ 1408294 w 2618674"/>
                  <a:gd name="connsiteY8" fmla="*/ 1388244 h 1394686"/>
                  <a:gd name="connsiteX9" fmla="*/ 1407025 w 2618674"/>
                  <a:gd name="connsiteY9" fmla="*/ 1389100 h 1394686"/>
                  <a:gd name="connsiteX10" fmla="*/ 1379355 w 2618674"/>
                  <a:gd name="connsiteY10" fmla="*/ 1394686 h 1394686"/>
                  <a:gd name="connsiteX11" fmla="*/ 71087 w 2618674"/>
                  <a:gd name="connsiteY11" fmla="*/ 1394686 h 1394686"/>
                  <a:gd name="connsiteX12" fmla="*/ 0 w 2618674"/>
                  <a:gd name="connsiteY12" fmla="*/ 1323599 h 1394686"/>
                  <a:gd name="connsiteX13" fmla="*/ 0 w 2618674"/>
                  <a:gd name="connsiteY13" fmla="*/ 71087 h 1394686"/>
                  <a:gd name="connsiteX14" fmla="*/ 71087 w 2618674"/>
                  <a:gd name="connsiteY14" fmla="*/ 0 h 13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8674" h="1394686">
                    <a:moveTo>
                      <a:pt x="71087" y="0"/>
                    </a:moveTo>
                    <a:lnTo>
                      <a:pt x="1379355" y="0"/>
                    </a:lnTo>
                    <a:lnTo>
                      <a:pt x="1398444" y="3854"/>
                    </a:lnTo>
                    <a:lnTo>
                      <a:pt x="2618674" y="3854"/>
                    </a:lnTo>
                    <a:lnTo>
                      <a:pt x="1432535" y="1366830"/>
                    </a:lnTo>
                    <a:lnTo>
                      <a:pt x="1429621" y="1373865"/>
                    </a:lnTo>
                    <a:lnTo>
                      <a:pt x="1421858" y="1379100"/>
                    </a:lnTo>
                    <a:lnTo>
                      <a:pt x="1408294" y="1394685"/>
                    </a:lnTo>
                    <a:lnTo>
                      <a:pt x="1408294" y="1388244"/>
                    </a:lnTo>
                    <a:lnTo>
                      <a:pt x="1407025" y="1389100"/>
                    </a:lnTo>
                    <a:cubicBezTo>
                      <a:pt x="1398520" y="1392697"/>
                      <a:pt x="1389170" y="1394686"/>
                      <a:pt x="1379355" y="1394686"/>
                    </a:cubicBezTo>
                    <a:lnTo>
                      <a:pt x="71087" y="1394686"/>
                    </a:lnTo>
                    <a:cubicBezTo>
                      <a:pt x="31827" y="1394686"/>
                      <a:pt x="0" y="1362859"/>
                      <a:pt x="0" y="1323599"/>
                    </a:cubicBezTo>
                    <a:lnTo>
                      <a:pt x="0" y="71087"/>
                    </a:lnTo>
                    <a:cubicBezTo>
                      <a:pt x="0" y="31827"/>
                      <a:pt x="31827" y="0"/>
                      <a:pt x="71087" y="0"/>
                    </a:cubicBezTo>
                    <a:close/>
                  </a:path>
                </a:pathLst>
              </a:custGeom>
              <a:solidFill>
                <a:srgbClr val="747F83"/>
              </a:solidFill>
              <a:ln w="12700">
                <a:noFill/>
                <a:miter lim="800000"/>
                <a:headEnd/>
                <a:tailEnd/>
              </a:ln>
              <a:effectLst/>
            </p:spPr>
            <p:txBody>
              <a:bodyPr wrap="square" lIns="71934" tIns="0" rIns="35967" bIns="0" anchor="ctr" anchorCtr="0">
                <a:noAutofit/>
              </a:bodyPr>
              <a:lstStyle/>
              <a:p>
                <a:pPr defTabSz="913577">
                  <a:lnSpc>
                    <a:spcPct val="80000"/>
                  </a:lnSpc>
                  <a:buClr>
                    <a:srgbClr val="7D7D7D"/>
                  </a:buClr>
                </a:pPr>
                <a:endParaRPr lang="en-US" sz="1998">
                  <a:solidFill>
                    <a:srgbClr val="FFFFFF"/>
                  </a:solidFill>
                  <a:latin typeface="Arial" panose="020B0604020202020204" pitchFamily="34" charset="0"/>
                  <a:cs typeface="Arial" panose="020B0604020202020204" pitchFamily="34" charset="0"/>
                </a:endParaRPr>
              </a:p>
            </p:txBody>
          </p:sp>
          <p:sp>
            <p:nvSpPr>
              <p:cNvPr id="148" name="Rechteck 43">
                <a:extLst>
                  <a:ext uri="{FF2B5EF4-FFF2-40B4-BE49-F238E27FC236}">
                    <a16:creationId xmlns:a16="http://schemas.microsoft.com/office/drawing/2014/main" id="{FAB91086-98DA-8E4E-8CED-74CF5A0F0964}"/>
                  </a:ext>
                </a:extLst>
              </p:cNvPr>
              <p:cNvSpPr/>
              <p:nvPr/>
            </p:nvSpPr>
            <p:spPr bwMode="gray">
              <a:xfrm>
                <a:off x="8142923" y="3923756"/>
                <a:ext cx="1103913" cy="292526"/>
              </a:xfrm>
              <a:prstGeom prst="rect">
                <a:avLst/>
              </a:prstGeom>
              <a:effectLst/>
            </p:spPr>
            <p:txBody>
              <a:bodyPr wrap="square">
                <a:spAutoFit/>
              </a:bodyPr>
              <a:lstStyle/>
              <a:p>
                <a:pPr defTabSz="913577">
                  <a:spcAft>
                    <a:spcPts val="999"/>
                  </a:spcAft>
                  <a:buClr>
                    <a:srgbClr val="7D7D7D"/>
                  </a:buClr>
                </a:pPr>
                <a:r>
                  <a:rPr lang="en-US" sz="1299">
                    <a:solidFill>
                      <a:srgbClr val="FFFFFF"/>
                    </a:solidFill>
                    <a:latin typeface="Arial" panose="020B0604020202020204" pitchFamily="34" charset="0"/>
                    <a:cs typeface="Arial" panose="020B0604020202020204" pitchFamily="34" charset="0"/>
                  </a:rPr>
                  <a:t>Service</a:t>
                </a:r>
              </a:p>
            </p:txBody>
          </p:sp>
        </p:grpSp>
        <p:grpSp>
          <p:nvGrpSpPr>
            <p:cNvPr id="26" name="Group 25">
              <a:extLst>
                <a:ext uri="{FF2B5EF4-FFF2-40B4-BE49-F238E27FC236}">
                  <a16:creationId xmlns:a16="http://schemas.microsoft.com/office/drawing/2014/main" id="{4AABC829-0A93-B642-9C5D-BF6DDED68B4A}"/>
                </a:ext>
              </a:extLst>
            </p:cNvPr>
            <p:cNvGrpSpPr/>
            <p:nvPr/>
          </p:nvGrpSpPr>
          <p:grpSpPr>
            <a:xfrm>
              <a:off x="953491" y="5672481"/>
              <a:ext cx="8904053" cy="563127"/>
              <a:chOff x="1618810" y="5527596"/>
              <a:chExt cx="8912177" cy="563641"/>
            </a:xfrm>
            <a:solidFill>
              <a:schemeClr val="accent1"/>
            </a:solidFill>
          </p:grpSpPr>
          <p:sp>
            <p:nvSpPr>
              <p:cNvPr id="70" name="_color1">
                <a:extLst>
                  <a:ext uri="{FF2B5EF4-FFF2-40B4-BE49-F238E27FC236}">
                    <a16:creationId xmlns:a16="http://schemas.microsoft.com/office/drawing/2014/main" id="{1A56461B-F8AD-5A4D-9E0E-3B2E9485A390}"/>
                  </a:ext>
                </a:extLst>
              </p:cNvPr>
              <p:cNvSpPr>
                <a:spLocks noChangeArrowheads="1"/>
              </p:cNvSpPr>
              <p:nvPr/>
            </p:nvSpPr>
            <p:spPr bwMode="gray">
              <a:xfrm>
                <a:off x="1618810" y="5527596"/>
                <a:ext cx="1856232" cy="559864"/>
              </a:xfrm>
              <a:prstGeom prst="homePlate">
                <a:avLst>
                  <a:gd name="adj" fmla="val 30359"/>
                </a:avLst>
              </a:prstGeom>
              <a:grpFill/>
              <a:ln w="12700">
                <a:noFill/>
                <a:prstDash val="dash"/>
                <a:miter lim="800000"/>
                <a:headEnd/>
                <a:tailEnd/>
              </a:ln>
              <a:effectLst/>
              <a:scene3d>
                <a:camera prst="perspectiveRelaxedModerately" fov="3000000">
                  <a:rot lat="0" lon="0" rev="0"/>
                </a:camera>
                <a:lightRig rig="threePt" dir="t"/>
              </a:scene3d>
              <a:sp3d extrusionH="254000"/>
            </p:spPr>
            <p:txBody>
              <a:bodyPr wrap="none" lIns="287737" tIns="0" rIns="0" bIns="0" anchor="ctr"/>
              <a:lstStyle/>
              <a:p>
                <a:pPr lvl="0" algn="ctr" defTabSz="913577">
                  <a:buClr>
                    <a:srgbClr val="7D7D7D"/>
                  </a:buClr>
                </a:pPr>
                <a:r>
                  <a:rPr lang="en-US" sz="1299">
                    <a:solidFill>
                      <a:srgbClr val="262626"/>
                    </a:solidFill>
                    <a:latin typeface="Arial" panose="020B0604020202020204" pitchFamily="34" charset="0"/>
                    <a:cs typeface="Arial" panose="020B0604020202020204" pitchFamily="34" charset="0"/>
                  </a:rPr>
                  <a:t>Suppliers</a:t>
                </a:r>
              </a:p>
            </p:txBody>
          </p:sp>
          <p:sp>
            <p:nvSpPr>
              <p:cNvPr id="71" name="_color1">
                <a:extLst>
                  <a:ext uri="{FF2B5EF4-FFF2-40B4-BE49-F238E27FC236}">
                    <a16:creationId xmlns:a16="http://schemas.microsoft.com/office/drawing/2014/main" id="{BBC518FD-675A-BB40-A473-FF5A5535FEEA}"/>
                  </a:ext>
                </a:extLst>
              </p:cNvPr>
              <p:cNvSpPr>
                <a:spLocks noChangeArrowheads="1"/>
              </p:cNvSpPr>
              <p:nvPr/>
            </p:nvSpPr>
            <p:spPr bwMode="gray">
              <a:xfrm>
                <a:off x="3383953" y="5527596"/>
                <a:ext cx="1856232" cy="559864"/>
              </a:xfrm>
              <a:prstGeom prst="chevron">
                <a:avLst>
                  <a:gd name="adj" fmla="val 30315"/>
                </a:avLst>
              </a:prstGeom>
              <a:grpFill/>
              <a:ln w="12700">
                <a:noFill/>
                <a:prstDash val="sysDash"/>
                <a:miter lim="800000"/>
                <a:headEnd/>
                <a:tailEnd/>
              </a:ln>
              <a:effectLst/>
              <a:scene3d>
                <a:camera prst="perspectiveRelaxedModerately" fov="3000000">
                  <a:rot lat="0" lon="0" rev="0"/>
                </a:camera>
                <a:lightRig rig="threePt" dir="t"/>
              </a:scene3d>
              <a:sp3d extrusionH="254000"/>
            </p:spPr>
            <p:txBody>
              <a:bodyPr wrap="none" lIns="431606" tIns="0" rIns="0" bIns="0" anchor="ctr"/>
              <a:lstStyle/>
              <a:p>
                <a:pPr lvl="0" algn="ctr" defTabSz="913577">
                  <a:buClr>
                    <a:srgbClr val="7D7D7D"/>
                  </a:buClr>
                </a:pPr>
                <a:r>
                  <a:rPr lang="en-US" sz="1299">
                    <a:solidFill>
                      <a:srgbClr val="262626"/>
                    </a:solidFill>
                    <a:latin typeface="Arial" panose="020B0604020202020204" pitchFamily="34" charset="0"/>
                    <a:cs typeface="Arial" panose="020B0604020202020204" pitchFamily="34" charset="0"/>
                  </a:rPr>
                  <a:t>Distributor</a:t>
                </a:r>
              </a:p>
            </p:txBody>
          </p:sp>
          <p:sp>
            <p:nvSpPr>
              <p:cNvPr id="72" name="_color1">
                <a:extLst>
                  <a:ext uri="{FF2B5EF4-FFF2-40B4-BE49-F238E27FC236}">
                    <a16:creationId xmlns:a16="http://schemas.microsoft.com/office/drawing/2014/main" id="{4CB8C28D-306D-3141-B8FA-65E5F92FD4FE}"/>
                  </a:ext>
                </a:extLst>
              </p:cNvPr>
              <p:cNvSpPr>
                <a:spLocks noChangeArrowheads="1"/>
              </p:cNvSpPr>
              <p:nvPr/>
            </p:nvSpPr>
            <p:spPr bwMode="gray">
              <a:xfrm>
                <a:off x="5141804" y="5531373"/>
                <a:ext cx="1856232" cy="559864"/>
              </a:xfrm>
              <a:prstGeom prst="chevron">
                <a:avLst>
                  <a:gd name="adj" fmla="val 30315"/>
                </a:avLst>
              </a:prstGeom>
              <a:grpFill/>
              <a:ln w="12700">
                <a:noFill/>
                <a:prstDash val="dash"/>
                <a:miter lim="800000"/>
                <a:headEnd/>
                <a:tailEnd/>
              </a:ln>
              <a:effectLst/>
              <a:scene3d>
                <a:camera prst="perspectiveRelaxedModerately" fov="3000000">
                  <a:rot lat="0" lon="0" rev="0"/>
                </a:camera>
                <a:lightRig rig="threePt" dir="t"/>
              </a:scene3d>
              <a:sp3d extrusionH="254000"/>
            </p:spPr>
            <p:txBody>
              <a:bodyPr wrap="none" lIns="431606" tIns="0" rIns="0" bIns="0" anchor="ctr"/>
              <a:lstStyle/>
              <a:p>
                <a:pPr lvl="0" algn="ctr" defTabSz="913577">
                  <a:buClr>
                    <a:srgbClr val="7D7D7D"/>
                  </a:buClr>
                </a:pPr>
                <a:r>
                  <a:rPr lang="en-US" sz="1299">
                    <a:solidFill>
                      <a:srgbClr val="262626"/>
                    </a:solidFill>
                    <a:latin typeface="Arial" panose="020B0604020202020204" pitchFamily="34" charset="0"/>
                    <a:cs typeface="Arial" panose="020B0604020202020204" pitchFamily="34" charset="0"/>
                  </a:rPr>
                  <a:t>Firm</a:t>
                </a:r>
              </a:p>
            </p:txBody>
          </p:sp>
          <p:sp>
            <p:nvSpPr>
              <p:cNvPr id="73" name="_color1">
                <a:extLst>
                  <a:ext uri="{FF2B5EF4-FFF2-40B4-BE49-F238E27FC236}">
                    <a16:creationId xmlns:a16="http://schemas.microsoft.com/office/drawing/2014/main" id="{9C256891-074B-9D44-954C-9A8F68D41ECE}"/>
                  </a:ext>
                </a:extLst>
              </p:cNvPr>
              <p:cNvSpPr>
                <a:spLocks noChangeArrowheads="1"/>
              </p:cNvSpPr>
              <p:nvPr/>
            </p:nvSpPr>
            <p:spPr bwMode="gray">
              <a:xfrm>
                <a:off x="6899655" y="5527596"/>
                <a:ext cx="1856232" cy="559864"/>
              </a:xfrm>
              <a:prstGeom prst="chevron">
                <a:avLst>
                  <a:gd name="adj" fmla="val 30294"/>
                </a:avLst>
              </a:prstGeom>
              <a:grpFill/>
              <a:ln w="12700">
                <a:noFill/>
                <a:prstDash val="dash"/>
                <a:miter lim="800000"/>
                <a:headEnd/>
                <a:tailEnd/>
              </a:ln>
              <a:effectLst/>
              <a:scene3d>
                <a:camera prst="perspectiveRelaxedModerately" fov="3000000">
                  <a:rot lat="0" lon="0" rev="0"/>
                </a:camera>
                <a:lightRig rig="threePt" dir="t"/>
              </a:scene3d>
              <a:sp3d extrusionH="254000"/>
            </p:spPr>
            <p:txBody>
              <a:bodyPr wrap="none" lIns="395639" tIns="0" rIns="0" bIns="0" anchor="ctr"/>
              <a:lstStyle/>
              <a:p>
                <a:pPr lvl="0" defTabSz="913577">
                  <a:buClr>
                    <a:srgbClr val="7D7D7D"/>
                  </a:buClr>
                </a:pPr>
                <a:r>
                  <a:rPr lang="en-US" sz="1299">
                    <a:solidFill>
                      <a:srgbClr val="262626"/>
                    </a:solidFill>
                    <a:latin typeface="Arial" panose="020B0604020202020204" pitchFamily="34" charset="0"/>
                    <a:cs typeface="Arial" panose="020B0604020202020204" pitchFamily="34" charset="0"/>
                  </a:rPr>
                  <a:t>Merchant</a:t>
                </a:r>
              </a:p>
            </p:txBody>
          </p:sp>
          <p:sp>
            <p:nvSpPr>
              <p:cNvPr id="74" name="_color1">
                <a:extLst>
                  <a:ext uri="{FF2B5EF4-FFF2-40B4-BE49-F238E27FC236}">
                    <a16:creationId xmlns:a16="http://schemas.microsoft.com/office/drawing/2014/main" id="{F50770C4-1D0F-6543-B7B5-75A64642C086}"/>
                  </a:ext>
                </a:extLst>
              </p:cNvPr>
              <p:cNvSpPr>
                <a:spLocks noChangeArrowheads="1"/>
              </p:cNvSpPr>
              <p:nvPr/>
            </p:nvSpPr>
            <p:spPr bwMode="gray">
              <a:xfrm>
                <a:off x="8674755" y="5527596"/>
                <a:ext cx="1856232" cy="559864"/>
              </a:xfrm>
              <a:prstGeom prst="chevron">
                <a:avLst>
                  <a:gd name="adj" fmla="val 30294"/>
                </a:avLst>
              </a:prstGeom>
              <a:grpFill/>
              <a:ln w="12700">
                <a:noFill/>
                <a:prstDash val="dash"/>
                <a:miter lim="800000"/>
                <a:headEnd/>
                <a:tailEnd/>
              </a:ln>
              <a:effectLst/>
              <a:scene3d>
                <a:camera prst="perspectiveRelaxedModerately" fov="3000000">
                  <a:rot lat="0" lon="0" rev="0"/>
                </a:camera>
                <a:lightRig rig="threePt" dir="t"/>
              </a:scene3d>
              <a:sp3d extrusionH="254000"/>
            </p:spPr>
            <p:txBody>
              <a:bodyPr wrap="none" lIns="431606" tIns="0" rIns="0" bIns="0" anchor="ctr"/>
              <a:lstStyle/>
              <a:p>
                <a:pPr lvl="0" algn="ctr" defTabSz="913577">
                  <a:buClr>
                    <a:srgbClr val="7D7D7D"/>
                  </a:buClr>
                </a:pPr>
                <a:r>
                  <a:rPr lang="en-US" sz="1299">
                    <a:solidFill>
                      <a:srgbClr val="262626"/>
                    </a:solidFill>
                    <a:latin typeface="Arial" panose="020B0604020202020204" pitchFamily="34" charset="0"/>
                    <a:cs typeface="Arial" panose="020B0604020202020204" pitchFamily="34" charset="0"/>
                  </a:rPr>
                  <a:t>Customers</a:t>
                </a:r>
              </a:p>
            </p:txBody>
          </p:sp>
        </p:grpSp>
        <p:sp>
          <p:nvSpPr>
            <p:cNvPr id="154" name="Rectangle 153">
              <a:extLst>
                <a:ext uri="{FF2B5EF4-FFF2-40B4-BE49-F238E27FC236}">
                  <a16:creationId xmlns:a16="http://schemas.microsoft.com/office/drawing/2014/main" id="{C9736C9E-140F-6543-B383-54B83B6F40DE}"/>
                </a:ext>
              </a:extLst>
            </p:cNvPr>
            <p:cNvSpPr/>
            <p:nvPr/>
          </p:nvSpPr>
          <p:spPr>
            <a:xfrm>
              <a:off x="7870598" y="4983251"/>
              <a:ext cx="1984718" cy="430887"/>
            </a:xfrm>
            <a:prstGeom prst="rect">
              <a:avLst/>
            </a:prstGeom>
            <a:solidFill>
              <a:schemeClr val="bg1"/>
            </a:solidFill>
          </p:spPr>
          <p:txBody>
            <a:bodyPr wrap="square">
              <a:spAutoFit/>
            </a:bodyPr>
            <a:lstStyle/>
            <a:p>
              <a:pPr algn="r" defTabSz="913577">
                <a:buClr>
                  <a:srgbClr val="7D7D7D"/>
                </a:buClr>
              </a:pPr>
              <a:r>
                <a:rPr lang="en-US" sz="1100">
                  <a:solidFill>
                    <a:srgbClr val="262626"/>
                  </a:solidFill>
                  <a:latin typeface="Arial" panose="020B0604020202020204" pitchFamily="34" charset="0"/>
                  <a:cs typeface="Arial" panose="020B0604020202020204" pitchFamily="34" charset="0"/>
                </a:rPr>
                <a:t>Customer relationship management systems</a:t>
              </a:r>
            </a:p>
          </p:txBody>
        </p:sp>
        <p:sp>
          <p:nvSpPr>
            <p:cNvPr id="155" name="Rectangle 154">
              <a:extLst>
                <a:ext uri="{FF2B5EF4-FFF2-40B4-BE49-F238E27FC236}">
                  <a16:creationId xmlns:a16="http://schemas.microsoft.com/office/drawing/2014/main" id="{14131267-60C1-2545-8A9A-778837DAAB47}"/>
                </a:ext>
              </a:extLst>
            </p:cNvPr>
            <p:cNvSpPr/>
            <p:nvPr/>
          </p:nvSpPr>
          <p:spPr>
            <a:xfrm>
              <a:off x="844982" y="4988964"/>
              <a:ext cx="1984718" cy="430887"/>
            </a:xfrm>
            <a:prstGeom prst="rect">
              <a:avLst/>
            </a:prstGeom>
            <a:solidFill>
              <a:schemeClr val="bg1"/>
            </a:solidFill>
          </p:spPr>
          <p:txBody>
            <a:bodyPr wrap="square">
              <a:spAutoFit/>
            </a:bodyPr>
            <a:lstStyle/>
            <a:p>
              <a:pPr defTabSz="913577">
                <a:buClr>
                  <a:srgbClr val="7D7D7D"/>
                </a:buClr>
              </a:pPr>
              <a:r>
                <a:rPr lang="en-US" sz="1100">
                  <a:solidFill>
                    <a:srgbClr val="262626"/>
                  </a:solidFill>
                  <a:latin typeface="Arial" panose="020B0604020202020204" pitchFamily="34" charset="0"/>
                  <a:cs typeface="Arial" panose="020B0604020202020204" pitchFamily="34" charset="0"/>
                </a:rPr>
                <a:t>Sourcing and procurement systems</a:t>
              </a:r>
            </a:p>
          </p:txBody>
        </p:sp>
      </p:grpSp>
      <p:sp>
        <p:nvSpPr>
          <p:cNvPr id="6" name="Titel 5">
            <a:extLst>
              <a:ext uri="{FF2B5EF4-FFF2-40B4-BE49-F238E27FC236}">
                <a16:creationId xmlns:a16="http://schemas.microsoft.com/office/drawing/2014/main" id="{694A5A74-C80B-E24E-9DA2-C6BA6278CB9F}"/>
              </a:ext>
            </a:extLst>
          </p:cNvPr>
          <p:cNvSpPr>
            <a:spLocks noGrp="1"/>
          </p:cNvSpPr>
          <p:nvPr>
            <p:ph type="title"/>
          </p:nvPr>
        </p:nvSpPr>
        <p:spPr/>
        <p:txBody>
          <a:bodyPr/>
          <a:lstStyle/>
          <a:p>
            <a:endParaRPr lang="en-GB"/>
          </a:p>
        </p:txBody>
      </p:sp>
      <p:sp>
        <p:nvSpPr>
          <p:cNvPr id="14" name="Textplatzhalter 13">
            <a:extLst>
              <a:ext uri="{FF2B5EF4-FFF2-40B4-BE49-F238E27FC236}">
                <a16:creationId xmlns:a16="http://schemas.microsoft.com/office/drawing/2014/main" id="{5701646A-0FC0-5448-8571-04F6D6242F0A}"/>
              </a:ext>
            </a:extLst>
          </p:cNvPr>
          <p:cNvSpPr>
            <a:spLocks noGrp="1"/>
          </p:cNvSpPr>
          <p:nvPr>
            <p:ph type="body" sz="quarter" idx="12"/>
          </p:nvPr>
        </p:nvSpPr>
        <p:spPr/>
        <p:txBody>
          <a:bodyPr/>
          <a:lstStyle/>
          <a:p>
            <a:endParaRPr lang="en-GB"/>
          </a:p>
        </p:txBody>
      </p:sp>
      <p:sp>
        <p:nvSpPr>
          <p:cNvPr id="15" name="Textplatzhalter 14">
            <a:extLst>
              <a:ext uri="{FF2B5EF4-FFF2-40B4-BE49-F238E27FC236}">
                <a16:creationId xmlns:a16="http://schemas.microsoft.com/office/drawing/2014/main" id="{CF0CC75D-F5FB-D44C-A921-2E515501500E}"/>
              </a:ext>
            </a:extLst>
          </p:cNvPr>
          <p:cNvSpPr>
            <a:spLocks noGrp="1"/>
          </p:cNvSpPr>
          <p:nvPr>
            <p:ph type="body" sz="quarter" idx="13"/>
          </p:nvPr>
        </p:nvSpPr>
        <p:spPr/>
        <p:txBody>
          <a:bodyPr/>
          <a:lstStyle/>
          <a:p>
            <a:endParaRPr lang="en-GB"/>
          </a:p>
        </p:txBody>
      </p:sp>
      <p:sp>
        <p:nvSpPr>
          <p:cNvPr id="19" name="Inhaltsplatzhalter 18">
            <a:extLst>
              <a:ext uri="{FF2B5EF4-FFF2-40B4-BE49-F238E27FC236}">
                <a16:creationId xmlns:a16="http://schemas.microsoft.com/office/drawing/2014/main" id="{571FF78E-79BD-7348-82DF-577E5CFA7C10}"/>
              </a:ext>
            </a:extLst>
          </p:cNvPr>
          <p:cNvSpPr>
            <a:spLocks noGrp="1"/>
          </p:cNvSpPr>
          <p:nvPr>
            <p:ph sz="quarter" idx="14"/>
          </p:nvPr>
        </p:nvSpPr>
        <p:spPr/>
        <p:txBody>
          <a:bodyPr/>
          <a:lstStyle/>
          <a:p>
            <a:endParaRPr lang="en-GB"/>
          </a:p>
        </p:txBody>
      </p:sp>
      <p:sp>
        <p:nvSpPr>
          <p:cNvPr id="3" name="Rectangle 2">
            <a:extLst>
              <a:ext uri="{FF2B5EF4-FFF2-40B4-BE49-F238E27FC236}">
                <a16:creationId xmlns:a16="http://schemas.microsoft.com/office/drawing/2014/main" id="{10DC3D2E-A573-F540-96A5-C0CD88C60139}"/>
              </a:ext>
            </a:extLst>
          </p:cNvPr>
          <p:cNvSpPr/>
          <p:nvPr/>
        </p:nvSpPr>
        <p:spPr>
          <a:xfrm rot="18996037">
            <a:off x="9966623" y="3567906"/>
            <a:ext cx="1960034" cy="292388"/>
          </a:xfrm>
          <a:prstGeom prst="rect">
            <a:avLst/>
          </a:prstGeom>
        </p:spPr>
        <p:txBody>
          <a:bodyPr wrap="square">
            <a:spAutoFit/>
          </a:bodyPr>
          <a:lstStyle/>
          <a:p>
            <a:pPr algn="ctr" defTabSz="913577">
              <a:buClr>
                <a:srgbClr val="7D7D7D"/>
              </a:buClr>
            </a:pPr>
            <a:r>
              <a:rPr lang="en-US" sz="1300">
                <a:latin typeface="Century Gothic" panose="020B0502020202020204" pitchFamily="34" charset="0"/>
              </a:rPr>
              <a:t>Margin</a:t>
            </a:r>
          </a:p>
        </p:txBody>
      </p:sp>
      <p:sp>
        <p:nvSpPr>
          <p:cNvPr id="56" name="Rectangle 55">
            <a:extLst>
              <a:ext uri="{FF2B5EF4-FFF2-40B4-BE49-F238E27FC236}">
                <a16:creationId xmlns:a16="http://schemas.microsoft.com/office/drawing/2014/main" id="{283A9033-A431-3249-826C-61A8EE3F0CC9}"/>
              </a:ext>
            </a:extLst>
          </p:cNvPr>
          <p:cNvSpPr/>
          <p:nvPr/>
        </p:nvSpPr>
        <p:spPr>
          <a:xfrm rot="13477819" flipH="1" flipV="1">
            <a:off x="9848289" y="2264330"/>
            <a:ext cx="1960034" cy="292388"/>
          </a:xfrm>
          <a:prstGeom prst="rect">
            <a:avLst/>
          </a:prstGeom>
        </p:spPr>
        <p:txBody>
          <a:bodyPr wrap="square">
            <a:spAutoFit/>
          </a:bodyPr>
          <a:lstStyle/>
          <a:p>
            <a:pPr algn="ctr" defTabSz="913577">
              <a:buClr>
                <a:srgbClr val="7D7D7D"/>
              </a:buClr>
            </a:pPr>
            <a:r>
              <a:rPr lang="en-US" sz="1300">
                <a:latin typeface="Century Gothic" panose="020B0502020202020204" pitchFamily="34" charset="0"/>
              </a:rPr>
              <a:t>Margin</a:t>
            </a:r>
          </a:p>
        </p:txBody>
      </p:sp>
    </p:spTree>
    <p:extLst>
      <p:ext uri="{BB962C8B-B14F-4D97-AF65-F5344CB8AC3E}">
        <p14:creationId xmlns:p14="http://schemas.microsoft.com/office/powerpoint/2010/main" val="184627437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01A51EA-420A-424F-8A2E-DF05FFC65E7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9" name="Objekt 8" hidden="1">
                        <a:extLst>
                          <a:ext uri="{FF2B5EF4-FFF2-40B4-BE49-F238E27FC236}">
                            <a16:creationId xmlns:a16="http://schemas.microsoft.com/office/drawing/2014/main" id="{401A51EA-420A-424F-8A2E-DF05FFC65E7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nchor="ctr"/>
          <a:lstStyle/>
          <a:p>
            <a:r>
              <a:rPr lang="en-US" sz="2598">
                <a:solidFill>
                  <a:schemeClr val="tx2"/>
                </a:solidFill>
                <a:latin typeface="Century Gothic" panose="020B0502020202020204" pitchFamily="34" charset="0"/>
              </a:rPr>
              <a:t>10. Growth Model</a:t>
            </a:r>
          </a:p>
        </p:txBody>
      </p:sp>
      <p:sp>
        <p:nvSpPr>
          <p:cNvPr id="5" name="Textplatzhalter 4">
            <a:extLst>
              <a:ext uri="{FF2B5EF4-FFF2-40B4-BE49-F238E27FC236}">
                <a16:creationId xmlns:a16="http://schemas.microsoft.com/office/drawing/2014/main" id="{723B7A87-5D86-7E4D-BC01-96A557200F81}"/>
              </a:ext>
            </a:extLst>
          </p:cNvPr>
          <p:cNvSpPr>
            <a:spLocks noGrp="1"/>
          </p:cNvSpPr>
          <p:nvPr>
            <p:ph type="body" sz="quarter" idx="12"/>
          </p:nvPr>
        </p:nvSpPr>
        <p:spPr/>
        <p:txBody>
          <a:bodyPr/>
          <a:lstStyle/>
          <a:p>
            <a:endParaRPr lang="en-GB"/>
          </a:p>
        </p:txBody>
      </p:sp>
      <p:sp>
        <p:nvSpPr>
          <p:cNvPr id="6" name="Textplatzhalter 5">
            <a:extLst>
              <a:ext uri="{FF2B5EF4-FFF2-40B4-BE49-F238E27FC236}">
                <a16:creationId xmlns:a16="http://schemas.microsoft.com/office/drawing/2014/main" id="{61BC2068-A072-7241-B3E1-496B17A95B3C}"/>
              </a:ext>
            </a:extLst>
          </p:cNvPr>
          <p:cNvSpPr>
            <a:spLocks noGrp="1"/>
          </p:cNvSpPr>
          <p:nvPr>
            <p:ph type="body" sz="quarter" idx="13"/>
          </p:nvPr>
        </p:nvSpPr>
        <p:spPr/>
        <p:txBody>
          <a:bodyPr/>
          <a:lstStyle/>
          <a:p>
            <a:endParaRPr lang="en-GB"/>
          </a:p>
        </p:txBody>
      </p:sp>
      <p:sp>
        <p:nvSpPr>
          <p:cNvPr id="7" name="Inhaltsplatzhalter 6">
            <a:extLst>
              <a:ext uri="{FF2B5EF4-FFF2-40B4-BE49-F238E27FC236}">
                <a16:creationId xmlns:a16="http://schemas.microsoft.com/office/drawing/2014/main" id="{1902E77B-0890-A048-B8B8-8C35CD94AF90}"/>
              </a:ext>
            </a:extLst>
          </p:cNvPr>
          <p:cNvSpPr>
            <a:spLocks noGrp="1"/>
          </p:cNvSpPr>
          <p:nvPr>
            <p:ph sz="quarter" idx="14"/>
          </p:nvPr>
        </p:nvSpPr>
        <p:spPr/>
        <p:txBody>
          <a:bodyPr/>
          <a:lstStyle/>
          <a:p>
            <a:endParaRPr lang="en-GB"/>
          </a:p>
        </p:txBody>
      </p:sp>
      <p:grpSp>
        <p:nvGrpSpPr>
          <p:cNvPr id="3" name="Group 2">
            <a:extLst>
              <a:ext uri="{FF2B5EF4-FFF2-40B4-BE49-F238E27FC236}">
                <a16:creationId xmlns:a16="http://schemas.microsoft.com/office/drawing/2014/main" id="{84390336-90CB-5644-8B23-03568FE753E4}"/>
              </a:ext>
            </a:extLst>
          </p:cNvPr>
          <p:cNvGrpSpPr/>
          <p:nvPr/>
        </p:nvGrpSpPr>
        <p:grpSpPr>
          <a:xfrm>
            <a:off x="371476" y="1716196"/>
            <a:ext cx="11456606" cy="4223982"/>
            <a:chOff x="1251678" y="1968674"/>
            <a:chExt cx="9754763" cy="4451593"/>
          </a:xfrm>
        </p:grpSpPr>
        <p:sp>
          <p:nvSpPr>
            <p:cNvPr id="44" name="Rechteck 7179">
              <a:extLst>
                <a:ext uri="{FF2B5EF4-FFF2-40B4-BE49-F238E27FC236}">
                  <a16:creationId xmlns:a16="http://schemas.microsoft.com/office/drawing/2014/main" id="{EE87D808-C189-DC49-87BE-0A7EEE91B0E4}"/>
                </a:ext>
              </a:extLst>
            </p:cNvPr>
            <p:cNvSpPr/>
            <p:nvPr/>
          </p:nvSpPr>
          <p:spPr bwMode="gray">
            <a:xfrm>
              <a:off x="1535836" y="6192720"/>
              <a:ext cx="9287098" cy="227547"/>
            </a:xfrm>
            <a:prstGeom prst="rect">
              <a:avLst/>
            </a:prstGeom>
          </p:spPr>
          <p:txBody>
            <a:bodyPr wrap="square">
              <a:spAutoFit/>
            </a:bodyPr>
            <a:lstStyle/>
            <a:p>
              <a:pPr defTabSz="913577">
                <a:lnSpc>
                  <a:spcPct val="80000"/>
                </a:lnSpc>
                <a:spcAft>
                  <a:spcPts val="999"/>
                </a:spcAft>
              </a:pPr>
              <a:r>
                <a:rPr lang="en-US" sz="1099" b="1">
                  <a:solidFill>
                    <a:srgbClr val="747F83"/>
                  </a:solidFill>
                  <a:latin typeface="Arial" panose="020B0604020202020204" pitchFamily="34" charset="0"/>
                  <a:cs typeface="Arial" panose="020B0604020202020204" pitchFamily="34" charset="0"/>
                </a:rPr>
                <a:t>Time</a:t>
              </a:r>
            </a:p>
          </p:txBody>
        </p:sp>
        <p:cxnSp>
          <p:nvCxnSpPr>
            <p:cNvPr id="45" name="Gerade Verbindung 10">
              <a:extLst>
                <a:ext uri="{FF2B5EF4-FFF2-40B4-BE49-F238E27FC236}">
                  <a16:creationId xmlns:a16="http://schemas.microsoft.com/office/drawing/2014/main" id="{879FF812-0D68-CF40-9C94-A164CFB126D9}"/>
                </a:ext>
              </a:extLst>
            </p:cNvPr>
            <p:cNvCxnSpPr/>
            <p:nvPr/>
          </p:nvCxnSpPr>
          <p:spPr bwMode="gray">
            <a:xfrm flipV="1">
              <a:off x="3060644" y="2291861"/>
              <a:ext cx="0" cy="3762351"/>
            </a:xfrm>
            <a:prstGeom prst="line">
              <a:avLst/>
            </a:prstGeom>
            <a:ln w="1270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6" name="Gerade Verbindung 37">
              <a:extLst>
                <a:ext uri="{FF2B5EF4-FFF2-40B4-BE49-F238E27FC236}">
                  <a16:creationId xmlns:a16="http://schemas.microsoft.com/office/drawing/2014/main" id="{927FEF85-B5F4-A049-A828-DE314978B3CF}"/>
                </a:ext>
              </a:extLst>
            </p:cNvPr>
            <p:cNvCxnSpPr/>
            <p:nvPr/>
          </p:nvCxnSpPr>
          <p:spPr bwMode="gray">
            <a:xfrm flipV="1">
              <a:off x="4623513" y="2261688"/>
              <a:ext cx="0" cy="3762351"/>
            </a:xfrm>
            <a:prstGeom prst="line">
              <a:avLst/>
            </a:prstGeom>
            <a:ln w="1270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7" name="Gerade Verbindung 38">
              <a:extLst>
                <a:ext uri="{FF2B5EF4-FFF2-40B4-BE49-F238E27FC236}">
                  <a16:creationId xmlns:a16="http://schemas.microsoft.com/office/drawing/2014/main" id="{7F4829AC-9C34-3B45-A0AA-BB758CF7A9B2}"/>
                </a:ext>
              </a:extLst>
            </p:cNvPr>
            <p:cNvCxnSpPr/>
            <p:nvPr/>
          </p:nvCxnSpPr>
          <p:spPr bwMode="gray">
            <a:xfrm flipV="1">
              <a:off x="6186381" y="2261688"/>
              <a:ext cx="0" cy="3762351"/>
            </a:xfrm>
            <a:prstGeom prst="line">
              <a:avLst/>
            </a:prstGeom>
            <a:ln w="1270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8" name="Gerade Verbindung 39">
              <a:extLst>
                <a:ext uri="{FF2B5EF4-FFF2-40B4-BE49-F238E27FC236}">
                  <a16:creationId xmlns:a16="http://schemas.microsoft.com/office/drawing/2014/main" id="{97B94524-6D8E-BA45-8B10-4DD2F0698138}"/>
                </a:ext>
              </a:extLst>
            </p:cNvPr>
            <p:cNvCxnSpPr/>
            <p:nvPr/>
          </p:nvCxnSpPr>
          <p:spPr bwMode="gray">
            <a:xfrm flipV="1">
              <a:off x="7749250" y="2291861"/>
              <a:ext cx="0" cy="3762351"/>
            </a:xfrm>
            <a:prstGeom prst="line">
              <a:avLst/>
            </a:prstGeom>
            <a:ln w="1270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9" name="Gerade Verbindung 40">
              <a:extLst>
                <a:ext uri="{FF2B5EF4-FFF2-40B4-BE49-F238E27FC236}">
                  <a16:creationId xmlns:a16="http://schemas.microsoft.com/office/drawing/2014/main" id="{B384606F-2B5C-0F4C-9EA5-01E1AEF32E39}"/>
                </a:ext>
              </a:extLst>
            </p:cNvPr>
            <p:cNvCxnSpPr/>
            <p:nvPr/>
          </p:nvCxnSpPr>
          <p:spPr bwMode="gray">
            <a:xfrm flipV="1">
              <a:off x="9312119" y="2291861"/>
              <a:ext cx="0" cy="3762351"/>
            </a:xfrm>
            <a:prstGeom prst="line">
              <a:avLst/>
            </a:prstGeom>
            <a:ln w="1270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1" name="Ellipse 41">
              <a:extLst>
                <a:ext uri="{FF2B5EF4-FFF2-40B4-BE49-F238E27FC236}">
                  <a16:creationId xmlns:a16="http://schemas.microsoft.com/office/drawing/2014/main" id="{5E921C0D-EF9D-CF49-9645-72D3E21EA134}"/>
                </a:ext>
              </a:extLst>
            </p:cNvPr>
            <p:cNvSpPr>
              <a:spLocks noChangeAspect="1"/>
            </p:cNvSpPr>
            <p:nvPr/>
          </p:nvSpPr>
          <p:spPr bwMode="gray">
            <a:xfrm>
              <a:off x="4521077" y="4583311"/>
              <a:ext cx="195257" cy="199563"/>
            </a:xfrm>
            <a:prstGeom prst="ellipse">
              <a:avLst/>
            </a:prstGeom>
            <a:solidFill>
              <a:schemeClr val="tx2"/>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a:solidFill>
                  <a:srgbClr val="FFFFFF"/>
                </a:solidFill>
                <a:latin typeface="Arial" panose="020B0604020202020204" pitchFamily="34" charset="0"/>
                <a:cs typeface="Arial" panose="020B0604020202020204" pitchFamily="34" charset="0"/>
              </a:endParaRPr>
            </a:p>
          </p:txBody>
        </p:sp>
        <p:sp>
          <p:nvSpPr>
            <p:cNvPr id="52" name="Rechteck 13">
              <a:extLst>
                <a:ext uri="{FF2B5EF4-FFF2-40B4-BE49-F238E27FC236}">
                  <a16:creationId xmlns:a16="http://schemas.microsoft.com/office/drawing/2014/main" id="{2C7E67BB-B020-9744-917B-A3EDF763C204}"/>
                </a:ext>
              </a:extLst>
            </p:cNvPr>
            <p:cNvSpPr/>
            <p:nvPr/>
          </p:nvSpPr>
          <p:spPr bwMode="gray">
            <a:xfrm>
              <a:off x="1535836" y="2153355"/>
              <a:ext cx="1524808"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1</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creativity</a:t>
              </a:r>
            </a:p>
          </p:txBody>
        </p:sp>
        <p:sp>
          <p:nvSpPr>
            <p:cNvPr id="53" name="Rechteck 45">
              <a:extLst>
                <a:ext uri="{FF2B5EF4-FFF2-40B4-BE49-F238E27FC236}">
                  <a16:creationId xmlns:a16="http://schemas.microsoft.com/office/drawing/2014/main" id="{F6413C42-569F-5E4D-8A66-3203D042B701}"/>
                </a:ext>
              </a:extLst>
            </p:cNvPr>
            <p:cNvSpPr/>
            <p:nvPr/>
          </p:nvSpPr>
          <p:spPr bwMode="gray">
            <a:xfrm>
              <a:off x="3058333" y="2153355"/>
              <a:ext cx="1586895"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2</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direction</a:t>
              </a:r>
            </a:p>
          </p:txBody>
        </p:sp>
        <p:sp>
          <p:nvSpPr>
            <p:cNvPr id="54" name="Rechteck 46">
              <a:extLst>
                <a:ext uri="{FF2B5EF4-FFF2-40B4-BE49-F238E27FC236}">
                  <a16:creationId xmlns:a16="http://schemas.microsoft.com/office/drawing/2014/main" id="{323C6FCD-374F-7646-ADE9-27146C3C7634}"/>
                </a:ext>
              </a:extLst>
            </p:cNvPr>
            <p:cNvSpPr/>
            <p:nvPr/>
          </p:nvSpPr>
          <p:spPr bwMode="gray">
            <a:xfrm>
              <a:off x="4645227" y="2153355"/>
              <a:ext cx="1550450"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3</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delegation</a:t>
              </a:r>
            </a:p>
          </p:txBody>
        </p:sp>
        <p:sp>
          <p:nvSpPr>
            <p:cNvPr id="55" name="Rechteck 47">
              <a:extLst>
                <a:ext uri="{FF2B5EF4-FFF2-40B4-BE49-F238E27FC236}">
                  <a16:creationId xmlns:a16="http://schemas.microsoft.com/office/drawing/2014/main" id="{917225F3-954F-7E49-895B-DCF3AE426AB4}"/>
                </a:ext>
              </a:extLst>
            </p:cNvPr>
            <p:cNvSpPr/>
            <p:nvPr/>
          </p:nvSpPr>
          <p:spPr bwMode="gray">
            <a:xfrm>
              <a:off x="6195676" y="2153355"/>
              <a:ext cx="1582524"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4</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organization</a:t>
              </a:r>
            </a:p>
          </p:txBody>
        </p:sp>
        <p:sp>
          <p:nvSpPr>
            <p:cNvPr id="56" name="Rechteck 48">
              <a:extLst>
                <a:ext uri="{FF2B5EF4-FFF2-40B4-BE49-F238E27FC236}">
                  <a16:creationId xmlns:a16="http://schemas.microsoft.com/office/drawing/2014/main" id="{7F6F6DD1-8D97-6844-BCF7-8D8ADCE70926}"/>
                </a:ext>
              </a:extLst>
            </p:cNvPr>
            <p:cNvSpPr/>
            <p:nvPr/>
          </p:nvSpPr>
          <p:spPr bwMode="gray">
            <a:xfrm>
              <a:off x="7778200" y="2153355"/>
              <a:ext cx="1522880"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5</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collaboration</a:t>
              </a:r>
            </a:p>
          </p:txBody>
        </p:sp>
        <p:sp>
          <p:nvSpPr>
            <p:cNvPr id="57" name="Rechteck 49">
              <a:extLst>
                <a:ext uri="{FF2B5EF4-FFF2-40B4-BE49-F238E27FC236}">
                  <a16:creationId xmlns:a16="http://schemas.microsoft.com/office/drawing/2014/main" id="{27ACFD67-7D14-9F4A-BF44-9E9F8A159DEC}"/>
                </a:ext>
              </a:extLst>
            </p:cNvPr>
            <p:cNvSpPr/>
            <p:nvPr/>
          </p:nvSpPr>
          <p:spPr bwMode="gray">
            <a:xfrm>
              <a:off x="9300057" y="2153355"/>
              <a:ext cx="1522880" cy="902744"/>
            </a:xfrm>
            <a:prstGeom prst="rect">
              <a:avLst/>
            </a:prstGeom>
            <a:solidFill>
              <a:schemeClr val="accent1"/>
            </a:solidFill>
            <a:ln w="12700">
              <a:noFill/>
              <a:prstDash val="sysDash"/>
            </a:ln>
          </p:spPr>
          <p:txBody>
            <a:bodyPr wrap="square" anchor="ctr">
              <a:noAutofit/>
            </a:bodyPr>
            <a:lstStyle/>
            <a:p>
              <a:pPr defTabSz="913577">
                <a:spcAft>
                  <a:spcPts val="999"/>
                </a:spcAft>
              </a:pPr>
              <a:r>
                <a:rPr lang="en-US" sz="1099" b="1">
                  <a:solidFill>
                    <a:srgbClr val="FFFFFF"/>
                  </a:solidFill>
                  <a:latin typeface="Arial" panose="020B0604020202020204" pitchFamily="34" charset="0"/>
                  <a:cs typeface="Arial" panose="020B0604020202020204" pitchFamily="34" charset="0"/>
                </a:rPr>
                <a:t>Stage 6</a:t>
              </a:r>
            </a:p>
            <a:p>
              <a:pPr defTabSz="913577">
                <a:spcAft>
                  <a:spcPts val="999"/>
                </a:spcAft>
              </a:pPr>
              <a:r>
                <a:rPr lang="en-US" sz="1099">
                  <a:solidFill>
                    <a:srgbClr val="FFFFFF"/>
                  </a:solidFill>
                  <a:latin typeface="Arial" panose="020B0604020202020204" pitchFamily="34" charset="0"/>
                  <a:cs typeface="Arial" panose="020B0604020202020204" pitchFamily="34" charset="0"/>
                </a:rPr>
                <a:t>Growth through affiliation</a:t>
              </a:r>
            </a:p>
          </p:txBody>
        </p:sp>
        <p:cxnSp>
          <p:nvCxnSpPr>
            <p:cNvPr id="58" name="Gerade Verbindung 15">
              <a:extLst>
                <a:ext uri="{FF2B5EF4-FFF2-40B4-BE49-F238E27FC236}">
                  <a16:creationId xmlns:a16="http://schemas.microsoft.com/office/drawing/2014/main" id="{8AAC56C5-11A0-604E-AC59-DDCEED68CB61}"/>
                </a:ext>
              </a:extLst>
            </p:cNvPr>
            <p:cNvCxnSpPr/>
            <p:nvPr/>
          </p:nvCxnSpPr>
          <p:spPr bwMode="gray">
            <a:xfrm flipV="1">
              <a:off x="1535837" y="5232669"/>
              <a:ext cx="1424867" cy="821542"/>
            </a:xfrm>
            <a:prstGeom prst="line">
              <a:avLst/>
            </a:prstGeom>
            <a:ln w="19050" cap="rnd">
              <a:solidFill>
                <a:srgbClr val="333657"/>
              </a:solidFill>
              <a:tailEnd type="none"/>
            </a:ln>
          </p:spPr>
          <p:style>
            <a:lnRef idx="1">
              <a:schemeClr val="accent1"/>
            </a:lnRef>
            <a:fillRef idx="0">
              <a:schemeClr val="accent1"/>
            </a:fillRef>
            <a:effectRef idx="0">
              <a:schemeClr val="accent1"/>
            </a:effectRef>
            <a:fontRef idx="minor">
              <a:schemeClr val="tx1"/>
            </a:fontRef>
          </p:style>
        </p:cxnSp>
        <p:cxnSp>
          <p:nvCxnSpPr>
            <p:cNvPr id="59" name="Gerade Verbindung mit Pfeil 22">
              <a:extLst>
                <a:ext uri="{FF2B5EF4-FFF2-40B4-BE49-F238E27FC236}">
                  <a16:creationId xmlns:a16="http://schemas.microsoft.com/office/drawing/2014/main" id="{12203F3A-2263-F346-A8A4-08ED5CF606B3}"/>
                </a:ext>
              </a:extLst>
            </p:cNvPr>
            <p:cNvCxnSpPr/>
            <p:nvPr/>
          </p:nvCxnSpPr>
          <p:spPr bwMode="gray">
            <a:xfrm>
              <a:off x="1526789" y="6054212"/>
              <a:ext cx="9479652" cy="0"/>
            </a:xfrm>
            <a:prstGeom prst="straightConnector1">
              <a:avLst/>
            </a:prstGeom>
            <a:ln w="127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0" name="Gerade Verbindung mit Pfeil 20">
              <a:extLst>
                <a:ext uri="{FF2B5EF4-FFF2-40B4-BE49-F238E27FC236}">
                  <a16:creationId xmlns:a16="http://schemas.microsoft.com/office/drawing/2014/main" id="{40307EC7-3851-D94B-B6BA-1EA99C7D5B48}"/>
                </a:ext>
              </a:extLst>
            </p:cNvPr>
            <p:cNvCxnSpPr/>
            <p:nvPr/>
          </p:nvCxnSpPr>
          <p:spPr bwMode="gray">
            <a:xfrm flipH="1" flipV="1">
              <a:off x="1526790" y="1968674"/>
              <a:ext cx="9047" cy="4085538"/>
            </a:xfrm>
            <a:prstGeom prst="straightConnector1">
              <a:avLst/>
            </a:prstGeom>
            <a:ln w="127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1" name="Gerade Verbindung 52">
              <a:extLst>
                <a:ext uri="{FF2B5EF4-FFF2-40B4-BE49-F238E27FC236}">
                  <a16:creationId xmlns:a16="http://schemas.microsoft.com/office/drawing/2014/main" id="{FFBCA03F-B366-C742-8557-5008DC524352}"/>
                </a:ext>
              </a:extLst>
            </p:cNvPr>
            <p:cNvCxnSpPr>
              <a:cxnSpLocks/>
              <a:endCxn id="51" idx="3"/>
            </p:cNvCxnSpPr>
            <p:nvPr/>
          </p:nvCxnSpPr>
          <p:spPr bwMode="gray">
            <a:xfrm flipV="1">
              <a:off x="3165006" y="4753647"/>
              <a:ext cx="1384666" cy="379572"/>
            </a:xfrm>
            <a:prstGeom prst="line">
              <a:avLst/>
            </a:prstGeom>
            <a:ln w="19050">
              <a:solidFill>
                <a:srgbClr val="333657"/>
              </a:solidFill>
              <a:tailEnd type="none"/>
            </a:ln>
          </p:spPr>
          <p:style>
            <a:lnRef idx="1">
              <a:schemeClr val="accent1"/>
            </a:lnRef>
            <a:fillRef idx="0">
              <a:schemeClr val="accent1"/>
            </a:fillRef>
            <a:effectRef idx="0">
              <a:schemeClr val="accent1"/>
            </a:effectRef>
            <a:fontRef idx="minor">
              <a:schemeClr val="tx1"/>
            </a:fontRef>
          </p:style>
        </p:cxnSp>
        <p:cxnSp>
          <p:nvCxnSpPr>
            <p:cNvPr id="62" name="Gerade Verbindung 57">
              <a:extLst>
                <a:ext uri="{FF2B5EF4-FFF2-40B4-BE49-F238E27FC236}">
                  <a16:creationId xmlns:a16="http://schemas.microsoft.com/office/drawing/2014/main" id="{48415739-C0F6-6D4C-8890-B1DEB85F380D}"/>
                </a:ext>
              </a:extLst>
            </p:cNvPr>
            <p:cNvCxnSpPr>
              <a:cxnSpLocks/>
              <a:stCxn id="51" idx="6"/>
              <a:endCxn id="82" idx="4"/>
            </p:cNvCxnSpPr>
            <p:nvPr/>
          </p:nvCxnSpPr>
          <p:spPr bwMode="gray">
            <a:xfrm flipV="1">
              <a:off x="4716334" y="4317196"/>
              <a:ext cx="1373679" cy="365896"/>
            </a:xfrm>
            <a:prstGeom prst="line">
              <a:avLst/>
            </a:prstGeom>
            <a:ln w="19050">
              <a:solidFill>
                <a:srgbClr val="333657"/>
              </a:solidFill>
              <a:tailEnd type="none"/>
            </a:ln>
          </p:spPr>
          <p:style>
            <a:lnRef idx="1">
              <a:schemeClr val="accent1"/>
            </a:lnRef>
            <a:fillRef idx="0">
              <a:schemeClr val="accent1"/>
            </a:fillRef>
            <a:effectRef idx="0">
              <a:schemeClr val="accent1"/>
            </a:effectRef>
            <a:fontRef idx="minor">
              <a:schemeClr val="tx1"/>
            </a:fontRef>
          </p:style>
        </p:cxnSp>
        <p:cxnSp>
          <p:nvCxnSpPr>
            <p:cNvPr id="63" name="Gerade Verbindung 61">
              <a:extLst>
                <a:ext uri="{FF2B5EF4-FFF2-40B4-BE49-F238E27FC236}">
                  <a16:creationId xmlns:a16="http://schemas.microsoft.com/office/drawing/2014/main" id="{590E717D-28AE-F04C-B121-DADB9E627D72}"/>
                </a:ext>
              </a:extLst>
            </p:cNvPr>
            <p:cNvCxnSpPr>
              <a:cxnSpLocks/>
              <a:stCxn id="82" idx="0"/>
            </p:cNvCxnSpPr>
            <p:nvPr/>
          </p:nvCxnSpPr>
          <p:spPr bwMode="gray">
            <a:xfrm flipV="1">
              <a:off x="6268759" y="4142867"/>
              <a:ext cx="1378055" cy="85588"/>
            </a:xfrm>
            <a:prstGeom prst="line">
              <a:avLst/>
            </a:prstGeom>
            <a:ln w="19050">
              <a:solidFill>
                <a:srgbClr val="333657"/>
              </a:solidFill>
              <a:tailEnd type="none"/>
            </a:ln>
          </p:spPr>
          <p:style>
            <a:lnRef idx="1">
              <a:schemeClr val="accent1"/>
            </a:lnRef>
            <a:fillRef idx="0">
              <a:schemeClr val="accent1"/>
            </a:fillRef>
            <a:effectRef idx="0">
              <a:schemeClr val="accent1"/>
            </a:effectRef>
            <a:fontRef idx="minor">
              <a:schemeClr val="tx1"/>
            </a:fontRef>
          </p:style>
        </p:cxnSp>
        <p:cxnSp>
          <p:nvCxnSpPr>
            <p:cNvPr id="64" name="Gerade Verbindung 63">
              <a:extLst>
                <a:ext uri="{FF2B5EF4-FFF2-40B4-BE49-F238E27FC236}">
                  <a16:creationId xmlns:a16="http://schemas.microsoft.com/office/drawing/2014/main" id="{FCBF55AF-8A31-C644-B5C0-7D3B24C47B62}"/>
                </a:ext>
              </a:extLst>
            </p:cNvPr>
            <p:cNvCxnSpPr/>
            <p:nvPr/>
          </p:nvCxnSpPr>
          <p:spPr bwMode="gray">
            <a:xfrm flipV="1">
              <a:off x="7846491" y="3687437"/>
              <a:ext cx="1364598" cy="380111"/>
            </a:xfrm>
            <a:prstGeom prst="line">
              <a:avLst/>
            </a:prstGeom>
            <a:ln w="19050">
              <a:solidFill>
                <a:srgbClr val="333657"/>
              </a:solidFill>
              <a:tailEnd type="none"/>
            </a:ln>
          </p:spPr>
          <p:style>
            <a:lnRef idx="1">
              <a:schemeClr val="accent1"/>
            </a:lnRef>
            <a:fillRef idx="0">
              <a:schemeClr val="accent1"/>
            </a:fillRef>
            <a:effectRef idx="0">
              <a:schemeClr val="accent1"/>
            </a:effectRef>
            <a:fontRef idx="minor">
              <a:schemeClr val="tx1"/>
            </a:fontRef>
          </p:style>
        </p:cxnSp>
        <p:sp>
          <p:nvSpPr>
            <p:cNvPr id="65" name="Ellipse 43">
              <a:extLst>
                <a:ext uri="{FF2B5EF4-FFF2-40B4-BE49-F238E27FC236}">
                  <a16:creationId xmlns:a16="http://schemas.microsoft.com/office/drawing/2014/main" id="{725F07BD-8388-7245-8F82-BFBEA638595F}"/>
                </a:ext>
              </a:extLst>
            </p:cNvPr>
            <p:cNvSpPr>
              <a:spLocks noChangeAspect="1"/>
            </p:cNvSpPr>
            <p:nvPr/>
          </p:nvSpPr>
          <p:spPr bwMode="gray">
            <a:xfrm>
              <a:off x="7646813" y="3980222"/>
              <a:ext cx="195257" cy="199563"/>
            </a:xfrm>
            <a:prstGeom prst="ellipse">
              <a:avLst/>
            </a:prstGeom>
            <a:solidFill>
              <a:schemeClr val="tx2"/>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a:solidFill>
                  <a:srgbClr val="FFFFFF"/>
                </a:solidFill>
                <a:latin typeface="Arial" panose="020B0604020202020204" pitchFamily="34" charset="0"/>
                <a:cs typeface="Arial" panose="020B0604020202020204" pitchFamily="34" charset="0"/>
              </a:endParaRPr>
            </a:p>
          </p:txBody>
        </p:sp>
        <p:cxnSp>
          <p:nvCxnSpPr>
            <p:cNvPr id="66" name="Gerade Verbindung 70">
              <a:extLst>
                <a:ext uri="{FF2B5EF4-FFF2-40B4-BE49-F238E27FC236}">
                  <a16:creationId xmlns:a16="http://schemas.microsoft.com/office/drawing/2014/main" id="{D1537BC1-F680-894D-9CE3-FB317E252937}"/>
                </a:ext>
              </a:extLst>
            </p:cNvPr>
            <p:cNvCxnSpPr>
              <a:stCxn id="73" idx="6"/>
            </p:cNvCxnSpPr>
            <p:nvPr/>
          </p:nvCxnSpPr>
          <p:spPr bwMode="gray">
            <a:xfrm flipV="1">
              <a:off x="9207154" y="3393911"/>
              <a:ext cx="1611358" cy="237799"/>
            </a:xfrm>
            <a:prstGeom prst="line">
              <a:avLst/>
            </a:prstGeom>
            <a:ln w="19050">
              <a:solidFill>
                <a:srgbClr val="333657"/>
              </a:solidFill>
              <a:tailEnd type="none"/>
            </a:ln>
          </p:spPr>
          <p:style>
            <a:lnRef idx="1">
              <a:schemeClr val="accent1"/>
            </a:lnRef>
            <a:fillRef idx="0">
              <a:schemeClr val="accent1"/>
            </a:fillRef>
            <a:effectRef idx="0">
              <a:schemeClr val="accent1"/>
            </a:effectRef>
            <a:fontRef idx="minor">
              <a:schemeClr val="tx1"/>
            </a:fontRef>
          </p:style>
        </p:cxnSp>
        <p:sp>
          <p:nvSpPr>
            <p:cNvPr id="67" name="Rechteck 7174">
              <a:extLst>
                <a:ext uri="{FF2B5EF4-FFF2-40B4-BE49-F238E27FC236}">
                  <a16:creationId xmlns:a16="http://schemas.microsoft.com/office/drawing/2014/main" id="{34DCB3E9-534F-2E43-8AA4-0DFBC420F412}"/>
                </a:ext>
              </a:extLst>
            </p:cNvPr>
            <p:cNvSpPr/>
            <p:nvPr/>
          </p:nvSpPr>
          <p:spPr bwMode="gray">
            <a:xfrm>
              <a:off x="3187014" y="5257089"/>
              <a:ext cx="1271502" cy="261482"/>
            </a:xfrm>
            <a:prstGeom prst="rect">
              <a:avLst/>
            </a:prstGeom>
          </p:spPr>
          <p:txBody>
            <a:bodyPr wrap="none">
              <a:spAutoFit/>
            </a:bodyPr>
            <a:lstStyle/>
            <a:p>
              <a:pPr defTabSz="913577">
                <a:spcAft>
                  <a:spcPts val="999"/>
                </a:spcAft>
              </a:pPr>
              <a:r>
                <a:rPr lang="en-US" sz="1099">
                  <a:latin typeface="Arial" panose="020B0604020202020204" pitchFamily="34" charset="0"/>
                  <a:cs typeface="Arial" panose="020B0604020202020204" pitchFamily="34" charset="0"/>
                </a:rPr>
                <a:t>Leadership crisis</a:t>
              </a:r>
            </a:p>
          </p:txBody>
        </p:sp>
        <p:sp>
          <p:nvSpPr>
            <p:cNvPr id="68" name="Rechteck 7175">
              <a:extLst>
                <a:ext uri="{FF2B5EF4-FFF2-40B4-BE49-F238E27FC236}">
                  <a16:creationId xmlns:a16="http://schemas.microsoft.com/office/drawing/2014/main" id="{D79A1B3E-C048-D04A-8E61-CB9ABFA71AFB}"/>
                </a:ext>
              </a:extLst>
            </p:cNvPr>
            <p:cNvSpPr/>
            <p:nvPr/>
          </p:nvSpPr>
          <p:spPr bwMode="gray">
            <a:xfrm>
              <a:off x="4712990" y="4813046"/>
              <a:ext cx="1180131" cy="261482"/>
            </a:xfrm>
            <a:prstGeom prst="rect">
              <a:avLst/>
            </a:prstGeom>
          </p:spPr>
          <p:txBody>
            <a:bodyPr wrap="none">
              <a:spAutoFit/>
            </a:bodyPr>
            <a:lstStyle/>
            <a:p>
              <a:pPr defTabSz="913577">
                <a:spcAft>
                  <a:spcPts val="999"/>
                </a:spcAft>
              </a:pPr>
              <a:r>
                <a:rPr lang="en-US" sz="1099">
                  <a:latin typeface="Arial" panose="020B0604020202020204" pitchFamily="34" charset="0"/>
                  <a:cs typeface="Arial" panose="020B0604020202020204" pitchFamily="34" charset="0"/>
                </a:rPr>
                <a:t>Autonomy crisis</a:t>
              </a:r>
            </a:p>
          </p:txBody>
        </p:sp>
        <p:sp>
          <p:nvSpPr>
            <p:cNvPr id="69" name="Rechteck 7176">
              <a:extLst>
                <a:ext uri="{FF2B5EF4-FFF2-40B4-BE49-F238E27FC236}">
                  <a16:creationId xmlns:a16="http://schemas.microsoft.com/office/drawing/2014/main" id="{F7B3F1F5-7536-AE42-B924-A28BFCEEFB38}"/>
                </a:ext>
              </a:extLst>
            </p:cNvPr>
            <p:cNvSpPr/>
            <p:nvPr/>
          </p:nvSpPr>
          <p:spPr bwMode="gray">
            <a:xfrm>
              <a:off x="6272924" y="4409686"/>
              <a:ext cx="1027845" cy="261482"/>
            </a:xfrm>
            <a:prstGeom prst="rect">
              <a:avLst/>
            </a:prstGeom>
          </p:spPr>
          <p:txBody>
            <a:bodyPr wrap="none">
              <a:spAutoFit/>
            </a:bodyPr>
            <a:lstStyle/>
            <a:p>
              <a:pPr defTabSz="913577">
                <a:spcAft>
                  <a:spcPts val="999"/>
                </a:spcAft>
              </a:pPr>
              <a:r>
                <a:rPr lang="en-US" sz="1099">
                  <a:latin typeface="Arial" panose="020B0604020202020204" pitchFamily="34" charset="0"/>
                  <a:cs typeface="Arial" panose="020B0604020202020204" pitchFamily="34" charset="0"/>
                </a:rPr>
                <a:t>Control crisis</a:t>
              </a:r>
            </a:p>
          </p:txBody>
        </p:sp>
        <p:sp>
          <p:nvSpPr>
            <p:cNvPr id="70" name="Rechteck 7177">
              <a:extLst>
                <a:ext uri="{FF2B5EF4-FFF2-40B4-BE49-F238E27FC236}">
                  <a16:creationId xmlns:a16="http://schemas.microsoft.com/office/drawing/2014/main" id="{349DC815-5849-5642-BA64-CC6C39986637}"/>
                </a:ext>
              </a:extLst>
            </p:cNvPr>
            <p:cNvSpPr/>
            <p:nvPr/>
          </p:nvSpPr>
          <p:spPr bwMode="gray">
            <a:xfrm>
              <a:off x="7850903" y="4243063"/>
              <a:ext cx="1337226" cy="261482"/>
            </a:xfrm>
            <a:prstGeom prst="rect">
              <a:avLst/>
            </a:prstGeom>
          </p:spPr>
          <p:txBody>
            <a:bodyPr wrap="none">
              <a:spAutoFit/>
            </a:bodyPr>
            <a:lstStyle/>
            <a:p>
              <a:pPr defTabSz="913577">
                <a:spcAft>
                  <a:spcPts val="999"/>
                </a:spcAft>
              </a:pPr>
              <a:r>
                <a:rPr lang="en-US" sz="1099">
                  <a:latin typeface="Arial" panose="020B0604020202020204" pitchFamily="34" charset="0"/>
                  <a:cs typeface="Arial" panose="020B0604020202020204" pitchFamily="34" charset="0"/>
                </a:rPr>
                <a:t>Bureaucracy crisis</a:t>
              </a:r>
            </a:p>
          </p:txBody>
        </p:sp>
        <p:sp>
          <p:nvSpPr>
            <p:cNvPr id="71" name="Rechteck 7178">
              <a:extLst>
                <a:ext uri="{FF2B5EF4-FFF2-40B4-BE49-F238E27FC236}">
                  <a16:creationId xmlns:a16="http://schemas.microsoft.com/office/drawing/2014/main" id="{D510A2A1-AC12-814B-80D1-1D63FD0D435B}"/>
                </a:ext>
              </a:extLst>
            </p:cNvPr>
            <p:cNvSpPr/>
            <p:nvPr/>
          </p:nvSpPr>
          <p:spPr bwMode="gray">
            <a:xfrm>
              <a:off x="9413171" y="3743971"/>
              <a:ext cx="1032655" cy="261482"/>
            </a:xfrm>
            <a:prstGeom prst="rect">
              <a:avLst/>
            </a:prstGeom>
          </p:spPr>
          <p:txBody>
            <a:bodyPr wrap="none">
              <a:spAutoFit/>
            </a:bodyPr>
            <a:lstStyle/>
            <a:p>
              <a:pPr defTabSz="913577">
                <a:spcAft>
                  <a:spcPts val="999"/>
                </a:spcAft>
              </a:pPr>
              <a:r>
                <a:rPr lang="en-US" sz="1099">
                  <a:latin typeface="Arial" panose="020B0604020202020204" pitchFamily="34" charset="0"/>
                  <a:cs typeface="Arial" panose="020B0604020202020204" pitchFamily="34" charset="0"/>
                </a:rPr>
                <a:t>Growth crisis</a:t>
              </a:r>
            </a:p>
          </p:txBody>
        </p:sp>
        <p:sp>
          <p:nvSpPr>
            <p:cNvPr id="72" name="Rechteck 78">
              <a:extLst>
                <a:ext uri="{FF2B5EF4-FFF2-40B4-BE49-F238E27FC236}">
                  <a16:creationId xmlns:a16="http://schemas.microsoft.com/office/drawing/2014/main" id="{8478C3C5-ED2C-614F-8D73-3A34C25E3426}"/>
                </a:ext>
              </a:extLst>
            </p:cNvPr>
            <p:cNvSpPr/>
            <p:nvPr/>
          </p:nvSpPr>
          <p:spPr bwMode="gray">
            <a:xfrm rot="16200000">
              <a:off x="-535469" y="4039518"/>
              <a:ext cx="3801842" cy="227547"/>
            </a:xfrm>
            <a:prstGeom prst="rect">
              <a:avLst/>
            </a:prstGeom>
          </p:spPr>
          <p:txBody>
            <a:bodyPr wrap="square">
              <a:spAutoFit/>
            </a:bodyPr>
            <a:lstStyle/>
            <a:p>
              <a:pPr defTabSz="913577">
                <a:lnSpc>
                  <a:spcPct val="80000"/>
                </a:lnSpc>
                <a:spcAft>
                  <a:spcPts val="999"/>
                </a:spcAft>
              </a:pPr>
              <a:r>
                <a:rPr lang="en-US" sz="1099" b="1">
                  <a:solidFill>
                    <a:srgbClr val="747F83"/>
                  </a:solidFill>
                  <a:latin typeface="Arial" panose="020B0604020202020204" pitchFamily="34" charset="0"/>
                  <a:cs typeface="Arial" panose="020B0604020202020204" pitchFamily="34" charset="0"/>
                </a:rPr>
                <a:t>Company Size</a:t>
              </a:r>
            </a:p>
          </p:txBody>
        </p:sp>
        <p:sp>
          <p:nvSpPr>
            <p:cNvPr id="73" name="Ellipse 44">
              <a:extLst>
                <a:ext uri="{FF2B5EF4-FFF2-40B4-BE49-F238E27FC236}">
                  <a16:creationId xmlns:a16="http://schemas.microsoft.com/office/drawing/2014/main" id="{EB48D7B3-D2D8-DD46-B02E-DA34911DE429}"/>
                </a:ext>
              </a:extLst>
            </p:cNvPr>
            <p:cNvSpPr>
              <a:spLocks noChangeAspect="1"/>
            </p:cNvSpPr>
            <p:nvPr/>
          </p:nvSpPr>
          <p:spPr bwMode="gray">
            <a:xfrm rot="10456111">
              <a:off x="9206668" y="3522179"/>
              <a:ext cx="195257" cy="199563"/>
            </a:xfrm>
            <a:prstGeom prst="ellipse">
              <a:avLst/>
            </a:prstGeom>
            <a:solidFill>
              <a:schemeClr val="tx2"/>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a:solidFill>
                  <a:srgbClr val="FFFFFF"/>
                </a:solidFill>
                <a:latin typeface="Arial" panose="020B0604020202020204" pitchFamily="34" charset="0"/>
                <a:cs typeface="Arial" panose="020B0604020202020204" pitchFamily="34" charset="0"/>
              </a:endParaRPr>
            </a:p>
          </p:txBody>
        </p:sp>
        <p:sp>
          <p:nvSpPr>
            <p:cNvPr id="82" name="Ellipse 42">
              <a:extLst>
                <a:ext uri="{FF2B5EF4-FFF2-40B4-BE49-F238E27FC236}">
                  <a16:creationId xmlns:a16="http://schemas.microsoft.com/office/drawing/2014/main" id="{58394DC6-19B2-6F48-82DB-E9D4DDC53003}"/>
                </a:ext>
              </a:extLst>
            </p:cNvPr>
            <p:cNvSpPr>
              <a:spLocks noChangeAspect="1"/>
            </p:cNvSpPr>
            <p:nvPr/>
          </p:nvSpPr>
          <p:spPr bwMode="gray">
            <a:xfrm rot="3815850">
              <a:off x="6081757" y="4173045"/>
              <a:ext cx="195257" cy="199563"/>
            </a:xfrm>
            <a:prstGeom prst="ellipse">
              <a:avLst/>
            </a:prstGeom>
            <a:solidFill>
              <a:schemeClr val="tx2"/>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a:solidFill>
                  <a:srgbClr val="FFFFFF"/>
                </a:solidFill>
                <a:latin typeface="Arial" panose="020B0604020202020204" pitchFamily="34" charset="0"/>
                <a:cs typeface="Arial" panose="020B0604020202020204" pitchFamily="34" charset="0"/>
              </a:endParaRPr>
            </a:p>
          </p:txBody>
        </p:sp>
        <p:cxnSp>
          <p:nvCxnSpPr>
            <p:cNvPr id="83" name="Gerade Verbindung 10">
              <a:extLst>
                <a:ext uri="{FF2B5EF4-FFF2-40B4-BE49-F238E27FC236}">
                  <a16:creationId xmlns:a16="http://schemas.microsoft.com/office/drawing/2014/main" id="{C36CAF58-11AD-3946-9222-4BCF70C0ED65}"/>
                </a:ext>
              </a:extLst>
            </p:cNvPr>
            <p:cNvCxnSpPr>
              <a:cxnSpLocks/>
            </p:cNvCxnSpPr>
            <p:nvPr/>
          </p:nvCxnSpPr>
          <p:spPr bwMode="gray">
            <a:xfrm flipV="1">
              <a:off x="3074429" y="2121302"/>
              <a:ext cx="0" cy="902745"/>
            </a:xfrm>
            <a:prstGeom prst="line">
              <a:avLst/>
            </a:pr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4" name="Gerade Verbindung 10">
              <a:extLst>
                <a:ext uri="{FF2B5EF4-FFF2-40B4-BE49-F238E27FC236}">
                  <a16:creationId xmlns:a16="http://schemas.microsoft.com/office/drawing/2014/main" id="{C5866EB5-BAA6-5B47-BF54-C11DA56916A3}"/>
                </a:ext>
              </a:extLst>
            </p:cNvPr>
            <p:cNvCxnSpPr>
              <a:cxnSpLocks/>
            </p:cNvCxnSpPr>
            <p:nvPr/>
          </p:nvCxnSpPr>
          <p:spPr bwMode="gray">
            <a:xfrm flipV="1">
              <a:off x="4622329" y="2121301"/>
              <a:ext cx="0" cy="902745"/>
            </a:xfrm>
            <a:prstGeom prst="line">
              <a:avLst/>
            </a:pr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5" name="Gerade Verbindung 10">
              <a:extLst>
                <a:ext uri="{FF2B5EF4-FFF2-40B4-BE49-F238E27FC236}">
                  <a16:creationId xmlns:a16="http://schemas.microsoft.com/office/drawing/2014/main" id="{BECD6D73-1B16-D84E-BF9A-6C01C62B235B}"/>
                </a:ext>
              </a:extLst>
            </p:cNvPr>
            <p:cNvCxnSpPr>
              <a:cxnSpLocks/>
            </p:cNvCxnSpPr>
            <p:nvPr/>
          </p:nvCxnSpPr>
          <p:spPr bwMode="gray">
            <a:xfrm flipV="1">
              <a:off x="6186381" y="2126118"/>
              <a:ext cx="0" cy="902745"/>
            </a:xfrm>
            <a:prstGeom prst="line">
              <a:avLst/>
            </a:pr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6" name="Gerade Verbindung 10">
              <a:extLst>
                <a:ext uri="{FF2B5EF4-FFF2-40B4-BE49-F238E27FC236}">
                  <a16:creationId xmlns:a16="http://schemas.microsoft.com/office/drawing/2014/main" id="{DE7C3B50-3DFE-474E-9E2E-0208904677E7}"/>
                </a:ext>
              </a:extLst>
            </p:cNvPr>
            <p:cNvCxnSpPr>
              <a:cxnSpLocks/>
            </p:cNvCxnSpPr>
            <p:nvPr/>
          </p:nvCxnSpPr>
          <p:spPr bwMode="gray">
            <a:xfrm flipV="1">
              <a:off x="7749250" y="2126118"/>
              <a:ext cx="0" cy="902745"/>
            </a:xfrm>
            <a:prstGeom prst="line">
              <a:avLst/>
            </a:pr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8" name="Gerade Verbindung 10">
              <a:extLst>
                <a:ext uri="{FF2B5EF4-FFF2-40B4-BE49-F238E27FC236}">
                  <a16:creationId xmlns:a16="http://schemas.microsoft.com/office/drawing/2014/main" id="{43B4BBAE-36C3-2D48-AE93-22A9D6069C18}"/>
                </a:ext>
              </a:extLst>
            </p:cNvPr>
            <p:cNvCxnSpPr>
              <a:cxnSpLocks/>
            </p:cNvCxnSpPr>
            <p:nvPr/>
          </p:nvCxnSpPr>
          <p:spPr bwMode="gray">
            <a:xfrm flipV="1">
              <a:off x="9312119" y="2114909"/>
              <a:ext cx="0" cy="902745"/>
            </a:xfrm>
            <a:prstGeom prst="line">
              <a:avLst/>
            </a:prstGeom>
            <a:ln w="12700">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4" name="Ellipse 41">
              <a:extLst>
                <a:ext uri="{FF2B5EF4-FFF2-40B4-BE49-F238E27FC236}">
                  <a16:creationId xmlns:a16="http://schemas.microsoft.com/office/drawing/2014/main" id="{D7293986-6DFD-334D-843E-1CB624F9AA40}"/>
                </a:ext>
              </a:extLst>
            </p:cNvPr>
            <p:cNvSpPr>
              <a:spLocks noChangeAspect="1"/>
            </p:cNvSpPr>
            <p:nvPr/>
          </p:nvSpPr>
          <p:spPr bwMode="gray">
            <a:xfrm>
              <a:off x="2966326" y="5079815"/>
              <a:ext cx="195257" cy="199563"/>
            </a:xfrm>
            <a:prstGeom prst="ellipse">
              <a:avLst/>
            </a:prstGeom>
            <a:solidFill>
              <a:schemeClr val="tx2"/>
            </a:solidFill>
            <a:ln>
              <a:no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35967" tIns="35967" rIns="35967" bIns="35967" rtlCol="0" anchor="ctr"/>
            <a:lstStyle/>
            <a:p>
              <a:pPr defTabSz="913577">
                <a:spcAft>
                  <a:spcPts val="999"/>
                </a:spcAft>
              </a:pPr>
              <a:endParaRPr lang="en-US" sz="1798">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11255863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a:extLst>
              <a:ext uri="{FF2B5EF4-FFF2-40B4-BE49-F238E27FC236}">
                <a16:creationId xmlns:a16="http://schemas.microsoft.com/office/drawing/2014/main" id="{22E1DEF2-43C8-3E40-8220-CE79B0E17E02}"/>
              </a:ext>
            </a:extLst>
          </p:cNvPr>
          <p:cNvGraphicFramePr>
            <a:graphicFrameLocks noChangeAspect="1"/>
          </p:cNvGraphicFramePr>
          <p:nvPr>
            <p:custDataLst>
              <p:tags r:id="rId1"/>
            </p:custDataLst>
            <p:extLst>
              <p:ext uri="{D42A27DB-BD31-4B8C-83A1-F6EECF244321}">
                <p14:modId xmlns:p14="http://schemas.microsoft.com/office/powerpoint/2010/main" val="31282069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9" name="Objekt 28" hidden="1">
                        <a:extLst>
                          <a:ext uri="{FF2B5EF4-FFF2-40B4-BE49-F238E27FC236}">
                            <a16:creationId xmlns:a16="http://schemas.microsoft.com/office/drawing/2014/main" id="{22E1DEF2-43C8-3E40-8220-CE79B0E17E0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Inhaltsplatzhalter 9">
            <a:extLst>
              <a:ext uri="{FF2B5EF4-FFF2-40B4-BE49-F238E27FC236}">
                <a16:creationId xmlns:a16="http://schemas.microsoft.com/office/drawing/2014/main" id="{F956E1F6-AF56-704C-B9FA-C73C2C1E8742}"/>
              </a:ext>
            </a:extLst>
          </p:cNvPr>
          <p:cNvSpPr>
            <a:spLocks noGrp="1"/>
          </p:cNvSpPr>
          <p:nvPr>
            <p:ph sz="quarter" idx="10"/>
          </p:nvPr>
        </p:nvSpPr>
        <p:spPr/>
        <p:txBody>
          <a:bodyPr/>
          <a:lstStyle/>
          <a:p>
            <a:endParaRPr lang="en-GB"/>
          </a:p>
        </p:txBody>
      </p:sp>
      <p:grpSp>
        <p:nvGrpSpPr>
          <p:cNvPr id="2" name="Group 1">
            <a:extLst>
              <a:ext uri="{FF2B5EF4-FFF2-40B4-BE49-F238E27FC236}">
                <a16:creationId xmlns:a16="http://schemas.microsoft.com/office/drawing/2014/main" id="{07DEFB15-B9B9-F54C-9B44-0B0716986247}"/>
              </a:ext>
            </a:extLst>
          </p:cNvPr>
          <p:cNvGrpSpPr/>
          <p:nvPr/>
        </p:nvGrpSpPr>
        <p:grpSpPr>
          <a:xfrm>
            <a:off x="531846" y="1764801"/>
            <a:ext cx="8715199" cy="4049123"/>
            <a:chOff x="930195" y="725410"/>
            <a:chExt cx="10322931" cy="5023926"/>
          </a:xfrm>
        </p:grpSpPr>
        <p:grpSp>
          <p:nvGrpSpPr>
            <p:cNvPr id="6" name="Group 5">
              <a:extLst>
                <a:ext uri="{FF2B5EF4-FFF2-40B4-BE49-F238E27FC236}">
                  <a16:creationId xmlns:a16="http://schemas.microsoft.com/office/drawing/2014/main" id="{5999DEDA-3D04-3440-A74F-51B387515B5F}"/>
                </a:ext>
              </a:extLst>
            </p:cNvPr>
            <p:cNvGrpSpPr/>
            <p:nvPr/>
          </p:nvGrpSpPr>
          <p:grpSpPr>
            <a:xfrm>
              <a:off x="930195" y="725410"/>
              <a:ext cx="493218" cy="1843134"/>
              <a:chOff x="1074063" y="1815718"/>
              <a:chExt cx="493218" cy="1843134"/>
            </a:xfrm>
          </p:grpSpPr>
          <p:sp>
            <p:nvSpPr>
              <p:cNvPr id="42" name="Geschweifte Klammer rechts 53">
                <a:extLst>
                  <a:ext uri="{FF2B5EF4-FFF2-40B4-BE49-F238E27FC236}">
                    <a16:creationId xmlns:a16="http://schemas.microsoft.com/office/drawing/2014/main" id="{26275B32-B33B-A443-A346-787EAC043FA8}"/>
                  </a:ext>
                </a:extLst>
              </p:cNvPr>
              <p:cNvSpPr/>
              <p:nvPr/>
            </p:nvSpPr>
            <p:spPr bwMode="gray">
              <a:xfrm rot="10800000">
                <a:off x="1412613" y="2037013"/>
                <a:ext cx="154668" cy="1352723"/>
              </a:xfrm>
              <a:prstGeom prst="rightBrac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b="1">
                  <a:solidFill>
                    <a:schemeClr val="tx2"/>
                  </a:solidFill>
                  <a:latin typeface="Century Gothic" panose="020B0502020202020204" pitchFamily="34" charset="0"/>
                </a:endParaRPr>
              </a:p>
            </p:txBody>
          </p:sp>
          <p:sp>
            <p:nvSpPr>
              <p:cNvPr id="43" name="Textfeld 54">
                <a:extLst>
                  <a:ext uri="{FF2B5EF4-FFF2-40B4-BE49-F238E27FC236}">
                    <a16:creationId xmlns:a16="http://schemas.microsoft.com/office/drawing/2014/main" id="{44D63D44-9F8B-C244-A22C-A95AF2269118}"/>
                  </a:ext>
                </a:extLst>
              </p:cNvPr>
              <p:cNvSpPr txBox="1"/>
              <p:nvPr/>
            </p:nvSpPr>
            <p:spPr bwMode="gray">
              <a:xfrm rot="10800000">
                <a:off x="1074063" y="1815718"/>
                <a:ext cx="429264" cy="1843134"/>
              </a:xfrm>
              <a:prstGeom prst="rect">
                <a:avLst/>
              </a:prstGeom>
              <a:noFill/>
              <a:effectLst/>
            </p:spPr>
            <p:txBody>
              <a:bodyPr vert="vert" wrap="square" lIns="0" tIns="71934" rIns="0" bIns="71934" rtlCol="0" anchor="ctr" anchorCtr="0">
                <a:noAutofit/>
              </a:bodyPr>
              <a:lstStyle/>
              <a:p>
                <a:pPr defTabSz="913577">
                  <a:lnSpc>
                    <a:spcPct val="80000"/>
                  </a:lnSpc>
                </a:pPr>
                <a:r>
                  <a:rPr lang="en-US" sz="1099" b="1">
                    <a:solidFill>
                      <a:schemeClr val="tx2"/>
                    </a:solidFill>
                    <a:latin typeface="Century Gothic" panose="020B0502020202020204" pitchFamily="34" charset="0"/>
                  </a:rPr>
                  <a:t>Information flow</a:t>
                </a:r>
              </a:p>
            </p:txBody>
          </p:sp>
        </p:grpSp>
        <p:grpSp>
          <p:nvGrpSpPr>
            <p:cNvPr id="7" name="Group 6">
              <a:extLst>
                <a:ext uri="{FF2B5EF4-FFF2-40B4-BE49-F238E27FC236}">
                  <a16:creationId xmlns:a16="http://schemas.microsoft.com/office/drawing/2014/main" id="{E67F4B12-6524-614B-B95F-C8F2939ECF18}"/>
                </a:ext>
              </a:extLst>
            </p:cNvPr>
            <p:cNvGrpSpPr/>
            <p:nvPr/>
          </p:nvGrpSpPr>
          <p:grpSpPr>
            <a:xfrm>
              <a:off x="930195" y="2137415"/>
              <a:ext cx="493218" cy="1843134"/>
              <a:chOff x="1074063" y="3135123"/>
              <a:chExt cx="493218" cy="1843134"/>
            </a:xfrm>
          </p:grpSpPr>
          <p:sp>
            <p:nvSpPr>
              <p:cNvPr id="52" name="Geschweifte Klammer rechts 53">
                <a:extLst>
                  <a:ext uri="{FF2B5EF4-FFF2-40B4-BE49-F238E27FC236}">
                    <a16:creationId xmlns:a16="http://schemas.microsoft.com/office/drawing/2014/main" id="{5F7CE6E2-02EA-1E46-BD7D-0EE968B0A5B2}"/>
                  </a:ext>
                </a:extLst>
              </p:cNvPr>
              <p:cNvSpPr/>
              <p:nvPr/>
            </p:nvSpPr>
            <p:spPr bwMode="gray">
              <a:xfrm rot="10800000">
                <a:off x="1412613" y="3356418"/>
                <a:ext cx="154668" cy="1352723"/>
              </a:xfrm>
              <a:prstGeom prst="rightBrac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b="1">
                  <a:solidFill>
                    <a:schemeClr val="tx2"/>
                  </a:solidFill>
                  <a:latin typeface="Century Gothic" panose="020B0502020202020204" pitchFamily="34" charset="0"/>
                </a:endParaRPr>
              </a:p>
            </p:txBody>
          </p:sp>
          <p:sp>
            <p:nvSpPr>
              <p:cNvPr id="53" name="Textfeld 54">
                <a:extLst>
                  <a:ext uri="{FF2B5EF4-FFF2-40B4-BE49-F238E27FC236}">
                    <a16:creationId xmlns:a16="http://schemas.microsoft.com/office/drawing/2014/main" id="{DDD75A5C-7395-3748-9E83-CD6212EC2074}"/>
                  </a:ext>
                </a:extLst>
              </p:cNvPr>
              <p:cNvSpPr txBox="1"/>
              <p:nvPr/>
            </p:nvSpPr>
            <p:spPr bwMode="gray">
              <a:xfrm rot="10800000">
                <a:off x="1074063" y="3135123"/>
                <a:ext cx="429264" cy="1843134"/>
              </a:xfrm>
              <a:prstGeom prst="rect">
                <a:avLst/>
              </a:prstGeom>
              <a:noFill/>
              <a:effectLst/>
            </p:spPr>
            <p:txBody>
              <a:bodyPr vert="vert" wrap="square" lIns="0" tIns="71934" rIns="0" bIns="71934" rtlCol="0" anchor="ctr" anchorCtr="0">
                <a:noAutofit/>
              </a:bodyPr>
              <a:lstStyle/>
              <a:p>
                <a:pPr defTabSz="913577">
                  <a:lnSpc>
                    <a:spcPct val="80000"/>
                  </a:lnSpc>
                </a:pPr>
                <a:r>
                  <a:rPr lang="en-US" sz="1099" b="1">
                    <a:solidFill>
                      <a:schemeClr val="tx2"/>
                    </a:solidFill>
                    <a:latin typeface="Century Gothic" panose="020B0502020202020204" pitchFamily="34" charset="0"/>
                  </a:rPr>
                  <a:t>Material Flow</a:t>
                </a:r>
              </a:p>
            </p:txBody>
          </p:sp>
        </p:grpSp>
        <p:grpSp>
          <p:nvGrpSpPr>
            <p:cNvPr id="8" name="Group 7">
              <a:extLst>
                <a:ext uri="{FF2B5EF4-FFF2-40B4-BE49-F238E27FC236}">
                  <a16:creationId xmlns:a16="http://schemas.microsoft.com/office/drawing/2014/main" id="{48EEC13E-D6E1-8149-9BE6-56010453C288}"/>
                </a:ext>
              </a:extLst>
            </p:cNvPr>
            <p:cNvGrpSpPr/>
            <p:nvPr/>
          </p:nvGrpSpPr>
          <p:grpSpPr>
            <a:xfrm>
              <a:off x="930195" y="3609919"/>
              <a:ext cx="493218" cy="1180933"/>
              <a:chOff x="1074063" y="4607626"/>
              <a:chExt cx="493218" cy="1180933"/>
            </a:xfrm>
          </p:grpSpPr>
          <p:sp>
            <p:nvSpPr>
              <p:cNvPr id="54" name="Geschweifte Klammer rechts 53">
                <a:extLst>
                  <a:ext uri="{FF2B5EF4-FFF2-40B4-BE49-F238E27FC236}">
                    <a16:creationId xmlns:a16="http://schemas.microsoft.com/office/drawing/2014/main" id="{55D6E2FE-7E72-434B-B10D-D4578FBC6EE8}"/>
                  </a:ext>
                </a:extLst>
              </p:cNvPr>
              <p:cNvSpPr/>
              <p:nvPr/>
            </p:nvSpPr>
            <p:spPr bwMode="gray">
              <a:xfrm rot="10800000">
                <a:off x="1412613" y="4767393"/>
                <a:ext cx="154668" cy="866717"/>
              </a:xfrm>
              <a:prstGeom prst="rightBrac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b="1">
                  <a:solidFill>
                    <a:schemeClr val="tx2"/>
                  </a:solidFill>
                  <a:latin typeface="Century Gothic" panose="020B0502020202020204" pitchFamily="34" charset="0"/>
                </a:endParaRPr>
              </a:p>
            </p:txBody>
          </p:sp>
          <p:sp>
            <p:nvSpPr>
              <p:cNvPr id="56" name="Textfeld 54">
                <a:extLst>
                  <a:ext uri="{FF2B5EF4-FFF2-40B4-BE49-F238E27FC236}">
                    <a16:creationId xmlns:a16="http://schemas.microsoft.com/office/drawing/2014/main" id="{0759DCD5-D7D3-BD47-8E6D-5540E71B3B4D}"/>
                  </a:ext>
                </a:extLst>
              </p:cNvPr>
              <p:cNvSpPr txBox="1"/>
              <p:nvPr/>
            </p:nvSpPr>
            <p:spPr bwMode="gray">
              <a:xfrm rot="10800000">
                <a:off x="1074063" y="4607626"/>
                <a:ext cx="429264" cy="1180933"/>
              </a:xfrm>
              <a:prstGeom prst="rect">
                <a:avLst/>
              </a:prstGeom>
              <a:noFill/>
              <a:effectLst/>
            </p:spPr>
            <p:txBody>
              <a:bodyPr vert="vert" wrap="square" lIns="0" tIns="71934" rIns="0" bIns="71934" rtlCol="0" anchor="ctr" anchorCtr="0">
                <a:noAutofit/>
              </a:bodyPr>
              <a:lstStyle/>
              <a:p>
                <a:pPr defTabSz="913577">
                  <a:lnSpc>
                    <a:spcPct val="80000"/>
                  </a:lnSpc>
                </a:pPr>
                <a:r>
                  <a:rPr lang="en-US" sz="1099" b="1">
                    <a:solidFill>
                      <a:schemeClr val="tx2"/>
                    </a:solidFill>
                    <a:latin typeface="Century Gothic" panose="020B0502020202020204" pitchFamily="34" charset="0"/>
                  </a:rPr>
                  <a:t>Lead Time</a:t>
                </a:r>
              </a:p>
            </p:txBody>
          </p:sp>
        </p:grpSp>
        <p:grpSp>
          <p:nvGrpSpPr>
            <p:cNvPr id="9" name="Group 8">
              <a:extLst>
                <a:ext uri="{FF2B5EF4-FFF2-40B4-BE49-F238E27FC236}">
                  <a16:creationId xmlns:a16="http://schemas.microsoft.com/office/drawing/2014/main" id="{A167D4DB-7CB8-064A-B7FA-A13D30241B5A}"/>
                </a:ext>
              </a:extLst>
            </p:cNvPr>
            <p:cNvGrpSpPr/>
            <p:nvPr/>
          </p:nvGrpSpPr>
          <p:grpSpPr>
            <a:xfrm>
              <a:off x="930196" y="4568403"/>
              <a:ext cx="493218" cy="1180933"/>
              <a:chOff x="1074064" y="5566110"/>
              <a:chExt cx="493218" cy="1180933"/>
            </a:xfrm>
          </p:grpSpPr>
          <p:sp>
            <p:nvSpPr>
              <p:cNvPr id="57" name="Geschweifte Klammer rechts 53">
                <a:extLst>
                  <a:ext uri="{FF2B5EF4-FFF2-40B4-BE49-F238E27FC236}">
                    <a16:creationId xmlns:a16="http://schemas.microsoft.com/office/drawing/2014/main" id="{4BECD5D7-2FAF-7A45-B88D-EB99D1523148}"/>
                  </a:ext>
                </a:extLst>
              </p:cNvPr>
              <p:cNvSpPr/>
              <p:nvPr/>
            </p:nvSpPr>
            <p:spPr bwMode="gray">
              <a:xfrm rot="10800000">
                <a:off x="1412614" y="5707194"/>
                <a:ext cx="154668" cy="866717"/>
              </a:xfrm>
              <a:prstGeom prst="rightBrac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913577"/>
                <a:endParaRPr lang="en-US" sz="1798" b="1">
                  <a:solidFill>
                    <a:schemeClr val="tx2"/>
                  </a:solidFill>
                  <a:latin typeface="Century Gothic" panose="020B0502020202020204" pitchFamily="34" charset="0"/>
                </a:endParaRPr>
              </a:p>
            </p:txBody>
          </p:sp>
          <p:sp>
            <p:nvSpPr>
              <p:cNvPr id="58" name="Textfeld 54">
                <a:extLst>
                  <a:ext uri="{FF2B5EF4-FFF2-40B4-BE49-F238E27FC236}">
                    <a16:creationId xmlns:a16="http://schemas.microsoft.com/office/drawing/2014/main" id="{D06892CB-7CA9-A244-AE98-6FB11F66B77A}"/>
                  </a:ext>
                </a:extLst>
              </p:cNvPr>
              <p:cNvSpPr txBox="1"/>
              <p:nvPr/>
            </p:nvSpPr>
            <p:spPr bwMode="gray">
              <a:xfrm rot="10800000">
                <a:off x="1074064" y="5566110"/>
                <a:ext cx="429264" cy="1180933"/>
              </a:xfrm>
              <a:prstGeom prst="rect">
                <a:avLst/>
              </a:prstGeom>
              <a:noFill/>
              <a:effectLst/>
            </p:spPr>
            <p:txBody>
              <a:bodyPr vert="vert" wrap="square" lIns="0" tIns="71934" rIns="0" bIns="71934" rtlCol="0" anchor="ctr" anchorCtr="0">
                <a:noAutofit/>
              </a:bodyPr>
              <a:lstStyle/>
              <a:p>
                <a:pPr defTabSz="913577">
                  <a:lnSpc>
                    <a:spcPct val="80000"/>
                  </a:lnSpc>
                </a:pPr>
                <a:r>
                  <a:rPr lang="en-US" sz="1099" b="1">
                    <a:solidFill>
                      <a:schemeClr val="tx2"/>
                    </a:solidFill>
                    <a:latin typeface="Century Gothic" panose="020B0502020202020204" pitchFamily="34" charset="0"/>
                  </a:rPr>
                  <a:t>Process Time</a:t>
                </a:r>
              </a:p>
            </p:txBody>
          </p:sp>
        </p:grpSp>
        <p:grpSp>
          <p:nvGrpSpPr>
            <p:cNvPr id="16" name="Group 15">
              <a:extLst>
                <a:ext uri="{FF2B5EF4-FFF2-40B4-BE49-F238E27FC236}">
                  <a16:creationId xmlns:a16="http://schemas.microsoft.com/office/drawing/2014/main" id="{3252599F-BBC7-024B-A2C2-2364499525FE}"/>
                </a:ext>
              </a:extLst>
            </p:cNvPr>
            <p:cNvGrpSpPr/>
            <p:nvPr/>
          </p:nvGrpSpPr>
          <p:grpSpPr>
            <a:xfrm>
              <a:off x="1698009" y="3777387"/>
              <a:ext cx="9555117" cy="1806518"/>
              <a:chOff x="1691658" y="4751945"/>
              <a:chExt cx="9555117" cy="1806518"/>
            </a:xfrm>
          </p:grpSpPr>
          <p:sp>
            <p:nvSpPr>
              <p:cNvPr id="11" name="Rounded Rectangle 10">
                <a:extLst>
                  <a:ext uri="{FF2B5EF4-FFF2-40B4-BE49-F238E27FC236}">
                    <a16:creationId xmlns:a16="http://schemas.microsoft.com/office/drawing/2014/main" id="{602C1A95-27D5-524B-BE81-E020FA97A03A}"/>
                  </a:ext>
                </a:extLst>
              </p:cNvPr>
              <p:cNvSpPr/>
              <p:nvPr/>
            </p:nvSpPr>
            <p:spPr>
              <a:xfrm>
                <a:off x="1691658" y="4751945"/>
                <a:ext cx="9555117" cy="866717"/>
              </a:xfrm>
              <a:prstGeom prst="roundRect">
                <a:avLst>
                  <a:gd name="adj" fmla="val 8132"/>
                </a:avLst>
              </a:prstGeom>
              <a:solidFill>
                <a:srgbClr val="F2F2F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59" name="Rounded Rectangle 58">
                <a:extLst>
                  <a:ext uri="{FF2B5EF4-FFF2-40B4-BE49-F238E27FC236}">
                    <a16:creationId xmlns:a16="http://schemas.microsoft.com/office/drawing/2014/main" id="{03AAA327-7DD1-9049-A4D0-A3B812966199}"/>
                  </a:ext>
                </a:extLst>
              </p:cNvPr>
              <p:cNvSpPr/>
              <p:nvPr/>
            </p:nvSpPr>
            <p:spPr>
              <a:xfrm>
                <a:off x="1691658" y="5691746"/>
                <a:ext cx="9555117" cy="866717"/>
              </a:xfrm>
              <a:prstGeom prst="roundRect">
                <a:avLst>
                  <a:gd name="adj" fmla="val 8132"/>
                </a:avLst>
              </a:prstGeom>
              <a:solidFill>
                <a:srgbClr val="F2F2F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grpSp>
        <p:grpSp>
          <p:nvGrpSpPr>
            <p:cNvPr id="17" name="Group 16">
              <a:extLst>
                <a:ext uri="{FF2B5EF4-FFF2-40B4-BE49-F238E27FC236}">
                  <a16:creationId xmlns:a16="http://schemas.microsoft.com/office/drawing/2014/main" id="{1AEAB8D2-065C-624F-AEA1-D3BC86E1D9C2}"/>
                </a:ext>
              </a:extLst>
            </p:cNvPr>
            <p:cNvGrpSpPr/>
            <p:nvPr/>
          </p:nvGrpSpPr>
          <p:grpSpPr>
            <a:xfrm>
              <a:off x="1698007" y="4042285"/>
              <a:ext cx="9519996" cy="1022975"/>
              <a:chOff x="1691657" y="5016842"/>
              <a:chExt cx="9519996" cy="1022975"/>
            </a:xfrm>
          </p:grpSpPr>
          <p:sp>
            <p:nvSpPr>
              <p:cNvPr id="60" name="TextBox 59">
                <a:extLst>
                  <a:ext uri="{FF2B5EF4-FFF2-40B4-BE49-F238E27FC236}">
                    <a16:creationId xmlns:a16="http://schemas.microsoft.com/office/drawing/2014/main" id="{70ED0E06-B071-114A-94BB-3DD5A925DBB9}"/>
                  </a:ext>
                </a:extLst>
              </p:cNvPr>
              <p:cNvSpPr txBox="1"/>
              <p:nvPr/>
            </p:nvSpPr>
            <p:spPr>
              <a:xfrm>
                <a:off x="1691657" y="5016842"/>
                <a:ext cx="1050110" cy="3769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latin typeface="Century Gothic" panose="020B0502020202020204" pitchFamily="34" charset="0"/>
                    <a:sym typeface="Helvetica Light"/>
                  </a:rPr>
                  <a:t>Order Received</a:t>
                </a:r>
              </a:p>
            </p:txBody>
          </p:sp>
          <p:sp>
            <p:nvSpPr>
              <p:cNvPr id="61" name="TextBox 60">
                <a:extLst>
                  <a:ext uri="{FF2B5EF4-FFF2-40B4-BE49-F238E27FC236}">
                    <a16:creationId xmlns:a16="http://schemas.microsoft.com/office/drawing/2014/main" id="{AB0F8C70-BE34-0F45-BB02-664B1DE226C7}"/>
                  </a:ext>
                </a:extLst>
              </p:cNvPr>
              <p:cNvSpPr txBox="1"/>
              <p:nvPr/>
            </p:nvSpPr>
            <p:spPr>
              <a:xfrm>
                <a:off x="10161543" y="5016842"/>
                <a:ext cx="1050110" cy="3769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latin typeface="Century Gothic" panose="020B0502020202020204" pitchFamily="34" charset="0"/>
                    <a:sym typeface="Helvetica Light"/>
                  </a:rPr>
                  <a:t>Order Delivered</a:t>
                </a:r>
              </a:p>
            </p:txBody>
          </p:sp>
          <p:grpSp>
            <p:nvGrpSpPr>
              <p:cNvPr id="22" name="Group 21">
                <a:extLst>
                  <a:ext uri="{FF2B5EF4-FFF2-40B4-BE49-F238E27FC236}">
                    <a16:creationId xmlns:a16="http://schemas.microsoft.com/office/drawing/2014/main" id="{59EBA5F4-D68B-8B48-ABE2-3291E4DDFCD3}"/>
                  </a:ext>
                </a:extLst>
              </p:cNvPr>
              <p:cNvGrpSpPr/>
              <p:nvPr/>
            </p:nvGrpSpPr>
            <p:grpSpPr>
              <a:xfrm>
                <a:off x="2946659" y="5293902"/>
                <a:ext cx="6963852" cy="745915"/>
                <a:chOff x="2946659" y="5293902"/>
                <a:chExt cx="6963852" cy="745915"/>
              </a:xfrm>
            </p:grpSpPr>
            <p:cxnSp>
              <p:nvCxnSpPr>
                <p:cNvPr id="14" name="Straight Connector 13">
                  <a:extLst>
                    <a:ext uri="{FF2B5EF4-FFF2-40B4-BE49-F238E27FC236}">
                      <a16:creationId xmlns:a16="http://schemas.microsoft.com/office/drawing/2014/main" id="{A85D24A5-62ED-164D-8968-CA2DE0785A73}"/>
                    </a:ext>
                  </a:extLst>
                </p:cNvPr>
                <p:cNvCxnSpPr>
                  <a:cxnSpLocks/>
                </p:cNvCxnSpPr>
                <p:nvPr/>
              </p:nvCxnSpPr>
              <p:spPr>
                <a:xfrm>
                  <a:off x="2946659" y="5301154"/>
                  <a:ext cx="1150954" cy="7143"/>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2" name="Straight Connector 61">
                  <a:extLst>
                    <a:ext uri="{FF2B5EF4-FFF2-40B4-BE49-F238E27FC236}">
                      <a16:creationId xmlns:a16="http://schemas.microsoft.com/office/drawing/2014/main" id="{E9388846-4FD1-D646-BD88-E340A98A32AA}"/>
                    </a:ext>
                  </a:extLst>
                </p:cNvPr>
                <p:cNvCxnSpPr/>
                <p:nvPr/>
              </p:nvCxnSpPr>
              <p:spPr>
                <a:xfrm>
                  <a:off x="4389737" y="5301154"/>
                  <a:ext cx="1051560"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3" name="Straight Connector 62">
                  <a:extLst>
                    <a:ext uri="{FF2B5EF4-FFF2-40B4-BE49-F238E27FC236}">
                      <a16:creationId xmlns:a16="http://schemas.microsoft.com/office/drawing/2014/main" id="{DF840607-7EF4-A049-86BC-D6295B6E4F29}"/>
                    </a:ext>
                  </a:extLst>
                </p:cNvPr>
                <p:cNvCxnSpPr>
                  <a:cxnSpLocks/>
                </p:cNvCxnSpPr>
                <p:nvPr/>
              </p:nvCxnSpPr>
              <p:spPr>
                <a:xfrm>
                  <a:off x="5575827" y="5301154"/>
                  <a:ext cx="493776"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5" name="Straight Connector 64">
                  <a:extLst>
                    <a:ext uri="{FF2B5EF4-FFF2-40B4-BE49-F238E27FC236}">
                      <a16:creationId xmlns:a16="http://schemas.microsoft.com/office/drawing/2014/main" id="{7BDDD9DA-464E-874E-A0A9-842839C45278}"/>
                    </a:ext>
                  </a:extLst>
                </p:cNvPr>
                <p:cNvCxnSpPr>
                  <a:cxnSpLocks/>
                </p:cNvCxnSpPr>
                <p:nvPr/>
              </p:nvCxnSpPr>
              <p:spPr>
                <a:xfrm>
                  <a:off x="6176712" y="5301154"/>
                  <a:ext cx="685800"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6" name="Straight Connector 65">
                  <a:extLst>
                    <a:ext uri="{FF2B5EF4-FFF2-40B4-BE49-F238E27FC236}">
                      <a16:creationId xmlns:a16="http://schemas.microsoft.com/office/drawing/2014/main" id="{9B7DF2F7-A5BA-454D-8117-C4C362E488E6}"/>
                    </a:ext>
                  </a:extLst>
                </p:cNvPr>
                <p:cNvCxnSpPr>
                  <a:cxnSpLocks/>
                </p:cNvCxnSpPr>
                <p:nvPr/>
              </p:nvCxnSpPr>
              <p:spPr>
                <a:xfrm>
                  <a:off x="6954754" y="5301154"/>
                  <a:ext cx="777240"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7" name="Straight Connector 66">
                  <a:extLst>
                    <a:ext uri="{FF2B5EF4-FFF2-40B4-BE49-F238E27FC236}">
                      <a16:creationId xmlns:a16="http://schemas.microsoft.com/office/drawing/2014/main" id="{3EB3D777-BCCE-3C4A-8965-AD88388040BD}"/>
                    </a:ext>
                  </a:extLst>
                </p:cNvPr>
                <p:cNvCxnSpPr>
                  <a:cxnSpLocks/>
                </p:cNvCxnSpPr>
                <p:nvPr/>
              </p:nvCxnSpPr>
              <p:spPr>
                <a:xfrm>
                  <a:off x="7868007" y="5301154"/>
                  <a:ext cx="685800"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8" name="Straight Connector 67">
                  <a:extLst>
                    <a:ext uri="{FF2B5EF4-FFF2-40B4-BE49-F238E27FC236}">
                      <a16:creationId xmlns:a16="http://schemas.microsoft.com/office/drawing/2014/main" id="{48E7E2C9-C394-EA4E-BF53-CC74A2DC4259}"/>
                    </a:ext>
                  </a:extLst>
                </p:cNvPr>
                <p:cNvCxnSpPr>
                  <a:cxnSpLocks/>
                </p:cNvCxnSpPr>
                <p:nvPr/>
              </p:nvCxnSpPr>
              <p:spPr>
                <a:xfrm>
                  <a:off x="8776655" y="5305074"/>
                  <a:ext cx="1133856"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9" name="Straight Connector 68">
                  <a:extLst>
                    <a:ext uri="{FF2B5EF4-FFF2-40B4-BE49-F238E27FC236}">
                      <a16:creationId xmlns:a16="http://schemas.microsoft.com/office/drawing/2014/main" id="{AF81184E-FC6E-FB4D-BEFA-997799B78605}"/>
                    </a:ext>
                  </a:extLst>
                </p:cNvPr>
                <p:cNvCxnSpPr>
                  <a:cxnSpLocks/>
                </p:cNvCxnSpPr>
                <p:nvPr/>
              </p:nvCxnSpPr>
              <p:spPr>
                <a:xfrm>
                  <a:off x="4071439" y="5295521"/>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1" name="Straight Connector 70">
                  <a:extLst>
                    <a:ext uri="{FF2B5EF4-FFF2-40B4-BE49-F238E27FC236}">
                      <a16:creationId xmlns:a16="http://schemas.microsoft.com/office/drawing/2014/main" id="{462218C7-B339-A54E-9300-DB6212ACA81A}"/>
                    </a:ext>
                  </a:extLst>
                </p:cNvPr>
                <p:cNvCxnSpPr>
                  <a:cxnSpLocks/>
                </p:cNvCxnSpPr>
                <p:nvPr/>
              </p:nvCxnSpPr>
              <p:spPr>
                <a:xfrm>
                  <a:off x="4415127" y="5295521"/>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2" name="Straight Connector 71">
                  <a:extLst>
                    <a:ext uri="{FF2B5EF4-FFF2-40B4-BE49-F238E27FC236}">
                      <a16:creationId xmlns:a16="http://schemas.microsoft.com/office/drawing/2014/main" id="{52B20112-CA7C-C142-887F-9516FA6852BA}"/>
                    </a:ext>
                  </a:extLst>
                </p:cNvPr>
                <p:cNvCxnSpPr>
                  <a:cxnSpLocks/>
                </p:cNvCxnSpPr>
                <p:nvPr/>
              </p:nvCxnSpPr>
              <p:spPr>
                <a:xfrm>
                  <a:off x="5410321" y="5297270"/>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3" name="Straight Connector 72">
                  <a:extLst>
                    <a:ext uri="{FF2B5EF4-FFF2-40B4-BE49-F238E27FC236}">
                      <a16:creationId xmlns:a16="http://schemas.microsoft.com/office/drawing/2014/main" id="{00861389-51E3-B648-91D9-543660FDBFF2}"/>
                    </a:ext>
                  </a:extLst>
                </p:cNvPr>
                <p:cNvCxnSpPr>
                  <a:cxnSpLocks/>
                </p:cNvCxnSpPr>
                <p:nvPr/>
              </p:nvCxnSpPr>
              <p:spPr>
                <a:xfrm>
                  <a:off x="5601393" y="5297270"/>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4" name="Straight Connector 73">
                  <a:extLst>
                    <a:ext uri="{FF2B5EF4-FFF2-40B4-BE49-F238E27FC236}">
                      <a16:creationId xmlns:a16="http://schemas.microsoft.com/office/drawing/2014/main" id="{B4A95167-4C07-684B-AFDD-9AA9BAAB48F6}"/>
                    </a:ext>
                  </a:extLst>
                </p:cNvPr>
                <p:cNvCxnSpPr>
                  <a:cxnSpLocks/>
                </p:cNvCxnSpPr>
                <p:nvPr/>
              </p:nvCxnSpPr>
              <p:spPr>
                <a:xfrm>
                  <a:off x="6201225" y="5299957"/>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E194ABF6-0410-D341-A683-E35BAE490F75}"/>
                    </a:ext>
                  </a:extLst>
                </p:cNvPr>
                <p:cNvCxnSpPr>
                  <a:cxnSpLocks/>
                </p:cNvCxnSpPr>
                <p:nvPr/>
              </p:nvCxnSpPr>
              <p:spPr>
                <a:xfrm>
                  <a:off x="6832801" y="5299957"/>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6" name="Straight Connector 75">
                  <a:extLst>
                    <a:ext uri="{FF2B5EF4-FFF2-40B4-BE49-F238E27FC236}">
                      <a16:creationId xmlns:a16="http://schemas.microsoft.com/office/drawing/2014/main" id="{5E366334-AA54-1B48-B3CE-B329D43C61A9}"/>
                    </a:ext>
                  </a:extLst>
                </p:cNvPr>
                <p:cNvCxnSpPr>
                  <a:cxnSpLocks/>
                </p:cNvCxnSpPr>
                <p:nvPr/>
              </p:nvCxnSpPr>
              <p:spPr>
                <a:xfrm>
                  <a:off x="6986441" y="5293902"/>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79" name="Straight Connector 78">
                  <a:extLst>
                    <a:ext uri="{FF2B5EF4-FFF2-40B4-BE49-F238E27FC236}">
                      <a16:creationId xmlns:a16="http://schemas.microsoft.com/office/drawing/2014/main" id="{2CC463E7-F5CE-4E45-88BD-F352F63902DB}"/>
                    </a:ext>
                  </a:extLst>
                </p:cNvPr>
                <p:cNvCxnSpPr>
                  <a:cxnSpLocks/>
                </p:cNvCxnSpPr>
                <p:nvPr/>
              </p:nvCxnSpPr>
              <p:spPr>
                <a:xfrm>
                  <a:off x="7706899" y="5293902"/>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0" name="Straight Connector 79">
                  <a:extLst>
                    <a:ext uri="{FF2B5EF4-FFF2-40B4-BE49-F238E27FC236}">
                      <a16:creationId xmlns:a16="http://schemas.microsoft.com/office/drawing/2014/main" id="{74EDB3BA-B6C8-504F-9368-1EB9698F533F}"/>
                    </a:ext>
                  </a:extLst>
                </p:cNvPr>
                <p:cNvCxnSpPr>
                  <a:cxnSpLocks/>
                </p:cNvCxnSpPr>
                <p:nvPr/>
              </p:nvCxnSpPr>
              <p:spPr>
                <a:xfrm>
                  <a:off x="6039490" y="5297270"/>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1" name="Straight Connector 80">
                  <a:extLst>
                    <a:ext uri="{FF2B5EF4-FFF2-40B4-BE49-F238E27FC236}">
                      <a16:creationId xmlns:a16="http://schemas.microsoft.com/office/drawing/2014/main" id="{6B2AB056-4EA5-6845-A94C-462CB12F773B}"/>
                    </a:ext>
                  </a:extLst>
                </p:cNvPr>
                <p:cNvCxnSpPr>
                  <a:cxnSpLocks/>
                </p:cNvCxnSpPr>
                <p:nvPr/>
              </p:nvCxnSpPr>
              <p:spPr>
                <a:xfrm>
                  <a:off x="7892895" y="5308297"/>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2" name="Straight Connector 81">
                  <a:extLst>
                    <a:ext uri="{FF2B5EF4-FFF2-40B4-BE49-F238E27FC236}">
                      <a16:creationId xmlns:a16="http://schemas.microsoft.com/office/drawing/2014/main" id="{E08B0BA4-BB1F-DB47-A098-53761A725D74}"/>
                    </a:ext>
                  </a:extLst>
                </p:cNvPr>
                <p:cNvCxnSpPr>
                  <a:cxnSpLocks/>
                </p:cNvCxnSpPr>
                <p:nvPr/>
              </p:nvCxnSpPr>
              <p:spPr>
                <a:xfrm>
                  <a:off x="8521837" y="5295521"/>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49956907-9644-3C46-88DA-3D5E79B1B27B}"/>
                    </a:ext>
                  </a:extLst>
                </p:cNvPr>
                <p:cNvCxnSpPr>
                  <a:cxnSpLocks/>
                </p:cNvCxnSpPr>
                <p:nvPr/>
              </p:nvCxnSpPr>
              <p:spPr>
                <a:xfrm>
                  <a:off x="8805779" y="5295521"/>
                  <a:ext cx="0" cy="73152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4" name="Straight Connector 83">
                  <a:extLst>
                    <a:ext uri="{FF2B5EF4-FFF2-40B4-BE49-F238E27FC236}">
                      <a16:creationId xmlns:a16="http://schemas.microsoft.com/office/drawing/2014/main" id="{9033C6CC-4969-B647-9DFC-E5220238519E}"/>
                    </a:ext>
                  </a:extLst>
                </p:cNvPr>
                <p:cNvCxnSpPr>
                  <a:cxnSpLocks/>
                </p:cNvCxnSpPr>
                <p:nvPr/>
              </p:nvCxnSpPr>
              <p:spPr>
                <a:xfrm>
                  <a:off x="4043010" y="6026279"/>
                  <a:ext cx="402336"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5" name="Straight Connector 84">
                  <a:extLst>
                    <a:ext uri="{FF2B5EF4-FFF2-40B4-BE49-F238E27FC236}">
                      <a16:creationId xmlns:a16="http://schemas.microsoft.com/office/drawing/2014/main" id="{0793082F-E247-C24E-AC79-4246F74A4EF5}"/>
                    </a:ext>
                  </a:extLst>
                </p:cNvPr>
                <p:cNvCxnSpPr>
                  <a:cxnSpLocks/>
                </p:cNvCxnSpPr>
                <p:nvPr/>
              </p:nvCxnSpPr>
              <p:spPr>
                <a:xfrm>
                  <a:off x="5383666" y="6034845"/>
                  <a:ext cx="246888"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6" name="Straight Connector 85">
                  <a:extLst>
                    <a:ext uri="{FF2B5EF4-FFF2-40B4-BE49-F238E27FC236}">
                      <a16:creationId xmlns:a16="http://schemas.microsoft.com/office/drawing/2014/main" id="{A736673C-D81B-9043-A7EF-8EC82580DC74}"/>
                    </a:ext>
                  </a:extLst>
                </p:cNvPr>
                <p:cNvCxnSpPr>
                  <a:cxnSpLocks/>
                </p:cNvCxnSpPr>
                <p:nvPr/>
              </p:nvCxnSpPr>
              <p:spPr>
                <a:xfrm>
                  <a:off x="6010627" y="6034845"/>
                  <a:ext cx="219456"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89" name="Straight Connector 88">
                  <a:extLst>
                    <a:ext uri="{FF2B5EF4-FFF2-40B4-BE49-F238E27FC236}">
                      <a16:creationId xmlns:a16="http://schemas.microsoft.com/office/drawing/2014/main" id="{D6FAA65D-EE86-C24A-B408-12A8FB0EFDC2}"/>
                    </a:ext>
                  </a:extLst>
                </p:cNvPr>
                <p:cNvCxnSpPr>
                  <a:cxnSpLocks/>
                </p:cNvCxnSpPr>
                <p:nvPr/>
              </p:nvCxnSpPr>
              <p:spPr>
                <a:xfrm>
                  <a:off x="6803938" y="6033660"/>
                  <a:ext cx="210312"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93" name="Straight Connector 92">
                  <a:extLst>
                    <a:ext uri="{FF2B5EF4-FFF2-40B4-BE49-F238E27FC236}">
                      <a16:creationId xmlns:a16="http://schemas.microsoft.com/office/drawing/2014/main" id="{11299337-8F38-CE46-89A4-018033970DE7}"/>
                    </a:ext>
                  </a:extLst>
                </p:cNvPr>
                <p:cNvCxnSpPr>
                  <a:cxnSpLocks/>
                </p:cNvCxnSpPr>
                <p:nvPr/>
              </p:nvCxnSpPr>
              <p:spPr>
                <a:xfrm>
                  <a:off x="8496900" y="6025422"/>
                  <a:ext cx="338328"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94" name="Straight Connector 93">
                  <a:extLst>
                    <a:ext uri="{FF2B5EF4-FFF2-40B4-BE49-F238E27FC236}">
                      <a16:creationId xmlns:a16="http://schemas.microsoft.com/office/drawing/2014/main" id="{9BB46C26-5307-8345-A99A-2F9F10CF13A7}"/>
                    </a:ext>
                  </a:extLst>
                </p:cNvPr>
                <p:cNvCxnSpPr>
                  <a:cxnSpLocks/>
                </p:cNvCxnSpPr>
                <p:nvPr/>
              </p:nvCxnSpPr>
              <p:spPr>
                <a:xfrm>
                  <a:off x="7678252" y="6033660"/>
                  <a:ext cx="237744" cy="0"/>
                </a:xfrm>
                <a:prstGeom prst="line">
                  <a:avLst/>
                </a:prstGeom>
                <a:noFill/>
                <a:ln w="57150" cap="flat">
                  <a:solidFill>
                    <a:srgbClr val="333657"/>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grpSp>
        <p:grpSp>
          <p:nvGrpSpPr>
            <p:cNvPr id="18" name="Group 17">
              <a:extLst>
                <a:ext uri="{FF2B5EF4-FFF2-40B4-BE49-F238E27FC236}">
                  <a16:creationId xmlns:a16="http://schemas.microsoft.com/office/drawing/2014/main" id="{2148FD83-C332-2D4B-9DE5-850F25A46A97}"/>
                </a:ext>
              </a:extLst>
            </p:cNvPr>
            <p:cNvGrpSpPr/>
            <p:nvPr/>
          </p:nvGrpSpPr>
          <p:grpSpPr>
            <a:xfrm>
              <a:off x="2967197" y="3993830"/>
              <a:ext cx="6936293" cy="265955"/>
              <a:chOff x="2960846" y="4968387"/>
              <a:chExt cx="6936293" cy="265955"/>
            </a:xfrm>
          </p:grpSpPr>
          <p:sp>
            <p:nvSpPr>
              <p:cNvPr id="96" name="TextBox 95">
                <a:extLst>
                  <a:ext uri="{FF2B5EF4-FFF2-40B4-BE49-F238E27FC236}">
                    <a16:creationId xmlns:a16="http://schemas.microsoft.com/office/drawing/2014/main" id="{21AC46C8-0D8C-A94B-830A-0823C93CB193}"/>
                  </a:ext>
                </a:extLst>
              </p:cNvPr>
              <p:cNvSpPr txBox="1"/>
              <p:nvPr/>
            </p:nvSpPr>
            <p:spPr>
              <a:xfrm>
                <a:off x="2960846" y="4968488"/>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6 days</a:t>
                </a:r>
              </a:p>
            </p:txBody>
          </p:sp>
          <p:sp>
            <p:nvSpPr>
              <p:cNvPr id="99" name="TextBox 98">
                <a:extLst>
                  <a:ext uri="{FF2B5EF4-FFF2-40B4-BE49-F238E27FC236}">
                    <a16:creationId xmlns:a16="http://schemas.microsoft.com/office/drawing/2014/main" id="{6D936D0C-BE56-334A-9627-C601385298F5}"/>
                  </a:ext>
                </a:extLst>
              </p:cNvPr>
              <p:cNvSpPr txBox="1"/>
              <p:nvPr/>
            </p:nvSpPr>
            <p:spPr>
              <a:xfrm>
                <a:off x="8847029" y="4976624"/>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2 days</a:t>
                </a:r>
              </a:p>
            </p:txBody>
          </p:sp>
          <p:sp>
            <p:nvSpPr>
              <p:cNvPr id="100" name="TextBox 99">
                <a:extLst>
                  <a:ext uri="{FF2B5EF4-FFF2-40B4-BE49-F238E27FC236}">
                    <a16:creationId xmlns:a16="http://schemas.microsoft.com/office/drawing/2014/main" id="{4FB3ADEE-824B-FA42-A382-C7E969FD5F98}"/>
                  </a:ext>
                </a:extLst>
              </p:cNvPr>
              <p:cNvSpPr txBox="1"/>
              <p:nvPr/>
            </p:nvSpPr>
            <p:spPr>
              <a:xfrm>
                <a:off x="7673802" y="4968387"/>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30 min</a:t>
                </a:r>
              </a:p>
            </p:txBody>
          </p:sp>
          <p:sp>
            <p:nvSpPr>
              <p:cNvPr id="101" name="TextBox 100">
                <a:extLst>
                  <a:ext uri="{FF2B5EF4-FFF2-40B4-BE49-F238E27FC236}">
                    <a16:creationId xmlns:a16="http://schemas.microsoft.com/office/drawing/2014/main" id="{8DE714B7-F286-4247-A9E5-57CCFE887486}"/>
                  </a:ext>
                </a:extLst>
              </p:cNvPr>
              <p:cNvSpPr txBox="1"/>
              <p:nvPr/>
            </p:nvSpPr>
            <p:spPr>
              <a:xfrm>
                <a:off x="6817898" y="4976626"/>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1 day</a:t>
                </a:r>
              </a:p>
            </p:txBody>
          </p:sp>
          <p:sp>
            <p:nvSpPr>
              <p:cNvPr id="103" name="TextBox 102">
                <a:extLst>
                  <a:ext uri="{FF2B5EF4-FFF2-40B4-BE49-F238E27FC236}">
                    <a16:creationId xmlns:a16="http://schemas.microsoft.com/office/drawing/2014/main" id="{35AF3E96-CCD9-AA4E-9D21-6B13A2877654}"/>
                  </a:ext>
                </a:extLst>
              </p:cNvPr>
              <p:cNvSpPr txBox="1"/>
              <p:nvPr/>
            </p:nvSpPr>
            <p:spPr>
              <a:xfrm>
                <a:off x="5996036" y="4968488"/>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40 min</a:t>
                </a:r>
              </a:p>
            </p:txBody>
          </p:sp>
          <p:sp>
            <p:nvSpPr>
              <p:cNvPr id="104" name="TextBox 103">
                <a:extLst>
                  <a:ext uri="{FF2B5EF4-FFF2-40B4-BE49-F238E27FC236}">
                    <a16:creationId xmlns:a16="http://schemas.microsoft.com/office/drawing/2014/main" id="{358FF4A9-B630-B34A-B48A-69835A868C95}"/>
                  </a:ext>
                </a:extLst>
              </p:cNvPr>
              <p:cNvSpPr txBox="1"/>
              <p:nvPr/>
            </p:nvSpPr>
            <p:spPr>
              <a:xfrm>
                <a:off x="5281618" y="4976626"/>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15 min</a:t>
                </a:r>
              </a:p>
            </p:txBody>
          </p:sp>
          <p:sp>
            <p:nvSpPr>
              <p:cNvPr id="105" name="TextBox 104">
                <a:extLst>
                  <a:ext uri="{FF2B5EF4-FFF2-40B4-BE49-F238E27FC236}">
                    <a16:creationId xmlns:a16="http://schemas.microsoft.com/office/drawing/2014/main" id="{E8171EA3-5882-C74E-8D71-EFCA5577DEBD}"/>
                  </a:ext>
                </a:extLst>
              </p:cNvPr>
              <p:cNvSpPr txBox="1"/>
              <p:nvPr/>
            </p:nvSpPr>
            <p:spPr>
              <a:xfrm>
                <a:off x="4388415" y="4968488"/>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2 hours</a:t>
                </a:r>
              </a:p>
            </p:txBody>
          </p:sp>
        </p:grpSp>
        <p:grpSp>
          <p:nvGrpSpPr>
            <p:cNvPr id="19" name="Group 18">
              <a:extLst>
                <a:ext uri="{FF2B5EF4-FFF2-40B4-BE49-F238E27FC236}">
                  <a16:creationId xmlns:a16="http://schemas.microsoft.com/office/drawing/2014/main" id="{9C0F0AC9-3ECC-D54A-B953-7838E42ED334}"/>
                </a:ext>
              </a:extLst>
            </p:cNvPr>
            <p:cNvGrpSpPr/>
            <p:nvPr/>
          </p:nvGrpSpPr>
          <p:grpSpPr>
            <a:xfrm>
              <a:off x="3726849" y="5095150"/>
              <a:ext cx="5490352" cy="265955"/>
              <a:chOff x="3720499" y="6069707"/>
              <a:chExt cx="5490352" cy="265955"/>
            </a:xfrm>
          </p:grpSpPr>
          <p:sp>
            <p:nvSpPr>
              <p:cNvPr id="106" name="TextBox 105">
                <a:extLst>
                  <a:ext uri="{FF2B5EF4-FFF2-40B4-BE49-F238E27FC236}">
                    <a16:creationId xmlns:a16="http://schemas.microsoft.com/office/drawing/2014/main" id="{5669EAE5-9C0C-E745-B54A-C3CB3045DBF4}"/>
                  </a:ext>
                </a:extLst>
              </p:cNvPr>
              <p:cNvSpPr txBox="1"/>
              <p:nvPr/>
            </p:nvSpPr>
            <p:spPr>
              <a:xfrm>
                <a:off x="3720499" y="6069808"/>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3 hours</a:t>
                </a:r>
              </a:p>
            </p:txBody>
          </p:sp>
          <p:sp>
            <p:nvSpPr>
              <p:cNvPr id="108" name="TextBox 107">
                <a:extLst>
                  <a:ext uri="{FF2B5EF4-FFF2-40B4-BE49-F238E27FC236}">
                    <a16:creationId xmlns:a16="http://schemas.microsoft.com/office/drawing/2014/main" id="{73816FEB-C759-7541-8091-1F51D0F61D72}"/>
                  </a:ext>
                </a:extLst>
              </p:cNvPr>
              <p:cNvSpPr txBox="1"/>
              <p:nvPr/>
            </p:nvSpPr>
            <p:spPr>
              <a:xfrm>
                <a:off x="8160741" y="6069707"/>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2 hours</a:t>
                </a:r>
              </a:p>
            </p:txBody>
          </p:sp>
          <p:sp>
            <p:nvSpPr>
              <p:cNvPr id="109" name="TextBox 108">
                <a:extLst>
                  <a:ext uri="{FF2B5EF4-FFF2-40B4-BE49-F238E27FC236}">
                    <a16:creationId xmlns:a16="http://schemas.microsoft.com/office/drawing/2014/main" id="{FED88936-F82E-B44B-A68F-35F0827CD4AF}"/>
                  </a:ext>
                </a:extLst>
              </p:cNvPr>
              <p:cNvSpPr txBox="1"/>
              <p:nvPr/>
            </p:nvSpPr>
            <p:spPr>
              <a:xfrm>
                <a:off x="7288794" y="6077946"/>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30 min</a:t>
                </a:r>
              </a:p>
            </p:txBody>
          </p:sp>
          <p:sp>
            <p:nvSpPr>
              <p:cNvPr id="110" name="TextBox 109">
                <a:extLst>
                  <a:ext uri="{FF2B5EF4-FFF2-40B4-BE49-F238E27FC236}">
                    <a16:creationId xmlns:a16="http://schemas.microsoft.com/office/drawing/2014/main" id="{A435477A-6A04-854B-83E6-5DD382C5CA3F}"/>
                  </a:ext>
                </a:extLst>
              </p:cNvPr>
              <p:cNvSpPr txBox="1"/>
              <p:nvPr/>
            </p:nvSpPr>
            <p:spPr>
              <a:xfrm>
                <a:off x="6386723" y="6069808"/>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10 min</a:t>
                </a:r>
              </a:p>
            </p:txBody>
          </p:sp>
          <p:sp>
            <p:nvSpPr>
              <p:cNvPr id="111" name="TextBox 110">
                <a:extLst>
                  <a:ext uri="{FF2B5EF4-FFF2-40B4-BE49-F238E27FC236}">
                    <a16:creationId xmlns:a16="http://schemas.microsoft.com/office/drawing/2014/main" id="{9DF05565-C348-4E4A-97C4-2BAE26C6A7EE}"/>
                  </a:ext>
                </a:extLst>
              </p:cNvPr>
              <p:cNvSpPr txBox="1"/>
              <p:nvPr/>
            </p:nvSpPr>
            <p:spPr>
              <a:xfrm>
                <a:off x="5608137" y="6077946"/>
                <a:ext cx="1050110" cy="257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8 min</a:t>
                </a:r>
              </a:p>
            </p:txBody>
          </p:sp>
        </p:grpSp>
        <p:grpSp>
          <p:nvGrpSpPr>
            <p:cNvPr id="70" name="Group 69">
              <a:extLst>
                <a:ext uri="{FF2B5EF4-FFF2-40B4-BE49-F238E27FC236}">
                  <a16:creationId xmlns:a16="http://schemas.microsoft.com/office/drawing/2014/main" id="{551ECE85-1C22-D741-A5E4-36FF09045D8D}"/>
                </a:ext>
              </a:extLst>
            </p:cNvPr>
            <p:cNvGrpSpPr/>
            <p:nvPr/>
          </p:nvGrpSpPr>
          <p:grpSpPr>
            <a:xfrm>
              <a:off x="3894873" y="2561910"/>
              <a:ext cx="1635422" cy="714482"/>
              <a:chOff x="3888523" y="3333268"/>
              <a:chExt cx="1635422" cy="714482"/>
            </a:xfrm>
          </p:grpSpPr>
          <p:sp>
            <p:nvSpPr>
              <p:cNvPr id="28" name="Rounded Rectangle 27">
                <a:extLst>
                  <a:ext uri="{FF2B5EF4-FFF2-40B4-BE49-F238E27FC236}">
                    <a16:creationId xmlns:a16="http://schemas.microsoft.com/office/drawing/2014/main" id="{9306B6A1-BBA7-AE41-BCB9-54EAA0D75A1D}"/>
                  </a:ext>
                </a:extLst>
              </p:cNvPr>
              <p:cNvSpPr/>
              <p:nvPr/>
            </p:nvSpPr>
            <p:spPr>
              <a:xfrm>
                <a:off x="3888523" y="3333268"/>
                <a:ext cx="1635422" cy="714482"/>
              </a:xfrm>
              <a:prstGeom prst="roundRect">
                <a:avLst>
                  <a:gd name="adj" fmla="val 12176"/>
                </a:avLst>
              </a:prstGeom>
              <a:noFill/>
              <a:ln w="12700" cap="rnd">
                <a:solidFill>
                  <a:schemeClr val="tx1"/>
                </a:solidFill>
                <a:prstDash val="sys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115" name="TextBox 114">
                <a:extLst>
                  <a:ext uri="{FF2B5EF4-FFF2-40B4-BE49-F238E27FC236}">
                    <a16:creationId xmlns:a16="http://schemas.microsoft.com/office/drawing/2014/main" id="{D9801295-3C43-9D49-BB6F-72F71179617E}"/>
                  </a:ext>
                </a:extLst>
              </p:cNvPr>
              <p:cNvSpPr txBox="1"/>
              <p:nvPr/>
            </p:nvSpPr>
            <p:spPr>
              <a:xfrm>
                <a:off x="4183631" y="3584818"/>
                <a:ext cx="1050110"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latin typeface="Century Gothic" panose="020B0502020202020204" pitchFamily="34" charset="0"/>
                    <a:sym typeface="Helvetica Light"/>
                  </a:rPr>
                  <a:t>Process One</a:t>
                </a:r>
              </a:p>
            </p:txBody>
          </p:sp>
        </p:grpSp>
        <p:grpSp>
          <p:nvGrpSpPr>
            <p:cNvPr id="36" name="Group 35">
              <a:extLst>
                <a:ext uri="{FF2B5EF4-FFF2-40B4-BE49-F238E27FC236}">
                  <a16:creationId xmlns:a16="http://schemas.microsoft.com/office/drawing/2014/main" id="{ACAB283C-173B-974A-85F2-F646AE39C900}"/>
                </a:ext>
              </a:extLst>
            </p:cNvPr>
            <p:cNvGrpSpPr/>
            <p:nvPr/>
          </p:nvGrpSpPr>
          <p:grpSpPr>
            <a:xfrm>
              <a:off x="5657855" y="2559515"/>
              <a:ext cx="1635422" cy="714482"/>
              <a:chOff x="5651505" y="3342724"/>
              <a:chExt cx="1635422" cy="714482"/>
            </a:xfrm>
          </p:grpSpPr>
          <p:sp>
            <p:nvSpPr>
              <p:cNvPr id="113" name="Rounded Rectangle 112">
                <a:extLst>
                  <a:ext uri="{FF2B5EF4-FFF2-40B4-BE49-F238E27FC236}">
                    <a16:creationId xmlns:a16="http://schemas.microsoft.com/office/drawing/2014/main" id="{E11C7629-17C2-C442-B7FD-4B807296573E}"/>
                  </a:ext>
                </a:extLst>
              </p:cNvPr>
              <p:cNvSpPr/>
              <p:nvPr/>
            </p:nvSpPr>
            <p:spPr>
              <a:xfrm>
                <a:off x="5651505" y="3342724"/>
                <a:ext cx="1635422" cy="714482"/>
              </a:xfrm>
              <a:prstGeom prst="roundRect">
                <a:avLst>
                  <a:gd name="adj" fmla="val 12176"/>
                </a:avLst>
              </a:prstGeom>
              <a:noFill/>
              <a:ln w="12700" cap="rnd">
                <a:solidFill>
                  <a:schemeClr val="tx1"/>
                </a:solidFill>
                <a:prstDash val="sys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116" name="TextBox 115">
                <a:extLst>
                  <a:ext uri="{FF2B5EF4-FFF2-40B4-BE49-F238E27FC236}">
                    <a16:creationId xmlns:a16="http://schemas.microsoft.com/office/drawing/2014/main" id="{B95E32CD-D99D-FA46-B91D-EBCB474B8A77}"/>
                  </a:ext>
                </a:extLst>
              </p:cNvPr>
              <p:cNvSpPr txBox="1"/>
              <p:nvPr/>
            </p:nvSpPr>
            <p:spPr>
              <a:xfrm>
                <a:off x="5940665" y="3596109"/>
                <a:ext cx="1050110"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latin typeface="Century Gothic" panose="020B0502020202020204" pitchFamily="34" charset="0"/>
                    <a:sym typeface="Helvetica Light"/>
                  </a:rPr>
                  <a:t>Process Two</a:t>
                </a:r>
              </a:p>
            </p:txBody>
          </p:sp>
        </p:grpSp>
        <p:grpSp>
          <p:nvGrpSpPr>
            <p:cNvPr id="64" name="Group 63">
              <a:extLst>
                <a:ext uri="{FF2B5EF4-FFF2-40B4-BE49-F238E27FC236}">
                  <a16:creationId xmlns:a16="http://schemas.microsoft.com/office/drawing/2014/main" id="{D3214A8A-E09A-0045-A2ED-11C1160A0944}"/>
                </a:ext>
              </a:extLst>
            </p:cNvPr>
            <p:cNvGrpSpPr/>
            <p:nvPr/>
          </p:nvGrpSpPr>
          <p:grpSpPr>
            <a:xfrm>
              <a:off x="7415933" y="2561910"/>
              <a:ext cx="1635422" cy="714482"/>
              <a:chOff x="7409583" y="3333268"/>
              <a:chExt cx="1635422" cy="714482"/>
            </a:xfrm>
          </p:grpSpPr>
          <p:sp>
            <p:nvSpPr>
              <p:cNvPr id="114" name="Rounded Rectangle 113">
                <a:extLst>
                  <a:ext uri="{FF2B5EF4-FFF2-40B4-BE49-F238E27FC236}">
                    <a16:creationId xmlns:a16="http://schemas.microsoft.com/office/drawing/2014/main" id="{FFD38C0E-DD13-A442-9C4D-0479943FD5D6}"/>
                  </a:ext>
                </a:extLst>
              </p:cNvPr>
              <p:cNvSpPr/>
              <p:nvPr/>
            </p:nvSpPr>
            <p:spPr>
              <a:xfrm>
                <a:off x="7409583" y="3333268"/>
                <a:ext cx="1635422" cy="714482"/>
              </a:xfrm>
              <a:prstGeom prst="roundRect">
                <a:avLst>
                  <a:gd name="adj" fmla="val 12176"/>
                </a:avLst>
              </a:prstGeom>
              <a:noFill/>
              <a:ln w="12700" cap="rnd">
                <a:solidFill>
                  <a:schemeClr val="tx1"/>
                </a:solidFill>
                <a:prstDash val="sys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117" name="TextBox 116">
                <a:extLst>
                  <a:ext uri="{FF2B5EF4-FFF2-40B4-BE49-F238E27FC236}">
                    <a16:creationId xmlns:a16="http://schemas.microsoft.com/office/drawing/2014/main" id="{87A6C6AE-9A0C-714E-A359-4C5D281EC1F0}"/>
                  </a:ext>
                </a:extLst>
              </p:cNvPr>
              <p:cNvSpPr txBox="1"/>
              <p:nvPr/>
            </p:nvSpPr>
            <p:spPr>
              <a:xfrm>
                <a:off x="7699910" y="3588151"/>
                <a:ext cx="1050110"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latin typeface="Century Gothic" panose="020B0502020202020204" pitchFamily="34" charset="0"/>
                    <a:sym typeface="Helvetica Light"/>
                  </a:rPr>
                  <a:t>Process Three</a:t>
                </a:r>
              </a:p>
            </p:txBody>
          </p:sp>
        </p:grpSp>
        <p:grpSp>
          <p:nvGrpSpPr>
            <p:cNvPr id="120" name="Group 119">
              <a:extLst>
                <a:ext uri="{FF2B5EF4-FFF2-40B4-BE49-F238E27FC236}">
                  <a16:creationId xmlns:a16="http://schemas.microsoft.com/office/drawing/2014/main" id="{595154B9-F1EA-D248-A5D9-56B7FD23879B}"/>
                </a:ext>
              </a:extLst>
            </p:cNvPr>
            <p:cNvGrpSpPr/>
            <p:nvPr/>
          </p:nvGrpSpPr>
          <p:grpSpPr>
            <a:xfrm>
              <a:off x="2748117" y="2559515"/>
              <a:ext cx="999202" cy="714482"/>
              <a:chOff x="3888523" y="3333268"/>
              <a:chExt cx="1635422" cy="714482"/>
            </a:xfrm>
          </p:grpSpPr>
          <p:sp>
            <p:nvSpPr>
              <p:cNvPr id="121" name="Rounded Rectangle 120">
                <a:extLst>
                  <a:ext uri="{FF2B5EF4-FFF2-40B4-BE49-F238E27FC236}">
                    <a16:creationId xmlns:a16="http://schemas.microsoft.com/office/drawing/2014/main" id="{4C59AF3F-C285-7143-A2CF-E50BA4E6DDE0}"/>
                  </a:ext>
                </a:extLst>
              </p:cNvPr>
              <p:cNvSpPr/>
              <p:nvPr/>
            </p:nvSpPr>
            <p:spPr>
              <a:xfrm>
                <a:off x="3888523" y="3333268"/>
                <a:ext cx="1635422" cy="714482"/>
              </a:xfrm>
              <a:prstGeom prst="roundRect">
                <a:avLst>
                  <a:gd name="adj" fmla="val 12176"/>
                </a:avLst>
              </a:prstGeom>
              <a:noFill/>
              <a:ln w="12700" cap="rnd">
                <a:solidFill>
                  <a:schemeClr val="accent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122" name="TextBox 121">
                <a:extLst>
                  <a:ext uri="{FF2B5EF4-FFF2-40B4-BE49-F238E27FC236}">
                    <a16:creationId xmlns:a16="http://schemas.microsoft.com/office/drawing/2014/main" id="{D03D6CF5-1058-DB46-9B61-0A7CEB0D0DD1}"/>
                  </a:ext>
                </a:extLst>
              </p:cNvPr>
              <p:cNvSpPr txBox="1"/>
              <p:nvPr/>
            </p:nvSpPr>
            <p:spPr>
              <a:xfrm>
                <a:off x="4036827" y="3586653"/>
                <a:ext cx="1345219"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chemeClr val="accent2"/>
                    </a:solidFill>
                    <a:latin typeface="Century Gothic" panose="020B0502020202020204" pitchFamily="34" charset="0"/>
                    <a:sym typeface="Helvetica Light"/>
                  </a:rPr>
                  <a:t>Transport</a:t>
                </a:r>
              </a:p>
            </p:txBody>
          </p:sp>
        </p:grpSp>
        <p:grpSp>
          <p:nvGrpSpPr>
            <p:cNvPr id="123" name="Group 122">
              <a:extLst>
                <a:ext uri="{FF2B5EF4-FFF2-40B4-BE49-F238E27FC236}">
                  <a16:creationId xmlns:a16="http://schemas.microsoft.com/office/drawing/2014/main" id="{BBA1389D-9467-9E44-9A43-0FB905DAEDB3}"/>
                </a:ext>
              </a:extLst>
            </p:cNvPr>
            <p:cNvGrpSpPr/>
            <p:nvPr/>
          </p:nvGrpSpPr>
          <p:grpSpPr>
            <a:xfrm>
              <a:off x="9228419" y="2559514"/>
              <a:ext cx="999202" cy="714482"/>
              <a:chOff x="3888523" y="3333268"/>
              <a:chExt cx="1635422" cy="714482"/>
            </a:xfrm>
          </p:grpSpPr>
          <p:sp>
            <p:nvSpPr>
              <p:cNvPr id="124" name="Rounded Rectangle 123">
                <a:extLst>
                  <a:ext uri="{FF2B5EF4-FFF2-40B4-BE49-F238E27FC236}">
                    <a16:creationId xmlns:a16="http://schemas.microsoft.com/office/drawing/2014/main" id="{A941AF04-167B-DF49-82B1-B17DC3DBADED}"/>
                  </a:ext>
                </a:extLst>
              </p:cNvPr>
              <p:cNvSpPr/>
              <p:nvPr/>
            </p:nvSpPr>
            <p:spPr>
              <a:xfrm>
                <a:off x="3888523" y="3333268"/>
                <a:ext cx="1635422" cy="714482"/>
              </a:xfrm>
              <a:prstGeom prst="roundRect">
                <a:avLst>
                  <a:gd name="adj" fmla="val 12176"/>
                </a:avLst>
              </a:prstGeom>
              <a:noFill/>
              <a:ln w="12700" cap="rnd">
                <a:solidFill>
                  <a:schemeClr val="accent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hangingPunct="0"/>
                <a:endParaRPr lang="en-US">
                  <a:solidFill>
                    <a:srgbClr val="000000"/>
                  </a:solidFill>
                  <a:latin typeface="Calibri Light"/>
                  <a:ea typeface="Calibri Light"/>
                  <a:cs typeface="Calibri Light"/>
                  <a:sym typeface="Calibri Light"/>
                </a:endParaRPr>
              </a:p>
            </p:txBody>
          </p:sp>
          <p:sp>
            <p:nvSpPr>
              <p:cNvPr id="125" name="TextBox 124">
                <a:extLst>
                  <a:ext uri="{FF2B5EF4-FFF2-40B4-BE49-F238E27FC236}">
                    <a16:creationId xmlns:a16="http://schemas.microsoft.com/office/drawing/2014/main" id="{BD908328-099E-2846-89E0-CFBE4FEA3CDA}"/>
                  </a:ext>
                </a:extLst>
              </p:cNvPr>
              <p:cNvSpPr txBox="1"/>
              <p:nvPr/>
            </p:nvSpPr>
            <p:spPr>
              <a:xfrm>
                <a:off x="4036827" y="3586653"/>
                <a:ext cx="1345219"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chemeClr val="accent2"/>
                    </a:solidFill>
                    <a:latin typeface="Century Gothic" panose="020B0502020202020204" pitchFamily="34" charset="0"/>
                    <a:sym typeface="Helvetica Light"/>
                  </a:rPr>
                  <a:t>Transport</a:t>
                </a:r>
              </a:p>
            </p:txBody>
          </p:sp>
        </p:grpSp>
        <p:grpSp>
          <p:nvGrpSpPr>
            <p:cNvPr id="20" name="Group 19">
              <a:extLst>
                <a:ext uri="{FF2B5EF4-FFF2-40B4-BE49-F238E27FC236}">
                  <a16:creationId xmlns:a16="http://schemas.microsoft.com/office/drawing/2014/main" id="{E6F1C99D-D4A3-7B41-9F80-15A53BADB00D}"/>
                </a:ext>
              </a:extLst>
            </p:cNvPr>
            <p:cNvGrpSpPr/>
            <p:nvPr/>
          </p:nvGrpSpPr>
          <p:grpSpPr>
            <a:xfrm>
              <a:off x="2833424" y="3272161"/>
              <a:ext cx="1510322" cy="954382"/>
              <a:chOff x="2827074" y="4246719"/>
              <a:chExt cx="1510322" cy="954382"/>
            </a:xfrm>
          </p:grpSpPr>
          <p:cxnSp>
            <p:nvCxnSpPr>
              <p:cNvPr id="127" name="Straight Connector 126">
                <a:extLst>
                  <a:ext uri="{FF2B5EF4-FFF2-40B4-BE49-F238E27FC236}">
                    <a16:creationId xmlns:a16="http://schemas.microsoft.com/office/drawing/2014/main" id="{B3B5B822-F02E-F244-BE2A-45AA8B598110}"/>
                  </a:ext>
                </a:extLst>
              </p:cNvPr>
              <p:cNvCxnSpPr>
                <a:cxnSpLocks/>
              </p:cNvCxnSpPr>
              <p:nvPr/>
            </p:nvCxnSpPr>
            <p:spPr>
              <a:xfrm>
                <a:off x="2827074" y="4293174"/>
                <a:ext cx="981915" cy="706271"/>
              </a:xfrm>
              <a:prstGeom prst="line">
                <a:avLst/>
              </a:prstGeom>
              <a:noFill/>
              <a:ln w="0" cap="flat">
                <a:solidFill>
                  <a:schemeClr val="accent2"/>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28" name="Straight Connector 127">
                <a:extLst>
                  <a:ext uri="{FF2B5EF4-FFF2-40B4-BE49-F238E27FC236}">
                    <a16:creationId xmlns:a16="http://schemas.microsoft.com/office/drawing/2014/main" id="{8F61F4CC-C939-2841-9715-07D0FB552BAE}"/>
                  </a:ext>
                </a:extLst>
              </p:cNvPr>
              <p:cNvCxnSpPr>
                <a:cxnSpLocks/>
              </p:cNvCxnSpPr>
              <p:nvPr/>
            </p:nvCxnSpPr>
            <p:spPr>
              <a:xfrm>
                <a:off x="3734373" y="4246719"/>
                <a:ext cx="603023" cy="954382"/>
              </a:xfrm>
              <a:prstGeom prst="line">
                <a:avLst/>
              </a:prstGeom>
              <a:noFill/>
              <a:ln w="0" cap="flat">
                <a:solidFill>
                  <a:schemeClr val="accent2"/>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grpSp>
          <p:nvGrpSpPr>
            <p:cNvPr id="25" name="Group 24">
              <a:extLst>
                <a:ext uri="{FF2B5EF4-FFF2-40B4-BE49-F238E27FC236}">
                  <a16:creationId xmlns:a16="http://schemas.microsoft.com/office/drawing/2014/main" id="{C837155B-F4C5-1342-8AF7-988069051FF5}"/>
                </a:ext>
              </a:extLst>
            </p:cNvPr>
            <p:cNvGrpSpPr/>
            <p:nvPr/>
          </p:nvGrpSpPr>
          <p:grpSpPr>
            <a:xfrm>
              <a:off x="8600388" y="3292102"/>
              <a:ext cx="1577126" cy="965331"/>
              <a:chOff x="8594038" y="4266659"/>
              <a:chExt cx="1577126" cy="965331"/>
            </a:xfrm>
          </p:grpSpPr>
          <p:cxnSp>
            <p:nvCxnSpPr>
              <p:cNvPr id="135" name="Straight Connector 134">
                <a:extLst>
                  <a:ext uri="{FF2B5EF4-FFF2-40B4-BE49-F238E27FC236}">
                    <a16:creationId xmlns:a16="http://schemas.microsoft.com/office/drawing/2014/main" id="{7D086876-C623-FD49-95B0-80314E517802}"/>
                  </a:ext>
                </a:extLst>
              </p:cNvPr>
              <p:cNvCxnSpPr>
                <a:cxnSpLocks/>
              </p:cNvCxnSpPr>
              <p:nvPr/>
            </p:nvCxnSpPr>
            <p:spPr>
              <a:xfrm flipH="1">
                <a:off x="8594038" y="4266659"/>
                <a:ext cx="657435" cy="890724"/>
              </a:xfrm>
              <a:prstGeom prst="line">
                <a:avLst/>
              </a:prstGeom>
              <a:noFill/>
              <a:ln w="0" cap="flat">
                <a:solidFill>
                  <a:schemeClr val="accent2"/>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00A9A8F0-2212-5C45-98D0-C4FA26FEFC00}"/>
                  </a:ext>
                </a:extLst>
              </p:cNvPr>
              <p:cNvCxnSpPr>
                <a:cxnSpLocks/>
              </p:cNvCxnSpPr>
              <p:nvPr/>
            </p:nvCxnSpPr>
            <p:spPr>
              <a:xfrm flipH="1">
                <a:off x="9910511" y="4268306"/>
                <a:ext cx="260653" cy="963684"/>
              </a:xfrm>
              <a:prstGeom prst="line">
                <a:avLst/>
              </a:prstGeom>
              <a:noFill/>
              <a:ln w="0" cap="flat">
                <a:solidFill>
                  <a:schemeClr val="accent2"/>
                </a:solidFill>
                <a:prstDash val="solid"/>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grpSp>
          <p:nvGrpSpPr>
            <p:cNvPr id="21" name="Group 20">
              <a:extLst>
                <a:ext uri="{FF2B5EF4-FFF2-40B4-BE49-F238E27FC236}">
                  <a16:creationId xmlns:a16="http://schemas.microsoft.com/office/drawing/2014/main" id="{2E90E670-DCCF-CA40-A673-1F246812A194}"/>
                </a:ext>
              </a:extLst>
            </p:cNvPr>
            <p:cNvGrpSpPr/>
            <p:nvPr/>
          </p:nvGrpSpPr>
          <p:grpSpPr>
            <a:xfrm>
              <a:off x="4014538" y="3312930"/>
              <a:ext cx="1539574" cy="721999"/>
              <a:chOff x="4008188" y="4287487"/>
              <a:chExt cx="1539574" cy="721999"/>
            </a:xfrm>
          </p:grpSpPr>
          <p:cxnSp>
            <p:nvCxnSpPr>
              <p:cNvPr id="143" name="Straight Connector 142">
                <a:extLst>
                  <a:ext uri="{FF2B5EF4-FFF2-40B4-BE49-F238E27FC236}">
                    <a16:creationId xmlns:a16="http://schemas.microsoft.com/office/drawing/2014/main" id="{A47D70D6-B952-0D47-8A9B-BAE4E7F77843}"/>
                  </a:ext>
                </a:extLst>
              </p:cNvPr>
              <p:cNvCxnSpPr>
                <a:cxnSpLocks/>
              </p:cNvCxnSpPr>
              <p:nvPr/>
            </p:nvCxnSpPr>
            <p:spPr>
              <a:xfrm>
                <a:off x="4008188" y="4310914"/>
                <a:ext cx="1133899" cy="698572"/>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44" name="Straight Connector 143">
                <a:extLst>
                  <a:ext uri="{FF2B5EF4-FFF2-40B4-BE49-F238E27FC236}">
                    <a16:creationId xmlns:a16="http://schemas.microsoft.com/office/drawing/2014/main" id="{20D30113-4DE0-4741-BE4F-03A86EBC8540}"/>
                  </a:ext>
                </a:extLst>
              </p:cNvPr>
              <p:cNvCxnSpPr>
                <a:cxnSpLocks/>
              </p:cNvCxnSpPr>
              <p:nvPr/>
            </p:nvCxnSpPr>
            <p:spPr>
              <a:xfrm>
                <a:off x="5470592" y="4287487"/>
                <a:ext cx="77170" cy="714140"/>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grpSp>
          <p:nvGrpSpPr>
            <p:cNvPr id="23" name="Group 22">
              <a:extLst>
                <a:ext uri="{FF2B5EF4-FFF2-40B4-BE49-F238E27FC236}">
                  <a16:creationId xmlns:a16="http://schemas.microsoft.com/office/drawing/2014/main" id="{A7FE9322-E041-E14B-BA48-E082AB4A4A31}"/>
                </a:ext>
              </a:extLst>
            </p:cNvPr>
            <p:cNvGrpSpPr/>
            <p:nvPr/>
          </p:nvGrpSpPr>
          <p:grpSpPr>
            <a:xfrm>
              <a:off x="5719469" y="3321430"/>
              <a:ext cx="1511812" cy="713499"/>
              <a:chOff x="5713119" y="4295987"/>
              <a:chExt cx="1511812" cy="713499"/>
            </a:xfrm>
          </p:grpSpPr>
          <p:cxnSp>
            <p:nvCxnSpPr>
              <p:cNvPr id="147" name="Straight Connector 146">
                <a:extLst>
                  <a:ext uri="{FF2B5EF4-FFF2-40B4-BE49-F238E27FC236}">
                    <a16:creationId xmlns:a16="http://schemas.microsoft.com/office/drawing/2014/main" id="{EF4EEBC1-4DC2-8D49-B116-88C35539165A}"/>
                  </a:ext>
                </a:extLst>
              </p:cNvPr>
              <p:cNvCxnSpPr>
                <a:cxnSpLocks/>
              </p:cNvCxnSpPr>
              <p:nvPr/>
            </p:nvCxnSpPr>
            <p:spPr>
              <a:xfrm>
                <a:off x="5713119" y="4297048"/>
                <a:ext cx="338589" cy="704579"/>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48" name="Straight Connector 147">
                <a:extLst>
                  <a:ext uri="{FF2B5EF4-FFF2-40B4-BE49-F238E27FC236}">
                    <a16:creationId xmlns:a16="http://schemas.microsoft.com/office/drawing/2014/main" id="{4FB6DF30-98BA-B44B-BC9E-FCA47E6E5E06}"/>
                  </a:ext>
                </a:extLst>
              </p:cNvPr>
              <p:cNvCxnSpPr>
                <a:cxnSpLocks/>
              </p:cNvCxnSpPr>
              <p:nvPr/>
            </p:nvCxnSpPr>
            <p:spPr>
              <a:xfrm flipH="1">
                <a:off x="6224264" y="4306430"/>
                <a:ext cx="221802" cy="703056"/>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57" name="Straight Connector 156">
                <a:extLst>
                  <a:ext uri="{FF2B5EF4-FFF2-40B4-BE49-F238E27FC236}">
                    <a16:creationId xmlns:a16="http://schemas.microsoft.com/office/drawing/2014/main" id="{B91C1C20-F792-7241-A9AA-B4A295A1B7E5}"/>
                  </a:ext>
                </a:extLst>
              </p:cNvPr>
              <p:cNvCxnSpPr>
                <a:cxnSpLocks/>
              </p:cNvCxnSpPr>
              <p:nvPr/>
            </p:nvCxnSpPr>
            <p:spPr>
              <a:xfrm>
                <a:off x="6491984" y="4295987"/>
                <a:ext cx="325648" cy="703458"/>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58" name="Straight Connector 157">
                <a:extLst>
                  <a:ext uri="{FF2B5EF4-FFF2-40B4-BE49-F238E27FC236}">
                    <a16:creationId xmlns:a16="http://schemas.microsoft.com/office/drawing/2014/main" id="{6AEE1420-4A32-6440-8B8C-447330B03F7E}"/>
                  </a:ext>
                </a:extLst>
              </p:cNvPr>
              <p:cNvCxnSpPr>
                <a:cxnSpLocks/>
              </p:cNvCxnSpPr>
              <p:nvPr/>
            </p:nvCxnSpPr>
            <p:spPr>
              <a:xfrm flipH="1">
                <a:off x="7000103" y="4305369"/>
                <a:ext cx="224828" cy="671026"/>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grpSp>
          <p:nvGrpSpPr>
            <p:cNvPr id="24" name="Group 23">
              <a:extLst>
                <a:ext uri="{FF2B5EF4-FFF2-40B4-BE49-F238E27FC236}">
                  <a16:creationId xmlns:a16="http://schemas.microsoft.com/office/drawing/2014/main" id="{9CBFB237-5278-0B44-91B8-C636E83376F4}"/>
                </a:ext>
              </a:extLst>
            </p:cNvPr>
            <p:cNvGrpSpPr/>
            <p:nvPr/>
          </p:nvGrpSpPr>
          <p:grpSpPr>
            <a:xfrm>
              <a:off x="7497682" y="3292101"/>
              <a:ext cx="1507175" cy="804572"/>
              <a:chOff x="7491331" y="4266659"/>
              <a:chExt cx="1507175" cy="804572"/>
            </a:xfrm>
          </p:grpSpPr>
          <p:cxnSp>
            <p:nvCxnSpPr>
              <p:cNvPr id="159" name="Straight Connector 158">
                <a:extLst>
                  <a:ext uri="{FF2B5EF4-FFF2-40B4-BE49-F238E27FC236}">
                    <a16:creationId xmlns:a16="http://schemas.microsoft.com/office/drawing/2014/main" id="{1EF51823-0F22-EB42-97B9-DA6E0F2AA303}"/>
                  </a:ext>
                </a:extLst>
              </p:cNvPr>
              <p:cNvCxnSpPr>
                <a:cxnSpLocks/>
              </p:cNvCxnSpPr>
              <p:nvPr/>
            </p:nvCxnSpPr>
            <p:spPr>
              <a:xfrm>
                <a:off x="7491331" y="4309237"/>
                <a:ext cx="181688" cy="761994"/>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60" name="Straight Connector 159">
                <a:extLst>
                  <a:ext uri="{FF2B5EF4-FFF2-40B4-BE49-F238E27FC236}">
                    <a16:creationId xmlns:a16="http://schemas.microsoft.com/office/drawing/2014/main" id="{59F6EF80-8805-404E-89ED-D1C2E09050E9}"/>
                  </a:ext>
                </a:extLst>
              </p:cNvPr>
              <p:cNvCxnSpPr>
                <a:cxnSpLocks/>
              </p:cNvCxnSpPr>
              <p:nvPr/>
            </p:nvCxnSpPr>
            <p:spPr>
              <a:xfrm flipH="1">
                <a:off x="8050478" y="4266659"/>
                <a:ext cx="948028" cy="724828"/>
              </a:xfrm>
              <a:prstGeom prst="line">
                <a:avLst/>
              </a:prstGeom>
              <a:noFill/>
              <a:ln w="0" cap="rnd">
                <a:solidFill>
                  <a:schemeClr val="tx1"/>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cxnSp>
          <p:nvCxnSpPr>
            <p:cNvPr id="190" name="Straight Connector 189">
              <a:extLst>
                <a:ext uri="{FF2B5EF4-FFF2-40B4-BE49-F238E27FC236}">
                  <a16:creationId xmlns:a16="http://schemas.microsoft.com/office/drawing/2014/main" id="{143AC2F2-EE63-E64B-82B2-0C5336FAA600}"/>
                </a:ext>
              </a:extLst>
            </p:cNvPr>
            <p:cNvCxnSpPr>
              <a:cxnSpLocks/>
            </p:cNvCxnSpPr>
            <p:nvPr/>
          </p:nvCxnSpPr>
          <p:spPr>
            <a:xfrm flipH="1">
              <a:off x="7118868" y="1473501"/>
              <a:ext cx="1885989" cy="0"/>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94" name="Straight Connector 193">
              <a:extLst>
                <a:ext uri="{FF2B5EF4-FFF2-40B4-BE49-F238E27FC236}">
                  <a16:creationId xmlns:a16="http://schemas.microsoft.com/office/drawing/2014/main" id="{7C96F37A-E01C-2A4A-AEEB-45D80CA71D9D}"/>
                </a:ext>
              </a:extLst>
            </p:cNvPr>
            <p:cNvCxnSpPr>
              <a:cxnSpLocks/>
            </p:cNvCxnSpPr>
            <p:nvPr/>
          </p:nvCxnSpPr>
          <p:spPr>
            <a:xfrm flipH="1">
              <a:off x="3927035" y="1462541"/>
              <a:ext cx="1885989" cy="0"/>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95" name="Straight Connector 194">
              <a:extLst>
                <a:ext uri="{FF2B5EF4-FFF2-40B4-BE49-F238E27FC236}">
                  <a16:creationId xmlns:a16="http://schemas.microsoft.com/office/drawing/2014/main" id="{0E375221-ADAA-6244-9DB3-C5E9B54F7599}"/>
                </a:ext>
              </a:extLst>
            </p:cNvPr>
            <p:cNvCxnSpPr>
              <a:cxnSpLocks/>
            </p:cNvCxnSpPr>
            <p:nvPr/>
          </p:nvCxnSpPr>
          <p:spPr>
            <a:xfrm flipH="1">
              <a:off x="4712585" y="1836913"/>
              <a:ext cx="1304393" cy="589485"/>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199" name="Straight Connector 198">
              <a:extLst>
                <a:ext uri="{FF2B5EF4-FFF2-40B4-BE49-F238E27FC236}">
                  <a16:creationId xmlns:a16="http://schemas.microsoft.com/office/drawing/2014/main" id="{A243DE8E-5AD2-9046-A7C3-03E657E78E17}"/>
                </a:ext>
              </a:extLst>
            </p:cNvPr>
            <p:cNvCxnSpPr>
              <a:cxnSpLocks/>
            </p:cNvCxnSpPr>
            <p:nvPr/>
          </p:nvCxnSpPr>
          <p:spPr>
            <a:xfrm>
              <a:off x="6976461" y="1842466"/>
              <a:ext cx="1304393" cy="589485"/>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200" name="Straight Connector 199">
              <a:extLst>
                <a:ext uri="{FF2B5EF4-FFF2-40B4-BE49-F238E27FC236}">
                  <a16:creationId xmlns:a16="http://schemas.microsoft.com/office/drawing/2014/main" id="{BF1B5075-748E-5F40-B434-1DB93171CE5A}"/>
                </a:ext>
              </a:extLst>
            </p:cNvPr>
            <p:cNvCxnSpPr>
              <a:cxnSpLocks/>
            </p:cNvCxnSpPr>
            <p:nvPr/>
          </p:nvCxnSpPr>
          <p:spPr>
            <a:xfrm>
              <a:off x="6470687" y="2036949"/>
              <a:ext cx="0" cy="403979"/>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202" name="Straight Connector 201">
              <a:extLst>
                <a:ext uri="{FF2B5EF4-FFF2-40B4-BE49-F238E27FC236}">
                  <a16:creationId xmlns:a16="http://schemas.microsoft.com/office/drawing/2014/main" id="{72462AE4-EF9C-F542-ADD4-F3BE8AE9603B}"/>
                </a:ext>
              </a:extLst>
            </p:cNvPr>
            <p:cNvCxnSpPr>
              <a:cxnSpLocks/>
            </p:cNvCxnSpPr>
            <p:nvPr/>
          </p:nvCxnSpPr>
          <p:spPr>
            <a:xfrm flipH="1">
              <a:off x="3225786" y="2050396"/>
              <a:ext cx="1" cy="389449"/>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205" name="Straight Connector 204">
              <a:extLst>
                <a:ext uri="{FF2B5EF4-FFF2-40B4-BE49-F238E27FC236}">
                  <a16:creationId xmlns:a16="http://schemas.microsoft.com/office/drawing/2014/main" id="{33641F1A-97A8-3644-A12F-44D59171998D}"/>
                </a:ext>
              </a:extLst>
            </p:cNvPr>
            <p:cNvCxnSpPr>
              <a:cxnSpLocks/>
            </p:cNvCxnSpPr>
            <p:nvPr/>
          </p:nvCxnSpPr>
          <p:spPr>
            <a:xfrm flipH="1" flipV="1">
              <a:off x="9700516" y="2067405"/>
              <a:ext cx="1" cy="389449"/>
            </a:xfrm>
            <a:prstGeom prst="line">
              <a:avLst/>
            </a:prstGeom>
            <a:noFill/>
            <a:ln w="0" cap="flat">
              <a:solidFill>
                <a:srgbClr val="333657">
                  <a:alpha val="45098"/>
                </a:srgbClr>
              </a:solidFill>
              <a:prstDash val="solid"/>
              <a:round/>
              <a:tailEnd type="stealth" w="lg" len="lg"/>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grpSp>
      <p:sp>
        <p:nvSpPr>
          <p:cNvPr id="119" name="Oval 118">
            <a:extLst>
              <a:ext uri="{FF2B5EF4-FFF2-40B4-BE49-F238E27FC236}">
                <a16:creationId xmlns:a16="http://schemas.microsoft.com/office/drawing/2014/main" id="{452B5046-8811-4043-9EA9-6BB13015F768}"/>
              </a:ext>
            </a:extLst>
          </p:cNvPr>
          <p:cNvSpPr>
            <a:spLocks noChangeAspect="1"/>
          </p:cNvSpPr>
          <p:nvPr/>
        </p:nvSpPr>
        <p:spPr>
          <a:xfrm>
            <a:off x="4709327" y="1872789"/>
            <a:ext cx="991311" cy="946355"/>
          </a:xfrm>
          <a:prstGeom prst="ellipse">
            <a:avLst/>
          </a:prstGeom>
          <a:solidFill>
            <a:schemeClr val="accent1"/>
          </a:solid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309230"/>
            <a:r>
              <a:rPr lang="en-US" sz="1050" b="1">
                <a:solidFill>
                  <a:schemeClr val="bg1"/>
                </a:solidFill>
                <a:latin typeface="Century Gothic" panose="020B0502020202020204" pitchFamily="34" charset="0"/>
                <a:sym typeface="Helvetica Light"/>
              </a:rPr>
              <a:t>Production Control</a:t>
            </a:r>
          </a:p>
        </p:txBody>
      </p:sp>
      <p:sp>
        <p:nvSpPr>
          <p:cNvPr id="129" name="Oval 128">
            <a:extLst>
              <a:ext uri="{FF2B5EF4-FFF2-40B4-BE49-F238E27FC236}">
                <a16:creationId xmlns:a16="http://schemas.microsoft.com/office/drawing/2014/main" id="{6607C8EB-706B-144D-B3AC-EC7B7AE6CBD2}"/>
              </a:ext>
            </a:extLst>
          </p:cNvPr>
          <p:cNvSpPr>
            <a:spLocks noChangeAspect="1"/>
          </p:cNvSpPr>
          <p:nvPr/>
        </p:nvSpPr>
        <p:spPr>
          <a:xfrm>
            <a:off x="2003450" y="1872789"/>
            <a:ext cx="991311" cy="946355"/>
          </a:xfrm>
          <a:prstGeom prst="ellipse">
            <a:avLst/>
          </a:prstGeom>
          <a:solidFill>
            <a:schemeClr val="accent1"/>
          </a:solid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309230"/>
            <a:r>
              <a:rPr lang="en-US" sz="1050" b="1">
                <a:solidFill>
                  <a:schemeClr val="bg1"/>
                </a:solidFill>
                <a:latin typeface="Century Gothic" panose="020B0502020202020204" pitchFamily="34" charset="0"/>
                <a:sym typeface="Helvetica Light"/>
              </a:rPr>
              <a:t>Supplier</a:t>
            </a:r>
          </a:p>
        </p:txBody>
      </p:sp>
      <p:sp>
        <p:nvSpPr>
          <p:cNvPr id="130" name="Oval 129">
            <a:extLst>
              <a:ext uri="{FF2B5EF4-FFF2-40B4-BE49-F238E27FC236}">
                <a16:creationId xmlns:a16="http://schemas.microsoft.com/office/drawing/2014/main" id="{C74E435B-76D7-7E4E-B2A8-E7C1A0333955}"/>
              </a:ext>
            </a:extLst>
          </p:cNvPr>
          <p:cNvSpPr>
            <a:spLocks noChangeAspect="1"/>
          </p:cNvSpPr>
          <p:nvPr/>
        </p:nvSpPr>
        <p:spPr>
          <a:xfrm>
            <a:off x="7405874" y="1872789"/>
            <a:ext cx="991311" cy="946355"/>
          </a:xfrm>
          <a:prstGeom prst="ellipse">
            <a:avLst/>
          </a:prstGeom>
          <a:solidFill>
            <a:schemeClr val="accent1"/>
          </a:solidFill>
          <a:ln w="127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defTabSz="309230"/>
            <a:r>
              <a:rPr lang="en-US" sz="1050" b="1">
                <a:solidFill>
                  <a:schemeClr val="bg1"/>
                </a:solidFill>
                <a:latin typeface="Century Gothic" panose="020B0502020202020204" pitchFamily="34" charset="0"/>
                <a:sym typeface="Helvetica Light"/>
              </a:rPr>
              <a:t>Customer</a:t>
            </a:r>
          </a:p>
        </p:txBody>
      </p:sp>
      <p:sp>
        <p:nvSpPr>
          <p:cNvPr id="131" name="TextBox 130">
            <a:extLst>
              <a:ext uri="{FF2B5EF4-FFF2-40B4-BE49-F238E27FC236}">
                <a16:creationId xmlns:a16="http://schemas.microsoft.com/office/drawing/2014/main" id="{DD6A3153-21F3-D14A-B86C-AF393A292969}"/>
              </a:ext>
            </a:extLst>
          </p:cNvPr>
          <p:cNvSpPr txBox="1"/>
          <p:nvPr/>
        </p:nvSpPr>
        <p:spPr>
          <a:xfrm>
            <a:off x="3962737" y="5286752"/>
            <a:ext cx="886562" cy="207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31" tIns="19031" rIns="19031" bIns="19031" numCol="1" spcCol="38100" rtlCol="0" anchor="ctr">
            <a:spAutoFit/>
          </a:bodyPr>
          <a:lstStyle/>
          <a:p>
            <a:pPr defTabSz="309230"/>
            <a:r>
              <a:rPr lang="en-US" sz="1100" b="1">
                <a:solidFill>
                  <a:srgbClr val="333657"/>
                </a:solidFill>
                <a:latin typeface="Century Gothic" panose="020B0502020202020204" pitchFamily="34" charset="0"/>
                <a:sym typeface="Helvetica Light"/>
              </a:rPr>
              <a:t>10 min</a:t>
            </a:r>
          </a:p>
        </p:txBody>
      </p:sp>
      <p:sp>
        <p:nvSpPr>
          <p:cNvPr id="134" name="Titel 5">
            <a:extLst>
              <a:ext uri="{FF2B5EF4-FFF2-40B4-BE49-F238E27FC236}">
                <a16:creationId xmlns:a16="http://schemas.microsoft.com/office/drawing/2014/main" id="{7D3059E6-A02B-3840-863E-F61614912DC6}"/>
              </a:ext>
            </a:extLst>
          </p:cNvPr>
          <p:cNvSpPr>
            <a:spLocks noGrp="1"/>
          </p:cNvSpPr>
          <p:nvPr>
            <p:ph type="title"/>
          </p:nvPr>
        </p:nvSpPr>
        <p:spPr>
          <a:xfrm>
            <a:off x="365682" y="397932"/>
            <a:ext cx="9940367" cy="795805"/>
          </a:xfrm>
        </p:spPr>
        <p:txBody>
          <a:bodyPr/>
          <a:lstStyle/>
          <a:p>
            <a:endParaRPr lang="en-GB"/>
          </a:p>
        </p:txBody>
      </p:sp>
    </p:spTree>
    <p:extLst>
      <p:ext uri="{BB962C8B-B14F-4D97-AF65-F5344CB8AC3E}">
        <p14:creationId xmlns:p14="http://schemas.microsoft.com/office/powerpoint/2010/main" val="224638258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A20F54B-7A84-6246-806F-5FDF0CC39A9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1" name="Objekt 10" hidden="1">
                        <a:extLst>
                          <a:ext uri="{FF2B5EF4-FFF2-40B4-BE49-F238E27FC236}">
                            <a16:creationId xmlns:a16="http://schemas.microsoft.com/office/drawing/2014/main" id="{5A20F54B-7A84-6246-806F-5FDF0CC39A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73" name="Straight Connector 72">
            <a:extLst>
              <a:ext uri="{FF2B5EF4-FFF2-40B4-BE49-F238E27FC236}">
                <a16:creationId xmlns:a16="http://schemas.microsoft.com/office/drawing/2014/main" id="{DFB24667-B600-D94B-AF83-8BEF02C913E0}"/>
              </a:ext>
            </a:extLst>
          </p:cNvPr>
          <p:cNvCxnSpPr>
            <a:cxnSpLocks/>
          </p:cNvCxnSpPr>
          <p:nvPr/>
        </p:nvCxnSpPr>
        <p:spPr>
          <a:xfrm>
            <a:off x="575476" y="2452582"/>
            <a:ext cx="11041046" cy="0"/>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sp>
        <p:nvSpPr>
          <p:cNvPr id="6" name="Rounded Rectangle 5">
            <a:extLst>
              <a:ext uri="{FF2B5EF4-FFF2-40B4-BE49-F238E27FC236}">
                <a16:creationId xmlns:a16="http://schemas.microsoft.com/office/drawing/2014/main" id="{6A4EBC3A-00FF-084B-ABA9-CC9FD7803DA8}"/>
              </a:ext>
            </a:extLst>
          </p:cNvPr>
          <p:cNvSpPr/>
          <p:nvPr/>
        </p:nvSpPr>
        <p:spPr>
          <a:xfrm>
            <a:off x="939188" y="2723937"/>
            <a:ext cx="10444148" cy="353084"/>
          </a:xfrm>
          <a:prstGeom prst="roundRect">
            <a:avLst>
              <a:gd name="adj" fmla="val 2013"/>
            </a:avLst>
          </a:prstGeom>
          <a:noFill/>
          <a:ln w="12700" cap="flat">
            <a:solidFill>
              <a:schemeClr val="bg2">
                <a:lumMod val="40000"/>
                <a:lumOff val="6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hangingPunct="0"/>
            <a:endParaRPr lang="en-US">
              <a:solidFill>
                <a:srgbClr val="000000"/>
              </a:solidFill>
              <a:latin typeface="Arial" panose="020B0604020202020204" pitchFamily="34" charset="0"/>
              <a:ea typeface="Calibri Light"/>
              <a:cs typeface="Arial" panose="020B0604020202020204" pitchFamily="34" charset="0"/>
              <a:sym typeface="Calibri Light"/>
            </a:endParaRPr>
          </a:p>
        </p:txBody>
      </p:sp>
      <p:grpSp>
        <p:nvGrpSpPr>
          <p:cNvPr id="65" name="Group 64">
            <a:extLst>
              <a:ext uri="{FF2B5EF4-FFF2-40B4-BE49-F238E27FC236}">
                <a16:creationId xmlns:a16="http://schemas.microsoft.com/office/drawing/2014/main" id="{3C98BF7A-BF6F-3F49-A129-39A65E51D845}"/>
              </a:ext>
            </a:extLst>
          </p:cNvPr>
          <p:cNvGrpSpPr/>
          <p:nvPr/>
        </p:nvGrpSpPr>
        <p:grpSpPr>
          <a:xfrm rot="4970798">
            <a:off x="1474979" y="1696141"/>
            <a:ext cx="807328" cy="807580"/>
            <a:chOff x="3855398" y="3570124"/>
            <a:chExt cx="1273945" cy="1127394"/>
          </a:xfrm>
        </p:grpSpPr>
        <p:sp>
          <p:nvSpPr>
            <p:cNvPr id="67" name="Овал 1">
              <a:extLst>
                <a:ext uri="{FF2B5EF4-FFF2-40B4-BE49-F238E27FC236}">
                  <a16:creationId xmlns:a16="http://schemas.microsoft.com/office/drawing/2014/main" id="{B60D9B88-1424-9043-906F-A9EB8AE168DC}"/>
                </a:ext>
              </a:extLst>
            </p:cNvPr>
            <p:cNvSpPr>
              <a:spLocks noChangeAspect="1"/>
            </p:cNvSpPr>
            <p:nvPr/>
          </p:nvSpPr>
          <p:spPr>
            <a:xfrm rot="16629202">
              <a:off x="3920905" y="3626882"/>
              <a:ext cx="1005129" cy="1136143"/>
            </a:xfrm>
            <a:prstGeom prst="ellipse">
              <a:avLst/>
            </a:prstGeom>
            <a:gradFill>
              <a:gsLst>
                <a:gs pos="63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P</a:t>
              </a:r>
              <a:endParaRPr lang="ru-RU">
                <a:solidFill>
                  <a:srgbClr val="333657"/>
                </a:solidFill>
                <a:latin typeface="Arial" panose="020B0604020202020204" pitchFamily="34" charset="0"/>
                <a:cs typeface="Arial" panose="020B0604020202020204" pitchFamily="34" charset="0"/>
              </a:endParaRPr>
            </a:p>
          </p:txBody>
        </p:sp>
        <p:sp>
          <p:nvSpPr>
            <p:cNvPr id="68" name="Полилиния 51">
              <a:extLst>
                <a:ext uri="{FF2B5EF4-FFF2-40B4-BE49-F238E27FC236}">
                  <a16:creationId xmlns:a16="http://schemas.microsoft.com/office/drawing/2014/main" id="{9FBE600C-3E34-9F4E-8462-146BF0B0C990}"/>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9D1C7E3F-9180-3B42-8F89-A3AA9B301248}"/>
              </a:ext>
            </a:extLst>
          </p:cNvPr>
          <p:cNvGrpSpPr/>
          <p:nvPr/>
        </p:nvGrpSpPr>
        <p:grpSpPr>
          <a:xfrm rot="4970798">
            <a:off x="3259071" y="1731348"/>
            <a:ext cx="719999" cy="720000"/>
            <a:chOff x="4005408" y="3909862"/>
            <a:chExt cx="1136140" cy="1005131"/>
          </a:xfrm>
        </p:grpSpPr>
        <p:sp>
          <p:nvSpPr>
            <p:cNvPr id="29" name="Овал 1">
              <a:extLst>
                <a:ext uri="{FF2B5EF4-FFF2-40B4-BE49-F238E27FC236}">
                  <a16:creationId xmlns:a16="http://schemas.microsoft.com/office/drawing/2014/main" id="{3E7C34F7-3972-1F4E-B0D3-35C25DC8507F}"/>
                </a:ext>
              </a:extLst>
            </p:cNvPr>
            <p:cNvSpPr>
              <a:spLocks noChangeAspect="1"/>
            </p:cNvSpPr>
            <p:nvPr/>
          </p:nvSpPr>
          <p:spPr>
            <a:xfrm rot="16629202">
              <a:off x="4070912" y="3844358"/>
              <a:ext cx="1005131" cy="1136140"/>
            </a:xfrm>
            <a:prstGeom prst="ellipse">
              <a:avLst/>
            </a:prstGeom>
            <a:gradFill>
              <a:gsLst>
                <a:gs pos="34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E</a:t>
              </a:r>
              <a:endParaRPr lang="ru-RU">
                <a:solidFill>
                  <a:srgbClr val="333657"/>
                </a:solidFill>
                <a:latin typeface="Arial" panose="020B0604020202020204" pitchFamily="34" charset="0"/>
                <a:cs typeface="Arial" panose="020B0604020202020204" pitchFamily="34" charset="0"/>
              </a:endParaRPr>
            </a:p>
          </p:txBody>
        </p:sp>
        <p:sp>
          <p:nvSpPr>
            <p:cNvPr id="30" name="Полилиния 51">
              <a:extLst>
                <a:ext uri="{FF2B5EF4-FFF2-40B4-BE49-F238E27FC236}">
                  <a16:creationId xmlns:a16="http://schemas.microsoft.com/office/drawing/2014/main" id="{93839B9E-8611-A444-B090-560DE9696215}"/>
                </a:ext>
              </a:extLst>
            </p:cNvPr>
            <p:cNvSpPr/>
            <p:nvPr/>
          </p:nvSpPr>
          <p:spPr>
            <a:xfrm>
              <a:off x="4666854" y="3911094"/>
              <a:ext cx="465394" cy="355328"/>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B2FEC86A-6ECA-744B-9C6E-15525C09A87D}"/>
              </a:ext>
            </a:extLst>
          </p:cNvPr>
          <p:cNvGrpSpPr/>
          <p:nvPr/>
        </p:nvGrpSpPr>
        <p:grpSpPr>
          <a:xfrm rot="4970798">
            <a:off x="4954910" y="1724572"/>
            <a:ext cx="814298" cy="720000"/>
            <a:chOff x="3844402" y="3554889"/>
            <a:chExt cx="1284941" cy="1005131"/>
          </a:xfrm>
        </p:grpSpPr>
        <p:sp>
          <p:nvSpPr>
            <p:cNvPr id="35" name="Овал 1">
              <a:extLst>
                <a:ext uri="{FF2B5EF4-FFF2-40B4-BE49-F238E27FC236}">
                  <a16:creationId xmlns:a16="http://schemas.microsoft.com/office/drawing/2014/main" id="{142BB234-DA84-554A-9730-8377B444F417}"/>
                </a:ext>
              </a:extLst>
            </p:cNvPr>
            <p:cNvSpPr>
              <a:spLocks noChangeAspect="1"/>
            </p:cNvSpPr>
            <p:nvPr/>
          </p:nvSpPr>
          <p:spPr>
            <a:xfrm rot="16629202">
              <a:off x="3909907" y="3489384"/>
              <a:ext cx="1005131" cy="1136141"/>
            </a:xfrm>
            <a:prstGeom prst="ellipse">
              <a:avLst/>
            </a:prstGeom>
            <a:gradFill>
              <a:gsLst>
                <a:gs pos="36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S</a:t>
              </a:r>
              <a:endParaRPr lang="ru-RU">
                <a:solidFill>
                  <a:srgbClr val="333657"/>
                </a:solidFill>
                <a:latin typeface="Arial" panose="020B0604020202020204" pitchFamily="34" charset="0"/>
                <a:cs typeface="Arial" panose="020B0604020202020204" pitchFamily="34" charset="0"/>
              </a:endParaRPr>
            </a:p>
          </p:txBody>
        </p:sp>
        <p:sp>
          <p:nvSpPr>
            <p:cNvPr id="36" name="Полилиния 51">
              <a:extLst>
                <a:ext uri="{FF2B5EF4-FFF2-40B4-BE49-F238E27FC236}">
                  <a16:creationId xmlns:a16="http://schemas.microsoft.com/office/drawing/2014/main" id="{3F5035A1-9BCC-2844-BB29-5817DA59FDA3}"/>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25C3FBC7-183C-1B48-B7B9-1AA277F919F0}"/>
              </a:ext>
            </a:extLst>
          </p:cNvPr>
          <p:cNvGrpSpPr/>
          <p:nvPr/>
        </p:nvGrpSpPr>
        <p:grpSpPr>
          <a:xfrm rot="4970798">
            <a:off x="6694979" y="1741144"/>
            <a:ext cx="778918" cy="720000"/>
            <a:chOff x="3903898" y="3519203"/>
            <a:chExt cx="1229112" cy="1005131"/>
          </a:xfrm>
        </p:grpSpPr>
        <p:sp>
          <p:nvSpPr>
            <p:cNvPr id="43" name="Овал 1">
              <a:extLst>
                <a:ext uri="{FF2B5EF4-FFF2-40B4-BE49-F238E27FC236}">
                  <a16:creationId xmlns:a16="http://schemas.microsoft.com/office/drawing/2014/main" id="{5F64B714-C34F-8841-956C-E2F4AA7CBAF4}"/>
                </a:ext>
              </a:extLst>
            </p:cNvPr>
            <p:cNvSpPr>
              <a:spLocks noChangeAspect="1"/>
            </p:cNvSpPr>
            <p:nvPr/>
          </p:nvSpPr>
          <p:spPr>
            <a:xfrm rot="16629202">
              <a:off x="3969403" y="3453698"/>
              <a:ext cx="1005131" cy="1136141"/>
            </a:xfrm>
            <a:prstGeom prst="ellipse">
              <a:avLst/>
            </a:prstGeom>
            <a:gradFill>
              <a:gsLst>
                <a:gs pos="21000">
                  <a:srgbClr val="DEDEDE"/>
                </a:gs>
                <a:gs pos="97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T</a:t>
              </a:r>
              <a:endParaRPr lang="ru-RU">
                <a:solidFill>
                  <a:srgbClr val="333657"/>
                </a:solidFill>
                <a:latin typeface="Arial" panose="020B0604020202020204" pitchFamily="34" charset="0"/>
                <a:cs typeface="Arial" panose="020B0604020202020204" pitchFamily="34" charset="0"/>
              </a:endParaRPr>
            </a:p>
          </p:txBody>
        </p:sp>
        <p:sp>
          <p:nvSpPr>
            <p:cNvPr id="44" name="Полилиния 51">
              <a:extLst>
                <a:ext uri="{FF2B5EF4-FFF2-40B4-BE49-F238E27FC236}">
                  <a16:creationId xmlns:a16="http://schemas.microsoft.com/office/drawing/2014/main" id="{56586314-A74F-2746-8F1F-3A969306DDD7}"/>
                </a:ext>
              </a:extLst>
            </p:cNvPr>
            <p:cNvSpPr/>
            <p:nvPr/>
          </p:nvSpPr>
          <p:spPr>
            <a:xfrm>
              <a:off x="4667617" y="3544274"/>
              <a:ext cx="465393" cy="355326"/>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grpSp>
        <p:nvGrpSpPr>
          <p:cNvPr id="47" name="Group 46">
            <a:extLst>
              <a:ext uri="{FF2B5EF4-FFF2-40B4-BE49-F238E27FC236}">
                <a16:creationId xmlns:a16="http://schemas.microsoft.com/office/drawing/2014/main" id="{F15140DF-BA5A-F84C-8B8E-2EF8454AEB1B}"/>
              </a:ext>
            </a:extLst>
          </p:cNvPr>
          <p:cNvGrpSpPr/>
          <p:nvPr/>
        </p:nvGrpSpPr>
        <p:grpSpPr>
          <a:xfrm rot="4970798">
            <a:off x="8343568" y="1715059"/>
            <a:ext cx="722141" cy="719999"/>
            <a:chOff x="3917006" y="3651489"/>
            <a:chExt cx="1139521" cy="1005130"/>
          </a:xfrm>
        </p:grpSpPr>
        <p:sp>
          <p:nvSpPr>
            <p:cNvPr id="49" name="Овал 1">
              <a:extLst>
                <a:ext uri="{FF2B5EF4-FFF2-40B4-BE49-F238E27FC236}">
                  <a16:creationId xmlns:a16="http://schemas.microsoft.com/office/drawing/2014/main" id="{1352A00F-D500-4742-B39C-CE7C1929E9CB}"/>
                </a:ext>
              </a:extLst>
            </p:cNvPr>
            <p:cNvSpPr>
              <a:spLocks noChangeAspect="1"/>
            </p:cNvSpPr>
            <p:nvPr/>
          </p:nvSpPr>
          <p:spPr>
            <a:xfrm rot="16629202">
              <a:off x="3982513" y="3585982"/>
              <a:ext cx="1005130" cy="1136143"/>
            </a:xfrm>
            <a:prstGeom prst="ellipse">
              <a:avLst/>
            </a:prstGeom>
            <a:gradFill>
              <a:gsLst>
                <a:gs pos="37000">
                  <a:srgbClr val="DEDEDE"/>
                </a:gs>
                <a:gs pos="100000">
                  <a:schemeClr val="bg1"/>
                </a:gs>
                <a:gs pos="1100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E</a:t>
              </a:r>
              <a:endParaRPr lang="ru-RU">
                <a:solidFill>
                  <a:srgbClr val="333657"/>
                </a:solidFill>
                <a:latin typeface="Arial" panose="020B0604020202020204" pitchFamily="34" charset="0"/>
                <a:cs typeface="Arial" panose="020B0604020202020204" pitchFamily="34" charset="0"/>
              </a:endParaRPr>
            </a:p>
          </p:txBody>
        </p:sp>
        <p:sp>
          <p:nvSpPr>
            <p:cNvPr id="50" name="Полилиния 51">
              <a:extLst>
                <a:ext uri="{FF2B5EF4-FFF2-40B4-BE49-F238E27FC236}">
                  <a16:creationId xmlns:a16="http://schemas.microsoft.com/office/drawing/2014/main" id="{C197B42E-2975-E245-8D8B-2E726A02A1D8}"/>
                </a:ext>
              </a:extLst>
            </p:cNvPr>
            <p:cNvSpPr/>
            <p:nvPr/>
          </p:nvSpPr>
          <p:spPr>
            <a:xfrm>
              <a:off x="4591133" y="3658054"/>
              <a:ext cx="465394" cy="355326"/>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grpSp>
        <p:nvGrpSpPr>
          <p:cNvPr id="52" name="Group 51">
            <a:extLst>
              <a:ext uri="{FF2B5EF4-FFF2-40B4-BE49-F238E27FC236}">
                <a16:creationId xmlns:a16="http://schemas.microsoft.com/office/drawing/2014/main" id="{32841DC6-649D-5D41-84F1-80B45FC06F72}"/>
              </a:ext>
            </a:extLst>
          </p:cNvPr>
          <p:cNvGrpSpPr/>
          <p:nvPr/>
        </p:nvGrpSpPr>
        <p:grpSpPr>
          <a:xfrm rot="4970798">
            <a:off x="10212826" y="1681177"/>
            <a:ext cx="720000" cy="730524"/>
            <a:chOff x="4123001" y="3503926"/>
            <a:chExt cx="1136141" cy="1019820"/>
          </a:xfrm>
        </p:grpSpPr>
        <p:sp>
          <p:nvSpPr>
            <p:cNvPr id="54" name="Овал 1">
              <a:extLst>
                <a:ext uri="{FF2B5EF4-FFF2-40B4-BE49-F238E27FC236}">
                  <a16:creationId xmlns:a16="http://schemas.microsoft.com/office/drawing/2014/main" id="{52328649-E317-1E44-BEE3-AB0D0CAC572B}"/>
                </a:ext>
              </a:extLst>
            </p:cNvPr>
            <p:cNvSpPr>
              <a:spLocks noChangeAspect="1"/>
            </p:cNvSpPr>
            <p:nvPr/>
          </p:nvSpPr>
          <p:spPr>
            <a:xfrm rot="16629202">
              <a:off x="4188506" y="3453110"/>
              <a:ext cx="1005131" cy="1136141"/>
            </a:xfrm>
            <a:prstGeom prst="ellipse">
              <a:avLst/>
            </a:prstGeom>
            <a:gradFill>
              <a:gsLst>
                <a:gs pos="24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rgbClr val="333657"/>
                  </a:solidFill>
                  <a:latin typeface="Arial" panose="020B0604020202020204" pitchFamily="34" charset="0"/>
                  <a:cs typeface="Arial" panose="020B0604020202020204" pitchFamily="34" charset="0"/>
                </a:rPr>
                <a:t>L</a:t>
              </a:r>
              <a:endParaRPr lang="ru-RU">
                <a:solidFill>
                  <a:srgbClr val="333657"/>
                </a:solidFill>
                <a:latin typeface="Arial" panose="020B0604020202020204" pitchFamily="34" charset="0"/>
                <a:cs typeface="Arial" panose="020B0604020202020204" pitchFamily="34" charset="0"/>
              </a:endParaRPr>
            </a:p>
          </p:txBody>
        </p:sp>
        <p:sp>
          <p:nvSpPr>
            <p:cNvPr id="55" name="Полилиния 51">
              <a:extLst>
                <a:ext uri="{FF2B5EF4-FFF2-40B4-BE49-F238E27FC236}">
                  <a16:creationId xmlns:a16="http://schemas.microsoft.com/office/drawing/2014/main" id="{6CAFFFB9-60DF-4541-B365-DEAF43AA7C45}"/>
                </a:ext>
              </a:extLst>
            </p:cNvPr>
            <p:cNvSpPr/>
            <p:nvPr/>
          </p:nvSpPr>
          <p:spPr>
            <a:xfrm>
              <a:off x="4777216" y="3503926"/>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2A729F"/>
                </a:solidFill>
                <a:latin typeface="Arial" panose="020B0604020202020204" pitchFamily="34" charset="0"/>
                <a:cs typeface="Arial" panose="020B0604020202020204" pitchFamily="34" charset="0"/>
              </a:endParaRPr>
            </a:p>
          </p:txBody>
        </p:sp>
      </p:grpSp>
      <p:cxnSp>
        <p:nvCxnSpPr>
          <p:cNvPr id="8" name="Straight Connector 7">
            <a:extLst>
              <a:ext uri="{FF2B5EF4-FFF2-40B4-BE49-F238E27FC236}">
                <a16:creationId xmlns:a16="http://schemas.microsoft.com/office/drawing/2014/main" id="{B9B5E2F7-2FDF-A04D-9462-1E297E0D85F3}"/>
              </a:ext>
            </a:extLst>
          </p:cNvPr>
          <p:cNvCxnSpPr>
            <a:cxnSpLocks/>
          </p:cNvCxnSpPr>
          <p:nvPr/>
        </p:nvCxnSpPr>
        <p:spPr>
          <a:xfrm>
            <a:off x="2714966" y="1901286"/>
            <a:ext cx="0" cy="4044794"/>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59" name="Straight Connector 58">
            <a:extLst>
              <a:ext uri="{FF2B5EF4-FFF2-40B4-BE49-F238E27FC236}">
                <a16:creationId xmlns:a16="http://schemas.microsoft.com/office/drawing/2014/main" id="{2C51F426-F00E-0248-AF9F-125DF0AE9D77}"/>
              </a:ext>
            </a:extLst>
          </p:cNvPr>
          <p:cNvCxnSpPr>
            <a:cxnSpLocks/>
          </p:cNvCxnSpPr>
          <p:nvPr/>
        </p:nvCxnSpPr>
        <p:spPr>
          <a:xfrm>
            <a:off x="4391366" y="1901286"/>
            <a:ext cx="0" cy="4044794"/>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1" name="Straight Connector 60">
            <a:extLst>
              <a:ext uri="{FF2B5EF4-FFF2-40B4-BE49-F238E27FC236}">
                <a16:creationId xmlns:a16="http://schemas.microsoft.com/office/drawing/2014/main" id="{C22AFB07-6C3E-3142-97A1-A89254FEEE1E}"/>
              </a:ext>
            </a:extLst>
          </p:cNvPr>
          <p:cNvCxnSpPr>
            <a:cxnSpLocks/>
          </p:cNvCxnSpPr>
          <p:nvPr/>
        </p:nvCxnSpPr>
        <p:spPr>
          <a:xfrm>
            <a:off x="6100318" y="1901286"/>
            <a:ext cx="0" cy="4044794"/>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4" name="Straight Connector 63">
            <a:extLst>
              <a:ext uri="{FF2B5EF4-FFF2-40B4-BE49-F238E27FC236}">
                <a16:creationId xmlns:a16="http://schemas.microsoft.com/office/drawing/2014/main" id="{198EE1DC-DDC4-7546-9F33-EA54CC1B4930}"/>
              </a:ext>
            </a:extLst>
          </p:cNvPr>
          <p:cNvCxnSpPr>
            <a:cxnSpLocks/>
          </p:cNvCxnSpPr>
          <p:nvPr/>
        </p:nvCxnSpPr>
        <p:spPr>
          <a:xfrm>
            <a:off x="7792760" y="1901286"/>
            <a:ext cx="0" cy="4044794"/>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cxnSp>
        <p:nvCxnSpPr>
          <p:cNvPr id="66" name="Straight Connector 65">
            <a:extLst>
              <a:ext uri="{FF2B5EF4-FFF2-40B4-BE49-F238E27FC236}">
                <a16:creationId xmlns:a16="http://schemas.microsoft.com/office/drawing/2014/main" id="{C95E9142-0764-6844-A20B-741D21F5D15C}"/>
              </a:ext>
            </a:extLst>
          </p:cNvPr>
          <p:cNvCxnSpPr>
            <a:cxnSpLocks/>
          </p:cNvCxnSpPr>
          <p:nvPr/>
        </p:nvCxnSpPr>
        <p:spPr>
          <a:xfrm>
            <a:off x="9533329" y="1901286"/>
            <a:ext cx="0" cy="4044794"/>
          </a:xfrm>
          <a:prstGeom prst="line">
            <a:avLst/>
          </a:prstGeom>
          <a:noFill/>
          <a:ln w="12700" cap="rnd">
            <a:solidFill>
              <a:schemeClr val="tx2"/>
            </a:solidFill>
            <a:prstDash val="sysDash"/>
            <a:round/>
          </a:ln>
          <a:effectLst>
            <a:outerShdw dist="20000" sx="1000" sy="1000" rotWithShape="0">
              <a:srgbClr val="000000"/>
            </a:outerShdw>
          </a:effectLst>
          <a:sp3d/>
        </p:spPr>
        <p:style>
          <a:lnRef idx="0">
            <a:scrgbClr r="0" g="0" b="0"/>
          </a:lnRef>
          <a:fillRef idx="0">
            <a:scrgbClr r="0" g="0" b="0"/>
          </a:fillRef>
          <a:effectRef idx="0">
            <a:scrgbClr r="0" g="0" b="0"/>
          </a:effectRef>
          <a:fontRef idx="none"/>
        </p:style>
      </p:cxnSp>
      <p:sp>
        <p:nvSpPr>
          <p:cNvPr id="74" name="Rectangle 73">
            <a:extLst>
              <a:ext uri="{FF2B5EF4-FFF2-40B4-BE49-F238E27FC236}">
                <a16:creationId xmlns:a16="http://schemas.microsoft.com/office/drawing/2014/main" id="{F4498058-5829-D54F-A6A1-A9F5498673A1}"/>
              </a:ext>
            </a:extLst>
          </p:cNvPr>
          <p:cNvSpPr/>
          <p:nvPr/>
        </p:nvSpPr>
        <p:spPr>
          <a:xfrm>
            <a:off x="1019262" y="2740629"/>
            <a:ext cx="1626521" cy="2608406"/>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Political</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Increasing political focus on healthcare</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Global governments look for healthcare savings</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Political decisions causes political turmoil</a:t>
            </a:r>
          </a:p>
        </p:txBody>
      </p:sp>
      <p:sp>
        <p:nvSpPr>
          <p:cNvPr id="76" name="Rectangle 75">
            <a:extLst>
              <a:ext uri="{FF2B5EF4-FFF2-40B4-BE49-F238E27FC236}">
                <a16:creationId xmlns:a16="http://schemas.microsoft.com/office/drawing/2014/main" id="{61D65BF5-58C5-6E4F-ACC0-39A49206C77F}"/>
              </a:ext>
            </a:extLst>
          </p:cNvPr>
          <p:cNvSpPr/>
          <p:nvPr/>
        </p:nvSpPr>
        <p:spPr>
          <a:xfrm>
            <a:off x="2759830" y="2736725"/>
            <a:ext cx="1626521" cy="3023905"/>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Economic</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Increasing labor cost</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Inflation</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Low consumer confidence</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Low fuel prices and interest rates helps promote growth in market capacity</a:t>
            </a:r>
          </a:p>
        </p:txBody>
      </p:sp>
      <p:sp>
        <p:nvSpPr>
          <p:cNvPr id="77" name="Rectangle 76">
            <a:extLst>
              <a:ext uri="{FF2B5EF4-FFF2-40B4-BE49-F238E27FC236}">
                <a16:creationId xmlns:a16="http://schemas.microsoft.com/office/drawing/2014/main" id="{8175D68D-44CC-FC47-BC0A-263E49B2E0FF}"/>
              </a:ext>
            </a:extLst>
          </p:cNvPr>
          <p:cNvSpPr/>
          <p:nvPr/>
        </p:nvSpPr>
        <p:spPr>
          <a:xfrm>
            <a:off x="4463036" y="2748978"/>
            <a:ext cx="1626521" cy="2023631"/>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Social</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Company ABC was infamously fined for pollution issues</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Increasing attention in healthcare sector</a:t>
            </a:r>
          </a:p>
        </p:txBody>
      </p:sp>
      <p:sp>
        <p:nvSpPr>
          <p:cNvPr id="78" name="Rectangle 77">
            <a:extLst>
              <a:ext uri="{FF2B5EF4-FFF2-40B4-BE49-F238E27FC236}">
                <a16:creationId xmlns:a16="http://schemas.microsoft.com/office/drawing/2014/main" id="{C1139329-2F53-504B-B2B7-55415CED4D91}"/>
              </a:ext>
            </a:extLst>
          </p:cNvPr>
          <p:cNvSpPr/>
          <p:nvPr/>
        </p:nvSpPr>
        <p:spPr>
          <a:xfrm>
            <a:off x="6166240" y="2744225"/>
            <a:ext cx="1626521" cy="1408078"/>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Technological</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Opportunity in advertising through social media</a:t>
            </a:r>
          </a:p>
        </p:txBody>
      </p:sp>
      <p:sp>
        <p:nvSpPr>
          <p:cNvPr id="79" name="Rectangle 78">
            <a:extLst>
              <a:ext uri="{FF2B5EF4-FFF2-40B4-BE49-F238E27FC236}">
                <a16:creationId xmlns:a16="http://schemas.microsoft.com/office/drawing/2014/main" id="{CC1AD17B-1762-D34E-95E3-09A25E7E074B}"/>
              </a:ext>
            </a:extLst>
          </p:cNvPr>
          <p:cNvSpPr/>
          <p:nvPr/>
        </p:nvSpPr>
        <p:spPr>
          <a:xfrm>
            <a:off x="9626291" y="2739917"/>
            <a:ext cx="1626521" cy="1438855"/>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Legal</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Company ABC was infamously fined for pollution issues</a:t>
            </a:r>
          </a:p>
        </p:txBody>
      </p:sp>
      <p:sp>
        <p:nvSpPr>
          <p:cNvPr id="80" name="Rectangle 79">
            <a:extLst>
              <a:ext uri="{FF2B5EF4-FFF2-40B4-BE49-F238E27FC236}">
                <a16:creationId xmlns:a16="http://schemas.microsoft.com/office/drawing/2014/main" id="{192906FC-9765-8642-BB35-B738FD2C7338}"/>
              </a:ext>
            </a:extLst>
          </p:cNvPr>
          <p:cNvSpPr/>
          <p:nvPr/>
        </p:nvSpPr>
        <p:spPr>
          <a:xfrm>
            <a:off x="7908997" y="2742522"/>
            <a:ext cx="1626521" cy="2331407"/>
          </a:xfrm>
          <a:prstGeom prst="rect">
            <a:avLst/>
          </a:prstGeom>
        </p:spPr>
        <p:txBody>
          <a:bodyPr wrap="square">
            <a:spAutoFit/>
          </a:bodyPr>
          <a:lstStyle/>
          <a:p>
            <a:pPr defTabSz="913577">
              <a:spcAft>
                <a:spcPts val="300"/>
              </a:spcAft>
            </a:pPr>
            <a:r>
              <a:rPr lang="en-US" sz="1600" b="1">
                <a:solidFill>
                  <a:srgbClr val="333657"/>
                </a:solidFill>
                <a:latin typeface="Arial" panose="020B0604020202020204" pitchFamily="34" charset="0"/>
                <a:cs typeface="Arial" panose="020B0604020202020204" pitchFamily="34" charset="0"/>
              </a:rPr>
              <a:t>Environmental</a:t>
            </a:r>
          </a:p>
          <a:p>
            <a:pPr defTabSz="913577">
              <a:spcAft>
                <a:spcPts val="300"/>
              </a:spcAft>
            </a:pPr>
            <a:endParaRPr lang="en-US" b="1">
              <a:solidFill>
                <a:srgbClr val="2A729F"/>
              </a:solidFill>
              <a:latin typeface="Arial" panose="020B0604020202020204" pitchFamily="34" charset="0"/>
              <a:cs typeface="Arial" panose="020B0604020202020204" pitchFamily="34" charset="0"/>
            </a:endParaRP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Adverse weather condition causes   the temporary suspension of      some factories</a:t>
            </a:r>
          </a:p>
          <a:p>
            <a:pPr defTabSz="913577">
              <a:spcAft>
                <a:spcPts val="300"/>
              </a:spcAft>
            </a:pPr>
            <a:endParaRPr lang="en-US" sz="1100">
              <a:latin typeface="Arial" panose="020B0604020202020204" pitchFamily="34" charset="0"/>
              <a:cs typeface="Arial" panose="020B0604020202020204" pitchFamily="34" charset="0"/>
            </a:endParaRPr>
          </a:p>
          <a:p>
            <a:pPr defTabSz="913577">
              <a:spcAft>
                <a:spcPts val="300"/>
              </a:spcAft>
            </a:pPr>
            <a:r>
              <a:rPr lang="en-US" sz="1100">
                <a:latin typeface="Arial" panose="020B0604020202020204" pitchFamily="34" charset="0"/>
                <a:cs typeface="Arial" panose="020B0604020202020204" pitchFamily="34" charset="0"/>
              </a:rPr>
              <a:t>Growing attention   to environmental protection</a:t>
            </a:r>
          </a:p>
        </p:txBody>
      </p:sp>
      <p:sp>
        <p:nvSpPr>
          <p:cNvPr id="3" name="Inhaltsplatzhalter 2">
            <a:extLst>
              <a:ext uri="{FF2B5EF4-FFF2-40B4-BE49-F238E27FC236}">
                <a16:creationId xmlns:a16="http://schemas.microsoft.com/office/drawing/2014/main" id="{396222C6-A58E-B141-AAA2-E6DCC894BD44}"/>
              </a:ext>
            </a:extLst>
          </p:cNvPr>
          <p:cNvSpPr>
            <a:spLocks noGrp="1"/>
          </p:cNvSpPr>
          <p:nvPr>
            <p:ph sz="quarter" idx="10"/>
          </p:nvPr>
        </p:nvSpPr>
        <p:spPr/>
        <p:txBody>
          <a:bodyPr/>
          <a:lstStyle/>
          <a:p>
            <a:endParaRPr lang="en-GB"/>
          </a:p>
        </p:txBody>
      </p:sp>
      <p:sp>
        <p:nvSpPr>
          <p:cNvPr id="10" name="Inhaltsplatzhalter 9">
            <a:extLst>
              <a:ext uri="{FF2B5EF4-FFF2-40B4-BE49-F238E27FC236}">
                <a16:creationId xmlns:a16="http://schemas.microsoft.com/office/drawing/2014/main" id="{17DFD1C3-850F-084E-A7DE-4B79E84DB90D}"/>
              </a:ext>
            </a:extLst>
          </p:cNvPr>
          <p:cNvSpPr>
            <a:spLocks noGrp="1"/>
          </p:cNvSpPr>
          <p:nvPr>
            <p:ph sz="quarter" idx="14"/>
          </p:nvPr>
        </p:nvSpPr>
        <p:spPr/>
        <p:txBody>
          <a:bodyPr/>
          <a:lstStyle/>
          <a:p>
            <a:endParaRPr lang="en-GB"/>
          </a:p>
        </p:txBody>
      </p:sp>
      <p:sp>
        <p:nvSpPr>
          <p:cNvPr id="56" name="Titel 5">
            <a:extLst>
              <a:ext uri="{FF2B5EF4-FFF2-40B4-BE49-F238E27FC236}">
                <a16:creationId xmlns:a16="http://schemas.microsoft.com/office/drawing/2014/main" id="{55C1DA75-A0C3-7843-8DB6-902B9984A9D1}"/>
              </a:ext>
            </a:extLst>
          </p:cNvPr>
          <p:cNvSpPr>
            <a:spLocks noGrp="1"/>
          </p:cNvSpPr>
          <p:nvPr>
            <p:ph type="title"/>
          </p:nvPr>
        </p:nvSpPr>
        <p:spPr>
          <a:xfrm>
            <a:off x="365682" y="397932"/>
            <a:ext cx="9940367" cy="795805"/>
          </a:xfrm>
        </p:spPr>
        <p:txBody>
          <a:bodyPr/>
          <a:lstStyle/>
          <a:p>
            <a:endParaRPr lang="en-GB"/>
          </a:p>
        </p:txBody>
      </p:sp>
    </p:spTree>
    <p:extLst>
      <p:ext uri="{BB962C8B-B14F-4D97-AF65-F5344CB8AC3E}">
        <p14:creationId xmlns:p14="http://schemas.microsoft.com/office/powerpoint/2010/main" val="422203264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3F49242-27C7-CA41-8563-B4075101FEAB}"/>
              </a:ext>
            </a:extLst>
          </p:cNvPr>
          <p:cNvGraphicFramePr>
            <a:graphicFrameLocks noChangeAspect="1"/>
          </p:cNvGraphicFramePr>
          <p:nvPr>
            <p:custDataLst>
              <p:tags r:id="rId1"/>
            </p:custDataLst>
            <p:extLst>
              <p:ext uri="{D42A27DB-BD31-4B8C-83A1-F6EECF244321}">
                <p14:modId xmlns:p14="http://schemas.microsoft.com/office/powerpoint/2010/main" val="32678582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kt 7" hidden="1">
                        <a:extLst>
                          <a:ext uri="{FF2B5EF4-FFF2-40B4-BE49-F238E27FC236}">
                            <a16:creationId xmlns:a16="http://schemas.microsoft.com/office/drawing/2014/main" id="{63F49242-27C7-CA41-8563-B4075101FEA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4" name="Oval 3">
            <a:extLst>
              <a:ext uri="{FF2B5EF4-FFF2-40B4-BE49-F238E27FC236}">
                <a16:creationId xmlns:a16="http://schemas.microsoft.com/office/drawing/2014/main" id="{17B09F74-BFCD-7E40-B165-09904B93B677}"/>
              </a:ext>
            </a:extLst>
          </p:cNvPr>
          <p:cNvSpPr>
            <a:spLocks/>
          </p:cNvSpPr>
          <p:nvPr/>
        </p:nvSpPr>
        <p:spPr bwMode="gray">
          <a:xfrm>
            <a:off x="1321384" y="445904"/>
            <a:ext cx="7056992" cy="7057738"/>
          </a:xfrm>
          <a:prstGeom prst="ellipse">
            <a:avLst/>
          </a:prstGeom>
          <a:noFill/>
          <a:ln w="9525" cap="rnd" cmpd="sng">
            <a:solidFill>
              <a:srgbClr val="B3B3B3"/>
            </a:solidFill>
            <a:prstDash val="sysDash"/>
            <a:round/>
            <a:headEnd type="triangle" w="med" len="med"/>
            <a:tailEnd type="triangle" w="med" len="med"/>
          </a:ln>
          <a:effectLst/>
          <a:scene3d>
            <a:camera prst="orthographicFront">
              <a:rot lat="0" lon="0" rev="0"/>
            </a:camera>
            <a:lightRig rig="balanced" dir="t">
              <a:rot lat="0" lon="0" rev="8700000"/>
            </a:lightRig>
          </a:scene3d>
          <a:sp3d/>
        </p:spPr>
        <p:txBody>
          <a:bodyPr wrap="none" lIns="0" tIns="0" rIns="0" bIns="0" anchor="ctr" anchorCtr="1"/>
          <a:lstStyle/>
          <a:p>
            <a:pPr algn="ctr" hangingPunct="0">
              <a:lnSpc>
                <a:spcPct val="90000"/>
              </a:lnSpc>
              <a:spcBef>
                <a:spcPts val="1000"/>
              </a:spcBef>
              <a:spcAft>
                <a:spcPts val="999"/>
              </a:spcAft>
              <a:tabLst>
                <a:tab pos="656059" algn="l"/>
                <a:tab pos="1312117" algn="l"/>
                <a:tab pos="1968176" algn="l"/>
              </a:tabLst>
              <a:defRPr/>
            </a:pPr>
            <a:endParaRPr lang="en-US" sz="1399" kern="0" noProof="1">
              <a:solidFill>
                <a:srgbClr val="FFFFFF"/>
              </a:solidFill>
              <a:latin typeface="Arial" panose="020B0604020202020204" pitchFamily="34" charset="0"/>
              <a:cs typeface="Arial" panose="020B0604020202020204" pitchFamily="34" charset="0"/>
              <a:sym typeface="Century Gothic"/>
            </a:endParaRPr>
          </a:p>
        </p:txBody>
      </p:sp>
      <p:sp>
        <p:nvSpPr>
          <p:cNvPr id="21" name="Titel 1">
            <a:extLst>
              <a:ext uri="{FF2B5EF4-FFF2-40B4-BE49-F238E27FC236}">
                <a16:creationId xmlns:a16="http://schemas.microsoft.com/office/drawing/2014/main" id="{04017D1D-312D-CD44-8C7A-85D21AC0D1C4}"/>
              </a:ext>
            </a:extLst>
          </p:cNvPr>
          <p:cNvSpPr txBox="1">
            <a:spLocks noGrp="1"/>
          </p:cNvSpPr>
          <p:nvPr>
            <p:ph type="title"/>
          </p:nvPr>
        </p:nvSpPr>
        <p:spPr>
          <a:prstGeom prst="rect">
            <a:avLst/>
          </a:prstGeom>
        </p:spPr>
        <p:txBody>
          <a:bodyPr anchor="ctr"/>
          <a:lstStyle>
            <a:lvl1pPr>
              <a:defRPr sz="2600" b="1">
                <a:solidFill>
                  <a:srgbClr val="262626"/>
                </a:solidFill>
                <a:latin typeface="Century Gothic"/>
                <a:ea typeface="Century Gothic"/>
                <a:cs typeface="Century Gothic"/>
                <a:sym typeface="Century Gothic"/>
              </a:defRPr>
            </a:lvl1pPr>
          </a:lstStyle>
          <a:p>
            <a:r>
              <a:rPr lang="en-US">
                <a:solidFill>
                  <a:srgbClr val="014049"/>
                </a:solidFill>
              </a:rPr>
              <a:t>44. Six Steps of Kaizen</a:t>
            </a:r>
            <a:endParaRPr>
              <a:solidFill>
                <a:srgbClr val="014049"/>
              </a:solidFill>
            </a:endParaRPr>
          </a:p>
        </p:txBody>
      </p:sp>
      <p:sp>
        <p:nvSpPr>
          <p:cNvPr id="2" name="Inhaltsplatzhalter 1">
            <a:extLst>
              <a:ext uri="{FF2B5EF4-FFF2-40B4-BE49-F238E27FC236}">
                <a16:creationId xmlns:a16="http://schemas.microsoft.com/office/drawing/2014/main" id="{7F8EE871-265D-094D-A6FA-042B883B561A}"/>
              </a:ext>
            </a:extLst>
          </p:cNvPr>
          <p:cNvSpPr>
            <a:spLocks noGrp="1"/>
          </p:cNvSpPr>
          <p:nvPr>
            <p:ph sz="quarter" idx="10"/>
          </p:nvPr>
        </p:nvSpPr>
        <p:spPr/>
        <p:txBody>
          <a:bodyPr/>
          <a:lstStyle/>
          <a:p>
            <a:endParaRPr lang="en-GB"/>
          </a:p>
        </p:txBody>
      </p:sp>
      <p:sp>
        <p:nvSpPr>
          <p:cNvPr id="4" name="Textplatzhalter 3">
            <a:extLst>
              <a:ext uri="{FF2B5EF4-FFF2-40B4-BE49-F238E27FC236}">
                <a16:creationId xmlns:a16="http://schemas.microsoft.com/office/drawing/2014/main" id="{5781F3AE-4B2F-2048-B0D8-A0528028ADB2}"/>
              </a:ext>
            </a:extLst>
          </p:cNvPr>
          <p:cNvSpPr>
            <a:spLocks noGrp="1"/>
          </p:cNvSpPr>
          <p:nvPr>
            <p:ph type="body" sz="quarter" idx="12"/>
          </p:nvPr>
        </p:nvSpPr>
        <p:spPr/>
        <p:txBody>
          <a:bodyPr/>
          <a:lstStyle/>
          <a:p>
            <a:endParaRPr lang="en-GB"/>
          </a:p>
        </p:txBody>
      </p:sp>
      <p:sp>
        <p:nvSpPr>
          <p:cNvPr id="5" name="Textplatzhalter 4">
            <a:extLst>
              <a:ext uri="{FF2B5EF4-FFF2-40B4-BE49-F238E27FC236}">
                <a16:creationId xmlns:a16="http://schemas.microsoft.com/office/drawing/2014/main" id="{976FD7B7-2EF9-F140-8C74-DB1A77BED79D}"/>
              </a:ext>
            </a:extLst>
          </p:cNvPr>
          <p:cNvSpPr>
            <a:spLocks noGrp="1"/>
          </p:cNvSpPr>
          <p:nvPr>
            <p:ph type="body" sz="quarter" idx="13"/>
          </p:nvPr>
        </p:nvSpPr>
        <p:spPr/>
        <p:txBody>
          <a:bodyPr/>
          <a:lstStyle/>
          <a:p>
            <a:endParaRPr lang="en-GB"/>
          </a:p>
        </p:txBody>
      </p:sp>
      <p:sp>
        <p:nvSpPr>
          <p:cNvPr id="7" name="Inhaltsplatzhalter 6">
            <a:extLst>
              <a:ext uri="{FF2B5EF4-FFF2-40B4-BE49-F238E27FC236}">
                <a16:creationId xmlns:a16="http://schemas.microsoft.com/office/drawing/2014/main" id="{10D9C7DF-1F04-7541-9BD3-DACF74642DB6}"/>
              </a:ext>
            </a:extLst>
          </p:cNvPr>
          <p:cNvSpPr>
            <a:spLocks noGrp="1"/>
          </p:cNvSpPr>
          <p:nvPr>
            <p:ph sz="quarter" idx="14"/>
          </p:nvPr>
        </p:nvSpPr>
        <p:spPr/>
        <p:txBody>
          <a:bodyPr/>
          <a:lstStyle/>
          <a:p>
            <a:endParaRPr lang="en-GB"/>
          </a:p>
        </p:txBody>
      </p:sp>
      <p:sp>
        <p:nvSpPr>
          <p:cNvPr id="28" name="Oval 3">
            <a:extLst>
              <a:ext uri="{FF2B5EF4-FFF2-40B4-BE49-F238E27FC236}">
                <a16:creationId xmlns:a16="http://schemas.microsoft.com/office/drawing/2014/main" id="{4FFD6228-D630-F148-A0BD-4D30355DE65E}"/>
              </a:ext>
            </a:extLst>
          </p:cNvPr>
          <p:cNvSpPr>
            <a:spLocks/>
          </p:cNvSpPr>
          <p:nvPr/>
        </p:nvSpPr>
        <p:spPr bwMode="gray">
          <a:xfrm>
            <a:off x="3667241" y="2787278"/>
            <a:ext cx="2374740" cy="2374990"/>
          </a:xfrm>
          <a:prstGeom prst="ellipse">
            <a:avLst/>
          </a:prstGeom>
          <a:noFill/>
          <a:ln w="12700" cmpd="sng">
            <a:solidFill>
              <a:schemeClr val="accent2"/>
            </a:solidFill>
            <a:prstDash val="solid"/>
            <a:round/>
            <a:headEnd type="triangle" w="med" len="med"/>
            <a:tailEnd type="triangle" w="med" len="med"/>
          </a:ln>
          <a:effectLst/>
          <a:scene3d>
            <a:camera prst="orthographicFront">
              <a:rot lat="0" lon="0" rev="0"/>
            </a:camera>
            <a:lightRig rig="balanced" dir="t">
              <a:rot lat="0" lon="0" rev="8700000"/>
            </a:lightRig>
          </a:scene3d>
          <a:sp3d/>
        </p:spPr>
        <p:txBody>
          <a:bodyPr wrap="none" lIns="0" tIns="0" rIns="0" bIns="0" anchor="ctr" anchorCtr="1"/>
          <a:lstStyle/>
          <a:p>
            <a:pPr algn="ctr" hangingPunct="0">
              <a:lnSpc>
                <a:spcPct val="90000"/>
              </a:lnSpc>
              <a:spcBef>
                <a:spcPts val="1000"/>
              </a:spcBef>
              <a:spcAft>
                <a:spcPts val="999"/>
              </a:spcAft>
              <a:tabLst>
                <a:tab pos="656059" algn="l"/>
                <a:tab pos="1312117" algn="l"/>
                <a:tab pos="1968176" algn="l"/>
              </a:tabLst>
              <a:defRPr/>
            </a:pPr>
            <a:endParaRPr lang="en-US" sz="1399" kern="0" noProof="1">
              <a:solidFill>
                <a:srgbClr val="FFFFFF"/>
              </a:solidFill>
              <a:latin typeface="Bebas Neue" panose="020B0506020202020201" pitchFamily="34" charset="0"/>
              <a:sym typeface="Century Gothic"/>
            </a:endParaRPr>
          </a:p>
        </p:txBody>
      </p:sp>
      <p:grpSp>
        <p:nvGrpSpPr>
          <p:cNvPr id="6" name="Group 5">
            <a:extLst>
              <a:ext uri="{FF2B5EF4-FFF2-40B4-BE49-F238E27FC236}">
                <a16:creationId xmlns:a16="http://schemas.microsoft.com/office/drawing/2014/main" id="{E7101CB6-4A36-3B4D-B8B3-66E8FC443599}"/>
              </a:ext>
            </a:extLst>
          </p:cNvPr>
          <p:cNvGrpSpPr/>
          <p:nvPr/>
        </p:nvGrpSpPr>
        <p:grpSpPr>
          <a:xfrm>
            <a:off x="2789240" y="1875812"/>
            <a:ext cx="4148018" cy="4148457"/>
            <a:chOff x="2782890" y="1875811"/>
            <a:chExt cx="4148018" cy="4148457"/>
          </a:xfrm>
        </p:grpSpPr>
        <p:sp>
          <p:nvSpPr>
            <p:cNvPr id="29" name="Oval 3">
              <a:extLst>
                <a:ext uri="{FF2B5EF4-FFF2-40B4-BE49-F238E27FC236}">
                  <a16:creationId xmlns:a16="http://schemas.microsoft.com/office/drawing/2014/main" id="{AA9DB3E5-D045-5F46-9E9E-50774A1BDEDF}"/>
                </a:ext>
              </a:extLst>
            </p:cNvPr>
            <p:cNvSpPr>
              <a:spLocks/>
            </p:cNvSpPr>
            <p:nvPr/>
          </p:nvSpPr>
          <p:spPr bwMode="gray">
            <a:xfrm>
              <a:off x="2782890" y="1875811"/>
              <a:ext cx="4148018" cy="4148457"/>
            </a:xfrm>
            <a:prstGeom prst="ellipse">
              <a:avLst/>
            </a:prstGeom>
            <a:noFill/>
            <a:ln w="12700" cap="rnd" cmpd="sng">
              <a:solidFill>
                <a:srgbClr val="333657"/>
              </a:solidFill>
              <a:prstDash val="sysDash"/>
              <a:round/>
              <a:headEnd type="triangle" w="med" len="med"/>
              <a:tailEnd type="triangle" w="med" len="med"/>
            </a:ln>
            <a:effectLst/>
            <a:scene3d>
              <a:camera prst="orthographicFront">
                <a:rot lat="0" lon="0" rev="0"/>
              </a:camera>
              <a:lightRig rig="balanced" dir="t">
                <a:rot lat="0" lon="0" rev="8700000"/>
              </a:lightRig>
            </a:scene3d>
            <a:sp3d/>
          </p:spPr>
          <p:txBody>
            <a:bodyPr wrap="none" lIns="0" tIns="0" rIns="0" bIns="0" anchor="ctr" anchorCtr="1"/>
            <a:lstStyle/>
            <a:p>
              <a:pPr algn="ctr" hangingPunct="0">
                <a:lnSpc>
                  <a:spcPct val="90000"/>
                </a:lnSpc>
                <a:spcBef>
                  <a:spcPts val="1000"/>
                </a:spcBef>
                <a:spcAft>
                  <a:spcPts val="999"/>
                </a:spcAft>
                <a:tabLst>
                  <a:tab pos="656059" algn="l"/>
                  <a:tab pos="1312117" algn="l"/>
                  <a:tab pos="1968176" algn="l"/>
                </a:tabLst>
                <a:defRPr/>
              </a:pPr>
              <a:endParaRPr lang="en-US" sz="1399" kern="0" noProof="1">
                <a:solidFill>
                  <a:srgbClr val="FFFFFF"/>
                </a:solidFill>
                <a:latin typeface="Bebas Neue" panose="020B0506020202020201" pitchFamily="34" charset="0"/>
                <a:sym typeface="Century Gothic"/>
              </a:endParaRPr>
            </a:p>
          </p:txBody>
        </p:sp>
        <p:sp>
          <p:nvSpPr>
            <p:cNvPr id="61" name="Triangle 94">
              <a:extLst>
                <a:ext uri="{FF2B5EF4-FFF2-40B4-BE49-F238E27FC236}">
                  <a16:creationId xmlns:a16="http://schemas.microsoft.com/office/drawing/2014/main" id="{CE2BA6E9-C7E9-A244-92A5-7ABA4BAFBC16}"/>
                </a:ext>
              </a:extLst>
            </p:cNvPr>
            <p:cNvSpPr/>
            <p:nvPr/>
          </p:nvSpPr>
          <p:spPr>
            <a:xfrm rot="4646596">
              <a:off x="4022619" y="1890791"/>
              <a:ext cx="170536" cy="214200"/>
            </a:xfrm>
            <a:prstGeom prst="triangle">
              <a:avLst>
                <a:gd name="adj" fmla="val 52793"/>
              </a:avLst>
            </a:prstGeom>
            <a:solidFill>
              <a:srgbClr val="333657"/>
            </a:solidFill>
            <a:ln w="12700">
              <a:solidFill>
                <a:srgbClr val="333657"/>
              </a:solidFill>
              <a:miter lim="400000"/>
            </a:ln>
          </p:spPr>
          <p:txBody>
            <a:bodyPr lIns="36000" tIns="36000" rIns="36000" bIns="36000" anchor="ctr"/>
            <a:lstStyle/>
            <a:p>
              <a:pPr algn="ctr" hangingPunct="0">
                <a:lnSpc>
                  <a:spcPct val="90000"/>
                </a:lnSpc>
                <a:spcBef>
                  <a:spcPts val="1000"/>
                </a:spcBef>
                <a:defRPr sz="1800">
                  <a:solidFill>
                    <a:srgbClr val="FFFFFF"/>
                  </a:solidFill>
                  <a:latin typeface="Calibri Light"/>
                  <a:ea typeface="Calibri Light"/>
                  <a:cs typeface="Calibri Light"/>
                  <a:sym typeface="Calibri Light"/>
                </a:defRPr>
              </a:pPr>
              <a:endParaRPr kern="0">
                <a:solidFill>
                  <a:srgbClr val="FFFFFF"/>
                </a:solidFill>
                <a:latin typeface="Calibri Light"/>
                <a:cs typeface="Calibri Light"/>
                <a:sym typeface="Calibri Light"/>
              </a:endParaRPr>
            </a:p>
          </p:txBody>
        </p:sp>
        <p:sp>
          <p:nvSpPr>
            <p:cNvPr id="64" name="Triangle 94">
              <a:extLst>
                <a:ext uri="{FF2B5EF4-FFF2-40B4-BE49-F238E27FC236}">
                  <a16:creationId xmlns:a16="http://schemas.microsoft.com/office/drawing/2014/main" id="{D5686E63-21C6-FE4B-BB06-95B143C62BFB}"/>
                </a:ext>
              </a:extLst>
            </p:cNvPr>
            <p:cNvSpPr/>
            <p:nvPr/>
          </p:nvSpPr>
          <p:spPr>
            <a:xfrm rot="14239801">
              <a:off x="5643970" y="5711959"/>
              <a:ext cx="170536" cy="214200"/>
            </a:xfrm>
            <a:prstGeom prst="triangle">
              <a:avLst>
                <a:gd name="adj" fmla="val 52793"/>
              </a:avLst>
            </a:prstGeom>
            <a:solidFill>
              <a:srgbClr val="333657"/>
            </a:solidFill>
            <a:ln w="12700">
              <a:solidFill>
                <a:srgbClr val="333657"/>
              </a:solidFill>
              <a:miter lim="400000"/>
            </a:ln>
          </p:spPr>
          <p:txBody>
            <a:bodyPr lIns="36000" tIns="36000" rIns="36000" bIns="36000" anchor="ctr"/>
            <a:lstStyle/>
            <a:p>
              <a:pPr algn="ctr" hangingPunct="0">
                <a:lnSpc>
                  <a:spcPct val="90000"/>
                </a:lnSpc>
                <a:spcBef>
                  <a:spcPts val="1000"/>
                </a:spcBef>
                <a:defRPr sz="1800">
                  <a:solidFill>
                    <a:srgbClr val="FFFFFF"/>
                  </a:solidFill>
                  <a:latin typeface="Calibri Light"/>
                  <a:ea typeface="Calibri Light"/>
                  <a:cs typeface="Calibri Light"/>
                  <a:sym typeface="Calibri Light"/>
                </a:defRPr>
              </a:pPr>
              <a:endParaRPr kern="0">
                <a:solidFill>
                  <a:srgbClr val="FFFFFF"/>
                </a:solidFill>
                <a:latin typeface="Calibri Light"/>
                <a:cs typeface="Calibri Light"/>
                <a:sym typeface="Calibri Light"/>
              </a:endParaRPr>
            </a:p>
          </p:txBody>
        </p:sp>
        <p:sp>
          <p:nvSpPr>
            <p:cNvPr id="77" name="Triangle 94">
              <a:extLst>
                <a:ext uri="{FF2B5EF4-FFF2-40B4-BE49-F238E27FC236}">
                  <a16:creationId xmlns:a16="http://schemas.microsoft.com/office/drawing/2014/main" id="{0BEB1529-16BC-4B42-AACB-1F5AA81D8E92}"/>
                </a:ext>
              </a:extLst>
            </p:cNvPr>
            <p:cNvSpPr/>
            <p:nvPr/>
          </p:nvSpPr>
          <p:spPr>
            <a:xfrm rot="15142636">
              <a:off x="5402440" y="5812943"/>
              <a:ext cx="170536" cy="214200"/>
            </a:xfrm>
            <a:prstGeom prst="triangle">
              <a:avLst>
                <a:gd name="adj" fmla="val 52793"/>
              </a:avLst>
            </a:prstGeom>
            <a:solidFill>
              <a:srgbClr val="333657"/>
            </a:solidFill>
            <a:ln w="12700">
              <a:solidFill>
                <a:srgbClr val="333657"/>
              </a:solidFill>
              <a:miter lim="400000"/>
            </a:ln>
          </p:spPr>
          <p:txBody>
            <a:bodyPr lIns="36000" tIns="36000" rIns="36000" bIns="36000" anchor="ctr"/>
            <a:lstStyle/>
            <a:p>
              <a:pPr algn="ctr" hangingPunct="0">
                <a:lnSpc>
                  <a:spcPct val="90000"/>
                </a:lnSpc>
                <a:spcBef>
                  <a:spcPts val="1000"/>
                </a:spcBef>
                <a:defRPr sz="1800">
                  <a:solidFill>
                    <a:srgbClr val="FFFFFF"/>
                  </a:solidFill>
                  <a:latin typeface="Calibri Light"/>
                  <a:ea typeface="Calibri Light"/>
                  <a:cs typeface="Calibri Light"/>
                  <a:sym typeface="Calibri Light"/>
                </a:defRPr>
              </a:pPr>
              <a:endParaRPr kern="0">
                <a:solidFill>
                  <a:srgbClr val="FFFFFF"/>
                </a:solidFill>
                <a:latin typeface="Calibri Light"/>
                <a:cs typeface="Calibri Light"/>
                <a:sym typeface="Calibri Light"/>
              </a:endParaRPr>
            </a:p>
          </p:txBody>
        </p:sp>
        <p:sp>
          <p:nvSpPr>
            <p:cNvPr id="78" name="Triangle 94">
              <a:extLst>
                <a:ext uri="{FF2B5EF4-FFF2-40B4-BE49-F238E27FC236}">
                  <a16:creationId xmlns:a16="http://schemas.microsoft.com/office/drawing/2014/main" id="{4E9A72DE-111D-A843-A6F8-B716E679A83F}"/>
                </a:ext>
              </a:extLst>
            </p:cNvPr>
            <p:cNvSpPr/>
            <p:nvPr/>
          </p:nvSpPr>
          <p:spPr>
            <a:xfrm rot="4030679">
              <a:off x="3781451" y="2006401"/>
              <a:ext cx="170536" cy="214200"/>
            </a:xfrm>
            <a:prstGeom prst="triangle">
              <a:avLst>
                <a:gd name="adj" fmla="val 52793"/>
              </a:avLst>
            </a:prstGeom>
            <a:solidFill>
              <a:srgbClr val="333657"/>
            </a:solidFill>
            <a:ln w="12700">
              <a:solidFill>
                <a:srgbClr val="333657"/>
              </a:solidFill>
              <a:miter lim="400000"/>
            </a:ln>
          </p:spPr>
          <p:txBody>
            <a:bodyPr lIns="36000" tIns="36000" rIns="36000" bIns="36000" anchor="ctr"/>
            <a:lstStyle/>
            <a:p>
              <a:pPr algn="ctr" hangingPunct="0">
                <a:lnSpc>
                  <a:spcPct val="90000"/>
                </a:lnSpc>
                <a:spcBef>
                  <a:spcPts val="1000"/>
                </a:spcBef>
                <a:defRPr sz="1800">
                  <a:solidFill>
                    <a:srgbClr val="FFFFFF"/>
                  </a:solidFill>
                  <a:latin typeface="Calibri Light"/>
                  <a:ea typeface="Calibri Light"/>
                  <a:cs typeface="Calibri Light"/>
                  <a:sym typeface="Calibri Light"/>
                </a:defRPr>
              </a:pPr>
              <a:endParaRPr kern="0">
                <a:solidFill>
                  <a:srgbClr val="FFFFFF"/>
                </a:solidFill>
                <a:latin typeface="Calibri Light"/>
                <a:cs typeface="Calibri Light"/>
                <a:sym typeface="Calibri Light"/>
              </a:endParaRPr>
            </a:p>
          </p:txBody>
        </p:sp>
      </p:grpSp>
      <p:sp>
        <p:nvSpPr>
          <p:cNvPr id="33" name="Rechteck 149">
            <a:extLst>
              <a:ext uri="{FF2B5EF4-FFF2-40B4-BE49-F238E27FC236}">
                <a16:creationId xmlns:a16="http://schemas.microsoft.com/office/drawing/2014/main" id="{AD4848E0-CFAE-5841-B93C-33047C13EB89}"/>
              </a:ext>
            </a:extLst>
          </p:cNvPr>
          <p:cNvSpPr txBox="1"/>
          <p:nvPr/>
        </p:nvSpPr>
        <p:spPr>
          <a:xfrm>
            <a:off x="9518507" y="1729334"/>
            <a:ext cx="2521984" cy="36817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44000" tIns="144000" rIns="144000" bIns="144000" anchor="t">
            <a:spAutoFit/>
          </a:bodyPr>
          <a:lstStyle/>
          <a:p>
            <a:pPr>
              <a:lnSpc>
                <a:spcPts val="1900"/>
              </a:lnSpc>
              <a:defRPr sz="1400"/>
            </a:pPr>
            <a:r>
              <a:rPr lang="en-US" sz="1400"/>
              <a:t>The Six Steps of Kaizen articulates the six improvement steps that are practiced by Toyota during the past decades. It focuses on the skills, methods and analysis techniques. Implementing the Six Steps of Kaizen will facilitate your company or organization to achieve a new standard or level of performance and enhance your competitiveness.</a:t>
            </a:r>
            <a:endParaRPr lang="en-US" sz="1400" kern="0">
              <a:solidFill>
                <a:srgbClr val="000000"/>
              </a:solidFill>
              <a:latin typeface="Century Gothic"/>
              <a:sym typeface="Century Gothic"/>
            </a:endParaRPr>
          </a:p>
        </p:txBody>
      </p:sp>
      <p:grpSp>
        <p:nvGrpSpPr>
          <p:cNvPr id="36" name="Group 35">
            <a:extLst>
              <a:ext uri="{FF2B5EF4-FFF2-40B4-BE49-F238E27FC236}">
                <a16:creationId xmlns:a16="http://schemas.microsoft.com/office/drawing/2014/main" id="{57106F3F-AA4A-B242-895D-6167A66517BF}"/>
              </a:ext>
            </a:extLst>
          </p:cNvPr>
          <p:cNvGrpSpPr/>
          <p:nvPr/>
        </p:nvGrpSpPr>
        <p:grpSpPr>
          <a:xfrm>
            <a:off x="3454604" y="3049591"/>
            <a:ext cx="748804" cy="748804"/>
            <a:chOff x="957484" y="3872032"/>
            <a:chExt cx="2146784" cy="2146784"/>
          </a:xfrm>
        </p:grpSpPr>
        <p:grpSp>
          <p:nvGrpSpPr>
            <p:cNvPr id="40" name="Group 39">
              <a:extLst>
                <a:ext uri="{FF2B5EF4-FFF2-40B4-BE49-F238E27FC236}">
                  <a16:creationId xmlns:a16="http://schemas.microsoft.com/office/drawing/2014/main" id="{2D45B028-FB04-3B49-8E94-5030752DC730}"/>
                </a:ext>
              </a:extLst>
            </p:cNvPr>
            <p:cNvGrpSpPr/>
            <p:nvPr/>
          </p:nvGrpSpPr>
          <p:grpSpPr>
            <a:xfrm rot="4970798">
              <a:off x="957484" y="3872032"/>
              <a:ext cx="2146784" cy="2146784"/>
              <a:chOff x="3889287" y="3525858"/>
              <a:chExt cx="1362941" cy="1362941"/>
            </a:xfrm>
          </p:grpSpPr>
          <p:sp>
            <p:nvSpPr>
              <p:cNvPr id="42" name="Овал 1">
                <a:extLst>
                  <a:ext uri="{FF2B5EF4-FFF2-40B4-BE49-F238E27FC236}">
                    <a16:creationId xmlns:a16="http://schemas.microsoft.com/office/drawing/2014/main" id="{2BFEA1CB-E92E-784E-896F-A4E9D4F84426}"/>
                  </a:ext>
                </a:extLst>
              </p:cNvPr>
              <p:cNvSpPr/>
              <p:nvPr/>
            </p:nvSpPr>
            <p:spPr>
              <a:xfrm rot="9241210">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3" name="Полилиния 51">
                <a:extLst>
                  <a:ext uri="{FF2B5EF4-FFF2-40B4-BE49-F238E27FC236}">
                    <a16:creationId xmlns:a16="http://schemas.microsoft.com/office/drawing/2014/main" id="{C8B8EBA6-49BC-EE43-9059-AB7D1BF56965}"/>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41" name="Rechteck 43">
              <a:extLst>
                <a:ext uri="{FF2B5EF4-FFF2-40B4-BE49-F238E27FC236}">
                  <a16:creationId xmlns:a16="http://schemas.microsoft.com/office/drawing/2014/main" id="{86D5DB2D-2EDD-A944-B0F8-64F68CC73C1D}"/>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6</a:t>
              </a:r>
            </a:p>
          </p:txBody>
        </p:sp>
      </p:grpSp>
      <p:grpSp>
        <p:nvGrpSpPr>
          <p:cNvPr id="44" name="Group 43">
            <a:extLst>
              <a:ext uri="{FF2B5EF4-FFF2-40B4-BE49-F238E27FC236}">
                <a16:creationId xmlns:a16="http://schemas.microsoft.com/office/drawing/2014/main" id="{7D8C7760-7C73-0C4C-AD28-7AB1F3206DA2}"/>
              </a:ext>
            </a:extLst>
          </p:cNvPr>
          <p:cNvGrpSpPr/>
          <p:nvPr/>
        </p:nvGrpSpPr>
        <p:grpSpPr>
          <a:xfrm>
            <a:off x="3485523" y="4168396"/>
            <a:ext cx="748804" cy="748804"/>
            <a:chOff x="957484" y="3872032"/>
            <a:chExt cx="2146784" cy="2146784"/>
          </a:xfrm>
        </p:grpSpPr>
        <p:grpSp>
          <p:nvGrpSpPr>
            <p:cNvPr id="45" name="Group 44">
              <a:extLst>
                <a:ext uri="{FF2B5EF4-FFF2-40B4-BE49-F238E27FC236}">
                  <a16:creationId xmlns:a16="http://schemas.microsoft.com/office/drawing/2014/main" id="{E156E691-4F8B-134B-A467-2D6FB5FBA94C}"/>
                </a:ext>
              </a:extLst>
            </p:cNvPr>
            <p:cNvGrpSpPr/>
            <p:nvPr/>
          </p:nvGrpSpPr>
          <p:grpSpPr>
            <a:xfrm rot="4970798">
              <a:off x="957484" y="3872032"/>
              <a:ext cx="2146784" cy="2146784"/>
              <a:chOff x="3889287" y="3525858"/>
              <a:chExt cx="1362941" cy="1362941"/>
            </a:xfrm>
          </p:grpSpPr>
          <p:sp>
            <p:nvSpPr>
              <p:cNvPr id="47" name="Овал 1">
                <a:extLst>
                  <a:ext uri="{FF2B5EF4-FFF2-40B4-BE49-F238E27FC236}">
                    <a16:creationId xmlns:a16="http://schemas.microsoft.com/office/drawing/2014/main" id="{FA613689-9CAA-844C-B97E-C84F0720753C}"/>
                  </a:ext>
                </a:extLst>
              </p:cNvPr>
              <p:cNvSpPr/>
              <p:nvPr/>
            </p:nvSpPr>
            <p:spPr>
              <a:xfrm rot="718983">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8" name="Полилиния 51">
                <a:extLst>
                  <a:ext uri="{FF2B5EF4-FFF2-40B4-BE49-F238E27FC236}">
                    <a16:creationId xmlns:a16="http://schemas.microsoft.com/office/drawing/2014/main" id="{084C8B41-A6E7-7046-A090-22F1B2F33304}"/>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46" name="Rechteck 43">
              <a:extLst>
                <a:ext uri="{FF2B5EF4-FFF2-40B4-BE49-F238E27FC236}">
                  <a16:creationId xmlns:a16="http://schemas.microsoft.com/office/drawing/2014/main" id="{183A94BC-525D-3F4C-B801-B4141ABB5322}"/>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5</a:t>
              </a:r>
            </a:p>
          </p:txBody>
        </p:sp>
      </p:grpSp>
      <p:grpSp>
        <p:nvGrpSpPr>
          <p:cNvPr id="49" name="Group 48">
            <a:extLst>
              <a:ext uri="{FF2B5EF4-FFF2-40B4-BE49-F238E27FC236}">
                <a16:creationId xmlns:a16="http://schemas.microsoft.com/office/drawing/2014/main" id="{053A2F24-5AB1-3B44-AC9B-B51820C83A13}"/>
              </a:ext>
            </a:extLst>
          </p:cNvPr>
          <p:cNvGrpSpPr/>
          <p:nvPr/>
        </p:nvGrpSpPr>
        <p:grpSpPr>
          <a:xfrm>
            <a:off x="4497783" y="4698461"/>
            <a:ext cx="748804" cy="748804"/>
            <a:chOff x="957484" y="3872032"/>
            <a:chExt cx="2146784" cy="2146784"/>
          </a:xfrm>
        </p:grpSpPr>
        <p:grpSp>
          <p:nvGrpSpPr>
            <p:cNvPr id="50" name="Group 49">
              <a:extLst>
                <a:ext uri="{FF2B5EF4-FFF2-40B4-BE49-F238E27FC236}">
                  <a16:creationId xmlns:a16="http://schemas.microsoft.com/office/drawing/2014/main" id="{BC7F1A4B-3315-C347-962B-43DE2DDF8A29}"/>
                </a:ext>
              </a:extLst>
            </p:cNvPr>
            <p:cNvGrpSpPr/>
            <p:nvPr/>
          </p:nvGrpSpPr>
          <p:grpSpPr>
            <a:xfrm rot="4970798">
              <a:off x="957484" y="3872032"/>
              <a:ext cx="2146784" cy="2146784"/>
              <a:chOff x="3889287" y="3525858"/>
              <a:chExt cx="1362941" cy="1362941"/>
            </a:xfrm>
          </p:grpSpPr>
          <p:sp>
            <p:nvSpPr>
              <p:cNvPr id="52" name="Овал 1">
                <a:extLst>
                  <a:ext uri="{FF2B5EF4-FFF2-40B4-BE49-F238E27FC236}">
                    <a16:creationId xmlns:a16="http://schemas.microsoft.com/office/drawing/2014/main" id="{24ED85A8-65AB-5547-8F19-FB18B846C5A5}"/>
                  </a:ext>
                </a:extLst>
              </p:cNvPr>
              <p:cNvSpPr/>
              <p:nvPr/>
            </p:nvSpPr>
            <p:spPr>
              <a:xfrm rot="14578604">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3" name="Полилиния 51">
                <a:extLst>
                  <a:ext uri="{FF2B5EF4-FFF2-40B4-BE49-F238E27FC236}">
                    <a16:creationId xmlns:a16="http://schemas.microsoft.com/office/drawing/2014/main" id="{BB4431EA-CA12-C049-9A1A-1F6FFE697148}"/>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51" name="Rechteck 43">
              <a:extLst>
                <a:ext uri="{FF2B5EF4-FFF2-40B4-BE49-F238E27FC236}">
                  <a16:creationId xmlns:a16="http://schemas.microsoft.com/office/drawing/2014/main" id="{52DA5AA3-0CD4-5A4A-B3D8-DFF278B2BA6A}"/>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4</a:t>
              </a:r>
            </a:p>
          </p:txBody>
        </p:sp>
      </p:grpSp>
      <p:grpSp>
        <p:nvGrpSpPr>
          <p:cNvPr id="54" name="Group 53">
            <a:extLst>
              <a:ext uri="{FF2B5EF4-FFF2-40B4-BE49-F238E27FC236}">
                <a16:creationId xmlns:a16="http://schemas.microsoft.com/office/drawing/2014/main" id="{91856044-6DC6-064E-A51A-55E6B27EAC05}"/>
              </a:ext>
            </a:extLst>
          </p:cNvPr>
          <p:cNvGrpSpPr/>
          <p:nvPr/>
        </p:nvGrpSpPr>
        <p:grpSpPr>
          <a:xfrm>
            <a:off x="5536392" y="4148518"/>
            <a:ext cx="748804" cy="748804"/>
            <a:chOff x="957484" y="3872032"/>
            <a:chExt cx="2146784" cy="2146784"/>
          </a:xfrm>
        </p:grpSpPr>
        <p:grpSp>
          <p:nvGrpSpPr>
            <p:cNvPr id="55" name="Group 54">
              <a:extLst>
                <a:ext uri="{FF2B5EF4-FFF2-40B4-BE49-F238E27FC236}">
                  <a16:creationId xmlns:a16="http://schemas.microsoft.com/office/drawing/2014/main" id="{1F6D4B20-F8DC-7749-ACD7-1F0C25F906F9}"/>
                </a:ext>
              </a:extLst>
            </p:cNvPr>
            <p:cNvGrpSpPr/>
            <p:nvPr/>
          </p:nvGrpSpPr>
          <p:grpSpPr>
            <a:xfrm rot="4970798">
              <a:off x="957484" y="3872032"/>
              <a:ext cx="2146784" cy="2146784"/>
              <a:chOff x="3889287" y="3525858"/>
              <a:chExt cx="1362941" cy="1362941"/>
            </a:xfrm>
          </p:grpSpPr>
          <p:sp>
            <p:nvSpPr>
              <p:cNvPr id="57" name="Овал 1">
                <a:extLst>
                  <a:ext uri="{FF2B5EF4-FFF2-40B4-BE49-F238E27FC236}">
                    <a16:creationId xmlns:a16="http://schemas.microsoft.com/office/drawing/2014/main" id="{CB2BDA86-AA47-0B44-9FBF-C569FE234FD3}"/>
                  </a:ext>
                </a:extLst>
              </p:cNvPr>
              <p:cNvSpPr/>
              <p:nvPr/>
            </p:nvSpPr>
            <p:spPr>
              <a:xfrm rot="10398797">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8" name="Полилиния 51">
                <a:extLst>
                  <a:ext uri="{FF2B5EF4-FFF2-40B4-BE49-F238E27FC236}">
                    <a16:creationId xmlns:a16="http://schemas.microsoft.com/office/drawing/2014/main" id="{FC20EBE3-9DC6-2E48-924C-0E52560127B7}"/>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56" name="Rechteck 43">
              <a:extLst>
                <a:ext uri="{FF2B5EF4-FFF2-40B4-BE49-F238E27FC236}">
                  <a16:creationId xmlns:a16="http://schemas.microsoft.com/office/drawing/2014/main" id="{66B86538-B092-AC4F-89A0-CBEA05E355B3}"/>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3</a:t>
              </a:r>
            </a:p>
          </p:txBody>
        </p:sp>
      </p:grpSp>
      <p:grpSp>
        <p:nvGrpSpPr>
          <p:cNvPr id="59" name="Group 58">
            <a:extLst>
              <a:ext uri="{FF2B5EF4-FFF2-40B4-BE49-F238E27FC236}">
                <a16:creationId xmlns:a16="http://schemas.microsoft.com/office/drawing/2014/main" id="{75E428D2-50F3-F54E-8912-AE2874BB4571}"/>
              </a:ext>
            </a:extLst>
          </p:cNvPr>
          <p:cNvGrpSpPr/>
          <p:nvPr/>
        </p:nvGrpSpPr>
        <p:grpSpPr>
          <a:xfrm>
            <a:off x="5525197" y="2985715"/>
            <a:ext cx="748804" cy="748804"/>
            <a:chOff x="957484" y="3872032"/>
            <a:chExt cx="2146784" cy="2146784"/>
          </a:xfrm>
        </p:grpSpPr>
        <p:grpSp>
          <p:nvGrpSpPr>
            <p:cNvPr id="60" name="Group 59">
              <a:extLst>
                <a:ext uri="{FF2B5EF4-FFF2-40B4-BE49-F238E27FC236}">
                  <a16:creationId xmlns:a16="http://schemas.microsoft.com/office/drawing/2014/main" id="{3E74BF01-F590-234B-A5F7-B362C764BD92}"/>
                </a:ext>
              </a:extLst>
            </p:cNvPr>
            <p:cNvGrpSpPr/>
            <p:nvPr/>
          </p:nvGrpSpPr>
          <p:grpSpPr>
            <a:xfrm rot="4970798">
              <a:off x="957484" y="3872032"/>
              <a:ext cx="2146784" cy="2146784"/>
              <a:chOff x="3889287" y="3525858"/>
              <a:chExt cx="1362941" cy="1362941"/>
            </a:xfrm>
          </p:grpSpPr>
          <p:sp>
            <p:nvSpPr>
              <p:cNvPr id="63" name="Овал 1">
                <a:extLst>
                  <a:ext uri="{FF2B5EF4-FFF2-40B4-BE49-F238E27FC236}">
                    <a16:creationId xmlns:a16="http://schemas.microsoft.com/office/drawing/2014/main" id="{D8AA6C61-01CF-DF48-8011-1A0D0DEA378E}"/>
                  </a:ext>
                </a:extLst>
              </p:cNvPr>
              <p:cNvSpPr/>
              <p:nvPr/>
            </p:nvSpPr>
            <p:spPr>
              <a:xfrm rot="17593186">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65" name="Полилиния 51">
                <a:extLst>
                  <a:ext uri="{FF2B5EF4-FFF2-40B4-BE49-F238E27FC236}">
                    <a16:creationId xmlns:a16="http://schemas.microsoft.com/office/drawing/2014/main" id="{7E8C947F-5F06-3241-89B5-58FBEC79481F}"/>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62" name="Rechteck 43">
              <a:extLst>
                <a:ext uri="{FF2B5EF4-FFF2-40B4-BE49-F238E27FC236}">
                  <a16:creationId xmlns:a16="http://schemas.microsoft.com/office/drawing/2014/main" id="{D0CCBF0C-F3A4-4143-B4C2-EE273882AE03}"/>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2</a:t>
              </a:r>
            </a:p>
          </p:txBody>
        </p:sp>
      </p:grpSp>
      <p:grpSp>
        <p:nvGrpSpPr>
          <p:cNvPr id="66" name="Group 65">
            <a:extLst>
              <a:ext uri="{FF2B5EF4-FFF2-40B4-BE49-F238E27FC236}">
                <a16:creationId xmlns:a16="http://schemas.microsoft.com/office/drawing/2014/main" id="{3A031515-8BB3-5F43-806E-CCE2716C0FB8}"/>
              </a:ext>
            </a:extLst>
          </p:cNvPr>
          <p:cNvGrpSpPr/>
          <p:nvPr/>
        </p:nvGrpSpPr>
        <p:grpSpPr>
          <a:xfrm>
            <a:off x="4459030" y="2389973"/>
            <a:ext cx="748804" cy="748804"/>
            <a:chOff x="957484" y="3872032"/>
            <a:chExt cx="2146784" cy="2146784"/>
          </a:xfrm>
        </p:grpSpPr>
        <p:grpSp>
          <p:nvGrpSpPr>
            <p:cNvPr id="67" name="Group 66">
              <a:extLst>
                <a:ext uri="{FF2B5EF4-FFF2-40B4-BE49-F238E27FC236}">
                  <a16:creationId xmlns:a16="http://schemas.microsoft.com/office/drawing/2014/main" id="{15F8A686-8066-5A48-A712-3231DE980EB5}"/>
                </a:ext>
              </a:extLst>
            </p:cNvPr>
            <p:cNvGrpSpPr/>
            <p:nvPr/>
          </p:nvGrpSpPr>
          <p:grpSpPr>
            <a:xfrm rot="4970798">
              <a:off x="957484" y="3872032"/>
              <a:ext cx="2146784" cy="2146784"/>
              <a:chOff x="3889287" y="3525858"/>
              <a:chExt cx="1362941" cy="1362941"/>
            </a:xfrm>
          </p:grpSpPr>
          <p:sp>
            <p:nvSpPr>
              <p:cNvPr id="69" name="Овал 1">
                <a:extLst>
                  <a:ext uri="{FF2B5EF4-FFF2-40B4-BE49-F238E27FC236}">
                    <a16:creationId xmlns:a16="http://schemas.microsoft.com/office/drawing/2014/main" id="{7DD501A2-723E-1046-8B45-3F6B0220D55A}"/>
                  </a:ext>
                </a:extLst>
              </p:cNvPr>
              <p:cNvSpPr/>
              <p:nvPr/>
            </p:nvSpPr>
            <p:spPr>
              <a:xfrm rot="12719132">
                <a:off x="3889287" y="3525858"/>
                <a:ext cx="1362941" cy="1362941"/>
              </a:xfrm>
              <a:prstGeom prst="ellipse">
                <a:avLst/>
              </a:prstGeom>
              <a:gradFill>
                <a:gsLst>
                  <a:gs pos="25000">
                    <a:srgbClr val="DEDEDE"/>
                  </a:gs>
                  <a:gs pos="100000">
                    <a:schemeClr val="bg1"/>
                  </a:gs>
                  <a:gs pos="0">
                    <a:schemeClr val="tx2">
                      <a:lumMod val="75000"/>
                      <a:lumOff val="25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70" name="Полилиния 51">
                <a:extLst>
                  <a:ext uri="{FF2B5EF4-FFF2-40B4-BE49-F238E27FC236}">
                    <a16:creationId xmlns:a16="http://schemas.microsoft.com/office/drawing/2014/main" id="{F496A2A3-F9F6-514F-ACB8-F9C2DCD6780D}"/>
                  </a:ext>
                </a:extLst>
              </p:cNvPr>
              <p:cNvSpPr/>
              <p:nvPr/>
            </p:nvSpPr>
            <p:spPr>
              <a:xfrm>
                <a:off x="4663950" y="3570124"/>
                <a:ext cx="465393" cy="355327"/>
              </a:xfrm>
              <a:custGeom>
                <a:avLst/>
                <a:gdLst>
                  <a:gd name="connsiteX0" fmla="*/ 0 w 9177188"/>
                  <a:gd name="connsiteY0" fmla="*/ 9812892 h 10921772"/>
                  <a:gd name="connsiteX1" fmla="*/ 256304 w 9177188"/>
                  <a:gd name="connsiteY1" fmla="*/ 9845460 h 10921772"/>
                  <a:gd name="connsiteX2" fmla="*/ 841615 w 9177188"/>
                  <a:gd name="connsiteY2" fmla="*/ 9875016 h 10921772"/>
                  <a:gd name="connsiteX3" fmla="*/ 1136204 w 9177188"/>
                  <a:gd name="connsiteY3" fmla="*/ 9867567 h 10921772"/>
                  <a:gd name="connsiteX4" fmla="*/ 1325711 w 9177188"/>
                  <a:gd name="connsiteY4" fmla="*/ 9853157 h 10921772"/>
                  <a:gd name="connsiteX5" fmla="*/ 1370115 w 9177188"/>
                  <a:gd name="connsiteY5" fmla="*/ 10045552 h 10921772"/>
                  <a:gd name="connsiteX6" fmla="*/ 1639759 w 9177188"/>
                  <a:gd name="connsiteY6" fmla="*/ 10843163 h 10921772"/>
                  <a:gd name="connsiteX7" fmla="*/ 1675297 w 9177188"/>
                  <a:gd name="connsiteY7" fmla="*/ 10921772 h 10921772"/>
                  <a:gd name="connsiteX8" fmla="*/ 1456094 w 9177188"/>
                  <a:gd name="connsiteY8" fmla="*/ 10822673 h 10921772"/>
                  <a:gd name="connsiteX9" fmla="*/ 139953 w 9177188"/>
                  <a:gd name="connsiteY9" fmla="*/ 9945926 h 10921772"/>
                  <a:gd name="connsiteX10" fmla="*/ 4782086 w 9177188"/>
                  <a:gd name="connsiteY10" fmla="*/ 0 h 10921772"/>
                  <a:gd name="connsiteX11" fmla="*/ 5178772 w 9177188"/>
                  <a:gd name="connsiteY11" fmla="*/ 72751 h 10921772"/>
                  <a:gd name="connsiteX12" fmla="*/ 9098084 w 9177188"/>
                  <a:gd name="connsiteY12" fmla="*/ 3180682 h 10921772"/>
                  <a:gd name="connsiteX13" fmla="*/ 9177188 w 9177188"/>
                  <a:gd name="connsiteY13" fmla="*/ 3355652 h 10921772"/>
                  <a:gd name="connsiteX14" fmla="*/ 9142812 w 9177188"/>
                  <a:gd name="connsiteY14" fmla="*/ 3340111 h 10921772"/>
                  <a:gd name="connsiteX15" fmla="*/ 6914524 w 9177188"/>
                  <a:gd name="connsiteY15" fmla="*/ 2890240 h 10921772"/>
                  <a:gd name="connsiteX16" fmla="*/ 6619934 w 9177188"/>
                  <a:gd name="connsiteY16" fmla="*/ 2897689 h 10921772"/>
                  <a:gd name="connsiteX17" fmla="*/ 6430430 w 9177188"/>
                  <a:gd name="connsiteY17" fmla="*/ 2912099 h 10921772"/>
                  <a:gd name="connsiteX18" fmla="*/ 6386026 w 9177188"/>
                  <a:gd name="connsiteY18" fmla="*/ 2719705 h 10921772"/>
                  <a:gd name="connsiteX19" fmla="*/ 4889544 w 9177188"/>
                  <a:gd name="connsiteY19" fmla="*/ 102451 h 10921772"/>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456094 w 9177188"/>
                  <a:gd name="connsiteY7" fmla="*/ 10822673 h 10843163"/>
                  <a:gd name="connsiteX8" fmla="*/ 139953 w 9177188"/>
                  <a:gd name="connsiteY8" fmla="*/ 9945926 h 10843163"/>
                  <a:gd name="connsiteX9" fmla="*/ 0 w 9177188"/>
                  <a:gd name="connsiteY9" fmla="*/ 9812892 h 10843163"/>
                  <a:gd name="connsiteX10" fmla="*/ 4782086 w 9177188"/>
                  <a:gd name="connsiteY10" fmla="*/ 0 h 10843163"/>
                  <a:gd name="connsiteX11" fmla="*/ 5178772 w 9177188"/>
                  <a:gd name="connsiteY11" fmla="*/ 72751 h 10843163"/>
                  <a:gd name="connsiteX12" fmla="*/ 9098084 w 9177188"/>
                  <a:gd name="connsiteY12" fmla="*/ 3180682 h 10843163"/>
                  <a:gd name="connsiteX13" fmla="*/ 9177188 w 9177188"/>
                  <a:gd name="connsiteY13" fmla="*/ 3355652 h 10843163"/>
                  <a:gd name="connsiteX14" fmla="*/ 9142812 w 9177188"/>
                  <a:gd name="connsiteY14" fmla="*/ 3340111 h 10843163"/>
                  <a:gd name="connsiteX15" fmla="*/ 6914524 w 9177188"/>
                  <a:gd name="connsiteY15" fmla="*/ 2890240 h 10843163"/>
                  <a:gd name="connsiteX16" fmla="*/ 6619934 w 9177188"/>
                  <a:gd name="connsiteY16" fmla="*/ 2897689 h 10843163"/>
                  <a:gd name="connsiteX17" fmla="*/ 6430430 w 9177188"/>
                  <a:gd name="connsiteY17" fmla="*/ 2912099 h 10843163"/>
                  <a:gd name="connsiteX18" fmla="*/ 6386026 w 9177188"/>
                  <a:gd name="connsiteY18" fmla="*/ 2719705 h 10843163"/>
                  <a:gd name="connsiteX19" fmla="*/ 4889544 w 9177188"/>
                  <a:gd name="connsiteY19" fmla="*/ 102451 h 10843163"/>
                  <a:gd name="connsiteX20" fmla="*/ 4782086 w 9177188"/>
                  <a:gd name="connsiteY20" fmla="*/ 0 h 10843163"/>
                  <a:gd name="connsiteX0" fmla="*/ 0 w 9177188"/>
                  <a:gd name="connsiteY0" fmla="*/ 9812892 h 10843163"/>
                  <a:gd name="connsiteX1" fmla="*/ 256304 w 9177188"/>
                  <a:gd name="connsiteY1" fmla="*/ 9845460 h 10843163"/>
                  <a:gd name="connsiteX2" fmla="*/ 841615 w 9177188"/>
                  <a:gd name="connsiteY2" fmla="*/ 9875016 h 10843163"/>
                  <a:gd name="connsiteX3" fmla="*/ 1136204 w 9177188"/>
                  <a:gd name="connsiteY3" fmla="*/ 9867567 h 10843163"/>
                  <a:gd name="connsiteX4" fmla="*/ 1325711 w 9177188"/>
                  <a:gd name="connsiteY4" fmla="*/ 9853157 h 10843163"/>
                  <a:gd name="connsiteX5" fmla="*/ 1370115 w 9177188"/>
                  <a:gd name="connsiteY5" fmla="*/ 10045552 h 10843163"/>
                  <a:gd name="connsiteX6" fmla="*/ 1639759 w 9177188"/>
                  <a:gd name="connsiteY6" fmla="*/ 10843163 h 10843163"/>
                  <a:gd name="connsiteX7" fmla="*/ 139953 w 9177188"/>
                  <a:gd name="connsiteY7" fmla="*/ 9945926 h 10843163"/>
                  <a:gd name="connsiteX8" fmla="*/ 0 w 9177188"/>
                  <a:gd name="connsiteY8" fmla="*/ 9812892 h 10843163"/>
                  <a:gd name="connsiteX9" fmla="*/ 4782086 w 9177188"/>
                  <a:gd name="connsiteY9" fmla="*/ 0 h 10843163"/>
                  <a:gd name="connsiteX10" fmla="*/ 5178772 w 9177188"/>
                  <a:gd name="connsiteY10" fmla="*/ 72751 h 10843163"/>
                  <a:gd name="connsiteX11" fmla="*/ 9098084 w 9177188"/>
                  <a:gd name="connsiteY11" fmla="*/ 3180682 h 10843163"/>
                  <a:gd name="connsiteX12" fmla="*/ 9177188 w 9177188"/>
                  <a:gd name="connsiteY12" fmla="*/ 3355652 h 10843163"/>
                  <a:gd name="connsiteX13" fmla="*/ 9142812 w 9177188"/>
                  <a:gd name="connsiteY13" fmla="*/ 3340111 h 10843163"/>
                  <a:gd name="connsiteX14" fmla="*/ 6914524 w 9177188"/>
                  <a:gd name="connsiteY14" fmla="*/ 2890240 h 10843163"/>
                  <a:gd name="connsiteX15" fmla="*/ 6619934 w 9177188"/>
                  <a:gd name="connsiteY15" fmla="*/ 2897689 h 10843163"/>
                  <a:gd name="connsiteX16" fmla="*/ 6430430 w 9177188"/>
                  <a:gd name="connsiteY16" fmla="*/ 2912099 h 10843163"/>
                  <a:gd name="connsiteX17" fmla="*/ 6386026 w 9177188"/>
                  <a:gd name="connsiteY17" fmla="*/ 2719705 h 10843163"/>
                  <a:gd name="connsiteX18" fmla="*/ 4889544 w 9177188"/>
                  <a:gd name="connsiteY18" fmla="*/ 102451 h 10843163"/>
                  <a:gd name="connsiteX19" fmla="*/ 4782086 w 9177188"/>
                  <a:gd name="connsiteY19" fmla="*/ 0 h 10843163"/>
                  <a:gd name="connsiteX0" fmla="*/ 0 w 9177188"/>
                  <a:gd name="connsiteY0" fmla="*/ 9812892 h 10047590"/>
                  <a:gd name="connsiteX1" fmla="*/ 256304 w 9177188"/>
                  <a:gd name="connsiteY1" fmla="*/ 9845460 h 10047590"/>
                  <a:gd name="connsiteX2" fmla="*/ 841615 w 9177188"/>
                  <a:gd name="connsiteY2" fmla="*/ 9875016 h 10047590"/>
                  <a:gd name="connsiteX3" fmla="*/ 1136204 w 9177188"/>
                  <a:gd name="connsiteY3" fmla="*/ 9867567 h 10047590"/>
                  <a:gd name="connsiteX4" fmla="*/ 1325711 w 9177188"/>
                  <a:gd name="connsiteY4" fmla="*/ 9853157 h 10047590"/>
                  <a:gd name="connsiteX5" fmla="*/ 1370115 w 9177188"/>
                  <a:gd name="connsiteY5" fmla="*/ 10045552 h 10047590"/>
                  <a:gd name="connsiteX6" fmla="*/ 139953 w 9177188"/>
                  <a:gd name="connsiteY6" fmla="*/ 9945926 h 10047590"/>
                  <a:gd name="connsiteX7" fmla="*/ 0 w 9177188"/>
                  <a:gd name="connsiteY7" fmla="*/ 9812892 h 10047590"/>
                  <a:gd name="connsiteX8" fmla="*/ 4782086 w 9177188"/>
                  <a:gd name="connsiteY8" fmla="*/ 0 h 10047590"/>
                  <a:gd name="connsiteX9" fmla="*/ 5178772 w 9177188"/>
                  <a:gd name="connsiteY9" fmla="*/ 72751 h 10047590"/>
                  <a:gd name="connsiteX10" fmla="*/ 9098084 w 9177188"/>
                  <a:gd name="connsiteY10" fmla="*/ 3180682 h 10047590"/>
                  <a:gd name="connsiteX11" fmla="*/ 9177188 w 9177188"/>
                  <a:gd name="connsiteY11" fmla="*/ 3355652 h 10047590"/>
                  <a:gd name="connsiteX12" fmla="*/ 9142812 w 9177188"/>
                  <a:gd name="connsiteY12" fmla="*/ 3340111 h 10047590"/>
                  <a:gd name="connsiteX13" fmla="*/ 6914524 w 9177188"/>
                  <a:gd name="connsiteY13" fmla="*/ 2890240 h 10047590"/>
                  <a:gd name="connsiteX14" fmla="*/ 6619934 w 9177188"/>
                  <a:gd name="connsiteY14" fmla="*/ 2897689 h 10047590"/>
                  <a:gd name="connsiteX15" fmla="*/ 6430430 w 9177188"/>
                  <a:gd name="connsiteY15" fmla="*/ 2912099 h 10047590"/>
                  <a:gd name="connsiteX16" fmla="*/ 6386026 w 9177188"/>
                  <a:gd name="connsiteY16" fmla="*/ 2719705 h 10047590"/>
                  <a:gd name="connsiteX17" fmla="*/ 4889544 w 9177188"/>
                  <a:gd name="connsiteY17" fmla="*/ 102451 h 10047590"/>
                  <a:gd name="connsiteX18" fmla="*/ 4782086 w 9177188"/>
                  <a:gd name="connsiteY18" fmla="*/ 0 h 10047590"/>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25711 w 9177188"/>
                  <a:gd name="connsiteY4" fmla="*/ 9853157 h 9945926"/>
                  <a:gd name="connsiteX5" fmla="*/ 139953 w 9177188"/>
                  <a:gd name="connsiteY5" fmla="*/ 9945926 h 9945926"/>
                  <a:gd name="connsiteX6" fmla="*/ 0 w 9177188"/>
                  <a:gd name="connsiteY6" fmla="*/ 9812892 h 9945926"/>
                  <a:gd name="connsiteX7" fmla="*/ 4782086 w 9177188"/>
                  <a:gd name="connsiteY7" fmla="*/ 0 h 9945926"/>
                  <a:gd name="connsiteX8" fmla="*/ 5178772 w 9177188"/>
                  <a:gd name="connsiteY8" fmla="*/ 72751 h 9945926"/>
                  <a:gd name="connsiteX9" fmla="*/ 9098084 w 9177188"/>
                  <a:gd name="connsiteY9" fmla="*/ 3180682 h 9945926"/>
                  <a:gd name="connsiteX10" fmla="*/ 9177188 w 9177188"/>
                  <a:gd name="connsiteY10" fmla="*/ 3355652 h 9945926"/>
                  <a:gd name="connsiteX11" fmla="*/ 9142812 w 9177188"/>
                  <a:gd name="connsiteY11" fmla="*/ 3340111 h 9945926"/>
                  <a:gd name="connsiteX12" fmla="*/ 6914524 w 9177188"/>
                  <a:gd name="connsiteY12" fmla="*/ 2890240 h 9945926"/>
                  <a:gd name="connsiteX13" fmla="*/ 6619934 w 9177188"/>
                  <a:gd name="connsiteY13" fmla="*/ 2897689 h 9945926"/>
                  <a:gd name="connsiteX14" fmla="*/ 6430430 w 9177188"/>
                  <a:gd name="connsiteY14" fmla="*/ 2912099 h 9945926"/>
                  <a:gd name="connsiteX15" fmla="*/ 6386026 w 9177188"/>
                  <a:gd name="connsiteY15" fmla="*/ 2719705 h 9945926"/>
                  <a:gd name="connsiteX16" fmla="*/ 4889544 w 9177188"/>
                  <a:gd name="connsiteY16" fmla="*/ 102451 h 9945926"/>
                  <a:gd name="connsiteX17" fmla="*/ 4782086 w 9177188"/>
                  <a:gd name="connsiteY17" fmla="*/ 0 h 9945926"/>
                  <a:gd name="connsiteX0" fmla="*/ 0 w 9177188"/>
                  <a:gd name="connsiteY0" fmla="*/ 9812892 h 9945926"/>
                  <a:gd name="connsiteX1" fmla="*/ 256304 w 9177188"/>
                  <a:gd name="connsiteY1" fmla="*/ 9845460 h 9945926"/>
                  <a:gd name="connsiteX2" fmla="*/ 841615 w 9177188"/>
                  <a:gd name="connsiteY2" fmla="*/ 9875016 h 9945926"/>
                  <a:gd name="connsiteX3" fmla="*/ 1136204 w 9177188"/>
                  <a:gd name="connsiteY3" fmla="*/ 9867567 h 9945926"/>
                  <a:gd name="connsiteX4" fmla="*/ 139953 w 9177188"/>
                  <a:gd name="connsiteY4" fmla="*/ 9945926 h 9945926"/>
                  <a:gd name="connsiteX5" fmla="*/ 0 w 9177188"/>
                  <a:gd name="connsiteY5" fmla="*/ 9812892 h 9945926"/>
                  <a:gd name="connsiteX6" fmla="*/ 4782086 w 9177188"/>
                  <a:gd name="connsiteY6" fmla="*/ 0 h 9945926"/>
                  <a:gd name="connsiteX7" fmla="*/ 5178772 w 9177188"/>
                  <a:gd name="connsiteY7" fmla="*/ 72751 h 9945926"/>
                  <a:gd name="connsiteX8" fmla="*/ 9098084 w 9177188"/>
                  <a:gd name="connsiteY8" fmla="*/ 3180682 h 9945926"/>
                  <a:gd name="connsiteX9" fmla="*/ 9177188 w 9177188"/>
                  <a:gd name="connsiteY9" fmla="*/ 3355652 h 9945926"/>
                  <a:gd name="connsiteX10" fmla="*/ 9142812 w 9177188"/>
                  <a:gd name="connsiteY10" fmla="*/ 3340111 h 9945926"/>
                  <a:gd name="connsiteX11" fmla="*/ 6914524 w 9177188"/>
                  <a:gd name="connsiteY11" fmla="*/ 2890240 h 9945926"/>
                  <a:gd name="connsiteX12" fmla="*/ 6619934 w 9177188"/>
                  <a:gd name="connsiteY12" fmla="*/ 2897689 h 9945926"/>
                  <a:gd name="connsiteX13" fmla="*/ 6430430 w 9177188"/>
                  <a:gd name="connsiteY13" fmla="*/ 2912099 h 9945926"/>
                  <a:gd name="connsiteX14" fmla="*/ 6386026 w 9177188"/>
                  <a:gd name="connsiteY14" fmla="*/ 2719705 h 9945926"/>
                  <a:gd name="connsiteX15" fmla="*/ 4889544 w 9177188"/>
                  <a:gd name="connsiteY15" fmla="*/ 102451 h 9945926"/>
                  <a:gd name="connsiteX16" fmla="*/ 4782086 w 9177188"/>
                  <a:gd name="connsiteY16" fmla="*/ 0 h 9945926"/>
                  <a:gd name="connsiteX0" fmla="*/ 0 w 9177188"/>
                  <a:gd name="connsiteY0" fmla="*/ 9812892 h 9947044"/>
                  <a:gd name="connsiteX1" fmla="*/ 256304 w 9177188"/>
                  <a:gd name="connsiteY1" fmla="*/ 9845460 h 9947044"/>
                  <a:gd name="connsiteX2" fmla="*/ 841615 w 9177188"/>
                  <a:gd name="connsiteY2" fmla="*/ 9875016 h 9947044"/>
                  <a:gd name="connsiteX3" fmla="*/ 139953 w 9177188"/>
                  <a:gd name="connsiteY3" fmla="*/ 9945926 h 9947044"/>
                  <a:gd name="connsiteX4" fmla="*/ 0 w 9177188"/>
                  <a:gd name="connsiteY4" fmla="*/ 9812892 h 9947044"/>
                  <a:gd name="connsiteX5" fmla="*/ 4782086 w 9177188"/>
                  <a:gd name="connsiteY5" fmla="*/ 0 h 9947044"/>
                  <a:gd name="connsiteX6" fmla="*/ 5178772 w 9177188"/>
                  <a:gd name="connsiteY6" fmla="*/ 72751 h 9947044"/>
                  <a:gd name="connsiteX7" fmla="*/ 9098084 w 9177188"/>
                  <a:gd name="connsiteY7" fmla="*/ 3180682 h 9947044"/>
                  <a:gd name="connsiteX8" fmla="*/ 9177188 w 9177188"/>
                  <a:gd name="connsiteY8" fmla="*/ 3355652 h 9947044"/>
                  <a:gd name="connsiteX9" fmla="*/ 9142812 w 9177188"/>
                  <a:gd name="connsiteY9" fmla="*/ 3340111 h 9947044"/>
                  <a:gd name="connsiteX10" fmla="*/ 6914524 w 9177188"/>
                  <a:gd name="connsiteY10" fmla="*/ 2890240 h 9947044"/>
                  <a:gd name="connsiteX11" fmla="*/ 6619934 w 9177188"/>
                  <a:gd name="connsiteY11" fmla="*/ 2897689 h 9947044"/>
                  <a:gd name="connsiteX12" fmla="*/ 6430430 w 9177188"/>
                  <a:gd name="connsiteY12" fmla="*/ 2912099 h 9947044"/>
                  <a:gd name="connsiteX13" fmla="*/ 6386026 w 9177188"/>
                  <a:gd name="connsiteY13" fmla="*/ 2719705 h 9947044"/>
                  <a:gd name="connsiteX14" fmla="*/ 4889544 w 9177188"/>
                  <a:gd name="connsiteY14" fmla="*/ 102451 h 9947044"/>
                  <a:gd name="connsiteX15" fmla="*/ 4782086 w 9177188"/>
                  <a:gd name="connsiteY15" fmla="*/ 0 h 9947044"/>
                  <a:gd name="connsiteX0" fmla="*/ 0 w 9177188"/>
                  <a:gd name="connsiteY0" fmla="*/ 9812892 h 9946178"/>
                  <a:gd name="connsiteX1" fmla="*/ 256304 w 9177188"/>
                  <a:gd name="connsiteY1" fmla="*/ 9845460 h 9946178"/>
                  <a:gd name="connsiteX2" fmla="*/ 139953 w 9177188"/>
                  <a:gd name="connsiteY2" fmla="*/ 9945926 h 9946178"/>
                  <a:gd name="connsiteX3" fmla="*/ 0 w 9177188"/>
                  <a:gd name="connsiteY3" fmla="*/ 9812892 h 9946178"/>
                  <a:gd name="connsiteX4" fmla="*/ 4782086 w 9177188"/>
                  <a:gd name="connsiteY4" fmla="*/ 0 h 9946178"/>
                  <a:gd name="connsiteX5" fmla="*/ 5178772 w 9177188"/>
                  <a:gd name="connsiteY5" fmla="*/ 72751 h 9946178"/>
                  <a:gd name="connsiteX6" fmla="*/ 9098084 w 9177188"/>
                  <a:gd name="connsiteY6" fmla="*/ 3180682 h 9946178"/>
                  <a:gd name="connsiteX7" fmla="*/ 9177188 w 9177188"/>
                  <a:gd name="connsiteY7" fmla="*/ 3355652 h 9946178"/>
                  <a:gd name="connsiteX8" fmla="*/ 9142812 w 9177188"/>
                  <a:gd name="connsiteY8" fmla="*/ 3340111 h 9946178"/>
                  <a:gd name="connsiteX9" fmla="*/ 6914524 w 9177188"/>
                  <a:gd name="connsiteY9" fmla="*/ 2890240 h 9946178"/>
                  <a:gd name="connsiteX10" fmla="*/ 6619934 w 9177188"/>
                  <a:gd name="connsiteY10" fmla="*/ 2897689 h 9946178"/>
                  <a:gd name="connsiteX11" fmla="*/ 6430430 w 9177188"/>
                  <a:gd name="connsiteY11" fmla="*/ 2912099 h 9946178"/>
                  <a:gd name="connsiteX12" fmla="*/ 6386026 w 9177188"/>
                  <a:gd name="connsiteY12" fmla="*/ 2719705 h 9946178"/>
                  <a:gd name="connsiteX13" fmla="*/ 4889544 w 9177188"/>
                  <a:gd name="connsiteY13" fmla="*/ 102451 h 9946178"/>
                  <a:gd name="connsiteX14" fmla="*/ 4782086 w 9177188"/>
                  <a:gd name="connsiteY14" fmla="*/ 0 h 9946178"/>
                  <a:gd name="connsiteX0" fmla="*/ 0 w 9177188"/>
                  <a:gd name="connsiteY0" fmla="*/ 9812892 h 9845460"/>
                  <a:gd name="connsiteX1" fmla="*/ 256304 w 9177188"/>
                  <a:gd name="connsiteY1" fmla="*/ 9845460 h 9845460"/>
                  <a:gd name="connsiteX2" fmla="*/ 0 w 9177188"/>
                  <a:gd name="connsiteY2" fmla="*/ 9812892 h 9845460"/>
                  <a:gd name="connsiteX3" fmla="*/ 4782086 w 9177188"/>
                  <a:gd name="connsiteY3" fmla="*/ 0 h 9845460"/>
                  <a:gd name="connsiteX4" fmla="*/ 5178772 w 9177188"/>
                  <a:gd name="connsiteY4" fmla="*/ 72751 h 9845460"/>
                  <a:gd name="connsiteX5" fmla="*/ 9098084 w 9177188"/>
                  <a:gd name="connsiteY5" fmla="*/ 3180682 h 9845460"/>
                  <a:gd name="connsiteX6" fmla="*/ 9177188 w 9177188"/>
                  <a:gd name="connsiteY6" fmla="*/ 3355652 h 9845460"/>
                  <a:gd name="connsiteX7" fmla="*/ 9142812 w 9177188"/>
                  <a:gd name="connsiteY7" fmla="*/ 3340111 h 9845460"/>
                  <a:gd name="connsiteX8" fmla="*/ 6914524 w 9177188"/>
                  <a:gd name="connsiteY8" fmla="*/ 2890240 h 9845460"/>
                  <a:gd name="connsiteX9" fmla="*/ 6619934 w 9177188"/>
                  <a:gd name="connsiteY9" fmla="*/ 2897689 h 9845460"/>
                  <a:gd name="connsiteX10" fmla="*/ 6430430 w 9177188"/>
                  <a:gd name="connsiteY10" fmla="*/ 2912099 h 9845460"/>
                  <a:gd name="connsiteX11" fmla="*/ 6386026 w 9177188"/>
                  <a:gd name="connsiteY11" fmla="*/ 2719705 h 9845460"/>
                  <a:gd name="connsiteX12" fmla="*/ 4889544 w 9177188"/>
                  <a:gd name="connsiteY12" fmla="*/ 102451 h 9845460"/>
                  <a:gd name="connsiteX13" fmla="*/ 4782086 w 9177188"/>
                  <a:gd name="connsiteY13" fmla="*/ 0 h 9845460"/>
                  <a:gd name="connsiteX0" fmla="*/ 0 w 4395102"/>
                  <a:gd name="connsiteY0" fmla="*/ 0 h 3355652"/>
                  <a:gd name="connsiteX1" fmla="*/ 396686 w 4395102"/>
                  <a:gd name="connsiteY1" fmla="*/ 72751 h 3355652"/>
                  <a:gd name="connsiteX2" fmla="*/ 4315998 w 4395102"/>
                  <a:gd name="connsiteY2" fmla="*/ 3180682 h 3355652"/>
                  <a:gd name="connsiteX3" fmla="*/ 4395102 w 4395102"/>
                  <a:gd name="connsiteY3" fmla="*/ 3355652 h 3355652"/>
                  <a:gd name="connsiteX4" fmla="*/ 4360726 w 4395102"/>
                  <a:gd name="connsiteY4" fmla="*/ 3340111 h 3355652"/>
                  <a:gd name="connsiteX5" fmla="*/ 2132438 w 4395102"/>
                  <a:gd name="connsiteY5" fmla="*/ 2890240 h 3355652"/>
                  <a:gd name="connsiteX6" fmla="*/ 1837848 w 4395102"/>
                  <a:gd name="connsiteY6" fmla="*/ 2897689 h 3355652"/>
                  <a:gd name="connsiteX7" fmla="*/ 1648344 w 4395102"/>
                  <a:gd name="connsiteY7" fmla="*/ 2912099 h 3355652"/>
                  <a:gd name="connsiteX8" fmla="*/ 1603940 w 4395102"/>
                  <a:gd name="connsiteY8" fmla="*/ 2719705 h 3355652"/>
                  <a:gd name="connsiteX9" fmla="*/ 107458 w 4395102"/>
                  <a:gd name="connsiteY9" fmla="*/ 102451 h 3355652"/>
                  <a:gd name="connsiteX10" fmla="*/ 0 w 4395102"/>
                  <a:gd name="connsiteY10" fmla="*/ 0 h 335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5102" h="3355652">
                    <a:moveTo>
                      <a:pt x="0" y="0"/>
                    </a:moveTo>
                    <a:lnTo>
                      <a:pt x="396686" y="72751"/>
                    </a:lnTo>
                    <a:cubicBezTo>
                      <a:pt x="2127968" y="455339"/>
                      <a:pt x="3564816" y="1621726"/>
                      <a:pt x="4315998" y="3180682"/>
                    </a:cubicBezTo>
                    <a:lnTo>
                      <a:pt x="4395102" y="3355652"/>
                    </a:lnTo>
                    <a:lnTo>
                      <a:pt x="4360726" y="3340111"/>
                    </a:lnTo>
                    <a:cubicBezTo>
                      <a:pt x="3675838" y="3050428"/>
                      <a:pt x="2922846" y="2890240"/>
                      <a:pt x="2132438" y="2890240"/>
                    </a:cubicBezTo>
                    <a:cubicBezTo>
                      <a:pt x="2033638" y="2890240"/>
                      <a:pt x="1935420" y="2892743"/>
                      <a:pt x="1837848" y="2897689"/>
                    </a:cubicBezTo>
                    <a:lnTo>
                      <a:pt x="1648344" y="2912099"/>
                    </a:lnTo>
                    <a:lnTo>
                      <a:pt x="1603940" y="2719705"/>
                    </a:lnTo>
                    <a:cubicBezTo>
                      <a:pt x="1345102" y="1713686"/>
                      <a:pt x="819678" y="814671"/>
                      <a:pt x="107458" y="102451"/>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pSp>
        <p:sp>
          <p:nvSpPr>
            <p:cNvPr id="68" name="Rechteck 43">
              <a:extLst>
                <a:ext uri="{FF2B5EF4-FFF2-40B4-BE49-F238E27FC236}">
                  <a16:creationId xmlns:a16="http://schemas.microsoft.com/office/drawing/2014/main" id="{DF14B760-7E1F-E54C-B675-D2D60E61A622}"/>
                </a:ext>
              </a:extLst>
            </p:cNvPr>
            <p:cNvSpPr txBox="1"/>
            <p:nvPr/>
          </p:nvSpPr>
          <p:spPr>
            <a:xfrm>
              <a:off x="1176443" y="4535742"/>
              <a:ext cx="1690772" cy="772506"/>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000" tIns="36000" rIns="36000" bIns="36000" anchor="ctr">
              <a:noAutofit/>
            </a:bodyPr>
            <a:lstStyle>
              <a:lvl1pPr algn="l">
                <a:lnSpc>
                  <a:spcPct val="100000"/>
                </a:lnSpc>
                <a:defRPr sz="1100"/>
              </a:lvl1pPr>
            </a:lstStyle>
            <a:p>
              <a:pPr algn="ctr"/>
              <a:r>
                <a:rPr lang="en-US" sz="1800" b="1"/>
                <a:t>1</a:t>
              </a:r>
            </a:p>
          </p:txBody>
        </p:sp>
      </p:grpSp>
      <p:sp>
        <p:nvSpPr>
          <p:cNvPr id="71" name="Titel 1">
            <a:extLst>
              <a:ext uri="{FF2B5EF4-FFF2-40B4-BE49-F238E27FC236}">
                <a16:creationId xmlns:a16="http://schemas.microsoft.com/office/drawing/2014/main" id="{41230A9C-6FAF-634B-8C21-34B369FD1996}"/>
              </a:ext>
            </a:extLst>
          </p:cNvPr>
          <p:cNvSpPr txBox="1">
            <a:spLocks/>
          </p:cNvSpPr>
          <p:nvPr/>
        </p:nvSpPr>
        <p:spPr bwMode="gray">
          <a:xfrm>
            <a:off x="5144989" y="1281129"/>
            <a:ext cx="2509628"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100000"/>
              </a:lnSpc>
              <a:defRPr/>
            </a:pPr>
            <a:r>
              <a:rPr lang="en-US" sz="1100" b="1">
                <a:solidFill>
                  <a:srgbClr val="014049"/>
                </a:solidFill>
                <a:latin typeface="Arial" panose="020B0604020202020204" pitchFamily="34" charset="0"/>
                <a:cs typeface="Arial" panose="020B0604020202020204" pitchFamily="34" charset="0"/>
              </a:rPr>
              <a:t>I</a:t>
            </a:r>
            <a:r>
              <a:rPr lang="en-US" sz="1100" b="1" err="1">
                <a:solidFill>
                  <a:srgbClr val="014049"/>
                </a:solidFill>
                <a:latin typeface="Arial" panose="020B0604020202020204" pitchFamily="34" charset="0"/>
                <a:cs typeface="Arial" panose="020B0604020202020204" pitchFamily="34" charset="0"/>
                <a:sym typeface="Century Gothic"/>
              </a:rPr>
              <a:t>mprovement</a:t>
            </a:r>
            <a:r>
              <a:rPr lang="en-US" sz="1100" b="1">
                <a:solidFill>
                  <a:srgbClr val="014049"/>
                </a:solidFill>
                <a:latin typeface="Arial" panose="020B0604020202020204" pitchFamily="34" charset="0"/>
                <a:cs typeface="Arial" panose="020B0604020202020204" pitchFamily="34" charset="0"/>
                <a:sym typeface="Century Gothic"/>
              </a:rPr>
              <a:t> </a:t>
            </a:r>
            <a:r>
              <a:rPr lang="en-US" sz="1100" b="1">
                <a:solidFill>
                  <a:srgbClr val="014049"/>
                </a:solidFill>
                <a:latin typeface="Arial" panose="020B0604020202020204" pitchFamily="34" charset="0"/>
                <a:cs typeface="Arial" panose="020B0604020202020204" pitchFamily="34" charset="0"/>
              </a:rPr>
              <a:t>P</a:t>
            </a:r>
            <a:r>
              <a:rPr lang="en-US" sz="1100" b="1" err="1">
                <a:solidFill>
                  <a:srgbClr val="014049"/>
                </a:solidFill>
                <a:latin typeface="Arial" panose="020B0604020202020204" pitchFamily="34" charset="0"/>
                <a:cs typeface="Arial" panose="020B0604020202020204" pitchFamily="34" charset="0"/>
                <a:sym typeface="Century Gothic"/>
              </a:rPr>
              <a:t>otentia</a:t>
            </a:r>
            <a:r>
              <a:rPr lang="en-US" sz="1100" b="1">
                <a:solidFill>
                  <a:srgbClr val="014049"/>
                </a:solidFill>
                <a:latin typeface="Arial" panose="020B0604020202020204" pitchFamily="34" charset="0"/>
                <a:cs typeface="Arial" panose="020B0604020202020204" pitchFamily="34" charset="0"/>
              </a:rPr>
              <a:t>l</a:t>
            </a:r>
          </a:p>
          <a:p>
            <a:pPr>
              <a:lnSpc>
                <a:spcPct val="100000"/>
              </a:lnSpc>
              <a:defRPr/>
            </a:pPr>
            <a:endParaRPr lang="en-US" sz="900">
              <a:latin typeface="Arial" panose="020B0604020202020204" pitchFamily="34" charset="0"/>
              <a:cs typeface="Arial" panose="020B0604020202020204" pitchFamily="34" charset="0"/>
            </a:endParaRPr>
          </a:p>
          <a:p>
            <a:pPr>
              <a:lnSpc>
                <a:spcPct val="100000"/>
              </a:lnSpc>
              <a:defRPr/>
            </a:pPr>
            <a:r>
              <a:rPr lang="en-US" sz="900">
                <a:latin typeface="Arial" panose="020B0604020202020204" pitchFamily="34" charset="0"/>
                <a:cs typeface="Arial" panose="020B0604020202020204" pitchFamily="34" charset="0"/>
              </a:rPr>
              <a:t>Learn to see waste or improvement potential around the work areas. Develop mindset and attitude required for people to be successful in process improvement.</a:t>
            </a:r>
          </a:p>
        </p:txBody>
      </p:sp>
      <p:sp>
        <p:nvSpPr>
          <p:cNvPr id="72" name="Titel 1">
            <a:extLst>
              <a:ext uri="{FF2B5EF4-FFF2-40B4-BE49-F238E27FC236}">
                <a16:creationId xmlns:a16="http://schemas.microsoft.com/office/drawing/2014/main" id="{A69A4DC5-3476-C546-B18D-7E7C941F8ED0}"/>
              </a:ext>
            </a:extLst>
          </p:cNvPr>
          <p:cNvSpPr txBox="1">
            <a:spLocks/>
          </p:cNvSpPr>
          <p:nvPr/>
        </p:nvSpPr>
        <p:spPr bwMode="gray">
          <a:xfrm>
            <a:off x="6597506" y="2632565"/>
            <a:ext cx="2444667"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100000"/>
              </a:lnSpc>
              <a:defRPr/>
            </a:pPr>
            <a:r>
              <a:rPr lang="en-US" sz="1100" b="1">
                <a:solidFill>
                  <a:srgbClr val="014049"/>
                </a:solidFill>
                <a:latin typeface="Arial" panose="020B0604020202020204" pitchFamily="34" charset="0"/>
                <a:cs typeface="Arial" panose="020B0604020202020204" pitchFamily="34" charset="0"/>
              </a:rPr>
              <a:t>Current Methods</a:t>
            </a:r>
          </a:p>
          <a:p>
            <a:pPr>
              <a:lnSpc>
                <a:spcPct val="100000"/>
              </a:lnSpc>
              <a:defRPr/>
            </a:pPr>
            <a:endParaRPr lang="en-US" sz="900">
              <a:latin typeface="Arial" panose="020B0604020202020204" pitchFamily="34" charset="0"/>
              <a:cs typeface="Arial" panose="020B0604020202020204" pitchFamily="34" charset="0"/>
            </a:endParaRPr>
          </a:p>
          <a:p>
            <a:pPr>
              <a:lnSpc>
                <a:spcPct val="100000"/>
              </a:lnSpc>
              <a:defRPr/>
            </a:pPr>
            <a:r>
              <a:rPr lang="en-US" sz="900">
                <a:latin typeface="Arial" panose="020B0604020202020204" pitchFamily="34" charset="0"/>
                <a:cs typeface="Arial" panose="020B0604020202020204" pitchFamily="34" charset="0"/>
              </a:rPr>
              <a:t>Analyze current methods of work-related processes. Example: work analysis, motion analysis, time study, standardized work, machine loss analysis, material flow analysis</a:t>
            </a:r>
          </a:p>
        </p:txBody>
      </p:sp>
      <p:sp>
        <p:nvSpPr>
          <p:cNvPr id="73" name="Titel 1">
            <a:extLst>
              <a:ext uri="{FF2B5EF4-FFF2-40B4-BE49-F238E27FC236}">
                <a16:creationId xmlns:a16="http://schemas.microsoft.com/office/drawing/2014/main" id="{629D6EB2-8C2B-5D46-B055-08F57A735D0E}"/>
              </a:ext>
            </a:extLst>
          </p:cNvPr>
          <p:cNvSpPr txBox="1">
            <a:spLocks/>
          </p:cNvSpPr>
          <p:nvPr/>
        </p:nvSpPr>
        <p:spPr bwMode="gray">
          <a:xfrm>
            <a:off x="6573754" y="3912094"/>
            <a:ext cx="2251965"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100000"/>
              </a:lnSpc>
              <a:defRPr/>
            </a:pPr>
            <a:r>
              <a:rPr lang="en-US" sz="1100" b="1">
                <a:solidFill>
                  <a:srgbClr val="014049"/>
                </a:solidFill>
                <a:latin typeface="Arial" panose="020B0604020202020204" pitchFamily="34" charset="0"/>
                <a:cs typeface="Arial" panose="020B0604020202020204" pitchFamily="34" charset="0"/>
              </a:rPr>
              <a:t>Original Ideas</a:t>
            </a:r>
          </a:p>
          <a:p>
            <a:pPr>
              <a:lnSpc>
                <a:spcPct val="100000"/>
              </a:lnSpc>
              <a:defRPr/>
            </a:pPr>
            <a:endParaRPr lang="en-US" sz="900">
              <a:latin typeface="Arial" panose="020B0604020202020204" pitchFamily="34" charset="0"/>
              <a:cs typeface="Arial" panose="020B0604020202020204" pitchFamily="34" charset="0"/>
            </a:endParaRPr>
          </a:p>
          <a:p>
            <a:pPr>
              <a:lnSpc>
                <a:spcPct val="100000"/>
              </a:lnSpc>
              <a:defRPr/>
            </a:pPr>
            <a:r>
              <a:rPr lang="en-US" sz="900">
                <a:latin typeface="Arial" panose="020B0604020202020204" pitchFamily="34" charset="0"/>
                <a:cs typeface="Arial" panose="020B0604020202020204" pitchFamily="34" charset="0"/>
              </a:rPr>
              <a:t>Apply techniques for stimulating original ideas and synthesizing solutions</a:t>
            </a:r>
          </a:p>
        </p:txBody>
      </p:sp>
      <p:sp>
        <p:nvSpPr>
          <p:cNvPr id="74" name="Titel 1">
            <a:extLst>
              <a:ext uri="{FF2B5EF4-FFF2-40B4-BE49-F238E27FC236}">
                <a16:creationId xmlns:a16="http://schemas.microsoft.com/office/drawing/2014/main" id="{82CC1E6D-6832-F44E-81B8-6DDC72FB3763}"/>
              </a:ext>
            </a:extLst>
          </p:cNvPr>
          <p:cNvSpPr txBox="1">
            <a:spLocks/>
          </p:cNvSpPr>
          <p:nvPr/>
        </p:nvSpPr>
        <p:spPr bwMode="gray">
          <a:xfrm>
            <a:off x="1548583" y="5116051"/>
            <a:ext cx="2888135"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a:lnSpc>
                <a:spcPct val="100000"/>
              </a:lnSpc>
              <a:defRPr/>
            </a:pPr>
            <a:r>
              <a:rPr lang="en-US" sz="1100" b="1">
                <a:solidFill>
                  <a:srgbClr val="014049"/>
                </a:solidFill>
                <a:latin typeface="Arial" panose="020B0604020202020204" pitchFamily="34" charset="0"/>
                <a:cs typeface="Arial" panose="020B0604020202020204" pitchFamily="34" charset="0"/>
              </a:rPr>
              <a:t>Develop Plan</a:t>
            </a:r>
          </a:p>
          <a:p>
            <a:pPr algn="r">
              <a:lnSpc>
                <a:spcPct val="100000"/>
              </a:lnSpc>
              <a:defRPr/>
            </a:pPr>
            <a:endParaRPr lang="en-US" sz="900">
              <a:latin typeface="Arial" panose="020B0604020202020204" pitchFamily="34" charset="0"/>
              <a:cs typeface="Arial" panose="020B0604020202020204" pitchFamily="34" charset="0"/>
            </a:endParaRPr>
          </a:p>
          <a:p>
            <a:pPr algn="r">
              <a:lnSpc>
                <a:spcPct val="100000"/>
              </a:lnSpc>
              <a:defRPr/>
            </a:pPr>
            <a:r>
              <a:rPr lang="en-US" sz="900">
                <a:latin typeface="Arial" panose="020B0604020202020204" pitchFamily="34" charset="0"/>
                <a:cs typeface="Arial" panose="020B0604020202020204" pitchFamily="34" charset="0"/>
              </a:rPr>
              <a:t>Create effective plan for implementation, including communication and tracking purposes. When possible, make changes quickly and effectively.</a:t>
            </a:r>
          </a:p>
        </p:txBody>
      </p:sp>
      <p:sp>
        <p:nvSpPr>
          <p:cNvPr id="75" name="Titel 1">
            <a:extLst>
              <a:ext uri="{FF2B5EF4-FFF2-40B4-BE49-F238E27FC236}">
                <a16:creationId xmlns:a16="http://schemas.microsoft.com/office/drawing/2014/main" id="{B7CCE7DA-2C51-6742-A99A-DA368B11E645}"/>
              </a:ext>
            </a:extLst>
          </p:cNvPr>
          <p:cNvSpPr txBox="1">
            <a:spLocks/>
          </p:cNvSpPr>
          <p:nvPr/>
        </p:nvSpPr>
        <p:spPr bwMode="gray">
          <a:xfrm>
            <a:off x="1054592" y="3737245"/>
            <a:ext cx="2185629"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a:lnSpc>
                <a:spcPct val="100000"/>
              </a:lnSpc>
              <a:defRPr/>
            </a:pPr>
            <a:r>
              <a:rPr lang="en-US" sz="1100" b="1">
                <a:solidFill>
                  <a:srgbClr val="014049"/>
                </a:solidFill>
                <a:latin typeface="Arial" panose="020B0604020202020204" pitchFamily="34" charset="0"/>
                <a:cs typeface="Arial" panose="020B0604020202020204" pitchFamily="34" charset="0"/>
              </a:rPr>
              <a:t>Implement Plan</a:t>
            </a:r>
          </a:p>
          <a:p>
            <a:pPr algn="r">
              <a:lnSpc>
                <a:spcPct val="100000"/>
              </a:lnSpc>
              <a:defRPr/>
            </a:pPr>
            <a:endParaRPr lang="en-US" sz="900">
              <a:latin typeface="Arial" panose="020B0604020202020204" pitchFamily="34" charset="0"/>
              <a:cs typeface="Arial" panose="020B0604020202020204" pitchFamily="34" charset="0"/>
            </a:endParaRPr>
          </a:p>
          <a:p>
            <a:pPr algn="r">
              <a:lnSpc>
                <a:spcPct val="100000"/>
              </a:lnSpc>
              <a:defRPr/>
            </a:pPr>
            <a:r>
              <a:rPr lang="en-US" sz="900">
                <a:latin typeface="Arial" panose="020B0604020202020204" pitchFamily="34" charset="0"/>
                <a:cs typeface="Arial" panose="020B0604020202020204" pitchFamily="34" charset="0"/>
              </a:rPr>
              <a:t>Create positive atmosphere and attitude toward implementation. Communicate thoroughly with affected parties. Follow as needed.</a:t>
            </a:r>
          </a:p>
        </p:txBody>
      </p:sp>
      <p:sp>
        <p:nvSpPr>
          <p:cNvPr id="76" name="Titel 1">
            <a:extLst>
              <a:ext uri="{FF2B5EF4-FFF2-40B4-BE49-F238E27FC236}">
                <a16:creationId xmlns:a16="http://schemas.microsoft.com/office/drawing/2014/main" id="{B7E2FFE8-2C1D-DF44-ACC4-6F54819746F9}"/>
              </a:ext>
            </a:extLst>
          </p:cNvPr>
          <p:cNvSpPr txBox="1">
            <a:spLocks/>
          </p:cNvSpPr>
          <p:nvPr/>
        </p:nvSpPr>
        <p:spPr bwMode="gray">
          <a:xfrm>
            <a:off x="747388" y="2358439"/>
            <a:ext cx="2466443" cy="1169308"/>
          </a:xfrm>
          <a:prstGeom prst="rect">
            <a:avLst/>
          </a:prstGeom>
          <a:solidFill>
            <a:schemeClr val="bg1"/>
          </a:solidFill>
        </p:spPr>
        <p:txBody>
          <a:bodyPr vert="horz" lIns="0" tIns="0" rIns="0" bIns="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a:lnSpc>
                <a:spcPct val="100000"/>
              </a:lnSpc>
              <a:defRPr/>
            </a:pPr>
            <a:r>
              <a:rPr lang="en-US" sz="1100" b="1">
                <a:solidFill>
                  <a:srgbClr val="014049"/>
                </a:solidFill>
                <a:latin typeface="Arial" panose="020B0604020202020204" pitchFamily="34" charset="0"/>
                <a:cs typeface="Arial" panose="020B0604020202020204" pitchFamily="34" charset="0"/>
              </a:rPr>
              <a:t>Evaluate New Method</a:t>
            </a:r>
          </a:p>
          <a:p>
            <a:pPr algn="r">
              <a:lnSpc>
                <a:spcPct val="100000"/>
              </a:lnSpc>
              <a:defRPr/>
            </a:pPr>
            <a:endParaRPr lang="en-US" sz="900">
              <a:latin typeface="Arial" panose="020B0604020202020204" pitchFamily="34" charset="0"/>
              <a:cs typeface="Arial" panose="020B0604020202020204" pitchFamily="34" charset="0"/>
            </a:endParaRPr>
          </a:p>
          <a:p>
            <a:pPr algn="r">
              <a:lnSpc>
                <a:spcPct val="100000"/>
              </a:lnSpc>
              <a:defRPr/>
            </a:pPr>
            <a:r>
              <a:rPr lang="en-US" sz="900">
                <a:latin typeface="Arial" panose="020B0604020202020204" pitchFamily="34" charset="0"/>
                <a:cs typeface="Arial" panose="020B0604020202020204" pitchFamily="34" charset="0"/>
              </a:rPr>
              <a:t>Evaluate the results of the action items in order to verify actual level of improvement. Standardize work practices and follow up to ensure that goals are sustained. </a:t>
            </a:r>
          </a:p>
        </p:txBody>
      </p:sp>
      <p:sp>
        <p:nvSpPr>
          <p:cNvPr id="3" name="Rectangle 2">
            <a:extLst>
              <a:ext uri="{FF2B5EF4-FFF2-40B4-BE49-F238E27FC236}">
                <a16:creationId xmlns:a16="http://schemas.microsoft.com/office/drawing/2014/main" id="{D674EDB4-2C97-5F4E-921A-41BB7A5E6626}"/>
              </a:ext>
            </a:extLst>
          </p:cNvPr>
          <p:cNvSpPr/>
          <p:nvPr/>
        </p:nvSpPr>
        <p:spPr>
          <a:xfrm>
            <a:off x="9518507" y="-27275"/>
            <a:ext cx="2671454" cy="96707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ysClr val="windowText" lastClr="000000"/>
                </a:solidFill>
              </a:rPr>
              <a:t>Animation</a:t>
            </a:r>
          </a:p>
        </p:txBody>
      </p:sp>
    </p:spTree>
    <p:extLst>
      <p:ext uri="{BB962C8B-B14F-4D97-AF65-F5344CB8AC3E}">
        <p14:creationId xmlns:p14="http://schemas.microsoft.com/office/powerpoint/2010/main" val="3972501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0" fill="hold"/>
                                        <p:tgtEl>
                                          <p:spTgt spid="34"/>
                                        </p:tgtEl>
                                        <p:attrNameLst>
                                          <p:attrName>ppt_w</p:attrName>
                                        </p:attrNameLst>
                                      </p:cBhvr>
                                      <p:tavLst>
                                        <p:tav tm="0">
                                          <p:val>
                                            <p:strVal val="4/3*#ppt_w"/>
                                          </p:val>
                                        </p:tav>
                                        <p:tav tm="100000">
                                          <p:val>
                                            <p:strVal val="#ppt_w"/>
                                          </p:val>
                                        </p:tav>
                                      </p:tavLst>
                                    </p:anim>
                                    <p:anim calcmode="lin" valueType="num">
                                      <p:cBhvr>
                                        <p:cTn id="8" dur="5000" fill="hold"/>
                                        <p:tgtEl>
                                          <p:spTgt spid="34"/>
                                        </p:tgtEl>
                                        <p:attrNameLst>
                                          <p:attrName>ppt_h</p:attrName>
                                        </p:attrNameLst>
                                      </p:cBhvr>
                                      <p:tavLst>
                                        <p:tav tm="0">
                                          <p:val>
                                            <p:strVal val="4/3*#ppt_h"/>
                                          </p:val>
                                        </p:tav>
                                        <p:tav tm="100000">
                                          <p:val>
                                            <p:strVal val="#ppt_h"/>
                                          </p:val>
                                        </p:tav>
                                      </p:tavLst>
                                    </p:anim>
                                  </p:childTnLst>
                                </p:cTn>
                              </p:par>
                              <p:par>
                                <p:cTn id="9" presetID="8" presetClass="emph" presetSubtype="0" fill="hold" grpId="1" nodeType="withEffect">
                                  <p:stCondLst>
                                    <p:cond delay="0"/>
                                  </p:stCondLst>
                                  <p:childTnLst>
                                    <p:animRot by="-21600000">
                                      <p:cBhvr>
                                        <p:cTn id="10" dur="20000" fill="hold"/>
                                        <p:tgtEl>
                                          <p:spTgt spid="34"/>
                                        </p:tgtEl>
                                        <p:attrNameLst>
                                          <p:attrName>r</p:attrName>
                                        </p:attrNameLst>
                                      </p:cBhvr>
                                    </p:animRot>
                                  </p:childTnLst>
                                </p:cTn>
                              </p:par>
                              <p:par>
                                <p:cTn id="11" presetID="10" presetClass="entr" presetSubtype="0" fill="hold" nodeType="withEffect">
                                  <p:stCondLst>
                                    <p:cond delay="100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3000"/>
                                        <p:tgtEl>
                                          <p:spTgt spid="66"/>
                                        </p:tgtEl>
                                      </p:cBhvr>
                                    </p:animEffect>
                                  </p:childTnLst>
                                </p:cTn>
                              </p:par>
                              <p:par>
                                <p:cTn id="14" presetID="10" presetClass="entr" presetSubtype="0" fill="hold" nodeType="withEffect">
                                  <p:stCondLst>
                                    <p:cond delay="1000"/>
                                  </p:stCondLst>
                                  <p:childTnLst>
                                    <p:set>
                                      <p:cBhvr>
                                        <p:cTn id="15" dur="1" fill="hold">
                                          <p:stCondLst>
                                            <p:cond delay="0"/>
                                          </p:stCondLst>
                                        </p:cTn>
                                        <p:tgtEl>
                                          <p:spTgt spid="59"/>
                                        </p:tgtEl>
                                        <p:attrNameLst>
                                          <p:attrName>style.visibility</p:attrName>
                                        </p:attrNameLst>
                                      </p:cBhvr>
                                      <p:to>
                                        <p:strVal val="visible"/>
                                      </p:to>
                                    </p:set>
                                    <p:animEffect transition="in" filter="fade">
                                      <p:cBhvr>
                                        <p:cTn id="16" dur="3000"/>
                                        <p:tgtEl>
                                          <p:spTgt spid="59"/>
                                        </p:tgtEl>
                                      </p:cBhvr>
                                    </p:animEffect>
                                  </p:childTnLst>
                                </p:cTn>
                              </p:par>
                              <p:par>
                                <p:cTn id="17" presetID="10" presetClass="entr" presetSubtype="0" fill="hold" nodeType="withEffect">
                                  <p:stCondLst>
                                    <p:cond delay="100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3000"/>
                                        <p:tgtEl>
                                          <p:spTgt spid="54"/>
                                        </p:tgtEl>
                                      </p:cBhvr>
                                    </p:animEffect>
                                  </p:childTnLst>
                                </p:cTn>
                              </p:par>
                              <p:par>
                                <p:cTn id="20" presetID="10" presetClass="entr" presetSubtype="0" fill="hold" nodeType="withEffect">
                                  <p:stCondLst>
                                    <p:cond delay="100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3000"/>
                                        <p:tgtEl>
                                          <p:spTgt spid="49"/>
                                        </p:tgtEl>
                                      </p:cBhvr>
                                    </p:animEffect>
                                  </p:childTnLst>
                                </p:cTn>
                              </p:par>
                              <p:par>
                                <p:cTn id="23" presetID="10" presetClass="entr" presetSubtype="0" fill="hold" nodeType="withEffect">
                                  <p:stCondLst>
                                    <p:cond delay="100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3000"/>
                                        <p:tgtEl>
                                          <p:spTgt spid="44"/>
                                        </p:tgtEl>
                                      </p:cBhvr>
                                    </p:animEffect>
                                  </p:childTnLst>
                                </p:cTn>
                              </p:par>
                              <p:par>
                                <p:cTn id="26" presetID="10" presetClass="entr" presetSubtype="0" fill="hold" nodeType="withEffect">
                                  <p:stCondLst>
                                    <p:cond delay="10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3000"/>
                                        <p:tgtEl>
                                          <p:spTgt spid="36"/>
                                        </p:tgtEl>
                                      </p:cBhvr>
                                    </p:animEffect>
                                  </p:childTnLst>
                                </p:cTn>
                              </p:par>
                              <p:par>
                                <p:cTn id="29" presetID="0" presetClass="path" presetSubtype="0" accel="50000" decel="50000" fill="hold" nodeType="withEffect">
                                  <p:stCondLst>
                                    <p:cond delay="1000"/>
                                  </p:stCondLst>
                                  <p:childTnLst>
                                    <p:animMotion origin="layout" path="M 0.00078 0.17176 L 3.91032E-6 -1.48148E-6 " pathEditMode="relative" rAng="0" ptsTypes="AA">
                                      <p:cBhvr>
                                        <p:cTn id="30" dur="3000" fill="hold"/>
                                        <p:tgtEl>
                                          <p:spTgt spid="66"/>
                                        </p:tgtEl>
                                        <p:attrNameLst>
                                          <p:attrName>ppt_x</p:attrName>
                                          <p:attrName>ppt_y</p:attrName>
                                        </p:attrNameLst>
                                      </p:cBhvr>
                                      <p:rCtr x="-52" y="-8426"/>
                                    </p:animMotion>
                                  </p:childTnLst>
                                </p:cTn>
                              </p:par>
                              <p:par>
                                <p:cTn id="31" presetID="0" presetClass="path" presetSubtype="0" accel="50000" decel="50000" fill="hold" nodeType="withEffect">
                                  <p:stCondLst>
                                    <p:cond delay="1000"/>
                                  </p:stCondLst>
                                  <p:childTnLst>
                                    <p:animMotion origin="layout" path="M -0.08707 0.0838 L -0.00157 0.00047 " pathEditMode="relative" ptsTypes="AA">
                                      <p:cBhvr>
                                        <p:cTn id="32" dur="3000" fill="hold"/>
                                        <p:tgtEl>
                                          <p:spTgt spid="59"/>
                                        </p:tgtEl>
                                        <p:attrNameLst>
                                          <p:attrName>ppt_x</p:attrName>
                                          <p:attrName>ppt_y</p:attrName>
                                        </p:attrNameLst>
                                      </p:cBhvr>
                                    </p:animMotion>
                                  </p:childTnLst>
                                </p:cTn>
                              </p:par>
                              <p:par>
                                <p:cTn id="33" presetID="0" presetClass="path" presetSubtype="0" accel="50000" decel="50000" fill="hold" nodeType="withEffect">
                                  <p:stCondLst>
                                    <p:cond delay="1000"/>
                                  </p:stCondLst>
                                  <p:childTnLst>
                                    <p:animMotion origin="layout" path="M -0.08798 -0.08611 L -0.00104 -0.00231 " pathEditMode="relative" ptsTypes="AA">
                                      <p:cBhvr>
                                        <p:cTn id="34" dur="3000" fill="hold"/>
                                        <p:tgtEl>
                                          <p:spTgt spid="54"/>
                                        </p:tgtEl>
                                        <p:attrNameLst>
                                          <p:attrName>ppt_x</p:attrName>
                                          <p:attrName>ppt_y</p:attrName>
                                        </p:attrNameLst>
                                      </p:cBhvr>
                                    </p:animMotion>
                                  </p:childTnLst>
                                </p:cTn>
                              </p:par>
                              <p:par>
                                <p:cTn id="35" presetID="0" presetClass="path" presetSubtype="0" accel="50000" decel="50000" fill="hold" nodeType="withEffect">
                                  <p:stCondLst>
                                    <p:cond delay="1000"/>
                                  </p:stCondLst>
                                  <p:childTnLst>
                                    <p:animMotion origin="layout" path="M -0.00065 -0.16782 L -0.00065 0.00648 " pathEditMode="relative" ptsTypes="AA">
                                      <p:cBhvr>
                                        <p:cTn id="36" dur="3000" fill="hold"/>
                                        <p:tgtEl>
                                          <p:spTgt spid="49"/>
                                        </p:tgtEl>
                                        <p:attrNameLst>
                                          <p:attrName>ppt_x</p:attrName>
                                          <p:attrName>ppt_y</p:attrName>
                                        </p:attrNameLst>
                                      </p:cBhvr>
                                    </p:animMotion>
                                  </p:childTnLst>
                                </p:cTn>
                              </p:par>
                              <p:par>
                                <p:cTn id="37" presetID="0" presetClass="path" presetSubtype="0" accel="50000" decel="50000" fill="hold" nodeType="withEffect">
                                  <p:stCondLst>
                                    <p:cond delay="1000"/>
                                  </p:stCondLst>
                                  <p:childTnLst>
                                    <p:animMotion origin="layout" path="M 0.08042 -0.08982 L -2.05422E-6 1.85185E-6 " pathEditMode="relative" rAng="0" ptsTypes="AA">
                                      <p:cBhvr>
                                        <p:cTn id="38" dur="3000" fill="hold"/>
                                        <p:tgtEl>
                                          <p:spTgt spid="44"/>
                                        </p:tgtEl>
                                        <p:attrNameLst>
                                          <p:attrName>ppt_x</p:attrName>
                                          <p:attrName>ppt_y</p:attrName>
                                        </p:attrNameLst>
                                      </p:cBhvr>
                                      <p:rCtr x="-4080" y="4398"/>
                                    </p:animMotion>
                                  </p:childTnLst>
                                </p:cTn>
                              </p:par>
                              <p:par>
                                <p:cTn id="39" presetID="0" presetClass="path" presetSubtype="0" accel="50000" decel="50000" fill="hold" nodeType="withEffect">
                                  <p:stCondLst>
                                    <p:cond delay="1000"/>
                                  </p:stCondLst>
                                  <p:childTnLst>
                                    <p:animMotion origin="layout" path="M 0.08329 0.07546 L -0.00144 -0.00186 " pathEditMode="relative" ptsTypes="AA">
                                      <p:cBhvr>
                                        <p:cTn id="40" dur="3000" fill="hold"/>
                                        <p:tgtEl>
                                          <p:spTgt spid="36"/>
                                        </p:tgtEl>
                                        <p:attrNameLst>
                                          <p:attrName>ppt_x</p:attrName>
                                          <p:attrName>ppt_y</p:attrName>
                                        </p:attrNameLst>
                                      </p:cBhvr>
                                    </p:animMotion>
                                  </p:childTnLst>
                                </p:cTn>
                              </p:par>
                              <p:par>
                                <p:cTn id="41" presetID="23" presetClass="entr" presetSubtype="16" fill="hold" grpId="0" nodeType="withEffect">
                                  <p:stCondLst>
                                    <p:cond delay="1000"/>
                                  </p:stCondLst>
                                  <p:childTnLst>
                                    <p:set>
                                      <p:cBhvr>
                                        <p:cTn id="42" dur="1" fill="hold">
                                          <p:stCondLst>
                                            <p:cond delay="0"/>
                                          </p:stCondLst>
                                        </p:cTn>
                                        <p:tgtEl>
                                          <p:spTgt spid="28"/>
                                        </p:tgtEl>
                                        <p:attrNameLst>
                                          <p:attrName>style.visibility</p:attrName>
                                        </p:attrNameLst>
                                      </p:cBhvr>
                                      <p:to>
                                        <p:strVal val="visible"/>
                                      </p:to>
                                    </p:set>
                                    <p:anim calcmode="lin" valueType="num">
                                      <p:cBhvr>
                                        <p:cTn id="43" dur="3000" fill="hold"/>
                                        <p:tgtEl>
                                          <p:spTgt spid="28"/>
                                        </p:tgtEl>
                                        <p:attrNameLst>
                                          <p:attrName>ppt_w</p:attrName>
                                        </p:attrNameLst>
                                      </p:cBhvr>
                                      <p:tavLst>
                                        <p:tav tm="0">
                                          <p:val>
                                            <p:fltVal val="0"/>
                                          </p:val>
                                        </p:tav>
                                        <p:tav tm="100000">
                                          <p:val>
                                            <p:strVal val="#ppt_w"/>
                                          </p:val>
                                        </p:tav>
                                      </p:tavLst>
                                    </p:anim>
                                    <p:anim calcmode="lin" valueType="num">
                                      <p:cBhvr>
                                        <p:cTn id="44" dur="3000" fill="hold"/>
                                        <p:tgtEl>
                                          <p:spTgt spid="28"/>
                                        </p:tgtEl>
                                        <p:attrNameLst>
                                          <p:attrName>ppt_h</p:attrName>
                                        </p:attrNameLst>
                                      </p:cBhvr>
                                      <p:tavLst>
                                        <p:tav tm="0">
                                          <p:val>
                                            <p:fltVal val="0"/>
                                          </p:val>
                                        </p:tav>
                                        <p:tav tm="100000">
                                          <p:val>
                                            <p:strVal val="#ppt_h"/>
                                          </p:val>
                                        </p:tav>
                                      </p:tavLst>
                                    </p:anim>
                                  </p:childTnLst>
                                </p:cTn>
                              </p:par>
                              <p:par>
                                <p:cTn id="45" presetID="21" presetClass="entr" presetSubtype="1" fill="hold" nodeType="withEffect">
                                  <p:stCondLst>
                                    <p:cond delay="1500"/>
                                  </p:stCondLst>
                                  <p:childTnLst>
                                    <p:set>
                                      <p:cBhvr>
                                        <p:cTn id="46" dur="1" fill="hold">
                                          <p:stCondLst>
                                            <p:cond delay="0"/>
                                          </p:stCondLst>
                                        </p:cTn>
                                        <p:tgtEl>
                                          <p:spTgt spid="6"/>
                                        </p:tgtEl>
                                        <p:attrNameLst>
                                          <p:attrName>style.visibility</p:attrName>
                                        </p:attrNameLst>
                                      </p:cBhvr>
                                      <p:to>
                                        <p:strVal val="visible"/>
                                      </p:to>
                                    </p:set>
                                    <p:animEffect transition="in" filter="wheel(1)">
                                      <p:cBhvr>
                                        <p:cTn id="47" dur="2000"/>
                                        <p:tgtEl>
                                          <p:spTgt spid="6"/>
                                        </p:tgtEl>
                                      </p:cBhvr>
                                    </p:animEffect>
                                  </p:childTnLst>
                                </p:cTn>
                              </p:par>
                              <p:par>
                                <p:cTn id="48" presetID="8" presetClass="emph" presetSubtype="0" fill="hold" nodeType="withEffect">
                                  <p:stCondLst>
                                    <p:cond delay="2000"/>
                                  </p:stCondLst>
                                  <p:childTnLst>
                                    <p:animRot by="21600000">
                                      <p:cBhvr>
                                        <p:cTn id="49" dur="30000" fill="hold"/>
                                        <p:tgtEl>
                                          <p:spTgt spid="6"/>
                                        </p:tgtEl>
                                        <p:attrNameLst>
                                          <p:attrName>r</p:attrName>
                                        </p:attrNameLst>
                                      </p:cBhvr>
                                    </p:animRot>
                                  </p:childTnLst>
                                </p:cTn>
                              </p:par>
                              <p:par>
                                <p:cTn id="50" presetID="12" presetClass="entr" presetSubtype="8" fill="hold" grpId="0" nodeType="withEffect">
                                  <p:stCondLst>
                                    <p:cond delay="3500"/>
                                  </p:stCondLst>
                                  <p:childTnLst>
                                    <p:set>
                                      <p:cBhvr>
                                        <p:cTn id="51" dur="1" fill="hold">
                                          <p:stCondLst>
                                            <p:cond delay="0"/>
                                          </p:stCondLst>
                                        </p:cTn>
                                        <p:tgtEl>
                                          <p:spTgt spid="71"/>
                                        </p:tgtEl>
                                        <p:attrNameLst>
                                          <p:attrName>style.visibility</p:attrName>
                                        </p:attrNameLst>
                                      </p:cBhvr>
                                      <p:to>
                                        <p:strVal val="visible"/>
                                      </p:to>
                                    </p:set>
                                    <p:anim calcmode="lin" valueType="num">
                                      <p:cBhvr additive="base">
                                        <p:cTn id="52" dur="1000"/>
                                        <p:tgtEl>
                                          <p:spTgt spid="71"/>
                                        </p:tgtEl>
                                        <p:attrNameLst>
                                          <p:attrName>ppt_x</p:attrName>
                                        </p:attrNameLst>
                                      </p:cBhvr>
                                      <p:tavLst>
                                        <p:tav tm="0">
                                          <p:val>
                                            <p:strVal val="#ppt_x-#ppt_w*1.125000"/>
                                          </p:val>
                                        </p:tav>
                                        <p:tav tm="100000">
                                          <p:val>
                                            <p:strVal val="#ppt_x"/>
                                          </p:val>
                                        </p:tav>
                                      </p:tavLst>
                                    </p:anim>
                                    <p:animEffect transition="in" filter="wipe(right)">
                                      <p:cBhvr>
                                        <p:cTn id="53" dur="1000"/>
                                        <p:tgtEl>
                                          <p:spTgt spid="71"/>
                                        </p:tgtEl>
                                      </p:cBhvr>
                                    </p:animEffect>
                                  </p:childTnLst>
                                </p:cTn>
                              </p:par>
                              <p:par>
                                <p:cTn id="54" presetID="12" presetClass="entr" presetSubtype="8" fill="hold" grpId="0" nodeType="withEffect">
                                  <p:stCondLst>
                                    <p:cond delay="4500"/>
                                  </p:stCondLst>
                                  <p:childTnLst>
                                    <p:set>
                                      <p:cBhvr>
                                        <p:cTn id="55" dur="1" fill="hold">
                                          <p:stCondLst>
                                            <p:cond delay="0"/>
                                          </p:stCondLst>
                                        </p:cTn>
                                        <p:tgtEl>
                                          <p:spTgt spid="72"/>
                                        </p:tgtEl>
                                        <p:attrNameLst>
                                          <p:attrName>style.visibility</p:attrName>
                                        </p:attrNameLst>
                                      </p:cBhvr>
                                      <p:to>
                                        <p:strVal val="visible"/>
                                      </p:to>
                                    </p:set>
                                    <p:anim calcmode="lin" valueType="num">
                                      <p:cBhvr additive="base">
                                        <p:cTn id="56" dur="1000"/>
                                        <p:tgtEl>
                                          <p:spTgt spid="72"/>
                                        </p:tgtEl>
                                        <p:attrNameLst>
                                          <p:attrName>ppt_x</p:attrName>
                                        </p:attrNameLst>
                                      </p:cBhvr>
                                      <p:tavLst>
                                        <p:tav tm="0">
                                          <p:val>
                                            <p:strVal val="#ppt_x-#ppt_w*1.125000"/>
                                          </p:val>
                                        </p:tav>
                                        <p:tav tm="100000">
                                          <p:val>
                                            <p:strVal val="#ppt_x"/>
                                          </p:val>
                                        </p:tav>
                                      </p:tavLst>
                                    </p:anim>
                                    <p:animEffect transition="in" filter="wipe(right)">
                                      <p:cBhvr>
                                        <p:cTn id="57" dur="1000"/>
                                        <p:tgtEl>
                                          <p:spTgt spid="72"/>
                                        </p:tgtEl>
                                      </p:cBhvr>
                                    </p:animEffect>
                                  </p:childTnLst>
                                </p:cTn>
                              </p:par>
                              <p:par>
                                <p:cTn id="58" presetID="12" presetClass="entr" presetSubtype="8" fill="hold" grpId="0" nodeType="withEffect">
                                  <p:stCondLst>
                                    <p:cond delay="5500"/>
                                  </p:stCondLst>
                                  <p:childTnLst>
                                    <p:set>
                                      <p:cBhvr>
                                        <p:cTn id="59" dur="1" fill="hold">
                                          <p:stCondLst>
                                            <p:cond delay="0"/>
                                          </p:stCondLst>
                                        </p:cTn>
                                        <p:tgtEl>
                                          <p:spTgt spid="73"/>
                                        </p:tgtEl>
                                        <p:attrNameLst>
                                          <p:attrName>style.visibility</p:attrName>
                                        </p:attrNameLst>
                                      </p:cBhvr>
                                      <p:to>
                                        <p:strVal val="visible"/>
                                      </p:to>
                                    </p:set>
                                    <p:anim calcmode="lin" valueType="num">
                                      <p:cBhvr additive="base">
                                        <p:cTn id="60" dur="1000"/>
                                        <p:tgtEl>
                                          <p:spTgt spid="73"/>
                                        </p:tgtEl>
                                        <p:attrNameLst>
                                          <p:attrName>ppt_x</p:attrName>
                                        </p:attrNameLst>
                                      </p:cBhvr>
                                      <p:tavLst>
                                        <p:tav tm="0">
                                          <p:val>
                                            <p:strVal val="#ppt_x-#ppt_w*1.125000"/>
                                          </p:val>
                                        </p:tav>
                                        <p:tav tm="100000">
                                          <p:val>
                                            <p:strVal val="#ppt_x"/>
                                          </p:val>
                                        </p:tav>
                                      </p:tavLst>
                                    </p:anim>
                                    <p:animEffect transition="in" filter="wipe(right)">
                                      <p:cBhvr>
                                        <p:cTn id="61" dur="1000"/>
                                        <p:tgtEl>
                                          <p:spTgt spid="73"/>
                                        </p:tgtEl>
                                      </p:cBhvr>
                                    </p:animEffect>
                                  </p:childTnLst>
                                </p:cTn>
                              </p:par>
                              <p:par>
                                <p:cTn id="62" presetID="12" presetClass="entr" presetSubtype="2" fill="hold" grpId="0" nodeType="withEffect">
                                  <p:stCondLst>
                                    <p:cond delay="6500"/>
                                  </p:stCondLst>
                                  <p:childTnLst>
                                    <p:set>
                                      <p:cBhvr>
                                        <p:cTn id="63" dur="1" fill="hold">
                                          <p:stCondLst>
                                            <p:cond delay="0"/>
                                          </p:stCondLst>
                                        </p:cTn>
                                        <p:tgtEl>
                                          <p:spTgt spid="74"/>
                                        </p:tgtEl>
                                        <p:attrNameLst>
                                          <p:attrName>style.visibility</p:attrName>
                                        </p:attrNameLst>
                                      </p:cBhvr>
                                      <p:to>
                                        <p:strVal val="visible"/>
                                      </p:to>
                                    </p:set>
                                    <p:anim calcmode="lin" valueType="num">
                                      <p:cBhvr additive="base">
                                        <p:cTn id="64" dur="1000"/>
                                        <p:tgtEl>
                                          <p:spTgt spid="74"/>
                                        </p:tgtEl>
                                        <p:attrNameLst>
                                          <p:attrName>ppt_x</p:attrName>
                                        </p:attrNameLst>
                                      </p:cBhvr>
                                      <p:tavLst>
                                        <p:tav tm="0">
                                          <p:val>
                                            <p:strVal val="#ppt_x+#ppt_w*1.125000"/>
                                          </p:val>
                                        </p:tav>
                                        <p:tav tm="100000">
                                          <p:val>
                                            <p:strVal val="#ppt_x"/>
                                          </p:val>
                                        </p:tav>
                                      </p:tavLst>
                                    </p:anim>
                                    <p:animEffect transition="in" filter="wipe(left)">
                                      <p:cBhvr>
                                        <p:cTn id="65" dur="1000"/>
                                        <p:tgtEl>
                                          <p:spTgt spid="74"/>
                                        </p:tgtEl>
                                      </p:cBhvr>
                                    </p:animEffect>
                                  </p:childTnLst>
                                </p:cTn>
                              </p:par>
                              <p:par>
                                <p:cTn id="66" presetID="12" presetClass="entr" presetSubtype="2" fill="hold" grpId="0" nodeType="withEffect">
                                  <p:stCondLst>
                                    <p:cond delay="7500"/>
                                  </p:stCondLst>
                                  <p:childTnLst>
                                    <p:set>
                                      <p:cBhvr>
                                        <p:cTn id="67" dur="1" fill="hold">
                                          <p:stCondLst>
                                            <p:cond delay="0"/>
                                          </p:stCondLst>
                                        </p:cTn>
                                        <p:tgtEl>
                                          <p:spTgt spid="75"/>
                                        </p:tgtEl>
                                        <p:attrNameLst>
                                          <p:attrName>style.visibility</p:attrName>
                                        </p:attrNameLst>
                                      </p:cBhvr>
                                      <p:to>
                                        <p:strVal val="visible"/>
                                      </p:to>
                                    </p:set>
                                    <p:anim calcmode="lin" valueType="num">
                                      <p:cBhvr additive="base">
                                        <p:cTn id="68" dur="1000"/>
                                        <p:tgtEl>
                                          <p:spTgt spid="75"/>
                                        </p:tgtEl>
                                        <p:attrNameLst>
                                          <p:attrName>ppt_x</p:attrName>
                                        </p:attrNameLst>
                                      </p:cBhvr>
                                      <p:tavLst>
                                        <p:tav tm="0">
                                          <p:val>
                                            <p:strVal val="#ppt_x+#ppt_w*1.125000"/>
                                          </p:val>
                                        </p:tav>
                                        <p:tav tm="100000">
                                          <p:val>
                                            <p:strVal val="#ppt_x"/>
                                          </p:val>
                                        </p:tav>
                                      </p:tavLst>
                                    </p:anim>
                                    <p:animEffect transition="in" filter="wipe(left)">
                                      <p:cBhvr>
                                        <p:cTn id="69" dur="1000"/>
                                        <p:tgtEl>
                                          <p:spTgt spid="75"/>
                                        </p:tgtEl>
                                      </p:cBhvr>
                                    </p:animEffect>
                                  </p:childTnLst>
                                </p:cTn>
                              </p:par>
                              <p:par>
                                <p:cTn id="70" presetID="12" presetClass="entr" presetSubtype="2" fill="hold" grpId="0" nodeType="withEffect">
                                  <p:stCondLst>
                                    <p:cond delay="8500"/>
                                  </p:stCondLst>
                                  <p:childTnLst>
                                    <p:set>
                                      <p:cBhvr>
                                        <p:cTn id="71" dur="1" fill="hold">
                                          <p:stCondLst>
                                            <p:cond delay="0"/>
                                          </p:stCondLst>
                                        </p:cTn>
                                        <p:tgtEl>
                                          <p:spTgt spid="76"/>
                                        </p:tgtEl>
                                        <p:attrNameLst>
                                          <p:attrName>style.visibility</p:attrName>
                                        </p:attrNameLst>
                                      </p:cBhvr>
                                      <p:to>
                                        <p:strVal val="visible"/>
                                      </p:to>
                                    </p:set>
                                    <p:anim calcmode="lin" valueType="num">
                                      <p:cBhvr additive="base">
                                        <p:cTn id="72" dur="1000"/>
                                        <p:tgtEl>
                                          <p:spTgt spid="76"/>
                                        </p:tgtEl>
                                        <p:attrNameLst>
                                          <p:attrName>ppt_x</p:attrName>
                                        </p:attrNameLst>
                                      </p:cBhvr>
                                      <p:tavLst>
                                        <p:tav tm="0">
                                          <p:val>
                                            <p:strVal val="#ppt_x+#ppt_w*1.125000"/>
                                          </p:val>
                                        </p:tav>
                                        <p:tav tm="100000">
                                          <p:val>
                                            <p:strVal val="#ppt_x"/>
                                          </p:val>
                                        </p:tav>
                                      </p:tavLst>
                                    </p:anim>
                                    <p:animEffect transition="in" filter="wipe(left)">
                                      <p:cBhvr>
                                        <p:cTn id="73" dur="1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28" grpId="0" animBg="1"/>
      <p:bldP spid="71" grpId="0" animBg="1"/>
      <p:bldP spid="72" grpId="0" animBg="1"/>
      <p:bldP spid="73" grpId="0" animBg="1"/>
      <p:bldP spid="74" grpId="0" animBg="1"/>
      <p:bldP spid="75" grpId="0" animBg="1"/>
      <p:bldP spid="7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1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4" name="Rectangle 33">
            <a:extLst>
              <a:ext uri="{FF2B5EF4-FFF2-40B4-BE49-F238E27FC236}">
                <a16:creationId xmlns:a16="http://schemas.microsoft.com/office/drawing/2014/main" id="{44D1FA2C-7FB8-4F70-B8F5-7A7F09C77B53}"/>
              </a:ext>
            </a:extLst>
          </p:cNvPr>
          <p:cNvSpPr/>
          <p:nvPr/>
        </p:nvSpPr>
        <p:spPr>
          <a:xfrm>
            <a:off x="599681" y="3954629"/>
            <a:ext cx="7660399" cy="1926000"/>
          </a:xfrm>
          <a:prstGeom prst="rect">
            <a:avLst/>
          </a:prstGeom>
          <a:solidFill>
            <a:sysClr val="window" lastClr="FFFFFF">
              <a:lumMod val="95000"/>
            </a:sysClr>
          </a:solidFill>
          <a:ln w="12700" cap="flat" cmpd="sng" algn="ctr">
            <a:noFill/>
            <a:prstDash val="solid"/>
            <a:miter lim="800000"/>
          </a:ln>
          <a:effectLst/>
        </p:spPr>
        <p:txBody>
          <a:bodyPr lIns="360000" tIns="0" r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ix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endParaRPr lang="en-GB"/>
          </a:p>
        </p:txBody>
      </p:sp>
      <p:sp>
        <p:nvSpPr>
          <p:cNvPr id="35" name="Rectangle 34">
            <a:extLst>
              <a:ext uri="{FF2B5EF4-FFF2-40B4-BE49-F238E27FC236}">
                <a16:creationId xmlns:a16="http://schemas.microsoft.com/office/drawing/2014/main" id="{B105EDEA-1EDD-480B-86F6-2F5ACF6F5DBE}"/>
              </a:ext>
            </a:extLst>
          </p:cNvPr>
          <p:cNvSpPr/>
          <p:nvPr userDrawn="1"/>
        </p:nvSpPr>
        <p:spPr bwMode="gray">
          <a:xfrm>
            <a:off x="365681" y="4683629"/>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30" name="Rectangle 29">
            <a:extLst>
              <a:ext uri="{FF2B5EF4-FFF2-40B4-BE49-F238E27FC236}">
                <a16:creationId xmlns:a16="http://schemas.microsoft.com/office/drawing/2014/main" id="{E1EB7A84-8A39-4EB6-9094-1A04E5DB06A3}"/>
              </a:ext>
            </a:extLst>
          </p:cNvPr>
          <p:cNvSpPr/>
          <p:nvPr/>
        </p:nvSpPr>
        <p:spPr>
          <a:xfrm>
            <a:off x="599681" y="1919786"/>
            <a:ext cx="7660399" cy="1926000"/>
          </a:xfrm>
          <a:prstGeom prst="rect">
            <a:avLst/>
          </a:prstGeom>
          <a:solidFill>
            <a:sysClr val="window" lastClr="FFFFFF">
              <a:lumMod val="95000"/>
            </a:sysClr>
          </a:solidFill>
          <a:ln w="12700" cap="flat" cmpd="sng" algn="ctr">
            <a:noFill/>
            <a:prstDash val="solid"/>
            <a:miter lim="800000"/>
          </a:ln>
          <a:effectLst/>
        </p:spPr>
        <p:txBody>
          <a:bodyPr lIns="360000" tIns="0" r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ix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endParaRPr lang="en-GB"/>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365681" y="2648786"/>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49" name="Rectangle 48">
            <a:extLst>
              <a:ext uri="{FF2B5EF4-FFF2-40B4-BE49-F238E27FC236}">
                <a16:creationId xmlns:a16="http://schemas.microsoft.com/office/drawing/2014/main" id="{88C0F6E0-FEBD-4D56-B6ED-01D5C2386805}"/>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37098318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This slide deck includes multiple templates and ideas to create slides</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Table of content</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4" name="RBContent58">
            <a:extLst>
              <a:ext uri="{FF2B5EF4-FFF2-40B4-BE49-F238E27FC236}">
                <a16:creationId xmlns:a16="http://schemas.microsoft.com/office/drawing/2014/main" id="{E22E56F2-31AA-4CDB-ABDC-D92A06DB25A5}"/>
              </a:ext>
            </a:extLst>
          </p:cNvPr>
          <p:cNvSpPr txBox="1">
            <a:spLocks/>
          </p:cNvSpPr>
          <p:nvPr/>
        </p:nvSpPr>
        <p:spPr>
          <a:xfrm>
            <a:off x="365681" y="2488728"/>
            <a:ext cx="10382401" cy="2410916"/>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Icons</a:t>
            </a:r>
          </a:p>
          <a:p>
            <a:pPr marL="342900" indent="-342900">
              <a:spcAft>
                <a:spcPts val="2000"/>
              </a:spcAft>
              <a:buFontTx/>
              <a:buAutoNum type="arabicPeriod"/>
            </a:pPr>
            <a:r>
              <a:rPr lang="en-GB"/>
              <a:t>Agendas</a:t>
            </a:r>
          </a:p>
          <a:p>
            <a:pPr marL="342900" indent="-342900">
              <a:spcAft>
                <a:spcPts val="2000"/>
              </a:spcAft>
              <a:buFontTx/>
              <a:buAutoNum type="arabicPeriod"/>
            </a:pPr>
            <a:r>
              <a:rPr lang="en-GB"/>
              <a:t>Process</a:t>
            </a:r>
          </a:p>
          <a:p>
            <a:pPr marL="342900" indent="-342900">
              <a:spcAft>
                <a:spcPts val="2000"/>
              </a:spcAft>
              <a:buFontTx/>
              <a:buAutoNum type="arabicPeriod"/>
            </a:pPr>
            <a:r>
              <a:rPr lang="en-GB"/>
              <a:t>Enumeration</a:t>
            </a:r>
          </a:p>
          <a:p>
            <a:pPr marL="342900" indent="-342900">
              <a:spcAft>
                <a:spcPts val="2000"/>
              </a:spcAft>
              <a:buFontTx/>
              <a:buAutoNum type="arabicPeriod"/>
            </a:pPr>
            <a:r>
              <a:rPr lang="en-GB"/>
              <a:t>Illustration</a:t>
            </a:r>
          </a:p>
        </p:txBody>
      </p:sp>
      <p:sp>
        <p:nvSpPr>
          <p:cNvPr id="17" name="RBContent58">
            <a:extLst>
              <a:ext uri="{FF2B5EF4-FFF2-40B4-BE49-F238E27FC236}">
                <a16:creationId xmlns:a16="http://schemas.microsoft.com/office/drawing/2014/main" id="{0C8D50A0-54C6-41FC-910F-F35EB182DDC6}"/>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18" name="RBContent58">
            <a:extLst>
              <a:ext uri="{FF2B5EF4-FFF2-40B4-BE49-F238E27FC236}">
                <a16:creationId xmlns:a16="http://schemas.microsoft.com/office/drawing/2014/main" id="{5F3C3A19-9BC3-46F5-9D8D-A225A280E780}"/>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9" name="RBContent58">
            <a:extLst>
              <a:ext uri="{FF2B5EF4-FFF2-40B4-BE49-F238E27FC236}">
                <a16:creationId xmlns:a16="http://schemas.microsoft.com/office/drawing/2014/main" id="{C0DB1D66-737D-4AA5-92DF-43E34902D0F1}"/>
              </a:ext>
            </a:extLst>
          </p:cNvPr>
          <p:cNvSpPr txBox="1">
            <a:spLocks/>
          </p:cNvSpPr>
          <p:nvPr/>
        </p:nvSpPr>
        <p:spPr>
          <a:xfrm>
            <a:off x="11195403" y="2488728"/>
            <a:ext cx="630914" cy="2410916"/>
          </a:xfrm>
          <a:prstGeom prst="rect">
            <a:avLst/>
          </a:prstGeom>
          <a:noFill/>
          <a:ln w="9525">
            <a:noFill/>
          </a:ln>
        </p:spPr>
        <p:txBody>
          <a:bodyPr vert="horz" wrap="square" lIns="0" tIns="0" rIns="0" bIns="0" rtlCol="0">
            <a:spAutoFit/>
          </a:bodyPr>
          <a:lstStyle/>
          <a:p>
            <a:pPr algn="r">
              <a:spcAft>
                <a:spcPts val="2000"/>
              </a:spcAft>
            </a:pPr>
            <a:r>
              <a:rPr lang="en-GB"/>
              <a:t>3</a:t>
            </a:r>
          </a:p>
          <a:p>
            <a:pPr algn="r">
              <a:spcAft>
                <a:spcPts val="2000"/>
              </a:spcAft>
            </a:pPr>
            <a:r>
              <a:rPr lang="en-GB"/>
              <a:t>4</a:t>
            </a:r>
          </a:p>
          <a:p>
            <a:pPr algn="r">
              <a:spcAft>
                <a:spcPts val="2000"/>
              </a:spcAft>
            </a:pPr>
            <a:r>
              <a:rPr lang="en-GB"/>
              <a:t>42</a:t>
            </a:r>
          </a:p>
          <a:p>
            <a:pPr algn="r">
              <a:spcAft>
                <a:spcPts val="2000"/>
              </a:spcAft>
            </a:pPr>
            <a:r>
              <a:rPr lang="en-GB"/>
              <a:t>62</a:t>
            </a:r>
          </a:p>
          <a:p>
            <a:pPr algn="r">
              <a:spcAft>
                <a:spcPts val="2000"/>
              </a:spcAft>
            </a:pPr>
            <a:r>
              <a:rPr lang="en-GB"/>
              <a:t>92</a:t>
            </a:r>
          </a:p>
        </p:txBody>
      </p:sp>
    </p:spTree>
    <p:extLst>
      <p:ext uri="{BB962C8B-B14F-4D97-AF65-F5344CB8AC3E}">
        <p14:creationId xmlns:p14="http://schemas.microsoft.com/office/powerpoint/2010/main" val="3655138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6" name="Rectangle 35">
            <a:extLst>
              <a:ext uri="{FF2B5EF4-FFF2-40B4-BE49-F238E27FC236}">
                <a16:creationId xmlns:a16="http://schemas.microsoft.com/office/drawing/2014/main" id="{6D56D3ED-8567-414D-9527-4D3CA34ACA1D}"/>
              </a:ext>
            </a:extLst>
          </p:cNvPr>
          <p:cNvSpPr/>
          <p:nvPr/>
        </p:nvSpPr>
        <p:spPr>
          <a:xfrm>
            <a:off x="599681" y="4620629"/>
            <a:ext cx="7660399" cy="1260000"/>
          </a:xfrm>
          <a:prstGeom prst="rect">
            <a:avLst/>
          </a:prstGeom>
          <a:solidFill>
            <a:sysClr val="window" lastClr="FFFFFF">
              <a:lumMod val="95000"/>
            </a:sysClr>
          </a:solidFill>
          <a:ln w="12700" cap="flat" cmpd="sng" algn="ctr">
            <a:noFill/>
            <a:prstDash val="solid"/>
            <a:miter lim="800000"/>
          </a:ln>
          <a:effectLst/>
        </p:spPr>
        <p:txBody>
          <a:bodyPr lIns="360000" tIns="0" r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endParaRPr lang="en-GB"/>
          </a:p>
        </p:txBody>
      </p:sp>
      <p:sp>
        <p:nvSpPr>
          <p:cNvPr id="37" name="Rectangle 36">
            <a:extLst>
              <a:ext uri="{FF2B5EF4-FFF2-40B4-BE49-F238E27FC236}">
                <a16:creationId xmlns:a16="http://schemas.microsoft.com/office/drawing/2014/main" id="{F81C152F-58CA-471F-A9B0-21B17D3B7334}"/>
              </a:ext>
            </a:extLst>
          </p:cNvPr>
          <p:cNvSpPr/>
          <p:nvPr userDrawn="1"/>
        </p:nvSpPr>
        <p:spPr bwMode="gray">
          <a:xfrm>
            <a:off x="365681" y="5016629"/>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34" name="Rectangle 33">
            <a:extLst>
              <a:ext uri="{FF2B5EF4-FFF2-40B4-BE49-F238E27FC236}">
                <a16:creationId xmlns:a16="http://schemas.microsoft.com/office/drawing/2014/main" id="{44D1FA2C-7FB8-4F70-B8F5-7A7F09C77B53}"/>
              </a:ext>
            </a:extLst>
          </p:cNvPr>
          <p:cNvSpPr/>
          <p:nvPr/>
        </p:nvSpPr>
        <p:spPr>
          <a:xfrm>
            <a:off x="599681" y="3270208"/>
            <a:ext cx="7660399" cy="1260000"/>
          </a:xfrm>
          <a:prstGeom prst="rect">
            <a:avLst/>
          </a:prstGeom>
          <a:solidFill>
            <a:sysClr val="window" lastClr="FFFFFF">
              <a:lumMod val="95000"/>
            </a:sysClr>
          </a:solidFill>
          <a:ln w="12700" cap="flat" cmpd="sng" algn="ctr">
            <a:noFill/>
            <a:prstDash val="solid"/>
            <a:miter lim="800000"/>
          </a:ln>
          <a:effectLst/>
        </p:spPr>
        <p:txBody>
          <a:bodyPr lIns="360000" tIns="0" r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endParaRPr lang="en-GB"/>
          </a:p>
        </p:txBody>
      </p:sp>
      <p:sp>
        <p:nvSpPr>
          <p:cNvPr id="35" name="Rectangle 34">
            <a:extLst>
              <a:ext uri="{FF2B5EF4-FFF2-40B4-BE49-F238E27FC236}">
                <a16:creationId xmlns:a16="http://schemas.microsoft.com/office/drawing/2014/main" id="{B105EDEA-1EDD-480B-86F6-2F5ACF6F5DBE}"/>
              </a:ext>
            </a:extLst>
          </p:cNvPr>
          <p:cNvSpPr/>
          <p:nvPr userDrawn="1"/>
        </p:nvSpPr>
        <p:spPr bwMode="gray">
          <a:xfrm>
            <a:off x="365681" y="3666208"/>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30" name="Rectangle 29">
            <a:extLst>
              <a:ext uri="{FF2B5EF4-FFF2-40B4-BE49-F238E27FC236}">
                <a16:creationId xmlns:a16="http://schemas.microsoft.com/office/drawing/2014/main" id="{E1EB7A84-8A39-4EB6-9094-1A04E5DB06A3}"/>
              </a:ext>
            </a:extLst>
          </p:cNvPr>
          <p:cNvSpPr/>
          <p:nvPr/>
        </p:nvSpPr>
        <p:spPr>
          <a:xfrm>
            <a:off x="599681" y="1919786"/>
            <a:ext cx="7660399" cy="1260000"/>
          </a:xfrm>
          <a:prstGeom prst="rect">
            <a:avLst/>
          </a:prstGeom>
          <a:solidFill>
            <a:sysClr val="window" lastClr="FFFFFF">
              <a:lumMod val="95000"/>
            </a:sysClr>
          </a:solidFill>
          <a:ln w="12700" cap="flat" cmpd="sng" algn="ctr">
            <a:noFill/>
            <a:prstDash val="solid"/>
            <a:miter lim="800000"/>
          </a:ln>
          <a:effectLst/>
        </p:spPr>
        <p:txBody>
          <a:bodyPr lIns="360000" tIns="0" r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endParaRPr lang="en-GB"/>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365681" y="2315786"/>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49" name="Rectangle 48">
            <a:extLst>
              <a:ext uri="{FF2B5EF4-FFF2-40B4-BE49-F238E27FC236}">
                <a16:creationId xmlns:a16="http://schemas.microsoft.com/office/drawing/2014/main" id="{88C0F6E0-FEBD-4D56-B6ED-01D5C2386805}"/>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81647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599681" y="1919786"/>
            <a:ext cx="7660399" cy="90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365681" y="2135786"/>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19" name="Rectangle 18">
            <a:extLst>
              <a:ext uri="{FF2B5EF4-FFF2-40B4-BE49-F238E27FC236}">
                <a16:creationId xmlns:a16="http://schemas.microsoft.com/office/drawing/2014/main" id="{39418BE3-AE62-4686-9CD1-FBA95D473237}"/>
              </a:ext>
            </a:extLst>
          </p:cNvPr>
          <p:cNvSpPr/>
          <p:nvPr/>
        </p:nvSpPr>
        <p:spPr>
          <a:xfrm>
            <a:off x="599681" y="2940067"/>
            <a:ext cx="7660399" cy="90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0" name="Rectangle 19">
            <a:extLst>
              <a:ext uri="{FF2B5EF4-FFF2-40B4-BE49-F238E27FC236}">
                <a16:creationId xmlns:a16="http://schemas.microsoft.com/office/drawing/2014/main" id="{AA5CABDC-2518-4E03-9D11-05425E84E72D}"/>
              </a:ext>
            </a:extLst>
          </p:cNvPr>
          <p:cNvSpPr/>
          <p:nvPr userDrawn="1"/>
        </p:nvSpPr>
        <p:spPr bwMode="gray">
          <a:xfrm>
            <a:off x="365681" y="3156067"/>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22" name="Rectangle 21">
            <a:extLst>
              <a:ext uri="{FF2B5EF4-FFF2-40B4-BE49-F238E27FC236}">
                <a16:creationId xmlns:a16="http://schemas.microsoft.com/office/drawing/2014/main" id="{EBFA45C8-141A-4E26-B435-15D9E38D8380}"/>
              </a:ext>
            </a:extLst>
          </p:cNvPr>
          <p:cNvSpPr/>
          <p:nvPr/>
        </p:nvSpPr>
        <p:spPr>
          <a:xfrm>
            <a:off x="599681" y="3960348"/>
            <a:ext cx="7660399" cy="90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3" name="Rectangle 22">
            <a:extLst>
              <a:ext uri="{FF2B5EF4-FFF2-40B4-BE49-F238E27FC236}">
                <a16:creationId xmlns:a16="http://schemas.microsoft.com/office/drawing/2014/main" id="{092D0E66-BC55-463C-BDEC-35DDBA08EC7D}"/>
              </a:ext>
            </a:extLst>
          </p:cNvPr>
          <p:cNvSpPr/>
          <p:nvPr userDrawn="1"/>
        </p:nvSpPr>
        <p:spPr bwMode="gray">
          <a:xfrm>
            <a:off x="365681" y="4176348"/>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25" name="Rectangle 24">
            <a:extLst>
              <a:ext uri="{FF2B5EF4-FFF2-40B4-BE49-F238E27FC236}">
                <a16:creationId xmlns:a16="http://schemas.microsoft.com/office/drawing/2014/main" id="{D914682D-02CB-475C-8FD4-B54C32748C3C}"/>
              </a:ext>
            </a:extLst>
          </p:cNvPr>
          <p:cNvSpPr/>
          <p:nvPr/>
        </p:nvSpPr>
        <p:spPr>
          <a:xfrm>
            <a:off x="599681" y="4980629"/>
            <a:ext cx="7660399" cy="90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6" name="Rectangle 25">
            <a:extLst>
              <a:ext uri="{FF2B5EF4-FFF2-40B4-BE49-F238E27FC236}">
                <a16:creationId xmlns:a16="http://schemas.microsoft.com/office/drawing/2014/main" id="{9684DE47-D8B1-42F5-B8A1-B6145E77B4F5}"/>
              </a:ext>
            </a:extLst>
          </p:cNvPr>
          <p:cNvSpPr/>
          <p:nvPr userDrawn="1"/>
        </p:nvSpPr>
        <p:spPr bwMode="gray">
          <a:xfrm>
            <a:off x="365681" y="5196629"/>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27" name="Rectangle 26">
            <a:extLst>
              <a:ext uri="{FF2B5EF4-FFF2-40B4-BE49-F238E27FC236}">
                <a16:creationId xmlns:a16="http://schemas.microsoft.com/office/drawing/2014/main" id="{D36ACD4C-C0C4-4600-BC08-200DCA85CC75}"/>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36070104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599681" y="1919786"/>
            <a:ext cx="7660399" cy="72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365681" y="2045786"/>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52" name="Rectangle 51">
            <a:extLst>
              <a:ext uri="{FF2B5EF4-FFF2-40B4-BE49-F238E27FC236}">
                <a16:creationId xmlns:a16="http://schemas.microsoft.com/office/drawing/2014/main" id="{CA24CF78-EE3B-4434-A627-37DBB072910D}"/>
              </a:ext>
            </a:extLst>
          </p:cNvPr>
          <p:cNvSpPr/>
          <p:nvPr/>
        </p:nvSpPr>
        <p:spPr>
          <a:xfrm>
            <a:off x="599681" y="2729997"/>
            <a:ext cx="7660399" cy="72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53" name="Rectangle 52">
            <a:extLst>
              <a:ext uri="{FF2B5EF4-FFF2-40B4-BE49-F238E27FC236}">
                <a16:creationId xmlns:a16="http://schemas.microsoft.com/office/drawing/2014/main" id="{6D95470C-4D39-4133-A5E0-F6993F0838B5}"/>
              </a:ext>
            </a:extLst>
          </p:cNvPr>
          <p:cNvSpPr/>
          <p:nvPr userDrawn="1"/>
        </p:nvSpPr>
        <p:spPr bwMode="gray">
          <a:xfrm>
            <a:off x="365681" y="2855997"/>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55" name="Rectangle 54">
            <a:extLst>
              <a:ext uri="{FF2B5EF4-FFF2-40B4-BE49-F238E27FC236}">
                <a16:creationId xmlns:a16="http://schemas.microsoft.com/office/drawing/2014/main" id="{3137117A-C35A-4F1D-A93A-7EC19DC6C05C}"/>
              </a:ext>
            </a:extLst>
          </p:cNvPr>
          <p:cNvSpPr/>
          <p:nvPr/>
        </p:nvSpPr>
        <p:spPr>
          <a:xfrm>
            <a:off x="599681" y="3540208"/>
            <a:ext cx="7660399" cy="72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56" name="Rectangle 55">
            <a:extLst>
              <a:ext uri="{FF2B5EF4-FFF2-40B4-BE49-F238E27FC236}">
                <a16:creationId xmlns:a16="http://schemas.microsoft.com/office/drawing/2014/main" id="{EB38A0BD-9534-444A-A5C6-9FF65B853610}"/>
              </a:ext>
            </a:extLst>
          </p:cNvPr>
          <p:cNvSpPr/>
          <p:nvPr userDrawn="1"/>
        </p:nvSpPr>
        <p:spPr bwMode="gray">
          <a:xfrm>
            <a:off x="365681" y="3666208"/>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58" name="Rectangle 57">
            <a:extLst>
              <a:ext uri="{FF2B5EF4-FFF2-40B4-BE49-F238E27FC236}">
                <a16:creationId xmlns:a16="http://schemas.microsoft.com/office/drawing/2014/main" id="{5C20D6C2-600C-48E3-B27E-8A63BF0EB493}"/>
              </a:ext>
            </a:extLst>
          </p:cNvPr>
          <p:cNvSpPr/>
          <p:nvPr/>
        </p:nvSpPr>
        <p:spPr>
          <a:xfrm>
            <a:off x="599681" y="4350419"/>
            <a:ext cx="7660399" cy="72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59" name="Rectangle 58">
            <a:extLst>
              <a:ext uri="{FF2B5EF4-FFF2-40B4-BE49-F238E27FC236}">
                <a16:creationId xmlns:a16="http://schemas.microsoft.com/office/drawing/2014/main" id="{12031D58-9725-4AFE-9FA3-6D7652866A64}"/>
              </a:ext>
            </a:extLst>
          </p:cNvPr>
          <p:cNvSpPr/>
          <p:nvPr userDrawn="1"/>
        </p:nvSpPr>
        <p:spPr bwMode="gray">
          <a:xfrm>
            <a:off x="365681" y="4476419"/>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61" name="Rectangle 60">
            <a:extLst>
              <a:ext uri="{FF2B5EF4-FFF2-40B4-BE49-F238E27FC236}">
                <a16:creationId xmlns:a16="http://schemas.microsoft.com/office/drawing/2014/main" id="{D70B5239-0330-4B9E-90FB-5D890A369B8B}"/>
              </a:ext>
            </a:extLst>
          </p:cNvPr>
          <p:cNvSpPr/>
          <p:nvPr/>
        </p:nvSpPr>
        <p:spPr>
          <a:xfrm>
            <a:off x="599681" y="5160629"/>
            <a:ext cx="7660399" cy="720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62" name="Rectangle 61">
            <a:extLst>
              <a:ext uri="{FF2B5EF4-FFF2-40B4-BE49-F238E27FC236}">
                <a16:creationId xmlns:a16="http://schemas.microsoft.com/office/drawing/2014/main" id="{CB52C7DF-65FD-48A7-9B9D-295B8B520C35}"/>
              </a:ext>
            </a:extLst>
          </p:cNvPr>
          <p:cNvSpPr/>
          <p:nvPr userDrawn="1"/>
        </p:nvSpPr>
        <p:spPr bwMode="gray">
          <a:xfrm>
            <a:off x="365681" y="5286629"/>
            <a:ext cx="468000" cy="468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5</a:t>
            </a:r>
          </a:p>
        </p:txBody>
      </p:sp>
      <p:sp>
        <p:nvSpPr>
          <p:cNvPr id="63" name="Rectangle 62">
            <a:extLst>
              <a:ext uri="{FF2B5EF4-FFF2-40B4-BE49-F238E27FC236}">
                <a16:creationId xmlns:a16="http://schemas.microsoft.com/office/drawing/2014/main" id="{92913839-427A-4B6A-8E47-492AD74A3BDB}"/>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20418573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599681" y="1919786"/>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419681" y="2027786"/>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47" name="Rectangle 46">
            <a:extLst>
              <a:ext uri="{FF2B5EF4-FFF2-40B4-BE49-F238E27FC236}">
                <a16:creationId xmlns:a16="http://schemas.microsoft.com/office/drawing/2014/main" id="{01F759E6-A6D1-47E6-B7F8-03E07A585487}"/>
              </a:ext>
            </a:extLst>
          </p:cNvPr>
          <p:cNvSpPr/>
          <p:nvPr/>
        </p:nvSpPr>
        <p:spPr>
          <a:xfrm>
            <a:off x="599681" y="2596755"/>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49" name="Rectangle 48">
            <a:extLst>
              <a:ext uri="{FF2B5EF4-FFF2-40B4-BE49-F238E27FC236}">
                <a16:creationId xmlns:a16="http://schemas.microsoft.com/office/drawing/2014/main" id="{52C76A64-B35F-43C7-9DA0-79AB3C33C546}"/>
              </a:ext>
            </a:extLst>
          </p:cNvPr>
          <p:cNvSpPr/>
          <p:nvPr userDrawn="1"/>
        </p:nvSpPr>
        <p:spPr bwMode="gray">
          <a:xfrm>
            <a:off x="419681" y="2704755"/>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63" name="Rectangle 62">
            <a:extLst>
              <a:ext uri="{FF2B5EF4-FFF2-40B4-BE49-F238E27FC236}">
                <a16:creationId xmlns:a16="http://schemas.microsoft.com/office/drawing/2014/main" id="{4F69318F-DFAC-43E0-98A0-A72D279AD8DB}"/>
              </a:ext>
            </a:extLst>
          </p:cNvPr>
          <p:cNvSpPr/>
          <p:nvPr/>
        </p:nvSpPr>
        <p:spPr>
          <a:xfrm>
            <a:off x="599681" y="3273724"/>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64" name="Rectangle 63">
            <a:extLst>
              <a:ext uri="{FF2B5EF4-FFF2-40B4-BE49-F238E27FC236}">
                <a16:creationId xmlns:a16="http://schemas.microsoft.com/office/drawing/2014/main" id="{F63DCA31-E25D-457D-84D5-2085FAB3D48F}"/>
              </a:ext>
            </a:extLst>
          </p:cNvPr>
          <p:cNvSpPr/>
          <p:nvPr userDrawn="1"/>
        </p:nvSpPr>
        <p:spPr bwMode="gray">
          <a:xfrm>
            <a:off x="419681" y="3381724"/>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66" name="Rectangle 65">
            <a:extLst>
              <a:ext uri="{FF2B5EF4-FFF2-40B4-BE49-F238E27FC236}">
                <a16:creationId xmlns:a16="http://schemas.microsoft.com/office/drawing/2014/main" id="{C8D7D622-BDFC-4766-A2DD-3115297E0FF3}"/>
              </a:ext>
            </a:extLst>
          </p:cNvPr>
          <p:cNvSpPr/>
          <p:nvPr/>
        </p:nvSpPr>
        <p:spPr>
          <a:xfrm>
            <a:off x="599681" y="3950693"/>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67" name="Rectangle 66">
            <a:extLst>
              <a:ext uri="{FF2B5EF4-FFF2-40B4-BE49-F238E27FC236}">
                <a16:creationId xmlns:a16="http://schemas.microsoft.com/office/drawing/2014/main" id="{F1C24844-A599-4415-BADF-E5BEDF27CD1B}"/>
              </a:ext>
            </a:extLst>
          </p:cNvPr>
          <p:cNvSpPr/>
          <p:nvPr userDrawn="1"/>
        </p:nvSpPr>
        <p:spPr bwMode="gray">
          <a:xfrm>
            <a:off x="419681" y="4058693"/>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69" name="Rectangle 68">
            <a:extLst>
              <a:ext uri="{FF2B5EF4-FFF2-40B4-BE49-F238E27FC236}">
                <a16:creationId xmlns:a16="http://schemas.microsoft.com/office/drawing/2014/main" id="{A1F15FC0-BB81-44C1-A503-C80097FBB6E0}"/>
              </a:ext>
            </a:extLst>
          </p:cNvPr>
          <p:cNvSpPr/>
          <p:nvPr/>
        </p:nvSpPr>
        <p:spPr>
          <a:xfrm>
            <a:off x="599681" y="4627662"/>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70" name="Rectangle 69">
            <a:extLst>
              <a:ext uri="{FF2B5EF4-FFF2-40B4-BE49-F238E27FC236}">
                <a16:creationId xmlns:a16="http://schemas.microsoft.com/office/drawing/2014/main" id="{1E4C5504-F553-4902-8D97-950E920DFFDB}"/>
              </a:ext>
            </a:extLst>
          </p:cNvPr>
          <p:cNvSpPr/>
          <p:nvPr userDrawn="1"/>
        </p:nvSpPr>
        <p:spPr bwMode="gray">
          <a:xfrm>
            <a:off x="419681" y="4735662"/>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5</a:t>
            </a:r>
          </a:p>
        </p:txBody>
      </p:sp>
      <p:sp>
        <p:nvSpPr>
          <p:cNvPr id="72" name="Rectangle 71">
            <a:extLst>
              <a:ext uri="{FF2B5EF4-FFF2-40B4-BE49-F238E27FC236}">
                <a16:creationId xmlns:a16="http://schemas.microsoft.com/office/drawing/2014/main" id="{F776D696-C6D1-409F-8BB5-8DF1E915CE34}"/>
              </a:ext>
            </a:extLst>
          </p:cNvPr>
          <p:cNvSpPr/>
          <p:nvPr/>
        </p:nvSpPr>
        <p:spPr>
          <a:xfrm>
            <a:off x="599681" y="5304629"/>
            <a:ext cx="7660399" cy="576000"/>
          </a:xfrm>
          <a:prstGeom prst="rect">
            <a:avLst/>
          </a:prstGeom>
          <a:solidFill>
            <a:sysClr val="window" lastClr="FFFFFF">
              <a:lumMod val="95000"/>
            </a:sysClr>
          </a:solid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p:txBody>
      </p:sp>
      <p:sp>
        <p:nvSpPr>
          <p:cNvPr id="73" name="Rectangle 72">
            <a:extLst>
              <a:ext uri="{FF2B5EF4-FFF2-40B4-BE49-F238E27FC236}">
                <a16:creationId xmlns:a16="http://schemas.microsoft.com/office/drawing/2014/main" id="{92309B3C-5C07-4DC2-AD2D-76D4E2C7E185}"/>
              </a:ext>
            </a:extLst>
          </p:cNvPr>
          <p:cNvSpPr/>
          <p:nvPr userDrawn="1"/>
        </p:nvSpPr>
        <p:spPr bwMode="gray">
          <a:xfrm>
            <a:off x="419681" y="5412629"/>
            <a:ext cx="360000" cy="360000"/>
          </a:xfrm>
          <a:prstGeom prst="rect">
            <a:avLst/>
          </a:prstGeom>
          <a:solidFill>
            <a:srgbClr val="8D8EA7"/>
          </a:solidFill>
          <a:ln w="57150" algn="ctr">
            <a:solidFill>
              <a:srgbClr val="FFFFFF"/>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1800" b="1" i="0" u="none" strike="noStrike" kern="0" cap="none" spc="0" normalizeH="0" baseline="0" noProof="0">
                <a:ln>
                  <a:noFill/>
                </a:ln>
                <a:solidFill>
                  <a:srgbClr val="FFFFFF"/>
                </a:solidFill>
                <a:effectLst/>
                <a:uLnTx/>
                <a:uFillTx/>
                <a:ea typeface="Arial Unicode MS" pitchFamily="34" charset="-128"/>
                <a:cs typeface="Arial Unicode MS" pitchFamily="34" charset="-128"/>
              </a:rPr>
              <a:t>6</a:t>
            </a:r>
          </a:p>
        </p:txBody>
      </p:sp>
      <p:sp>
        <p:nvSpPr>
          <p:cNvPr id="74" name="Rectangle 73">
            <a:extLst>
              <a:ext uri="{FF2B5EF4-FFF2-40B4-BE49-F238E27FC236}">
                <a16:creationId xmlns:a16="http://schemas.microsoft.com/office/drawing/2014/main" id="{6ACAAB42-2E5F-41E3-A6CD-6918E8717F6E}"/>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242412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ectangle 19">
            <a:extLst>
              <a:ext uri="{FF2B5EF4-FFF2-40B4-BE49-F238E27FC236}">
                <a16:creationId xmlns:a16="http://schemas.microsoft.com/office/drawing/2014/main" id="{B0D78C20-9408-294D-A294-5C76254B34A0}"/>
              </a:ext>
            </a:extLst>
          </p:cNvPr>
          <p:cNvSpPr/>
          <p:nvPr/>
        </p:nvSpPr>
        <p:spPr>
          <a:xfrm>
            <a:off x="365680" y="1913430"/>
            <a:ext cx="195892"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8" name="Rectangle 27">
            <a:extLst>
              <a:ext uri="{FF2B5EF4-FFF2-40B4-BE49-F238E27FC236}">
                <a16:creationId xmlns:a16="http://schemas.microsoft.com/office/drawing/2014/main" id="{B1B82E64-B3F2-4C67-B7EF-1850A6B97F64}"/>
              </a:ext>
            </a:extLst>
          </p:cNvPr>
          <p:cNvSpPr/>
          <p:nvPr/>
        </p:nvSpPr>
        <p:spPr>
          <a:xfrm>
            <a:off x="639482" y="1913429"/>
            <a:ext cx="1309711"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800" b="1">
                <a:solidFill>
                  <a:srgbClr val="8D8EA7"/>
                </a:solidFill>
              </a:rPr>
              <a:t>1</a:t>
            </a:r>
          </a:p>
        </p:txBody>
      </p:sp>
      <p:sp>
        <p:nvSpPr>
          <p:cNvPr id="30" name="Rectangle 29">
            <a:extLst>
              <a:ext uri="{FF2B5EF4-FFF2-40B4-BE49-F238E27FC236}">
                <a16:creationId xmlns:a16="http://schemas.microsoft.com/office/drawing/2014/main" id="{42073D03-7801-4C9B-8A1B-6B8A63D452BD}"/>
              </a:ext>
            </a:extLst>
          </p:cNvPr>
          <p:cNvSpPr/>
          <p:nvPr/>
        </p:nvSpPr>
        <p:spPr>
          <a:xfrm>
            <a:off x="2027103" y="1913430"/>
            <a:ext cx="6222817"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six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endParaRPr lang="en-GB">
              <a:solidFill>
                <a:schemeClr val="tx1"/>
              </a:solidFill>
            </a:endParaRPr>
          </a:p>
        </p:txBody>
      </p:sp>
      <p:sp>
        <p:nvSpPr>
          <p:cNvPr id="98" name="Rectangle 97">
            <a:extLst>
              <a:ext uri="{FF2B5EF4-FFF2-40B4-BE49-F238E27FC236}">
                <a16:creationId xmlns:a16="http://schemas.microsoft.com/office/drawing/2014/main" id="{F8A231C0-8C52-44AE-ADA9-5F56D2297482}"/>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21" name="Rectangle 20">
            <a:extLst>
              <a:ext uri="{FF2B5EF4-FFF2-40B4-BE49-F238E27FC236}">
                <a16:creationId xmlns:a16="http://schemas.microsoft.com/office/drawing/2014/main" id="{D874BEA7-4A6F-4CA4-A08E-4062B8D77D7F}"/>
              </a:ext>
            </a:extLst>
          </p:cNvPr>
          <p:cNvSpPr/>
          <p:nvPr/>
        </p:nvSpPr>
        <p:spPr>
          <a:xfrm>
            <a:off x="365680" y="3954629"/>
            <a:ext cx="195892"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2" name="Rectangle 21">
            <a:extLst>
              <a:ext uri="{FF2B5EF4-FFF2-40B4-BE49-F238E27FC236}">
                <a16:creationId xmlns:a16="http://schemas.microsoft.com/office/drawing/2014/main" id="{0909A9A8-30CF-45C1-BC00-8B51D6CFC76A}"/>
              </a:ext>
            </a:extLst>
          </p:cNvPr>
          <p:cNvSpPr/>
          <p:nvPr/>
        </p:nvSpPr>
        <p:spPr>
          <a:xfrm>
            <a:off x="639482" y="3954629"/>
            <a:ext cx="1309711"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800" b="1">
                <a:solidFill>
                  <a:srgbClr val="8D8EA7"/>
                </a:solidFill>
              </a:rPr>
              <a:t>2</a:t>
            </a:r>
          </a:p>
        </p:txBody>
      </p:sp>
      <p:sp>
        <p:nvSpPr>
          <p:cNvPr id="23" name="Rectangle 22">
            <a:extLst>
              <a:ext uri="{FF2B5EF4-FFF2-40B4-BE49-F238E27FC236}">
                <a16:creationId xmlns:a16="http://schemas.microsoft.com/office/drawing/2014/main" id="{FF23F0D9-B422-46EC-BE2D-9D4E8D16364C}"/>
              </a:ext>
            </a:extLst>
          </p:cNvPr>
          <p:cNvSpPr/>
          <p:nvPr/>
        </p:nvSpPr>
        <p:spPr>
          <a:xfrm>
            <a:off x="2027103" y="3954629"/>
            <a:ext cx="6222817" cy="192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six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endParaRPr lang="en-GB">
              <a:solidFill>
                <a:schemeClr val="tx1"/>
              </a:solidFill>
            </a:endParaRPr>
          </a:p>
        </p:txBody>
      </p:sp>
    </p:spTree>
    <p:extLst>
      <p:ext uri="{BB962C8B-B14F-4D97-AF65-F5344CB8AC3E}">
        <p14:creationId xmlns:p14="http://schemas.microsoft.com/office/powerpoint/2010/main" val="25807036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ectangle 19">
            <a:extLst>
              <a:ext uri="{FF2B5EF4-FFF2-40B4-BE49-F238E27FC236}">
                <a16:creationId xmlns:a16="http://schemas.microsoft.com/office/drawing/2014/main" id="{B0D78C20-9408-294D-A294-5C76254B34A0}"/>
              </a:ext>
            </a:extLst>
          </p:cNvPr>
          <p:cNvSpPr/>
          <p:nvPr/>
        </p:nvSpPr>
        <p:spPr>
          <a:xfrm>
            <a:off x="365680" y="1913430"/>
            <a:ext cx="195892"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8" name="Rectangle 27">
            <a:extLst>
              <a:ext uri="{FF2B5EF4-FFF2-40B4-BE49-F238E27FC236}">
                <a16:creationId xmlns:a16="http://schemas.microsoft.com/office/drawing/2014/main" id="{B1B82E64-B3F2-4C67-B7EF-1850A6B97F64}"/>
              </a:ext>
            </a:extLst>
          </p:cNvPr>
          <p:cNvSpPr/>
          <p:nvPr/>
        </p:nvSpPr>
        <p:spPr>
          <a:xfrm>
            <a:off x="639482" y="1913429"/>
            <a:ext cx="1309711"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800" b="1">
                <a:solidFill>
                  <a:srgbClr val="8D8EA7"/>
                </a:solidFill>
              </a:rPr>
              <a:t>1</a:t>
            </a:r>
          </a:p>
        </p:txBody>
      </p:sp>
      <p:sp>
        <p:nvSpPr>
          <p:cNvPr id="30" name="Rectangle 29">
            <a:extLst>
              <a:ext uri="{FF2B5EF4-FFF2-40B4-BE49-F238E27FC236}">
                <a16:creationId xmlns:a16="http://schemas.microsoft.com/office/drawing/2014/main" id="{42073D03-7801-4C9B-8A1B-6B8A63D452BD}"/>
              </a:ext>
            </a:extLst>
          </p:cNvPr>
          <p:cNvSpPr/>
          <p:nvPr/>
        </p:nvSpPr>
        <p:spPr>
          <a:xfrm>
            <a:off x="2027103" y="1913430"/>
            <a:ext cx="6222817"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87" name="Rectangle 86">
            <a:extLst>
              <a:ext uri="{FF2B5EF4-FFF2-40B4-BE49-F238E27FC236}">
                <a16:creationId xmlns:a16="http://schemas.microsoft.com/office/drawing/2014/main" id="{982C1C6A-1982-4B72-8DF6-73C12A49BB5D}"/>
              </a:ext>
            </a:extLst>
          </p:cNvPr>
          <p:cNvSpPr/>
          <p:nvPr/>
        </p:nvSpPr>
        <p:spPr>
          <a:xfrm>
            <a:off x="365680" y="3267030"/>
            <a:ext cx="195892"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88" name="Rectangle 87">
            <a:extLst>
              <a:ext uri="{FF2B5EF4-FFF2-40B4-BE49-F238E27FC236}">
                <a16:creationId xmlns:a16="http://schemas.microsoft.com/office/drawing/2014/main" id="{C609F78D-C938-41EB-ADCB-B9D4B61EF94F}"/>
              </a:ext>
            </a:extLst>
          </p:cNvPr>
          <p:cNvSpPr/>
          <p:nvPr/>
        </p:nvSpPr>
        <p:spPr>
          <a:xfrm>
            <a:off x="639482" y="3267029"/>
            <a:ext cx="1309711"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800" b="1">
                <a:solidFill>
                  <a:srgbClr val="8D8EA7"/>
                </a:solidFill>
              </a:rPr>
              <a:t>2</a:t>
            </a:r>
          </a:p>
        </p:txBody>
      </p:sp>
      <p:sp>
        <p:nvSpPr>
          <p:cNvPr id="89" name="Rectangle 88">
            <a:extLst>
              <a:ext uri="{FF2B5EF4-FFF2-40B4-BE49-F238E27FC236}">
                <a16:creationId xmlns:a16="http://schemas.microsoft.com/office/drawing/2014/main" id="{1B1BE0C7-919B-4828-B96C-34E230D7CA33}"/>
              </a:ext>
            </a:extLst>
          </p:cNvPr>
          <p:cNvSpPr/>
          <p:nvPr/>
        </p:nvSpPr>
        <p:spPr>
          <a:xfrm>
            <a:off x="2027103" y="3267030"/>
            <a:ext cx="6222817"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91" name="Rectangle 90">
            <a:extLst>
              <a:ext uri="{FF2B5EF4-FFF2-40B4-BE49-F238E27FC236}">
                <a16:creationId xmlns:a16="http://schemas.microsoft.com/office/drawing/2014/main" id="{F429755A-787B-4A90-B733-E7AEDAFC71A0}"/>
              </a:ext>
            </a:extLst>
          </p:cNvPr>
          <p:cNvSpPr/>
          <p:nvPr/>
        </p:nvSpPr>
        <p:spPr>
          <a:xfrm>
            <a:off x="365680" y="4620630"/>
            <a:ext cx="195892"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92" name="Rectangle 91">
            <a:extLst>
              <a:ext uri="{FF2B5EF4-FFF2-40B4-BE49-F238E27FC236}">
                <a16:creationId xmlns:a16="http://schemas.microsoft.com/office/drawing/2014/main" id="{FFC95BC5-7A84-44D9-9D3F-88D4D37AFF25}"/>
              </a:ext>
            </a:extLst>
          </p:cNvPr>
          <p:cNvSpPr/>
          <p:nvPr/>
        </p:nvSpPr>
        <p:spPr>
          <a:xfrm>
            <a:off x="639482" y="4620629"/>
            <a:ext cx="1309711"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800" b="1">
                <a:solidFill>
                  <a:srgbClr val="8D8EA7"/>
                </a:solidFill>
              </a:rPr>
              <a:t>3</a:t>
            </a:r>
          </a:p>
        </p:txBody>
      </p:sp>
      <p:sp>
        <p:nvSpPr>
          <p:cNvPr id="93" name="Rectangle 92">
            <a:extLst>
              <a:ext uri="{FF2B5EF4-FFF2-40B4-BE49-F238E27FC236}">
                <a16:creationId xmlns:a16="http://schemas.microsoft.com/office/drawing/2014/main" id="{EABEBEA8-5AF9-4F32-A728-A16BD3E05BB2}"/>
              </a:ext>
            </a:extLst>
          </p:cNvPr>
          <p:cNvSpPr/>
          <p:nvPr/>
        </p:nvSpPr>
        <p:spPr>
          <a:xfrm>
            <a:off x="2027103" y="4620630"/>
            <a:ext cx="6222817" cy="1259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98" name="Rectangle 97">
            <a:extLst>
              <a:ext uri="{FF2B5EF4-FFF2-40B4-BE49-F238E27FC236}">
                <a16:creationId xmlns:a16="http://schemas.microsoft.com/office/drawing/2014/main" id="{F8A231C0-8C52-44AE-ADA9-5F56D2297482}"/>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2973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ectangle 19">
            <a:extLst>
              <a:ext uri="{FF2B5EF4-FFF2-40B4-BE49-F238E27FC236}">
                <a16:creationId xmlns:a16="http://schemas.microsoft.com/office/drawing/2014/main" id="{B0D78C20-9408-294D-A294-5C76254B34A0}"/>
              </a:ext>
            </a:extLst>
          </p:cNvPr>
          <p:cNvSpPr/>
          <p:nvPr/>
        </p:nvSpPr>
        <p:spPr>
          <a:xfrm>
            <a:off x="365681" y="1913429"/>
            <a:ext cx="195891"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8" name="Rectangle 27">
            <a:extLst>
              <a:ext uri="{FF2B5EF4-FFF2-40B4-BE49-F238E27FC236}">
                <a16:creationId xmlns:a16="http://schemas.microsoft.com/office/drawing/2014/main" id="{B1B82E64-B3F2-4C67-B7EF-1850A6B97F64}"/>
              </a:ext>
            </a:extLst>
          </p:cNvPr>
          <p:cNvSpPr/>
          <p:nvPr/>
        </p:nvSpPr>
        <p:spPr>
          <a:xfrm>
            <a:off x="636890" y="1913429"/>
            <a:ext cx="929035"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000" b="1">
                <a:solidFill>
                  <a:srgbClr val="8D8EA7"/>
                </a:solidFill>
              </a:rPr>
              <a:t>1</a:t>
            </a:r>
          </a:p>
        </p:txBody>
      </p:sp>
      <p:sp>
        <p:nvSpPr>
          <p:cNvPr id="30" name="Rectangle 29">
            <a:extLst>
              <a:ext uri="{FF2B5EF4-FFF2-40B4-BE49-F238E27FC236}">
                <a16:creationId xmlns:a16="http://schemas.microsoft.com/office/drawing/2014/main" id="{42073D03-7801-4C9B-8A1B-6B8A63D452BD}"/>
              </a:ext>
            </a:extLst>
          </p:cNvPr>
          <p:cNvSpPr/>
          <p:nvPr/>
        </p:nvSpPr>
        <p:spPr>
          <a:xfrm>
            <a:off x="1641243" y="1913429"/>
            <a:ext cx="6608677"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50" name="Rectangle 49">
            <a:extLst>
              <a:ext uri="{FF2B5EF4-FFF2-40B4-BE49-F238E27FC236}">
                <a16:creationId xmlns:a16="http://schemas.microsoft.com/office/drawing/2014/main" id="{3410614A-2657-41BD-826E-07CC3FCD6A6A}"/>
              </a:ext>
            </a:extLst>
          </p:cNvPr>
          <p:cNvSpPr/>
          <p:nvPr/>
        </p:nvSpPr>
        <p:spPr>
          <a:xfrm>
            <a:off x="365681" y="2926645"/>
            <a:ext cx="195891"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51" name="Rectangle 50">
            <a:extLst>
              <a:ext uri="{FF2B5EF4-FFF2-40B4-BE49-F238E27FC236}">
                <a16:creationId xmlns:a16="http://schemas.microsoft.com/office/drawing/2014/main" id="{1E303EF3-B0A0-4A3C-AF23-E7AC8EFBA87A}"/>
              </a:ext>
            </a:extLst>
          </p:cNvPr>
          <p:cNvSpPr/>
          <p:nvPr/>
        </p:nvSpPr>
        <p:spPr>
          <a:xfrm>
            <a:off x="636890" y="2926645"/>
            <a:ext cx="929035"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000" b="1">
                <a:solidFill>
                  <a:srgbClr val="8D8EA7"/>
                </a:solidFill>
              </a:rPr>
              <a:t>2</a:t>
            </a:r>
          </a:p>
        </p:txBody>
      </p:sp>
      <p:sp>
        <p:nvSpPr>
          <p:cNvPr id="52" name="Rectangle 51">
            <a:extLst>
              <a:ext uri="{FF2B5EF4-FFF2-40B4-BE49-F238E27FC236}">
                <a16:creationId xmlns:a16="http://schemas.microsoft.com/office/drawing/2014/main" id="{CEACD2B5-BC48-4628-9B57-C224EF20C232}"/>
              </a:ext>
            </a:extLst>
          </p:cNvPr>
          <p:cNvSpPr/>
          <p:nvPr/>
        </p:nvSpPr>
        <p:spPr>
          <a:xfrm>
            <a:off x="1641243" y="2926645"/>
            <a:ext cx="6608677"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54" name="Rectangle 53">
            <a:extLst>
              <a:ext uri="{FF2B5EF4-FFF2-40B4-BE49-F238E27FC236}">
                <a16:creationId xmlns:a16="http://schemas.microsoft.com/office/drawing/2014/main" id="{8231DF8D-C277-4080-95AA-2A92191397A6}"/>
              </a:ext>
            </a:extLst>
          </p:cNvPr>
          <p:cNvSpPr/>
          <p:nvPr/>
        </p:nvSpPr>
        <p:spPr>
          <a:xfrm>
            <a:off x="365681" y="3939861"/>
            <a:ext cx="195891"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55" name="Rectangle 54">
            <a:extLst>
              <a:ext uri="{FF2B5EF4-FFF2-40B4-BE49-F238E27FC236}">
                <a16:creationId xmlns:a16="http://schemas.microsoft.com/office/drawing/2014/main" id="{E8521CB5-C47B-4EBC-A11C-0683BB72286E}"/>
              </a:ext>
            </a:extLst>
          </p:cNvPr>
          <p:cNvSpPr/>
          <p:nvPr/>
        </p:nvSpPr>
        <p:spPr>
          <a:xfrm>
            <a:off x="636890" y="3939861"/>
            <a:ext cx="929035"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000" b="1">
                <a:solidFill>
                  <a:srgbClr val="8D8EA7"/>
                </a:solidFill>
              </a:rPr>
              <a:t>3</a:t>
            </a:r>
          </a:p>
        </p:txBody>
      </p:sp>
      <p:sp>
        <p:nvSpPr>
          <p:cNvPr id="56" name="Rectangle 55">
            <a:extLst>
              <a:ext uri="{FF2B5EF4-FFF2-40B4-BE49-F238E27FC236}">
                <a16:creationId xmlns:a16="http://schemas.microsoft.com/office/drawing/2014/main" id="{7B3C519F-6C3E-4287-8AB5-88DA7AC5BDBB}"/>
              </a:ext>
            </a:extLst>
          </p:cNvPr>
          <p:cNvSpPr/>
          <p:nvPr/>
        </p:nvSpPr>
        <p:spPr>
          <a:xfrm>
            <a:off x="1641243" y="3939861"/>
            <a:ext cx="6608677"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59" name="Rectangle 58">
            <a:extLst>
              <a:ext uri="{FF2B5EF4-FFF2-40B4-BE49-F238E27FC236}">
                <a16:creationId xmlns:a16="http://schemas.microsoft.com/office/drawing/2014/main" id="{838A9841-D000-4AEF-A43E-8359ABA0A58A}"/>
              </a:ext>
            </a:extLst>
          </p:cNvPr>
          <p:cNvSpPr/>
          <p:nvPr/>
        </p:nvSpPr>
        <p:spPr>
          <a:xfrm>
            <a:off x="365681" y="4953078"/>
            <a:ext cx="195891"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60" name="Rectangle 59">
            <a:extLst>
              <a:ext uri="{FF2B5EF4-FFF2-40B4-BE49-F238E27FC236}">
                <a16:creationId xmlns:a16="http://schemas.microsoft.com/office/drawing/2014/main" id="{54BB6A86-5F49-44D0-8880-D47BAEEAE42B}"/>
              </a:ext>
            </a:extLst>
          </p:cNvPr>
          <p:cNvSpPr/>
          <p:nvPr/>
        </p:nvSpPr>
        <p:spPr>
          <a:xfrm>
            <a:off x="636890" y="4953078"/>
            <a:ext cx="929035"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000" b="1">
                <a:solidFill>
                  <a:srgbClr val="8D8EA7"/>
                </a:solidFill>
              </a:rPr>
              <a:t>4</a:t>
            </a:r>
          </a:p>
        </p:txBody>
      </p:sp>
      <p:sp>
        <p:nvSpPr>
          <p:cNvPr id="61" name="Rectangle 60">
            <a:extLst>
              <a:ext uri="{FF2B5EF4-FFF2-40B4-BE49-F238E27FC236}">
                <a16:creationId xmlns:a16="http://schemas.microsoft.com/office/drawing/2014/main" id="{5FD53617-A8B5-4BAE-B46A-2DAF6A5DB6A1}"/>
              </a:ext>
            </a:extLst>
          </p:cNvPr>
          <p:cNvSpPr/>
          <p:nvPr/>
        </p:nvSpPr>
        <p:spPr>
          <a:xfrm>
            <a:off x="1641243" y="4953078"/>
            <a:ext cx="6608677" cy="9275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27" name="Rectangle 26">
            <a:extLst>
              <a:ext uri="{FF2B5EF4-FFF2-40B4-BE49-F238E27FC236}">
                <a16:creationId xmlns:a16="http://schemas.microsoft.com/office/drawing/2014/main" id="{1666C7BE-C32D-4A36-9576-ABB725D4D79C}"/>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22647354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ectangle 19">
            <a:extLst>
              <a:ext uri="{FF2B5EF4-FFF2-40B4-BE49-F238E27FC236}">
                <a16:creationId xmlns:a16="http://schemas.microsoft.com/office/drawing/2014/main" id="{B0D78C20-9408-294D-A294-5C76254B34A0}"/>
              </a:ext>
            </a:extLst>
          </p:cNvPr>
          <p:cNvSpPr/>
          <p:nvPr/>
        </p:nvSpPr>
        <p:spPr>
          <a:xfrm>
            <a:off x="365682" y="1913429"/>
            <a:ext cx="193072"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8" name="Rectangle 27">
            <a:extLst>
              <a:ext uri="{FF2B5EF4-FFF2-40B4-BE49-F238E27FC236}">
                <a16:creationId xmlns:a16="http://schemas.microsoft.com/office/drawing/2014/main" id="{B1B82E64-B3F2-4C67-B7EF-1850A6B97F64}"/>
              </a:ext>
            </a:extLst>
          </p:cNvPr>
          <p:cNvSpPr/>
          <p:nvPr/>
        </p:nvSpPr>
        <p:spPr>
          <a:xfrm>
            <a:off x="636890" y="191342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a:solidFill>
                  <a:srgbClr val="8D8EA7"/>
                </a:solidFill>
              </a:rPr>
              <a:t>1</a:t>
            </a:r>
          </a:p>
        </p:txBody>
      </p:sp>
      <p:sp>
        <p:nvSpPr>
          <p:cNvPr id="30" name="Rectangle 29">
            <a:extLst>
              <a:ext uri="{FF2B5EF4-FFF2-40B4-BE49-F238E27FC236}">
                <a16:creationId xmlns:a16="http://schemas.microsoft.com/office/drawing/2014/main" id="{42073D03-7801-4C9B-8A1B-6B8A63D452BD}"/>
              </a:ext>
            </a:extLst>
          </p:cNvPr>
          <p:cNvSpPr/>
          <p:nvPr/>
        </p:nvSpPr>
        <p:spPr>
          <a:xfrm>
            <a:off x="1435027" y="1913429"/>
            <a:ext cx="6814894"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29" name="Rectangle 28">
            <a:extLst>
              <a:ext uri="{FF2B5EF4-FFF2-40B4-BE49-F238E27FC236}">
                <a16:creationId xmlns:a16="http://schemas.microsoft.com/office/drawing/2014/main" id="{321A6EC5-0524-4F86-B21C-FD895D3DF5E6}"/>
              </a:ext>
            </a:extLst>
          </p:cNvPr>
          <p:cNvSpPr/>
          <p:nvPr/>
        </p:nvSpPr>
        <p:spPr>
          <a:xfrm>
            <a:off x="365682" y="2725229"/>
            <a:ext cx="193072"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31" name="Rectangle 30">
            <a:extLst>
              <a:ext uri="{FF2B5EF4-FFF2-40B4-BE49-F238E27FC236}">
                <a16:creationId xmlns:a16="http://schemas.microsoft.com/office/drawing/2014/main" id="{24A6BDE8-824A-4BD5-A3A3-62F7BAF769F4}"/>
              </a:ext>
            </a:extLst>
          </p:cNvPr>
          <p:cNvSpPr/>
          <p:nvPr/>
        </p:nvSpPr>
        <p:spPr>
          <a:xfrm>
            <a:off x="636890" y="272522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a:solidFill>
                  <a:srgbClr val="8D8EA7"/>
                </a:solidFill>
              </a:rPr>
              <a:t>2</a:t>
            </a:r>
          </a:p>
        </p:txBody>
      </p:sp>
      <p:sp>
        <p:nvSpPr>
          <p:cNvPr id="32" name="Rectangle 31">
            <a:extLst>
              <a:ext uri="{FF2B5EF4-FFF2-40B4-BE49-F238E27FC236}">
                <a16:creationId xmlns:a16="http://schemas.microsoft.com/office/drawing/2014/main" id="{FF3AC22B-7FA2-47D1-8B66-02047C68A387}"/>
              </a:ext>
            </a:extLst>
          </p:cNvPr>
          <p:cNvSpPr/>
          <p:nvPr/>
        </p:nvSpPr>
        <p:spPr>
          <a:xfrm>
            <a:off x="1435027" y="2725229"/>
            <a:ext cx="6814894"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34" name="Rectangle 33">
            <a:extLst>
              <a:ext uri="{FF2B5EF4-FFF2-40B4-BE49-F238E27FC236}">
                <a16:creationId xmlns:a16="http://schemas.microsoft.com/office/drawing/2014/main" id="{6D50B851-E5E9-4D04-8303-AE98B28C454F}"/>
              </a:ext>
            </a:extLst>
          </p:cNvPr>
          <p:cNvSpPr/>
          <p:nvPr/>
        </p:nvSpPr>
        <p:spPr>
          <a:xfrm>
            <a:off x="365682" y="3537029"/>
            <a:ext cx="193072"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35" name="Rectangle 34">
            <a:extLst>
              <a:ext uri="{FF2B5EF4-FFF2-40B4-BE49-F238E27FC236}">
                <a16:creationId xmlns:a16="http://schemas.microsoft.com/office/drawing/2014/main" id="{E4A6DFC1-B250-44C3-8940-D3D2B03246AB}"/>
              </a:ext>
            </a:extLst>
          </p:cNvPr>
          <p:cNvSpPr/>
          <p:nvPr/>
        </p:nvSpPr>
        <p:spPr>
          <a:xfrm>
            <a:off x="636890" y="353702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a:solidFill>
                  <a:srgbClr val="8D8EA7"/>
                </a:solidFill>
              </a:rPr>
              <a:t>3</a:t>
            </a:r>
          </a:p>
        </p:txBody>
      </p:sp>
      <p:sp>
        <p:nvSpPr>
          <p:cNvPr id="36" name="Rectangle 35">
            <a:extLst>
              <a:ext uri="{FF2B5EF4-FFF2-40B4-BE49-F238E27FC236}">
                <a16:creationId xmlns:a16="http://schemas.microsoft.com/office/drawing/2014/main" id="{48F88821-075C-4364-A7A8-95DC6A075AB2}"/>
              </a:ext>
            </a:extLst>
          </p:cNvPr>
          <p:cNvSpPr/>
          <p:nvPr/>
        </p:nvSpPr>
        <p:spPr>
          <a:xfrm>
            <a:off x="1435027" y="3537029"/>
            <a:ext cx="6814894"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38" name="Rectangle 37">
            <a:extLst>
              <a:ext uri="{FF2B5EF4-FFF2-40B4-BE49-F238E27FC236}">
                <a16:creationId xmlns:a16="http://schemas.microsoft.com/office/drawing/2014/main" id="{A5FC2271-B1B5-4F40-BB19-E02A661FEC77}"/>
              </a:ext>
            </a:extLst>
          </p:cNvPr>
          <p:cNvSpPr/>
          <p:nvPr/>
        </p:nvSpPr>
        <p:spPr>
          <a:xfrm>
            <a:off x="365682" y="4348829"/>
            <a:ext cx="193072"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39" name="Rectangle 38">
            <a:extLst>
              <a:ext uri="{FF2B5EF4-FFF2-40B4-BE49-F238E27FC236}">
                <a16:creationId xmlns:a16="http://schemas.microsoft.com/office/drawing/2014/main" id="{4BDC134D-5F70-46A1-AE34-15B0545E2F82}"/>
              </a:ext>
            </a:extLst>
          </p:cNvPr>
          <p:cNvSpPr/>
          <p:nvPr/>
        </p:nvSpPr>
        <p:spPr>
          <a:xfrm>
            <a:off x="636890" y="434882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a:solidFill>
                  <a:srgbClr val="8D8EA7"/>
                </a:solidFill>
              </a:rPr>
              <a:t>4</a:t>
            </a:r>
          </a:p>
        </p:txBody>
      </p:sp>
      <p:sp>
        <p:nvSpPr>
          <p:cNvPr id="40" name="Rectangle 39">
            <a:extLst>
              <a:ext uri="{FF2B5EF4-FFF2-40B4-BE49-F238E27FC236}">
                <a16:creationId xmlns:a16="http://schemas.microsoft.com/office/drawing/2014/main" id="{512CEBE9-A555-41F2-8D06-161F78EE863D}"/>
              </a:ext>
            </a:extLst>
          </p:cNvPr>
          <p:cNvSpPr/>
          <p:nvPr/>
        </p:nvSpPr>
        <p:spPr>
          <a:xfrm>
            <a:off x="1435027" y="4348829"/>
            <a:ext cx="6814894"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42" name="Rectangle 41">
            <a:extLst>
              <a:ext uri="{FF2B5EF4-FFF2-40B4-BE49-F238E27FC236}">
                <a16:creationId xmlns:a16="http://schemas.microsoft.com/office/drawing/2014/main" id="{E044ADC8-F562-413B-847B-14E62BF40186}"/>
              </a:ext>
            </a:extLst>
          </p:cNvPr>
          <p:cNvSpPr/>
          <p:nvPr/>
        </p:nvSpPr>
        <p:spPr>
          <a:xfrm>
            <a:off x="365682" y="5160629"/>
            <a:ext cx="193072"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43" name="Rectangle 42">
            <a:extLst>
              <a:ext uri="{FF2B5EF4-FFF2-40B4-BE49-F238E27FC236}">
                <a16:creationId xmlns:a16="http://schemas.microsoft.com/office/drawing/2014/main" id="{4980B923-5157-4401-8970-94704F0D7FC0}"/>
              </a:ext>
            </a:extLst>
          </p:cNvPr>
          <p:cNvSpPr/>
          <p:nvPr/>
        </p:nvSpPr>
        <p:spPr>
          <a:xfrm>
            <a:off x="636890" y="5160629"/>
            <a:ext cx="720000"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a:solidFill>
                  <a:srgbClr val="8D8EA7"/>
                </a:solidFill>
              </a:rPr>
              <a:t>5</a:t>
            </a:r>
          </a:p>
        </p:txBody>
      </p:sp>
      <p:sp>
        <p:nvSpPr>
          <p:cNvPr id="44" name="Rectangle 43">
            <a:extLst>
              <a:ext uri="{FF2B5EF4-FFF2-40B4-BE49-F238E27FC236}">
                <a16:creationId xmlns:a16="http://schemas.microsoft.com/office/drawing/2014/main" id="{EECE823A-E021-4D25-9860-1056C71803C7}"/>
              </a:ext>
            </a:extLst>
          </p:cNvPr>
          <p:cNvSpPr/>
          <p:nvPr/>
        </p:nvSpPr>
        <p:spPr>
          <a:xfrm>
            <a:off x="1435027" y="5160629"/>
            <a:ext cx="6814894" cy="7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9144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46" name="Rectangle 45">
            <a:extLst>
              <a:ext uri="{FF2B5EF4-FFF2-40B4-BE49-F238E27FC236}">
                <a16:creationId xmlns:a16="http://schemas.microsoft.com/office/drawing/2014/main" id="{5E9821DE-017F-4E39-82A3-C02A15BE85C6}"/>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3086234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ectangle 19">
            <a:extLst>
              <a:ext uri="{FF2B5EF4-FFF2-40B4-BE49-F238E27FC236}">
                <a16:creationId xmlns:a16="http://schemas.microsoft.com/office/drawing/2014/main" id="{B0D78C20-9408-294D-A294-5C76254B34A0}"/>
              </a:ext>
            </a:extLst>
          </p:cNvPr>
          <p:cNvSpPr/>
          <p:nvPr/>
        </p:nvSpPr>
        <p:spPr>
          <a:xfrm>
            <a:off x="365681" y="191342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28" name="Rectangle 27">
            <a:extLst>
              <a:ext uri="{FF2B5EF4-FFF2-40B4-BE49-F238E27FC236}">
                <a16:creationId xmlns:a16="http://schemas.microsoft.com/office/drawing/2014/main" id="{B1B82E64-B3F2-4C67-B7EF-1850A6B97F64}"/>
              </a:ext>
            </a:extLst>
          </p:cNvPr>
          <p:cNvSpPr/>
          <p:nvPr/>
        </p:nvSpPr>
        <p:spPr>
          <a:xfrm>
            <a:off x="636890" y="191342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1</a:t>
            </a:r>
          </a:p>
        </p:txBody>
      </p:sp>
      <p:sp>
        <p:nvSpPr>
          <p:cNvPr id="30" name="Rectangle 29">
            <a:extLst>
              <a:ext uri="{FF2B5EF4-FFF2-40B4-BE49-F238E27FC236}">
                <a16:creationId xmlns:a16="http://schemas.microsoft.com/office/drawing/2014/main" id="{42073D03-7801-4C9B-8A1B-6B8A63D452BD}"/>
              </a:ext>
            </a:extLst>
          </p:cNvPr>
          <p:cNvSpPr/>
          <p:nvPr/>
        </p:nvSpPr>
        <p:spPr>
          <a:xfrm>
            <a:off x="1246977" y="191342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119" name="Rectangle 118">
            <a:extLst>
              <a:ext uri="{FF2B5EF4-FFF2-40B4-BE49-F238E27FC236}">
                <a16:creationId xmlns:a16="http://schemas.microsoft.com/office/drawing/2014/main" id="{ABD9EABD-7C22-4191-8926-6F13CF3FAD17}"/>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34" name="Rectangle 33">
            <a:extLst>
              <a:ext uri="{FF2B5EF4-FFF2-40B4-BE49-F238E27FC236}">
                <a16:creationId xmlns:a16="http://schemas.microsoft.com/office/drawing/2014/main" id="{5F385098-7BB7-4B40-9E98-3D7B6199DD61}"/>
              </a:ext>
            </a:extLst>
          </p:cNvPr>
          <p:cNvSpPr/>
          <p:nvPr/>
        </p:nvSpPr>
        <p:spPr>
          <a:xfrm>
            <a:off x="365681" y="259166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35" name="Rectangle 34">
            <a:extLst>
              <a:ext uri="{FF2B5EF4-FFF2-40B4-BE49-F238E27FC236}">
                <a16:creationId xmlns:a16="http://schemas.microsoft.com/office/drawing/2014/main" id="{01622CD1-40A4-4DF8-A4FD-F6AD9C90799F}"/>
              </a:ext>
            </a:extLst>
          </p:cNvPr>
          <p:cNvSpPr/>
          <p:nvPr/>
        </p:nvSpPr>
        <p:spPr>
          <a:xfrm>
            <a:off x="636890" y="259166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2</a:t>
            </a:r>
          </a:p>
        </p:txBody>
      </p:sp>
      <p:sp>
        <p:nvSpPr>
          <p:cNvPr id="36" name="Rectangle 35">
            <a:extLst>
              <a:ext uri="{FF2B5EF4-FFF2-40B4-BE49-F238E27FC236}">
                <a16:creationId xmlns:a16="http://schemas.microsoft.com/office/drawing/2014/main" id="{D647DB96-1A5D-4985-9720-D123F01C9563}"/>
              </a:ext>
            </a:extLst>
          </p:cNvPr>
          <p:cNvSpPr/>
          <p:nvPr/>
        </p:nvSpPr>
        <p:spPr>
          <a:xfrm>
            <a:off x="1246977" y="259166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38" name="Rectangle 37">
            <a:extLst>
              <a:ext uri="{FF2B5EF4-FFF2-40B4-BE49-F238E27FC236}">
                <a16:creationId xmlns:a16="http://schemas.microsoft.com/office/drawing/2014/main" id="{9FACCEF0-095D-4F6D-AFA2-38EBDEF48AEC}"/>
              </a:ext>
            </a:extLst>
          </p:cNvPr>
          <p:cNvSpPr/>
          <p:nvPr/>
        </p:nvSpPr>
        <p:spPr>
          <a:xfrm>
            <a:off x="365681" y="326990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39" name="Rectangle 38">
            <a:extLst>
              <a:ext uri="{FF2B5EF4-FFF2-40B4-BE49-F238E27FC236}">
                <a16:creationId xmlns:a16="http://schemas.microsoft.com/office/drawing/2014/main" id="{A1C05E3A-C661-4052-AECE-DB4D8A039CB7}"/>
              </a:ext>
            </a:extLst>
          </p:cNvPr>
          <p:cNvSpPr/>
          <p:nvPr/>
        </p:nvSpPr>
        <p:spPr>
          <a:xfrm>
            <a:off x="636890" y="326990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3</a:t>
            </a:r>
          </a:p>
        </p:txBody>
      </p:sp>
      <p:sp>
        <p:nvSpPr>
          <p:cNvPr id="40" name="Rectangle 39">
            <a:extLst>
              <a:ext uri="{FF2B5EF4-FFF2-40B4-BE49-F238E27FC236}">
                <a16:creationId xmlns:a16="http://schemas.microsoft.com/office/drawing/2014/main" id="{699E7C8F-DE35-493F-AF6F-3E043F22E5EC}"/>
              </a:ext>
            </a:extLst>
          </p:cNvPr>
          <p:cNvSpPr/>
          <p:nvPr/>
        </p:nvSpPr>
        <p:spPr>
          <a:xfrm>
            <a:off x="1246977" y="326990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42" name="Rectangle 41">
            <a:extLst>
              <a:ext uri="{FF2B5EF4-FFF2-40B4-BE49-F238E27FC236}">
                <a16:creationId xmlns:a16="http://schemas.microsoft.com/office/drawing/2014/main" id="{75834DEF-443C-409C-9F08-A000C3D631E1}"/>
              </a:ext>
            </a:extLst>
          </p:cNvPr>
          <p:cNvSpPr/>
          <p:nvPr/>
        </p:nvSpPr>
        <p:spPr>
          <a:xfrm>
            <a:off x="365681" y="394814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43" name="Rectangle 42">
            <a:extLst>
              <a:ext uri="{FF2B5EF4-FFF2-40B4-BE49-F238E27FC236}">
                <a16:creationId xmlns:a16="http://schemas.microsoft.com/office/drawing/2014/main" id="{956E9A0A-CE86-41AD-A70F-EB5D519C87C7}"/>
              </a:ext>
            </a:extLst>
          </p:cNvPr>
          <p:cNvSpPr/>
          <p:nvPr/>
        </p:nvSpPr>
        <p:spPr>
          <a:xfrm>
            <a:off x="636890" y="394814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4</a:t>
            </a:r>
          </a:p>
        </p:txBody>
      </p:sp>
      <p:sp>
        <p:nvSpPr>
          <p:cNvPr id="44" name="Rectangle 43">
            <a:extLst>
              <a:ext uri="{FF2B5EF4-FFF2-40B4-BE49-F238E27FC236}">
                <a16:creationId xmlns:a16="http://schemas.microsoft.com/office/drawing/2014/main" id="{BB0A9325-808F-49E6-9791-899E9BC0A625}"/>
              </a:ext>
            </a:extLst>
          </p:cNvPr>
          <p:cNvSpPr/>
          <p:nvPr/>
        </p:nvSpPr>
        <p:spPr>
          <a:xfrm>
            <a:off x="1246977" y="394814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46" name="Rectangle 45">
            <a:extLst>
              <a:ext uri="{FF2B5EF4-FFF2-40B4-BE49-F238E27FC236}">
                <a16:creationId xmlns:a16="http://schemas.microsoft.com/office/drawing/2014/main" id="{937D7443-43B5-49EA-8424-F382631299A4}"/>
              </a:ext>
            </a:extLst>
          </p:cNvPr>
          <p:cNvSpPr/>
          <p:nvPr/>
        </p:nvSpPr>
        <p:spPr>
          <a:xfrm>
            <a:off x="365681" y="462638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47" name="Rectangle 46">
            <a:extLst>
              <a:ext uri="{FF2B5EF4-FFF2-40B4-BE49-F238E27FC236}">
                <a16:creationId xmlns:a16="http://schemas.microsoft.com/office/drawing/2014/main" id="{96F12D69-31ED-4F8A-B16D-7468461A4096}"/>
              </a:ext>
            </a:extLst>
          </p:cNvPr>
          <p:cNvSpPr/>
          <p:nvPr/>
        </p:nvSpPr>
        <p:spPr>
          <a:xfrm>
            <a:off x="636890" y="462638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5</a:t>
            </a:r>
          </a:p>
        </p:txBody>
      </p:sp>
      <p:sp>
        <p:nvSpPr>
          <p:cNvPr id="48" name="Rectangle 47">
            <a:extLst>
              <a:ext uri="{FF2B5EF4-FFF2-40B4-BE49-F238E27FC236}">
                <a16:creationId xmlns:a16="http://schemas.microsoft.com/office/drawing/2014/main" id="{D8581B8A-BB1D-447C-8D90-3DCE57E4AF94}"/>
              </a:ext>
            </a:extLst>
          </p:cNvPr>
          <p:cNvSpPr/>
          <p:nvPr/>
        </p:nvSpPr>
        <p:spPr>
          <a:xfrm>
            <a:off x="1246977" y="462638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
        <p:nvSpPr>
          <p:cNvPr id="50" name="Rectangle 49">
            <a:extLst>
              <a:ext uri="{FF2B5EF4-FFF2-40B4-BE49-F238E27FC236}">
                <a16:creationId xmlns:a16="http://schemas.microsoft.com/office/drawing/2014/main" id="{2A49F233-FF88-4DF2-BA01-F59800E9B53D}"/>
              </a:ext>
            </a:extLst>
          </p:cNvPr>
          <p:cNvSpPr/>
          <p:nvPr/>
        </p:nvSpPr>
        <p:spPr>
          <a:xfrm>
            <a:off x="365681" y="5304629"/>
            <a:ext cx="193072"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51" name="Rectangle 50">
            <a:extLst>
              <a:ext uri="{FF2B5EF4-FFF2-40B4-BE49-F238E27FC236}">
                <a16:creationId xmlns:a16="http://schemas.microsoft.com/office/drawing/2014/main" id="{A597F298-05C5-48AD-B90E-798C81338069}"/>
              </a:ext>
            </a:extLst>
          </p:cNvPr>
          <p:cNvSpPr/>
          <p:nvPr/>
        </p:nvSpPr>
        <p:spPr>
          <a:xfrm>
            <a:off x="636890" y="5304629"/>
            <a:ext cx="531950"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b="1">
                <a:solidFill>
                  <a:srgbClr val="8D8EA7"/>
                </a:solidFill>
              </a:rPr>
              <a:t>6</a:t>
            </a:r>
          </a:p>
        </p:txBody>
      </p:sp>
      <p:sp>
        <p:nvSpPr>
          <p:cNvPr id="52" name="Rectangle 51">
            <a:extLst>
              <a:ext uri="{FF2B5EF4-FFF2-40B4-BE49-F238E27FC236}">
                <a16:creationId xmlns:a16="http://schemas.microsoft.com/office/drawing/2014/main" id="{1792DC8F-EB25-4C97-9FEA-03D737E65CAA}"/>
              </a:ext>
            </a:extLst>
          </p:cNvPr>
          <p:cNvSpPr/>
          <p:nvPr/>
        </p:nvSpPr>
        <p:spPr>
          <a:xfrm>
            <a:off x="1246977" y="5304629"/>
            <a:ext cx="7002944" cy="5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lvl="1" indent="0">
              <a:spcBef>
                <a:spcPts val="600"/>
              </a:spcBef>
              <a:buClr>
                <a:schemeClr val="tx2"/>
              </a:buClr>
              <a:buNone/>
            </a:pPr>
            <a:r>
              <a:rPr lang="en-GB" b="1">
                <a:solidFill>
                  <a:schemeClr val="tx1"/>
                </a:solidFill>
              </a:rPr>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one line</a:t>
            </a:r>
          </a:p>
        </p:txBody>
      </p:sp>
    </p:spTree>
    <p:extLst>
      <p:ext uri="{BB962C8B-B14F-4D97-AF65-F5344CB8AC3E}">
        <p14:creationId xmlns:p14="http://schemas.microsoft.com/office/powerpoint/2010/main" val="587724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Inhaltsplatzhalter 2">
            <a:extLst>
              <a:ext uri="{FF2B5EF4-FFF2-40B4-BE49-F238E27FC236}">
                <a16:creationId xmlns:a16="http://schemas.microsoft.com/office/drawing/2014/main" id="{34EED1FD-B458-4B58-8574-3A8F85CE6C44}"/>
              </a:ext>
            </a:extLst>
          </p:cNvPr>
          <p:cNvSpPr txBox="1">
            <a:spLocks/>
          </p:cNvSpPr>
          <p:nvPr/>
        </p:nvSpPr>
        <p:spPr bwMode="gray">
          <a:xfrm flipH="1">
            <a:off x="365680" y="1919787"/>
            <a:ext cx="479792" cy="3960838"/>
          </a:xfrm>
          <a:prstGeom prst="rect">
            <a:avLst/>
          </a:prstGeom>
          <a:solidFill>
            <a:schemeClr val="bg1">
              <a:lumMod val="95000"/>
            </a:schemeClr>
          </a:solidFill>
          <a:ln w="9525" cap="flat" cmpd="sng" algn="ctr">
            <a:noFill/>
            <a:prstDash val="solid"/>
          </a:ln>
          <a:effectLst/>
        </p:spPr>
        <p:txBody>
          <a:bodyPr lIns="288000" rtlCol="0" anchor="t"/>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endParaRPr lang="en-GB" sz="1600" b="0">
              <a:solidFill>
                <a:schemeClr val="tx1">
                  <a:lumMod val="85000"/>
                  <a:lumOff val="15000"/>
                </a:schemeClr>
              </a:solidFill>
            </a:endParaRPr>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2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845472" y="1919786"/>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611487" y="2045786"/>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52" name="Rectangle 51">
            <a:extLst>
              <a:ext uri="{FF2B5EF4-FFF2-40B4-BE49-F238E27FC236}">
                <a16:creationId xmlns:a16="http://schemas.microsoft.com/office/drawing/2014/main" id="{CA24CF78-EE3B-4434-A627-37DBB072910D}"/>
              </a:ext>
            </a:extLst>
          </p:cNvPr>
          <p:cNvSpPr/>
          <p:nvPr/>
        </p:nvSpPr>
        <p:spPr>
          <a:xfrm>
            <a:off x="845472" y="2729997"/>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3" name="Rectangle 52">
            <a:extLst>
              <a:ext uri="{FF2B5EF4-FFF2-40B4-BE49-F238E27FC236}">
                <a16:creationId xmlns:a16="http://schemas.microsoft.com/office/drawing/2014/main" id="{6D95470C-4D39-4133-A5E0-F6993F0838B5}"/>
              </a:ext>
            </a:extLst>
          </p:cNvPr>
          <p:cNvSpPr/>
          <p:nvPr userDrawn="1"/>
        </p:nvSpPr>
        <p:spPr bwMode="gray">
          <a:xfrm>
            <a:off x="611487" y="2855997"/>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55" name="Rectangle 54">
            <a:extLst>
              <a:ext uri="{FF2B5EF4-FFF2-40B4-BE49-F238E27FC236}">
                <a16:creationId xmlns:a16="http://schemas.microsoft.com/office/drawing/2014/main" id="{3137117A-C35A-4F1D-A93A-7EC19DC6C05C}"/>
              </a:ext>
            </a:extLst>
          </p:cNvPr>
          <p:cNvSpPr/>
          <p:nvPr/>
        </p:nvSpPr>
        <p:spPr>
          <a:xfrm>
            <a:off x="845472" y="3540208"/>
            <a:ext cx="7510918"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6" name="Rectangle 55">
            <a:extLst>
              <a:ext uri="{FF2B5EF4-FFF2-40B4-BE49-F238E27FC236}">
                <a16:creationId xmlns:a16="http://schemas.microsoft.com/office/drawing/2014/main" id="{EB38A0BD-9534-444A-A5C6-9FF65B853610}"/>
              </a:ext>
            </a:extLst>
          </p:cNvPr>
          <p:cNvSpPr/>
          <p:nvPr userDrawn="1"/>
        </p:nvSpPr>
        <p:spPr bwMode="gray">
          <a:xfrm>
            <a:off x="611487" y="3666208"/>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58" name="Rectangle 57">
            <a:extLst>
              <a:ext uri="{FF2B5EF4-FFF2-40B4-BE49-F238E27FC236}">
                <a16:creationId xmlns:a16="http://schemas.microsoft.com/office/drawing/2014/main" id="{5C20D6C2-600C-48E3-B27E-8A63BF0EB493}"/>
              </a:ext>
            </a:extLst>
          </p:cNvPr>
          <p:cNvSpPr/>
          <p:nvPr/>
        </p:nvSpPr>
        <p:spPr>
          <a:xfrm>
            <a:off x="845472" y="4350419"/>
            <a:ext cx="7510918"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9" name="Rectangle 58">
            <a:extLst>
              <a:ext uri="{FF2B5EF4-FFF2-40B4-BE49-F238E27FC236}">
                <a16:creationId xmlns:a16="http://schemas.microsoft.com/office/drawing/2014/main" id="{12031D58-9725-4AFE-9FA3-6D7652866A64}"/>
              </a:ext>
            </a:extLst>
          </p:cNvPr>
          <p:cNvSpPr/>
          <p:nvPr userDrawn="1"/>
        </p:nvSpPr>
        <p:spPr bwMode="gray">
          <a:xfrm>
            <a:off x="611487" y="447641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61" name="Rectangle 60">
            <a:extLst>
              <a:ext uri="{FF2B5EF4-FFF2-40B4-BE49-F238E27FC236}">
                <a16:creationId xmlns:a16="http://schemas.microsoft.com/office/drawing/2014/main" id="{D70B5239-0330-4B9E-90FB-5D890A369B8B}"/>
              </a:ext>
            </a:extLst>
          </p:cNvPr>
          <p:cNvSpPr/>
          <p:nvPr/>
        </p:nvSpPr>
        <p:spPr>
          <a:xfrm>
            <a:off x="845472" y="5160629"/>
            <a:ext cx="7510918"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62" name="Rectangle 61">
            <a:extLst>
              <a:ext uri="{FF2B5EF4-FFF2-40B4-BE49-F238E27FC236}">
                <a16:creationId xmlns:a16="http://schemas.microsoft.com/office/drawing/2014/main" id="{CB52C7DF-65FD-48A7-9B9D-295B8B520C35}"/>
              </a:ext>
            </a:extLst>
          </p:cNvPr>
          <p:cNvSpPr/>
          <p:nvPr userDrawn="1"/>
        </p:nvSpPr>
        <p:spPr bwMode="gray">
          <a:xfrm>
            <a:off x="611487" y="528662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5</a:t>
            </a:r>
          </a:p>
        </p:txBody>
      </p:sp>
      <p:sp>
        <p:nvSpPr>
          <p:cNvPr id="23" name="Rectangle 73">
            <a:extLst>
              <a:ext uri="{FF2B5EF4-FFF2-40B4-BE49-F238E27FC236}">
                <a16:creationId xmlns:a16="http://schemas.microsoft.com/office/drawing/2014/main" id="{3D03DBE4-8405-4C06-AC4F-36A6314403BC}"/>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435143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a:extLst>
              <a:ext uri="{FF2B5EF4-FFF2-40B4-BE49-F238E27FC236}">
                <a16:creationId xmlns:a16="http://schemas.microsoft.com/office/drawing/2014/main" id="{0E23C803-01C5-1343-B027-ED571442ECED}"/>
              </a:ext>
            </a:extLst>
          </p:cNvPr>
          <p:cNvGraphicFramePr>
            <a:graphicFrameLocks noChangeAspect="1"/>
          </p:cNvGraphicFramePr>
          <p:nvPr>
            <p:custDataLst>
              <p:tags r:id="rId1"/>
            </p:custDataLst>
            <p:extLst>
              <p:ext uri="{D42A27DB-BD31-4B8C-83A1-F6EECF244321}">
                <p14:modId xmlns:p14="http://schemas.microsoft.com/office/powerpoint/2010/main" val="2720655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7772400" imgH="10058400" progId="TCLayout.ActiveDocument.1">
                  <p:embed/>
                </p:oleObj>
              </mc:Choice>
              <mc:Fallback>
                <p:oleObj name="think-cell Folie" r:id="rId6" imgW="7772400" imgH="10058400" progId="TCLayout.ActiveDocument.1">
                  <p:embed/>
                  <p:pic>
                    <p:nvPicPr>
                      <p:cNvPr id="37" name="Object 36" hidden="1">
                        <a:extLst>
                          <a:ext uri="{FF2B5EF4-FFF2-40B4-BE49-F238E27FC236}">
                            <a16:creationId xmlns:a16="http://schemas.microsoft.com/office/drawing/2014/main" id="{0E23C803-01C5-1343-B027-ED571442ECE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46C7F81-0302-EE4D-8CF6-AB4907B0CB1C}"/>
              </a:ext>
            </a:extLst>
          </p:cNvPr>
          <p:cNvSpPr>
            <a:spLocks noGrp="1"/>
          </p:cNvSpPr>
          <p:nvPr>
            <p:ph type="sldNum" sz="quarter" idx="4"/>
          </p:nvPr>
        </p:nvSpPr>
        <p:spPr/>
        <p:txBody>
          <a:bodyPr/>
          <a:lstStyle/>
          <a:p>
            <a:fld id="{3D966009-6E5A-4F8C-8CA7-E37AFBF5FB92}" type="slidenum">
              <a:rPr lang="en-US" smtClean="0"/>
              <a:t>3</a:t>
            </a:fld>
            <a:endParaRPr lang="en-US"/>
          </a:p>
        </p:txBody>
      </p:sp>
      <p:sp>
        <p:nvSpPr>
          <p:cNvPr id="3" name="Title 2">
            <a:extLst>
              <a:ext uri="{FF2B5EF4-FFF2-40B4-BE49-F238E27FC236}">
                <a16:creationId xmlns:a16="http://schemas.microsoft.com/office/drawing/2014/main" id="{67CB7531-5AFF-AF49-AD66-9CF85921F913}"/>
              </a:ext>
            </a:extLst>
          </p:cNvPr>
          <p:cNvSpPr>
            <a:spLocks noGrp="1"/>
          </p:cNvSpPr>
          <p:nvPr>
            <p:ph type="title"/>
          </p:nvPr>
        </p:nvSpPr>
        <p:spPr/>
        <p:txBody>
          <a:bodyPr/>
          <a:lstStyle/>
          <a:p>
            <a:r>
              <a:rPr lang="de-DE"/>
              <a:t>Icons</a:t>
            </a:r>
          </a:p>
        </p:txBody>
      </p:sp>
      <p:sp>
        <p:nvSpPr>
          <p:cNvPr id="4" name="Content Placeholder 3">
            <a:extLst>
              <a:ext uri="{FF2B5EF4-FFF2-40B4-BE49-F238E27FC236}">
                <a16:creationId xmlns:a16="http://schemas.microsoft.com/office/drawing/2014/main" id="{E5D30C1B-7C53-6B4A-8FEF-470EAC066563}"/>
              </a:ext>
            </a:extLst>
          </p:cNvPr>
          <p:cNvSpPr>
            <a:spLocks noGrp="1"/>
          </p:cNvSpPr>
          <p:nvPr>
            <p:ph sz="quarter" idx="10"/>
          </p:nvPr>
        </p:nvSpPr>
        <p:spPr>
          <a:xfrm>
            <a:off x="197284" y="5977747"/>
            <a:ext cx="11460635" cy="221803"/>
          </a:xfrm>
        </p:spPr>
        <p:txBody>
          <a:bodyPr/>
          <a:lstStyle/>
          <a:p>
            <a:endParaRPr lang="de-DE"/>
          </a:p>
        </p:txBody>
      </p:sp>
      <p:sp>
        <p:nvSpPr>
          <p:cNvPr id="6" name="Text Placeholder 5">
            <a:extLst>
              <a:ext uri="{FF2B5EF4-FFF2-40B4-BE49-F238E27FC236}">
                <a16:creationId xmlns:a16="http://schemas.microsoft.com/office/drawing/2014/main" id="{C96A2BBB-1BA6-0D45-A51C-ADE8D07D39EE}"/>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FCCF0FA3-9DCF-564B-8C77-62F3F7098CAB}"/>
              </a:ext>
            </a:extLst>
          </p:cNvPr>
          <p:cNvSpPr>
            <a:spLocks noGrp="1"/>
          </p:cNvSpPr>
          <p:nvPr>
            <p:ph type="body" sz="quarter" idx="13"/>
          </p:nvPr>
        </p:nvSpPr>
        <p:spPr>
          <a:xfrm>
            <a:off x="365682" y="1300020"/>
            <a:ext cx="11462400" cy="309892"/>
          </a:xfrm>
        </p:spPr>
        <p:txBody>
          <a:bodyPr/>
          <a:lstStyle/>
          <a:p>
            <a:endParaRPr lang="de-DE"/>
          </a:p>
        </p:txBody>
      </p:sp>
      <p:sp>
        <p:nvSpPr>
          <p:cNvPr id="8" name="Content Placeholder 7">
            <a:extLst>
              <a:ext uri="{FF2B5EF4-FFF2-40B4-BE49-F238E27FC236}">
                <a16:creationId xmlns:a16="http://schemas.microsoft.com/office/drawing/2014/main" id="{50AECCFA-563D-AF4A-AF7C-C61769340D80}"/>
              </a:ext>
            </a:extLst>
          </p:cNvPr>
          <p:cNvSpPr>
            <a:spLocks noGrp="1"/>
          </p:cNvSpPr>
          <p:nvPr>
            <p:ph sz="quarter" idx="14"/>
          </p:nvPr>
        </p:nvSpPr>
        <p:spPr/>
        <p:txBody>
          <a:bodyPr/>
          <a:lstStyle/>
          <a:p>
            <a:endParaRPr lang="de-DE"/>
          </a:p>
        </p:txBody>
      </p:sp>
      <p:pic>
        <p:nvPicPr>
          <p:cNvPr id="9" name="Graphic 8" descr="Handshake">
            <a:extLst>
              <a:ext uri="{FF2B5EF4-FFF2-40B4-BE49-F238E27FC236}">
                <a16:creationId xmlns:a16="http://schemas.microsoft.com/office/drawing/2014/main" id="{E7E25252-F709-6243-9F7F-D33716EA7F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01942" y="2138686"/>
            <a:ext cx="558070" cy="558070"/>
          </a:xfrm>
          <a:prstGeom prst="rect">
            <a:avLst/>
          </a:prstGeom>
        </p:spPr>
      </p:pic>
      <p:pic>
        <p:nvPicPr>
          <p:cNvPr id="10" name="Graphic 9" descr="Meeting">
            <a:extLst>
              <a:ext uri="{FF2B5EF4-FFF2-40B4-BE49-F238E27FC236}">
                <a16:creationId xmlns:a16="http://schemas.microsoft.com/office/drawing/2014/main" id="{27E9BDED-9492-BD47-9D7D-9BD99919339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7009" y="2138686"/>
            <a:ext cx="479597" cy="479597"/>
          </a:xfrm>
          <a:prstGeom prst="rect">
            <a:avLst/>
          </a:prstGeom>
        </p:spPr>
      </p:pic>
      <p:pic>
        <p:nvPicPr>
          <p:cNvPr id="11" name="Graphic 10" descr="Employee Badge">
            <a:extLst>
              <a:ext uri="{FF2B5EF4-FFF2-40B4-BE49-F238E27FC236}">
                <a16:creationId xmlns:a16="http://schemas.microsoft.com/office/drawing/2014/main" id="{D969F6D0-E196-C74C-A3FC-D324ECC7C7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4274" y="2217212"/>
            <a:ext cx="360000" cy="360000"/>
          </a:xfrm>
          <a:prstGeom prst="rect">
            <a:avLst/>
          </a:prstGeom>
        </p:spPr>
      </p:pic>
      <p:sp>
        <p:nvSpPr>
          <p:cNvPr id="12" name="Donut 24">
            <a:extLst>
              <a:ext uri="{FF2B5EF4-FFF2-40B4-BE49-F238E27FC236}">
                <a16:creationId xmlns:a16="http://schemas.microsoft.com/office/drawing/2014/main" id="{9B698130-B98C-2740-BE36-173EB09FFCA5}"/>
              </a:ext>
            </a:extLst>
          </p:cNvPr>
          <p:cNvSpPr/>
          <p:nvPr/>
        </p:nvSpPr>
        <p:spPr>
          <a:xfrm>
            <a:off x="974274" y="1712391"/>
            <a:ext cx="360000" cy="360000"/>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3" name="Block Arc 41">
            <a:extLst>
              <a:ext uri="{FF2B5EF4-FFF2-40B4-BE49-F238E27FC236}">
                <a16:creationId xmlns:a16="http://schemas.microsoft.com/office/drawing/2014/main" id="{7A539205-5C03-A24D-A8DF-C8F35F925D09}"/>
              </a:ext>
            </a:extLst>
          </p:cNvPr>
          <p:cNvSpPr/>
          <p:nvPr/>
        </p:nvSpPr>
        <p:spPr>
          <a:xfrm>
            <a:off x="371475" y="1700213"/>
            <a:ext cx="360000" cy="360000"/>
          </a:xfrm>
          <a:custGeom>
            <a:avLst/>
            <a:gdLst/>
            <a:ahLst/>
            <a:cxnLst/>
            <a:rect l="l" t="t" r="r" b="b"/>
            <a:pathLst>
              <a:path w="2844151" h="2880180">
                <a:moveTo>
                  <a:pt x="2390187" y="1502145"/>
                </a:moveTo>
                <a:lnTo>
                  <a:pt x="2844151" y="1530794"/>
                </a:lnTo>
                <a:cubicBezTo>
                  <a:pt x="2804784" y="2154619"/>
                  <a:pt x="2367464" y="2681809"/>
                  <a:pt x="1761650" y="2835749"/>
                </a:cubicBezTo>
                <a:cubicBezTo>
                  <a:pt x="1191486" y="2980631"/>
                  <a:pt x="594633" y="2763755"/>
                  <a:pt x="252983" y="2293680"/>
                </a:cubicBezTo>
                <a:lnTo>
                  <a:pt x="102982" y="2380283"/>
                </a:lnTo>
                <a:lnTo>
                  <a:pt x="104524" y="1603708"/>
                </a:lnTo>
                <a:lnTo>
                  <a:pt x="777828" y="1990661"/>
                </a:lnTo>
                <a:lnTo>
                  <a:pt x="648358" y="2065410"/>
                </a:lnTo>
                <a:cubicBezTo>
                  <a:pt x="886760" y="2358087"/>
                  <a:pt x="1276546" y="2489694"/>
                  <a:pt x="1649627" y="2394891"/>
                </a:cubicBezTo>
                <a:cubicBezTo>
                  <a:pt x="2064076" y="2289577"/>
                  <a:pt x="2363256" y="1928916"/>
                  <a:pt x="2390187" y="1502145"/>
                </a:cubicBezTo>
                <a:close/>
                <a:moveTo>
                  <a:pt x="1424249" y="58"/>
                </a:moveTo>
                <a:cubicBezTo>
                  <a:pt x="1880498" y="-4073"/>
                  <a:pt x="2318325" y="209551"/>
                  <a:pt x="2591169" y="586524"/>
                </a:cubicBezTo>
                <a:lnTo>
                  <a:pt x="2741170" y="499921"/>
                </a:lnTo>
                <a:lnTo>
                  <a:pt x="2739628" y="1276497"/>
                </a:lnTo>
                <a:lnTo>
                  <a:pt x="2066324" y="889544"/>
                </a:lnTo>
                <a:lnTo>
                  <a:pt x="2195793" y="814795"/>
                </a:lnTo>
                <a:cubicBezTo>
                  <a:pt x="1957391" y="522118"/>
                  <a:pt x="1567606" y="390511"/>
                  <a:pt x="1194524" y="485313"/>
                </a:cubicBezTo>
                <a:cubicBezTo>
                  <a:pt x="780075" y="590627"/>
                  <a:pt x="480895" y="951288"/>
                  <a:pt x="453964" y="1378059"/>
                </a:cubicBezTo>
                <a:lnTo>
                  <a:pt x="0" y="1349410"/>
                </a:lnTo>
                <a:cubicBezTo>
                  <a:pt x="39367" y="725585"/>
                  <a:pt x="476687" y="198395"/>
                  <a:pt x="1082501" y="44455"/>
                </a:cubicBezTo>
                <a:cubicBezTo>
                  <a:pt x="1196091" y="15591"/>
                  <a:pt x="1310740" y="1086"/>
                  <a:pt x="1424249" y="58"/>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pic>
        <p:nvPicPr>
          <p:cNvPr id="14" name="Graphic 13" descr="Gauge">
            <a:extLst>
              <a:ext uri="{FF2B5EF4-FFF2-40B4-BE49-F238E27FC236}">
                <a16:creationId xmlns:a16="http://schemas.microsoft.com/office/drawing/2014/main" id="{172C97DB-D5AC-214F-9468-24DF2856006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01942" y="1619261"/>
            <a:ext cx="466283" cy="466283"/>
          </a:xfrm>
          <a:prstGeom prst="rect">
            <a:avLst/>
          </a:prstGeom>
        </p:spPr>
      </p:pic>
      <p:sp>
        <p:nvSpPr>
          <p:cNvPr id="15" name="Freeform 14">
            <a:extLst>
              <a:ext uri="{FF2B5EF4-FFF2-40B4-BE49-F238E27FC236}">
                <a16:creationId xmlns:a16="http://schemas.microsoft.com/office/drawing/2014/main" id="{3C02D21B-BE11-AA40-9A80-236D1F6DC899}"/>
              </a:ext>
            </a:extLst>
          </p:cNvPr>
          <p:cNvSpPr>
            <a:spLocks noChangeAspect="1" noEditPoints="1"/>
          </p:cNvSpPr>
          <p:nvPr/>
        </p:nvSpPr>
        <p:spPr bwMode="auto">
          <a:xfrm>
            <a:off x="2135894" y="1718378"/>
            <a:ext cx="247524" cy="341836"/>
          </a:xfrm>
          <a:custGeom>
            <a:avLst/>
            <a:gdLst>
              <a:gd name="T0" fmla="*/ 241 w 1274"/>
              <a:gd name="T1" fmla="*/ 1360 h 1760"/>
              <a:gd name="T2" fmla="*/ 256 w 1274"/>
              <a:gd name="T3" fmla="*/ 1344 h 1760"/>
              <a:gd name="T4" fmla="*/ 522 w 1274"/>
              <a:gd name="T5" fmla="*/ 1032 h 1760"/>
              <a:gd name="T6" fmla="*/ 554 w 1274"/>
              <a:gd name="T7" fmla="*/ 679 h 1760"/>
              <a:gd name="T8" fmla="*/ 554 w 1274"/>
              <a:gd name="T9" fmla="*/ 678 h 1760"/>
              <a:gd name="T10" fmla="*/ 354 w 1274"/>
              <a:gd name="T11" fmla="*/ 1000 h 1760"/>
              <a:gd name="T12" fmla="*/ 254 w 1274"/>
              <a:gd name="T13" fmla="*/ 1026 h 1760"/>
              <a:gd name="T14" fmla="*/ 48 w 1274"/>
              <a:gd name="T15" fmla="*/ 928 h 1760"/>
              <a:gd name="T16" fmla="*/ 4 w 1274"/>
              <a:gd name="T17" fmla="*/ 851 h 1760"/>
              <a:gd name="T18" fmla="*/ 73 w 1274"/>
              <a:gd name="T19" fmla="*/ 195 h 1760"/>
              <a:gd name="T20" fmla="*/ 72 w 1274"/>
              <a:gd name="T21" fmla="*/ 154 h 1760"/>
              <a:gd name="T22" fmla="*/ 29 w 1274"/>
              <a:gd name="T23" fmla="*/ 61 h 1760"/>
              <a:gd name="T24" fmla="*/ 63 w 1274"/>
              <a:gd name="T25" fmla="*/ 0 h 1760"/>
              <a:gd name="T26" fmla="*/ 474 w 1274"/>
              <a:gd name="T27" fmla="*/ 0 h 1760"/>
              <a:gd name="T28" fmla="*/ 1187 w 1274"/>
              <a:gd name="T29" fmla="*/ 603 h 1760"/>
              <a:gd name="T30" fmla="*/ 1152 w 1274"/>
              <a:gd name="T31" fmla="*/ 871 h 1760"/>
              <a:gd name="T32" fmla="*/ 1124 w 1274"/>
              <a:gd name="T33" fmla="*/ 1197 h 1760"/>
              <a:gd name="T34" fmla="*/ 1182 w 1274"/>
              <a:gd name="T35" fmla="*/ 1360 h 1760"/>
              <a:gd name="T36" fmla="*/ 241 w 1274"/>
              <a:gd name="T37" fmla="*/ 1360 h 1760"/>
              <a:gd name="T38" fmla="*/ 1274 w 1274"/>
              <a:gd name="T39" fmla="*/ 1440 h 1760"/>
              <a:gd name="T40" fmla="*/ 1274 w 1274"/>
              <a:gd name="T41" fmla="*/ 1760 h 1760"/>
              <a:gd name="T42" fmla="*/ 154 w 1274"/>
              <a:gd name="T43" fmla="*/ 1760 h 1760"/>
              <a:gd name="T44" fmla="*/ 154 w 1274"/>
              <a:gd name="T45" fmla="*/ 1440 h 1760"/>
              <a:gd name="T46" fmla="*/ 1274 w 1274"/>
              <a:gd name="T47" fmla="*/ 144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4" h="1760">
                <a:moveTo>
                  <a:pt x="241" y="1360"/>
                </a:moveTo>
                <a:cubicBezTo>
                  <a:pt x="244" y="1354"/>
                  <a:pt x="249" y="1348"/>
                  <a:pt x="256" y="1344"/>
                </a:cubicBezTo>
                <a:cubicBezTo>
                  <a:pt x="367" y="1278"/>
                  <a:pt x="465" y="1161"/>
                  <a:pt x="522" y="1032"/>
                </a:cubicBezTo>
                <a:cubicBezTo>
                  <a:pt x="574" y="914"/>
                  <a:pt x="592" y="787"/>
                  <a:pt x="554" y="679"/>
                </a:cubicBezTo>
                <a:cubicBezTo>
                  <a:pt x="554" y="678"/>
                  <a:pt x="554" y="678"/>
                  <a:pt x="554" y="678"/>
                </a:cubicBezTo>
                <a:cubicBezTo>
                  <a:pt x="354" y="1000"/>
                  <a:pt x="354" y="1000"/>
                  <a:pt x="354" y="1000"/>
                </a:cubicBezTo>
                <a:cubicBezTo>
                  <a:pt x="333" y="1034"/>
                  <a:pt x="288" y="1042"/>
                  <a:pt x="254" y="1026"/>
                </a:cubicBezTo>
                <a:cubicBezTo>
                  <a:pt x="48" y="928"/>
                  <a:pt x="48" y="928"/>
                  <a:pt x="48" y="928"/>
                </a:cubicBezTo>
                <a:cubicBezTo>
                  <a:pt x="18" y="914"/>
                  <a:pt x="0" y="884"/>
                  <a:pt x="4" y="851"/>
                </a:cubicBezTo>
                <a:cubicBezTo>
                  <a:pt x="73" y="195"/>
                  <a:pt x="73" y="195"/>
                  <a:pt x="73" y="195"/>
                </a:cubicBezTo>
                <a:cubicBezTo>
                  <a:pt x="75" y="181"/>
                  <a:pt x="74" y="167"/>
                  <a:pt x="72" y="154"/>
                </a:cubicBezTo>
                <a:cubicBezTo>
                  <a:pt x="66" y="124"/>
                  <a:pt x="44" y="89"/>
                  <a:pt x="29" y="61"/>
                </a:cubicBezTo>
                <a:cubicBezTo>
                  <a:pt x="13" y="35"/>
                  <a:pt x="32" y="0"/>
                  <a:pt x="63" y="0"/>
                </a:cubicBezTo>
                <a:cubicBezTo>
                  <a:pt x="474" y="0"/>
                  <a:pt x="474" y="0"/>
                  <a:pt x="474" y="0"/>
                </a:cubicBezTo>
                <a:cubicBezTo>
                  <a:pt x="874" y="0"/>
                  <a:pt x="1187" y="164"/>
                  <a:pt x="1187" y="603"/>
                </a:cubicBezTo>
                <a:cubicBezTo>
                  <a:pt x="1187" y="696"/>
                  <a:pt x="1170" y="784"/>
                  <a:pt x="1152" y="871"/>
                </a:cubicBezTo>
                <a:cubicBezTo>
                  <a:pt x="1131" y="975"/>
                  <a:pt x="1108" y="1090"/>
                  <a:pt x="1124" y="1197"/>
                </a:cubicBezTo>
                <a:cubicBezTo>
                  <a:pt x="1133" y="1255"/>
                  <a:pt x="1154" y="1308"/>
                  <a:pt x="1182" y="1360"/>
                </a:cubicBezTo>
                <a:lnTo>
                  <a:pt x="241" y="1360"/>
                </a:lnTo>
                <a:close/>
                <a:moveTo>
                  <a:pt x="1274" y="1440"/>
                </a:moveTo>
                <a:cubicBezTo>
                  <a:pt x="1274" y="1547"/>
                  <a:pt x="1274" y="1653"/>
                  <a:pt x="1274" y="1760"/>
                </a:cubicBezTo>
                <a:cubicBezTo>
                  <a:pt x="154" y="1760"/>
                  <a:pt x="154" y="1760"/>
                  <a:pt x="154" y="1760"/>
                </a:cubicBezTo>
                <a:cubicBezTo>
                  <a:pt x="154" y="1653"/>
                  <a:pt x="154" y="1547"/>
                  <a:pt x="154" y="1440"/>
                </a:cubicBezTo>
                <a:lnTo>
                  <a:pt x="1274" y="1440"/>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endParaRPr lang="en-GB">
              <a:latin typeface="+mn-lt"/>
              <a:sym typeface="+mn-lt"/>
            </a:endParaRPr>
          </a:p>
        </p:txBody>
      </p:sp>
      <p:sp>
        <p:nvSpPr>
          <p:cNvPr id="16" name="Donut 22">
            <a:extLst>
              <a:ext uri="{FF2B5EF4-FFF2-40B4-BE49-F238E27FC236}">
                <a16:creationId xmlns:a16="http://schemas.microsoft.com/office/drawing/2014/main" id="{E2110C2E-B4C6-2145-8BEA-043838A6086E}"/>
              </a:ext>
            </a:extLst>
          </p:cNvPr>
          <p:cNvSpPr>
            <a:spLocks noChangeAspect="1"/>
          </p:cNvSpPr>
          <p:nvPr/>
        </p:nvSpPr>
        <p:spPr>
          <a:xfrm>
            <a:off x="386807" y="3154040"/>
            <a:ext cx="360000" cy="184392"/>
          </a:xfrm>
          <a:custGeom>
            <a:avLst/>
            <a:gdLst/>
            <a:ahLst/>
            <a:cxnLst/>
            <a:rect l="l" t="t" r="r" b="b"/>
            <a:pathLst>
              <a:path w="3372524" h="1727404">
                <a:moveTo>
                  <a:pt x="1758003" y="666958"/>
                </a:moveTo>
                <a:cubicBezTo>
                  <a:pt x="1703684" y="666958"/>
                  <a:pt x="1659649" y="710993"/>
                  <a:pt x="1659649" y="765312"/>
                </a:cubicBezTo>
                <a:cubicBezTo>
                  <a:pt x="1659649" y="819631"/>
                  <a:pt x="1703684" y="863666"/>
                  <a:pt x="1758003" y="863666"/>
                </a:cubicBezTo>
                <a:cubicBezTo>
                  <a:pt x="1812322" y="863666"/>
                  <a:pt x="1856357" y="819631"/>
                  <a:pt x="1856357" y="765312"/>
                </a:cubicBezTo>
                <a:cubicBezTo>
                  <a:pt x="1856357" y="710993"/>
                  <a:pt x="1812322" y="666958"/>
                  <a:pt x="1758003" y="666958"/>
                </a:cubicBezTo>
                <a:close/>
                <a:moveTo>
                  <a:pt x="1686261" y="586208"/>
                </a:moveTo>
                <a:cubicBezTo>
                  <a:pt x="1849880" y="586208"/>
                  <a:pt x="1982519" y="718847"/>
                  <a:pt x="1982519" y="882466"/>
                </a:cubicBezTo>
                <a:cubicBezTo>
                  <a:pt x="1982519" y="1046085"/>
                  <a:pt x="1849880" y="1178724"/>
                  <a:pt x="1686261" y="1178724"/>
                </a:cubicBezTo>
                <a:cubicBezTo>
                  <a:pt x="1522642" y="1178724"/>
                  <a:pt x="1390003" y="1046085"/>
                  <a:pt x="1390003" y="882466"/>
                </a:cubicBezTo>
                <a:cubicBezTo>
                  <a:pt x="1390003" y="718847"/>
                  <a:pt x="1522642" y="586208"/>
                  <a:pt x="1686261" y="586208"/>
                </a:cubicBezTo>
                <a:close/>
                <a:moveTo>
                  <a:pt x="1686262" y="448985"/>
                </a:moveTo>
                <a:cubicBezTo>
                  <a:pt x="1446857" y="448985"/>
                  <a:pt x="1252780" y="643062"/>
                  <a:pt x="1252780" y="882467"/>
                </a:cubicBezTo>
                <a:cubicBezTo>
                  <a:pt x="1252780" y="1121872"/>
                  <a:pt x="1446857" y="1315949"/>
                  <a:pt x="1686262" y="1315949"/>
                </a:cubicBezTo>
                <a:cubicBezTo>
                  <a:pt x="1925667" y="1315949"/>
                  <a:pt x="2119744" y="1121872"/>
                  <a:pt x="2119744" y="882467"/>
                </a:cubicBezTo>
                <a:cubicBezTo>
                  <a:pt x="2119744" y="643062"/>
                  <a:pt x="1925667" y="448985"/>
                  <a:pt x="1686262" y="448985"/>
                </a:cubicBezTo>
                <a:close/>
                <a:moveTo>
                  <a:pt x="1893261" y="271274"/>
                </a:moveTo>
                <a:cubicBezTo>
                  <a:pt x="2150128" y="355123"/>
                  <a:pt x="2334334" y="597283"/>
                  <a:pt x="2334334" y="882467"/>
                </a:cubicBezTo>
                <a:cubicBezTo>
                  <a:pt x="2334334" y="1103921"/>
                  <a:pt x="2223259" y="1299432"/>
                  <a:pt x="2053457" y="1415856"/>
                </a:cubicBezTo>
                <a:cubicBezTo>
                  <a:pt x="2494577" y="1286853"/>
                  <a:pt x="2931337" y="1005905"/>
                  <a:pt x="2940842" y="882353"/>
                </a:cubicBezTo>
                <a:lnTo>
                  <a:pt x="2946401" y="882364"/>
                </a:lnTo>
                <a:lnTo>
                  <a:pt x="2943679" y="877137"/>
                </a:lnTo>
                <a:lnTo>
                  <a:pt x="2946401" y="872130"/>
                </a:lnTo>
                <a:lnTo>
                  <a:pt x="2941077" y="872141"/>
                </a:lnTo>
                <a:cubicBezTo>
                  <a:pt x="2875996" y="732702"/>
                  <a:pt x="2369865" y="377972"/>
                  <a:pt x="1893261" y="271274"/>
                </a:cubicBezTo>
                <a:close/>
                <a:moveTo>
                  <a:pt x="1525754" y="256843"/>
                </a:moveTo>
                <a:cubicBezTo>
                  <a:pt x="984953" y="339274"/>
                  <a:pt x="426123" y="752145"/>
                  <a:pt x="426123" y="877021"/>
                </a:cubicBezTo>
                <a:lnTo>
                  <a:pt x="426123" y="877247"/>
                </a:lnTo>
                <a:cubicBezTo>
                  <a:pt x="439083" y="984175"/>
                  <a:pt x="877625" y="1311577"/>
                  <a:pt x="1355183" y="1436828"/>
                </a:cubicBezTo>
                <a:cubicBezTo>
                  <a:pt x="1164798" y="1325758"/>
                  <a:pt x="1038190" y="1118898"/>
                  <a:pt x="1038190" y="882467"/>
                </a:cubicBezTo>
                <a:cubicBezTo>
                  <a:pt x="1038190" y="580157"/>
                  <a:pt x="1245184" y="326193"/>
                  <a:pt x="1525754" y="256843"/>
                </a:cubicBezTo>
                <a:close/>
                <a:moveTo>
                  <a:pt x="1682713" y="0"/>
                </a:moveTo>
                <a:cubicBezTo>
                  <a:pt x="2385858" y="36225"/>
                  <a:pt x="3265322" y="653066"/>
                  <a:pt x="3365400" y="875412"/>
                </a:cubicBezTo>
                <a:lnTo>
                  <a:pt x="3372524" y="875397"/>
                </a:lnTo>
                <a:lnTo>
                  <a:pt x="3368881" y="882344"/>
                </a:lnTo>
                <a:lnTo>
                  <a:pt x="3372524" y="889597"/>
                </a:lnTo>
                <a:lnTo>
                  <a:pt x="3365086" y="889581"/>
                </a:lnTo>
                <a:cubicBezTo>
                  <a:pt x="3348713" y="1110249"/>
                  <a:pt x="2385134" y="1692746"/>
                  <a:pt x="1682713" y="1727404"/>
                </a:cubicBezTo>
                <a:cubicBezTo>
                  <a:pt x="901706" y="1708470"/>
                  <a:pt x="21301" y="1064732"/>
                  <a:pt x="0" y="882497"/>
                </a:cubicBezTo>
                <a:lnTo>
                  <a:pt x="0" y="882184"/>
                </a:lnTo>
                <a:cubicBezTo>
                  <a:pt x="0" y="691908"/>
                  <a:pt x="901706" y="19770"/>
                  <a:pt x="1682713"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17" name="Oval 8">
            <a:extLst>
              <a:ext uri="{FF2B5EF4-FFF2-40B4-BE49-F238E27FC236}">
                <a16:creationId xmlns:a16="http://schemas.microsoft.com/office/drawing/2014/main" id="{D5ED304E-FEDD-904A-9824-A1CB1D668BF5}"/>
              </a:ext>
            </a:extLst>
          </p:cNvPr>
          <p:cNvSpPr/>
          <p:nvPr/>
        </p:nvSpPr>
        <p:spPr>
          <a:xfrm>
            <a:off x="921513" y="3069000"/>
            <a:ext cx="360000" cy="360000"/>
          </a:xfrm>
          <a:custGeom>
            <a:avLst/>
            <a:gdLst/>
            <a:ahLst/>
            <a:cxnLst/>
            <a:rect l="l" t="t" r="r" b="b"/>
            <a:pathLst>
              <a:path w="3068057" h="3083879">
                <a:moveTo>
                  <a:pt x="1943022" y="0"/>
                </a:moveTo>
                <a:cubicBezTo>
                  <a:pt x="2091435" y="0"/>
                  <a:pt x="2214809" y="107202"/>
                  <a:pt x="2232575" y="249298"/>
                </a:cubicBezTo>
                <a:cubicBezTo>
                  <a:pt x="2066806" y="323095"/>
                  <a:pt x="1966497" y="475331"/>
                  <a:pt x="1992863" y="623272"/>
                </a:cubicBezTo>
                <a:lnTo>
                  <a:pt x="2032344" y="614884"/>
                </a:lnTo>
                <a:cubicBezTo>
                  <a:pt x="2007703" y="472429"/>
                  <a:pt x="2119863" y="324636"/>
                  <a:pt x="2294697" y="266187"/>
                </a:cubicBezTo>
                <a:cubicBezTo>
                  <a:pt x="2304190" y="260641"/>
                  <a:pt x="2314409" y="260119"/>
                  <a:pt x="2324748" y="260119"/>
                </a:cubicBezTo>
                <a:cubicBezTo>
                  <a:pt x="2491310" y="260119"/>
                  <a:pt x="2626336" y="395145"/>
                  <a:pt x="2626336" y="561708"/>
                </a:cubicBezTo>
                <a:lnTo>
                  <a:pt x="2609021" y="647481"/>
                </a:lnTo>
                <a:lnTo>
                  <a:pt x="2626336" y="647481"/>
                </a:lnTo>
                <a:lnTo>
                  <a:pt x="2626336" y="656343"/>
                </a:lnTo>
                <a:cubicBezTo>
                  <a:pt x="2762823" y="669742"/>
                  <a:pt x="2867295" y="786613"/>
                  <a:pt x="2867295" y="927882"/>
                </a:cubicBezTo>
                <a:lnTo>
                  <a:pt x="2850464" y="1011252"/>
                </a:lnTo>
                <a:cubicBezTo>
                  <a:pt x="2978255" y="1064152"/>
                  <a:pt x="3068057" y="1190111"/>
                  <a:pt x="3068057" y="1337042"/>
                </a:cubicBezTo>
                <a:cubicBezTo>
                  <a:pt x="3068057" y="1418703"/>
                  <a:pt x="3040320" y="1493884"/>
                  <a:pt x="2992210" y="1551889"/>
                </a:cubicBezTo>
                <a:cubicBezTo>
                  <a:pt x="2909241" y="1651289"/>
                  <a:pt x="2791782" y="1696238"/>
                  <a:pt x="2686704" y="1660749"/>
                </a:cubicBezTo>
                <a:lnTo>
                  <a:pt x="2673794" y="1698968"/>
                </a:lnTo>
                <a:cubicBezTo>
                  <a:pt x="2768232" y="1730865"/>
                  <a:pt x="2870956" y="1707121"/>
                  <a:pt x="2955415" y="1640323"/>
                </a:cubicBezTo>
                <a:cubicBezTo>
                  <a:pt x="2993943" y="1688574"/>
                  <a:pt x="3012247" y="1750635"/>
                  <a:pt x="3012247" y="1816968"/>
                </a:cubicBezTo>
                <a:cubicBezTo>
                  <a:pt x="3012247" y="1986406"/>
                  <a:pt x="2892829" y="2127952"/>
                  <a:pt x="2733451" y="2161496"/>
                </a:cubicBezTo>
                <a:cubicBezTo>
                  <a:pt x="2570803" y="2185843"/>
                  <a:pt x="2422847" y="2122052"/>
                  <a:pt x="2373218" y="2004561"/>
                </a:cubicBezTo>
                <a:cubicBezTo>
                  <a:pt x="2397575" y="1987765"/>
                  <a:pt x="2417022" y="1964396"/>
                  <a:pt x="2431421" y="1936987"/>
                </a:cubicBezTo>
                <a:cubicBezTo>
                  <a:pt x="2469123" y="1865220"/>
                  <a:pt x="2466430" y="1776674"/>
                  <a:pt x="2424327" y="1703750"/>
                </a:cubicBezTo>
                <a:lnTo>
                  <a:pt x="2390880" y="1723060"/>
                </a:lnTo>
                <a:cubicBezTo>
                  <a:pt x="2426033" y="1783948"/>
                  <a:pt x="2428758" y="1857660"/>
                  <a:pt x="2398065" y="1917447"/>
                </a:cubicBezTo>
                <a:cubicBezTo>
                  <a:pt x="2386618" y="1939743"/>
                  <a:pt x="2371177" y="1958844"/>
                  <a:pt x="2348681" y="1969064"/>
                </a:cubicBezTo>
                <a:lnTo>
                  <a:pt x="2314536" y="1978212"/>
                </a:lnTo>
                <a:lnTo>
                  <a:pt x="2320989" y="1994504"/>
                </a:lnTo>
                <a:cubicBezTo>
                  <a:pt x="2292439" y="2010252"/>
                  <a:pt x="2259301" y="2017439"/>
                  <a:pt x="2224883" y="2015050"/>
                </a:cubicBezTo>
                <a:cubicBezTo>
                  <a:pt x="2157880" y="2010397"/>
                  <a:pt x="2096183" y="1970105"/>
                  <a:pt x="2062112" y="1908746"/>
                </a:cubicBezTo>
                <a:lnTo>
                  <a:pt x="2028307" y="1927422"/>
                </a:lnTo>
                <a:cubicBezTo>
                  <a:pt x="2069101" y="2000945"/>
                  <a:pt x="2143517" y="2048870"/>
                  <a:pt x="2224395" y="2053708"/>
                </a:cubicBezTo>
                <a:cubicBezTo>
                  <a:pt x="2263912" y="2056070"/>
                  <a:pt x="2302036" y="2047984"/>
                  <a:pt x="2335071" y="2030056"/>
                </a:cubicBezTo>
                <a:cubicBezTo>
                  <a:pt x="2400196" y="2159379"/>
                  <a:pt x="2567325" y="2230480"/>
                  <a:pt x="2748680" y="2204554"/>
                </a:cubicBezTo>
                <a:cubicBezTo>
                  <a:pt x="2767068" y="2240602"/>
                  <a:pt x="2774723" y="2281713"/>
                  <a:pt x="2774723" y="2324613"/>
                </a:cubicBezTo>
                <a:cubicBezTo>
                  <a:pt x="2774723" y="2444667"/>
                  <a:pt x="2714770" y="2550720"/>
                  <a:pt x="2619461" y="2609132"/>
                </a:cubicBezTo>
                <a:cubicBezTo>
                  <a:pt x="2594093" y="2739763"/>
                  <a:pt x="2496512" y="2844553"/>
                  <a:pt x="2368919" y="2876858"/>
                </a:cubicBezTo>
                <a:cubicBezTo>
                  <a:pt x="2184369" y="2908073"/>
                  <a:pt x="2016372" y="2826285"/>
                  <a:pt x="1978290" y="2684161"/>
                </a:cubicBezTo>
                <a:lnTo>
                  <a:pt x="1939323" y="2694602"/>
                </a:lnTo>
                <a:cubicBezTo>
                  <a:pt x="1970494" y="2810931"/>
                  <a:pt x="2075973" y="2892306"/>
                  <a:pt x="2210223" y="2912307"/>
                </a:cubicBezTo>
                <a:cubicBezTo>
                  <a:pt x="2165434" y="3014618"/>
                  <a:pt x="2062317" y="3083879"/>
                  <a:pt x="1943022" y="3083879"/>
                </a:cubicBezTo>
                <a:cubicBezTo>
                  <a:pt x="1804718" y="3083879"/>
                  <a:pt x="1736151" y="2990782"/>
                  <a:pt x="1657612" y="2862428"/>
                </a:cubicBezTo>
                <a:cubicBezTo>
                  <a:pt x="1632100" y="2775963"/>
                  <a:pt x="1598588" y="2449530"/>
                  <a:pt x="1653064" y="2147091"/>
                </a:cubicBezTo>
                <a:cubicBezTo>
                  <a:pt x="1775302" y="2294672"/>
                  <a:pt x="1947360" y="2360889"/>
                  <a:pt x="2101389" y="2319520"/>
                </a:cubicBezTo>
                <a:lnTo>
                  <a:pt x="2085913" y="2268654"/>
                </a:lnTo>
                <a:cubicBezTo>
                  <a:pt x="1935632" y="2308197"/>
                  <a:pt x="1765039" y="2228547"/>
                  <a:pt x="1652548" y="2065927"/>
                </a:cubicBezTo>
                <a:cubicBezTo>
                  <a:pt x="1594744" y="1988631"/>
                  <a:pt x="1552933" y="1543383"/>
                  <a:pt x="1647107" y="1210118"/>
                </a:cubicBezTo>
                <a:cubicBezTo>
                  <a:pt x="1757451" y="1073526"/>
                  <a:pt x="1924310" y="1023711"/>
                  <a:pt x="2044795" y="1095494"/>
                </a:cubicBezTo>
                <a:lnTo>
                  <a:pt x="2046624" y="1092427"/>
                </a:lnTo>
                <a:cubicBezTo>
                  <a:pt x="2044963" y="1115904"/>
                  <a:pt x="2049817" y="1139574"/>
                  <a:pt x="2059741" y="1162003"/>
                </a:cubicBezTo>
                <a:cubicBezTo>
                  <a:pt x="2085174" y="1219476"/>
                  <a:pt x="2140055" y="1259997"/>
                  <a:pt x="2204060" y="1268556"/>
                </a:cubicBezTo>
                <a:lnTo>
                  <a:pt x="2208020" y="1238949"/>
                </a:lnTo>
                <a:cubicBezTo>
                  <a:pt x="2154665" y="1231814"/>
                  <a:pt x="2108853" y="1198319"/>
                  <a:pt x="2087448" y="1150798"/>
                </a:cubicBezTo>
                <a:cubicBezTo>
                  <a:pt x="2064784" y="1100476"/>
                  <a:pt x="2073123" y="1042569"/>
                  <a:pt x="2109077" y="1000639"/>
                </a:cubicBezTo>
                <a:cubicBezTo>
                  <a:pt x="2142987" y="961090"/>
                  <a:pt x="2196315" y="941798"/>
                  <a:pt x="2249471" y="949847"/>
                </a:cubicBezTo>
                <a:lnTo>
                  <a:pt x="2253988" y="920317"/>
                </a:lnTo>
                <a:cubicBezTo>
                  <a:pt x="2190211" y="910645"/>
                  <a:pt x="2126205" y="934132"/>
                  <a:pt x="2085632" y="982099"/>
                </a:cubicBezTo>
                <a:lnTo>
                  <a:pt x="2052614" y="1055246"/>
                </a:lnTo>
                <a:cubicBezTo>
                  <a:pt x="1928226" y="988072"/>
                  <a:pt x="1765306" y="1028878"/>
                  <a:pt x="1646726" y="1149851"/>
                </a:cubicBezTo>
                <a:cubicBezTo>
                  <a:pt x="1576863" y="1018908"/>
                  <a:pt x="1584053" y="461235"/>
                  <a:pt x="1633436" y="269593"/>
                </a:cubicBezTo>
                <a:cubicBezTo>
                  <a:pt x="1697428" y="119029"/>
                  <a:pt x="1776459" y="0"/>
                  <a:pt x="1943022" y="0"/>
                </a:cubicBezTo>
                <a:close/>
                <a:moveTo>
                  <a:pt x="1125035" y="0"/>
                </a:moveTo>
                <a:cubicBezTo>
                  <a:pt x="1263339" y="0"/>
                  <a:pt x="1331906" y="93097"/>
                  <a:pt x="1410445" y="221451"/>
                </a:cubicBezTo>
                <a:cubicBezTo>
                  <a:pt x="1435957" y="307916"/>
                  <a:pt x="1469469" y="634350"/>
                  <a:pt x="1414993" y="936788"/>
                </a:cubicBezTo>
                <a:cubicBezTo>
                  <a:pt x="1292755" y="789207"/>
                  <a:pt x="1120697" y="722990"/>
                  <a:pt x="966668" y="764359"/>
                </a:cubicBezTo>
                <a:lnTo>
                  <a:pt x="982144" y="815225"/>
                </a:lnTo>
                <a:cubicBezTo>
                  <a:pt x="1132425" y="775682"/>
                  <a:pt x="1303018" y="855332"/>
                  <a:pt x="1415509" y="1017952"/>
                </a:cubicBezTo>
                <a:cubicBezTo>
                  <a:pt x="1473313" y="1095249"/>
                  <a:pt x="1515123" y="1540497"/>
                  <a:pt x="1420950" y="1873762"/>
                </a:cubicBezTo>
                <a:cubicBezTo>
                  <a:pt x="1310606" y="2010353"/>
                  <a:pt x="1143747" y="2060168"/>
                  <a:pt x="1023262" y="1988385"/>
                </a:cubicBezTo>
                <a:lnTo>
                  <a:pt x="1021433" y="1991453"/>
                </a:lnTo>
                <a:cubicBezTo>
                  <a:pt x="1023094" y="1967976"/>
                  <a:pt x="1018240" y="1944306"/>
                  <a:pt x="1008316" y="1921877"/>
                </a:cubicBezTo>
                <a:cubicBezTo>
                  <a:pt x="982883" y="1864403"/>
                  <a:pt x="928002" y="1823883"/>
                  <a:pt x="863997" y="1815323"/>
                </a:cubicBezTo>
                <a:lnTo>
                  <a:pt x="860037" y="1844930"/>
                </a:lnTo>
                <a:cubicBezTo>
                  <a:pt x="913392" y="1852066"/>
                  <a:pt x="959204" y="1885560"/>
                  <a:pt x="980609" y="1933082"/>
                </a:cubicBezTo>
                <a:cubicBezTo>
                  <a:pt x="1003273" y="1983404"/>
                  <a:pt x="994934" y="2041310"/>
                  <a:pt x="958980" y="2083241"/>
                </a:cubicBezTo>
                <a:cubicBezTo>
                  <a:pt x="925070" y="2122789"/>
                  <a:pt x="871742" y="2142082"/>
                  <a:pt x="818586" y="2134033"/>
                </a:cubicBezTo>
                <a:lnTo>
                  <a:pt x="814069" y="2163562"/>
                </a:lnTo>
                <a:cubicBezTo>
                  <a:pt x="877846" y="2173235"/>
                  <a:pt x="941852" y="2149747"/>
                  <a:pt x="982425" y="2101780"/>
                </a:cubicBezTo>
                <a:lnTo>
                  <a:pt x="1015443" y="2028633"/>
                </a:lnTo>
                <a:cubicBezTo>
                  <a:pt x="1139831" y="2095808"/>
                  <a:pt x="1302751" y="2055001"/>
                  <a:pt x="1421331" y="1934029"/>
                </a:cubicBezTo>
                <a:cubicBezTo>
                  <a:pt x="1491194" y="2064971"/>
                  <a:pt x="1484003" y="2622644"/>
                  <a:pt x="1434621" y="2814287"/>
                </a:cubicBezTo>
                <a:cubicBezTo>
                  <a:pt x="1370629" y="2964850"/>
                  <a:pt x="1291598" y="3083879"/>
                  <a:pt x="1125035" y="3083879"/>
                </a:cubicBezTo>
                <a:cubicBezTo>
                  <a:pt x="976622" y="3083879"/>
                  <a:pt x="853248" y="2976677"/>
                  <a:pt x="835482" y="2834581"/>
                </a:cubicBezTo>
                <a:cubicBezTo>
                  <a:pt x="1001251" y="2760784"/>
                  <a:pt x="1101560" y="2608549"/>
                  <a:pt x="1075194" y="2460607"/>
                </a:cubicBezTo>
                <a:lnTo>
                  <a:pt x="1035713" y="2468996"/>
                </a:lnTo>
                <a:cubicBezTo>
                  <a:pt x="1060354" y="2611450"/>
                  <a:pt x="948194" y="2759243"/>
                  <a:pt x="773360" y="2817692"/>
                </a:cubicBezTo>
                <a:cubicBezTo>
                  <a:pt x="763867" y="2823239"/>
                  <a:pt x="753648" y="2823760"/>
                  <a:pt x="743309" y="2823760"/>
                </a:cubicBezTo>
                <a:cubicBezTo>
                  <a:pt x="576747" y="2823760"/>
                  <a:pt x="441721" y="2688734"/>
                  <a:pt x="441721" y="2522172"/>
                </a:cubicBezTo>
                <a:lnTo>
                  <a:pt x="459036" y="2436399"/>
                </a:lnTo>
                <a:lnTo>
                  <a:pt x="441721" y="2436399"/>
                </a:lnTo>
                <a:lnTo>
                  <a:pt x="441721" y="2427537"/>
                </a:lnTo>
                <a:cubicBezTo>
                  <a:pt x="305234" y="2414137"/>
                  <a:pt x="200762" y="2297266"/>
                  <a:pt x="200762" y="2155997"/>
                </a:cubicBezTo>
                <a:lnTo>
                  <a:pt x="217593" y="2072628"/>
                </a:lnTo>
                <a:cubicBezTo>
                  <a:pt x="89802" y="2019727"/>
                  <a:pt x="0" y="1893768"/>
                  <a:pt x="0" y="1746838"/>
                </a:cubicBezTo>
                <a:cubicBezTo>
                  <a:pt x="0" y="1665177"/>
                  <a:pt x="27737" y="1589996"/>
                  <a:pt x="75847" y="1531990"/>
                </a:cubicBezTo>
                <a:cubicBezTo>
                  <a:pt x="158816" y="1432590"/>
                  <a:pt x="276275" y="1387641"/>
                  <a:pt x="381353" y="1423131"/>
                </a:cubicBezTo>
                <a:lnTo>
                  <a:pt x="394263" y="1384911"/>
                </a:lnTo>
                <a:cubicBezTo>
                  <a:pt x="299825" y="1353014"/>
                  <a:pt x="197101" y="1376758"/>
                  <a:pt x="112642" y="1443556"/>
                </a:cubicBezTo>
                <a:cubicBezTo>
                  <a:pt x="74114" y="1395305"/>
                  <a:pt x="55810" y="1333244"/>
                  <a:pt x="55810" y="1266911"/>
                </a:cubicBezTo>
                <a:cubicBezTo>
                  <a:pt x="55810" y="1097473"/>
                  <a:pt x="175228" y="955927"/>
                  <a:pt x="334606" y="922383"/>
                </a:cubicBezTo>
                <a:cubicBezTo>
                  <a:pt x="497254" y="898036"/>
                  <a:pt x="645210" y="961827"/>
                  <a:pt x="694839" y="1079319"/>
                </a:cubicBezTo>
                <a:cubicBezTo>
                  <a:pt x="670482" y="1096114"/>
                  <a:pt x="651035" y="1119484"/>
                  <a:pt x="636636" y="1146893"/>
                </a:cubicBezTo>
                <a:cubicBezTo>
                  <a:pt x="598934" y="1218660"/>
                  <a:pt x="601627" y="1307205"/>
                  <a:pt x="643730" y="1380130"/>
                </a:cubicBezTo>
                <a:lnTo>
                  <a:pt x="677177" y="1360819"/>
                </a:lnTo>
                <a:cubicBezTo>
                  <a:pt x="642024" y="1299932"/>
                  <a:pt x="639299" y="1226219"/>
                  <a:pt x="669992" y="1166433"/>
                </a:cubicBezTo>
                <a:cubicBezTo>
                  <a:pt x="681439" y="1144136"/>
                  <a:pt x="696880" y="1125036"/>
                  <a:pt x="719376" y="1114815"/>
                </a:cubicBezTo>
                <a:lnTo>
                  <a:pt x="753521" y="1105667"/>
                </a:lnTo>
                <a:lnTo>
                  <a:pt x="747068" y="1089375"/>
                </a:lnTo>
                <a:cubicBezTo>
                  <a:pt x="775618" y="1073627"/>
                  <a:pt x="808756" y="1066440"/>
                  <a:pt x="843174" y="1068829"/>
                </a:cubicBezTo>
                <a:cubicBezTo>
                  <a:pt x="910177" y="1073482"/>
                  <a:pt x="971874" y="1113774"/>
                  <a:pt x="1005945" y="1175134"/>
                </a:cubicBezTo>
                <a:lnTo>
                  <a:pt x="1039750" y="1156458"/>
                </a:lnTo>
                <a:cubicBezTo>
                  <a:pt x="998956" y="1082934"/>
                  <a:pt x="924540" y="1035010"/>
                  <a:pt x="843662" y="1030172"/>
                </a:cubicBezTo>
                <a:cubicBezTo>
                  <a:pt x="804145" y="1027809"/>
                  <a:pt x="766021" y="1035895"/>
                  <a:pt x="732986" y="1053824"/>
                </a:cubicBezTo>
                <a:cubicBezTo>
                  <a:pt x="667861" y="924500"/>
                  <a:pt x="500732" y="853399"/>
                  <a:pt x="319377" y="879325"/>
                </a:cubicBezTo>
                <a:cubicBezTo>
                  <a:pt x="300989" y="843277"/>
                  <a:pt x="293334" y="802167"/>
                  <a:pt x="293334" y="759266"/>
                </a:cubicBezTo>
                <a:cubicBezTo>
                  <a:pt x="293334" y="639212"/>
                  <a:pt x="353287" y="533159"/>
                  <a:pt x="448596" y="474747"/>
                </a:cubicBezTo>
                <a:cubicBezTo>
                  <a:pt x="473964" y="344116"/>
                  <a:pt x="571545" y="239326"/>
                  <a:pt x="699138" y="207021"/>
                </a:cubicBezTo>
                <a:cubicBezTo>
                  <a:pt x="883688" y="175806"/>
                  <a:pt x="1051685" y="257594"/>
                  <a:pt x="1089767" y="399718"/>
                </a:cubicBezTo>
                <a:lnTo>
                  <a:pt x="1128734" y="389277"/>
                </a:lnTo>
                <a:cubicBezTo>
                  <a:pt x="1097563" y="272948"/>
                  <a:pt x="992084" y="191573"/>
                  <a:pt x="857834" y="171572"/>
                </a:cubicBezTo>
                <a:cubicBezTo>
                  <a:pt x="902623" y="69261"/>
                  <a:pt x="1005740" y="0"/>
                  <a:pt x="1125035"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18" name="Group 110">
            <a:extLst>
              <a:ext uri="{FF2B5EF4-FFF2-40B4-BE49-F238E27FC236}">
                <a16:creationId xmlns:a16="http://schemas.microsoft.com/office/drawing/2014/main" id="{CF3DA579-C25A-1247-9ABF-97D10896BC39}"/>
              </a:ext>
            </a:extLst>
          </p:cNvPr>
          <p:cNvGrpSpPr/>
          <p:nvPr/>
        </p:nvGrpSpPr>
        <p:grpSpPr>
          <a:xfrm>
            <a:off x="2135894" y="2237721"/>
            <a:ext cx="360000" cy="360000"/>
            <a:chOff x="4835382" y="73243"/>
            <a:chExt cx="2920830" cy="3227535"/>
          </a:xfrm>
          <a:solidFill>
            <a:srgbClr val="8D8EA8"/>
          </a:solidFill>
        </p:grpSpPr>
        <p:sp>
          <p:nvSpPr>
            <p:cNvPr id="19" name="Freeform 111">
              <a:extLst>
                <a:ext uri="{FF2B5EF4-FFF2-40B4-BE49-F238E27FC236}">
                  <a16:creationId xmlns:a16="http://schemas.microsoft.com/office/drawing/2014/main" id="{488ACA6F-46CC-C64F-BA53-368814BCEC5A}"/>
                </a:ext>
              </a:extLst>
            </p:cNvPr>
            <p:cNvSpPr/>
            <p:nvPr/>
          </p:nvSpPr>
          <p:spPr>
            <a:xfrm>
              <a:off x="4835382" y="73243"/>
              <a:ext cx="2920830" cy="3227535"/>
            </a:xfrm>
            <a:custGeom>
              <a:avLst/>
              <a:gdLst>
                <a:gd name="connsiteX0" fmla="*/ 3030279 w 4784651"/>
                <a:gd name="connsiteY0" fmla="*/ 0 h 5890437"/>
                <a:gd name="connsiteX1" fmla="*/ 765544 w 4784651"/>
                <a:gd name="connsiteY1" fmla="*/ 1935126 h 5890437"/>
                <a:gd name="connsiteX2" fmla="*/ 0 w 4784651"/>
                <a:gd name="connsiteY2" fmla="*/ 3051544 h 5890437"/>
                <a:gd name="connsiteX3" fmla="*/ 510363 w 4784651"/>
                <a:gd name="connsiteY3" fmla="*/ 3327991 h 5890437"/>
                <a:gd name="connsiteX4" fmla="*/ 297711 w 4784651"/>
                <a:gd name="connsiteY4" fmla="*/ 3657600 h 5890437"/>
                <a:gd name="connsiteX5" fmla="*/ 489097 w 4784651"/>
                <a:gd name="connsiteY5" fmla="*/ 3870251 h 5890437"/>
                <a:gd name="connsiteX6" fmla="*/ 372139 w 4784651"/>
                <a:gd name="connsiteY6" fmla="*/ 4061637 h 5890437"/>
                <a:gd name="connsiteX7" fmla="*/ 563525 w 4784651"/>
                <a:gd name="connsiteY7" fmla="*/ 4316819 h 5890437"/>
                <a:gd name="connsiteX8" fmla="*/ 499730 w 4784651"/>
                <a:gd name="connsiteY8" fmla="*/ 4976037 h 5890437"/>
                <a:gd name="connsiteX9" fmla="*/ 1754372 w 4784651"/>
                <a:gd name="connsiteY9" fmla="*/ 5199321 h 5890437"/>
                <a:gd name="connsiteX10" fmla="*/ 1945758 w 4784651"/>
                <a:gd name="connsiteY10" fmla="*/ 5890437 h 5890437"/>
                <a:gd name="connsiteX11" fmla="*/ 4784651 w 4784651"/>
                <a:gd name="connsiteY11" fmla="*/ 5858540 h 5890437"/>
                <a:gd name="connsiteX12" fmla="*/ 4561367 w 4784651"/>
                <a:gd name="connsiteY12" fmla="*/ 4189228 h 5890437"/>
                <a:gd name="connsiteX13" fmla="*/ 3030279 w 4784651"/>
                <a:gd name="connsiteY13" fmla="*/ 0 h 5890437"/>
                <a:gd name="connsiteX0" fmla="*/ 3030279 w 4784651"/>
                <a:gd name="connsiteY0" fmla="*/ 114 h 5890551"/>
                <a:gd name="connsiteX1" fmla="*/ 765544 w 4784651"/>
                <a:gd name="connsiteY1" fmla="*/ 1935240 h 5890551"/>
                <a:gd name="connsiteX2" fmla="*/ 0 w 4784651"/>
                <a:gd name="connsiteY2" fmla="*/ 3051658 h 5890551"/>
                <a:gd name="connsiteX3" fmla="*/ 510363 w 4784651"/>
                <a:gd name="connsiteY3" fmla="*/ 3328105 h 5890551"/>
                <a:gd name="connsiteX4" fmla="*/ 297711 w 4784651"/>
                <a:gd name="connsiteY4" fmla="*/ 3657714 h 5890551"/>
                <a:gd name="connsiteX5" fmla="*/ 489097 w 4784651"/>
                <a:gd name="connsiteY5" fmla="*/ 3870365 h 5890551"/>
                <a:gd name="connsiteX6" fmla="*/ 372139 w 4784651"/>
                <a:gd name="connsiteY6" fmla="*/ 4061751 h 5890551"/>
                <a:gd name="connsiteX7" fmla="*/ 563525 w 4784651"/>
                <a:gd name="connsiteY7" fmla="*/ 4316933 h 5890551"/>
                <a:gd name="connsiteX8" fmla="*/ 499730 w 4784651"/>
                <a:gd name="connsiteY8" fmla="*/ 4976151 h 5890551"/>
                <a:gd name="connsiteX9" fmla="*/ 1754372 w 4784651"/>
                <a:gd name="connsiteY9" fmla="*/ 5199435 h 5890551"/>
                <a:gd name="connsiteX10" fmla="*/ 1945758 w 4784651"/>
                <a:gd name="connsiteY10" fmla="*/ 5890551 h 5890551"/>
                <a:gd name="connsiteX11" fmla="*/ 4784651 w 4784651"/>
                <a:gd name="connsiteY11" fmla="*/ 5858654 h 5890551"/>
                <a:gd name="connsiteX12" fmla="*/ 4561367 w 4784651"/>
                <a:gd name="connsiteY12" fmla="*/ 4189342 h 5890551"/>
                <a:gd name="connsiteX13" fmla="*/ 3030279 w 4784651"/>
                <a:gd name="connsiteY13" fmla="*/ 114 h 5890551"/>
                <a:gd name="connsiteX0" fmla="*/ 3030279 w 4784651"/>
                <a:gd name="connsiteY0" fmla="*/ 398 h 5890835"/>
                <a:gd name="connsiteX1" fmla="*/ 765544 w 4784651"/>
                <a:gd name="connsiteY1" fmla="*/ 1935524 h 5890835"/>
                <a:gd name="connsiteX2" fmla="*/ 0 w 4784651"/>
                <a:gd name="connsiteY2" fmla="*/ 3051942 h 5890835"/>
                <a:gd name="connsiteX3" fmla="*/ 510363 w 4784651"/>
                <a:gd name="connsiteY3" fmla="*/ 3328389 h 5890835"/>
                <a:gd name="connsiteX4" fmla="*/ 297711 w 4784651"/>
                <a:gd name="connsiteY4" fmla="*/ 3657998 h 5890835"/>
                <a:gd name="connsiteX5" fmla="*/ 489097 w 4784651"/>
                <a:gd name="connsiteY5" fmla="*/ 3870649 h 5890835"/>
                <a:gd name="connsiteX6" fmla="*/ 372139 w 4784651"/>
                <a:gd name="connsiteY6" fmla="*/ 4062035 h 5890835"/>
                <a:gd name="connsiteX7" fmla="*/ 563525 w 4784651"/>
                <a:gd name="connsiteY7" fmla="*/ 4317217 h 5890835"/>
                <a:gd name="connsiteX8" fmla="*/ 499730 w 4784651"/>
                <a:gd name="connsiteY8" fmla="*/ 4976435 h 5890835"/>
                <a:gd name="connsiteX9" fmla="*/ 1754372 w 4784651"/>
                <a:gd name="connsiteY9" fmla="*/ 5199719 h 5890835"/>
                <a:gd name="connsiteX10" fmla="*/ 1945758 w 4784651"/>
                <a:gd name="connsiteY10" fmla="*/ 5890835 h 5890835"/>
                <a:gd name="connsiteX11" fmla="*/ 4784651 w 4784651"/>
                <a:gd name="connsiteY11" fmla="*/ 5858938 h 5890835"/>
                <a:gd name="connsiteX12" fmla="*/ 4561367 w 4784651"/>
                <a:gd name="connsiteY12" fmla="*/ 4189626 h 5890835"/>
                <a:gd name="connsiteX13" fmla="*/ 3030279 w 4784651"/>
                <a:gd name="connsiteY13" fmla="*/ 398 h 5890835"/>
                <a:gd name="connsiteX0" fmla="*/ 3030279 w 5042277"/>
                <a:gd name="connsiteY0" fmla="*/ 663 h 5891100"/>
                <a:gd name="connsiteX1" fmla="*/ 765544 w 5042277"/>
                <a:gd name="connsiteY1" fmla="*/ 1935789 h 5891100"/>
                <a:gd name="connsiteX2" fmla="*/ 0 w 5042277"/>
                <a:gd name="connsiteY2" fmla="*/ 3052207 h 5891100"/>
                <a:gd name="connsiteX3" fmla="*/ 510363 w 5042277"/>
                <a:gd name="connsiteY3" fmla="*/ 3328654 h 5891100"/>
                <a:gd name="connsiteX4" fmla="*/ 297711 w 5042277"/>
                <a:gd name="connsiteY4" fmla="*/ 3658263 h 5891100"/>
                <a:gd name="connsiteX5" fmla="*/ 489097 w 5042277"/>
                <a:gd name="connsiteY5" fmla="*/ 3870914 h 5891100"/>
                <a:gd name="connsiteX6" fmla="*/ 372139 w 5042277"/>
                <a:gd name="connsiteY6" fmla="*/ 4062300 h 5891100"/>
                <a:gd name="connsiteX7" fmla="*/ 563525 w 5042277"/>
                <a:gd name="connsiteY7" fmla="*/ 4317482 h 5891100"/>
                <a:gd name="connsiteX8" fmla="*/ 499730 w 5042277"/>
                <a:gd name="connsiteY8" fmla="*/ 4976700 h 5891100"/>
                <a:gd name="connsiteX9" fmla="*/ 1754372 w 5042277"/>
                <a:gd name="connsiteY9" fmla="*/ 5199984 h 5891100"/>
                <a:gd name="connsiteX10" fmla="*/ 1945758 w 5042277"/>
                <a:gd name="connsiteY10" fmla="*/ 5891100 h 5891100"/>
                <a:gd name="connsiteX11" fmla="*/ 4784651 w 5042277"/>
                <a:gd name="connsiteY11" fmla="*/ 5859203 h 5891100"/>
                <a:gd name="connsiteX12" fmla="*/ 4561367 w 5042277"/>
                <a:gd name="connsiteY12" fmla="*/ 4189891 h 5891100"/>
                <a:gd name="connsiteX13" fmla="*/ 3030279 w 5042277"/>
                <a:gd name="connsiteY13" fmla="*/ 663 h 5891100"/>
                <a:gd name="connsiteX0" fmla="*/ 3030279 w 5316637"/>
                <a:gd name="connsiteY0" fmla="*/ 1079 h 5891516"/>
                <a:gd name="connsiteX1" fmla="*/ 765544 w 5316637"/>
                <a:gd name="connsiteY1" fmla="*/ 1936205 h 5891516"/>
                <a:gd name="connsiteX2" fmla="*/ 0 w 5316637"/>
                <a:gd name="connsiteY2" fmla="*/ 3052623 h 5891516"/>
                <a:gd name="connsiteX3" fmla="*/ 510363 w 5316637"/>
                <a:gd name="connsiteY3" fmla="*/ 3329070 h 5891516"/>
                <a:gd name="connsiteX4" fmla="*/ 297711 w 5316637"/>
                <a:gd name="connsiteY4" fmla="*/ 3658679 h 5891516"/>
                <a:gd name="connsiteX5" fmla="*/ 489097 w 5316637"/>
                <a:gd name="connsiteY5" fmla="*/ 3871330 h 5891516"/>
                <a:gd name="connsiteX6" fmla="*/ 372139 w 5316637"/>
                <a:gd name="connsiteY6" fmla="*/ 4062716 h 5891516"/>
                <a:gd name="connsiteX7" fmla="*/ 563525 w 5316637"/>
                <a:gd name="connsiteY7" fmla="*/ 4317898 h 5891516"/>
                <a:gd name="connsiteX8" fmla="*/ 499730 w 5316637"/>
                <a:gd name="connsiteY8" fmla="*/ 4977116 h 5891516"/>
                <a:gd name="connsiteX9" fmla="*/ 1754372 w 5316637"/>
                <a:gd name="connsiteY9" fmla="*/ 5200400 h 5891516"/>
                <a:gd name="connsiteX10" fmla="*/ 1945758 w 5316637"/>
                <a:gd name="connsiteY10" fmla="*/ 5891516 h 5891516"/>
                <a:gd name="connsiteX11" fmla="*/ 4784651 w 5316637"/>
                <a:gd name="connsiteY11" fmla="*/ 5859619 h 5891516"/>
                <a:gd name="connsiteX12" fmla="*/ 4890977 w 5316637"/>
                <a:gd name="connsiteY12" fmla="*/ 3520456 h 5891516"/>
                <a:gd name="connsiteX13" fmla="*/ 3030279 w 5316637"/>
                <a:gd name="connsiteY13" fmla="*/ 1079 h 5891516"/>
                <a:gd name="connsiteX0" fmla="*/ 3030279 w 5338934"/>
                <a:gd name="connsiteY0" fmla="*/ 561 h 5890998"/>
                <a:gd name="connsiteX1" fmla="*/ 765544 w 5338934"/>
                <a:gd name="connsiteY1" fmla="*/ 1935687 h 5890998"/>
                <a:gd name="connsiteX2" fmla="*/ 0 w 5338934"/>
                <a:gd name="connsiteY2" fmla="*/ 3052105 h 5890998"/>
                <a:gd name="connsiteX3" fmla="*/ 510363 w 5338934"/>
                <a:gd name="connsiteY3" fmla="*/ 3328552 h 5890998"/>
                <a:gd name="connsiteX4" fmla="*/ 297711 w 5338934"/>
                <a:gd name="connsiteY4" fmla="*/ 3658161 h 5890998"/>
                <a:gd name="connsiteX5" fmla="*/ 489097 w 5338934"/>
                <a:gd name="connsiteY5" fmla="*/ 3870812 h 5890998"/>
                <a:gd name="connsiteX6" fmla="*/ 372139 w 5338934"/>
                <a:gd name="connsiteY6" fmla="*/ 4062198 h 5890998"/>
                <a:gd name="connsiteX7" fmla="*/ 563525 w 5338934"/>
                <a:gd name="connsiteY7" fmla="*/ 4317380 h 5890998"/>
                <a:gd name="connsiteX8" fmla="*/ 499730 w 5338934"/>
                <a:gd name="connsiteY8" fmla="*/ 4976598 h 5890998"/>
                <a:gd name="connsiteX9" fmla="*/ 1754372 w 5338934"/>
                <a:gd name="connsiteY9" fmla="*/ 5199882 h 5890998"/>
                <a:gd name="connsiteX10" fmla="*/ 1945758 w 5338934"/>
                <a:gd name="connsiteY10" fmla="*/ 5890998 h 5890998"/>
                <a:gd name="connsiteX11" fmla="*/ 4784651 w 5338934"/>
                <a:gd name="connsiteY11" fmla="*/ 5859101 h 5890998"/>
                <a:gd name="connsiteX12" fmla="*/ 4890977 w 5338934"/>
                <a:gd name="connsiteY12" fmla="*/ 3519938 h 5890998"/>
                <a:gd name="connsiteX13" fmla="*/ 3030279 w 5338934"/>
                <a:gd name="connsiteY13" fmla="*/ 561 h 5890998"/>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15 h 5890552"/>
                <a:gd name="connsiteX1" fmla="*/ 765544 w 5381346"/>
                <a:gd name="connsiteY1" fmla="*/ 1935241 h 5890552"/>
                <a:gd name="connsiteX2" fmla="*/ 0 w 5381346"/>
                <a:gd name="connsiteY2" fmla="*/ 3051659 h 5890552"/>
                <a:gd name="connsiteX3" fmla="*/ 510363 w 5381346"/>
                <a:gd name="connsiteY3" fmla="*/ 3328106 h 5890552"/>
                <a:gd name="connsiteX4" fmla="*/ 297711 w 5381346"/>
                <a:gd name="connsiteY4" fmla="*/ 3657715 h 5890552"/>
                <a:gd name="connsiteX5" fmla="*/ 489097 w 5381346"/>
                <a:gd name="connsiteY5" fmla="*/ 3870366 h 5890552"/>
                <a:gd name="connsiteX6" fmla="*/ 372139 w 5381346"/>
                <a:gd name="connsiteY6" fmla="*/ 4061752 h 5890552"/>
                <a:gd name="connsiteX7" fmla="*/ 563525 w 5381346"/>
                <a:gd name="connsiteY7" fmla="*/ 4316934 h 5890552"/>
                <a:gd name="connsiteX8" fmla="*/ 499730 w 5381346"/>
                <a:gd name="connsiteY8" fmla="*/ 4976152 h 5890552"/>
                <a:gd name="connsiteX9" fmla="*/ 1754372 w 5381346"/>
                <a:gd name="connsiteY9" fmla="*/ 5199436 h 5890552"/>
                <a:gd name="connsiteX10" fmla="*/ 1945758 w 5381346"/>
                <a:gd name="connsiteY10" fmla="*/ 5890552 h 5890552"/>
                <a:gd name="connsiteX11" fmla="*/ 4784651 w 5381346"/>
                <a:gd name="connsiteY11" fmla="*/ 5858655 h 5890552"/>
                <a:gd name="connsiteX12" fmla="*/ 4890977 w 5381346"/>
                <a:gd name="connsiteY12" fmla="*/ 3519492 h 5890552"/>
                <a:gd name="connsiteX13" fmla="*/ 3030279 w 5381346"/>
                <a:gd name="connsiteY13" fmla="*/ 115 h 5890552"/>
                <a:gd name="connsiteX0" fmla="*/ 3030279 w 5381346"/>
                <a:gd name="connsiteY0" fmla="*/ 175 h 5890612"/>
                <a:gd name="connsiteX1" fmla="*/ 765544 w 5381346"/>
                <a:gd name="connsiteY1" fmla="*/ 1935301 h 5890612"/>
                <a:gd name="connsiteX2" fmla="*/ 0 w 5381346"/>
                <a:gd name="connsiteY2" fmla="*/ 3051719 h 5890612"/>
                <a:gd name="connsiteX3" fmla="*/ 510363 w 5381346"/>
                <a:gd name="connsiteY3" fmla="*/ 3328166 h 5890612"/>
                <a:gd name="connsiteX4" fmla="*/ 297711 w 5381346"/>
                <a:gd name="connsiteY4" fmla="*/ 3657775 h 5890612"/>
                <a:gd name="connsiteX5" fmla="*/ 489097 w 5381346"/>
                <a:gd name="connsiteY5" fmla="*/ 3870426 h 5890612"/>
                <a:gd name="connsiteX6" fmla="*/ 372139 w 5381346"/>
                <a:gd name="connsiteY6" fmla="*/ 4061812 h 5890612"/>
                <a:gd name="connsiteX7" fmla="*/ 563525 w 5381346"/>
                <a:gd name="connsiteY7" fmla="*/ 4316994 h 5890612"/>
                <a:gd name="connsiteX8" fmla="*/ 499730 w 5381346"/>
                <a:gd name="connsiteY8" fmla="*/ 4976212 h 5890612"/>
                <a:gd name="connsiteX9" fmla="*/ 1754372 w 5381346"/>
                <a:gd name="connsiteY9" fmla="*/ 5199496 h 5890612"/>
                <a:gd name="connsiteX10" fmla="*/ 1945758 w 5381346"/>
                <a:gd name="connsiteY10" fmla="*/ 5890612 h 5890612"/>
                <a:gd name="connsiteX11" fmla="*/ 4784651 w 5381346"/>
                <a:gd name="connsiteY11" fmla="*/ 5858715 h 5890612"/>
                <a:gd name="connsiteX12" fmla="*/ 4890977 w 5381346"/>
                <a:gd name="connsiteY12" fmla="*/ 3519552 h 5890612"/>
                <a:gd name="connsiteX13" fmla="*/ 3030279 w 5381346"/>
                <a:gd name="connsiteY13" fmla="*/ 175 h 5890612"/>
                <a:gd name="connsiteX0" fmla="*/ 3030279 w 5381346"/>
                <a:gd name="connsiteY0" fmla="*/ 1733 h 5892170"/>
                <a:gd name="connsiteX1" fmla="*/ 0 w 5381346"/>
                <a:gd name="connsiteY1" fmla="*/ 3053277 h 5892170"/>
                <a:gd name="connsiteX2" fmla="*/ 510363 w 5381346"/>
                <a:gd name="connsiteY2" fmla="*/ 3329724 h 5892170"/>
                <a:gd name="connsiteX3" fmla="*/ 297711 w 5381346"/>
                <a:gd name="connsiteY3" fmla="*/ 3659333 h 5892170"/>
                <a:gd name="connsiteX4" fmla="*/ 489097 w 5381346"/>
                <a:gd name="connsiteY4" fmla="*/ 3871984 h 5892170"/>
                <a:gd name="connsiteX5" fmla="*/ 372139 w 5381346"/>
                <a:gd name="connsiteY5" fmla="*/ 4063370 h 5892170"/>
                <a:gd name="connsiteX6" fmla="*/ 563525 w 5381346"/>
                <a:gd name="connsiteY6" fmla="*/ 4318552 h 5892170"/>
                <a:gd name="connsiteX7" fmla="*/ 499730 w 5381346"/>
                <a:gd name="connsiteY7" fmla="*/ 4977770 h 5892170"/>
                <a:gd name="connsiteX8" fmla="*/ 1754372 w 5381346"/>
                <a:gd name="connsiteY8" fmla="*/ 5201054 h 5892170"/>
                <a:gd name="connsiteX9" fmla="*/ 1945758 w 5381346"/>
                <a:gd name="connsiteY9" fmla="*/ 5892170 h 5892170"/>
                <a:gd name="connsiteX10" fmla="*/ 4784651 w 5381346"/>
                <a:gd name="connsiteY10" fmla="*/ 5860273 h 5892170"/>
                <a:gd name="connsiteX11" fmla="*/ 4890977 w 5381346"/>
                <a:gd name="connsiteY11" fmla="*/ 3521110 h 5892170"/>
                <a:gd name="connsiteX12" fmla="*/ 3030279 w 5381346"/>
                <a:gd name="connsiteY12" fmla="*/ 1733 h 5892170"/>
                <a:gd name="connsiteX0" fmla="*/ 3030279 w 5381346"/>
                <a:gd name="connsiteY0" fmla="*/ 4 h 5890441"/>
                <a:gd name="connsiteX1" fmla="*/ 0 w 5381346"/>
                <a:gd name="connsiteY1" fmla="*/ 3051548 h 5890441"/>
                <a:gd name="connsiteX2" fmla="*/ 510363 w 5381346"/>
                <a:gd name="connsiteY2" fmla="*/ 3327995 h 5890441"/>
                <a:gd name="connsiteX3" fmla="*/ 297711 w 5381346"/>
                <a:gd name="connsiteY3" fmla="*/ 3657604 h 5890441"/>
                <a:gd name="connsiteX4" fmla="*/ 489097 w 5381346"/>
                <a:gd name="connsiteY4" fmla="*/ 3870255 h 5890441"/>
                <a:gd name="connsiteX5" fmla="*/ 372139 w 5381346"/>
                <a:gd name="connsiteY5" fmla="*/ 4061641 h 5890441"/>
                <a:gd name="connsiteX6" fmla="*/ 563525 w 5381346"/>
                <a:gd name="connsiteY6" fmla="*/ 4316823 h 5890441"/>
                <a:gd name="connsiteX7" fmla="*/ 499730 w 5381346"/>
                <a:gd name="connsiteY7" fmla="*/ 4976041 h 5890441"/>
                <a:gd name="connsiteX8" fmla="*/ 1754372 w 5381346"/>
                <a:gd name="connsiteY8" fmla="*/ 5199325 h 5890441"/>
                <a:gd name="connsiteX9" fmla="*/ 1945758 w 5381346"/>
                <a:gd name="connsiteY9" fmla="*/ 5890441 h 5890441"/>
                <a:gd name="connsiteX10" fmla="*/ 4784651 w 5381346"/>
                <a:gd name="connsiteY10" fmla="*/ 5858544 h 5890441"/>
                <a:gd name="connsiteX11" fmla="*/ 4890977 w 5381346"/>
                <a:gd name="connsiteY11" fmla="*/ 3519381 h 5890441"/>
                <a:gd name="connsiteX12" fmla="*/ 3030279 w 5381346"/>
                <a:gd name="connsiteY12" fmla="*/ 4 h 5890441"/>
                <a:gd name="connsiteX0" fmla="*/ 3040277 w 5391344"/>
                <a:gd name="connsiteY0" fmla="*/ 4 h 5890441"/>
                <a:gd name="connsiteX1" fmla="*/ 9998 w 5391344"/>
                <a:gd name="connsiteY1" fmla="*/ 3051548 h 5890441"/>
                <a:gd name="connsiteX2" fmla="*/ 520361 w 5391344"/>
                <a:gd name="connsiteY2" fmla="*/ 3327995 h 5890441"/>
                <a:gd name="connsiteX3" fmla="*/ 307709 w 5391344"/>
                <a:gd name="connsiteY3" fmla="*/ 3657604 h 5890441"/>
                <a:gd name="connsiteX4" fmla="*/ 499095 w 5391344"/>
                <a:gd name="connsiteY4" fmla="*/ 3870255 h 5890441"/>
                <a:gd name="connsiteX5" fmla="*/ 382137 w 5391344"/>
                <a:gd name="connsiteY5" fmla="*/ 4061641 h 5890441"/>
                <a:gd name="connsiteX6" fmla="*/ 573523 w 5391344"/>
                <a:gd name="connsiteY6" fmla="*/ 4316823 h 5890441"/>
                <a:gd name="connsiteX7" fmla="*/ 509728 w 5391344"/>
                <a:gd name="connsiteY7" fmla="*/ 4976041 h 5890441"/>
                <a:gd name="connsiteX8" fmla="*/ 1764370 w 5391344"/>
                <a:gd name="connsiteY8" fmla="*/ 5199325 h 5890441"/>
                <a:gd name="connsiteX9" fmla="*/ 1955756 w 5391344"/>
                <a:gd name="connsiteY9" fmla="*/ 5890441 h 5890441"/>
                <a:gd name="connsiteX10" fmla="*/ 4794649 w 5391344"/>
                <a:gd name="connsiteY10" fmla="*/ 5858544 h 5890441"/>
                <a:gd name="connsiteX11" fmla="*/ 4900975 w 5391344"/>
                <a:gd name="connsiteY11" fmla="*/ 3519381 h 5890441"/>
                <a:gd name="connsiteX12" fmla="*/ 3040277 w 5391344"/>
                <a:gd name="connsiteY12" fmla="*/ 4 h 5890441"/>
                <a:gd name="connsiteX0" fmla="*/ 3040277 w 5391344"/>
                <a:gd name="connsiteY0" fmla="*/ 4 h 5890441"/>
                <a:gd name="connsiteX1" fmla="*/ 9998 w 5391344"/>
                <a:gd name="connsiteY1" fmla="*/ 3051548 h 5890441"/>
                <a:gd name="connsiteX2" fmla="*/ 520361 w 5391344"/>
                <a:gd name="connsiteY2" fmla="*/ 3327995 h 5890441"/>
                <a:gd name="connsiteX3" fmla="*/ 307709 w 5391344"/>
                <a:gd name="connsiteY3" fmla="*/ 3657604 h 5890441"/>
                <a:gd name="connsiteX4" fmla="*/ 499095 w 5391344"/>
                <a:gd name="connsiteY4" fmla="*/ 3870255 h 5890441"/>
                <a:gd name="connsiteX5" fmla="*/ 382137 w 5391344"/>
                <a:gd name="connsiteY5" fmla="*/ 4061641 h 5890441"/>
                <a:gd name="connsiteX6" fmla="*/ 573523 w 5391344"/>
                <a:gd name="connsiteY6" fmla="*/ 4316823 h 5890441"/>
                <a:gd name="connsiteX7" fmla="*/ 509728 w 5391344"/>
                <a:gd name="connsiteY7" fmla="*/ 4976041 h 5890441"/>
                <a:gd name="connsiteX8" fmla="*/ 1764370 w 5391344"/>
                <a:gd name="connsiteY8" fmla="*/ 5199325 h 5890441"/>
                <a:gd name="connsiteX9" fmla="*/ 1955756 w 5391344"/>
                <a:gd name="connsiteY9" fmla="*/ 5890441 h 5890441"/>
                <a:gd name="connsiteX10" fmla="*/ 4794649 w 5391344"/>
                <a:gd name="connsiteY10" fmla="*/ 5858544 h 5890441"/>
                <a:gd name="connsiteX11" fmla="*/ 4900975 w 5391344"/>
                <a:gd name="connsiteY11" fmla="*/ 3519381 h 5890441"/>
                <a:gd name="connsiteX12" fmla="*/ 3040277 w 5391344"/>
                <a:gd name="connsiteY12" fmla="*/ 4 h 5890441"/>
                <a:gd name="connsiteX0" fmla="*/ 3030279 w 5381346"/>
                <a:gd name="connsiteY0" fmla="*/ 92120 h 5982557"/>
                <a:gd name="connsiteX1" fmla="*/ 914399 w 5381346"/>
                <a:gd name="connsiteY1" fmla="*/ 1187274 h 5982557"/>
                <a:gd name="connsiteX2" fmla="*/ 0 w 5381346"/>
                <a:gd name="connsiteY2" fmla="*/ 3143664 h 5982557"/>
                <a:gd name="connsiteX3" fmla="*/ 510363 w 5381346"/>
                <a:gd name="connsiteY3" fmla="*/ 3420111 h 5982557"/>
                <a:gd name="connsiteX4" fmla="*/ 297711 w 5381346"/>
                <a:gd name="connsiteY4" fmla="*/ 3749720 h 5982557"/>
                <a:gd name="connsiteX5" fmla="*/ 489097 w 5381346"/>
                <a:gd name="connsiteY5" fmla="*/ 3962371 h 5982557"/>
                <a:gd name="connsiteX6" fmla="*/ 372139 w 5381346"/>
                <a:gd name="connsiteY6" fmla="*/ 4153757 h 5982557"/>
                <a:gd name="connsiteX7" fmla="*/ 563525 w 5381346"/>
                <a:gd name="connsiteY7" fmla="*/ 4408939 h 5982557"/>
                <a:gd name="connsiteX8" fmla="*/ 499730 w 5381346"/>
                <a:gd name="connsiteY8" fmla="*/ 5068157 h 5982557"/>
                <a:gd name="connsiteX9" fmla="*/ 1754372 w 5381346"/>
                <a:gd name="connsiteY9" fmla="*/ 5291441 h 5982557"/>
                <a:gd name="connsiteX10" fmla="*/ 1945758 w 5381346"/>
                <a:gd name="connsiteY10" fmla="*/ 5982557 h 5982557"/>
                <a:gd name="connsiteX11" fmla="*/ 4784651 w 5381346"/>
                <a:gd name="connsiteY11" fmla="*/ 5950660 h 5982557"/>
                <a:gd name="connsiteX12" fmla="*/ 4890977 w 5381346"/>
                <a:gd name="connsiteY12" fmla="*/ 3611497 h 5982557"/>
                <a:gd name="connsiteX13" fmla="*/ 3030279 w 5381346"/>
                <a:gd name="connsiteY13" fmla="*/ 92120 h 5982557"/>
                <a:gd name="connsiteX0" fmla="*/ 3030279 w 5381346"/>
                <a:gd name="connsiteY0" fmla="*/ 94250 h 5984687"/>
                <a:gd name="connsiteX1" fmla="*/ 914399 w 5381346"/>
                <a:gd name="connsiteY1" fmla="*/ 1189404 h 5984687"/>
                <a:gd name="connsiteX2" fmla="*/ 0 w 5381346"/>
                <a:gd name="connsiteY2" fmla="*/ 3145794 h 5984687"/>
                <a:gd name="connsiteX3" fmla="*/ 510363 w 5381346"/>
                <a:gd name="connsiteY3" fmla="*/ 3422241 h 5984687"/>
                <a:gd name="connsiteX4" fmla="*/ 297711 w 5381346"/>
                <a:gd name="connsiteY4" fmla="*/ 3751850 h 5984687"/>
                <a:gd name="connsiteX5" fmla="*/ 489097 w 5381346"/>
                <a:gd name="connsiteY5" fmla="*/ 3964501 h 5984687"/>
                <a:gd name="connsiteX6" fmla="*/ 372139 w 5381346"/>
                <a:gd name="connsiteY6" fmla="*/ 4155887 h 5984687"/>
                <a:gd name="connsiteX7" fmla="*/ 563525 w 5381346"/>
                <a:gd name="connsiteY7" fmla="*/ 4411069 h 5984687"/>
                <a:gd name="connsiteX8" fmla="*/ 499730 w 5381346"/>
                <a:gd name="connsiteY8" fmla="*/ 5070287 h 5984687"/>
                <a:gd name="connsiteX9" fmla="*/ 1754372 w 5381346"/>
                <a:gd name="connsiteY9" fmla="*/ 5293571 h 5984687"/>
                <a:gd name="connsiteX10" fmla="*/ 1945758 w 5381346"/>
                <a:gd name="connsiteY10" fmla="*/ 5984687 h 5984687"/>
                <a:gd name="connsiteX11" fmla="*/ 4784651 w 5381346"/>
                <a:gd name="connsiteY11" fmla="*/ 5952790 h 5984687"/>
                <a:gd name="connsiteX12" fmla="*/ 4890977 w 5381346"/>
                <a:gd name="connsiteY12" fmla="*/ 3613627 h 5984687"/>
                <a:gd name="connsiteX13" fmla="*/ 3030279 w 5381346"/>
                <a:gd name="connsiteY13" fmla="*/ 94250 h 5984687"/>
                <a:gd name="connsiteX0" fmla="*/ 3030279 w 5381346"/>
                <a:gd name="connsiteY0" fmla="*/ 0 h 5890437"/>
                <a:gd name="connsiteX1" fmla="*/ 914399 w 5381346"/>
                <a:gd name="connsiteY1" fmla="*/ 1095154 h 5890437"/>
                <a:gd name="connsiteX2" fmla="*/ 0 w 5381346"/>
                <a:gd name="connsiteY2" fmla="*/ 3051544 h 5890437"/>
                <a:gd name="connsiteX3" fmla="*/ 510363 w 5381346"/>
                <a:gd name="connsiteY3" fmla="*/ 3327991 h 5890437"/>
                <a:gd name="connsiteX4" fmla="*/ 297711 w 5381346"/>
                <a:gd name="connsiteY4" fmla="*/ 3657600 h 5890437"/>
                <a:gd name="connsiteX5" fmla="*/ 489097 w 5381346"/>
                <a:gd name="connsiteY5" fmla="*/ 3870251 h 5890437"/>
                <a:gd name="connsiteX6" fmla="*/ 372139 w 5381346"/>
                <a:gd name="connsiteY6" fmla="*/ 4061637 h 5890437"/>
                <a:gd name="connsiteX7" fmla="*/ 563525 w 5381346"/>
                <a:gd name="connsiteY7" fmla="*/ 4316819 h 5890437"/>
                <a:gd name="connsiteX8" fmla="*/ 499730 w 5381346"/>
                <a:gd name="connsiteY8" fmla="*/ 4976037 h 5890437"/>
                <a:gd name="connsiteX9" fmla="*/ 1754372 w 5381346"/>
                <a:gd name="connsiteY9" fmla="*/ 5199321 h 5890437"/>
                <a:gd name="connsiteX10" fmla="*/ 1945758 w 5381346"/>
                <a:gd name="connsiteY10" fmla="*/ 5890437 h 5890437"/>
                <a:gd name="connsiteX11" fmla="*/ 4784651 w 5381346"/>
                <a:gd name="connsiteY11" fmla="*/ 5858540 h 5890437"/>
                <a:gd name="connsiteX12" fmla="*/ 4890977 w 5381346"/>
                <a:gd name="connsiteY12" fmla="*/ 3519377 h 5890437"/>
                <a:gd name="connsiteX13" fmla="*/ 3030279 w 5381346"/>
                <a:gd name="connsiteY13" fmla="*/ 0 h 5890437"/>
                <a:gd name="connsiteX0" fmla="*/ 3030279 w 5381346"/>
                <a:gd name="connsiteY0" fmla="*/ 0 h 5890437"/>
                <a:gd name="connsiteX1" fmla="*/ 914399 w 5381346"/>
                <a:gd name="connsiteY1" fmla="*/ 1095154 h 5890437"/>
                <a:gd name="connsiteX2" fmla="*/ 0 w 5381346"/>
                <a:gd name="connsiteY2" fmla="*/ 3051544 h 5890437"/>
                <a:gd name="connsiteX3" fmla="*/ 510363 w 5381346"/>
                <a:gd name="connsiteY3" fmla="*/ 3327991 h 5890437"/>
                <a:gd name="connsiteX4" fmla="*/ 297711 w 5381346"/>
                <a:gd name="connsiteY4" fmla="*/ 3657600 h 5890437"/>
                <a:gd name="connsiteX5" fmla="*/ 489097 w 5381346"/>
                <a:gd name="connsiteY5" fmla="*/ 3870251 h 5890437"/>
                <a:gd name="connsiteX6" fmla="*/ 372139 w 5381346"/>
                <a:gd name="connsiteY6" fmla="*/ 4061637 h 5890437"/>
                <a:gd name="connsiteX7" fmla="*/ 563525 w 5381346"/>
                <a:gd name="connsiteY7" fmla="*/ 4316819 h 5890437"/>
                <a:gd name="connsiteX8" fmla="*/ 499730 w 5381346"/>
                <a:gd name="connsiteY8" fmla="*/ 4976037 h 5890437"/>
                <a:gd name="connsiteX9" fmla="*/ 1754372 w 5381346"/>
                <a:gd name="connsiteY9" fmla="*/ 5199321 h 5890437"/>
                <a:gd name="connsiteX10" fmla="*/ 1945758 w 5381346"/>
                <a:gd name="connsiteY10" fmla="*/ 5890437 h 5890437"/>
                <a:gd name="connsiteX11" fmla="*/ 4784651 w 5381346"/>
                <a:gd name="connsiteY11" fmla="*/ 5858540 h 5890437"/>
                <a:gd name="connsiteX12" fmla="*/ 4890977 w 5381346"/>
                <a:gd name="connsiteY12" fmla="*/ 3519377 h 5890437"/>
                <a:gd name="connsiteX13" fmla="*/ 3030279 w 5381346"/>
                <a:gd name="connsiteY13"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914846 w 5381793"/>
                <a:gd name="connsiteY1" fmla="*/ 1095154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72315 w 5381793"/>
                <a:gd name="connsiteY1" fmla="*/ 1063257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90128 w 5381793"/>
                <a:gd name="connsiteY1" fmla="*/ 1098883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26 w 5381793"/>
                <a:gd name="connsiteY0" fmla="*/ 0 h 5890437"/>
                <a:gd name="connsiteX1" fmla="*/ 890128 w 5381793"/>
                <a:gd name="connsiteY1" fmla="*/ 1098883 h 5890437"/>
                <a:gd name="connsiteX2" fmla="*/ 649032 w 5381793"/>
                <a:gd name="connsiteY2" fmla="*/ 2137144 h 5890437"/>
                <a:gd name="connsiteX3" fmla="*/ 447 w 5381793"/>
                <a:gd name="connsiteY3" fmla="*/ 3051544 h 5890437"/>
                <a:gd name="connsiteX4" fmla="*/ 510810 w 5381793"/>
                <a:gd name="connsiteY4" fmla="*/ 3327991 h 5890437"/>
                <a:gd name="connsiteX5" fmla="*/ 298158 w 5381793"/>
                <a:gd name="connsiteY5" fmla="*/ 3657600 h 5890437"/>
                <a:gd name="connsiteX6" fmla="*/ 489544 w 5381793"/>
                <a:gd name="connsiteY6" fmla="*/ 3870251 h 5890437"/>
                <a:gd name="connsiteX7" fmla="*/ 372586 w 5381793"/>
                <a:gd name="connsiteY7" fmla="*/ 4061637 h 5890437"/>
                <a:gd name="connsiteX8" fmla="*/ 563972 w 5381793"/>
                <a:gd name="connsiteY8" fmla="*/ 4316819 h 5890437"/>
                <a:gd name="connsiteX9" fmla="*/ 500177 w 5381793"/>
                <a:gd name="connsiteY9" fmla="*/ 4976037 h 5890437"/>
                <a:gd name="connsiteX10" fmla="*/ 1754819 w 5381793"/>
                <a:gd name="connsiteY10" fmla="*/ 5199321 h 5890437"/>
                <a:gd name="connsiteX11" fmla="*/ 1946205 w 5381793"/>
                <a:gd name="connsiteY11" fmla="*/ 5890437 h 5890437"/>
                <a:gd name="connsiteX12" fmla="*/ 4785098 w 5381793"/>
                <a:gd name="connsiteY12" fmla="*/ 5858540 h 5890437"/>
                <a:gd name="connsiteX13" fmla="*/ 4891424 w 5381793"/>
                <a:gd name="connsiteY13" fmla="*/ 3519377 h 5890437"/>
                <a:gd name="connsiteX14" fmla="*/ 3030726 w 5381793"/>
                <a:gd name="connsiteY14" fmla="*/ 0 h 5890437"/>
                <a:gd name="connsiteX0" fmla="*/ 3030764 w 5381831"/>
                <a:gd name="connsiteY0" fmla="*/ 0 h 5890437"/>
                <a:gd name="connsiteX1" fmla="*/ 890166 w 5381831"/>
                <a:gd name="connsiteY1" fmla="*/ 1098883 h 5890437"/>
                <a:gd name="connsiteX2" fmla="*/ 607506 w 5381831"/>
                <a:gd name="connsiteY2" fmla="*/ 2172770 h 5890437"/>
                <a:gd name="connsiteX3" fmla="*/ 485 w 5381831"/>
                <a:gd name="connsiteY3" fmla="*/ 3051544 h 5890437"/>
                <a:gd name="connsiteX4" fmla="*/ 510848 w 5381831"/>
                <a:gd name="connsiteY4" fmla="*/ 3327991 h 5890437"/>
                <a:gd name="connsiteX5" fmla="*/ 298196 w 5381831"/>
                <a:gd name="connsiteY5" fmla="*/ 3657600 h 5890437"/>
                <a:gd name="connsiteX6" fmla="*/ 489582 w 5381831"/>
                <a:gd name="connsiteY6" fmla="*/ 3870251 h 5890437"/>
                <a:gd name="connsiteX7" fmla="*/ 372624 w 5381831"/>
                <a:gd name="connsiteY7" fmla="*/ 4061637 h 5890437"/>
                <a:gd name="connsiteX8" fmla="*/ 564010 w 5381831"/>
                <a:gd name="connsiteY8" fmla="*/ 4316819 h 5890437"/>
                <a:gd name="connsiteX9" fmla="*/ 500215 w 5381831"/>
                <a:gd name="connsiteY9" fmla="*/ 4976037 h 5890437"/>
                <a:gd name="connsiteX10" fmla="*/ 1754857 w 5381831"/>
                <a:gd name="connsiteY10" fmla="*/ 5199321 h 5890437"/>
                <a:gd name="connsiteX11" fmla="*/ 1946243 w 5381831"/>
                <a:gd name="connsiteY11" fmla="*/ 5890437 h 5890437"/>
                <a:gd name="connsiteX12" fmla="*/ 4785136 w 5381831"/>
                <a:gd name="connsiteY12" fmla="*/ 5858540 h 5890437"/>
                <a:gd name="connsiteX13" fmla="*/ 4891462 w 5381831"/>
                <a:gd name="connsiteY13" fmla="*/ 3519377 h 5890437"/>
                <a:gd name="connsiteX14" fmla="*/ 3030764 w 5381831"/>
                <a:gd name="connsiteY14" fmla="*/ 0 h 5890437"/>
                <a:gd name="connsiteX0" fmla="*/ 3030764 w 5381831"/>
                <a:gd name="connsiteY0" fmla="*/ 0 h 5890437"/>
                <a:gd name="connsiteX1" fmla="*/ 890166 w 5381831"/>
                <a:gd name="connsiteY1" fmla="*/ 1098883 h 5890437"/>
                <a:gd name="connsiteX2" fmla="*/ 607506 w 5381831"/>
                <a:gd name="connsiteY2" fmla="*/ 2172770 h 5890437"/>
                <a:gd name="connsiteX3" fmla="*/ 485 w 5381831"/>
                <a:gd name="connsiteY3" fmla="*/ 3051544 h 5890437"/>
                <a:gd name="connsiteX4" fmla="*/ 510848 w 5381831"/>
                <a:gd name="connsiteY4" fmla="*/ 3327991 h 5890437"/>
                <a:gd name="connsiteX5" fmla="*/ 298196 w 5381831"/>
                <a:gd name="connsiteY5" fmla="*/ 3657600 h 5890437"/>
                <a:gd name="connsiteX6" fmla="*/ 489582 w 5381831"/>
                <a:gd name="connsiteY6" fmla="*/ 3870251 h 5890437"/>
                <a:gd name="connsiteX7" fmla="*/ 372624 w 5381831"/>
                <a:gd name="connsiteY7" fmla="*/ 4061637 h 5890437"/>
                <a:gd name="connsiteX8" fmla="*/ 564010 w 5381831"/>
                <a:gd name="connsiteY8" fmla="*/ 4316819 h 5890437"/>
                <a:gd name="connsiteX9" fmla="*/ 500215 w 5381831"/>
                <a:gd name="connsiteY9" fmla="*/ 4976037 h 5890437"/>
                <a:gd name="connsiteX10" fmla="*/ 1754857 w 5381831"/>
                <a:gd name="connsiteY10" fmla="*/ 5199321 h 5890437"/>
                <a:gd name="connsiteX11" fmla="*/ 1946243 w 5381831"/>
                <a:gd name="connsiteY11" fmla="*/ 5890437 h 5890437"/>
                <a:gd name="connsiteX12" fmla="*/ 4785136 w 5381831"/>
                <a:gd name="connsiteY12" fmla="*/ 5858540 h 5890437"/>
                <a:gd name="connsiteX13" fmla="*/ 4891462 w 5381831"/>
                <a:gd name="connsiteY13" fmla="*/ 3519377 h 5890437"/>
                <a:gd name="connsiteX14" fmla="*/ 3030764 w 5381831"/>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298271 w 5381906"/>
                <a:gd name="connsiteY5" fmla="*/ 365760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489657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199321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839 w 5381906"/>
                <a:gd name="connsiteY0" fmla="*/ 0 h 5890437"/>
                <a:gd name="connsiteX1" fmla="*/ 890241 w 5381906"/>
                <a:gd name="connsiteY1" fmla="*/ 1098883 h 5890437"/>
                <a:gd name="connsiteX2" fmla="*/ 607581 w 5381906"/>
                <a:gd name="connsiteY2" fmla="*/ 2172770 h 5890437"/>
                <a:gd name="connsiteX3" fmla="*/ 560 w 5381906"/>
                <a:gd name="connsiteY3" fmla="*/ 3051544 h 5890437"/>
                <a:gd name="connsiteX4" fmla="*/ 510923 w 5381906"/>
                <a:gd name="connsiteY4" fmla="*/ 3327991 h 5890437"/>
                <a:gd name="connsiteX5" fmla="*/ 339835 w 5381906"/>
                <a:gd name="connsiteY5" fmla="*/ 3734790 h 5890437"/>
                <a:gd name="connsiteX6" fmla="*/ 531221 w 5381906"/>
                <a:gd name="connsiteY6" fmla="*/ 3870251 h 5890437"/>
                <a:gd name="connsiteX7" fmla="*/ 372699 w 5381906"/>
                <a:gd name="connsiteY7" fmla="*/ 4061637 h 5890437"/>
                <a:gd name="connsiteX8" fmla="*/ 564085 w 5381906"/>
                <a:gd name="connsiteY8" fmla="*/ 4316819 h 5890437"/>
                <a:gd name="connsiteX9" fmla="*/ 500290 w 5381906"/>
                <a:gd name="connsiteY9" fmla="*/ 4976037 h 5890437"/>
                <a:gd name="connsiteX10" fmla="*/ 1754932 w 5381906"/>
                <a:gd name="connsiteY10" fmla="*/ 5039004 h 5890437"/>
                <a:gd name="connsiteX11" fmla="*/ 1946318 w 5381906"/>
                <a:gd name="connsiteY11" fmla="*/ 5890437 h 5890437"/>
                <a:gd name="connsiteX12" fmla="*/ 4785211 w 5381906"/>
                <a:gd name="connsiteY12" fmla="*/ 5858540 h 5890437"/>
                <a:gd name="connsiteX13" fmla="*/ 4891537 w 5381906"/>
                <a:gd name="connsiteY13" fmla="*/ 3519377 h 5890437"/>
                <a:gd name="connsiteX14" fmla="*/ 3030839 w 5381906"/>
                <a:gd name="connsiteY14" fmla="*/ 0 h 5890437"/>
                <a:gd name="connsiteX0" fmla="*/ 3030765 w 5381832"/>
                <a:gd name="connsiteY0" fmla="*/ 0 h 5890437"/>
                <a:gd name="connsiteX1" fmla="*/ 890167 w 5381832"/>
                <a:gd name="connsiteY1" fmla="*/ 1098883 h 5890437"/>
                <a:gd name="connsiteX2" fmla="*/ 672821 w 5381832"/>
                <a:gd name="connsiteY2" fmla="*/ 2220272 h 5890437"/>
                <a:gd name="connsiteX3" fmla="*/ 486 w 5381832"/>
                <a:gd name="connsiteY3" fmla="*/ 3051544 h 5890437"/>
                <a:gd name="connsiteX4" fmla="*/ 510849 w 5381832"/>
                <a:gd name="connsiteY4" fmla="*/ 3327991 h 5890437"/>
                <a:gd name="connsiteX5" fmla="*/ 339761 w 5381832"/>
                <a:gd name="connsiteY5" fmla="*/ 3734790 h 5890437"/>
                <a:gd name="connsiteX6" fmla="*/ 531147 w 5381832"/>
                <a:gd name="connsiteY6" fmla="*/ 3870251 h 5890437"/>
                <a:gd name="connsiteX7" fmla="*/ 372625 w 5381832"/>
                <a:gd name="connsiteY7" fmla="*/ 4061637 h 5890437"/>
                <a:gd name="connsiteX8" fmla="*/ 564011 w 5381832"/>
                <a:gd name="connsiteY8" fmla="*/ 4316819 h 5890437"/>
                <a:gd name="connsiteX9" fmla="*/ 500216 w 5381832"/>
                <a:gd name="connsiteY9" fmla="*/ 4976037 h 5890437"/>
                <a:gd name="connsiteX10" fmla="*/ 1754858 w 5381832"/>
                <a:gd name="connsiteY10" fmla="*/ 5039004 h 5890437"/>
                <a:gd name="connsiteX11" fmla="*/ 1946244 w 5381832"/>
                <a:gd name="connsiteY11" fmla="*/ 5890437 h 5890437"/>
                <a:gd name="connsiteX12" fmla="*/ 4785137 w 5381832"/>
                <a:gd name="connsiteY12" fmla="*/ 5858540 h 5890437"/>
                <a:gd name="connsiteX13" fmla="*/ 4891463 w 5381832"/>
                <a:gd name="connsiteY13" fmla="*/ 3519377 h 5890437"/>
                <a:gd name="connsiteX14" fmla="*/ 3030765 w 5381832"/>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90264 w 5381929"/>
                <a:gd name="connsiteY1" fmla="*/ 1098883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72451 w 5381929"/>
                <a:gd name="connsiteY1" fmla="*/ 1057320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872451 w 5381929"/>
                <a:gd name="connsiteY1" fmla="*/ 1057320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81633 w 5381929"/>
                <a:gd name="connsiteY1" fmla="*/ 920842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81633 w 5381929"/>
                <a:gd name="connsiteY1" fmla="*/ 920842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0 h 5890437"/>
                <a:gd name="connsiteX1" fmla="*/ 927042 w 5381929"/>
                <a:gd name="connsiteY1" fmla="*/ 866251 h 5890437"/>
                <a:gd name="connsiteX2" fmla="*/ 672918 w 5381929"/>
                <a:gd name="connsiteY2" fmla="*/ 2220272 h 5890437"/>
                <a:gd name="connsiteX3" fmla="*/ 583 w 5381929"/>
                <a:gd name="connsiteY3" fmla="*/ 3051544 h 5890437"/>
                <a:gd name="connsiteX4" fmla="*/ 510946 w 5381929"/>
                <a:gd name="connsiteY4" fmla="*/ 3327991 h 5890437"/>
                <a:gd name="connsiteX5" fmla="*/ 339858 w 5381929"/>
                <a:gd name="connsiteY5" fmla="*/ 3734790 h 5890437"/>
                <a:gd name="connsiteX6" fmla="*/ 531244 w 5381929"/>
                <a:gd name="connsiteY6" fmla="*/ 3870251 h 5890437"/>
                <a:gd name="connsiteX7" fmla="*/ 372722 w 5381929"/>
                <a:gd name="connsiteY7" fmla="*/ 4061637 h 5890437"/>
                <a:gd name="connsiteX8" fmla="*/ 564108 w 5381929"/>
                <a:gd name="connsiteY8" fmla="*/ 4316819 h 5890437"/>
                <a:gd name="connsiteX9" fmla="*/ 500313 w 5381929"/>
                <a:gd name="connsiteY9" fmla="*/ 4976037 h 5890437"/>
                <a:gd name="connsiteX10" fmla="*/ 1754955 w 5381929"/>
                <a:gd name="connsiteY10" fmla="*/ 5039004 h 5890437"/>
                <a:gd name="connsiteX11" fmla="*/ 1946341 w 5381929"/>
                <a:gd name="connsiteY11" fmla="*/ 5890437 h 5890437"/>
                <a:gd name="connsiteX12" fmla="*/ 4785234 w 5381929"/>
                <a:gd name="connsiteY12" fmla="*/ 5858540 h 5890437"/>
                <a:gd name="connsiteX13" fmla="*/ 4891560 w 5381929"/>
                <a:gd name="connsiteY13" fmla="*/ 3519377 h 5890437"/>
                <a:gd name="connsiteX14" fmla="*/ 3030862 w 5381929"/>
                <a:gd name="connsiteY14" fmla="*/ 0 h 5890437"/>
                <a:gd name="connsiteX0" fmla="*/ 3030862 w 5381929"/>
                <a:gd name="connsiteY0" fmla="*/ 1751 h 5892188"/>
                <a:gd name="connsiteX1" fmla="*/ 927042 w 5381929"/>
                <a:gd name="connsiteY1" fmla="*/ 868002 h 5892188"/>
                <a:gd name="connsiteX2" fmla="*/ 672918 w 5381929"/>
                <a:gd name="connsiteY2" fmla="*/ 2222023 h 5892188"/>
                <a:gd name="connsiteX3" fmla="*/ 583 w 5381929"/>
                <a:gd name="connsiteY3" fmla="*/ 3053295 h 5892188"/>
                <a:gd name="connsiteX4" fmla="*/ 510946 w 5381929"/>
                <a:gd name="connsiteY4" fmla="*/ 3329742 h 5892188"/>
                <a:gd name="connsiteX5" fmla="*/ 339858 w 5381929"/>
                <a:gd name="connsiteY5" fmla="*/ 3736541 h 5892188"/>
                <a:gd name="connsiteX6" fmla="*/ 531244 w 5381929"/>
                <a:gd name="connsiteY6" fmla="*/ 3872002 h 5892188"/>
                <a:gd name="connsiteX7" fmla="*/ 372722 w 5381929"/>
                <a:gd name="connsiteY7" fmla="*/ 4063388 h 5892188"/>
                <a:gd name="connsiteX8" fmla="*/ 564108 w 5381929"/>
                <a:gd name="connsiteY8" fmla="*/ 4318570 h 5892188"/>
                <a:gd name="connsiteX9" fmla="*/ 500313 w 5381929"/>
                <a:gd name="connsiteY9" fmla="*/ 4977788 h 5892188"/>
                <a:gd name="connsiteX10" fmla="*/ 1754955 w 5381929"/>
                <a:gd name="connsiteY10" fmla="*/ 5040755 h 5892188"/>
                <a:gd name="connsiteX11" fmla="*/ 1946341 w 5381929"/>
                <a:gd name="connsiteY11" fmla="*/ 5892188 h 5892188"/>
                <a:gd name="connsiteX12" fmla="*/ 4785234 w 5381929"/>
                <a:gd name="connsiteY12" fmla="*/ 5860291 h 5892188"/>
                <a:gd name="connsiteX13" fmla="*/ 4891560 w 5381929"/>
                <a:gd name="connsiteY13" fmla="*/ 3521128 h 5892188"/>
                <a:gd name="connsiteX14" fmla="*/ 3030862 w 5381929"/>
                <a:gd name="connsiteY14" fmla="*/ 1751 h 5892188"/>
                <a:gd name="connsiteX0" fmla="*/ 3031042 w 5382109"/>
                <a:gd name="connsiteY0" fmla="*/ 1751 h 5892188"/>
                <a:gd name="connsiteX1" fmla="*/ 927222 w 5382109"/>
                <a:gd name="connsiteY1" fmla="*/ 868002 h 5892188"/>
                <a:gd name="connsiteX2" fmla="*/ 577563 w 5382109"/>
                <a:gd name="connsiteY2" fmla="*/ 2303910 h 5892188"/>
                <a:gd name="connsiteX3" fmla="*/ 763 w 5382109"/>
                <a:gd name="connsiteY3" fmla="*/ 3053295 h 5892188"/>
                <a:gd name="connsiteX4" fmla="*/ 511126 w 5382109"/>
                <a:gd name="connsiteY4" fmla="*/ 3329742 h 5892188"/>
                <a:gd name="connsiteX5" fmla="*/ 340038 w 5382109"/>
                <a:gd name="connsiteY5" fmla="*/ 3736541 h 5892188"/>
                <a:gd name="connsiteX6" fmla="*/ 531424 w 5382109"/>
                <a:gd name="connsiteY6" fmla="*/ 3872002 h 5892188"/>
                <a:gd name="connsiteX7" fmla="*/ 372902 w 5382109"/>
                <a:gd name="connsiteY7" fmla="*/ 4063388 h 5892188"/>
                <a:gd name="connsiteX8" fmla="*/ 564288 w 5382109"/>
                <a:gd name="connsiteY8" fmla="*/ 4318570 h 5892188"/>
                <a:gd name="connsiteX9" fmla="*/ 500493 w 5382109"/>
                <a:gd name="connsiteY9" fmla="*/ 4977788 h 5892188"/>
                <a:gd name="connsiteX10" fmla="*/ 1755135 w 5382109"/>
                <a:gd name="connsiteY10" fmla="*/ 5040755 h 5892188"/>
                <a:gd name="connsiteX11" fmla="*/ 1946521 w 5382109"/>
                <a:gd name="connsiteY11" fmla="*/ 5892188 h 5892188"/>
                <a:gd name="connsiteX12" fmla="*/ 4785414 w 5382109"/>
                <a:gd name="connsiteY12" fmla="*/ 5860291 h 5892188"/>
                <a:gd name="connsiteX13" fmla="*/ 4891740 w 5382109"/>
                <a:gd name="connsiteY13" fmla="*/ 3521128 h 5892188"/>
                <a:gd name="connsiteX14" fmla="*/ 3031042 w 5382109"/>
                <a:gd name="connsiteY14" fmla="*/ 1751 h 5892188"/>
                <a:gd name="connsiteX0" fmla="*/ 3031042 w 5382109"/>
                <a:gd name="connsiteY0" fmla="*/ 2101 h 5892538"/>
                <a:gd name="connsiteX1" fmla="*/ 913575 w 5382109"/>
                <a:gd name="connsiteY1" fmla="*/ 827408 h 5892538"/>
                <a:gd name="connsiteX2" fmla="*/ 577563 w 5382109"/>
                <a:gd name="connsiteY2" fmla="*/ 2304260 h 5892538"/>
                <a:gd name="connsiteX3" fmla="*/ 763 w 5382109"/>
                <a:gd name="connsiteY3" fmla="*/ 3053645 h 5892538"/>
                <a:gd name="connsiteX4" fmla="*/ 511126 w 5382109"/>
                <a:gd name="connsiteY4" fmla="*/ 3330092 h 5892538"/>
                <a:gd name="connsiteX5" fmla="*/ 340038 w 5382109"/>
                <a:gd name="connsiteY5" fmla="*/ 3736891 h 5892538"/>
                <a:gd name="connsiteX6" fmla="*/ 531424 w 5382109"/>
                <a:gd name="connsiteY6" fmla="*/ 3872352 h 5892538"/>
                <a:gd name="connsiteX7" fmla="*/ 372902 w 5382109"/>
                <a:gd name="connsiteY7" fmla="*/ 4063738 h 5892538"/>
                <a:gd name="connsiteX8" fmla="*/ 564288 w 5382109"/>
                <a:gd name="connsiteY8" fmla="*/ 4318920 h 5892538"/>
                <a:gd name="connsiteX9" fmla="*/ 500493 w 5382109"/>
                <a:gd name="connsiteY9" fmla="*/ 4978138 h 5892538"/>
                <a:gd name="connsiteX10" fmla="*/ 1755135 w 5382109"/>
                <a:gd name="connsiteY10" fmla="*/ 5041105 h 5892538"/>
                <a:gd name="connsiteX11" fmla="*/ 1946521 w 5382109"/>
                <a:gd name="connsiteY11" fmla="*/ 5892538 h 5892538"/>
                <a:gd name="connsiteX12" fmla="*/ 4785414 w 5382109"/>
                <a:gd name="connsiteY12" fmla="*/ 5860641 h 5892538"/>
                <a:gd name="connsiteX13" fmla="*/ 4891740 w 5382109"/>
                <a:gd name="connsiteY13" fmla="*/ 3521478 h 5892538"/>
                <a:gd name="connsiteX14" fmla="*/ 3031042 w 5382109"/>
                <a:gd name="connsiteY14" fmla="*/ 2101 h 5892538"/>
                <a:gd name="connsiteX0" fmla="*/ 3031042 w 5382109"/>
                <a:gd name="connsiteY0" fmla="*/ 941 h 5891378"/>
                <a:gd name="connsiteX1" fmla="*/ 886280 w 5382109"/>
                <a:gd name="connsiteY1" fmla="*/ 1071908 h 5891378"/>
                <a:gd name="connsiteX2" fmla="*/ 577563 w 5382109"/>
                <a:gd name="connsiteY2" fmla="*/ 2303100 h 5891378"/>
                <a:gd name="connsiteX3" fmla="*/ 763 w 5382109"/>
                <a:gd name="connsiteY3" fmla="*/ 3052485 h 5891378"/>
                <a:gd name="connsiteX4" fmla="*/ 511126 w 5382109"/>
                <a:gd name="connsiteY4" fmla="*/ 3328932 h 5891378"/>
                <a:gd name="connsiteX5" fmla="*/ 340038 w 5382109"/>
                <a:gd name="connsiteY5" fmla="*/ 3735731 h 5891378"/>
                <a:gd name="connsiteX6" fmla="*/ 531424 w 5382109"/>
                <a:gd name="connsiteY6" fmla="*/ 3871192 h 5891378"/>
                <a:gd name="connsiteX7" fmla="*/ 372902 w 5382109"/>
                <a:gd name="connsiteY7" fmla="*/ 4062578 h 5891378"/>
                <a:gd name="connsiteX8" fmla="*/ 564288 w 5382109"/>
                <a:gd name="connsiteY8" fmla="*/ 4317760 h 5891378"/>
                <a:gd name="connsiteX9" fmla="*/ 500493 w 5382109"/>
                <a:gd name="connsiteY9" fmla="*/ 4976978 h 5891378"/>
                <a:gd name="connsiteX10" fmla="*/ 1755135 w 5382109"/>
                <a:gd name="connsiteY10" fmla="*/ 5039945 h 5891378"/>
                <a:gd name="connsiteX11" fmla="*/ 1946521 w 5382109"/>
                <a:gd name="connsiteY11" fmla="*/ 5891378 h 5891378"/>
                <a:gd name="connsiteX12" fmla="*/ 4785414 w 5382109"/>
                <a:gd name="connsiteY12" fmla="*/ 5859481 h 5891378"/>
                <a:gd name="connsiteX13" fmla="*/ 4891740 w 5382109"/>
                <a:gd name="connsiteY13" fmla="*/ 3520318 h 5891378"/>
                <a:gd name="connsiteX14" fmla="*/ 3031042 w 5382109"/>
                <a:gd name="connsiteY14" fmla="*/ 941 h 5891378"/>
                <a:gd name="connsiteX0" fmla="*/ 3031042 w 5382109"/>
                <a:gd name="connsiteY0" fmla="*/ 753 h 5891190"/>
                <a:gd name="connsiteX1" fmla="*/ 886280 w 5382109"/>
                <a:gd name="connsiteY1" fmla="*/ 1071720 h 5891190"/>
                <a:gd name="connsiteX2" fmla="*/ 577563 w 5382109"/>
                <a:gd name="connsiteY2" fmla="*/ 2302912 h 5891190"/>
                <a:gd name="connsiteX3" fmla="*/ 763 w 5382109"/>
                <a:gd name="connsiteY3" fmla="*/ 3052297 h 5891190"/>
                <a:gd name="connsiteX4" fmla="*/ 511126 w 5382109"/>
                <a:gd name="connsiteY4" fmla="*/ 3328744 h 5891190"/>
                <a:gd name="connsiteX5" fmla="*/ 340038 w 5382109"/>
                <a:gd name="connsiteY5" fmla="*/ 3735543 h 5891190"/>
                <a:gd name="connsiteX6" fmla="*/ 531424 w 5382109"/>
                <a:gd name="connsiteY6" fmla="*/ 3871004 h 5891190"/>
                <a:gd name="connsiteX7" fmla="*/ 372902 w 5382109"/>
                <a:gd name="connsiteY7" fmla="*/ 4062390 h 5891190"/>
                <a:gd name="connsiteX8" fmla="*/ 564288 w 5382109"/>
                <a:gd name="connsiteY8" fmla="*/ 4317572 h 5891190"/>
                <a:gd name="connsiteX9" fmla="*/ 500493 w 5382109"/>
                <a:gd name="connsiteY9" fmla="*/ 4976790 h 5891190"/>
                <a:gd name="connsiteX10" fmla="*/ 1755135 w 5382109"/>
                <a:gd name="connsiteY10" fmla="*/ 5039757 h 5891190"/>
                <a:gd name="connsiteX11" fmla="*/ 1946521 w 5382109"/>
                <a:gd name="connsiteY11" fmla="*/ 5891190 h 5891190"/>
                <a:gd name="connsiteX12" fmla="*/ 4785414 w 5382109"/>
                <a:gd name="connsiteY12" fmla="*/ 5859293 h 5891190"/>
                <a:gd name="connsiteX13" fmla="*/ 4891740 w 5382109"/>
                <a:gd name="connsiteY13" fmla="*/ 3520130 h 5891190"/>
                <a:gd name="connsiteX14" fmla="*/ 3031042 w 5382109"/>
                <a:gd name="connsiteY14" fmla="*/ 753 h 5891190"/>
                <a:gd name="connsiteX0" fmla="*/ 3031042 w 5382109"/>
                <a:gd name="connsiteY0" fmla="*/ 753 h 5891190"/>
                <a:gd name="connsiteX1" fmla="*/ 886280 w 5382109"/>
                <a:gd name="connsiteY1" fmla="*/ 1071720 h 5891190"/>
                <a:gd name="connsiteX2" fmla="*/ 577563 w 5382109"/>
                <a:gd name="connsiteY2" fmla="*/ 2302912 h 5891190"/>
                <a:gd name="connsiteX3" fmla="*/ 763 w 5382109"/>
                <a:gd name="connsiteY3" fmla="*/ 3052297 h 5891190"/>
                <a:gd name="connsiteX4" fmla="*/ 511126 w 5382109"/>
                <a:gd name="connsiteY4" fmla="*/ 3328744 h 5891190"/>
                <a:gd name="connsiteX5" fmla="*/ 340038 w 5382109"/>
                <a:gd name="connsiteY5" fmla="*/ 3735543 h 5891190"/>
                <a:gd name="connsiteX6" fmla="*/ 531424 w 5382109"/>
                <a:gd name="connsiteY6" fmla="*/ 3871004 h 5891190"/>
                <a:gd name="connsiteX7" fmla="*/ 372902 w 5382109"/>
                <a:gd name="connsiteY7" fmla="*/ 4062390 h 5891190"/>
                <a:gd name="connsiteX8" fmla="*/ 564288 w 5382109"/>
                <a:gd name="connsiteY8" fmla="*/ 4317572 h 5891190"/>
                <a:gd name="connsiteX9" fmla="*/ 500493 w 5382109"/>
                <a:gd name="connsiteY9" fmla="*/ 4976790 h 5891190"/>
                <a:gd name="connsiteX10" fmla="*/ 1755135 w 5382109"/>
                <a:gd name="connsiteY10" fmla="*/ 5039757 h 5891190"/>
                <a:gd name="connsiteX11" fmla="*/ 1946521 w 5382109"/>
                <a:gd name="connsiteY11" fmla="*/ 5891190 h 5891190"/>
                <a:gd name="connsiteX12" fmla="*/ 4785414 w 5382109"/>
                <a:gd name="connsiteY12" fmla="*/ 5859293 h 5891190"/>
                <a:gd name="connsiteX13" fmla="*/ 4891740 w 5382109"/>
                <a:gd name="connsiteY13" fmla="*/ 3520130 h 5891190"/>
                <a:gd name="connsiteX14" fmla="*/ 3031042 w 5382109"/>
                <a:gd name="connsiteY14" fmla="*/ 753 h 5891190"/>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792 h 5891229"/>
                <a:gd name="connsiteX1" fmla="*/ 777098 w 5382109"/>
                <a:gd name="connsiteY1" fmla="*/ 1044464 h 5891229"/>
                <a:gd name="connsiteX2" fmla="*/ 577563 w 5382109"/>
                <a:gd name="connsiteY2" fmla="*/ 2302951 h 5891229"/>
                <a:gd name="connsiteX3" fmla="*/ 763 w 5382109"/>
                <a:gd name="connsiteY3" fmla="*/ 3052336 h 5891229"/>
                <a:gd name="connsiteX4" fmla="*/ 511126 w 5382109"/>
                <a:gd name="connsiteY4" fmla="*/ 3328783 h 5891229"/>
                <a:gd name="connsiteX5" fmla="*/ 340038 w 5382109"/>
                <a:gd name="connsiteY5" fmla="*/ 3735582 h 5891229"/>
                <a:gd name="connsiteX6" fmla="*/ 531424 w 5382109"/>
                <a:gd name="connsiteY6" fmla="*/ 3871043 h 5891229"/>
                <a:gd name="connsiteX7" fmla="*/ 372902 w 5382109"/>
                <a:gd name="connsiteY7" fmla="*/ 4062429 h 5891229"/>
                <a:gd name="connsiteX8" fmla="*/ 564288 w 5382109"/>
                <a:gd name="connsiteY8" fmla="*/ 4317611 h 5891229"/>
                <a:gd name="connsiteX9" fmla="*/ 500493 w 5382109"/>
                <a:gd name="connsiteY9" fmla="*/ 4976829 h 5891229"/>
                <a:gd name="connsiteX10" fmla="*/ 1755135 w 5382109"/>
                <a:gd name="connsiteY10" fmla="*/ 5039796 h 5891229"/>
                <a:gd name="connsiteX11" fmla="*/ 1946521 w 5382109"/>
                <a:gd name="connsiteY11" fmla="*/ 5891229 h 5891229"/>
                <a:gd name="connsiteX12" fmla="*/ 4785414 w 5382109"/>
                <a:gd name="connsiteY12" fmla="*/ 5859332 h 5891229"/>
                <a:gd name="connsiteX13" fmla="*/ 4891740 w 5382109"/>
                <a:gd name="connsiteY13" fmla="*/ 3520169 h 5891229"/>
                <a:gd name="connsiteX14" fmla="*/ 3031042 w 5382109"/>
                <a:gd name="connsiteY14" fmla="*/ 792 h 5891229"/>
                <a:gd name="connsiteX0" fmla="*/ 3031042 w 5382109"/>
                <a:gd name="connsiteY0" fmla="*/ 627 h 5891064"/>
                <a:gd name="connsiteX1" fmla="*/ 777098 w 5382109"/>
                <a:gd name="connsiteY1" fmla="*/ 1180776 h 5891064"/>
                <a:gd name="connsiteX2" fmla="*/ 577563 w 5382109"/>
                <a:gd name="connsiteY2" fmla="*/ 2302786 h 5891064"/>
                <a:gd name="connsiteX3" fmla="*/ 763 w 5382109"/>
                <a:gd name="connsiteY3" fmla="*/ 3052171 h 5891064"/>
                <a:gd name="connsiteX4" fmla="*/ 511126 w 5382109"/>
                <a:gd name="connsiteY4" fmla="*/ 3328618 h 5891064"/>
                <a:gd name="connsiteX5" fmla="*/ 340038 w 5382109"/>
                <a:gd name="connsiteY5" fmla="*/ 3735417 h 5891064"/>
                <a:gd name="connsiteX6" fmla="*/ 531424 w 5382109"/>
                <a:gd name="connsiteY6" fmla="*/ 3870878 h 5891064"/>
                <a:gd name="connsiteX7" fmla="*/ 372902 w 5382109"/>
                <a:gd name="connsiteY7" fmla="*/ 4062264 h 5891064"/>
                <a:gd name="connsiteX8" fmla="*/ 564288 w 5382109"/>
                <a:gd name="connsiteY8" fmla="*/ 4317446 h 5891064"/>
                <a:gd name="connsiteX9" fmla="*/ 500493 w 5382109"/>
                <a:gd name="connsiteY9" fmla="*/ 4976664 h 5891064"/>
                <a:gd name="connsiteX10" fmla="*/ 1755135 w 5382109"/>
                <a:gd name="connsiteY10" fmla="*/ 5039631 h 5891064"/>
                <a:gd name="connsiteX11" fmla="*/ 1946521 w 5382109"/>
                <a:gd name="connsiteY11" fmla="*/ 5891064 h 5891064"/>
                <a:gd name="connsiteX12" fmla="*/ 4785414 w 5382109"/>
                <a:gd name="connsiteY12" fmla="*/ 5859167 h 5891064"/>
                <a:gd name="connsiteX13" fmla="*/ 4891740 w 5382109"/>
                <a:gd name="connsiteY13" fmla="*/ 3520004 h 5891064"/>
                <a:gd name="connsiteX14" fmla="*/ 3031042 w 5382109"/>
                <a:gd name="connsiteY14" fmla="*/ 627 h 5891064"/>
                <a:gd name="connsiteX0" fmla="*/ 3031042 w 5382109"/>
                <a:gd name="connsiteY0" fmla="*/ 968 h 5891405"/>
                <a:gd name="connsiteX1" fmla="*/ 777098 w 5382109"/>
                <a:gd name="connsiteY1" fmla="*/ 1181117 h 5891405"/>
                <a:gd name="connsiteX2" fmla="*/ 577563 w 5382109"/>
                <a:gd name="connsiteY2" fmla="*/ 2303127 h 5891405"/>
                <a:gd name="connsiteX3" fmla="*/ 763 w 5382109"/>
                <a:gd name="connsiteY3" fmla="*/ 3052512 h 5891405"/>
                <a:gd name="connsiteX4" fmla="*/ 511126 w 5382109"/>
                <a:gd name="connsiteY4" fmla="*/ 3328959 h 5891405"/>
                <a:gd name="connsiteX5" fmla="*/ 340038 w 5382109"/>
                <a:gd name="connsiteY5" fmla="*/ 3735758 h 5891405"/>
                <a:gd name="connsiteX6" fmla="*/ 531424 w 5382109"/>
                <a:gd name="connsiteY6" fmla="*/ 3871219 h 5891405"/>
                <a:gd name="connsiteX7" fmla="*/ 372902 w 5382109"/>
                <a:gd name="connsiteY7" fmla="*/ 4062605 h 5891405"/>
                <a:gd name="connsiteX8" fmla="*/ 564288 w 5382109"/>
                <a:gd name="connsiteY8" fmla="*/ 4317787 h 5891405"/>
                <a:gd name="connsiteX9" fmla="*/ 500493 w 5382109"/>
                <a:gd name="connsiteY9" fmla="*/ 4977005 h 5891405"/>
                <a:gd name="connsiteX10" fmla="*/ 1755135 w 5382109"/>
                <a:gd name="connsiteY10" fmla="*/ 5039972 h 5891405"/>
                <a:gd name="connsiteX11" fmla="*/ 1946521 w 5382109"/>
                <a:gd name="connsiteY11" fmla="*/ 5891405 h 5891405"/>
                <a:gd name="connsiteX12" fmla="*/ 4785414 w 5382109"/>
                <a:gd name="connsiteY12" fmla="*/ 5859508 h 5891405"/>
                <a:gd name="connsiteX13" fmla="*/ 4891740 w 5382109"/>
                <a:gd name="connsiteY13" fmla="*/ 3520345 h 5891405"/>
                <a:gd name="connsiteX14" fmla="*/ 3031042 w 5382109"/>
                <a:gd name="connsiteY14" fmla="*/ 968 h 5891405"/>
                <a:gd name="connsiteX0" fmla="*/ 3031042 w 5382109"/>
                <a:gd name="connsiteY0" fmla="*/ 968 h 5891405"/>
                <a:gd name="connsiteX1" fmla="*/ 777098 w 5382109"/>
                <a:gd name="connsiteY1" fmla="*/ 1181117 h 5891405"/>
                <a:gd name="connsiteX2" fmla="*/ 577563 w 5382109"/>
                <a:gd name="connsiteY2" fmla="*/ 2303127 h 5891405"/>
                <a:gd name="connsiteX3" fmla="*/ 763 w 5382109"/>
                <a:gd name="connsiteY3" fmla="*/ 3052512 h 5891405"/>
                <a:gd name="connsiteX4" fmla="*/ 511126 w 5382109"/>
                <a:gd name="connsiteY4" fmla="*/ 3328959 h 5891405"/>
                <a:gd name="connsiteX5" fmla="*/ 340038 w 5382109"/>
                <a:gd name="connsiteY5" fmla="*/ 3735758 h 5891405"/>
                <a:gd name="connsiteX6" fmla="*/ 531424 w 5382109"/>
                <a:gd name="connsiteY6" fmla="*/ 3871219 h 5891405"/>
                <a:gd name="connsiteX7" fmla="*/ 372902 w 5382109"/>
                <a:gd name="connsiteY7" fmla="*/ 4062605 h 5891405"/>
                <a:gd name="connsiteX8" fmla="*/ 564288 w 5382109"/>
                <a:gd name="connsiteY8" fmla="*/ 4317787 h 5891405"/>
                <a:gd name="connsiteX9" fmla="*/ 500493 w 5382109"/>
                <a:gd name="connsiteY9" fmla="*/ 4977005 h 5891405"/>
                <a:gd name="connsiteX10" fmla="*/ 1755135 w 5382109"/>
                <a:gd name="connsiteY10" fmla="*/ 5039972 h 5891405"/>
                <a:gd name="connsiteX11" fmla="*/ 1946521 w 5382109"/>
                <a:gd name="connsiteY11" fmla="*/ 5891405 h 5891405"/>
                <a:gd name="connsiteX12" fmla="*/ 4785414 w 5382109"/>
                <a:gd name="connsiteY12" fmla="*/ 5859508 h 5891405"/>
                <a:gd name="connsiteX13" fmla="*/ 4891740 w 5382109"/>
                <a:gd name="connsiteY13" fmla="*/ 3520345 h 5891405"/>
                <a:gd name="connsiteX14" fmla="*/ 3031042 w 5382109"/>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1204 w 5382271"/>
                <a:gd name="connsiteY0" fmla="*/ 968 h 5891405"/>
                <a:gd name="connsiteX1" fmla="*/ 777260 w 5382271"/>
                <a:gd name="connsiteY1" fmla="*/ 1181117 h 5891405"/>
                <a:gd name="connsiteX2" fmla="*/ 523134 w 5382271"/>
                <a:gd name="connsiteY2" fmla="*/ 2303127 h 5891405"/>
                <a:gd name="connsiteX3" fmla="*/ 925 w 5382271"/>
                <a:gd name="connsiteY3" fmla="*/ 3052512 h 5891405"/>
                <a:gd name="connsiteX4" fmla="*/ 511288 w 5382271"/>
                <a:gd name="connsiteY4" fmla="*/ 3328959 h 5891405"/>
                <a:gd name="connsiteX5" fmla="*/ 340200 w 5382271"/>
                <a:gd name="connsiteY5" fmla="*/ 3735758 h 5891405"/>
                <a:gd name="connsiteX6" fmla="*/ 531586 w 5382271"/>
                <a:gd name="connsiteY6" fmla="*/ 3871219 h 5891405"/>
                <a:gd name="connsiteX7" fmla="*/ 373064 w 5382271"/>
                <a:gd name="connsiteY7" fmla="*/ 4062605 h 5891405"/>
                <a:gd name="connsiteX8" fmla="*/ 564450 w 5382271"/>
                <a:gd name="connsiteY8" fmla="*/ 4317787 h 5891405"/>
                <a:gd name="connsiteX9" fmla="*/ 500655 w 5382271"/>
                <a:gd name="connsiteY9" fmla="*/ 4977005 h 5891405"/>
                <a:gd name="connsiteX10" fmla="*/ 1755297 w 5382271"/>
                <a:gd name="connsiteY10" fmla="*/ 5039972 h 5891405"/>
                <a:gd name="connsiteX11" fmla="*/ 1946683 w 5382271"/>
                <a:gd name="connsiteY11" fmla="*/ 5891405 h 5891405"/>
                <a:gd name="connsiteX12" fmla="*/ 4785576 w 5382271"/>
                <a:gd name="connsiteY12" fmla="*/ 5859508 h 5891405"/>
                <a:gd name="connsiteX13" fmla="*/ 4891902 w 5382271"/>
                <a:gd name="connsiteY13" fmla="*/ 3520345 h 5891405"/>
                <a:gd name="connsiteX14" fmla="*/ 3031204 w 5382271"/>
                <a:gd name="connsiteY14" fmla="*/ 968 h 5891405"/>
                <a:gd name="connsiteX0" fmla="*/ 3038119 w 5389186"/>
                <a:gd name="connsiteY0" fmla="*/ 968 h 5891405"/>
                <a:gd name="connsiteX1" fmla="*/ 784175 w 5389186"/>
                <a:gd name="connsiteY1" fmla="*/ 1181117 h 5891405"/>
                <a:gd name="connsiteX2" fmla="*/ 530049 w 5389186"/>
                <a:gd name="connsiteY2" fmla="*/ 2303127 h 5891405"/>
                <a:gd name="connsiteX3" fmla="*/ 7840 w 5389186"/>
                <a:gd name="connsiteY3" fmla="*/ 3052512 h 5891405"/>
                <a:gd name="connsiteX4" fmla="*/ 518203 w 5389186"/>
                <a:gd name="connsiteY4" fmla="*/ 3328959 h 5891405"/>
                <a:gd name="connsiteX5" fmla="*/ 347115 w 5389186"/>
                <a:gd name="connsiteY5" fmla="*/ 3735758 h 5891405"/>
                <a:gd name="connsiteX6" fmla="*/ 538501 w 5389186"/>
                <a:gd name="connsiteY6" fmla="*/ 3871219 h 5891405"/>
                <a:gd name="connsiteX7" fmla="*/ 379979 w 5389186"/>
                <a:gd name="connsiteY7" fmla="*/ 4062605 h 5891405"/>
                <a:gd name="connsiteX8" fmla="*/ 571365 w 5389186"/>
                <a:gd name="connsiteY8" fmla="*/ 4317787 h 5891405"/>
                <a:gd name="connsiteX9" fmla="*/ 507570 w 5389186"/>
                <a:gd name="connsiteY9" fmla="*/ 4977005 h 5891405"/>
                <a:gd name="connsiteX10" fmla="*/ 1762212 w 5389186"/>
                <a:gd name="connsiteY10" fmla="*/ 5039972 h 5891405"/>
                <a:gd name="connsiteX11" fmla="*/ 1953598 w 5389186"/>
                <a:gd name="connsiteY11" fmla="*/ 5891405 h 5891405"/>
                <a:gd name="connsiteX12" fmla="*/ 4792491 w 5389186"/>
                <a:gd name="connsiteY12" fmla="*/ 5859508 h 5891405"/>
                <a:gd name="connsiteX13" fmla="*/ 4898817 w 5389186"/>
                <a:gd name="connsiteY13" fmla="*/ 3520345 h 5891405"/>
                <a:gd name="connsiteX14" fmla="*/ 3038119 w 5389186"/>
                <a:gd name="connsiteY14" fmla="*/ 968 h 5891405"/>
                <a:gd name="connsiteX0" fmla="*/ 3037057 w 5388124"/>
                <a:gd name="connsiteY0" fmla="*/ 968 h 5891405"/>
                <a:gd name="connsiteX1" fmla="*/ 783113 w 5388124"/>
                <a:gd name="connsiteY1" fmla="*/ 1181117 h 5891405"/>
                <a:gd name="connsiteX2" fmla="*/ 528987 w 5388124"/>
                <a:gd name="connsiteY2" fmla="*/ 2303127 h 5891405"/>
                <a:gd name="connsiteX3" fmla="*/ 6778 w 5388124"/>
                <a:gd name="connsiteY3" fmla="*/ 3052512 h 5891405"/>
                <a:gd name="connsiteX4" fmla="*/ 517141 w 5388124"/>
                <a:gd name="connsiteY4" fmla="*/ 3328959 h 5891405"/>
                <a:gd name="connsiteX5" fmla="*/ 346053 w 5388124"/>
                <a:gd name="connsiteY5" fmla="*/ 3735758 h 5891405"/>
                <a:gd name="connsiteX6" fmla="*/ 537439 w 5388124"/>
                <a:gd name="connsiteY6" fmla="*/ 3871219 h 5891405"/>
                <a:gd name="connsiteX7" fmla="*/ 378917 w 5388124"/>
                <a:gd name="connsiteY7" fmla="*/ 4062605 h 5891405"/>
                <a:gd name="connsiteX8" fmla="*/ 570303 w 5388124"/>
                <a:gd name="connsiteY8" fmla="*/ 4317787 h 5891405"/>
                <a:gd name="connsiteX9" fmla="*/ 506508 w 5388124"/>
                <a:gd name="connsiteY9" fmla="*/ 4977005 h 5891405"/>
                <a:gd name="connsiteX10" fmla="*/ 1761150 w 5388124"/>
                <a:gd name="connsiteY10" fmla="*/ 5039972 h 5891405"/>
                <a:gd name="connsiteX11" fmla="*/ 1952536 w 5388124"/>
                <a:gd name="connsiteY11" fmla="*/ 5891405 h 5891405"/>
                <a:gd name="connsiteX12" fmla="*/ 4791429 w 5388124"/>
                <a:gd name="connsiteY12" fmla="*/ 5859508 h 5891405"/>
                <a:gd name="connsiteX13" fmla="*/ 4897755 w 5388124"/>
                <a:gd name="connsiteY13" fmla="*/ 3520345 h 5891405"/>
                <a:gd name="connsiteX14" fmla="*/ 3037057 w 5388124"/>
                <a:gd name="connsiteY14" fmla="*/ 968 h 5891405"/>
                <a:gd name="connsiteX0" fmla="*/ 3034541 w 5385608"/>
                <a:gd name="connsiteY0" fmla="*/ 968 h 5891405"/>
                <a:gd name="connsiteX1" fmla="*/ 780597 w 5385608"/>
                <a:gd name="connsiteY1" fmla="*/ 1181117 h 5891405"/>
                <a:gd name="connsiteX2" fmla="*/ 526471 w 5385608"/>
                <a:gd name="connsiteY2" fmla="*/ 2303127 h 5891405"/>
                <a:gd name="connsiteX3" fmla="*/ 4262 w 5385608"/>
                <a:gd name="connsiteY3" fmla="*/ 3052512 h 5891405"/>
                <a:gd name="connsiteX4" fmla="*/ 514625 w 5385608"/>
                <a:gd name="connsiteY4" fmla="*/ 3328959 h 5891405"/>
                <a:gd name="connsiteX5" fmla="*/ 343537 w 5385608"/>
                <a:gd name="connsiteY5" fmla="*/ 3735758 h 5891405"/>
                <a:gd name="connsiteX6" fmla="*/ 534923 w 5385608"/>
                <a:gd name="connsiteY6" fmla="*/ 3871219 h 5891405"/>
                <a:gd name="connsiteX7" fmla="*/ 376401 w 5385608"/>
                <a:gd name="connsiteY7" fmla="*/ 4062605 h 5891405"/>
                <a:gd name="connsiteX8" fmla="*/ 567787 w 5385608"/>
                <a:gd name="connsiteY8" fmla="*/ 4317787 h 5891405"/>
                <a:gd name="connsiteX9" fmla="*/ 503992 w 5385608"/>
                <a:gd name="connsiteY9" fmla="*/ 4977005 h 5891405"/>
                <a:gd name="connsiteX10" fmla="*/ 1758634 w 5385608"/>
                <a:gd name="connsiteY10" fmla="*/ 5039972 h 5891405"/>
                <a:gd name="connsiteX11" fmla="*/ 1950020 w 5385608"/>
                <a:gd name="connsiteY11" fmla="*/ 5891405 h 5891405"/>
                <a:gd name="connsiteX12" fmla="*/ 4788913 w 5385608"/>
                <a:gd name="connsiteY12" fmla="*/ 5859508 h 5891405"/>
                <a:gd name="connsiteX13" fmla="*/ 4895239 w 5385608"/>
                <a:gd name="connsiteY13" fmla="*/ 3520345 h 5891405"/>
                <a:gd name="connsiteX14" fmla="*/ 3034541 w 5385608"/>
                <a:gd name="connsiteY14" fmla="*/ 968 h 5891405"/>
                <a:gd name="connsiteX0" fmla="*/ 3034541 w 5385608"/>
                <a:gd name="connsiteY0" fmla="*/ 968 h 5891405"/>
                <a:gd name="connsiteX1" fmla="*/ 780597 w 5385608"/>
                <a:gd name="connsiteY1" fmla="*/ 1181117 h 5891405"/>
                <a:gd name="connsiteX2" fmla="*/ 526471 w 5385608"/>
                <a:gd name="connsiteY2" fmla="*/ 2303127 h 5891405"/>
                <a:gd name="connsiteX3" fmla="*/ 4262 w 5385608"/>
                <a:gd name="connsiteY3" fmla="*/ 3052512 h 5891405"/>
                <a:gd name="connsiteX4" fmla="*/ 514625 w 5385608"/>
                <a:gd name="connsiteY4" fmla="*/ 3328959 h 5891405"/>
                <a:gd name="connsiteX5" fmla="*/ 343537 w 5385608"/>
                <a:gd name="connsiteY5" fmla="*/ 3735758 h 5891405"/>
                <a:gd name="connsiteX6" fmla="*/ 534923 w 5385608"/>
                <a:gd name="connsiteY6" fmla="*/ 3871219 h 5891405"/>
                <a:gd name="connsiteX7" fmla="*/ 376401 w 5385608"/>
                <a:gd name="connsiteY7" fmla="*/ 4062605 h 5891405"/>
                <a:gd name="connsiteX8" fmla="*/ 567787 w 5385608"/>
                <a:gd name="connsiteY8" fmla="*/ 4317787 h 5891405"/>
                <a:gd name="connsiteX9" fmla="*/ 503992 w 5385608"/>
                <a:gd name="connsiteY9" fmla="*/ 4977005 h 5891405"/>
                <a:gd name="connsiteX10" fmla="*/ 1758634 w 5385608"/>
                <a:gd name="connsiteY10" fmla="*/ 5039972 h 5891405"/>
                <a:gd name="connsiteX11" fmla="*/ 1950020 w 5385608"/>
                <a:gd name="connsiteY11" fmla="*/ 5891405 h 5891405"/>
                <a:gd name="connsiteX12" fmla="*/ 4788913 w 5385608"/>
                <a:gd name="connsiteY12" fmla="*/ 5859508 h 5891405"/>
                <a:gd name="connsiteX13" fmla="*/ 4895239 w 5385608"/>
                <a:gd name="connsiteY13" fmla="*/ 3520345 h 5891405"/>
                <a:gd name="connsiteX14" fmla="*/ 3034541 w 5385608"/>
                <a:gd name="connsiteY14" fmla="*/ 968 h 5891405"/>
                <a:gd name="connsiteX0" fmla="*/ 2980702 w 5331769"/>
                <a:gd name="connsiteY0" fmla="*/ 968 h 5891405"/>
                <a:gd name="connsiteX1" fmla="*/ 726758 w 5331769"/>
                <a:gd name="connsiteY1" fmla="*/ 1181117 h 5891405"/>
                <a:gd name="connsiteX2" fmla="*/ 472632 w 5331769"/>
                <a:gd name="connsiteY2" fmla="*/ 2303127 h 5891405"/>
                <a:gd name="connsiteX3" fmla="*/ 5014 w 5331769"/>
                <a:gd name="connsiteY3" fmla="*/ 3079808 h 5891405"/>
                <a:gd name="connsiteX4" fmla="*/ 460786 w 5331769"/>
                <a:gd name="connsiteY4" fmla="*/ 3328959 h 5891405"/>
                <a:gd name="connsiteX5" fmla="*/ 289698 w 5331769"/>
                <a:gd name="connsiteY5" fmla="*/ 3735758 h 5891405"/>
                <a:gd name="connsiteX6" fmla="*/ 481084 w 5331769"/>
                <a:gd name="connsiteY6" fmla="*/ 3871219 h 5891405"/>
                <a:gd name="connsiteX7" fmla="*/ 322562 w 5331769"/>
                <a:gd name="connsiteY7" fmla="*/ 4062605 h 5891405"/>
                <a:gd name="connsiteX8" fmla="*/ 513948 w 5331769"/>
                <a:gd name="connsiteY8" fmla="*/ 4317787 h 5891405"/>
                <a:gd name="connsiteX9" fmla="*/ 450153 w 5331769"/>
                <a:gd name="connsiteY9" fmla="*/ 4977005 h 5891405"/>
                <a:gd name="connsiteX10" fmla="*/ 1704795 w 5331769"/>
                <a:gd name="connsiteY10" fmla="*/ 5039972 h 5891405"/>
                <a:gd name="connsiteX11" fmla="*/ 1896181 w 5331769"/>
                <a:gd name="connsiteY11" fmla="*/ 5891405 h 5891405"/>
                <a:gd name="connsiteX12" fmla="*/ 4735074 w 5331769"/>
                <a:gd name="connsiteY12" fmla="*/ 5859508 h 5891405"/>
                <a:gd name="connsiteX13" fmla="*/ 4841400 w 5331769"/>
                <a:gd name="connsiteY13" fmla="*/ 3520345 h 5891405"/>
                <a:gd name="connsiteX14" fmla="*/ 2980702 w 5331769"/>
                <a:gd name="connsiteY14" fmla="*/ 968 h 5891405"/>
                <a:gd name="connsiteX0" fmla="*/ 2980491 w 5331558"/>
                <a:gd name="connsiteY0" fmla="*/ 968 h 5891405"/>
                <a:gd name="connsiteX1" fmla="*/ 726547 w 5331558"/>
                <a:gd name="connsiteY1" fmla="*/ 1181117 h 5891405"/>
                <a:gd name="connsiteX2" fmla="*/ 486068 w 5331558"/>
                <a:gd name="connsiteY2" fmla="*/ 2371366 h 5891405"/>
                <a:gd name="connsiteX3" fmla="*/ 4803 w 5331558"/>
                <a:gd name="connsiteY3" fmla="*/ 3079808 h 5891405"/>
                <a:gd name="connsiteX4" fmla="*/ 460575 w 5331558"/>
                <a:gd name="connsiteY4" fmla="*/ 3328959 h 5891405"/>
                <a:gd name="connsiteX5" fmla="*/ 289487 w 5331558"/>
                <a:gd name="connsiteY5" fmla="*/ 3735758 h 5891405"/>
                <a:gd name="connsiteX6" fmla="*/ 480873 w 5331558"/>
                <a:gd name="connsiteY6" fmla="*/ 3871219 h 5891405"/>
                <a:gd name="connsiteX7" fmla="*/ 322351 w 5331558"/>
                <a:gd name="connsiteY7" fmla="*/ 4062605 h 5891405"/>
                <a:gd name="connsiteX8" fmla="*/ 513737 w 5331558"/>
                <a:gd name="connsiteY8" fmla="*/ 4317787 h 5891405"/>
                <a:gd name="connsiteX9" fmla="*/ 449942 w 5331558"/>
                <a:gd name="connsiteY9" fmla="*/ 4977005 h 5891405"/>
                <a:gd name="connsiteX10" fmla="*/ 1704584 w 5331558"/>
                <a:gd name="connsiteY10" fmla="*/ 5039972 h 5891405"/>
                <a:gd name="connsiteX11" fmla="*/ 1895970 w 5331558"/>
                <a:gd name="connsiteY11" fmla="*/ 5891405 h 5891405"/>
                <a:gd name="connsiteX12" fmla="*/ 4734863 w 5331558"/>
                <a:gd name="connsiteY12" fmla="*/ 5859508 h 5891405"/>
                <a:gd name="connsiteX13" fmla="*/ 4841189 w 5331558"/>
                <a:gd name="connsiteY13" fmla="*/ 3520345 h 5891405"/>
                <a:gd name="connsiteX14" fmla="*/ 2980491 w 5331558"/>
                <a:gd name="connsiteY14" fmla="*/ 968 h 58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31558" h="5891405">
                  <a:moveTo>
                    <a:pt x="2980491" y="968"/>
                  </a:moveTo>
                  <a:cubicBezTo>
                    <a:pt x="1784302" y="-22254"/>
                    <a:pt x="1040642" y="372305"/>
                    <a:pt x="726547" y="1181117"/>
                  </a:cubicBezTo>
                  <a:cubicBezTo>
                    <a:pt x="528785" y="1834793"/>
                    <a:pt x="744238" y="2066938"/>
                    <a:pt x="486068" y="2371366"/>
                  </a:cubicBezTo>
                  <a:cubicBezTo>
                    <a:pt x="239818" y="2677225"/>
                    <a:pt x="-40213" y="2911644"/>
                    <a:pt x="4803" y="3079808"/>
                  </a:cubicBezTo>
                  <a:cubicBezTo>
                    <a:pt x="109541" y="3181162"/>
                    <a:pt x="260766" y="3266498"/>
                    <a:pt x="460575" y="3328959"/>
                  </a:cubicBezTo>
                  <a:cubicBezTo>
                    <a:pt x="403546" y="3464559"/>
                    <a:pt x="198074" y="3641722"/>
                    <a:pt x="289487" y="3735758"/>
                  </a:cubicBezTo>
                  <a:lnTo>
                    <a:pt x="480873" y="3871219"/>
                  </a:lnTo>
                  <a:cubicBezTo>
                    <a:pt x="428032" y="3935014"/>
                    <a:pt x="303940" y="3939433"/>
                    <a:pt x="322351" y="4062605"/>
                  </a:cubicBezTo>
                  <a:cubicBezTo>
                    <a:pt x="362395" y="4195168"/>
                    <a:pt x="550882" y="4226788"/>
                    <a:pt x="513737" y="4317787"/>
                  </a:cubicBezTo>
                  <a:cubicBezTo>
                    <a:pt x="397470" y="4561276"/>
                    <a:pt x="358392" y="4876020"/>
                    <a:pt x="449942" y="4977005"/>
                  </a:cubicBezTo>
                  <a:cubicBezTo>
                    <a:pt x="636587" y="5158310"/>
                    <a:pt x="1197305" y="5208988"/>
                    <a:pt x="1704584" y="5039972"/>
                  </a:cubicBezTo>
                  <a:lnTo>
                    <a:pt x="1895970" y="5891405"/>
                  </a:lnTo>
                  <a:lnTo>
                    <a:pt x="4734863" y="5859508"/>
                  </a:lnTo>
                  <a:cubicBezTo>
                    <a:pt x="4366268" y="4516262"/>
                    <a:pt x="4422975" y="3927926"/>
                    <a:pt x="4841189" y="3520345"/>
                  </a:cubicBezTo>
                  <a:cubicBezTo>
                    <a:pt x="6117095" y="1964448"/>
                    <a:pt x="4692333" y="36409"/>
                    <a:pt x="2980491" y="9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 name="Oval 37">
              <a:extLst>
                <a:ext uri="{FF2B5EF4-FFF2-40B4-BE49-F238E27FC236}">
                  <a16:creationId xmlns:a16="http://schemas.microsoft.com/office/drawing/2014/main" id="{2AAFBE2C-E8BF-8742-8334-7595B474DD1E}"/>
                </a:ext>
              </a:extLst>
            </p:cNvPr>
            <p:cNvSpPr/>
            <p:nvPr/>
          </p:nvSpPr>
          <p:spPr>
            <a:xfrm rot="18100542">
              <a:off x="5907878" y="-58593"/>
              <a:ext cx="1436045" cy="2141152"/>
            </a:xfrm>
            <a:custGeom>
              <a:avLst/>
              <a:gdLst/>
              <a:ahLst/>
              <a:cxnLst/>
              <a:rect l="l" t="t" r="r" b="b"/>
              <a:pathLst>
                <a:path w="1170491" h="1745209">
                  <a:moveTo>
                    <a:pt x="429221" y="671495"/>
                  </a:moveTo>
                  <a:cubicBezTo>
                    <a:pt x="415869" y="670322"/>
                    <a:pt x="402356" y="670624"/>
                    <a:pt x="388917" y="672439"/>
                  </a:cubicBezTo>
                  <a:cubicBezTo>
                    <a:pt x="370997" y="674859"/>
                    <a:pt x="353207" y="679968"/>
                    <a:pt x="336101" y="687858"/>
                  </a:cubicBezTo>
                  <a:lnTo>
                    <a:pt x="344770" y="708640"/>
                  </a:lnTo>
                  <a:cubicBezTo>
                    <a:pt x="405276" y="680369"/>
                    <a:pt x="475531" y="691805"/>
                    <a:pt x="523918" y="737799"/>
                  </a:cubicBezTo>
                  <a:cubicBezTo>
                    <a:pt x="569388" y="781022"/>
                    <a:pt x="587723" y="847396"/>
                    <a:pt x="571504" y="910067"/>
                  </a:cubicBezTo>
                  <a:lnTo>
                    <a:pt x="593243" y="915886"/>
                  </a:lnTo>
                  <a:cubicBezTo>
                    <a:pt x="611678" y="844923"/>
                    <a:pt x="590662" y="769719"/>
                    <a:pt x="538740" y="720849"/>
                  </a:cubicBezTo>
                  <a:cubicBezTo>
                    <a:pt x="507886" y="691808"/>
                    <a:pt x="469277" y="675014"/>
                    <a:pt x="429221" y="671495"/>
                  </a:cubicBezTo>
                  <a:close/>
                  <a:moveTo>
                    <a:pt x="588421" y="580980"/>
                  </a:moveTo>
                  <a:cubicBezTo>
                    <a:pt x="534186" y="581239"/>
                    <a:pt x="482134" y="605639"/>
                    <a:pt x="446738" y="649695"/>
                  </a:cubicBezTo>
                  <a:lnTo>
                    <a:pt x="463760" y="664437"/>
                  </a:lnTo>
                  <a:cubicBezTo>
                    <a:pt x="505329" y="612166"/>
                    <a:pt x="573320" y="591099"/>
                    <a:pt x="637132" y="610714"/>
                  </a:cubicBezTo>
                  <a:cubicBezTo>
                    <a:pt x="697098" y="629147"/>
                    <a:pt x="743088" y="680397"/>
                    <a:pt x="756495" y="743730"/>
                  </a:cubicBezTo>
                  <a:lnTo>
                    <a:pt x="778549" y="739251"/>
                  </a:lnTo>
                  <a:cubicBezTo>
                    <a:pt x="763432" y="667508"/>
                    <a:pt x="711108" y="609548"/>
                    <a:pt x="642848" y="588934"/>
                  </a:cubicBezTo>
                  <a:cubicBezTo>
                    <a:pt x="624821" y="583490"/>
                    <a:pt x="606500" y="580894"/>
                    <a:pt x="588421" y="580980"/>
                  </a:cubicBezTo>
                  <a:close/>
                  <a:moveTo>
                    <a:pt x="533817" y="0"/>
                  </a:moveTo>
                  <a:cubicBezTo>
                    <a:pt x="617807" y="1"/>
                    <a:pt x="687626" y="60667"/>
                    <a:pt x="697680" y="141081"/>
                  </a:cubicBezTo>
                  <a:cubicBezTo>
                    <a:pt x="603869" y="182843"/>
                    <a:pt x="547102" y="268997"/>
                    <a:pt x="562024" y="352718"/>
                  </a:cubicBezTo>
                  <a:lnTo>
                    <a:pt x="584367" y="347971"/>
                  </a:lnTo>
                  <a:cubicBezTo>
                    <a:pt x="570422" y="267354"/>
                    <a:pt x="633895" y="183716"/>
                    <a:pt x="732836" y="150639"/>
                  </a:cubicBezTo>
                  <a:cubicBezTo>
                    <a:pt x="738208" y="147500"/>
                    <a:pt x="743991" y="147205"/>
                    <a:pt x="749842" y="147205"/>
                  </a:cubicBezTo>
                  <a:cubicBezTo>
                    <a:pt x="844103" y="147205"/>
                    <a:pt x="920515" y="223618"/>
                    <a:pt x="920515" y="317877"/>
                  </a:cubicBezTo>
                  <a:lnTo>
                    <a:pt x="910716" y="366417"/>
                  </a:lnTo>
                  <a:lnTo>
                    <a:pt x="920515" y="366418"/>
                  </a:lnTo>
                  <a:lnTo>
                    <a:pt x="920515" y="371433"/>
                  </a:lnTo>
                  <a:cubicBezTo>
                    <a:pt x="997755" y="379016"/>
                    <a:pt x="1056877" y="445155"/>
                    <a:pt x="1056877" y="525101"/>
                  </a:cubicBezTo>
                  <a:lnTo>
                    <a:pt x="1047351" y="572282"/>
                  </a:lnTo>
                  <a:cubicBezTo>
                    <a:pt x="1119671" y="602218"/>
                    <a:pt x="1170491" y="673500"/>
                    <a:pt x="1170491" y="756650"/>
                  </a:cubicBezTo>
                  <a:cubicBezTo>
                    <a:pt x="1170490" y="802863"/>
                    <a:pt x="1154794" y="845409"/>
                    <a:pt x="1127569" y="878235"/>
                  </a:cubicBezTo>
                  <a:cubicBezTo>
                    <a:pt x="1080615" y="934488"/>
                    <a:pt x="1014142" y="959925"/>
                    <a:pt x="954678" y="939840"/>
                  </a:cubicBezTo>
                  <a:lnTo>
                    <a:pt x="947373" y="961469"/>
                  </a:lnTo>
                  <a:cubicBezTo>
                    <a:pt x="1000817" y="979520"/>
                    <a:pt x="1058949" y="966083"/>
                    <a:pt x="1106746" y="928282"/>
                  </a:cubicBezTo>
                  <a:cubicBezTo>
                    <a:pt x="1128548" y="955588"/>
                    <a:pt x="1138907" y="990708"/>
                    <a:pt x="1138907" y="1028247"/>
                  </a:cubicBezTo>
                  <a:cubicBezTo>
                    <a:pt x="1138907" y="1124134"/>
                    <a:pt x="1071328" y="1204237"/>
                    <a:pt x="981133" y="1223220"/>
                  </a:cubicBezTo>
                  <a:cubicBezTo>
                    <a:pt x="889088" y="1236998"/>
                    <a:pt x="805358" y="1200898"/>
                    <a:pt x="777272" y="1134408"/>
                  </a:cubicBezTo>
                  <a:cubicBezTo>
                    <a:pt x="791057" y="1124903"/>
                    <a:pt x="802061" y="1111678"/>
                    <a:pt x="810210" y="1096167"/>
                  </a:cubicBezTo>
                  <a:cubicBezTo>
                    <a:pt x="831546" y="1055553"/>
                    <a:pt x="830022" y="1005443"/>
                    <a:pt x="806195" y="964175"/>
                  </a:cubicBezTo>
                  <a:lnTo>
                    <a:pt x="787267" y="975103"/>
                  </a:lnTo>
                  <a:cubicBezTo>
                    <a:pt x="807161" y="1009560"/>
                    <a:pt x="808703" y="1051275"/>
                    <a:pt x="791333" y="1085110"/>
                  </a:cubicBezTo>
                  <a:cubicBezTo>
                    <a:pt x="784855" y="1097727"/>
                    <a:pt x="776117" y="1108536"/>
                    <a:pt x="763385" y="1114320"/>
                  </a:cubicBezTo>
                  <a:lnTo>
                    <a:pt x="744063" y="1119497"/>
                  </a:lnTo>
                  <a:lnTo>
                    <a:pt x="747716" y="1128718"/>
                  </a:lnTo>
                  <a:cubicBezTo>
                    <a:pt x="731558" y="1137628"/>
                    <a:pt x="712804" y="1141697"/>
                    <a:pt x="693327" y="1140344"/>
                  </a:cubicBezTo>
                  <a:cubicBezTo>
                    <a:pt x="655409" y="1137711"/>
                    <a:pt x="620494" y="1114908"/>
                    <a:pt x="601213" y="1080185"/>
                  </a:cubicBezTo>
                  <a:lnTo>
                    <a:pt x="582082" y="1090754"/>
                  </a:lnTo>
                  <a:cubicBezTo>
                    <a:pt x="605167" y="1132362"/>
                    <a:pt x="647281" y="1159482"/>
                    <a:pt x="693051" y="1162221"/>
                  </a:cubicBezTo>
                  <a:cubicBezTo>
                    <a:pt x="715413" y="1163558"/>
                    <a:pt x="736989" y="1158982"/>
                    <a:pt x="755684" y="1148835"/>
                  </a:cubicBezTo>
                  <a:cubicBezTo>
                    <a:pt x="792539" y="1222022"/>
                    <a:pt x="887119" y="1262260"/>
                    <a:pt x="989751" y="1247587"/>
                  </a:cubicBezTo>
                  <a:cubicBezTo>
                    <a:pt x="1000157" y="1267987"/>
                    <a:pt x="1004489" y="1291252"/>
                    <a:pt x="1004488" y="1315531"/>
                  </a:cubicBezTo>
                  <a:cubicBezTo>
                    <a:pt x="1004488" y="1381750"/>
                    <a:pt x="972258" y="1440443"/>
                    <a:pt x="920375" y="1473506"/>
                  </a:cubicBezTo>
                  <a:lnTo>
                    <a:pt x="913116" y="1474079"/>
                  </a:lnTo>
                  <a:cubicBezTo>
                    <a:pt x="850536" y="1469665"/>
                    <a:pt x="794159" y="1430126"/>
                    <a:pt x="766796" y="1371458"/>
                  </a:cubicBezTo>
                  <a:lnTo>
                    <a:pt x="746323" y="1380801"/>
                  </a:lnTo>
                  <a:cubicBezTo>
                    <a:pt x="776874" y="1446464"/>
                    <a:pt x="839753" y="1490827"/>
                    <a:pt x="909888" y="1496052"/>
                  </a:cubicBezTo>
                  <a:cubicBezTo>
                    <a:pt x="891948" y="1561049"/>
                    <a:pt x="840393" y="1611456"/>
                    <a:pt x="774838" y="1628054"/>
                  </a:cubicBezTo>
                  <a:cubicBezTo>
                    <a:pt x="686646" y="1642970"/>
                    <a:pt x="605133" y="1612285"/>
                    <a:pt x="571751" y="1552195"/>
                  </a:cubicBezTo>
                  <a:lnTo>
                    <a:pt x="550649" y="1566422"/>
                  </a:lnTo>
                  <a:cubicBezTo>
                    <a:pt x="577499" y="1609979"/>
                    <a:pt x="626419" y="1639383"/>
                    <a:pt x="685031" y="1648114"/>
                  </a:cubicBezTo>
                  <a:cubicBezTo>
                    <a:pt x="659684" y="1706013"/>
                    <a:pt x="601329" y="1745210"/>
                    <a:pt x="533818" y="1745209"/>
                  </a:cubicBezTo>
                  <a:cubicBezTo>
                    <a:pt x="455549" y="1745210"/>
                    <a:pt x="416747" y="1692524"/>
                    <a:pt x="372301" y="1619888"/>
                  </a:cubicBezTo>
                  <a:lnTo>
                    <a:pt x="366380" y="1592106"/>
                  </a:lnTo>
                  <a:cubicBezTo>
                    <a:pt x="305091" y="1567105"/>
                    <a:pt x="259811" y="1511085"/>
                    <a:pt x="250590" y="1443452"/>
                  </a:cubicBezTo>
                  <a:cubicBezTo>
                    <a:pt x="203712" y="1453117"/>
                    <a:pt x="158965" y="1444975"/>
                    <a:pt x="117260" y="1407178"/>
                  </a:cubicBezTo>
                  <a:cubicBezTo>
                    <a:pt x="55030" y="1350772"/>
                    <a:pt x="44039" y="1258933"/>
                    <a:pt x="90593" y="1192598"/>
                  </a:cubicBezTo>
                  <a:cubicBezTo>
                    <a:pt x="186799" y="1224213"/>
                    <a:pt x="285304" y="1199642"/>
                    <a:pt x="330760" y="1129474"/>
                  </a:cubicBezTo>
                  <a:lnTo>
                    <a:pt x="344999" y="1132822"/>
                  </a:lnTo>
                  <a:cubicBezTo>
                    <a:pt x="420009" y="1139731"/>
                    <a:pt x="490500" y="1101048"/>
                    <a:pt x="524987" y="1034051"/>
                  </a:cubicBezTo>
                  <a:lnTo>
                    <a:pt x="505360" y="1023014"/>
                  </a:lnTo>
                  <a:cubicBezTo>
                    <a:pt x="475089" y="1082544"/>
                    <a:pt x="412689" y="1116790"/>
                    <a:pt x="346243" y="1110339"/>
                  </a:cubicBezTo>
                  <a:cubicBezTo>
                    <a:pt x="283801" y="1104277"/>
                    <a:pt x="228486" y="1063265"/>
                    <a:pt x="202679" y="1003895"/>
                  </a:cubicBezTo>
                  <a:lnTo>
                    <a:pt x="181967" y="1012696"/>
                  </a:lnTo>
                  <a:cubicBezTo>
                    <a:pt x="205492" y="1066954"/>
                    <a:pt x="250941" y="1107583"/>
                    <a:pt x="305288" y="1123484"/>
                  </a:cubicBezTo>
                  <a:cubicBezTo>
                    <a:pt x="260051" y="1186174"/>
                    <a:pt x="162021" y="1201884"/>
                    <a:pt x="70961" y="1161909"/>
                  </a:cubicBezTo>
                  <a:cubicBezTo>
                    <a:pt x="64874" y="1160625"/>
                    <a:pt x="60391" y="1156961"/>
                    <a:pt x="56055" y="1153032"/>
                  </a:cubicBezTo>
                  <a:cubicBezTo>
                    <a:pt x="-13786" y="1089729"/>
                    <a:pt x="-19088" y="981796"/>
                    <a:pt x="44214" y="911953"/>
                  </a:cubicBezTo>
                  <a:lnTo>
                    <a:pt x="84073" y="882569"/>
                  </a:lnTo>
                  <a:lnTo>
                    <a:pt x="76811" y="875989"/>
                  </a:lnTo>
                  <a:lnTo>
                    <a:pt x="80179" y="872273"/>
                  </a:lnTo>
                  <a:cubicBezTo>
                    <a:pt x="28040" y="814783"/>
                    <a:pt x="28651" y="726072"/>
                    <a:pt x="82340" y="666836"/>
                  </a:cubicBezTo>
                  <a:lnTo>
                    <a:pt x="121082" y="638275"/>
                  </a:lnTo>
                  <a:cubicBezTo>
                    <a:pt x="89526" y="571593"/>
                    <a:pt x="96788" y="490523"/>
                    <a:pt x="145805" y="430894"/>
                  </a:cubicBezTo>
                  <a:cubicBezTo>
                    <a:pt x="198586" y="400645"/>
                    <a:pt x="259015" y="385179"/>
                    <a:pt x="321878" y="383347"/>
                  </a:cubicBezTo>
                  <a:lnTo>
                    <a:pt x="321111" y="357014"/>
                  </a:lnTo>
                  <a:cubicBezTo>
                    <a:pt x="257723" y="358862"/>
                    <a:pt x="196668" y="373772"/>
                    <a:pt x="141180" y="399723"/>
                  </a:cubicBezTo>
                  <a:cubicBezTo>
                    <a:pt x="117813" y="370058"/>
                    <a:pt x="106816" y="332072"/>
                    <a:pt x="106816" y="291518"/>
                  </a:cubicBezTo>
                  <a:cubicBezTo>
                    <a:pt x="106816" y="170286"/>
                    <a:pt x="205094" y="72008"/>
                    <a:pt x="326327" y="72008"/>
                  </a:cubicBezTo>
                  <a:cubicBezTo>
                    <a:pt x="350305" y="72008"/>
                    <a:pt x="373385" y="75853"/>
                    <a:pt x="394659" y="83948"/>
                  </a:cubicBezTo>
                  <a:cubicBezTo>
                    <a:pt x="425371" y="33609"/>
                    <a:pt x="467237" y="0"/>
                    <a:pt x="53381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1" name="Oval 21">
            <a:extLst>
              <a:ext uri="{FF2B5EF4-FFF2-40B4-BE49-F238E27FC236}">
                <a16:creationId xmlns:a16="http://schemas.microsoft.com/office/drawing/2014/main" id="{D47DE235-F8BB-AB43-81D1-D8764D976DEE}"/>
              </a:ext>
            </a:extLst>
          </p:cNvPr>
          <p:cNvSpPr>
            <a:spLocks noChangeAspect="1"/>
          </p:cNvSpPr>
          <p:nvPr/>
        </p:nvSpPr>
        <p:spPr>
          <a:xfrm>
            <a:off x="2558692" y="1715116"/>
            <a:ext cx="360000" cy="360000"/>
          </a:xfrm>
          <a:custGeom>
            <a:avLst/>
            <a:gdLst/>
            <a:ahLst/>
            <a:cxnLst/>
            <a:rect l="l" t="t" r="r" b="b"/>
            <a:pathLst>
              <a:path w="3240000" h="3240000">
                <a:moveTo>
                  <a:pt x="1799999" y="306000"/>
                </a:moveTo>
                <a:lnTo>
                  <a:pt x="1440000" y="306000"/>
                </a:lnTo>
                <a:lnTo>
                  <a:pt x="1440000" y="1308231"/>
                </a:lnTo>
                <a:lnTo>
                  <a:pt x="572043" y="807116"/>
                </a:lnTo>
                <a:lnTo>
                  <a:pt x="392043" y="1118885"/>
                </a:lnTo>
                <a:lnTo>
                  <a:pt x="1260000" y="1620000"/>
                </a:lnTo>
                <a:lnTo>
                  <a:pt x="392043" y="2121116"/>
                </a:lnTo>
                <a:lnTo>
                  <a:pt x="572043" y="2432885"/>
                </a:lnTo>
                <a:lnTo>
                  <a:pt x="1440000" y="1931769"/>
                </a:lnTo>
                <a:lnTo>
                  <a:pt x="1440000" y="2934000"/>
                </a:lnTo>
                <a:lnTo>
                  <a:pt x="1800000" y="2934000"/>
                </a:lnTo>
                <a:lnTo>
                  <a:pt x="1800000" y="1931769"/>
                </a:lnTo>
                <a:lnTo>
                  <a:pt x="2667957" y="2432884"/>
                </a:lnTo>
                <a:lnTo>
                  <a:pt x="2847957" y="2121116"/>
                </a:lnTo>
                <a:lnTo>
                  <a:pt x="1980000" y="1620000"/>
                </a:lnTo>
                <a:lnTo>
                  <a:pt x="2847958" y="1118885"/>
                </a:lnTo>
                <a:lnTo>
                  <a:pt x="2667957" y="807116"/>
                </a:lnTo>
                <a:lnTo>
                  <a:pt x="1800000" y="1308231"/>
                </a:ln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2" name="Oval 25">
            <a:extLst>
              <a:ext uri="{FF2B5EF4-FFF2-40B4-BE49-F238E27FC236}">
                <a16:creationId xmlns:a16="http://schemas.microsoft.com/office/drawing/2014/main" id="{A609D295-8CDD-EF4B-ACF6-C1D2F62F03C4}"/>
              </a:ext>
            </a:extLst>
          </p:cNvPr>
          <p:cNvSpPr>
            <a:spLocks noChangeAspect="1"/>
          </p:cNvSpPr>
          <p:nvPr/>
        </p:nvSpPr>
        <p:spPr>
          <a:xfrm>
            <a:off x="3093966" y="1742636"/>
            <a:ext cx="360000" cy="360492"/>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 name="Block Arc 11">
            <a:extLst>
              <a:ext uri="{FF2B5EF4-FFF2-40B4-BE49-F238E27FC236}">
                <a16:creationId xmlns:a16="http://schemas.microsoft.com/office/drawing/2014/main" id="{420E98A1-C381-A641-A8A1-9D098BF4BE02}"/>
              </a:ext>
            </a:extLst>
          </p:cNvPr>
          <p:cNvSpPr/>
          <p:nvPr/>
        </p:nvSpPr>
        <p:spPr>
          <a:xfrm rot="10800000">
            <a:off x="419207" y="3785219"/>
            <a:ext cx="185518" cy="282895"/>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24" name="Rectangle 21">
            <a:extLst>
              <a:ext uri="{FF2B5EF4-FFF2-40B4-BE49-F238E27FC236}">
                <a16:creationId xmlns:a16="http://schemas.microsoft.com/office/drawing/2014/main" id="{8F4F51F3-693D-E14C-818D-14E668FD7C71}"/>
              </a:ext>
            </a:extLst>
          </p:cNvPr>
          <p:cNvSpPr/>
          <p:nvPr/>
        </p:nvSpPr>
        <p:spPr>
          <a:xfrm>
            <a:off x="712984" y="3801189"/>
            <a:ext cx="568529" cy="264794"/>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5" name="Round Same Side Corner Rectangle 8">
            <a:extLst>
              <a:ext uri="{FF2B5EF4-FFF2-40B4-BE49-F238E27FC236}">
                <a16:creationId xmlns:a16="http://schemas.microsoft.com/office/drawing/2014/main" id="{90251EE7-1193-0140-873E-B5D10E5EA2CB}"/>
              </a:ext>
            </a:extLst>
          </p:cNvPr>
          <p:cNvSpPr/>
          <p:nvPr/>
        </p:nvSpPr>
        <p:spPr>
          <a:xfrm>
            <a:off x="1403648" y="3066236"/>
            <a:ext cx="360000" cy="360000"/>
          </a:xfrm>
          <a:custGeom>
            <a:avLst/>
            <a:gdLst/>
            <a:ahLst/>
            <a:cxnLst/>
            <a:rect l="l" t="t" r="r" b="b"/>
            <a:pathLst>
              <a:path w="3197597" h="3202496">
                <a:moveTo>
                  <a:pt x="601421" y="1611393"/>
                </a:moveTo>
                <a:lnTo>
                  <a:pt x="2596176" y="1611393"/>
                </a:lnTo>
                <a:cubicBezTo>
                  <a:pt x="2928331" y="1611393"/>
                  <a:pt x="3197594" y="1880656"/>
                  <a:pt x="3197594" y="2212811"/>
                </a:cubicBezTo>
                <a:lnTo>
                  <a:pt x="3197594" y="2776360"/>
                </a:lnTo>
                <a:lnTo>
                  <a:pt x="3197597" y="2776360"/>
                </a:lnTo>
                <a:lnTo>
                  <a:pt x="3197597" y="2914824"/>
                </a:lnTo>
                <a:lnTo>
                  <a:pt x="3197198" y="2914824"/>
                </a:lnTo>
                <a:lnTo>
                  <a:pt x="3197198" y="3202496"/>
                </a:lnTo>
                <a:lnTo>
                  <a:pt x="398" y="3202496"/>
                </a:lnTo>
                <a:lnTo>
                  <a:pt x="398" y="2914824"/>
                </a:lnTo>
                <a:lnTo>
                  <a:pt x="0" y="2914824"/>
                </a:lnTo>
                <a:lnTo>
                  <a:pt x="0" y="2212811"/>
                </a:lnTo>
                <a:cubicBezTo>
                  <a:pt x="0" y="1880656"/>
                  <a:pt x="269266" y="1611393"/>
                  <a:pt x="601421" y="1611393"/>
                </a:cubicBezTo>
                <a:close/>
                <a:moveTo>
                  <a:pt x="1598801" y="0"/>
                </a:moveTo>
                <a:cubicBezTo>
                  <a:pt x="1998649" y="0"/>
                  <a:pt x="2322791" y="324142"/>
                  <a:pt x="2322791" y="723993"/>
                </a:cubicBezTo>
                <a:cubicBezTo>
                  <a:pt x="2322791" y="1123843"/>
                  <a:pt x="1998649" y="1447985"/>
                  <a:pt x="1598801" y="1447985"/>
                </a:cubicBezTo>
                <a:cubicBezTo>
                  <a:pt x="1198951" y="1447985"/>
                  <a:pt x="874809" y="1123843"/>
                  <a:pt x="874809" y="723993"/>
                </a:cubicBezTo>
                <a:cubicBezTo>
                  <a:pt x="874809" y="324142"/>
                  <a:pt x="1198951" y="0"/>
                  <a:pt x="1598801"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6" name="Rounded Rectangle 51">
            <a:extLst>
              <a:ext uri="{FF2B5EF4-FFF2-40B4-BE49-F238E27FC236}">
                <a16:creationId xmlns:a16="http://schemas.microsoft.com/office/drawing/2014/main" id="{B22CDE07-AE0E-C64E-AC26-583E13B40C67}"/>
              </a:ext>
            </a:extLst>
          </p:cNvPr>
          <p:cNvSpPr/>
          <p:nvPr/>
        </p:nvSpPr>
        <p:spPr>
          <a:xfrm rot="16200000" flipH="1">
            <a:off x="4829696" y="1702318"/>
            <a:ext cx="407211" cy="403002"/>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27" name="Isosceles Triangle 5">
            <a:extLst>
              <a:ext uri="{FF2B5EF4-FFF2-40B4-BE49-F238E27FC236}">
                <a16:creationId xmlns:a16="http://schemas.microsoft.com/office/drawing/2014/main" id="{8A7B158E-415C-1D47-A5B0-DA330117540C}"/>
              </a:ext>
            </a:extLst>
          </p:cNvPr>
          <p:cNvSpPr>
            <a:spLocks noChangeAspect="1"/>
          </p:cNvSpPr>
          <p:nvPr/>
        </p:nvSpPr>
        <p:spPr>
          <a:xfrm>
            <a:off x="1341361" y="3794850"/>
            <a:ext cx="271427" cy="271133"/>
          </a:xfrm>
          <a:custGeom>
            <a:avLst/>
            <a:gdLst/>
            <a:ahLst/>
            <a:cxnLst/>
            <a:rect l="l" t="t" r="r" b="b"/>
            <a:pathLst>
              <a:path w="3229104" h="3225610">
                <a:moveTo>
                  <a:pt x="2311104" y="907633"/>
                </a:moveTo>
                <a:lnTo>
                  <a:pt x="3229104" y="907633"/>
                </a:lnTo>
                <a:lnTo>
                  <a:pt x="1769979" y="3097491"/>
                </a:lnTo>
                <a:close/>
                <a:moveTo>
                  <a:pt x="823" y="907633"/>
                </a:moveTo>
                <a:lnTo>
                  <a:pt x="918823" y="907633"/>
                </a:lnTo>
                <a:lnTo>
                  <a:pt x="1498048" y="3135591"/>
                </a:lnTo>
                <a:close/>
                <a:moveTo>
                  <a:pt x="1036980" y="907632"/>
                </a:moveTo>
                <a:lnTo>
                  <a:pt x="2192122" y="907632"/>
                </a:lnTo>
                <a:lnTo>
                  <a:pt x="1614551" y="3225610"/>
                </a:lnTo>
                <a:close/>
                <a:moveTo>
                  <a:pt x="2769693" y="0"/>
                </a:moveTo>
                <a:lnTo>
                  <a:pt x="3229104" y="792088"/>
                </a:lnTo>
                <a:lnTo>
                  <a:pt x="2310282" y="792088"/>
                </a:lnTo>
                <a:close/>
                <a:moveTo>
                  <a:pt x="1732713" y="0"/>
                </a:moveTo>
                <a:lnTo>
                  <a:pt x="2651535" y="0"/>
                </a:lnTo>
                <a:lnTo>
                  <a:pt x="2192124" y="792088"/>
                </a:lnTo>
                <a:close/>
                <a:moveTo>
                  <a:pt x="1614553" y="0"/>
                </a:moveTo>
                <a:lnTo>
                  <a:pt x="2073964" y="792088"/>
                </a:lnTo>
                <a:lnTo>
                  <a:pt x="1155142" y="792088"/>
                </a:lnTo>
                <a:close/>
                <a:moveTo>
                  <a:pt x="577571" y="0"/>
                </a:moveTo>
                <a:lnTo>
                  <a:pt x="1496393" y="0"/>
                </a:lnTo>
                <a:lnTo>
                  <a:pt x="1036982" y="792088"/>
                </a:lnTo>
                <a:close/>
                <a:moveTo>
                  <a:pt x="459411" y="0"/>
                </a:moveTo>
                <a:lnTo>
                  <a:pt x="918822" y="792088"/>
                </a:lnTo>
                <a:lnTo>
                  <a:pt x="0" y="792088"/>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8" name="Rounded Rectangle 20">
            <a:extLst>
              <a:ext uri="{FF2B5EF4-FFF2-40B4-BE49-F238E27FC236}">
                <a16:creationId xmlns:a16="http://schemas.microsoft.com/office/drawing/2014/main" id="{5A485A71-F6A3-CE4E-B787-0EB178D71AA4}"/>
              </a:ext>
            </a:extLst>
          </p:cNvPr>
          <p:cNvSpPr>
            <a:spLocks noChangeAspect="1"/>
          </p:cNvSpPr>
          <p:nvPr/>
        </p:nvSpPr>
        <p:spPr>
          <a:xfrm rot="2160000">
            <a:off x="2076767" y="5341452"/>
            <a:ext cx="360000" cy="388434"/>
          </a:xfrm>
          <a:custGeom>
            <a:avLst/>
            <a:gdLst/>
            <a:ahLst/>
            <a:cxnLst/>
            <a:rect l="l" t="t" r="r" b="b"/>
            <a:pathLst>
              <a:path w="2735240" h="2951283">
                <a:moveTo>
                  <a:pt x="945240" y="943134"/>
                </a:moveTo>
                <a:cubicBezTo>
                  <a:pt x="504657" y="1263236"/>
                  <a:pt x="406988" y="1879894"/>
                  <a:pt x="727090" y="2320477"/>
                </a:cubicBezTo>
                <a:cubicBezTo>
                  <a:pt x="1047193" y="2761060"/>
                  <a:pt x="1663850" y="2858729"/>
                  <a:pt x="2104434" y="2538627"/>
                </a:cubicBezTo>
                <a:cubicBezTo>
                  <a:pt x="2545017" y="2218524"/>
                  <a:pt x="2642686" y="1601867"/>
                  <a:pt x="2322584" y="1161283"/>
                </a:cubicBezTo>
                <a:cubicBezTo>
                  <a:pt x="2003839" y="722570"/>
                  <a:pt x="1391052" y="623866"/>
                  <a:pt x="951049" y="939346"/>
                </a:cubicBezTo>
                <a:lnTo>
                  <a:pt x="1557721" y="1618250"/>
                </a:lnTo>
                <a:cubicBezTo>
                  <a:pt x="1596798" y="1621348"/>
                  <a:pt x="1633874" y="1641400"/>
                  <a:pt x="1658719" y="1675596"/>
                </a:cubicBezTo>
                <a:cubicBezTo>
                  <a:pt x="1705470" y="1739944"/>
                  <a:pt x="1691206" y="1830007"/>
                  <a:pt x="1626858" y="1876758"/>
                </a:cubicBezTo>
                <a:cubicBezTo>
                  <a:pt x="1562511" y="1923509"/>
                  <a:pt x="1472448" y="1909245"/>
                  <a:pt x="1425696" y="1844897"/>
                </a:cubicBezTo>
                <a:cubicBezTo>
                  <a:pt x="1398776" y="1807844"/>
                  <a:pt x="1392087" y="1762265"/>
                  <a:pt x="1405709" y="1721944"/>
                </a:cubicBezTo>
                <a:lnTo>
                  <a:pt x="950242" y="939871"/>
                </a:lnTo>
                <a:cubicBezTo>
                  <a:pt x="948462" y="940800"/>
                  <a:pt x="946850" y="941964"/>
                  <a:pt x="945240" y="943134"/>
                </a:cubicBezTo>
                <a:close/>
                <a:moveTo>
                  <a:pt x="390013" y="178929"/>
                </a:moveTo>
                <a:cubicBezTo>
                  <a:pt x="223423" y="299964"/>
                  <a:pt x="186493" y="533130"/>
                  <a:pt x="307528" y="699721"/>
                </a:cubicBezTo>
                <a:cubicBezTo>
                  <a:pt x="392822" y="817118"/>
                  <a:pt x="533802" y="870124"/>
                  <a:pt x="667672" y="847235"/>
                </a:cubicBezTo>
                <a:lnTo>
                  <a:pt x="556452" y="694153"/>
                </a:lnTo>
                <a:lnTo>
                  <a:pt x="528500" y="714461"/>
                </a:lnTo>
                <a:cubicBezTo>
                  <a:pt x="498835" y="736014"/>
                  <a:pt x="457314" y="729437"/>
                  <a:pt x="435761" y="699772"/>
                </a:cubicBezTo>
                <a:lnTo>
                  <a:pt x="341779" y="570418"/>
                </a:lnTo>
                <a:cubicBezTo>
                  <a:pt x="320226" y="540753"/>
                  <a:pt x="326803" y="499231"/>
                  <a:pt x="356468" y="477679"/>
                </a:cubicBezTo>
                <a:lnTo>
                  <a:pt x="684509" y="239343"/>
                </a:lnTo>
                <a:cubicBezTo>
                  <a:pt x="714174" y="217790"/>
                  <a:pt x="755695" y="224366"/>
                  <a:pt x="777248" y="254031"/>
                </a:cubicBezTo>
                <a:lnTo>
                  <a:pt x="871230" y="383386"/>
                </a:lnTo>
                <a:cubicBezTo>
                  <a:pt x="892782" y="413051"/>
                  <a:pt x="886206" y="454572"/>
                  <a:pt x="856541" y="476125"/>
                </a:cubicBezTo>
                <a:lnTo>
                  <a:pt x="828590" y="496433"/>
                </a:lnTo>
                <a:lnTo>
                  <a:pt x="939810" y="649514"/>
                </a:lnTo>
                <a:cubicBezTo>
                  <a:pt x="1002947" y="529270"/>
                  <a:pt x="996100" y="378811"/>
                  <a:pt x="910806" y="261414"/>
                </a:cubicBezTo>
                <a:cubicBezTo>
                  <a:pt x="789771" y="94824"/>
                  <a:pt x="556604" y="57894"/>
                  <a:pt x="390013" y="178929"/>
                </a:cubicBezTo>
                <a:close/>
                <a:moveTo>
                  <a:pt x="326716" y="91807"/>
                </a:moveTo>
                <a:cubicBezTo>
                  <a:pt x="541423" y="-64186"/>
                  <a:pt x="841934" y="-16590"/>
                  <a:pt x="997927" y="198117"/>
                </a:cubicBezTo>
                <a:cubicBezTo>
                  <a:pt x="1090326" y="325293"/>
                  <a:pt x="1111296" y="482575"/>
                  <a:pt x="1067359" y="621566"/>
                </a:cubicBezTo>
                <a:cubicBezTo>
                  <a:pt x="1125087" y="596400"/>
                  <a:pt x="1184605" y="577365"/>
                  <a:pt x="1244892" y="563339"/>
                </a:cubicBezTo>
                <a:lnTo>
                  <a:pt x="1244892" y="425809"/>
                </a:lnTo>
                <a:lnTo>
                  <a:pt x="1238396" y="425809"/>
                </a:lnTo>
                <a:cubicBezTo>
                  <a:pt x="1203300" y="425809"/>
                  <a:pt x="1174849" y="397358"/>
                  <a:pt x="1174849" y="362262"/>
                </a:cubicBezTo>
                <a:lnTo>
                  <a:pt x="1174849" y="209229"/>
                </a:lnTo>
                <a:cubicBezTo>
                  <a:pt x="1174849" y="191681"/>
                  <a:pt x="1181962" y="175794"/>
                  <a:pt x="1193462" y="164294"/>
                </a:cubicBezTo>
                <a:cubicBezTo>
                  <a:pt x="1204961" y="152795"/>
                  <a:pt x="1220848" y="145682"/>
                  <a:pt x="1238396" y="145682"/>
                </a:cubicBezTo>
                <a:lnTo>
                  <a:pt x="1484804" y="145682"/>
                </a:lnTo>
                <a:cubicBezTo>
                  <a:pt x="1519900" y="145682"/>
                  <a:pt x="1548351" y="174133"/>
                  <a:pt x="1548351" y="209229"/>
                </a:cubicBezTo>
                <a:lnTo>
                  <a:pt x="1548351" y="362262"/>
                </a:lnTo>
                <a:cubicBezTo>
                  <a:pt x="1548351" y="397358"/>
                  <a:pt x="1519900" y="425809"/>
                  <a:pt x="1484804" y="425809"/>
                </a:cubicBezTo>
                <a:lnTo>
                  <a:pt x="1478305" y="425809"/>
                </a:lnTo>
                <a:lnTo>
                  <a:pt x="1478305" y="531522"/>
                </a:lnTo>
                <a:cubicBezTo>
                  <a:pt x="1867969" y="516696"/>
                  <a:pt x="2257580" y="690299"/>
                  <a:pt x="2504004" y="1029474"/>
                </a:cubicBezTo>
                <a:cubicBezTo>
                  <a:pt x="2896903" y="1570253"/>
                  <a:pt x="2777023" y="2327148"/>
                  <a:pt x="2236244" y="2720047"/>
                </a:cubicBezTo>
                <a:cubicBezTo>
                  <a:pt x="1695464" y="3112946"/>
                  <a:pt x="938569" y="2993066"/>
                  <a:pt x="545670" y="2452287"/>
                </a:cubicBezTo>
                <a:cubicBezTo>
                  <a:pt x="302842" y="2118063"/>
                  <a:pt x="255883" y="1701289"/>
                  <a:pt x="383624" y="1339097"/>
                </a:cubicBezTo>
                <a:lnTo>
                  <a:pt x="271337" y="1301981"/>
                </a:lnTo>
                <a:lnTo>
                  <a:pt x="269200" y="1308446"/>
                </a:lnTo>
                <a:cubicBezTo>
                  <a:pt x="258184" y="1341768"/>
                  <a:pt x="222242" y="1359852"/>
                  <a:pt x="188919" y="1348836"/>
                </a:cubicBezTo>
                <a:lnTo>
                  <a:pt x="43619" y="1300805"/>
                </a:lnTo>
                <a:cubicBezTo>
                  <a:pt x="10297" y="1289790"/>
                  <a:pt x="-7787" y="1253847"/>
                  <a:pt x="3228" y="1220525"/>
                </a:cubicBezTo>
                <a:lnTo>
                  <a:pt x="80565" y="986568"/>
                </a:lnTo>
                <a:cubicBezTo>
                  <a:pt x="86073" y="969906"/>
                  <a:pt x="97812" y="957056"/>
                  <a:pt x="112340" y="949746"/>
                </a:cubicBezTo>
                <a:cubicBezTo>
                  <a:pt x="126869" y="942436"/>
                  <a:pt x="144185" y="940669"/>
                  <a:pt x="160847" y="946177"/>
                </a:cubicBezTo>
                <a:lnTo>
                  <a:pt x="306147" y="994208"/>
                </a:lnTo>
                <a:cubicBezTo>
                  <a:pt x="339468" y="1005223"/>
                  <a:pt x="357552" y="1041166"/>
                  <a:pt x="346537" y="1074488"/>
                </a:cubicBezTo>
                <a:lnTo>
                  <a:pt x="344596" y="1080361"/>
                </a:lnTo>
                <a:lnTo>
                  <a:pt x="482601" y="1125980"/>
                </a:lnTo>
                <a:cubicBezTo>
                  <a:pt x="516519" y="1067404"/>
                  <a:pt x="556040" y="1011588"/>
                  <a:pt x="601675" y="959905"/>
                </a:cubicBezTo>
                <a:cubicBezTo>
                  <a:pt x="455910" y="958740"/>
                  <a:pt x="312806" y="890195"/>
                  <a:pt x="220407" y="763018"/>
                </a:cubicBezTo>
                <a:cubicBezTo>
                  <a:pt x="64413" y="548311"/>
                  <a:pt x="112009" y="247801"/>
                  <a:pt x="326716" y="91807"/>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9" name="Left Arrow 1">
            <a:extLst>
              <a:ext uri="{FF2B5EF4-FFF2-40B4-BE49-F238E27FC236}">
                <a16:creationId xmlns:a16="http://schemas.microsoft.com/office/drawing/2014/main" id="{82A1E1F0-57C9-DB48-A2DA-22AAC05DF811}"/>
              </a:ext>
            </a:extLst>
          </p:cNvPr>
          <p:cNvSpPr>
            <a:spLocks noChangeAspect="1"/>
          </p:cNvSpPr>
          <p:nvPr/>
        </p:nvSpPr>
        <p:spPr>
          <a:xfrm flipH="1">
            <a:off x="6687585" y="1761159"/>
            <a:ext cx="385830" cy="390335"/>
          </a:xfrm>
          <a:custGeom>
            <a:avLst/>
            <a:gdLst/>
            <a:ahLst/>
            <a:cxnLst/>
            <a:rect l="l" t="t" r="r" b="b"/>
            <a:pathLst>
              <a:path w="3306630" h="3218379">
                <a:moveTo>
                  <a:pt x="0" y="2085651"/>
                </a:moveTo>
                <a:cubicBezTo>
                  <a:pt x="253919" y="2342528"/>
                  <a:pt x="881542" y="2297196"/>
                  <a:pt x="1388167" y="2271654"/>
                </a:cubicBezTo>
                <a:lnTo>
                  <a:pt x="1417952" y="2988872"/>
                </a:lnTo>
                <a:lnTo>
                  <a:pt x="717647" y="2950294"/>
                </a:lnTo>
                <a:cubicBezTo>
                  <a:pt x="467617" y="2928101"/>
                  <a:pt x="217417" y="2555860"/>
                  <a:pt x="0" y="2085651"/>
                </a:cubicBezTo>
                <a:close/>
                <a:moveTo>
                  <a:pt x="1969797" y="2019847"/>
                </a:moveTo>
                <a:lnTo>
                  <a:pt x="1969797" y="2274913"/>
                </a:lnTo>
                <a:lnTo>
                  <a:pt x="2657809" y="2274913"/>
                </a:lnTo>
                <a:cubicBezTo>
                  <a:pt x="2787205" y="2599270"/>
                  <a:pt x="2968360" y="2923626"/>
                  <a:pt x="2675062" y="2954686"/>
                </a:cubicBezTo>
                <a:lnTo>
                  <a:pt x="1969797" y="2963313"/>
                </a:lnTo>
                <a:lnTo>
                  <a:pt x="1969797" y="3218379"/>
                </a:lnTo>
                <a:lnTo>
                  <a:pt x="1429598" y="2619113"/>
                </a:lnTo>
                <a:close/>
                <a:moveTo>
                  <a:pt x="2961009" y="1275432"/>
                </a:moveTo>
                <a:lnTo>
                  <a:pt x="3277752" y="1901203"/>
                </a:lnTo>
                <a:cubicBezTo>
                  <a:pt x="3383548" y="2128832"/>
                  <a:pt x="3186278" y="2531632"/>
                  <a:pt x="2887773" y="2955026"/>
                </a:cubicBezTo>
                <a:cubicBezTo>
                  <a:pt x="2983276" y="2606687"/>
                  <a:pt x="2630206" y="2085815"/>
                  <a:pt x="2354773" y="1659836"/>
                </a:cubicBezTo>
                <a:close/>
                <a:moveTo>
                  <a:pt x="1019997" y="990789"/>
                </a:moveTo>
                <a:lnTo>
                  <a:pt x="1268877" y="1758248"/>
                </a:lnTo>
                <a:lnTo>
                  <a:pt x="1047983" y="1630715"/>
                </a:lnTo>
                <a:lnTo>
                  <a:pt x="703977" y="2226552"/>
                </a:lnTo>
                <a:cubicBezTo>
                  <a:pt x="358378" y="2176433"/>
                  <a:pt x="-13100" y="2171140"/>
                  <a:pt x="106650" y="1901606"/>
                </a:cubicBezTo>
                <a:lnTo>
                  <a:pt x="451811" y="1286515"/>
                </a:lnTo>
                <a:lnTo>
                  <a:pt x="230918" y="1158982"/>
                </a:lnTo>
                <a:close/>
                <a:moveTo>
                  <a:pt x="2174825" y="119764"/>
                </a:moveTo>
                <a:cubicBezTo>
                  <a:pt x="2220451" y="119103"/>
                  <a:pt x="2264887" y="143875"/>
                  <a:pt x="2308274" y="203493"/>
                </a:cubicBezTo>
                <a:lnTo>
                  <a:pt x="2668377" y="809957"/>
                </a:lnTo>
                <a:lnTo>
                  <a:pt x="2889271" y="682424"/>
                </a:lnTo>
                <a:lnTo>
                  <a:pt x="2640391" y="1449883"/>
                </a:lnTo>
                <a:lnTo>
                  <a:pt x="1851312" y="1281690"/>
                </a:lnTo>
                <a:lnTo>
                  <a:pt x="2072206" y="1154157"/>
                </a:lnTo>
                <a:lnTo>
                  <a:pt x="1728200" y="558321"/>
                </a:lnTo>
                <a:cubicBezTo>
                  <a:pt x="1890352" y="352642"/>
                  <a:pt x="2037947" y="121750"/>
                  <a:pt x="2174825" y="119764"/>
                </a:cubicBezTo>
                <a:close/>
                <a:moveTo>
                  <a:pt x="1831774" y="30"/>
                </a:moveTo>
                <a:cubicBezTo>
                  <a:pt x="1948530" y="539"/>
                  <a:pt x="2073232" y="7407"/>
                  <a:pt x="2202212" y="19111"/>
                </a:cubicBezTo>
                <a:cubicBezTo>
                  <a:pt x="1852790" y="110572"/>
                  <a:pt x="1578238" y="676776"/>
                  <a:pt x="1347045" y="1128297"/>
                </a:cubicBezTo>
                <a:lnTo>
                  <a:pt x="711024" y="795483"/>
                </a:lnTo>
                <a:lnTo>
                  <a:pt x="1094586" y="208291"/>
                </a:lnTo>
                <a:cubicBezTo>
                  <a:pt x="1202761" y="54213"/>
                  <a:pt x="1481508" y="-1496"/>
                  <a:pt x="1831774" y="3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0" name="Oval 35">
            <a:extLst>
              <a:ext uri="{FF2B5EF4-FFF2-40B4-BE49-F238E27FC236}">
                <a16:creationId xmlns:a16="http://schemas.microsoft.com/office/drawing/2014/main" id="{68FE2D90-EAC6-0E40-AE14-04985D8B3979}"/>
              </a:ext>
            </a:extLst>
          </p:cNvPr>
          <p:cNvSpPr/>
          <p:nvPr/>
        </p:nvSpPr>
        <p:spPr>
          <a:xfrm>
            <a:off x="4370775" y="1711942"/>
            <a:ext cx="385829" cy="407207"/>
          </a:xfrm>
          <a:custGeom>
            <a:avLst/>
            <a:gdLst/>
            <a:ahLst/>
            <a:cxnLst/>
            <a:rect l="l" t="t" r="r" b="b"/>
            <a:pathLst>
              <a:path w="2548531" h="3213371">
                <a:moveTo>
                  <a:pt x="792000" y="2498954"/>
                </a:moveTo>
                <a:lnTo>
                  <a:pt x="792000" y="2641726"/>
                </a:lnTo>
                <a:cubicBezTo>
                  <a:pt x="463357" y="2661706"/>
                  <a:pt x="216000" y="2748872"/>
                  <a:pt x="216000" y="2853371"/>
                </a:cubicBezTo>
                <a:cubicBezTo>
                  <a:pt x="216000" y="2972665"/>
                  <a:pt x="538355" y="3069371"/>
                  <a:pt x="936000" y="3069371"/>
                </a:cubicBezTo>
                <a:cubicBezTo>
                  <a:pt x="1333645" y="3069371"/>
                  <a:pt x="1656000" y="2972665"/>
                  <a:pt x="1656000" y="2853371"/>
                </a:cubicBezTo>
                <a:cubicBezTo>
                  <a:pt x="1656000" y="2748872"/>
                  <a:pt x="1408644" y="2661706"/>
                  <a:pt x="1080000" y="2641726"/>
                </a:cubicBezTo>
                <a:lnTo>
                  <a:pt x="1080000" y="2498954"/>
                </a:lnTo>
                <a:cubicBezTo>
                  <a:pt x="1528614" y="2524263"/>
                  <a:pt x="1872000" y="2673393"/>
                  <a:pt x="1872000" y="2853371"/>
                </a:cubicBezTo>
                <a:cubicBezTo>
                  <a:pt x="1872000" y="3052194"/>
                  <a:pt x="1452939" y="3213371"/>
                  <a:pt x="936000" y="3213371"/>
                </a:cubicBezTo>
                <a:cubicBezTo>
                  <a:pt x="419061" y="3213371"/>
                  <a:pt x="0" y="3052194"/>
                  <a:pt x="0" y="2853371"/>
                </a:cubicBezTo>
                <a:cubicBezTo>
                  <a:pt x="0" y="2673393"/>
                  <a:pt x="343386" y="2524263"/>
                  <a:pt x="792000" y="2498954"/>
                </a:cubicBezTo>
                <a:close/>
                <a:moveTo>
                  <a:pt x="2190403" y="180020"/>
                </a:moveTo>
                <a:cubicBezTo>
                  <a:pt x="2388233" y="180020"/>
                  <a:pt x="2548531" y="236495"/>
                  <a:pt x="2548531" y="306081"/>
                </a:cubicBezTo>
                <a:lnTo>
                  <a:pt x="2548531" y="1314569"/>
                </a:lnTo>
                <a:cubicBezTo>
                  <a:pt x="2548531" y="1244983"/>
                  <a:pt x="2388233" y="1188508"/>
                  <a:pt x="2190403" y="1188508"/>
                </a:cubicBezTo>
                <a:cubicBezTo>
                  <a:pt x="1992574" y="1188508"/>
                  <a:pt x="1832276" y="1244983"/>
                  <a:pt x="1832276" y="1314569"/>
                </a:cubicBezTo>
                <a:cubicBezTo>
                  <a:pt x="1832276" y="1384155"/>
                  <a:pt x="1671978" y="1440630"/>
                  <a:pt x="1474148" y="1440630"/>
                </a:cubicBezTo>
                <a:cubicBezTo>
                  <a:pt x="1276318" y="1440630"/>
                  <a:pt x="1116020" y="1384155"/>
                  <a:pt x="1116020" y="1314569"/>
                </a:cubicBezTo>
                <a:lnTo>
                  <a:pt x="1116020" y="306081"/>
                </a:lnTo>
                <a:cubicBezTo>
                  <a:pt x="1116020" y="375667"/>
                  <a:pt x="1276318" y="432142"/>
                  <a:pt x="1474148" y="432142"/>
                </a:cubicBezTo>
                <a:cubicBezTo>
                  <a:pt x="1671978" y="432142"/>
                  <a:pt x="1832276" y="375667"/>
                  <a:pt x="1832276" y="306081"/>
                </a:cubicBezTo>
                <a:cubicBezTo>
                  <a:pt x="1832276" y="236495"/>
                  <a:pt x="1992574" y="180020"/>
                  <a:pt x="2190403" y="180020"/>
                </a:cubicBezTo>
                <a:close/>
                <a:moveTo>
                  <a:pt x="936000" y="0"/>
                </a:moveTo>
                <a:cubicBezTo>
                  <a:pt x="1035422" y="0"/>
                  <a:pt x="1116020" y="80598"/>
                  <a:pt x="1116020" y="180020"/>
                </a:cubicBezTo>
                <a:cubicBezTo>
                  <a:pt x="1116020" y="246019"/>
                  <a:pt x="1080504" y="303723"/>
                  <a:pt x="1026000" y="332457"/>
                </a:cubicBezTo>
                <a:lnTo>
                  <a:pt x="1026000" y="2887874"/>
                </a:lnTo>
                <a:lnTo>
                  <a:pt x="846000" y="2887874"/>
                </a:lnTo>
                <a:lnTo>
                  <a:pt x="846000" y="332457"/>
                </a:lnTo>
                <a:cubicBezTo>
                  <a:pt x="791497" y="303723"/>
                  <a:pt x="755980" y="246019"/>
                  <a:pt x="755980" y="180020"/>
                </a:cubicBezTo>
                <a:cubicBezTo>
                  <a:pt x="755980" y="80598"/>
                  <a:pt x="836578" y="0"/>
                  <a:pt x="93600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1" name="Oval 47">
            <a:extLst>
              <a:ext uri="{FF2B5EF4-FFF2-40B4-BE49-F238E27FC236}">
                <a16:creationId xmlns:a16="http://schemas.microsoft.com/office/drawing/2014/main" id="{F022B80C-3B76-A64D-8DAA-FD262ADA010A}"/>
              </a:ext>
            </a:extLst>
          </p:cNvPr>
          <p:cNvSpPr>
            <a:spLocks noChangeAspect="1"/>
          </p:cNvSpPr>
          <p:nvPr/>
        </p:nvSpPr>
        <p:spPr>
          <a:xfrm>
            <a:off x="381560" y="4812245"/>
            <a:ext cx="360000" cy="360000"/>
          </a:xfrm>
          <a:custGeom>
            <a:avLst/>
            <a:gdLst/>
            <a:ahLst/>
            <a:cxnLst/>
            <a:rect l="l" t="t" r="r" b="b"/>
            <a:pathLst>
              <a:path w="3240000" h="3240000">
                <a:moveTo>
                  <a:pt x="1303187" y="480874"/>
                </a:moveTo>
                <a:lnTo>
                  <a:pt x="1303187" y="1303187"/>
                </a:lnTo>
                <a:lnTo>
                  <a:pt x="480874" y="1303187"/>
                </a:lnTo>
                <a:lnTo>
                  <a:pt x="480874" y="1936813"/>
                </a:lnTo>
                <a:lnTo>
                  <a:pt x="1303187" y="1936813"/>
                </a:lnTo>
                <a:lnTo>
                  <a:pt x="1303187" y="2759126"/>
                </a:lnTo>
                <a:lnTo>
                  <a:pt x="1936813" y="2759126"/>
                </a:lnTo>
                <a:lnTo>
                  <a:pt x="1936813" y="1936813"/>
                </a:lnTo>
                <a:lnTo>
                  <a:pt x="2759126" y="1936813"/>
                </a:lnTo>
                <a:lnTo>
                  <a:pt x="2759126" y="1303187"/>
                </a:lnTo>
                <a:lnTo>
                  <a:pt x="1936813" y="1303187"/>
                </a:lnTo>
                <a:lnTo>
                  <a:pt x="1936813" y="480874"/>
                </a:ln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Diamond 5">
            <a:extLst>
              <a:ext uri="{FF2B5EF4-FFF2-40B4-BE49-F238E27FC236}">
                <a16:creationId xmlns:a16="http://schemas.microsoft.com/office/drawing/2014/main" id="{25455DD2-608B-BF48-A9E4-A65A6D305A74}"/>
              </a:ext>
            </a:extLst>
          </p:cNvPr>
          <p:cNvSpPr/>
          <p:nvPr/>
        </p:nvSpPr>
        <p:spPr>
          <a:xfrm>
            <a:off x="829439" y="4324403"/>
            <a:ext cx="324835" cy="269252"/>
          </a:xfrm>
          <a:custGeom>
            <a:avLst/>
            <a:gdLst/>
            <a:ahLst/>
            <a:cxnLst/>
            <a:rect l="l" t="t" r="r" b="b"/>
            <a:pathLst>
              <a:path w="3240001" h="3249575">
                <a:moveTo>
                  <a:pt x="1275349" y="2002569"/>
                </a:moveTo>
                <a:lnTo>
                  <a:pt x="1625117" y="2233002"/>
                </a:lnTo>
                <a:lnTo>
                  <a:pt x="1968772" y="2006596"/>
                </a:lnTo>
                <a:lnTo>
                  <a:pt x="3240001" y="3249575"/>
                </a:lnTo>
                <a:lnTo>
                  <a:pt x="0" y="3249575"/>
                </a:lnTo>
                <a:close/>
                <a:moveTo>
                  <a:pt x="1067116" y="1473605"/>
                </a:moveTo>
                <a:lnTo>
                  <a:pt x="1067116" y="1581605"/>
                </a:lnTo>
                <a:lnTo>
                  <a:pt x="2183116" y="1581605"/>
                </a:lnTo>
                <a:lnTo>
                  <a:pt x="2183116" y="1473605"/>
                </a:lnTo>
                <a:close/>
                <a:moveTo>
                  <a:pt x="1067116" y="1267205"/>
                </a:moveTo>
                <a:lnTo>
                  <a:pt x="1067116" y="1375205"/>
                </a:lnTo>
                <a:lnTo>
                  <a:pt x="2183116" y="1375205"/>
                </a:lnTo>
                <a:lnTo>
                  <a:pt x="2183116" y="1267205"/>
                </a:lnTo>
                <a:close/>
                <a:moveTo>
                  <a:pt x="3240001" y="1172196"/>
                </a:moveTo>
                <a:lnTo>
                  <a:pt x="3240001" y="3142550"/>
                </a:lnTo>
                <a:lnTo>
                  <a:pt x="2026252" y="1968728"/>
                </a:lnTo>
                <a:lnTo>
                  <a:pt x="3049854" y="1294362"/>
                </a:lnTo>
                <a:close/>
                <a:moveTo>
                  <a:pt x="0" y="1172196"/>
                </a:moveTo>
                <a:lnTo>
                  <a:pt x="602850" y="1559516"/>
                </a:lnTo>
                <a:lnTo>
                  <a:pt x="1217896" y="1964719"/>
                </a:lnTo>
                <a:lnTo>
                  <a:pt x="0" y="3142550"/>
                </a:lnTo>
                <a:close/>
                <a:moveTo>
                  <a:pt x="1067116" y="1060805"/>
                </a:moveTo>
                <a:lnTo>
                  <a:pt x="1067116" y="1168805"/>
                </a:lnTo>
                <a:lnTo>
                  <a:pt x="2183116" y="1168805"/>
                </a:lnTo>
                <a:lnTo>
                  <a:pt x="2183116" y="1060805"/>
                </a:lnTo>
                <a:close/>
                <a:moveTo>
                  <a:pt x="869032" y="816137"/>
                </a:moveTo>
                <a:lnTo>
                  <a:pt x="2381200" y="816137"/>
                </a:lnTo>
                <a:lnTo>
                  <a:pt x="2381200" y="1623491"/>
                </a:lnTo>
                <a:lnTo>
                  <a:pt x="1668045" y="2093329"/>
                </a:lnTo>
                <a:lnTo>
                  <a:pt x="1625116" y="2121611"/>
                </a:lnTo>
                <a:lnTo>
                  <a:pt x="869032" y="1623491"/>
                </a:lnTo>
                <a:close/>
                <a:moveTo>
                  <a:pt x="1625116" y="0"/>
                </a:moveTo>
                <a:lnTo>
                  <a:pt x="3235286" y="1060806"/>
                </a:lnTo>
                <a:lnTo>
                  <a:pt x="2489212" y="1552331"/>
                </a:lnTo>
                <a:lnTo>
                  <a:pt x="2489212" y="708008"/>
                </a:lnTo>
                <a:lnTo>
                  <a:pt x="761020" y="708008"/>
                </a:lnTo>
                <a:lnTo>
                  <a:pt x="761020" y="1552331"/>
                </a:lnTo>
                <a:lnTo>
                  <a:pt x="14946" y="1060806"/>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3" name="Isosceles Triangle 51">
            <a:extLst>
              <a:ext uri="{FF2B5EF4-FFF2-40B4-BE49-F238E27FC236}">
                <a16:creationId xmlns:a16="http://schemas.microsoft.com/office/drawing/2014/main" id="{266794B2-FA1B-AC4C-A819-72904D18F380}"/>
              </a:ext>
            </a:extLst>
          </p:cNvPr>
          <p:cNvSpPr/>
          <p:nvPr/>
        </p:nvSpPr>
        <p:spPr>
          <a:xfrm>
            <a:off x="371134" y="4386542"/>
            <a:ext cx="324833" cy="196861"/>
          </a:xfrm>
          <a:custGeom>
            <a:avLst/>
            <a:gdLst/>
            <a:ahLst/>
            <a:cxnLst/>
            <a:rect l="l" t="t" r="r" b="b"/>
            <a:pathLst>
              <a:path w="3240001" h="2375905">
                <a:moveTo>
                  <a:pt x="1974640" y="1379575"/>
                </a:moveTo>
                <a:lnTo>
                  <a:pt x="3240001" y="2375905"/>
                </a:lnTo>
                <a:lnTo>
                  <a:pt x="1" y="2375905"/>
                </a:lnTo>
                <a:lnTo>
                  <a:pt x="1269863" y="1399042"/>
                </a:lnTo>
                <a:lnTo>
                  <a:pt x="1610574" y="1745545"/>
                </a:lnTo>
                <a:close/>
                <a:moveTo>
                  <a:pt x="3240001" y="126952"/>
                </a:moveTo>
                <a:lnTo>
                  <a:pt x="3240001" y="2258912"/>
                </a:lnTo>
                <a:lnTo>
                  <a:pt x="2032457" y="1334195"/>
                </a:lnTo>
                <a:close/>
                <a:moveTo>
                  <a:pt x="0" y="117525"/>
                </a:moveTo>
                <a:lnTo>
                  <a:pt x="1207545" y="1324768"/>
                </a:lnTo>
                <a:lnTo>
                  <a:pt x="0" y="2249485"/>
                </a:lnTo>
                <a:close/>
                <a:moveTo>
                  <a:pt x="0" y="0"/>
                </a:moveTo>
                <a:lnTo>
                  <a:pt x="3240000" y="0"/>
                </a:lnTo>
                <a:lnTo>
                  <a:pt x="1610572" y="1620513"/>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4" name="Isosceles Triangle 57">
            <a:extLst>
              <a:ext uri="{FF2B5EF4-FFF2-40B4-BE49-F238E27FC236}">
                <a16:creationId xmlns:a16="http://schemas.microsoft.com/office/drawing/2014/main" id="{04708358-18FB-A245-800C-19D474D2D0D5}"/>
              </a:ext>
            </a:extLst>
          </p:cNvPr>
          <p:cNvSpPr/>
          <p:nvPr/>
        </p:nvSpPr>
        <p:spPr>
          <a:xfrm>
            <a:off x="6878227" y="3047336"/>
            <a:ext cx="194431" cy="363265"/>
          </a:xfrm>
          <a:custGeom>
            <a:avLst/>
            <a:gdLst>
              <a:gd name="connsiteX0" fmla="*/ 1148449 w 1346449"/>
              <a:gd name="connsiteY0" fmla="*/ 2457725 h 3249725"/>
              <a:gd name="connsiteX1" fmla="*/ 198001 w 1346449"/>
              <a:gd name="connsiteY1" fmla="*/ 2457725 h 3249725"/>
              <a:gd name="connsiteX2" fmla="*/ 1 w 1346449"/>
              <a:gd name="connsiteY2" fmla="*/ 3249725 h 3249725"/>
              <a:gd name="connsiteX3" fmla="*/ 1346449 w 1346449"/>
              <a:gd name="connsiteY3" fmla="*/ 3249725 h 3249725"/>
              <a:gd name="connsiteX4" fmla="*/ 1148449 w 1346449"/>
              <a:gd name="connsiteY4" fmla="*/ 2457725 h 3249725"/>
              <a:gd name="connsiteX5" fmla="*/ 755186 w 1346449"/>
              <a:gd name="connsiteY5" fmla="*/ 82950 h 3249725"/>
              <a:gd name="connsiteX6" fmla="*/ 734449 w 1346449"/>
              <a:gd name="connsiteY6" fmla="*/ 1314594 h 3249725"/>
              <a:gd name="connsiteX7" fmla="*/ 853246 w 1346449"/>
              <a:gd name="connsiteY7" fmla="*/ 1483214 h 3249725"/>
              <a:gd name="connsiteX8" fmla="*/ 673226 w 1346449"/>
              <a:gd name="connsiteY8" fmla="*/ 1663234 h 3249725"/>
              <a:gd name="connsiteX9" fmla="*/ 493206 w 1346449"/>
              <a:gd name="connsiteY9" fmla="*/ 1483214 h 3249725"/>
              <a:gd name="connsiteX10" fmla="*/ 612000 w 1346449"/>
              <a:gd name="connsiteY10" fmla="*/ 1314595 h 3249725"/>
              <a:gd name="connsiteX11" fmla="*/ 612000 w 1346449"/>
              <a:gd name="connsiteY11" fmla="*/ 0 h 3249725"/>
              <a:gd name="connsiteX12" fmla="*/ 2939 w 1346449"/>
              <a:gd name="connsiteY12" fmla="*/ 1574694 h 3249725"/>
              <a:gd name="connsiteX13" fmla="*/ 0 w 1346449"/>
              <a:gd name="connsiteY13" fmla="*/ 1574694 h 3249725"/>
              <a:gd name="connsiteX14" fmla="*/ 2009 w 1346449"/>
              <a:gd name="connsiteY14" fmla="*/ 1577097 h 3249725"/>
              <a:gd name="connsiteX15" fmla="*/ 0 w 1346449"/>
              <a:gd name="connsiteY15" fmla="*/ 1582292 h 3249725"/>
              <a:gd name="connsiteX16" fmla="*/ 6353 w 1346449"/>
              <a:gd name="connsiteY16" fmla="*/ 1582292 h 3249725"/>
              <a:gd name="connsiteX17" fmla="*/ 273414 w 1346449"/>
              <a:gd name="connsiteY17" fmla="*/ 2376121 h 3249725"/>
              <a:gd name="connsiteX18" fmla="*/ 1091887 w 1346449"/>
              <a:gd name="connsiteY18" fmla="*/ 2366694 h 3249725"/>
              <a:gd name="connsiteX19" fmla="*/ 1340768 w 1346449"/>
              <a:gd name="connsiteY19" fmla="*/ 1582292 h 3249725"/>
              <a:gd name="connsiteX20" fmla="*/ 1346449 w 1346449"/>
              <a:gd name="connsiteY20" fmla="*/ 1582292 h 3249725"/>
              <a:gd name="connsiteX21" fmla="*/ 1344512 w 1346449"/>
              <a:gd name="connsiteY21" fmla="*/ 1577284 h 3249725"/>
              <a:gd name="connsiteX22" fmla="*/ 1346448 w 1346449"/>
              <a:gd name="connsiteY22" fmla="*/ 1574694 h 3249725"/>
              <a:gd name="connsiteX23" fmla="*/ 1343510 w 1346449"/>
              <a:gd name="connsiteY23" fmla="*/ 1574694 h 3249725"/>
              <a:gd name="connsiteX24" fmla="*/ 755186 w 1346449"/>
              <a:gd name="connsiteY24" fmla="*/ 82950 h 3249725"/>
              <a:gd name="connsiteX0" fmla="*/ 1148449 w 1346449"/>
              <a:gd name="connsiteY0" fmla="*/ 2374775 h 3166775"/>
              <a:gd name="connsiteX1" fmla="*/ 198001 w 1346449"/>
              <a:gd name="connsiteY1" fmla="*/ 2374775 h 3166775"/>
              <a:gd name="connsiteX2" fmla="*/ 1 w 1346449"/>
              <a:gd name="connsiteY2" fmla="*/ 3166775 h 3166775"/>
              <a:gd name="connsiteX3" fmla="*/ 1346449 w 1346449"/>
              <a:gd name="connsiteY3" fmla="*/ 3166775 h 3166775"/>
              <a:gd name="connsiteX4" fmla="*/ 1148449 w 1346449"/>
              <a:gd name="connsiteY4" fmla="*/ 2374775 h 3166775"/>
              <a:gd name="connsiteX5" fmla="*/ 755186 w 1346449"/>
              <a:gd name="connsiteY5" fmla="*/ 0 h 3166775"/>
              <a:gd name="connsiteX6" fmla="*/ 734449 w 1346449"/>
              <a:gd name="connsiteY6" fmla="*/ 1231644 h 3166775"/>
              <a:gd name="connsiteX7" fmla="*/ 853246 w 1346449"/>
              <a:gd name="connsiteY7" fmla="*/ 1400264 h 3166775"/>
              <a:gd name="connsiteX8" fmla="*/ 673226 w 1346449"/>
              <a:gd name="connsiteY8" fmla="*/ 1580284 h 3166775"/>
              <a:gd name="connsiteX9" fmla="*/ 493206 w 1346449"/>
              <a:gd name="connsiteY9" fmla="*/ 1400264 h 3166775"/>
              <a:gd name="connsiteX10" fmla="*/ 612000 w 1346449"/>
              <a:gd name="connsiteY10" fmla="*/ 1231645 h 3166775"/>
              <a:gd name="connsiteX11" fmla="*/ 591263 w 1346449"/>
              <a:gd name="connsiteY11" fmla="*/ 10368 h 3166775"/>
              <a:gd name="connsiteX12" fmla="*/ 2939 w 1346449"/>
              <a:gd name="connsiteY12" fmla="*/ 1491744 h 3166775"/>
              <a:gd name="connsiteX13" fmla="*/ 0 w 1346449"/>
              <a:gd name="connsiteY13" fmla="*/ 1491744 h 3166775"/>
              <a:gd name="connsiteX14" fmla="*/ 2009 w 1346449"/>
              <a:gd name="connsiteY14" fmla="*/ 1494147 h 3166775"/>
              <a:gd name="connsiteX15" fmla="*/ 0 w 1346449"/>
              <a:gd name="connsiteY15" fmla="*/ 1499342 h 3166775"/>
              <a:gd name="connsiteX16" fmla="*/ 6353 w 1346449"/>
              <a:gd name="connsiteY16" fmla="*/ 1499342 h 3166775"/>
              <a:gd name="connsiteX17" fmla="*/ 273414 w 1346449"/>
              <a:gd name="connsiteY17" fmla="*/ 2293171 h 3166775"/>
              <a:gd name="connsiteX18" fmla="*/ 1091887 w 1346449"/>
              <a:gd name="connsiteY18" fmla="*/ 2283744 h 3166775"/>
              <a:gd name="connsiteX19" fmla="*/ 1340768 w 1346449"/>
              <a:gd name="connsiteY19" fmla="*/ 1499342 h 3166775"/>
              <a:gd name="connsiteX20" fmla="*/ 1346449 w 1346449"/>
              <a:gd name="connsiteY20" fmla="*/ 1499342 h 3166775"/>
              <a:gd name="connsiteX21" fmla="*/ 1344512 w 1346449"/>
              <a:gd name="connsiteY21" fmla="*/ 1494334 h 3166775"/>
              <a:gd name="connsiteX22" fmla="*/ 1346448 w 1346449"/>
              <a:gd name="connsiteY22" fmla="*/ 1491744 h 3166775"/>
              <a:gd name="connsiteX23" fmla="*/ 1343510 w 1346449"/>
              <a:gd name="connsiteY23" fmla="*/ 1491744 h 3166775"/>
              <a:gd name="connsiteX24" fmla="*/ 755186 w 1346449"/>
              <a:gd name="connsiteY24" fmla="*/ 0 h 31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6449" h="3166775">
                <a:moveTo>
                  <a:pt x="1148449" y="2374775"/>
                </a:moveTo>
                <a:lnTo>
                  <a:pt x="198001" y="2374775"/>
                </a:lnTo>
                <a:lnTo>
                  <a:pt x="1" y="3166775"/>
                </a:lnTo>
                <a:lnTo>
                  <a:pt x="1346449" y="3166775"/>
                </a:lnTo>
                <a:lnTo>
                  <a:pt x="1148449" y="2374775"/>
                </a:lnTo>
                <a:close/>
                <a:moveTo>
                  <a:pt x="755186" y="0"/>
                </a:moveTo>
                <a:cubicBezTo>
                  <a:pt x="755186" y="438198"/>
                  <a:pt x="734449" y="793446"/>
                  <a:pt x="734449" y="1231644"/>
                </a:cubicBezTo>
                <a:cubicBezTo>
                  <a:pt x="803843" y="1256124"/>
                  <a:pt x="853246" y="1322425"/>
                  <a:pt x="853246" y="1400264"/>
                </a:cubicBezTo>
                <a:cubicBezTo>
                  <a:pt x="853246" y="1499686"/>
                  <a:pt x="772648" y="1580284"/>
                  <a:pt x="673226" y="1580284"/>
                </a:cubicBezTo>
                <a:cubicBezTo>
                  <a:pt x="573804" y="1580284"/>
                  <a:pt x="493206" y="1499686"/>
                  <a:pt x="493206" y="1400264"/>
                </a:cubicBezTo>
                <a:cubicBezTo>
                  <a:pt x="493206" y="1322426"/>
                  <a:pt x="542608" y="1256126"/>
                  <a:pt x="612000" y="1231645"/>
                </a:cubicBezTo>
                <a:lnTo>
                  <a:pt x="591263" y="10368"/>
                </a:lnTo>
                <a:lnTo>
                  <a:pt x="2939" y="1491744"/>
                </a:lnTo>
                <a:lnTo>
                  <a:pt x="0" y="1491744"/>
                </a:lnTo>
                <a:lnTo>
                  <a:pt x="2009" y="1494147"/>
                </a:lnTo>
                <a:lnTo>
                  <a:pt x="0" y="1499342"/>
                </a:lnTo>
                <a:lnTo>
                  <a:pt x="6353" y="1499342"/>
                </a:lnTo>
                <a:cubicBezTo>
                  <a:pt x="274151" y="1797289"/>
                  <a:pt x="320153" y="2031319"/>
                  <a:pt x="273414" y="2293171"/>
                </a:cubicBezTo>
                <a:lnTo>
                  <a:pt x="1091887" y="2283744"/>
                </a:lnTo>
                <a:cubicBezTo>
                  <a:pt x="1035756" y="1984266"/>
                  <a:pt x="1081794" y="1833397"/>
                  <a:pt x="1340768" y="1499342"/>
                </a:cubicBezTo>
                <a:lnTo>
                  <a:pt x="1346449" y="1499342"/>
                </a:lnTo>
                <a:lnTo>
                  <a:pt x="1344512" y="1494334"/>
                </a:lnTo>
                <a:cubicBezTo>
                  <a:pt x="1345124" y="1493447"/>
                  <a:pt x="1345785" y="1492596"/>
                  <a:pt x="1346448" y="1491744"/>
                </a:cubicBezTo>
                <a:lnTo>
                  <a:pt x="1343510" y="1491744"/>
                </a:lnTo>
                <a:cubicBezTo>
                  <a:pt x="1140490" y="966846"/>
                  <a:pt x="958206" y="524898"/>
                  <a:pt x="755186"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5" name="Rectangle 7">
            <a:extLst>
              <a:ext uri="{FF2B5EF4-FFF2-40B4-BE49-F238E27FC236}">
                <a16:creationId xmlns:a16="http://schemas.microsoft.com/office/drawing/2014/main" id="{12D0619E-BD84-B54E-B235-24310BA66860}"/>
              </a:ext>
            </a:extLst>
          </p:cNvPr>
          <p:cNvSpPr/>
          <p:nvPr/>
        </p:nvSpPr>
        <p:spPr>
          <a:xfrm rot="18900000">
            <a:off x="6552123" y="3058853"/>
            <a:ext cx="192665" cy="407352"/>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6" name="Parallelogram 15">
            <a:extLst>
              <a:ext uri="{FF2B5EF4-FFF2-40B4-BE49-F238E27FC236}">
                <a16:creationId xmlns:a16="http://schemas.microsoft.com/office/drawing/2014/main" id="{DA404131-B040-9348-AF98-D2D95DC0479F}"/>
              </a:ext>
            </a:extLst>
          </p:cNvPr>
          <p:cNvSpPr/>
          <p:nvPr/>
        </p:nvSpPr>
        <p:spPr>
          <a:xfrm flipH="1">
            <a:off x="1615480" y="5355950"/>
            <a:ext cx="387909" cy="360001"/>
          </a:xfrm>
          <a:custGeom>
            <a:avLst/>
            <a:gdLst/>
            <a:ahLst/>
            <a:cxnLst/>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8" name="Rectangle 30">
            <a:extLst>
              <a:ext uri="{FF2B5EF4-FFF2-40B4-BE49-F238E27FC236}">
                <a16:creationId xmlns:a16="http://schemas.microsoft.com/office/drawing/2014/main" id="{B8EE010B-A655-E845-B109-9DEEAB8C7C82}"/>
              </a:ext>
            </a:extLst>
          </p:cNvPr>
          <p:cNvSpPr/>
          <p:nvPr/>
        </p:nvSpPr>
        <p:spPr>
          <a:xfrm>
            <a:off x="4152723" y="3097875"/>
            <a:ext cx="335916" cy="355599"/>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39" name="Rectangle 7">
            <a:extLst>
              <a:ext uri="{FF2B5EF4-FFF2-40B4-BE49-F238E27FC236}">
                <a16:creationId xmlns:a16="http://schemas.microsoft.com/office/drawing/2014/main" id="{FDE072B6-F773-E142-B6A1-A9A85071498C}"/>
              </a:ext>
            </a:extLst>
          </p:cNvPr>
          <p:cNvSpPr/>
          <p:nvPr/>
        </p:nvSpPr>
        <p:spPr>
          <a:xfrm>
            <a:off x="1701285" y="3778240"/>
            <a:ext cx="344938" cy="289874"/>
          </a:xfrm>
          <a:custGeom>
            <a:avLst/>
            <a:gdLst/>
            <a:ahLst/>
            <a:cxnLst/>
            <a:rect l="l" t="t" r="r" b="b"/>
            <a:pathLst>
              <a:path w="3240000" h="3240000">
                <a:moveTo>
                  <a:pt x="401869" y="2055482"/>
                </a:moveTo>
                <a:lnTo>
                  <a:pt x="869869" y="2055482"/>
                </a:lnTo>
                <a:lnTo>
                  <a:pt x="869869" y="2919482"/>
                </a:lnTo>
                <a:lnTo>
                  <a:pt x="401869" y="2919482"/>
                </a:lnTo>
                <a:close/>
                <a:moveTo>
                  <a:pt x="1121949" y="1695482"/>
                </a:moveTo>
                <a:lnTo>
                  <a:pt x="1589949" y="1695482"/>
                </a:lnTo>
                <a:lnTo>
                  <a:pt x="1589949" y="2919482"/>
                </a:lnTo>
                <a:lnTo>
                  <a:pt x="1121949" y="2919482"/>
                </a:lnTo>
                <a:close/>
                <a:moveTo>
                  <a:pt x="1842029" y="1335482"/>
                </a:moveTo>
                <a:lnTo>
                  <a:pt x="2310029" y="1335482"/>
                </a:lnTo>
                <a:lnTo>
                  <a:pt x="2310029" y="2919482"/>
                </a:lnTo>
                <a:lnTo>
                  <a:pt x="1842029" y="2919482"/>
                </a:lnTo>
                <a:close/>
                <a:moveTo>
                  <a:pt x="2562109" y="975482"/>
                </a:moveTo>
                <a:lnTo>
                  <a:pt x="3030109" y="975482"/>
                </a:lnTo>
                <a:lnTo>
                  <a:pt x="3030109" y="2919482"/>
                </a:lnTo>
                <a:lnTo>
                  <a:pt x="2562109" y="2919482"/>
                </a:lnTo>
                <a:close/>
                <a:moveTo>
                  <a:pt x="2321888" y="224805"/>
                </a:moveTo>
                <a:lnTo>
                  <a:pt x="2880631" y="247420"/>
                </a:lnTo>
                <a:lnTo>
                  <a:pt x="2620844" y="742612"/>
                </a:lnTo>
                <a:lnTo>
                  <a:pt x="2546105" y="613161"/>
                </a:lnTo>
                <a:lnTo>
                  <a:pt x="541555" y="1770488"/>
                </a:lnTo>
                <a:lnTo>
                  <a:pt x="392077" y="1511585"/>
                </a:lnTo>
                <a:lnTo>
                  <a:pt x="2396627" y="354257"/>
                </a:lnTo>
                <a:close/>
                <a:moveTo>
                  <a:pt x="0" y="0"/>
                </a:moveTo>
                <a:lnTo>
                  <a:pt x="180000" y="0"/>
                </a:lnTo>
                <a:lnTo>
                  <a:pt x="180000" y="3059999"/>
                </a:lnTo>
                <a:lnTo>
                  <a:pt x="3240000" y="3059999"/>
                </a:lnTo>
                <a:lnTo>
                  <a:pt x="3240000" y="3239999"/>
                </a:lnTo>
                <a:lnTo>
                  <a:pt x="180000" y="3239999"/>
                </a:lnTo>
                <a:lnTo>
                  <a:pt x="180000" y="3240000"/>
                </a:lnTo>
                <a:lnTo>
                  <a:pt x="0" y="3240000"/>
                </a:lnTo>
                <a:lnTo>
                  <a:pt x="0" y="3239999"/>
                </a:lnTo>
                <a:lnTo>
                  <a:pt x="0" y="305999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0" name="Rectangle 15">
            <a:extLst>
              <a:ext uri="{FF2B5EF4-FFF2-40B4-BE49-F238E27FC236}">
                <a16:creationId xmlns:a16="http://schemas.microsoft.com/office/drawing/2014/main" id="{4B4E4C74-4465-F743-8336-5AA65379FC69}"/>
              </a:ext>
            </a:extLst>
          </p:cNvPr>
          <p:cNvSpPr/>
          <p:nvPr/>
        </p:nvSpPr>
        <p:spPr>
          <a:xfrm rot="5400000">
            <a:off x="2126672" y="3741723"/>
            <a:ext cx="303583" cy="344937"/>
          </a:xfrm>
          <a:custGeom>
            <a:avLst/>
            <a:gdLst/>
            <a:ahLst/>
            <a:cxnLst/>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1" name="Pie 24">
            <a:extLst>
              <a:ext uri="{FF2B5EF4-FFF2-40B4-BE49-F238E27FC236}">
                <a16:creationId xmlns:a16="http://schemas.microsoft.com/office/drawing/2014/main" id="{306C955A-B8B0-F244-9F38-93D6C3713AC2}"/>
              </a:ext>
            </a:extLst>
          </p:cNvPr>
          <p:cNvSpPr/>
          <p:nvPr/>
        </p:nvSpPr>
        <p:spPr>
          <a:xfrm>
            <a:off x="2579369" y="3801525"/>
            <a:ext cx="318646" cy="261886"/>
          </a:xfrm>
          <a:custGeom>
            <a:avLst/>
            <a:gdLst/>
            <a:ahLst/>
            <a:cxnLst/>
            <a:rect l="l" t="t" r="r" b="b"/>
            <a:pathLst>
              <a:path w="3228711" h="3210836">
                <a:moveTo>
                  <a:pt x="351626" y="695968"/>
                </a:moveTo>
                <a:lnTo>
                  <a:pt x="1548007" y="1678300"/>
                </a:lnTo>
                <a:lnTo>
                  <a:pt x="236194" y="2500159"/>
                </a:lnTo>
                <a:cubicBezTo>
                  <a:pt x="-116985" y="1936431"/>
                  <a:pt x="-70514" y="1210092"/>
                  <a:pt x="351626" y="695968"/>
                </a:cubicBezTo>
                <a:close/>
                <a:moveTo>
                  <a:pt x="1957429" y="262366"/>
                </a:moveTo>
                <a:cubicBezTo>
                  <a:pt x="2634256" y="359480"/>
                  <a:pt x="3156733" y="907132"/>
                  <a:pt x="3221913" y="1587776"/>
                </a:cubicBezTo>
                <a:cubicBezTo>
                  <a:pt x="3287093" y="2268421"/>
                  <a:pt x="2878048" y="2905277"/>
                  <a:pt x="2231953" y="3129078"/>
                </a:cubicBezTo>
                <a:cubicBezTo>
                  <a:pt x="1585858" y="3352879"/>
                  <a:pt x="870522" y="3105497"/>
                  <a:pt x="500715" y="2530372"/>
                </a:cubicBezTo>
                <a:lnTo>
                  <a:pt x="1746987" y="1729019"/>
                </a:lnTo>
                <a:close/>
                <a:moveTo>
                  <a:pt x="1604447" y="200"/>
                </a:moveTo>
                <a:cubicBezTo>
                  <a:pt x="1665125" y="-778"/>
                  <a:pt x="1726175" y="1809"/>
                  <a:pt x="1787307" y="8072"/>
                </a:cubicBezTo>
                <a:lnTo>
                  <a:pt x="1629532" y="1548011"/>
                </a:lnTo>
                <a:lnTo>
                  <a:pt x="483856" y="506987"/>
                </a:lnTo>
                <a:cubicBezTo>
                  <a:pt x="773141" y="188622"/>
                  <a:pt x="1179697" y="7051"/>
                  <a:pt x="1604447" y="20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42" name="Parallelogram 30">
            <a:extLst>
              <a:ext uri="{FF2B5EF4-FFF2-40B4-BE49-F238E27FC236}">
                <a16:creationId xmlns:a16="http://schemas.microsoft.com/office/drawing/2014/main" id="{036FF1BF-EE11-B147-B008-D1481B8E47BD}"/>
              </a:ext>
            </a:extLst>
          </p:cNvPr>
          <p:cNvSpPr/>
          <p:nvPr/>
        </p:nvSpPr>
        <p:spPr>
          <a:xfrm flipH="1">
            <a:off x="2378693" y="3005138"/>
            <a:ext cx="308702" cy="432064"/>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3" name="Block Arc 14">
            <a:extLst>
              <a:ext uri="{FF2B5EF4-FFF2-40B4-BE49-F238E27FC236}">
                <a16:creationId xmlns:a16="http://schemas.microsoft.com/office/drawing/2014/main" id="{86CF5A35-80A7-A74E-8609-39F2B519EA82}"/>
              </a:ext>
            </a:extLst>
          </p:cNvPr>
          <p:cNvSpPr/>
          <p:nvPr/>
        </p:nvSpPr>
        <p:spPr>
          <a:xfrm rot="16200000">
            <a:off x="3583331" y="1738126"/>
            <a:ext cx="360000" cy="360000"/>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44" name="Block Arc 41">
            <a:extLst>
              <a:ext uri="{FF2B5EF4-FFF2-40B4-BE49-F238E27FC236}">
                <a16:creationId xmlns:a16="http://schemas.microsoft.com/office/drawing/2014/main" id="{30E38AA5-1944-394A-908D-5834F4291B61}"/>
              </a:ext>
            </a:extLst>
          </p:cNvPr>
          <p:cNvSpPr/>
          <p:nvPr/>
        </p:nvSpPr>
        <p:spPr>
          <a:xfrm>
            <a:off x="4063230" y="1741899"/>
            <a:ext cx="247900" cy="360000"/>
          </a:xfrm>
          <a:custGeom>
            <a:avLst/>
            <a:gdLst/>
            <a:ahLst/>
            <a:cxnLst/>
            <a:rect l="l" t="t" r="r" b="b"/>
            <a:pathLst>
              <a:path w="2512265" h="3505352">
                <a:moveTo>
                  <a:pt x="1276582" y="2106401"/>
                </a:moveTo>
                <a:cubicBezTo>
                  <a:pt x="1154832" y="2195007"/>
                  <a:pt x="1018024" y="2262207"/>
                  <a:pt x="871321" y="2302645"/>
                </a:cubicBezTo>
                <a:cubicBezTo>
                  <a:pt x="1041049" y="2346709"/>
                  <a:pt x="1216984" y="2342691"/>
                  <a:pt x="1380867" y="2295542"/>
                </a:cubicBezTo>
                <a:cubicBezTo>
                  <a:pt x="1352791" y="2227964"/>
                  <a:pt x="1317377" y="2164934"/>
                  <a:pt x="1276582" y="2106401"/>
                </a:cubicBezTo>
                <a:close/>
                <a:moveTo>
                  <a:pt x="931061" y="1768598"/>
                </a:moveTo>
                <a:lnTo>
                  <a:pt x="785084" y="2021438"/>
                </a:lnTo>
                <a:lnTo>
                  <a:pt x="684448" y="2196711"/>
                </a:lnTo>
                <a:cubicBezTo>
                  <a:pt x="868931" y="2169533"/>
                  <a:pt x="1041385" y="2098006"/>
                  <a:pt x="1189228" y="1991290"/>
                </a:cubicBezTo>
                <a:cubicBezTo>
                  <a:pt x="1113839" y="1904543"/>
                  <a:pt x="1026949" y="1829435"/>
                  <a:pt x="931061" y="1768598"/>
                </a:cubicBezTo>
                <a:close/>
                <a:moveTo>
                  <a:pt x="1626242" y="1739577"/>
                </a:moveTo>
                <a:cubicBezTo>
                  <a:pt x="1556851" y="1850020"/>
                  <a:pt x="1471526" y="1947792"/>
                  <a:pt x="1374302" y="2030973"/>
                </a:cubicBezTo>
                <a:cubicBezTo>
                  <a:pt x="1422822" y="2099916"/>
                  <a:pt x="1464618" y="2174537"/>
                  <a:pt x="1497466" y="2254701"/>
                </a:cubicBezTo>
                <a:cubicBezTo>
                  <a:pt x="1664534" y="2184833"/>
                  <a:pt x="1813198" y="2068027"/>
                  <a:pt x="1922549" y="1910651"/>
                </a:cubicBezTo>
                <a:close/>
                <a:moveTo>
                  <a:pt x="531158" y="1601275"/>
                </a:moveTo>
                <a:cubicBezTo>
                  <a:pt x="514831" y="1769123"/>
                  <a:pt x="535254" y="1939877"/>
                  <a:pt x="594029" y="2101141"/>
                </a:cubicBezTo>
                <a:lnTo>
                  <a:pt x="822377" y="1705631"/>
                </a:lnTo>
                <a:cubicBezTo>
                  <a:pt x="730789" y="1658398"/>
                  <a:pt x="632873" y="1623335"/>
                  <a:pt x="531158" y="1601275"/>
                </a:cubicBezTo>
                <a:close/>
                <a:moveTo>
                  <a:pt x="270885" y="1572115"/>
                </a:moveTo>
                <a:cubicBezTo>
                  <a:pt x="231457" y="1572339"/>
                  <a:pt x="191799" y="1574812"/>
                  <a:pt x="152057" y="1579894"/>
                </a:cubicBezTo>
                <a:cubicBezTo>
                  <a:pt x="195418" y="1760005"/>
                  <a:pt x="289893" y="1927350"/>
                  <a:pt x="428945" y="2058945"/>
                </a:cubicBezTo>
                <a:cubicBezTo>
                  <a:pt x="384418" y="1901749"/>
                  <a:pt x="371313" y="1738504"/>
                  <a:pt x="388331" y="1577832"/>
                </a:cubicBezTo>
                <a:cubicBezTo>
                  <a:pt x="349511" y="1573916"/>
                  <a:pt x="310313" y="1571891"/>
                  <a:pt x="270885" y="1572115"/>
                </a:cubicBezTo>
                <a:close/>
                <a:moveTo>
                  <a:pt x="1117422" y="1445810"/>
                </a:moveTo>
                <a:lnTo>
                  <a:pt x="992684" y="1661863"/>
                </a:lnTo>
                <a:cubicBezTo>
                  <a:pt x="1102065" y="1730612"/>
                  <a:pt x="1200940" y="1816138"/>
                  <a:pt x="1286200" y="1915345"/>
                </a:cubicBezTo>
                <a:cubicBezTo>
                  <a:pt x="1368713" y="1844119"/>
                  <a:pt x="1441290" y="1760865"/>
                  <a:pt x="1500981" y="1667258"/>
                </a:cubicBezTo>
                <a:close/>
                <a:moveTo>
                  <a:pt x="2092402" y="1221082"/>
                </a:moveTo>
                <a:cubicBezTo>
                  <a:pt x="2001593" y="1234047"/>
                  <a:pt x="1911092" y="1235450"/>
                  <a:pt x="1822337" y="1227227"/>
                </a:cubicBezTo>
                <a:cubicBezTo>
                  <a:pt x="1800443" y="1366691"/>
                  <a:pt x="1756170" y="1503162"/>
                  <a:pt x="1688847" y="1630684"/>
                </a:cubicBezTo>
                <a:lnTo>
                  <a:pt x="1987299" y="1802996"/>
                </a:lnTo>
                <a:cubicBezTo>
                  <a:pt x="2084887" y="1618081"/>
                  <a:pt x="2117858" y="1415133"/>
                  <a:pt x="2092402" y="1221082"/>
                </a:cubicBezTo>
                <a:close/>
                <a:moveTo>
                  <a:pt x="649579" y="1175701"/>
                </a:moveTo>
                <a:cubicBezTo>
                  <a:pt x="600911" y="1272240"/>
                  <a:pt x="566994" y="1374279"/>
                  <a:pt x="548013" y="1478728"/>
                </a:cubicBezTo>
                <a:cubicBezTo>
                  <a:pt x="665588" y="1503392"/>
                  <a:pt x="778659" y="1543786"/>
                  <a:pt x="883938" y="1599004"/>
                </a:cubicBezTo>
                <a:lnTo>
                  <a:pt x="1008644" y="1383007"/>
                </a:lnTo>
                <a:close/>
                <a:moveTo>
                  <a:pt x="1325201" y="1085928"/>
                </a:moveTo>
                <a:lnTo>
                  <a:pt x="1180226" y="1337032"/>
                </a:lnTo>
                <a:lnTo>
                  <a:pt x="1563461" y="1558293"/>
                </a:lnTo>
                <a:cubicBezTo>
                  <a:pt x="1621429" y="1447029"/>
                  <a:pt x="1659763" y="1328223"/>
                  <a:pt x="1679185" y="1206861"/>
                </a:cubicBezTo>
                <a:cubicBezTo>
                  <a:pt x="1555153" y="1183834"/>
                  <a:pt x="1435895" y="1143161"/>
                  <a:pt x="1325201" y="1085928"/>
                </a:cubicBezTo>
                <a:close/>
                <a:moveTo>
                  <a:pt x="216369" y="925587"/>
                </a:moveTo>
                <a:cubicBezTo>
                  <a:pt x="135862" y="1096620"/>
                  <a:pt x="108667" y="1281041"/>
                  <a:pt x="130011" y="1458436"/>
                </a:cubicBezTo>
                <a:cubicBezTo>
                  <a:pt x="222591" y="1446071"/>
                  <a:pt x="314795" y="1446181"/>
                  <a:pt x="405131" y="1455463"/>
                </a:cubicBezTo>
                <a:cubicBezTo>
                  <a:pt x="426945" y="1333935"/>
                  <a:pt x="466667" y="1215249"/>
                  <a:pt x="524206" y="1103317"/>
                </a:cubicBezTo>
                <a:close/>
                <a:moveTo>
                  <a:pt x="943246" y="797103"/>
                </a:moveTo>
                <a:cubicBezTo>
                  <a:pt x="853400" y="873630"/>
                  <a:pt x="774733" y="963960"/>
                  <a:pt x="711316" y="1066306"/>
                </a:cubicBezTo>
                <a:lnTo>
                  <a:pt x="1071447" y="1274228"/>
                </a:lnTo>
                <a:lnTo>
                  <a:pt x="1215869" y="1024081"/>
                </a:lnTo>
                <a:cubicBezTo>
                  <a:pt x="1115458" y="961776"/>
                  <a:pt x="1023809" y="885272"/>
                  <a:pt x="943246" y="797103"/>
                </a:cubicBezTo>
                <a:close/>
                <a:moveTo>
                  <a:pt x="1777831" y="614825"/>
                </a:moveTo>
                <a:cubicBezTo>
                  <a:pt x="1828108" y="774217"/>
                  <a:pt x="1847177" y="940426"/>
                  <a:pt x="1835302" y="1104709"/>
                </a:cubicBezTo>
                <a:cubicBezTo>
                  <a:pt x="1912529" y="1111680"/>
                  <a:pt x="1991200" y="1110618"/>
                  <a:pt x="2070135" y="1099634"/>
                </a:cubicBezTo>
                <a:cubicBezTo>
                  <a:pt x="2023430" y="916066"/>
                  <a:pt x="1923963" y="746103"/>
                  <a:pt x="1777831" y="614825"/>
                </a:cubicBezTo>
                <a:close/>
                <a:moveTo>
                  <a:pt x="1613169" y="587153"/>
                </a:moveTo>
                <a:lnTo>
                  <a:pt x="1386789" y="979253"/>
                </a:lnTo>
                <a:cubicBezTo>
                  <a:pt x="1482593" y="1028182"/>
                  <a:pt x="1585369" y="1063521"/>
                  <a:pt x="1692132" y="1084514"/>
                </a:cubicBezTo>
                <a:cubicBezTo>
                  <a:pt x="1702376" y="916614"/>
                  <a:pt x="1676765" y="746730"/>
                  <a:pt x="1613169" y="587153"/>
                </a:cubicBezTo>
                <a:close/>
                <a:moveTo>
                  <a:pt x="1500307" y="531421"/>
                </a:moveTo>
                <a:cubicBezTo>
                  <a:pt x="1333628" y="560682"/>
                  <a:pt x="1177718" y="626786"/>
                  <a:pt x="1041762" y="721997"/>
                </a:cubicBezTo>
                <a:cubicBezTo>
                  <a:pt x="1111912" y="797410"/>
                  <a:pt x="1191076" y="863204"/>
                  <a:pt x="1277416" y="917480"/>
                </a:cubicBezTo>
                <a:close/>
                <a:moveTo>
                  <a:pt x="708730" y="442269"/>
                </a:moveTo>
                <a:cubicBezTo>
                  <a:pt x="536145" y="518354"/>
                  <a:pt x="384460" y="645249"/>
                  <a:pt x="277225" y="815684"/>
                </a:cubicBezTo>
                <a:lnTo>
                  <a:pt x="586010" y="993961"/>
                </a:lnTo>
                <a:cubicBezTo>
                  <a:pt x="658009" y="876621"/>
                  <a:pt x="747803" y="773217"/>
                  <a:pt x="850548" y="685844"/>
                </a:cubicBezTo>
                <a:cubicBezTo>
                  <a:pt x="795399" y="611028"/>
                  <a:pt x="747545" y="529652"/>
                  <a:pt x="708730" y="442269"/>
                </a:cubicBezTo>
                <a:close/>
                <a:moveTo>
                  <a:pt x="1114411" y="355452"/>
                </a:moveTo>
                <a:cubicBezTo>
                  <a:pt x="1016499" y="355167"/>
                  <a:pt x="919324" y="369705"/>
                  <a:pt x="826255" y="398131"/>
                </a:cubicBezTo>
                <a:cubicBezTo>
                  <a:pt x="858722" y="474940"/>
                  <a:pt x="900618" y="545829"/>
                  <a:pt x="948599" y="611249"/>
                </a:cubicBezTo>
                <a:cubicBezTo>
                  <a:pt x="1085375" y="512974"/>
                  <a:pt x="1240825" y="441488"/>
                  <a:pt x="1406980" y="401715"/>
                </a:cubicBezTo>
                <a:cubicBezTo>
                  <a:pt x="1310969" y="370847"/>
                  <a:pt x="1212322" y="355738"/>
                  <a:pt x="1114411" y="355452"/>
                </a:cubicBezTo>
                <a:close/>
                <a:moveTo>
                  <a:pt x="1776283" y="295101"/>
                </a:moveTo>
                <a:lnTo>
                  <a:pt x="1710896" y="408983"/>
                </a:lnTo>
                <a:cubicBezTo>
                  <a:pt x="2209777" y="726145"/>
                  <a:pt x="2373723" y="1383396"/>
                  <a:pt x="2075153" y="1900534"/>
                </a:cubicBezTo>
                <a:cubicBezTo>
                  <a:pt x="1777480" y="2416119"/>
                  <a:pt x="1129323" y="2603192"/>
                  <a:pt x="606057" y="2333243"/>
                </a:cubicBezTo>
                <a:lnTo>
                  <a:pt x="534769" y="2457402"/>
                </a:lnTo>
                <a:cubicBezTo>
                  <a:pt x="1115347" y="2755664"/>
                  <a:pt x="1834151" y="2554240"/>
                  <a:pt x="2173557" y="1987198"/>
                </a:cubicBezTo>
                <a:cubicBezTo>
                  <a:pt x="2520801" y="1407062"/>
                  <a:pt x="2343129" y="657734"/>
                  <a:pt x="1776283" y="295101"/>
                </a:cubicBezTo>
                <a:close/>
                <a:moveTo>
                  <a:pt x="1831804" y="0"/>
                </a:moveTo>
                <a:cubicBezTo>
                  <a:pt x="1881515" y="0"/>
                  <a:pt x="1921814" y="40299"/>
                  <a:pt x="1921814" y="90010"/>
                </a:cubicBezTo>
                <a:cubicBezTo>
                  <a:pt x="1921814" y="123853"/>
                  <a:pt x="1903137" y="153333"/>
                  <a:pt x="1874873" y="167531"/>
                </a:cubicBezTo>
                <a:cubicBezTo>
                  <a:pt x="2505724" y="579432"/>
                  <a:pt x="2701456" y="1419035"/>
                  <a:pt x="2311836" y="2069966"/>
                </a:cubicBezTo>
                <a:cubicBezTo>
                  <a:pt x="2067801" y="2477672"/>
                  <a:pt x="1650037" y="2717958"/>
                  <a:pt x="1209422" y="2750781"/>
                </a:cubicBezTo>
                <a:lnTo>
                  <a:pt x="1209422" y="3191198"/>
                </a:lnTo>
                <a:cubicBezTo>
                  <a:pt x="1228953" y="3190691"/>
                  <a:pt x="1248332" y="3191937"/>
                  <a:pt x="1267595" y="3193449"/>
                </a:cubicBezTo>
                <a:cubicBezTo>
                  <a:pt x="1660899" y="3224325"/>
                  <a:pt x="1926978" y="3358049"/>
                  <a:pt x="1884661" y="3503570"/>
                </a:cubicBezTo>
                <a:lnTo>
                  <a:pt x="318693" y="3505352"/>
                </a:lnTo>
                <a:cubicBezTo>
                  <a:pt x="273700" y="3359367"/>
                  <a:pt x="539657" y="3224666"/>
                  <a:pt x="934393" y="3193515"/>
                </a:cubicBezTo>
                <a:lnTo>
                  <a:pt x="993398" y="3191208"/>
                </a:lnTo>
                <a:lnTo>
                  <a:pt x="993398" y="2750894"/>
                </a:lnTo>
                <a:cubicBezTo>
                  <a:pt x="812915" y="2737642"/>
                  <a:pt x="632784" y="2688481"/>
                  <a:pt x="463078" y="2601537"/>
                </a:cubicBezTo>
                <a:cubicBezTo>
                  <a:pt x="463677" y="2602537"/>
                  <a:pt x="463694" y="2603560"/>
                  <a:pt x="463694" y="2604587"/>
                </a:cubicBezTo>
                <a:cubicBezTo>
                  <a:pt x="463694" y="2654298"/>
                  <a:pt x="423395" y="2694597"/>
                  <a:pt x="373684" y="2694597"/>
                </a:cubicBezTo>
                <a:cubicBezTo>
                  <a:pt x="323973" y="2694597"/>
                  <a:pt x="283674" y="2654298"/>
                  <a:pt x="283674" y="2604587"/>
                </a:cubicBezTo>
                <a:cubicBezTo>
                  <a:pt x="283674" y="2554876"/>
                  <a:pt x="323973" y="2514577"/>
                  <a:pt x="373684" y="2514577"/>
                </a:cubicBezTo>
                <a:lnTo>
                  <a:pt x="377019" y="2515250"/>
                </a:lnTo>
                <a:lnTo>
                  <a:pt x="511820" y="2280472"/>
                </a:lnTo>
                <a:lnTo>
                  <a:pt x="495824" y="2271237"/>
                </a:lnTo>
                <a:lnTo>
                  <a:pt x="496783" y="2269575"/>
                </a:lnTo>
                <a:cubicBezTo>
                  <a:pt x="34226" y="1964050"/>
                  <a:pt x="-130424" y="1362029"/>
                  <a:pt x="110016" y="864184"/>
                </a:cubicBezTo>
                <a:lnTo>
                  <a:pt x="106296" y="862036"/>
                </a:lnTo>
                <a:lnTo>
                  <a:pt x="148828" y="788370"/>
                </a:lnTo>
                <a:lnTo>
                  <a:pt x="169099" y="753258"/>
                </a:lnTo>
                <a:lnTo>
                  <a:pt x="170873" y="754281"/>
                </a:lnTo>
                <a:cubicBezTo>
                  <a:pt x="475914" y="264737"/>
                  <a:pt x="1106018" y="92008"/>
                  <a:pt x="1617242" y="355196"/>
                </a:cubicBezTo>
                <a:lnTo>
                  <a:pt x="1748044" y="127384"/>
                </a:lnTo>
                <a:lnTo>
                  <a:pt x="1751959" y="129632"/>
                </a:lnTo>
                <a:cubicBezTo>
                  <a:pt x="1745165" y="117975"/>
                  <a:pt x="1741794" y="104386"/>
                  <a:pt x="1741794" y="90010"/>
                </a:cubicBezTo>
                <a:cubicBezTo>
                  <a:pt x="1741794" y="40299"/>
                  <a:pt x="1782093" y="0"/>
                  <a:pt x="1831804"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45" name="Right Triangle 17">
            <a:extLst>
              <a:ext uri="{FF2B5EF4-FFF2-40B4-BE49-F238E27FC236}">
                <a16:creationId xmlns:a16="http://schemas.microsoft.com/office/drawing/2014/main" id="{6EA4DD56-E331-6E44-AF47-080A575DE6E1}"/>
              </a:ext>
            </a:extLst>
          </p:cNvPr>
          <p:cNvSpPr/>
          <p:nvPr/>
        </p:nvSpPr>
        <p:spPr>
          <a:xfrm>
            <a:off x="4598868" y="3093474"/>
            <a:ext cx="288000" cy="360000"/>
          </a:xfrm>
          <a:custGeom>
            <a:avLst/>
            <a:gdLst/>
            <a:ahLst/>
            <a:cxnLst/>
            <a:rect l="l" t="t" r="r" b="b"/>
            <a:pathLst>
              <a:path w="2387678" h="3240000">
                <a:moveTo>
                  <a:pt x="1645041" y="17032"/>
                </a:moveTo>
                <a:lnTo>
                  <a:pt x="2376264" y="17032"/>
                </a:lnTo>
                <a:lnTo>
                  <a:pt x="2376264" y="17033"/>
                </a:lnTo>
                <a:lnTo>
                  <a:pt x="1645042" y="17033"/>
                </a:lnTo>
                <a:close/>
                <a:moveTo>
                  <a:pt x="0" y="17032"/>
                </a:moveTo>
                <a:lnTo>
                  <a:pt x="1379678" y="17032"/>
                </a:lnTo>
                <a:lnTo>
                  <a:pt x="1379678" y="996125"/>
                </a:lnTo>
                <a:lnTo>
                  <a:pt x="2376264" y="996125"/>
                </a:lnTo>
                <a:lnTo>
                  <a:pt x="2376264" y="3240000"/>
                </a:lnTo>
                <a:lnTo>
                  <a:pt x="0" y="3240000"/>
                </a:lnTo>
                <a:close/>
                <a:moveTo>
                  <a:pt x="1498869" y="0"/>
                </a:moveTo>
                <a:lnTo>
                  <a:pt x="2387678" y="888809"/>
                </a:lnTo>
                <a:lnTo>
                  <a:pt x="1498869" y="88880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6" name="Oval 27">
            <a:extLst>
              <a:ext uri="{FF2B5EF4-FFF2-40B4-BE49-F238E27FC236}">
                <a16:creationId xmlns:a16="http://schemas.microsoft.com/office/drawing/2014/main" id="{48553902-B313-C545-9259-A99DDF757DC9}"/>
              </a:ext>
            </a:extLst>
          </p:cNvPr>
          <p:cNvSpPr/>
          <p:nvPr/>
        </p:nvSpPr>
        <p:spPr>
          <a:xfrm>
            <a:off x="5376494" y="1714045"/>
            <a:ext cx="254412" cy="399861"/>
          </a:xfrm>
          <a:custGeom>
            <a:avLst/>
            <a:gdLst/>
            <a:ahLst/>
            <a:cxnLst/>
            <a:rect l="l" t="t" r="r" b="b"/>
            <a:pathLst>
              <a:path w="1703664" h="3240001">
                <a:moveTo>
                  <a:pt x="952533" y="2024463"/>
                </a:moveTo>
                <a:lnTo>
                  <a:pt x="856710" y="2024464"/>
                </a:lnTo>
                <a:lnTo>
                  <a:pt x="649879" y="2143878"/>
                </a:lnTo>
                <a:lnTo>
                  <a:pt x="728753" y="2280491"/>
                </a:lnTo>
                <a:lnTo>
                  <a:pt x="800462" y="2239090"/>
                </a:lnTo>
                <a:lnTo>
                  <a:pt x="800462" y="2476837"/>
                </a:lnTo>
                <a:lnTo>
                  <a:pt x="649878" y="2476837"/>
                </a:lnTo>
                <a:lnTo>
                  <a:pt x="649878" y="2634602"/>
                </a:lnTo>
                <a:lnTo>
                  <a:pt x="1067658" y="2634602"/>
                </a:lnTo>
                <a:lnTo>
                  <a:pt x="1067657" y="2476837"/>
                </a:lnTo>
                <a:lnTo>
                  <a:pt x="952532" y="2476837"/>
                </a:lnTo>
                <a:lnTo>
                  <a:pt x="952532" y="2151292"/>
                </a:lnTo>
                <a:lnTo>
                  <a:pt x="952534" y="2151291"/>
                </a:lnTo>
                <a:close/>
                <a:moveTo>
                  <a:pt x="851832" y="1776101"/>
                </a:moveTo>
                <a:cubicBezTo>
                  <a:pt x="1189868" y="1776101"/>
                  <a:pt x="1463900" y="2050133"/>
                  <a:pt x="1463900" y="2388169"/>
                </a:cubicBezTo>
                <a:cubicBezTo>
                  <a:pt x="1463900" y="2726205"/>
                  <a:pt x="1189868" y="3000237"/>
                  <a:pt x="851832" y="3000237"/>
                </a:cubicBezTo>
                <a:cubicBezTo>
                  <a:pt x="513796" y="3000237"/>
                  <a:pt x="239764" y="2726205"/>
                  <a:pt x="239764" y="2388169"/>
                </a:cubicBezTo>
                <a:cubicBezTo>
                  <a:pt x="239764" y="2050133"/>
                  <a:pt x="513796" y="1776101"/>
                  <a:pt x="851832" y="1776101"/>
                </a:cubicBezTo>
                <a:close/>
                <a:moveTo>
                  <a:pt x="851832" y="1689019"/>
                </a:moveTo>
                <a:cubicBezTo>
                  <a:pt x="465702" y="1689019"/>
                  <a:pt x="152682" y="2002039"/>
                  <a:pt x="152682" y="2388169"/>
                </a:cubicBezTo>
                <a:cubicBezTo>
                  <a:pt x="152682" y="2774299"/>
                  <a:pt x="465702" y="3087319"/>
                  <a:pt x="851832" y="3087319"/>
                </a:cubicBezTo>
                <a:cubicBezTo>
                  <a:pt x="1237962" y="3087319"/>
                  <a:pt x="1550982" y="2774299"/>
                  <a:pt x="1550982" y="2388169"/>
                </a:cubicBezTo>
                <a:cubicBezTo>
                  <a:pt x="1550982" y="2002039"/>
                  <a:pt x="1237962" y="1689019"/>
                  <a:pt x="851832" y="1689019"/>
                </a:cubicBezTo>
                <a:close/>
                <a:moveTo>
                  <a:pt x="851832" y="1536337"/>
                </a:moveTo>
                <a:cubicBezTo>
                  <a:pt x="1322286" y="1536337"/>
                  <a:pt x="1703664" y="1917715"/>
                  <a:pt x="1703664" y="2388169"/>
                </a:cubicBezTo>
                <a:cubicBezTo>
                  <a:pt x="1703664" y="2858623"/>
                  <a:pt x="1322286" y="3240001"/>
                  <a:pt x="851832" y="3240001"/>
                </a:cubicBezTo>
                <a:cubicBezTo>
                  <a:pt x="381378" y="3240001"/>
                  <a:pt x="0" y="2858623"/>
                  <a:pt x="0" y="2388169"/>
                </a:cubicBezTo>
                <a:cubicBezTo>
                  <a:pt x="0" y="1917715"/>
                  <a:pt x="381378" y="1536337"/>
                  <a:pt x="851832" y="1536337"/>
                </a:cubicBezTo>
                <a:close/>
                <a:moveTo>
                  <a:pt x="1173126" y="1"/>
                </a:moveTo>
                <a:lnTo>
                  <a:pt x="1383673" y="1"/>
                </a:lnTo>
                <a:lnTo>
                  <a:pt x="1383673" y="954514"/>
                </a:lnTo>
                <a:lnTo>
                  <a:pt x="1173126" y="1187717"/>
                </a:lnTo>
                <a:close/>
                <a:moveTo>
                  <a:pt x="619488" y="0"/>
                </a:moveTo>
                <a:lnTo>
                  <a:pt x="1099698" y="0"/>
                </a:lnTo>
                <a:lnTo>
                  <a:pt x="1099698" y="1265464"/>
                </a:lnTo>
                <a:lnTo>
                  <a:pt x="859593" y="1532640"/>
                </a:lnTo>
                <a:lnTo>
                  <a:pt x="619488" y="1265464"/>
                </a:lnTo>
                <a:close/>
                <a:moveTo>
                  <a:pt x="335512" y="0"/>
                </a:moveTo>
                <a:lnTo>
                  <a:pt x="546059" y="0"/>
                </a:lnTo>
                <a:lnTo>
                  <a:pt x="546059" y="1166181"/>
                </a:lnTo>
                <a:lnTo>
                  <a:pt x="335512" y="927455"/>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47" name="Parallelogram 15">
            <a:extLst>
              <a:ext uri="{FF2B5EF4-FFF2-40B4-BE49-F238E27FC236}">
                <a16:creationId xmlns:a16="http://schemas.microsoft.com/office/drawing/2014/main" id="{B409D5DD-EAD8-DE40-A6F6-7EC268BEDDE8}"/>
              </a:ext>
            </a:extLst>
          </p:cNvPr>
          <p:cNvSpPr/>
          <p:nvPr/>
        </p:nvSpPr>
        <p:spPr>
          <a:xfrm rot="16200000">
            <a:off x="1867099" y="3083099"/>
            <a:ext cx="365061" cy="359999"/>
          </a:xfrm>
          <a:custGeom>
            <a:avLst/>
            <a:gdLst/>
            <a:ahLst/>
            <a:cxnLst/>
            <a:rect l="l" t="t" r="r" b="b"/>
            <a:pathLst>
              <a:path w="2993176" h="3240001">
                <a:moveTo>
                  <a:pt x="1299907" y="647892"/>
                </a:moveTo>
                <a:lnTo>
                  <a:pt x="665509" y="1620000"/>
                </a:lnTo>
                <a:lnTo>
                  <a:pt x="1299907" y="2592108"/>
                </a:lnTo>
                <a:lnTo>
                  <a:pt x="634398" y="2592108"/>
                </a:lnTo>
                <a:lnTo>
                  <a:pt x="0" y="1620000"/>
                </a:lnTo>
                <a:lnTo>
                  <a:pt x="634398" y="647892"/>
                </a:lnTo>
                <a:close/>
                <a:moveTo>
                  <a:pt x="2993176" y="1620001"/>
                </a:moveTo>
                <a:lnTo>
                  <a:pt x="1913056" y="3240001"/>
                </a:lnTo>
                <a:lnTo>
                  <a:pt x="1782206" y="3043749"/>
                </a:lnTo>
                <a:lnTo>
                  <a:pt x="1110064" y="3043749"/>
                </a:lnTo>
                <a:cubicBezTo>
                  <a:pt x="1089036" y="3096599"/>
                  <a:pt x="1037333" y="3133759"/>
                  <a:pt x="976952" y="3133759"/>
                </a:cubicBezTo>
                <a:cubicBezTo>
                  <a:pt x="923853" y="3133759"/>
                  <a:pt x="877466" y="3105022"/>
                  <a:pt x="854540" y="3061058"/>
                </a:cubicBezTo>
                <a:lnTo>
                  <a:pt x="302383" y="3169763"/>
                </a:lnTo>
                <a:lnTo>
                  <a:pt x="302383" y="2809723"/>
                </a:lnTo>
                <a:lnTo>
                  <a:pt x="854540" y="2918427"/>
                </a:lnTo>
                <a:cubicBezTo>
                  <a:pt x="877466" y="2874463"/>
                  <a:pt x="923853" y="2845727"/>
                  <a:pt x="976952" y="2845727"/>
                </a:cubicBezTo>
                <a:cubicBezTo>
                  <a:pt x="1037333" y="2845727"/>
                  <a:pt x="1089036" y="2882887"/>
                  <a:pt x="1110064" y="2935737"/>
                </a:cubicBezTo>
                <a:lnTo>
                  <a:pt x="1710190" y="2935737"/>
                </a:lnTo>
                <a:lnTo>
                  <a:pt x="832936" y="1620001"/>
                </a:lnTo>
                <a:lnTo>
                  <a:pt x="1913056" y="0"/>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0" name="Freeform 32">
            <a:extLst>
              <a:ext uri="{FF2B5EF4-FFF2-40B4-BE49-F238E27FC236}">
                <a16:creationId xmlns:a16="http://schemas.microsoft.com/office/drawing/2014/main" id="{B7EF3A83-C4DB-B74A-8270-A760904DC798}"/>
              </a:ext>
            </a:extLst>
          </p:cNvPr>
          <p:cNvSpPr/>
          <p:nvPr/>
        </p:nvSpPr>
        <p:spPr>
          <a:xfrm>
            <a:off x="829439" y="4750100"/>
            <a:ext cx="342911" cy="382643"/>
          </a:xfrm>
          <a:custGeom>
            <a:avLst/>
            <a:gdLst/>
            <a:ahLst/>
            <a:cxnLst/>
            <a:rect l="l" t="t" r="r" b="b"/>
            <a:pathLst>
              <a:path w="3210745" h="2940925">
                <a:moveTo>
                  <a:pt x="340528" y="2526682"/>
                </a:moveTo>
                <a:cubicBezTo>
                  <a:pt x="280875" y="2526682"/>
                  <a:pt x="232516" y="2575041"/>
                  <a:pt x="232516" y="2634694"/>
                </a:cubicBezTo>
                <a:cubicBezTo>
                  <a:pt x="232516" y="2694347"/>
                  <a:pt x="280875" y="2742706"/>
                  <a:pt x="340528" y="2742706"/>
                </a:cubicBezTo>
                <a:cubicBezTo>
                  <a:pt x="400181" y="2742706"/>
                  <a:pt x="448540" y="2694347"/>
                  <a:pt x="448540" y="2634694"/>
                </a:cubicBezTo>
                <a:cubicBezTo>
                  <a:pt x="448540" y="2575041"/>
                  <a:pt x="400181" y="2526682"/>
                  <a:pt x="340528" y="2526682"/>
                </a:cubicBezTo>
                <a:close/>
                <a:moveTo>
                  <a:pt x="1821636" y="152"/>
                </a:moveTo>
                <a:cubicBezTo>
                  <a:pt x="1920275" y="-4956"/>
                  <a:pt x="2051571" y="119306"/>
                  <a:pt x="2102482" y="278737"/>
                </a:cubicBezTo>
                <a:cubicBezTo>
                  <a:pt x="2192513" y="649582"/>
                  <a:pt x="1575154" y="1213351"/>
                  <a:pt x="2006019" y="1236931"/>
                </a:cubicBezTo>
                <a:cubicBezTo>
                  <a:pt x="2310412" y="1206920"/>
                  <a:pt x="2473326" y="1176910"/>
                  <a:pt x="2803442" y="1166192"/>
                </a:cubicBezTo>
                <a:cubicBezTo>
                  <a:pt x="3103547" y="1170479"/>
                  <a:pt x="3152850" y="1361260"/>
                  <a:pt x="3002798" y="1564903"/>
                </a:cubicBezTo>
                <a:cubicBezTo>
                  <a:pt x="3191435" y="1575621"/>
                  <a:pt x="3347919" y="1869296"/>
                  <a:pt x="3022090" y="1989338"/>
                </a:cubicBezTo>
                <a:cubicBezTo>
                  <a:pt x="3332913" y="2182262"/>
                  <a:pt x="3154994" y="2426634"/>
                  <a:pt x="2977074" y="2471650"/>
                </a:cubicBezTo>
                <a:cubicBezTo>
                  <a:pt x="3127127" y="2606697"/>
                  <a:pt x="3109978" y="2709590"/>
                  <a:pt x="2957782" y="2793191"/>
                </a:cubicBezTo>
                <a:cubicBezTo>
                  <a:pt x="2620164" y="2932526"/>
                  <a:pt x="1747715" y="3028988"/>
                  <a:pt x="1253613" y="2818914"/>
                </a:cubicBezTo>
                <a:cubicBezTo>
                  <a:pt x="1018944" y="2738561"/>
                  <a:pt x="869067" y="2654318"/>
                  <a:pt x="700568" y="2648441"/>
                </a:cubicBezTo>
                <a:lnTo>
                  <a:pt x="700568" y="2796242"/>
                </a:lnTo>
                <a:cubicBezTo>
                  <a:pt x="700568" y="2860729"/>
                  <a:pt x="648291" y="2913006"/>
                  <a:pt x="583804" y="2913006"/>
                </a:cubicBezTo>
                <a:lnTo>
                  <a:pt x="0" y="2913006"/>
                </a:lnTo>
                <a:lnTo>
                  <a:pt x="0" y="1400838"/>
                </a:lnTo>
                <a:lnTo>
                  <a:pt x="583804" y="1400838"/>
                </a:lnTo>
                <a:cubicBezTo>
                  <a:pt x="648291" y="1400838"/>
                  <a:pt x="700568" y="1453115"/>
                  <a:pt x="700568" y="1517602"/>
                </a:cubicBezTo>
                <a:lnTo>
                  <a:pt x="700568" y="1571674"/>
                </a:lnTo>
                <a:cubicBezTo>
                  <a:pt x="721537" y="1568378"/>
                  <a:pt x="746526" y="1559634"/>
                  <a:pt x="784162" y="1539180"/>
                </a:cubicBezTo>
                <a:cubicBezTo>
                  <a:pt x="831321" y="1421281"/>
                  <a:pt x="890271" y="1323747"/>
                  <a:pt x="1034964" y="1191915"/>
                </a:cubicBezTo>
                <a:cubicBezTo>
                  <a:pt x="1257900" y="851081"/>
                  <a:pt x="1628744" y="677449"/>
                  <a:pt x="1703770" y="169413"/>
                </a:cubicBezTo>
                <a:cubicBezTo>
                  <a:pt x="1715024" y="52855"/>
                  <a:pt x="1762452" y="3217"/>
                  <a:pt x="1821636" y="152"/>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1" name="Rounded Rectangle 10">
            <a:extLst>
              <a:ext uri="{FF2B5EF4-FFF2-40B4-BE49-F238E27FC236}">
                <a16:creationId xmlns:a16="http://schemas.microsoft.com/office/drawing/2014/main" id="{274830F8-48D5-634B-B34F-622B5D75D007}"/>
              </a:ext>
            </a:extLst>
          </p:cNvPr>
          <p:cNvSpPr/>
          <p:nvPr/>
        </p:nvSpPr>
        <p:spPr>
          <a:xfrm>
            <a:off x="3352251" y="3108415"/>
            <a:ext cx="248333" cy="328786"/>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2" name="Rounded Rectangle 32">
            <a:extLst>
              <a:ext uri="{FF2B5EF4-FFF2-40B4-BE49-F238E27FC236}">
                <a16:creationId xmlns:a16="http://schemas.microsoft.com/office/drawing/2014/main" id="{03D6A377-3227-B342-8B85-9E4DC70633B0}"/>
              </a:ext>
            </a:extLst>
          </p:cNvPr>
          <p:cNvSpPr/>
          <p:nvPr/>
        </p:nvSpPr>
        <p:spPr>
          <a:xfrm>
            <a:off x="3710812" y="3118250"/>
            <a:ext cx="335917" cy="335224"/>
          </a:xfrm>
          <a:custGeom>
            <a:avLst/>
            <a:gdLst/>
            <a:ahLst/>
            <a:cxnLst/>
            <a:rect l="l" t="t" r="r" b="b"/>
            <a:pathLst>
              <a:path w="3240000" h="3240000">
                <a:moveTo>
                  <a:pt x="2019696" y="2510955"/>
                </a:moveTo>
                <a:lnTo>
                  <a:pt x="2019696" y="2797359"/>
                </a:lnTo>
                <a:lnTo>
                  <a:pt x="2914589" y="2797359"/>
                </a:lnTo>
                <a:lnTo>
                  <a:pt x="2914589" y="2510955"/>
                </a:lnTo>
                <a:close/>
                <a:moveTo>
                  <a:pt x="2019696" y="2081348"/>
                </a:moveTo>
                <a:lnTo>
                  <a:pt x="2019696" y="2367752"/>
                </a:lnTo>
                <a:lnTo>
                  <a:pt x="2914589" y="2367752"/>
                </a:lnTo>
                <a:lnTo>
                  <a:pt x="2914589" y="2081348"/>
                </a:lnTo>
                <a:close/>
                <a:moveTo>
                  <a:pt x="580710" y="2021703"/>
                </a:moveTo>
                <a:lnTo>
                  <a:pt x="378191" y="2224222"/>
                </a:lnTo>
                <a:lnTo>
                  <a:pt x="593323" y="2439354"/>
                </a:lnTo>
                <a:lnTo>
                  <a:pt x="378191" y="2654485"/>
                </a:lnTo>
                <a:lnTo>
                  <a:pt x="580710" y="2857004"/>
                </a:lnTo>
                <a:lnTo>
                  <a:pt x="795842" y="2641872"/>
                </a:lnTo>
                <a:lnTo>
                  <a:pt x="1010973" y="2857004"/>
                </a:lnTo>
                <a:lnTo>
                  <a:pt x="1213492" y="2654485"/>
                </a:lnTo>
                <a:lnTo>
                  <a:pt x="998360" y="2439354"/>
                </a:lnTo>
                <a:lnTo>
                  <a:pt x="1213492" y="2224222"/>
                </a:lnTo>
                <a:lnTo>
                  <a:pt x="1010973" y="2021703"/>
                </a:lnTo>
                <a:lnTo>
                  <a:pt x="795842" y="2236835"/>
                </a:lnTo>
                <a:close/>
                <a:moveTo>
                  <a:pt x="1656000" y="1656001"/>
                </a:moveTo>
                <a:lnTo>
                  <a:pt x="3240000" y="1656001"/>
                </a:lnTo>
                <a:lnTo>
                  <a:pt x="3240000" y="2699989"/>
                </a:lnTo>
                <a:cubicBezTo>
                  <a:pt x="3240000" y="2998229"/>
                  <a:pt x="2998229" y="3240000"/>
                  <a:pt x="2699989" y="3240000"/>
                </a:cubicBezTo>
                <a:lnTo>
                  <a:pt x="1656000" y="3240000"/>
                </a:lnTo>
                <a:close/>
                <a:moveTo>
                  <a:pt x="0" y="1656001"/>
                </a:moveTo>
                <a:lnTo>
                  <a:pt x="1584000" y="1656001"/>
                </a:lnTo>
                <a:lnTo>
                  <a:pt x="1584000" y="3240000"/>
                </a:lnTo>
                <a:lnTo>
                  <a:pt x="540011" y="3240000"/>
                </a:lnTo>
                <a:cubicBezTo>
                  <a:pt x="241771" y="3240000"/>
                  <a:pt x="0" y="2998229"/>
                  <a:pt x="0" y="2699989"/>
                </a:cubicBezTo>
                <a:close/>
                <a:moveTo>
                  <a:pt x="2467143" y="957859"/>
                </a:moveTo>
                <a:cubicBezTo>
                  <a:pt x="2388055" y="957859"/>
                  <a:pt x="2323941" y="1021973"/>
                  <a:pt x="2323941" y="1101061"/>
                </a:cubicBezTo>
                <a:cubicBezTo>
                  <a:pt x="2323941" y="1180149"/>
                  <a:pt x="2388055" y="1244263"/>
                  <a:pt x="2467143" y="1244263"/>
                </a:cubicBezTo>
                <a:cubicBezTo>
                  <a:pt x="2546231" y="1244263"/>
                  <a:pt x="2610345" y="1180149"/>
                  <a:pt x="2610345" y="1101061"/>
                </a:cubicBezTo>
                <a:cubicBezTo>
                  <a:pt x="2610345" y="1021973"/>
                  <a:pt x="2546231" y="957859"/>
                  <a:pt x="2467143" y="957859"/>
                </a:cubicBezTo>
                <a:close/>
                <a:moveTo>
                  <a:pt x="2019696" y="635775"/>
                </a:moveTo>
                <a:lnTo>
                  <a:pt x="2019696" y="922180"/>
                </a:lnTo>
                <a:lnTo>
                  <a:pt x="2914589" y="922180"/>
                </a:lnTo>
                <a:lnTo>
                  <a:pt x="2914589" y="635775"/>
                </a:lnTo>
                <a:close/>
                <a:moveTo>
                  <a:pt x="652639" y="331531"/>
                </a:moveTo>
                <a:lnTo>
                  <a:pt x="652639" y="635775"/>
                </a:lnTo>
                <a:lnTo>
                  <a:pt x="348395" y="635775"/>
                </a:lnTo>
                <a:lnTo>
                  <a:pt x="348395" y="922180"/>
                </a:lnTo>
                <a:lnTo>
                  <a:pt x="652639" y="922180"/>
                </a:lnTo>
                <a:lnTo>
                  <a:pt x="652639" y="1226424"/>
                </a:lnTo>
                <a:lnTo>
                  <a:pt x="939044" y="1226424"/>
                </a:lnTo>
                <a:lnTo>
                  <a:pt x="939044" y="922180"/>
                </a:lnTo>
                <a:lnTo>
                  <a:pt x="1243288" y="922180"/>
                </a:lnTo>
                <a:lnTo>
                  <a:pt x="1243288" y="635775"/>
                </a:lnTo>
                <a:lnTo>
                  <a:pt x="939044" y="635775"/>
                </a:lnTo>
                <a:lnTo>
                  <a:pt x="939044" y="331531"/>
                </a:lnTo>
                <a:close/>
                <a:moveTo>
                  <a:pt x="2467143" y="313692"/>
                </a:moveTo>
                <a:cubicBezTo>
                  <a:pt x="2388055" y="313692"/>
                  <a:pt x="2323941" y="377806"/>
                  <a:pt x="2323941" y="456894"/>
                </a:cubicBezTo>
                <a:cubicBezTo>
                  <a:pt x="2323941" y="535982"/>
                  <a:pt x="2388055" y="600096"/>
                  <a:pt x="2467143" y="600096"/>
                </a:cubicBezTo>
                <a:cubicBezTo>
                  <a:pt x="2546231" y="600096"/>
                  <a:pt x="2610345" y="535982"/>
                  <a:pt x="2610345" y="456894"/>
                </a:cubicBezTo>
                <a:cubicBezTo>
                  <a:pt x="2610345" y="377806"/>
                  <a:pt x="2546231" y="313692"/>
                  <a:pt x="2467143" y="313692"/>
                </a:cubicBezTo>
                <a:close/>
                <a:moveTo>
                  <a:pt x="540011" y="0"/>
                </a:moveTo>
                <a:lnTo>
                  <a:pt x="2699989" y="0"/>
                </a:lnTo>
                <a:cubicBezTo>
                  <a:pt x="2998229" y="0"/>
                  <a:pt x="3240000" y="241771"/>
                  <a:pt x="3240000" y="540011"/>
                </a:cubicBezTo>
                <a:lnTo>
                  <a:pt x="3240000" y="1584001"/>
                </a:lnTo>
                <a:lnTo>
                  <a:pt x="1656000" y="1584001"/>
                </a:lnTo>
                <a:lnTo>
                  <a:pt x="1656000" y="1"/>
                </a:lnTo>
                <a:lnTo>
                  <a:pt x="1584000" y="1"/>
                </a:lnTo>
                <a:lnTo>
                  <a:pt x="1584000" y="1584001"/>
                </a:lnTo>
                <a:lnTo>
                  <a:pt x="0" y="1584001"/>
                </a:lnTo>
                <a:lnTo>
                  <a:pt x="0" y="540011"/>
                </a:lnTo>
                <a:cubicBezTo>
                  <a:pt x="0" y="241771"/>
                  <a:pt x="241771" y="0"/>
                  <a:pt x="540011"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4" name="Rounded Rectangle 7">
            <a:extLst>
              <a:ext uri="{FF2B5EF4-FFF2-40B4-BE49-F238E27FC236}">
                <a16:creationId xmlns:a16="http://schemas.microsoft.com/office/drawing/2014/main" id="{FC0F62A7-D9D7-0E4B-8076-8A6D1A48C1ED}"/>
              </a:ext>
            </a:extLst>
          </p:cNvPr>
          <p:cNvSpPr/>
          <p:nvPr/>
        </p:nvSpPr>
        <p:spPr>
          <a:xfrm>
            <a:off x="1203453" y="5356106"/>
            <a:ext cx="327433" cy="399861"/>
          </a:xfrm>
          <a:custGeom>
            <a:avLst/>
            <a:gdLst/>
            <a:ahLst/>
            <a:cxnLst/>
            <a:rect l="l" t="t" r="r" b="b"/>
            <a:pathLst>
              <a:path w="1872208" h="3240000">
                <a:moveTo>
                  <a:pt x="936104" y="2852499"/>
                </a:moveTo>
                <a:cubicBezTo>
                  <a:pt x="861605" y="2852499"/>
                  <a:pt x="801211" y="2912893"/>
                  <a:pt x="801211" y="2987392"/>
                </a:cubicBezTo>
                <a:cubicBezTo>
                  <a:pt x="801211" y="3061891"/>
                  <a:pt x="861605" y="3122285"/>
                  <a:pt x="936104" y="3122285"/>
                </a:cubicBezTo>
                <a:cubicBezTo>
                  <a:pt x="1010603" y="3122285"/>
                  <a:pt x="1070997" y="3061891"/>
                  <a:pt x="1070997" y="2987392"/>
                </a:cubicBezTo>
                <a:cubicBezTo>
                  <a:pt x="1070997" y="2912893"/>
                  <a:pt x="1010603" y="2852499"/>
                  <a:pt x="936104" y="2852499"/>
                </a:cubicBezTo>
                <a:close/>
                <a:moveTo>
                  <a:pt x="144016" y="323096"/>
                </a:moveTo>
                <a:lnTo>
                  <a:pt x="144016" y="2699360"/>
                </a:lnTo>
                <a:lnTo>
                  <a:pt x="1728192" y="2699360"/>
                </a:lnTo>
                <a:lnTo>
                  <a:pt x="1728192" y="323096"/>
                </a:lnTo>
                <a:close/>
                <a:moveTo>
                  <a:pt x="720104" y="107072"/>
                </a:moveTo>
                <a:cubicBezTo>
                  <a:pt x="690281" y="107072"/>
                  <a:pt x="666104" y="131249"/>
                  <a:pt x="666104" y="161072"/>
                </a:cubicBezTo>
                <a:cubicBezTo>
                  <a:pt x="666104" y="190895"/>
                  <a:pt x="690281" y="215072"/>
                  <a:pt x="720104" y="215072"/>
                </a:cubicBezTo>
                <a:lnTo>
                  <a:pt x="1152104" y="215072"/>
                </a:lnTo>
                <a:cubicBezTo>
                  <a:pt x="1181927" y="215072"/>
                  <a:pt x="1206104" y="190895"/>
                  <a:pt x="1206104" y="161072"/>
                </a:cubicBezTo>
                <a:cubicBezTo>
                  <a:pt x="1206104" y="131249"/>
                  <a:pt x="1181927" y="107072"/>
                  <a:pt x="1152104" y="107072"/>
                </a:cubicBezTo>
                <a:close/>
                <a:moveTo>
                  <a:pt x="312041" y="0"/>
                </a:moveTo>
                <a:lnTo>
                  <a:pt x="1560167" y="0"/>
                </a:lnTo>
                <a:cubicBezTo>
                  <a:pt x="1732502" y="0"/>
                  <a:pt x="1872208" y="139706"/>
                  <a:pt x="1872208" y="312041"/>
                </a:cubicBezTo>
                <a:lnTo>
                  <a:pt x="1872208" y="2927959"/>
                </a:lnTo>
                <a:cubicBezTo>
                  <a:pt x="1872208" y="3100294"/>
                  <a:pt x="1732502" y="3240000"/>
                  <a:pt x="1560167" y="3240000"/>
                </a:cubicBezTo>
                <a:lnTo>
                  <a:pt x="312041" y="3240000"/>
                </a:lnTo>
                <a:cubicBezTo>
                  <a:pt x="139706" y="3240000"/>
                  <a:pt x="0" y="3100294"/>
                  <a:pt x="0" y="2927959"/>
                </a:cubicBezTo>
                <a:lnTo>
                  <a:pt x="0" y="312041"/>
                </a:lnTo>
                <a:cubicBezTo>
                  <a:pt x="0" y="139706"/>
                  <a:pt x="139706" y="0"/>
                  <a:pt x="312041"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6" name="Rounded Rectangle 25">
            <a:extLst>
              <a:ext uri="{FF2B5EF4-FFF2-40B4-BE49-F238E27FC236}">
                <a16:creationId xmlns:a16="http://schemas.microsoft.com/office/drawing/2014/main" id="{3D143ABA-8ECF-8741-8BE8-338A17546705}"/>
              </a:ext>
            </a:extLst>
          </p:cNvPr>
          <p:cNvSpPr/>
          <p:nvPr/>
        </p:nvSpPr>
        <p:spPr>
          <a:xfrm>
            <a:off x="892412" y="5355950"/>
            <a:ext cx="275937" cy="399861"/>
          </a:xfrm>
          <a:custGeom>
            <a:avLst/>
            <a:gdLst/>
            <a:ahLst/>
            <a:cxnLst/>
            <a:rect l="l" t="t" r="r" b="b"/>
            <a:pathLst>
              <a:path w="2304256" h="3240000">
                <a:moveTo>
                  <a:pt x="954128" y="3024336"/>
                </a:moveTo>
                <a:cubicBezTo>
                  <a:pt x="924305" y="3024336"/>
                  <a:pt x="900128" y="3048513"/>
                  <a:pt x="900128" y="3078336"/>
                </a:cubicBezTo>
                <a:cubicBezTo>
                  <a:pt x="900128" y="3108159"/>
                  <a:pt x="924305" y="3132336"/>
                  <a:pt x="954128" y="3132336"/>
                </a:cubicBezTo>
                <a:lnTo>
                  <a:pt x="1350128" y="3132336"/>
                </a:lnTo>
                <a:cubicBezTo>
                  <a:pt x="1379951" y="3132336"/>
                  <a:pt x="1404128" y="3108159"/>
                  <a:pt x="1404128" y="3078336"/>
                </a:cubicBezTo>
                <a:cubicBezTo>
                  <a:pt x="1404128" y="3048513"/>
                  <a:pt x="1379951" y="3024336"/>
                  <a:pt x="1350128" y="3024336"/>
                </a:cubicBezTo>
                <a:close/>
                <a:moveTo>
                  <a:pt x="131531" y="224650"/>
                </a:moveTo>
                <a:lnTo>
                  <a:pt x="131531" y="2888946"/>
                </a:lnTo>
                <a:lnTo>
                  <a:pt x="2172725" y="2888946"/>
                </a:lnTo>
                <a:lnTo>
                  <a:pt x="2172725" y="224650"/>
                </a:lnTo>
                <a:close/>
                <a:moveTo>
                  <a:pt x="936128" y="73520"/>
                </a:moveTo>
                <a:cubicBezTo>
                  <a:pt x="916246" y="73520"/>
                  <a:pt x="900128" y="89638"/>
                  <a:pt x="900128" y="109520"/>
                </a:cubicBezTo>
                <a:cubicBezTo>
                  <a:pt x="900128" y="129402"/>
                  <a:pt x="916246" y="145520"/>
                  <a:pt x="936128" y="145520"/>
                </a:cubicBezTo>
                <a:lnTo>
                  <a:pt x="1368128" y="145520"/>
                </a:lnTo>
                <a:cubicBezTo>
                  <a:pt x="1388010" y="145520"/>
                  <a:pt x="1404128" y="129402"/>
                  <a:pt x="1404128" y="109520"/>
                </a:cubicBezTo>
                <a:cubicBezTo>
                  <a:pt x="1404128" y="89638"/>
                  <a:pt x="1388010" y="73520"/>
                  <a:pt x="1368128" y="73520"/>
                </a:cubicBezTo>
                <a:close/>
                <a:moveTo>
                  <a:pt x="155330" y="0"/>
                </a:moveTo>
                <a:lnTo>
                  <a:pt x="2148926" y="0"/>
                </a:lnTo>
                <a:cubicBezTo>
                  <a:pt x="2234712" y="0"/>
                  <a:pt x="2304256" y="69544"/>
                  <a:pt x="2304256" y="155330"/>
                </a:cubicBezTo>
                <a:lnTo>
                  <a:pt x="2304256" y="3084670"/>
                </a:lnTo>
                <a:cubicBezTo>
                  <a:pt x="2304256" y="3170456"/>
                  <a:pt x="2234712" y="3240000"/>
                  <a:pt x="2148926" y="3240000"/>
                </a:cubicBezTo>
                <a:lnTo>
                  <a:pt x="155330" y="3240000"/>
                </a:lnTo>
                <a:cubicBezTo>
                  <a:pt x="69544" y="3240000"/>
                  <a:pt x="0" y="3170456"/>
                  <a:pt x="0" y="3084670"/>
                </a:cubicBezTo>
                <a:lnTo>
                  <a:pt x="0" y="155330"/>
                </a:lnTo>
                <a:cubicBezTo>
                  <a:pt x="0" y="69544"/>
                  <a:pt x="69544" y="0"/>
                  <a:pt x="15533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7" name="Chord 14">
            <a:extLst>
              <a:ext uri="{FF2B5EF4-FFF2-40B4-BE49-F238E27FC236}">
                <a16:creationId xmlns:a16="http://schemas.microsoft.com/office/drawing/2014/main" id="{E476FD26-4A7D-564A-B790-3D4F43200DE3}"/>
              </a:ext>
            </a:extLst>
          </p:cNvPr>
          <p:cNvSpPr/>
          <p:nvPr/>
        </p:nvSpPr>
        <p:spPr>
          <a:xfrm>
            <a:off x="5743194" y="1736512"/>
            <a:ext cx="318308" cy="331966"/>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0" name="Isosceles Triangle 13">
            <a:extLst>
              <a:ext uri="{FF2B5EF4-FFF2-40B4-BE49-F238E27FC236}">
                <a16:creationId xmlns:a16="http://schemas.microsoft.com/office/drawing/2014/main" id="{E697176C-C9A3-8F45-8D97-005442B85325}"/>
              </a:ext>
            </a:extLst>
          </p:cNvPr>
          <p:cNvSpPr/>
          <p:nvPr/>
        </p:nvSpPr>
        <p:spPr>
          <a:xfrm rot="10800000">
            <a:off x="7554557" y="3118250"/>
            <a:ext cx="233805" cy="382663"/>
          </a:xfrm>
          <a:custGeom>
            <a:avLst/>
            <a:gdLst/>
            <a:ahLst/>
            <a:cxnLst/>
            <a:rect l="l" t="t" r="r" b="b"/>
            <a:pathLst>
              <a:path w="1613569" h="3195455">
                <a:moveTo>
                  <a:pt x="1348422" y="2012960"/>
                </a:moveTo>
                <a:lnTo>
                  <a:pt x="264249" y="2012960"/>
                </a:lnTo>
                <a:cubicBezTo>
                  <a:pt x="99656" y="1932015"/>
                  <a:pt x="172" y="1814225"/>
                  <a:pt x="0" y="1686651"/>
                </a:cubicBezTo>
                <a:lnTo>
                  <a:pt x="716785" y="1678553"/>
                </a:lnTo>
                <a:lnTo>
                  <a:pt x="716785" y="360000"/>
                </a:lnTo>
                <a:lnTo>
                  <a:pt x="716785" y="355479"/>
                </a:lnTo>
                <a:lnTo>
                  <a:pt x="717916" y="355479"/>
                </a:lnTo>
                <a:lnTo>
                  <a:pt x="806785" y="0"/>
                </a:lnTo>
                <a:lnTo>
                  <a:pt x="895655" y="355479"/>
                </a:lnTo>
                <a:lnTo>
                  <a:pt x="896785" y="355479"/>
                </a:lnTo>
                <a:lnTo>
                  <a:pt x="896785" y="360000"/>
                </a:lnTo>
                <a:lnTo>
                  <a:pt x="896785" y="1676520"/>
                </a:lnTo>
                <a:lnTo>
                  <a:pt x="1612906" y="1668429"/>
                </a:lnTo>
                <a:cubicBezTo>
                  <a:pt x="1622778" y="1802631"/>
                  <a:pt x="1521918" y="1928220"/>
                  <a:pt x="1348422" y="2012960"/>
                </a:cubicBezTo>
                <a:close/>
                <a:moveTo>
                  <a:pt x="1175921" y="2908428"/>
                </a:moveTo>
                <a:lnTo>
                  <a:pt x="437641" y="2908428"/>
                </a:lnTo>
                <a:lnTo>
                  <a:pt x="250570" y="2083962"/>
                </a:lnTo>
                <a:lnTo>
                  <a:pt x="1362992" y="2083962"/>
                </a:lnTo>
                <a:close/>
                <a:moveTo>
                  <a:pt x="1155969" y="3195455"/>
                </a:moveTo>
                <a:lnTo>
                  <a:pt x="457593" y="3195455"/>
                </a:lnTo>
                <a:cubicBezTo>
                  <a:pt x="397940" y="3195455"/>
                  <a:pt x="349581" y="3147096"/>
                  <a:pt x="349581" y="3087443"/>
                </a:cubicBezTo>
                <a:cubicBezTo>
                  <a:pt x="349581" y="3027790"/>
                  <a:pt x="397940" y="2979431"/>
                  <a:pt x="457593" y="2979431"/>
                </a:cubicBezTo>
                <a:lnTo>
                  <a:pt x="1155969" y="2979431"/>
                </a:lnTo>
                <a:cubicBezTo>
                  <a:pt x="1215622" y="2979431"/>
                  <a:pt x="1263981" y="3027790"/>
                  <a:pt x="1263981" y="3087443"/>
                </a:cubicBezTo>
                <a:cubicBezTo>
                  <a:pt x="1263981" y="3147096"/>
                  <a:pt x="1215622" y="3195455"/>
                  <a:pt x="1155969" y="3195455"/>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1" name="Rectangle 16">
            <a:extLst>
              <a:ext uri="{FF2B5EF4-FFF2-40B4-BE49-F238E27FC236}">
                <a16:creationId xmlns:a16="http://schemas.microsoft.com/office/drawing/2014/main" id="{E4571BBE-03C0-EF48-B65F-C059A8D11321}"/>
              </a:ext>
            </a:extLst>
          </p:cNvPr>
          <p:cNvSpPr/>
          <p:nvPr/>
        </p:nvSpPr>
        <p:spPr>
          <a:xfrm rot="2700000">
            <a:off x="2908994" y="3062217"/>
            <a:ext cx="241781" cy="358237"/>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2" name="Rectangle 9">
            <a:extLst>
              <a:ext uri="{FF2B5EF4-FFF2-40B4-BE49-F238E27FC236}">
                <a16:creationId xmlns:a16="http://schemas.microsoft.com/office/drawing/2014/main" id="{D8003CD8-366D-564B-8798-07D41BE12238}"/>
              </a:ext>
            </a:extLst>
          </p:cNvPr>
          <p:cNvSpPr/>
          <p:nvPr/>
        </p:nvSpPr>
        <p:spPr>
          <a:xfrm>
            <a:off x="1313357" y="4344801"/>
            <a:ext cx="327434" cy="253312"/>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3" name="Round Same Side Corner Rectangle 6">
            <a:extLst>
              <a:ext uri="{FF2B5EF4-FFF2-40B4-BE49-F238E27FC236}">
                <a16:creationId xmlns:a16="http://schemas.microsoft.com/office/drawing/2014/main" id="{80DDFBA3-443D-404B-A4E1-C497EFE1D020}"/>
              </a:ext>
            </a:extLst>
          </p:cNvPr>
          <p:cNvSpPr/>
          <p:nvPr/>
        </p:nvSpPr>
        <p:spPr>
          <a:xfrm rot="2700000">
            <a:off x="7242493" y="3076622"/>
            <a:ext cx="118423" cy="392372"/>
          </a:xfrm>
          <a:custGeom>
            <a:avLst/>
            <a:gdLst/>
            <a:ahLst/>
            <a:cxnLst/>
            <a:rect l="l" t="t" r="r" b="b"/>
            <a:pathLst>
              <a:path w="1035916" h="4153123">
                <a:moveTo>
                  <a:pt x="277501" y="3759099"/>
                </a:moveTo>
                <a:lnTo>
                  <a:pt x="758408" y="3759099"/>
                </a:lnTo>
                <a:lnTo>
                  <a:pt x="517954" y="4153123"/>
                </a:lnTo>
                <a:close/>
                <a:moveTo>
                  <a:pt x="42612" y="2944898"/>
                </a:moveTo>
                <a:cubicBezTo>
                  <a:pt x="153922" y="2941505"/>
                  <a:pt x="246502" y="2889483"/>
                  <a:pt x="275675" y="2819018"/>
                </a:cubicBezTo>
                <a:cubicBezTo>
                  <a:pt x="304648" y="2892614"/>
                  <a:pt x="403763" y="2945872"/>
                  <a:pt x="521107" y="2945872"/>
                </a:cubicBezTo>
                <a:cubicBezTo>
                  <a:pt x="638453" y="2945872"/>
                  <a:pt x="737567" y="2892613"/>
                  <a:pt x="766540" y="2819017"/>
                </a:cubicBezTo>
                <a:cubicBezTo>
                  <a:pt x="795133" y="2888142"/>
                  <a:pt x="884783" y="2939514"/>
                  <a:pt x="993299" y="2944464"/>
                </a:cubicBezTo>
                <a:lnTo>
                  <a:pt x="776840" y="3657264"/>
                </a:lnTo>
                <a:lnTo>
                  <a:pt x="258940" y="3657264"/>
                </a:lnTo>
                <a:close/>
                <a:moveTo>
                  <a:pt x="809102" y="564558"/>
                </a:moveTo>
                <a:lnTo>
                  <a:pt x="1035914" y="564558"/>
                </a:lnTo>
                <a:lnTo>
                  <a:pt x="1035915" y="2838682"/>
                </a:lnTo>
                <a:cubicBezTo>
                  <a:pt x="1029586" y="2840409"/>
                  <a:pt x="1023074" y="2840731"/>
                  <a:pt x="1016490" y="2840731"/>
                </a:cubicBezTo>
                <a:cubicBezTo>
                  <a:pt x="901952" y="2840731"/>
                  <a:pt x="809102" y="2743612"/>
                  <a:pt x="809101" y="2623810"/>
                </a:cubicBezTo>
                <a:close/>
                <a:moveTo>
                  <a:pt x="310569" y="564558"/>
                </a:moveTo>
                <a:lnTo>
                  <a:pt x="725347" y="564558"/>
                </a:lnTo>
                <a:lnTo>
                  <a:pt x="725347" y="2633342"/>
                </a:lnTo>
                <a:cubicBezTo>
                  <a:pt x="725347" y="2747880"/>
                  <a:pt x="632496" y="2840731"/>
                  <a:pt x="517958" y="2840731"/>
                </a:cubicBezTo>
                <a:cubicBezTo>
                  <a:pt x="403420" y="2840731"/>
                  <a:pt x="310569" y="2747880"/>
                  <a:pt x="310569" y="2633342"/>
                </a:cubicBezTo>
                <a:close/>
                <a:moveTo>
                  <a:pt x="0" y="564557"/>
                </a:moveTo>
                <a:lnTo>
                  <a:pt x="226813" y="564557"/>
                </a:lnTo>
                <a:lnTo>
                  <a:pt x="226813" y="2623810"/>
                </a:lnTo>
                <a:cubicBezTo>
                  <a:pt x="226813" y="2743612"/>
                  <a:pt x="133962" y="2840731"/>
                  <a:pt x="19424" y="2840730"/>
                </a:cubicBezTo>
                <a:cubicBezTo>
                  <a:pt x="12841" y="2840730"/>
                  <a:pt x="6329" y="2840409"/>
                  <a:pt x="0" y="2838682"/>
                </a:cubicBezTo>
                <a:close/>
                <a:moveTo>
                  <a:pt x="71964" y="71964"/>
                </a:moveTo>
                <a:cubicBezTo>
                  <a:pt x="116427" y="27501"/>
                  <a:pt x="177852" y="0"/>
                  <a:pt x="245701" y="0"/>
                </a:cubicBezTo>
                <a:lnTo>
                  <a:pt x="790215" y="0"/>
                </a:lnTo>
                <a:cubicBezTo>
                  <a:pt x="925912" y="0"/>
                  <a:pt x="1035916" y="110004"/>
                  <a:pt x="1035916" y="245701"/>
                </a:cubicBezTo>
                <a:cubicBezTo>
                  <a:pt x="1035916" y="327601"/>
                  <a:pt x="1035915" y="409501"/>
                  <a:pt x="1035915" y="491401"/>
                </a:cubicBezTo>
                <a:lnTo>
                  <a:pt x="0" y="491401"/>
                </a:lnTo>
                <a:lnTo>
                  <a:pt x="0" y="245701"/>
                </a:lnTo>
                <a:cubicBezTo>
                  <a:pt x="0" y="177853"/>
                  <a:pt x="27501" y="116427"/>
                  <a:pt x="71964" y="71964"/>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4" name="Frame 17">
            <a:extLst>
              <a:ext uri="{FF2B5EF4-FFF2-40B4-BE49-F238E27FC236}">
                <a16:creationId xmlns:a16="http://schemas.microsoft.com/office/drawing/2014/main" id="{B1BC54BD-EA0C-4F4B-B9C4-7A59CC514026}"/>
              </a:ext>
            </a:extLst>
          </p:cNvPr>
          <p:cNvSpPr/>
          <p:nvPr/>
        </p:nvSpPr>
        <p:spPr>
          <a:xfrm>
            <a:off x="1337777" y="4856389"/>
            <a:ext cx="315523" cy="260763"/>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65" name="Rounded Rectangle 5">
            <a:extLst>
              <a:ext uri="{FF2B5EF4-FFF2-40B4-BE49-F238E27FC236}">
                <a16:creationId xmlns:a16="http://schemas.microsoft.com/office/drawing/2014/main" id="{D93A141F-E512-0F43-92E9-D8F7F606F422}"/>
              </a:ext>
            </a:extLst>
          </p:cNvPr>
          <p:cNvSpPr/>
          <p:nvPr/>
        </p:nvSpPr>
        <p:spPr>
          <a:xfrm flipH="1">
            <a:off x="1785579" y="4366497"/>
            <a:ext cx="313337" cy="213623"/>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66" name="Teardrop 1">
            <a:extLst>
              <a:ext uri="{FF2B5EF4-FFF2-40B4-BE49-F238E27FC236}">
                <a16:creationId xmlns:a16="http://schemas.microsoft.com/office/drawing/2014/main" id="{C69A3692-C49E-2F4D-943F-952CCBE9EA89}"/>
              </a:ext>
            </a:extLst>
          </p:cNvPr>
          <p:cNvSpPr/>
          <p:nvPr/>
        </p:nvSpPr>
        <p:spPr>
          <a:xfrm rot="18757711">
            <a:off x="2433864" y="5364256"/>
            <a:ext cx="360000" cy="36000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67" name="Rectangle 130">
            <a:extLst>
              <a:ext uri="{FF2B5EF4-FFF2-40B4-BE49-F238E27FC236}">
                <a16:creationId xmlns:a16="http://schemas.microsoft.com/office/drawing/2014/main" id="{8FE30D92-AA38-494B-AEED-935DF7E39F3D}"/>
              </a:ext>
            </a:extLst>
          </p:cNvPr>
          <p:cNvSpPr/>
          <p:nvPr/>
        </p:nvSpPr>
        <p:spPr>
          <a:xfrm>
            <a:off x="6298487" y="1736937"/>
            <a:ext cx="317200" cy="361189"/>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68" name="Right Triangle 17">
            <a:extLst>
              <a:ext uri="{FF2B5EF4-FFF2-40B4-BE49-F238E27FC236}">
                <a16:creationId xmlns:a16="http://schemas.microsoft.com/office/drawing/2014/main" id="{13F3EF27-5A0B-9547-969C-B5592BCBD658}"/>
              </a:ext>
            </a:extLst>
          </p:cNvPr>
          <p:cNvSpPr>
            <a:spLocks noChangeAspect="1"/>
          </p:cNvSpPr>
          <p:nvPr/>
        </p:nvSpPr>
        <p:spPr>
          <a:xfrm>
            <a:off x="5317361" y="3087546"/>
            <a:ext cx="302348" cy="360000"/>
          </a:xfrm>
          <a:custGeom>
            <a:avLst/>
            <a:gdLst/>
            <a:ahLst/>
            <a:cxnLst/>
            <a:rect l="l" t="t" r="r" b="b"/>
            <a:pathLst>
              <a:path w="2721114" h="3240000">
                <a:moveTo>
                  <a:pt x="1999321" y="2603448"/>
                </a:moveTo>
                <a:lnTo>
                  <a:pt x="1999321" y="2772810"/>
                </a:lnTo>
                <a:lnTo>
                  <a:pt x="2528507" y="2772810"/>
                </a:lnTo>
                <a:lnTo>
                  <a:pt x="2528507" y="2603448"/>
                </a:lnTo>
                <a:close/>
                <a:moveTo>
                  <a:pt x="2263914" y="2230929"/>
                </a:moveTo>
                <a:cubicBezTo>
                  <a:pt x="2516419" y="2230929"/>
                  <a:pt x="2721114" y="2435624"/>
                  <a:pt x="2721114" y="2688129"/>
                </a:cubicBezTo>
                <a:cubicBezTo>
                  <a:pt x="2721114" y="2940634"/>
                  <a:pt x="2516419" y="3145329"/>
                  <a:pt x="2263914" y="3145329"/>
                </a:cubicBezTo>
                <a:cubicBezTo>
                  <a:pt x="2011409" y="3145329"/>
                  <a:pt x="1806714" y="2940634"/>
                  <a:pt x="1806714" y="2688129"/>
                </a:cubicBezTo>
                <a:cubicBezTo>
                  <a:pt x="1806714" y="2435624"/>
                  <a:pt x="2011409" y="2230929"/>
                  <a:pt x="2263914" y="2230929"/>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9" name="Right Triangle 17">
            <a:extLst>
              <a:ext uri="{FF2B5EF4-FFF2-40B4-BE49-F238E27FC236}">
                <a16:creationId xmlns:a16="http://schemas.microsoft.com/office/drawing/2014/main" id="{79D7744D-A3B3-474D-ABC9-8078BD31EEB9}"/>
              </a:ext>
            </a:extLst>
          </p:cNvPr>
          <p:cNvSpPr>
            <a:spLocks noChangeAspect="1"/>
          </p:cNvSpPr>
          <p:nvPr/>
        </p:nvSpPr>
        <p:spPr>
          <a:xfrm>
            <a:off x="4979524" y="3099535"/>
            <a:ext cx="302348" cy="360000"/>
          </a:xfrm>
          <a:custGeom>
            <a:avLst/>
            <a:gdLst/>
            <a:ahLst/>
            <a:cxnLst/>
            <a:rect l="l" t="t" r="r" b="b"/>
            <a:pathLst>
              <a:path w="2721114" h="3240000">
                <a:moveTo>
                  <a:pt x="2179233" y="2431577"/>
                </a:moveTo>
                <a:lnTo>
                  <a:pt x="2179233" y="2611489"/>
                </a:lnTo>
                <a:lnTo>
                  <a:pt x="1999321" y="2611489"/>
                </a:lnTo>
                <a:lnTo>
                  <a:pt x="1999321" y="2780851"/>
                </a:lnTo>
                <a:lnTo>
                  <a:pt x="2179233" y="2780851"/>
                </a:lnTo>
                <a:lnTo>
                  <a:pt x="2179233" y="2960763"/>
                </a:lnTo>
                <a:lnTo>
                  <a:pt x="2348595" y="2960763"/>
                </a:lnTo>
                <a:lnTo>
                  <a:pt x="2348595" y="2780851"/>
                </a:lnTo>
                <a:lnTo>
                  <a:pt x="2528507" y="2780851"/>
                </a:lnTo>
                <a:lnTo>
                  <a:pt x="2528507" y="2611489"/>
                </a:lnTo>
                <a:lnTo>
                  <a:pt x="2348595" y="2611489"/>
                </a:lnTo>
                <a:lnTo>
                  <a:pt x="2348595" y="24315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0" name="Right Triangle 17">
            <a:extLst>
              <a:ext uri="{FF2B5EF4-FFF2-40B4-BE49-F238E27FC236}">
                <a16:creationId xmlns:a16="http://schemas.microsoft.com/office/drawing/2014/main" id="{E70C4316-0C5F-B94B-96AE-D48485CF46C8}"/>
              </a:ext>
            </a:extLst>
          </p:cNvPr>
          <p:cNvSpPr>
            <a:spLocks noChangeAspect="1"/>
          </p:cNvSpPr>
          <p:nvPr/>
        </p:nvSpPr>
        <p:spPr>
          <a:xfrm>
            <a:off x="5670469" y="3100157"/>
            <a:ext cx="302348" cy="360000"/>
          </a:xfrm>
          <a:custGeom>
            <a:avLst/>
            <a:gdLst/>
            <a:ahLst/>
            <a:cxnLst/>
            <a:rect l="l" t="t" r="r" b="b"/>
            <a:pathLst>
              <a:path w="2721114" h="3240000">
                <a:moveTo>
                  <a:pt x="2136698" y="2449196"/>
                </a:moveTo>
                <a:lnTo>
                  <a:pt x="2016940" y="2568954"/>
                </a:lnTo>
                <a:lnTo>
                  <a:pt x="2144156" y="2696170"/>
                </a:lnTo>
                <a:lnTo>
                  <a:pt x="2016940" y="2823386"/>
                </a:lnTo>
                <a:lnTo>
                  <a:pt x="2136698" y="2943144"/>
                </a:lnTo>
                <a:lnTo>
                  <a:pt x="2263914" y="2815928"/>
                </a:lnTo>
                <a:lnTo>
                  <a:pt x="2391130" y="2943144"/>
                </a:lnTo>
                <a:lnTo>
                  <a:pt x="2510888" y="2823386"/>
                </a:lnTo>
                <a:lnTo>
                  <a:pt x="2383672" y="2696170"/>
                </a:lnTo>
                <a:lnTo>
                  <a:pt x="2510888" y="2568954"/>
                </a:lnTo>
                <a:lnTo>
                  <a:pt x="2391130" y="2449196"/>
                </a:lnTo>
                <a:lnTo>
                  <a:pt x="2263914" y="2576412"/>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1" name="Oval 44">
            <a:extLst>
              <a:ext uri="{FF2B5EF4-FFF2-40B4-BE49-F238E27FC236}">
                <a16:creationId xmlns:a16="http://schemas.microsoft.com/office/drawing/2014/main" id="{BCFFCD76-B39D-B248-AD15-4EA0C13E5795}"/>
              </a:ext>
            </a:extLst>
          </p:cNvPr>
          <p:cNvSpPr>
            <a:spLocks noChangeAspect="1"/>
          </p:cNvSpPr>
          <p:nvPr/>
        </p:nvSpPr>
        <p:spPr>
          <a:xfrm>
            <a:off x="6063493" y="3099535"/>
            <a:ext cx="302348" cy="360000"/>
          </a:xfrm>
          <a:custGeom>
            <a:avLst/>
            <a:gdLst/>
            <a:ahLst/>
            <a:cxnLst/>
            <a:rect l="l" t="t" r="r" b="b"/>
            <a:pathLst>
              <a:path w="2721114" h="3240000">
                <a:moveTo>
                  <a:pt x="2519839" y="2469622"/>
                </a:moveTo>
                <a:lnTo>
                  <a:pt x="2201779" y="2787682"/>
                </a:lnTo>
                <a:lnTo>
                  <a:pt x="2003023" y="2588926"/>
                </a:lnTo>
                <a:lnTo>
                  <a:pt x="1901669" y="2690281"/>
                </a:lnTo>
                <a:lnTo>
                  <a:pt x="2203868" y="2992480"/>
                </a:lnTo>
                <a:lnTo>
                  <a:pt x="2305222" y="2891125"/>
                </a:lnTo>
                <a:lnTo>
                  <a:pt x="2303133" y="2889037"/>
                </a:lnTo>
                <a:lnTo>
                  <a:pt x="2621194" y="2570977"/>
                </a:lnTo>
                <a:close/>
                <a:moveTo>
                  <a:pt x="2263914" y="2238970"/>
                </a:moveTo>
                <a:cubicBezTo>
                  <a:pt x="2516419" y="2238970"/>
                  <a:pt x="2721114" y="2443665"/>
                  <a:pt x="2721114" y="2696170"/>
                </a:cubicBezTo>
                <a:cubicBezTo>
                  <a:pt x="2721114" y="2948675"/>
                  <a:pt x="2516419" y="3153370"/>
                  <a:pt x="2263914" y="3153370"/>
                </a:cubicBezTo>
                <a:cubicBezTo>
                  <a:pt x="2011409" y="3153370"/>
                  <a:pt x="1806714" y="2948675"/>
                  <a:pt x="1806714" y="2696170"/>
                </a:cubicBezTo>
                <a:cubicBezTo>
                  <a:pt x="1806714" y="2443665"/>
                  <a:pt x="2011409" y="2238970"/>
                  <a:pt x="2263914" y="2238970"/>
                </a:cubicBezTo>
                <a:close/>
                <a:moveTo>
                  <a:pt x="1576134" y="17032"/>
                </a:moveTo>
                <a:lnTo>
                  <a:pt x="2276728" y="17032"/>
                </a:lnTo>
                <a:lnTo>
                  <a:pt x="2276728" y="17033"/>
                </a:lnTo>
                <a:lnTo>
                  <a:pt x="1576135" y="17033"/>
                </a:lnTo>
                <a:close/>
                <a:moveTo>
                  <a:pt x="0" y="17032"/>
                </a:moveTo>
                <a:lnTo>
                  <a:pt x="1321887" y="17032"/>
                </a:lnTo>
                <a:lnTo>
                  <a:pt x="1321887" y="996125"/>
                </a:lnTo>
                <a:lnTo>
                  <a:pt x="2276728" y="996125"/>
                </a:lnTo>
                <a:lnTo>
                  <a:pt x="2276728" y="2160187"/>
                </a:lnTo>
                <a:cubicBezTo>
                  <a:pt x="1979345" y="2161001"/>
                  <a:pt x="1738579" y="2402384"/>
                  <a:pt x="1738579" y="2700000"/>
                </a:cubicBezTo>
                <a:cubicBezTo>
                  <a:pt x="1738579" y="2997617"/>
                  <a:pt x="1979345" y="3238999"/>
                  <a:pt x="2276728" y="3239814"/>
                </a:cubicBezTo>
                <a:lnTo>
                  <a:pt x="2276728" y="3240000"/>
                </a:lnTo>
                <a:lnTo>
                  <a:pt x="0" y="3240000"/>
                </a:lnTo>
                <a:close/>
                <a:moveTo>
                  <a:pt x="1436085" y="0"/>
                </a:moveTo>
                <a:lnTo>
                  <a:pt x="2287664" y="888809"/>
                </a:lnTo>
                <a:lnTo>
                  <a:pt x="1436085" y="888809"/>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2" name="Donut 8">
            <a:extLst>
              <a:ext uri="{FF2B5EF4-FFF2-40B4-BE49-F238E27FC236}">
                <a16:creationId xmlns:a16="http://schemas.microsoft.com/office/drawing/2014/main" id="{56E41626-D225-504F-ABB2-3950F04DFFED}"/>
              </a:ext>
            </a:extLst>
          </p:cNvPr>
          <p:cNvSpPr/>
          <p:nvPr/>
        </p:nvSpPr>
        <p:spPr>
          <a:xfrm>
            <a:off x="8137998" y="1709103"/>
            <a:ext cx="365302" cy="436652"/>
          </a:xfrm>
          <a:custGeom>
            <a:avLst/>
            <a:gdLst/>
            <a:ahLst/>
            <a:cxnLst/>
            <a:rect l="l" t="t" r="r" b="b"/>
            <a:pathLst>
              <a:path w="2688046" h="3213079">
                <a:moveTo>
                  <a:pt x="1056023" y="556744"/>
                </a:moveTo>
                <a:lnTo>
                  <a:pt x="1056023" y="906412"/>
                </a:lnTo>
                <a:cubicBezTo>
                  <a:pt x="641240" y="1029807"/>
                  <a:pt x="338989" y="1414134"/>
                  <a:pt x="338989" y="1869056"/>
                </a:cubicBezTo>
                <a:cubicBezTo>
                  <a:pt x="338989" y="2424121"/>
                  <a:pt x="788958" y="2874090"/>
                  <a:pt x="1344023" y="2874090"/>
                </a:cubicBezTo>
                <a:cubicBezTo>
                  <a:pt x="1899088" y="2874090"/>
                  <a:pt x="2349057" y="2424121"/>
                  <a:pt x="2349057" y="1869056"/>
                </a:cubicBezTo>
                <a:cubicBezTo>
                  <a:pt x="2349057" y="1414134"/>
                  <a:pt x="2046806" y="1029807"/>
                  <a:pt x="1632023" y="906412"/>
                </a:cubicBezTo>
                <a:lnTo>
                  <a:pt x="1632023" y="556744"/>
                </a:lnTo>
                <a:cubicBezTo>
                  <a:pt x="2235992" y="687900"/>
                  <a:pt x="2688046" y="1225687"/>
                  <a:pt x="2688046" y="1869056"/>
                </a:cubicBezTo>
                <a:cubicBezTo>
                  <a:pt x="2688046" y="2611339"/>
                  <a:pt x="2086306" y="3213079"/>
                  <a:pt x="1344023" y="3213079"/>
                </a:cubicBezTo>
                <a:cubicBezTo>
                  <a:pt x="601740" y="3213079"/>
                  <a:pt x="0" y="2611339"/>
                  <a:pt x="0" y="1869056"/>
                </a:cubicBezTo>
                <a:cubicBezTo>
                  <a:pt x="0" y="1225687"/>
                  <a:pt x="452054" y="687900"/>
                  <a:pt x="1056023" y="556744"/>
                </a:cubicBezTo>
                <a:close/>
                <a:moveTo>
                  <a:pt x="1344023" y="0"/>
                </a:moveTo>
                <a:cubicBezTo>
                  <a:pt x="1443445" y="0"/>
                  <a:pt x="1524043" y="80598"/>
                  <a:pt x="1524043" y="180020"/>
                </a:cubicBezTo>
                <a:lnTo>
                  <a:pt x="1524043" y="1413058"/>
                </a:lnTo>
                <a:cubicBezTo>
                  <a:pt x="1524043" y="1512480"/>
                  <a:pt x="1443445" y="1593078"/>
                  <a:pt x="1344023" y="1593078"/>
                </a:cubicBezTo>
                <a:cubicBezTo>
                  <a:pt x="1244601" y="1593078"/>
                  <a:pt x="1164003" y="1512480"/>
                  <a:pt x="1164003" y="1413058"/>
                </a:cubicBezTo>
                <a:lnTo>
                  <a:pt x="1164003" y="180020"/>
                </a:lnTo>
                <a:cubicBezTo>
                  <a:pt x="1164003" y="80598"/>
                  <a:pt x="1244601" y="0"/>
                  <a:pt x="1344023"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73" name="Teardrop 6">
            <a:extLst>
              <a:ext uri="{FF2B5EF4-FFF2-40B4-BE49-F238E27FC236}">
                <a16:creationId xmlns:a16="http://schemas.microsoft.com/office/drawing/2014/main" id="{FFDE2404-DF3F-E240-9DAE-EEB424DD6350}"/>
              </a:ext>
            </a:extLst>
          </p:cNvPr>
          <p:cNvSpPr/>
          <p:nvPr/>
        </p:nvSpPr>
        <p:spPr>
          <a:xfrm rot="8100000">
            <a:off x="2221865" y="4264609"/>
            <a:ext cx="313655" cy="313656"/>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4" name="Round Same Side Corner Rectangle 19">
            <a:extLst>
              <a:ext uri="{FF2B5EF4-FFF2-40B4-BE49-F238E27FC236}">
                <a16:creationId xmlns:a16="http://schemas.microsoft.com/office/drawing/2014/main" id="{73F4276E-4F63-EC4A-BF8D-DCE176DE6A02}"/>
              </a:ext>
            </a:extLst>
          </p:cNvPr>
          <p:cNvSpPr/>
          <p:nvPr/>
        </p:nvSpPr>
        <p:spPr>
          <a:xfrm>
            <a:off x="10089631" y="1711407"/>
            <a:ext cx="309321" cy="382175"/>
          </a:xfrm>
          <a:custGeom>
            <a:avLst/>
            <a:gdLst/>
            <a:ahLst/>
            <a:cxnLst/>
            <a:rect l="l" t="t" r="r" b="b"/>
            <a:pathLst>
              <a:path w="2600931" h="3213524">
                <a:moveTo>
                  <a:pt x="1304260" y="0"/>
                </a:moveTo>
                <a:cubicBezTo>
                  <a:pt x="1403671" y="0"/>
                  <a:pt x="1484260" y="80589"/>
                  <a:pt x="1484260" y="180000"/>
                </a:cubicBezTo>
                <a:lnTo>
                  <a:pt x="1484260" y="412061"/>
                </a:lnTo>
                <a:lnTo>
                  <a:pt x="2330931" y="412061"/>
                </a:lnTo>
                <a:lnTo>
                  <a:pt x="2600931" y="682061"/>
                </a:lnTo>
                <a:lnTo>
                  <a:pt x="2330931" y="952061"/>
                </a:lnTo>
                <a:lnTo>
                  <a:pt x="1484260" y="952061"/>
                </a:lnTo>
                <a:lnTo>
                  <a:pt x="1484260" y="1110244"/>
                </a:lnTo>
                <a:lnTo>
                  <a:pt x="2375646" y="1110244"/>
                </a:lnTo>
                <a:lnTo>
                  <a:pt x="2375646" y="1650244"/>
                </a:lnTo>
                <a:lnTo>
                  <a:pt x="1484260" y="1650244"/>
                </a:lnTo>
                <a:lnTo>
                  <a:pt x="1484260" y="3213524"/>
                </a:lnTo>
                <a:lnTo>
                  <a:pt x="1124260" y="3213524"/>
                </a:lnTo>
                <a:lnTo>
                  <a:pt x="1124260" y="1650244"/>
                </a:lnTo>
                <a:lnTo>
                  <a:pt x="270000" y="1650244"/>
                </a:lnTo>
                <a:lnTo>
                  <a:pt x="0" y="1380244"/>
                </a:lnTo>
                <a:lnTo>
                  <a:pt x="270000" y="1110244"/>
                </a:lnTo>
                <a:lnTo>
                  <a:pt x="1124260" y="1110244"/>
                </a:lnTo>
                <a:lnTo>
                  <a:pt x="1124260" y="952061"/>
                </a:lnTo>
                <a:lnTo>
                  <a:pt x="224931" y="952061"/>
                </a:lnTo>
                <a:lnTo>
                  <a:pt x="224931" y="412061"/>
                </a:lnTo>
                <a:lnTo>
                  <a:pt x="1124260" y="412061"/>
                </a:lnTo>
                <a:lnTo>
                  <a:pt x="1124260" y="180000"/>
                </a:lnTo>
                <a:cubicBezTo>
                  <a:pt x="1124260" y="80589"/>
                  <a:pt x="1204849" y="0"/>
                  <a:pt x="130426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5" name="Rectangle 23">
            <a:extLst>
              <a:ext uri="{FF2B5EF4-FFF2-40B4-BE49-F238E27FC236}">
                <a16:creationId xmlns:a16="http://schemas.microsoft.com/office/drawing/2014/main" id="{695A0291-7CDE-1D46-B9E9-3A0B9239A80E}"/>
              </a:ext>
            </a:extLst>
          </p:cNvPr>
          <p:cNvSpPr/>
          <p:nvPr/>
        </p:nvSpPr>
        <p:spPr>
          <a:xfrm>
            <a:off x="10465802" y="1739455"/>
            <a:ext cx="509468" cy="299682"/>
          </a:xfrm>
          <a:custGeom>
            <a:avLst/>
            <a:gdLst/>
            <a:ahLst/>
            <a:cxnLst/>
            <a:rect l="l" t="t" r="r" b="b"/>
            <a:pathLst>
              <a:path w="4529836" h="2664566">
                <a:moveTo>
                  <a:pt x="1861969" y="0"/>
                </a:moveTo>
                <a:cubicBezTo>
                  <a:pt x="2177122" y="0"/>
                  <a:pt x="2455874" y="155855"/>
                  <a:pt x="2611443" y="404565"/>
                </a:cubicBezTo>
                <a:cubicBezTo>
                  <a:pt x="2709453" y="315054"/>
                  <a:pt x="2840684" y="266178"/>
                  <a:pt x="2983336" y="266178"/>
                </a:cubicBezTo>
                <a:cubicBezTo>
                  <a:pt x="3293144" y="266178"/>
                  <a:pt x="3549108" y="496718"/>
                  <a:pt x="3578241" y="797044"/>
                </a:cubicBezTo>
                <a:cubicBezTo>
                  <a:pt x="3583592" y="793823"/>
                  <a:pt x="3589010" y="793774"/>
                  <a:pt x="3594440" y="793774"/>
                </a:cubicBezTo>
                <a:cubicBezTo>
                  <a:pt x="4111042" y="793774"/>
                  <a:pt x="4529836" y="1212568"/>
                  <a:pt x="4529836" y="1729170"/>
                </a:cubicBezTo>
                <a:cubicBezTo>
                  <a:pt x="4529836" y="2216938"/>
                  <a:pt x="4156487" y="2617512"/>
                  <a:pt x="3679930" y="2660249"/>
                </a:cubicBezTo>
                <a:lnTo>
                  <a:pt x="3679930" y="2664566"/>
                </a:lnTo>
                <a:lnTo>
                  <a:pt x="3594440" y="2664566"/>
                </a:lnTo>
                <a:lnTo>
                  <a:pt x="1043912" y="2664566"/>
                </a:lnTo>
                <a:lnTo>
                  <a:pt x="1043912" y="2657589"/>
                </a:lnTo>
                <a:cubicBezTo>
                  <a:pt x="1008374" y="2662448"/>
                  <a:pt x="972132" y="2664566"/>
                  <a:pt x="935396" y="2664566"/>
                </a:cubicBezTo>
                <a:cubicBezTo>
                  <a:pt x="418794" y="2664566"/>
                  <a:pt x="0" y="2245772"/>
                  <a:pt x="0" y="1729170"/>
                </a:cubicBezTo>
                <a:cubicBezTo>
                  <a:pt x="0" y="1212568"/>
                  <a:pt x="418794" y="793774"/>
                  <a:pt x="935396" y="793774"/>
                </a:cubicBezTo>
                <a:lnTo>
                  <a:pt x="954395" y="797612"/>
                </a:lnTo>
                <a:cubicBezTo>
                  <a:pt x="1004779" y="344999"/>
                  <a:pt x="1393085" y="0"/>
                  <a:pt x="1861969"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6" name="Oval 6">
            <a:extLst>
              <a:ext uri="{FF2B5EF4-FFF2-40B4-BE49-F238E27FC236}">
                <a16:creationId xmlns:a16="http://schemas.microsoft.com/office/drawing/2014/main" id="{9832EA0B-BAFF-CA4E-9FE8-143EEE39F652}"/>
              </a:ext>
            </a:extLst>
          </p:cNvPr>
          <p:cNvSpPr/>
          <p:nvPr/>
        </p:nvSpPr>
        <p:spPr>
          <a:xfrm>
            <a:off x="7204986" y="1725154"/>
            <a:ext cx="381638" cy="377641"/>
          </a:xfrm>
          <a:custGeom>
            <a:avLst/>
            <a:gdLst/>
            <a:ahLst/>
            <a:cxnLst/>
            <a:rect l="l" t="t" r="r" b="b"/>
            <a:pathLst>
              <a:path w="3220460" h="3186731">
                <a:moveTo>
                  <a:pt x="1762834" y="1282034"/>
                </a:moveTo>
                <a:lnTo>
                  <a:pt x="273698" y="2771171"/>
                </a:lnTo>
                <a:cubicBezTo>
                  <a:pt x="253145" y="2791724"/>
                  <a:pt x="253145" y="2825048"/>
                  <a:pt x="273698" y="2845601"/>
                </a:cubicBezTo>
                <a:cubicBezTo>
                  <a:pt x="294251" y="2866154"/>
                  <a:pt x="327575" y="2866154"/>
                  <a:pt x="348128" y="2845601"/>
                </a:cubicBezTo>
                <a:lnTo>
                  <a:pt x="1830131" y="1363598"/>
                </a:lnTo>
                <a:close/>
                <a:moveTo>
                  <a:pt x="2703218" y="237332"/>
                </a:moveTo>
                <a:cubicBezTo>
                  <a:pt x="2623680" y="237332"/>
                  <a:pt x="2559202" y="301810"/>
                  <a:pt x="2559202" y="381348"/>
                </a:cubicBezTo>
                <a:cubicBezTo>
                  <a:pt x="2559202" y="460886"/>
                  <a:pt x="2623680" y="525364"/>
                  <a:pt x="2703218" y="525364"/>
                </a:cubicBezTo>
                <a:cubicBezTo>
                  <a:pt x="2782756" y="525364"/>
                  <a:pt x="2847234" y="460886"/>
                  <a:pt x="2847234" y="381348"/>
                </a:cubicBezTo>
                <a:cubicBezTo>
                  <a:pt x="2847234" y="301810"/>
                  <a:pt x="2782756" y="237332"/>
                  <a:pt x="2703218" y="237332"/>
                </a:cubicBezTo>
                <a:close/>
                <a:moveTo>
                  <a:pt x="2413103" y="0"/>
                </a:moveTo>
                <a:cubicBezTo>
                  <a:pt x="2858994" y="0"/>
                  <a:pt x="3220460" y="361466"/>
                  <a:pt x="3220460" y="807357"/>
                </a:cubicBezTo>
                <a:cubicBezTo>
                  <a:pt x="3220460" y="1253248"/>
                  <a:pt x="2858994" y="1614714"/>
                  <a:pt x="2413103" y="1614714"/>
                </a:cubicBezTo>
                <a:cubicBezTo>
                  <a:pt x="2305542" y="1614714"/>
                  <a:pt x="2202893" y="1593680"/>
                  <a:pt x="2109223" y="1555067"/>
                </a:cubicBezTo>
                <a:lnTo>
                  <a:pt x="2191945" y="1637789"/>
                </a:lnTo>
                <a:cubicBezTo>
                  <a:pt x="2226856" y="1672699"/>
                  <a:pt x="2226855" y="1729300"/>
                  <a:pt x="2191945" y="1764210"/>
                </a:cubicBezTo>
                <a:lnTo>
                  <a:pt x="2045068" y="1911087"/>
                </a:lnTo>
                <a:cubicBezTo>
                  <a:pt x="2010158" y="1945998"/>
                  <a:pt x="1953557" y="1945998"/>
                  <a:pt x="1918647" y="1911087"/>
                </a:cubicBezTo>
                <a:lnTo>
                  <a:pt x="1799123" y="1791564"/>
                </a:lnTo>
                <a:lnTo>
                  <a:pt x="1749496" y="1841190"/>
                </a:lnTo>
                <a:lnTo>
                  <a:pt x="1832980" y="1924673"/>
                </a:lnTo>
                <a:lnTo>
                  <a:pt x="1761893" y="1995760"/>
                </a:lnTo>
                <a:lnTo>
                  <a:pt x="1678410" y="1912277"/>
                </a:lnTo>
                <a:lnTo>
                  <a:pt x="1650246" y="1940441"/>
                </a:lnTo>
                <a:lnTo>
                  <a:pt x="1735612" y="2025807"/>
                </a:lnTo>
                <a:lnTo>
                  <a:pt x="1573330" y="2188089"/>
                </a:lnTo>
                <a:lnTo>
                  <a:pt x="1487964" y="2102723"/>
                </a:lnTo>
                <a:lnTo>
                  <a:pt x="1451742" y="2138944"/>
                </a:lnTo>
                <a:lnTo>
                  <a:pt x="1537109" y="2224311"/>
                </a:lnTo>
                <a:lnTo>
                  <a:pt x="1374830" y="2386590"/>
                </a:lnTo>
                <a:lnTo>
                  <a:pt x="1289463" y="2301223"/>
                </a:lnTo>
                <a:lnTo>
                  <a:pt x="1225079" y="2365608"/>
                </a:lnTo>
                <a:lnTo>
                  <a:pt x="1310445" y="2450974"/>
                </a:lnTo>
                <a:lnTo>
                  <a:pt x="1239358" y="2522061"/>
                </a:lnTo>
                <a:lnTo>
                  <a:pt x="1153992" y="2436695"/>
                </a:lnTo>
                <a:lnTo>
                  <a:pt x="1104364" y="2486322"/>
                </a:lnTo>
                <a:lnTo>
                  <a:pt x="1189730" y="2571689"/>
                </a:lnTo>
                <a:lnTo>
                  <a:pt x="1034153" y="2727266"/>
                </a:lnTo>
                <a:lnTo>
                  <a:pt x="948787" y="2641900"/>
                </a:lnTo>
                <a:lnTo>
                  <a:pt x="905863" y="2684824"/>
                </a:lnTo>
                <a:lnTo>
                  <a:pt x="991230" y="2770191"/>
                </a:lnTo>
                <a:lnTo>
                  <a:pt x="842353" y="2919067"/>
                </a:lnTo>
                <a:lnTo>
                  <a:pt x="756986" y="2833700"/>
                </a:lnTo>
                <a:lnTo>
                  <a:pt x="692119" y="2898567"/>
                </a:lnTo>
                <a:lnTo>
                  <a:pt x="777486" y="2983934"/>
                </a:lnTo>
                <a:lnTo>
                  <a:pt x="628610" y="3132811"/>
                </a:lnTo>
                <a:lnTo>
                  <a:pt x="618557" y="3122757"/>
                </a:lnTo>
                <a:lnTo>
                  <a:pt x="622830" y="3134825"/>
                </a:lnTo>
                <a:lnTo>
                  <a:pt x="346551" y="3150831"/>
                </a:lnTo>
                <a:lnTo>
                  <a:pt x="0" y="3186731"/>
                </a:lnTo>
                <a:lnTo>
                  <a:pt x="51749" y="2750557"/>
                </a:lnTo>
                <a:lnTo>
                  <a:pt x="48979" y="2747788"/>
                </a:lnTo>
                <a:lnTo>
                  <a:pt x="52495" y="2744272"/>
                </a:lnTo>
                <a:lnTo>
                  <a:pt x="52938" y="2740533"/>
                </a:lnTo>
                <a:lnTo>
                  <a:pt x="54575" y="2742192"/>
                </a:lnTo>
                <a:lnTo>
                  <a:pt x="1671288" y="1125479"/>
                </a:lnTo>
                <a:cubicBezTo>
                  <a:pt x="1628971" y="1027979"/>
                  <a:pt x="1605746" y="920380"/>
                  <a:pt x="1605746" y="807357"/>
                </a:cubicBezTo>
                <a:cubicBezTo>
                  <a:pt x="1605746" y="361466"/>
                  <a:pt x="1967212" y="0"/>
                  <a:pt x="2413103"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7" name="Block Arc 31">
            <a:extLst>
              <a:ext uri="{FF2B5EF4-FFF2-40B4-BE49-F238E27FC236}">
                <a16:creationId xmlns:a16="http://schemas.microsoft.com/office/drawing/2014/main" id="{9D86FE8E-3E23-C64E-B582-FAA61166370F}"/>
              </a:ext>
            </a:extLst>
          </p:cNvPr>
          <p:cNvSpPr/>
          <p:nvPr/>
        </p:nvSpPr>
        <p:spPr>
          <a:xfrm>
            <a:off x="7708692" y="1684636"/>
            <a:ext cx="342568" cy="379326"/>
          </a:xfrm>
          <a:custGeom>
            <a:avLst/>
            <a:gdLst/>
            <a:ahLst/>
            <a:cxnLst/>
            <a:rect l="l" t="t" r="r" b="b"/>
            <a:pathLst>
              <a:path w="2890784" h="3200962">
                <a:moveTo>
                  <a:pt x="1107828" y="2097026"/>
                </a:moveTo>
                <a:cubicBezTo>
                  <a:pt x="1025313" y="2097026"/>
                  <a:pt x="958422" y="2163918"/>
                  <a:pt x="958422" y="2246432"/>
                </a:cubicBezTo>
                <a:cubicBezTo>
                  <a:pt x="958422" y="2302715"/>
                  <a:pt x="989545" y="2351730"/>
                  <a:pt x="1036589" y="2375275"/>
                </a:cubicBezTo>
                <a:lnTo>
                  <a:pt x="985421" y="2684898"/>
                </a:lnTo>
                <a:lnTo>
                  <a:pt x="1230235" y="2684898"/>
                </a:lnTo>
                <a:lnTo>
                  <a:pt x="1179067" y="2375275"/>
                </a:lnTo>
                <a:cubicBezTo>
                  <a:pt x="1226111" y="2351730"/>
                  <a:pt x="1257233" y="2302715"/>
                  <a:pt x="1257233" y="2246432"/>
                </a:cubicBezTo>
                <a:cubicBezTo>
                  <a:pt x="1257233" y="2163918"/>
                  <a:pt x="1190342" y="2097026"/>
                  <a:pt x="1107828" y="2097026"/>
                </a:cubicBezTo>
                <a:close/>
                <a:moveTo>
                  <a:pt x="2199259" y="56"/>
                </a:moveTo>
                <a:cubicBezTo>
                  <a:pt x="2572924" y="-4720"/>
                  <a:pt x="2881009" y="291773"/>
                  <a:pt x="2890561" y="665346"/>
                </a:cubicBezTo>
                <a:lnTo>
                  <a:pt x="2843000" y="666562"/>
                </a:lnTo>
                <a:lnTo>
                  <a:pt x="2890784" y="666562"/>
                </a:lnTo>
                <a:lnTo>
                  <a:pt x="2890784" y="1580962"/>
                </a:lnTo>
                <a:lnTo>
                  <a:pt x="2625345" y="1580962"/>
                </a:lnTo>
                <a:lnTo>
                  <a:pt x="2625345" y="672127"/>
                </a:lnTo>
                <a:lnTo>
                  <a:pt x="2623811" y="672166"/>
                </a:lnTo>
                <a:cubicBezTo>
                  <a:pt x="2617992" y="444585"/>
                  <a:pt x="2430306" y="263961"/>
                  <a:pt x="2202670" y="266871"/>
                </a:cubicBezTo>
                <a:cubicBezTo>
                  <a:pt x="1975033" y="269781"/>
                  <a:pt x="1792025" y="455143"/>
                  <a:pt x="1792025" y="682798"/>
                </a:cubicBezTo>
                <a:lnTo>
                  <a:pt x="1790626" y="682798"/>
                </a:lnTo>
                <a:lnTo>
                  <a:pt x="1790626"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1525187" y="1580962"/>
                </a:lnTo>
                <a:lnTo>
                  <a:pt x="1525187" y="676764"/>
                </a:lnTo>
                <a:lnTo>
                  <a:pt x="1525791" y="676764"/>
                </a:lnTo>
                <a:cubicBezTo>
                  <a:pt x="1528430" y="305830"/>
                  <a:pt x="1827609" y="4806"/>
                  <a:pt x="2199259" y="56"/>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78" name="Block Arc 10">
            <a:extLst>
              <a:ext uri="{FF2B5EF4-FFF2-40B4-BE49-F238E27FC236}">
                <a16:creationId xmlns:a16="http://schemas.microsoft.com/office/drawing/2014/main" id="{F9AD7495-9CCA-4B43-ABD1-8502D4B55A99}"/>
              </a:ext>
            </a:extLst>
          </p:cNvPr>
          <p:cNvSpPr/>
          <p:nvPr/>
        </p:nvSpPr>
        <p:spPr>
          <a:xfrm>
            <a:off x="9539087" y="1755746"/>
            <a:ext cx="461702" cy="312732"/>
          </a:xfrm>
          <a:custGeom>
            <a:avLst/>
            <a:gdLst/>
            <a:ahLst/>
            <a:cxnLst/>
            <a:rect l="l" t="t" r="r" b="b"/>
            <a:pathLst>
              <a:path w="3219104" h="2180445">
                <a:moveTo>
                  <a:pt x="631935" y="660566"/>
                </a:moveTo>
                <a:cubicBezTo>
                  <a:pt x="582229" y="660566"/>
                  <a:pt x="541935" y="700860"/>
                  <a:pt x="541935" y="750566"/>
                </a:cubicBezTo>
                <a:cubicBezTo>
                  <a:pt x="541935" y="800272"/>
                  <a:pt x="582229" y="840566"/>
                  <a:pt x="631935" y="840566"/>
                </a:cubicBezTo>
                <a:cubicBezTo>
                  <a:pt x="681641" y="840566"/>
                  <a:pt x="721935" y="800272"/>
                  <a:pt x="721935" y="750566"/>
                </a:cubicBezTo>
                <a:cubicBezTo>
                  <a:pt x="721935" y="700860"/>
                  <a:pt x="681641" y="660566"/>
                  <a:pt x="631935" y="660566"/>
                </a:cubicBezTo>
                <a:close/>
                <a:moveTo>
                  <a:pt x="2920524" y="132986"/>
                </a:moveTo>
                <a:cubicBezTo>
                  <a:pt x="2884582" y="132986"/>
                  <a:pt x="2855445" y="171564"/>
                  <a:pt x="2855445" y="219152"/>
                </a:cubicBezTo>
                <a:cubicBezTo>
                  <a:pt x="2855445" y="266740"/>
                  <a:pt x="2884582" y="305318"/>
                  <a:pt x="2920524" y="305318"/>
                </a:cubicBezTo>
                <a:cubicBezTo>
                  <a:pt x="2956466" y="305318"/>
                  <a:pt x="2985603" y="266740"/>
                  <a:pt x="2985603" y="219152"/>
                </a:cubicBezTo>
                <a:cubicBezTo>
                  <a:pt x="2985603" y="171564"/>
                  <a:pt x="2956466" y="132986"/>
                  <a:pt x="2920524" y="132986"/>
                </a:cubicBezTo>
                <a:close/>
                <a:moveTo>
                  <a:pt x="1840097" y="123357"/>
                </a:moveTo>
                <a:cubicBezTo>
                  <a:pt x="1690593" y="125267"/>
                  <a:pt x="1541569" y="163386"/>
                  <a:pt x="1407089" y="237534"/>
                </a:cubicBezTo>
                <a:lnTo>
                  <a:pt x="1442443" y="299445"/>
                </a:lnTo>
                <a:cubicBezTo>
                  <a:pt x="1690026" y="162934"/>
                  <a:pt x="1991162" y="159087"/>
                  <a:pt x="2242273" y="289227"/>
                </a:cubicBezTo>
                <a:lnTo>
                  <a:pt x="2275978" y="226435"/>
                </a:lnTo>
                <a:cubicBezTo>
                  <a:pt x="2139582" y="155746"/>
                  <a:pt x="1989600" y="121447"/>
                  <a:pt x="1840097" y="123357"/>
                </a:cubicBezTo>
                <a:close/>
                <a:moveTo>
                  <a:pt x="1808744" y="1233"/>
                </a:moveTo>
                <a:cubicBezTo>
                  <a:pt x="2156106" y="-14520"/>
                  <a:pt x="2554236" y="122009"/>
                  <a:pt x="2727916" y="332053"/>
                </a:cubicBezTo>
                <a:lnTo>
                  <a:pt x="2797407" y="426906"/>
                </a:lnTo>
                <a:cubicBezTo>
                  <a:pt x="2816730" y="407744"/>
                  <a:pt x="2822914" y="396798"/>
                  <a:pt x="2848347" y="374270"/>
                </a:cubicBezTo>
                <a:cubicBezTo>
                  <a:pt x="2789714" y="335227"/>
                  <a:pt x="2770554" y="301522"/>
                  <a:pt x="2770554" y="211287"/>
                </a:cubicBezTo>
                <a:cubicBezTo>
                  <a:pt x="2770554" y="109060"/>
                  <a:pt x="2826850" y="34523"/>
                  <a:pt x="2918697" y="33333"/>
                </a:cubicBezTo>
                <a:cubicBezTo>
                  <a:pt x="3010544" y="32143"/>
                  <a:pt x="3068737" y="122977"/>
                  <a:pt x="3064459" y="218431"/>
                </a:cubicBezTo>
                <a:cubicBezTo>
                  <a:pt x="3062319" y="266188"/>
                  <a:pt x="3063213" y="242475"/>
                  <a:pt x="3054577" y="285936"/>
                </a:cubicBezTo>
                <a:cubicBezTo>
                  <a:pt x="3088600" y="260795"/>
                  <a:pt x="3146396" y="297212"/>
                  <a:pt x="3198377" y="27802"/>
                </a:cubicBezTo>
                <a:cubicBezTo>
                  <a:pt x="3270974" y="270322"/>
                  <a:pt x="3142267" y="378871"/>
                  <a:pt x="2977023" y="405424"/>
                </a:cubicBezTo>
                <a:cubicBezTo>
                  <a:pt x="2937650" y="455263"/>
                  <a:pt x="2906651" y="507366"/>
                  <a:pt x="2854455" y="531728"/>
                </a:cubicBezTo>
                <a:cubicBezTo>
                  <a:pt x="2854593" y="531917"/>
                  <a:pt x="2854687" y="532126"/>
                  <a:pt x="2854781" y="532336"/>
                </a:cubicBezTo>
                <a:lnTo>
                  <a:pt x="2914835" y="719911"/>
                </a:lnTo>
                <a:cubicBezTo>
                  <a:pt x="2982387" y="1030651"/>
                  <a:pt x="2875068" y="1334999"/>
                  <a:pt x="2751965" y="1458417"/>
                </a:cubicBezTo>
                <a:cubicBezTo>
                  <a:pt x="2718119" y="1752479"/>
                  <a:pt x="2636178" y="1904762"/>
                  <a:pt x="2564924" y="2133185"/>
                </a:cubicBezTo>
                <a:cubicBezTo>
                  <a:pt x="2548001" y="2174319"/>
                  <a:pt x="2290597" y="2162941"/>
                  <a:pt x="2284362" y="2130560"/>
                </a:cubicBezTo>
                <a:cubicBezTo>
                  <a:pt x="2253189" y="1989654"/>
                  <a:pt x="2205984" y="1832997"/>
                  <a:pt x="2190842" y="1681589"/>
                </a:cubicBezTo>
                <a:cubicBezTo>
                  <a:pt x="1937891" y="1727975"/>
                  <a:pt x="1628829" y="1727099"/>
                  <a:pt x="1429318" y="1710471"/>
                </a:cubicBezTo>
                <a:cubicBezTo>
                  <a:pt x="1387456" y="1891634"/>
                  <a:pt x="1268107" y="2057044"/>
                  <a:pt x="1143413" y="2180445"/>
                </a:cubicBezTo>
                <a:lnTo>
                  <a:pt x="943012" y="2180445"/>
                </a:lnTo>
                <a:cubicBezTo>
                  <a:pt x="894916" y="2170818"/>
                  <a:pt x="902932" y="1825120"/>
                  <a:pt x="910948" y="1650083"/>
                </a:cubicBezTo>
                <a:cubicBezTo>
                  <a:pt x="600994" y="1508303"/>
                  <a:pt x="-80369" y="1319263"/>
                  <a:pt x="7807" y="838786"/>
                </a:cubicBezTo>
                <a:cubicBezTo>
                  <a:pt x="13151" y="796777"/>
                  <a:pt x="184160" y="802028"/>
                  <a:pt x="275009" y="799402"/>
                </a:cubicBezTo>
                <a:cubicBezTo>
                  <a:pt x="369419" y="659373"/>
                  <a:pt x="418407" y="582356"/>
                  <a:pt x="555570" y="465957"/>
                </a:cubicBezTo>
                <a:cubicBezTo>
                  <a:pt x="547554" y="374062"/>
                  <a:pt x="496786" y="206026"/>
                  <a:pt x="531522" y="190273"/>
                </a:cubicBezTo>
                <a:cubicBezTo>
                  <a:pt x="764877" y="64246"/>
                  <a:pt x="803177" y="250661"/>
                  <a:pt x="924308" y="355683"/>
                </a:cubicBezTo>
                <a:cubicBezTo>
                  <a:pt x="1130053" y="143013"/>
                  <a:pt x="1554903" y="11735"/>
                  <a:pt x="1808744" y="1233"/>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79" name="Freeform 55">
            <a:extLst>
              <a:ext uri="{FF2B5EF4-FFF2-40B4-BE49-F238E27FC236}">
                <a16:creationId xmlns:a16="http://schemas.microsoft.com/office/drawing/2014/main" id="{2381CC6C-C458-0447-9FF8-E1E29A4D6F5F}"/>
              </a:ext>
            </a:extLst>
          </p:cNvPr>
          <p:cNvSpPr/>
          <p:nvPr/>
        </p:nvSpPr>
        <p:spPr>
          <a:xfrm>
            <a:off x="2720960" y="2320377"/>
            <a:ext cx="237537" cy="582047"/>
          </a:xfrm>
          <a:custGeom>
            <a:avLst/>
            <a:gdLst/>
            <a:ahLst/>
            <a:cxnLst/>
            <a:rect l="l" t="t" r="r" b="b"/>
            <a:pathLst>
              <a:path w="1060423" h="2598393">
                <a:moveTo>
                  <a:pt x="511607" y="1989888"/>
                </a:moveTo>
                <a:cubicBezTo>
                  <a:pt x="421916" y="2038892"/>
                  <a:pt x="392123" y="2248491"/>
                  <a:pt x="577615" y="2379095"/>
                </a:cubicBezTo>
                <a:cubicBezTo>
                  <a:pt x="531205" y="2257454"/>
                  <a:pt x="562054" y="2197447"/>
                  <a:pt x="592034" y="2136572"/>
                </a:cubicBezTo>
                <a:cubicBezTo>
                  <a:pt x="592534" y="2167519"/>
                  <a:pt x="560915" y="2234057"/>
                  <a:pt x="638675" y="2272816"/>
                </a:cubicBezTo>
                <a:cubicBezTo>
                  <a:pt x="602283" y="2156226"/>
                  <a:pt x="756001" y="2119500"/>
                  <a:pt x="594605" y="1990756"/>
                </a:cubicBezTo>
                <a:cubicBezTo>
                  <a:pt x="828052" y="2024484"/>
                  <a:pt x="759407" y="2143283"/>
                  <a:pt x="814896" y="2262952"/>
                </a:cubicBezTo>
                <a:cubicBezTo>
                  <a:pt x="774295" y="2270013"/>
                  <a:pt x="715464" y="2161619"/>
                  <a:pt x="728685" y="2212952"/>
                </a:cubicBezTo>
                <a:cubicBezTo>
                  <a:pt x="798068" y="2415798"/>
                  <a:pt x="590532" y="2421590"/>
                  <a:pt x="656442" y="2598393"/>
                </a:cubicBezTo>
                <a:cubicBezTo>
                  <a:pt x="451592" y="2586815"/>
                  <a:pt x="511509" y="2396411"/>
                  <a:pt x="415171" y="2350110"/>
                </a:cubicBezTo>
                <a:cubicBezTo>
                  <a:pt x="389023" y="2345435"/>
                  <a:pt x="357666" y="2366802"/>
                  <a:pt x="415723" y="2461957"/>
                </a:cubicBezTo>
                <a:cubicBezTo>
                  <a:pt x="77590" y="2209980"/>
                  <a:pt x="314998" y="2004011"/>
                  <a:pt x="511607" y="1989888"/>
                </a:cubicBezTo>
                <a:close/>
                <a:moveTo>
                  <a:pt x="344786" y="1884983"/>
                </a:moveTo>
                <a:lnTo>
                  <a:pt x="722598" y="1884983"/>
                </a:lnTo>
                <a:cubicBezTo>
                  <a:pt x="716460" y="1906965"/>
                  <a:pt x="711917" y="1928321"/>
                  <a:pt x="707988" y="1948728"/>
                </a:cubicBezTo>
                <a:lnTo>
                  <a:pt x="357819" y="1948059"/>
                </a:lnTo>
                <a:close/>
                <a:moveTo>
                  <a:pt x="530212" y="651224"/>
                </a:moveTo>
                <a:cubicBezTo>
                  <a:pt x="585486" y="651224"/>
                  <a:pt x="630294" y="696033"/>
                  <a:pt x="630294" y="751307"/>
                </a:cubicBezTo>
                <a:cubicBezTo>
                  <a:pt x="630294" y="806581"/>
                  <a:pt x="585486" y="851389"/>
                  <a:pt x="530212" y="851389"/>
                </a:cubicBezTo>
                <a:cubicBezTo>
                  <a:pt x="474938" y="851389"/>
                  <a:pt x="430129" y="806581"/>
                  <a:pt x="430129" y="751307"/>
                </a:cubicBezTo>
                <a:cubicBezTo>
                  <a:pt x="430129" y="696033"/>
                  <a:pt x="474938" y="651224"/>
                  <a:pt x="530212" y="651224"/>
                </a:cubicBezTo>
                <a:close/>
                <a:moveTo>
                  <a:pt x="530212" y="551141"/>
                </a:moveTo>
                <a:cubicBezTo>
                  <a:pt x="419664" y="551141"/>
                  <a:pt x="330046" y="640759"/>
                  <a:pt x="330046" y="751307"/>
                </a:cubicBezTo>
                <a:cubicBezTo>
                  <a:pt x="330046" y="861855"/>
                  <a:pt x="419664" y="951472"/>
                  <a:pt x="530212" y="951472"/>
                </a:cubicBezTo>
                <a:cubicBezTo>
                  <a:pt x="640760" y="951472"/>
                  <a:pt x="730377" y="861855"/>
                  <a:pt x="730377" y="751307"/>
                </a:cubicBezTo>
                <a:cubicBezTo>
                  <a:pt x="730377" y="640759"/>
                  <a:pt x="640760" y="551141"/>
                  <a:pt x="530212" y="551141"/>
                </a:cubicBezTo>
                <a:close/>
                <a:moveTo>
                  <a:pt x="286245" y="353827"/>
                </a:moveTo>
                <a:cubicBezTo>
                  <a:pt x="438132" y="439406"/>
                  <a:pt x="623290" y="440561"/>
                  <a:pt x="776100" y="356932"/>
                </a:cubicBezTo>
                <a:cubicBezTo>
                  <a:pt x="941305" y="720175"/>
                  <a:pt x="898096" y="1115325"/>
                  <a:pt x="825241" y="1447764"/>
                </a:cubicBezTo>
                <a:lnTo>
                  <a:pt x="1060423" y="1673413"/>
                </a:lnTo>
                <a:lnTo>
                  <a:pt x="1021935" y="1978110"/>
                </a:lnTo>
                <a:lnTo>
                  <a:pt x="745125" y="1786699"/>
                </a:lnTo>
                <a:lnTo>
                  <a:pt x="734250" y="1834148"/>
                </a:lnTo>
                <a:lnTo>
                  <a:pt x="332991" y="1834148"/>
                </a:lnTo>
                <a:cubicBezTo>
                  <a:pt x="330005" y="1820736"/>
                  <a:pt x="326662" y="1807037"/>
                  <a:pt x="323192" y="1793020"/>
                </a:cubicBezTo>
                <a:lnTo>
                  <a:pt x="38489" y="1989888"/>
                </a:lnTo>
                <a:lnTo>
                  <a:pt x="0" y="1685191"/>
                </a:lnTo>
                <a:lnTo>
                  <a:pt x="237343" y="1457469"/>
                </a:lnTo>
                <a:lnTo>
                  <a:pt x="238009" y="1459571"/>
                </a:lnTo>
                <a:lnTo>
                  <a:pt x="242012" y="1446515"/>
                </a:lnTo>
                <a:cubicBezTo>
                  <a:pt x="171205" y="1115067"/>
                  <a:pt x="127758" y="714059"/>
                  <a:pt x="286245" y="353827"/>
                </a:cubicBezTo>
                <a:close/>
                <a:moveTo>
                  <a:pt x="527942" y="0"/>
                </a:moveTo>
                <a:cubicBezTo>
                  <a:pt x="622760" y="95693"/>
                  <a:pt x="695048" y="196745"/>
                  <a:pt x="748164" y="301374"/>
                </a:cubicBezTo>
                <a:cubicBezTo>
                  <a:pt x="612692" y="376844"/>
                  <a:pt x="447588" y="375495"/>
                  <a:pt x="312997" y="298024"/>
                </a:cubicBezTo>
                <a:cubicBezTo>
                  <a:pt x="364591" y="193505"/>
                  <a:pt x="435080" y="93397"/>
                  <a:pt x="527942"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0" name="Oval 21">
            <a:extLst>
              <a:ext uri="{FF2B5EF4-FFF2-40B4-BE49-F238E27FC236}">
                <a16:creationId xmlns:a16="http://schemas.microsoft.com/office/drawing/2014/main" id="{B6AB83D6-0714-5444-90EF-186D280273A1}"/>
              </a:ext>
            </a:extLst>
          </p:cNvPr>
          <p:cNvSpPr>
            <a:spLocks noChangeAspect="1"/>
          </p:cNvSpPr>
          <p:nvPr/>
        </p:nvSpPr>
        <p:spPr>
          <a:xfrm>
            <a:off x="8570904" y="1710739"/>
            <a:ext cx="433033" cy="436651"/>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1" name="Oval 32">
            <a:extLst>
              <a:ext uri="{FF2B5EF4-FFF2-40B4-BE49-F238E27FC236}">
                <a16:creationId xmlns:a16="http://schemas.microsoft.com/office/drawing/2014/main" id="{6A497743-5522-2044-B044-860385393B95}"/>
              </a:ext>
            </a:extLst>
          </p:cNvPr>
          <p:cNvSpPr/>
          <p:nvPr/>
        </p:nvSpPr>
        <p:spPr>
          <a:xfrm>
            <a:off x="9075926" y="1730287"/>
            <a:ext cx="341194" cy="410461"/>
          </a:xfrm>
          <a:custGeom>
            <a:avLst/>
            <a:gdLst/>
            <a:ahLst/>
            <a:cxnLst/>
            <a:rect l="l" t="t" r="r" b="b"/>
            <a:pathLst>
              <a:path w="2671236" h="3213546">
                <a:moveTo>
                  <a:pt x="1336943" y="151152"/>
                </a:moveTo>
                <a:cubicBezTo>
                  <a:pt x="1223677" y="151152"/>
                  <a:pt x="1131857" y="242973"/>
                  <a:pt x="1131857" y="356239"/>
                </a:cubicBezTo>
                <a:cubicBezTo>
                  <a:pt x="1131857" y="469506"/>
                  <a:pt x="1223677" y="561326"/>
                  <a:pt x="1336943" y="561326"/>
                </a:cubicBezTo>
                <a:cubicBezTo>
                  <a:pt x="1450210" y="561326"/>
                  <a:pt x="1542030" y="469506"/>
                  <a:pt x="1542030" y="356239"/>
                </a:cubicBezTo>
                <a:cubicBezTo>
                  <a:pt x="1542030" y="242973"/>
                  <a:pt x="1450210" y="151152"/>
                  <a:pt x="1336943" y="151152"/>
                </a:cubicBezTo>
                <a:close/>
                <a:moveTo>
                  <a:pt x="1336943" y="0"/>
                </a:moveTo>
                <a:cubicBezTo>
                  <a:pt x="1533689" y="0"/>
                  <a:pt x="1693182" y="159493"/>
                  <a:pt x="1693182" y="356239"/>
                </a:cubicBezTo>
                <a:cubicBezTo>
                  <a:pt x="1693182" y="499348"/>
                  <a:pt x="1608797" y="622748"/>
                  <a:pt x="1486649" y="678491"/>
                </a:cubicBezTo>
                <a:lnTo>
                  <a:pt x="1504985" y="861628"/>
                </a:lnTo>
                <a:lnTo>
                  <a:pt x="2050955" y="861628"/>
                </a:lnTo>
                <a:cubicBezTo>
                  <a:pt x="2073924" y="808095"/>
                  <a:pt x="2127168" y="770742"/>
                  <a:pt x="2189136" y="770742"/>
                </a:cubicBezTo>
                <a:cubicBezTo>
                  <a:pt x="2272476" y="770742"/>
                  <a:pt x="2340037" y="838303"/>
                  <a:pt x="2340037" y="921643"/>
                </a:cubicBezTo>
                <a:cubicBezTo>
                  <a:pt x="2340037" y="1004983"/>
                  <a:pt x="2272476" y="1072544"/>
                  <a:pt x="2189136" y="1072544"/>
                </a:cubicBezTo>
                <a:cubicBezTo>
                  <a:pt x="2127168" y="1072544"/>
                  <a:pt x="2073924" y="1035191"/>
                  <a:pt x="2050955" y="981658"/>
                </a:cubicBezTo>
                <a:lnTo>
                  <a:pt x="1517002" y="981658"/>
                </a:lnTo>
                <a:lnTo>
                  <a:pt x="1678124" y="2590970"/>
                </a:lnTo>
                <a:cubicBezTo>
                  <a:pt x="2063444" y="2451708"/>
                  <a:pt x="2360829" y="2287813"/>
                  <a:pt x="2381761" y="1860600"/>
                </a:cubicBezTo>
                <a:cubicBezTo>
                  <a:pt x="2329006" y="1862811"/>
                  <a:pt x="2276981" y="1871755"/>
                  <a:pt x="2228094" y="1886075"/>
                </a:cubicBezTo>
                <a:cubicBezTo>
                  <a:pt x="2324645" y="1771974"/>
                  <a:pt x="2415523" y="1665436"/>
                  <a:pt x="2449665" y="1504055"/>
                </a:cubicBezTo>
                <a:cubicBezTo>
                  <a:pt x="2485699" y="1663545"/>
                  <a:pt x="2574685" y="1764408"/>
                  <a:pt x="2671236" y="1886075"/>
                </a:cubicBezTo>
                <a:cubicBezTo>
                  <a:pt x="2622475" y="1872164"/>
                  <a:pt x="2568855" y="1862858"/>
                  <a:pt x="2513341" y="1860541"/>
                </a:cubicBezTo>
                <a:cubicBezTo>
                  <a:pt x="2486075" y="2436981"/>
                  <a:pt x="2151724" y="2992040"/>
                  <a:pt x="1522375" y="3040581"/>
                </a:cubicBezTo>
                <a:cubicBezTo>
                  <a:pt x="1427529" y="3119259"/>
                  <a:pt x="1392747" y="3155891"/>
                  <a:pt x="1336943" y="3213546"/>
                </a:cubicBezTo>
                <a:cubicBezTo>
                  <a:pt x="1284048" y="3153728"/>
                  <a:pt x="1252174" y="3120936"/>
                  <a:pt x="1157234" y="3046101"/>
                </a:cubicBezTo>
                <a:cubicBezTo>
                  <a:pt x="592479" y="2980043"/>
                  <a:pt x="187829" y="2438320"/>
                  <a:pt x="160409" y="1860193"/>
                </a:cubicBezTo>
                <a:cubicBezTo>
                  <a:pt x="105366" y="1862056"/>
                  <a:pt x="50978" y="1871143"/>
                  <a:pt x="0" y="1886075"/>
                </a:cubicBezTo>
                <a:cubicBezTo>
                  <a:pt x="96552" y="1771974"/>
                  <a:pt x="187429" y="1665436"/>
                  <a:pt x="221571" y="1504055"/>
                </a:cubicBezTo>
                <a:cubicBezTo>
                  <a:pt x="257605" y="1663545"/>
                  <a:pt x="346591" y="1764408"/>
                  <a:pt x="443143" y="1886075"/>
                </a:cubicBezTo>
                <a:cubicBezTo>
                  <a:pt x="396276" y="1872705"/>
                  <a:pt x="344922" y="1863589"/>
                  <a:pt x="291687" y="1860996"/>
                </a:cubicBezTo>
                <a:cubicBezTo>
                  <a:pt x="313360" y="2289054"/>
                  <a:pt x="617325" y="2454996"/>
                  <a:pt x="1001768" y="2593980"/>
                </a:cubicBezTo>
                <a:lnTo>
                  <a:pt x="1157883" y="981658"/>
                </a:lnTo>
                <a:lnTo>
                  <a:pt x="666108" y="981658"/>
                </a:lnTo>
                <a:cubicBezTo>
                  <a:pt x="643139" y="1035191"/>
                  <a:pt x="589896" y="1072543"/>
                  <a:pt x="527928" y="1072543"/>
                </a:cubicBezTo>
                <a:cubicBezTo>
                  <a:pt x="444588" y="1072543"/>
                  <a:pt x="377027" y="1004982"/>
                  <a:pt x="377027" y="921642"/>
                </a:cubicBezTo>
                <a:cubicBezTo>
                  <a:pt x="377027" y="838302"/>
                  <a:pt x="444588" y="770741"/>
                  <a:pt x="527928" y="770741"/>
                </a:cubicBezTo>
                <a:cubicBezTo>
                  <a:pt x="589896" y="770741"/>
                  <a:pt x="643141" y="808095"/>
                  <a:pt x="666110" y="861628"/>
                </a:cubicBezTo>
                <a:lnTo>
                  <a:pt x="1169505" y="861628"/>
                </a:lnTo>
                <a:lnTo>
                  <a:pt x="1187237" y="678491"/>
                </a:lnTo>
                <a:cubicBezTo>
                  <a:pt x="1065090" y="622748"/>
                  <a:pt x="980704" y="499348"/>
                  <a:pt x="980704" y="356239"/>
                </a:cubicBezTo>
                <a:cubicBezTo>
                  <a:pt x="980704" y="159493"/>
                  <a:pt x="1140198" y="0"/>
                  <a:pt x="1336943"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2" name="Rounded Rectangle 12">
            <a:extLst>
              <a:ext uri="{FF2B5EF4-FFF2-40B4-BE49-F238E27FC236}">
                <a16:creationId xmlns:a16="http://schemas.microsoft.com/office/drawing/2014/main" id="{E1433C24-CA83-FD42-A239-09794AA36075}"/>
              </a:ext>
            </a:extLst>
          </p:cNvPr>
          <p:cNvSpPr>
            <a:spLocks noChangeAspect="1"/>
          </p:cNvSpPr>
          <p:nvPr/>
        </p:nvSpPr>
        <p:spPr>
          <a:xfrm>
            <a:off x="415095" y="5355950"/>
            <a:ext cx="392723" cy="468000"/>
          </a:xfrm>
          <a:custGeom>
            <a:avLst/>
            <a:gdLst/>
            <a:ahLst/>
            <a:cxnLst/>
            <a:rect l="l" t="t" r="r" b="b"/>
            <a:pathLst>
              <a:path w="3312367" h="3947283">
                <a:moveTo>
                  <a:pt x="2537615" y="3705909"/>
                </a:moveTo>
                <a:cubicBezTo>
                  <a:pt x="2512344" y="3705909"/>
                  <a:pt x="2491857" y="3726396"/>
                  <a:pt x="2491857" y="3751667"/>
                </a:cubicBezTo>
                <a:cubicBezTo>
                  <a:pt x="2491857" y="3776938"/>
                  <a:pt x="2512344" y="3797425"/>
                  <a:pt x="2537615" y="3797425"/>
                </a:cubicBezTo>
                <a:lnTo>
                  <a:pt x="2762175" y="3797425"/>
                </a:lnTo>
                <a:cubicBezTo>
                  <a:pt x="2787446" y="3797425"/>
                  <a:pt x="2807933" y="3776938"/>
                  <a:pt x="2807933" y="3751667"/>
                </a:cubicBezTo>
                <a:cubicBezTo>
                  <a:pt x="2807933" y="3726396"/>
                  <a:pt x="2787446" y="3705909"/>
                  <a:pt x="2762175" y="3705909"/>
                </a:cubicBezTo>
                <a:close/>
                <a:moveTo>
                  <a:pt x="1141114" y="3408594"/>
                </a:moveTo>
                <a:cubicBezTo>
                  <a:pt x="1097903" y="3408594"/>
                  <a:pt x="1062874" y="3443623"/>
                  <a:pt x="1062874" y="3486834"/>
                </a:cubicBezTo>
                <a:cubicBezTo>
                  <a:pt x="1062874" y="3530045"/>
                  <a:pt x="1097903" y="3565073"/>
                  <a:pt x="1141114" y="3565073"/>
                </a:cubicBezTo>
                <a:lnTo>
                  <a:pt x="1525078" y="3565074"/>
                </a:lnTo>
                <a:cubicBezTo>
                  <a:pt x="1568289" y="3565074"/>
                  <a:pt x="1603318" y="3530045"/>
                  <a:pt x="1603318" y="3486834"/>
                </a:cubicBezTo>
                <a:lnTo>
                  <a:pt x="1603319" y="3486834"/>
                </a:lnTo>
                <a:cubicBezTo>
                  <a:pt x="1603319" y="3443623"/>
                  <a:pt x="1568290" y="3408594"/>
                  <a:pt x="1525079" y="3408594"/>
                </a:cubicBezTo>
                <a:close/>
                <a:moveTo>
                  <a:pt x="2129393" y="1705414"/>
                </a:moveTo>
                <a:lnTo>
                  <a:pt x="2129393" y="3580170"/>
                </a:lnTo>
                <a:lnTo>
                  <a:pt x="3126216" y="3580170"/>
                </a:lnTo>
                <a:lnTo>
                  <a:pt x="3126216" y="1705414"/>
                </a:lnTo>
                <a:close/>
                <a:moveTo>
                  <a:pt x="2481193" y="1533789"/>
                </a:moveTo>
                <a:cubicBezTo>
                  <a:pt x="2462682" y="1533789"/>
                  <a:pt x="2447676" y="1548795"/>
                  <a:pt x="2447676" y="1567306"/>
                </a:cubicBezTo>
                <a:lnTo>
                  <a:pt x="2447676" y="1572258"/>
                </a:lnTo>
                <a:cubicBezTo>
                  <a:pt x="2447676" y="1590769"/>
                  <a:pt x="2462682" y="1605775"/>
                  <a:pt x="2481193" y="1605775"/>
                </a:cubicBezTo>
                <a:lnTo>
                  <a:pt x="2774415" y="1605775"/>
                </a:lnTo>
                <a:cubicBezTo>
                  <a:pt x="2792926" y="1605775"/>
                  <a:pt x="2807932" y="1590769"/>
                  <a:pt x="2807932" y="1572258"/>
                </a:cubicBezTo>
                <a:lnTo>
                  <a:pt x="2807932" y="1567306"/>
                </a:lnTo>
                <a:cubicBezTo>
                  <a:pt x="2807932" y="1548795"/>
                  <a:pt x="2792926" y="1533789"/>
                  <a:pt x="2774415" y="1533789"/>
                </a:cubicBezTo>
                <a:close/>
                <a:moveTo>
                  <a:pt x="2113478" y="1418392"/>
                </a:moveTo>
                <a:lnTo>
                  <a:pt x="3142130" y="1418392"/>
                </a:lnTo>
                <a:cubicBezTo>
                  <a:pt x="3236149" y="1418392"/>
                  <a:pt x="3312367" y="1494610"/>
                  <a:pt x="3312367" y="1588629"/>
                </a:cubicBezTo>
                <a:lnTo>
                  <a:pt x="3312367" y="3777046"/>
                </a:lnTo>
                <a:cubicBezTo>
                  <a:pt x="3312367" y="3871065"/>
                  <a:pt x="3236149" y="3947283"/>
                  <a:pt x="3142130" y="3947283"/>
                </a:cubicBezTo>
                <a:lnTo>
                  <a:pt x="2113478" y="3947283"/>
                </a:lnTo>
                <a:cubicBezTo>
                  <a:pt x="2019459" y="3947283"/>
                  <a:pt x="1943241" y="3871065"/>
                  <a:pt x="1943241" y="3777046"/>
                </a:cubicBezTo>
                <a:lnTo>
                  <a:pt x="1943241" y="1588629"/>
                </a:lnTo>
                <a:cubicBezTo>
                  <a:pt x="1943241" y="1494610"/>
                  <a:pt x="2019459" y="1418392"/>
                  <a:pt x="2113478" y="1418392"/>
                </a:cubicBezTo>
                <a:close/>
                <a:moveTo>
                  <a:pt x="1006317" y="157391"/>
                </a:moveTo>
                <a:cubicBezTo>
                  <a:pt x="987806" y="157391"/>
                  <a:pt x="972800" y="172397"/>
                  <a:pt x="972800" y="190908"/>
                </a:cubicBezTo>
                <a:lnTo>
                  <a:pt x="972800" y="195860"/>
                </a:lnTo>
                <a:cubicBezTo>
                  <a:pt x="972800" y="214371"/>
                  <a:pt x="987806" y="229377"/>
                  <a:pt x="1006317" y="229377"/>
                </a:cubicBezTo>
                <a:lnTo>
                  <a:pt x="1659876" y="229377"/>
                </a:lnTo>
                <a:cubicBezTo>
                  <a:pt x="1678387" y="229377"/>
                  <a:pt x="1693393" y="214371"/>
                  <a:pt x="1693393" y="195860"/>
                </a:cubicBezTo>
                <a:lnTo>
                  <a:pt x="1693393" y="190908"/>
                </a:lnTo>
                <a:cubicBezTo>
                  <a:pt x="1693393" y="172397"/>
                  <a:pt x="1678387" y="157391"/>
                  <a:pt x="1659876" y="157391"/>
                </a:cubicBezTo>
                <a:close/>
                <a:moveTo>
                  <a:pt x="264780" y="0"/>
                </a:moveTo>
                <a:lnTo>
                  <a:pt x="2401413" y="0"/>
                </a:lnTo>
                <a:cubicBezTo>
                  <a:pt x="2547647" y="0"/>
                  <a:pt x="2666193" y="118546"/>
                  <a:pt x="2666193" y="264780"/>
                </a:cubicBezTo>
                <a:lnTo>
                  <a:pt x="2666193" y="1345374"/>
                </a:lnTo>
                <a:lnTo>
                  <a:pt x="2369517" y="1345374"/>
                </a:lnTo>
                <a:lnTo>
                  <a:pt x="2369517" y="366783"/>
                </a:lnTo>
                <a:lnTo>
                  <a:pt x="296676" y="366783"/>
                </a:lnTo>
                <a:lnTo>
                  <a:pt x="296676" y="3219873"/>
                </a:lnTo>
                <a:lnTo>
                  <a:pt x="1867527" y="3219873"/>
                </a:lnTo>
                <a:lnTo>
                  <a:pt x="1867527" y="3778374"/>
                </a:lnTo>
                <a:lnTo>
                  <a:pt x="264780" y="3778374"/>
                </a:lnTo>
                <a:cubicBezTo>
                  <a:pt x="118546" y="3778374"/>
                  <a:pt x="0" y="3659828"/>
                  <a:pt x="0" y="3513594"/>
                </a:cubicBezTo>
                <a:lnTo>
                  <a:pt x="0" y="264780"/>
                </a:lnTo>
                <a:cubicBezTo>
                  <a:pt x="0" y="118546"/>
                  <a:pt x="118546" y="0"/>
                  <a:pt x="264780"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85" name="Freeform 9">
            <a:extLst>
              <a:ext uri="{FF2B5EF4-FFF2-40B4-BE49-F238E27FC236}">
                <a16:creationId xmlns:a16="http://schemas.microsoft.com/office/drawing/2014/main" id="{6846172F-5848-CC4B-B5FE-7F0D4A1D8247}"/>
              </a:ext>
            </a:extLst>
          </p:cNvPr>
          <p:cNvSpPr>
            <a:spLocks noChangeAspect="1" noEditPoints="1"/>
          </p:cNvSpPr>
          <p:nvPr/>
        </p:nvSpPr>
        <p:spPr bwMode="auto">
          <a:xfrm>
            <a:off x="2839729" y="5402624"/>
            <a:ext cx="298945" cy="299410"/>
          </a:xfrm>
          <a:custGeom>
            <a:avLst/>
            <a:gdLst>
              <a:gd name="T0" fmla="*/ 880 w 2080"/>
              <a:gd name="T1" fmla="*/ 1842 h 2082"/>
              <a:gd name="T2" fmla="*/ 880 w 2080"/>
              <a:gd name="T3" fmla="*/ 442 h 2082"/>
              <a:gd name="T4" fmla="*/ 444 w 2080"/>
              <a:gd name="T5" fmla="*/ 326 h 2082"/>
              <a:gd name="T6" fmla="*/ 666 w 2080"/>
              <a:gd name="T7" fmla="*/ 962 h 2082"/>
              <a:gd name="T8" fmla="*/ 800 w 2080"/>
              <a:gd name="T9" fmla="*/ 962 h 2082"/>
              <a:gd name="T10" fmla="*/ 800 w 2080"/>
              <a:gd name="T11" fmla="*/ 1096 h 2082"/>
              <a:gd name="T12" fmla="*/ 791 w 2080"/>
              <a:gd name="T13" fmla="*/ 1108 h 2082"/>
              <a:gd name="T14" fmla="*/ 400 w 2080"/>
              <a:gd name="T15" fmla="*/ 1282 h 2082"/>
              <a:gd name="T16" fmla="*/ 9 w 2080"/>
              <a:gd name="T17" fmla="*/ 1108 h 2082"/>
              <a:gd name="T18" fmla="*/ 0 w 2080"/>
              <a:gd name="T19" fmla="*/ 1096 h 2082"/>
              <a:gd name="T20" fmla="*/ 0 w 2080"/>
              <a:gd name="T21" fmla="*/ 962 h 2082"/>
              <a:gd name="T22" fmla="*/ 122 w 2080"/>
              <a:gd name="T23" fmla="*/ 962 h 2082"/>
              <a:gd name="T24" fmla="*/ 364 w 2080"/>
              <a:gd name="T25" fmla="*/ 305 h 2082"/>
              <a:gd name="T26" fmla="*/ 303 w 2080"/>
              <a:gd name="T27" fmla="*/ 288 h 2082"/>
              <a:gd name="T28" fmla="*/ 231 w 2080"/>
              <a:gd name="T29" fmla="*/ 166 h 2082"/>
              <a:gd name="T30" fmla="*/ 278 w 2080"/>
              <a:gd name="T31" fmla="*/ 105 h 2082"/>
              <a:gd name="T32" fmla="*/ 464 w 2080"/>
              <a:gd name="T33" fmla="*/ 0 h 2082"/>
              <a:gd name="T34" fmla="*/ 968 w 2080"/>
              <a:gd name="T35" fmla="*/ 135 h 2082"/>
              <a:gd name="T36" fmla="*/ 840 w 2080"/>
              <a:gd name="T37" fmla="*/ 322 h 2082"/>
              <a:gd name="T38" fmla="*/ 1040 w 2080"/>
              <a:gd name="T39" fmla="*/ 522 h 2082"/>
              <a:gd name="T40" fmla="*/ 1240 w 2080"/>
              <a:gd name="T41" fmla="*/ 322 h 2082"/>
              <a:gd name="T42" fmla="*/ 1196 w 2080"/>
              <a:gd name="T43" fmla="*/ 196 h 2082"/>
              <a:gd name="T44" fmla="*/ 1693 w 2080"/>
              <a:gd name="T45" fmla="*/ 330 h 2082"/>
              <a:gd name="T46" fmla="*/ 1804 w 2080"/>
              <a:gd name="T47" fmla="*/ 513 h 2082"/>
              <a:gd name="T48" fmla="*/ 1815 w 2080"/>
              <a:gd name="T49" fmla="*/ 590 h 2082"/>
              <a:gd name="T50" fmla="*/ 1730 w 2080"/>
              <a:gd name="T51" fmla="*/ 663 h 2082"/>
              <a:gd name="T52" fmla="*/ 1946 w 2080"/>
              <a:gd name="T53" fmla="*/ 1282 h 2082"/>
              <a:gd name="T54" fmla="*/ 2080 w 2080"/>
              <a:gd name="T55" fmla="*/ 1282 h 2082"/>
              <a:gd name="T56" fmla="*/ 2080 w 2080"/>
              <a:gd name="T57" fmla="*/ 1416 h 2082"/>
              <a:gd name="T58" fmla="*/ 2071 w 2080"/>
              <a:gd name="T59" fmla="*/ 1428 h 2082"/>
              <a:gd name="T60" fmla="*/ 1680 w 2080"/>
              <a:gd name="T61" fmla="*/ 1602 h 2082"/>
              <a:gd name="T62" fmla="*/ 1289 w 2080"/>
              <a:gd name="T63" fmla="*/ 1428 h 2082"/>
              <a:gd name="T64" fmla="*/ 1280 w 2080"/>
              <a:gd name="T65" fmla="*/ 1416 h 2082"/>
              <a:gd name="T66" fmla="*/ 1280 w 2080"/>
              <a:gd name="T67" fmla="*/ 1282 h 2082"/>
              <a:gd name="T68" fmla="*/ 1402 w 2080"/>
              <a:gd name="T69" fmla="*/ 1282 h 2082"/>
              <a:gd name="T70" fmla="*/ 1636 w 2080"/>
              <a:gd name="T71" fmla="*/ 646 h 2082"/>
              <a:gd name="T72" fmla="*/ 1200 w 2080"/>
              <a:gd name="T73" fmla="*/ 529 h 2082"/>
              <a:gd name="T74" fmla="*/ 1200 w 2080"/>
              <a:gd name="T75" fmla="*/ 1842 h 2082"/>
              <a:gd name="T76" fmla="*/ 1400 w 2080"/>
              <a:gd name="T77" fmla="*/ 1842 h 2082"/>
              <a:gd name="T78" fmla="*/ 1520 w 2080"/>
              <a:gd name="T79" fmla="*/ 1962 h 2082"/>
              <a:gd name="T80" fmla="*/ 1520 w 2080"/>
              <a:gd name="T81" fmla="*/ 2082 h 2082"/>
              <a:gd name="T82" fmla="*/ 560 w 2080"/>
              <a:gd name="T83" fmla="*/ 2082 h 2082"/>
              <a:gd name="T84" fmla="*/ 560 w 2080"/>
              <a:gd name="T85" fmla="*/ 1962 h 2082"/>
              <a:gd name="T86" fmla="*/ 680 w 2080"/>
              <a:gd name="T87" fmla="*/ 1842 h 2082"/>
              <a:gd name="T88" fmla="*/ 880 w 2080"/>
              <a:gd name="T89" fmla="*/ 1842 h 2082"/>
              <a:gd name="T90" fmla="*/ 1040 w 2080"/>
              <a:gd name="T91" fmla="*/ 202 h 2082"/>
              <a:gd name="T92" fmla="*/ 920 w 2080"/>
              <a:gd name="T93" fmla="*/ 322 h 2082"/>
              <a:gd name="T94" fmla="*/ 1040 w 2080"/>
              <a:gd name="T95" fmla="*/ 442 h 2082"/>
              <a:gd name="T96" fmla="*/ 1160 w 2080"/>
              <a:gd name="T97" fmla="*/ 322 h 2082"/>
              <a:gd name="T98" fmla="*/ 1040 w 2080"/>
              <a:gd name="T99" fmla="*/ 202 h 2082"/>
              <a:gd name="T100" fmla="*/ 582 w 2080"/>
              <a:gd name="T101" fmla="*/ 962 h 2082"/>
              <a:gd name="T102" fmla="*/ 399 w 2080"/>
              <a:gd name="T103" fmla="*/ 440 h 2082"/>
              <a:gd name="T104" fmla="*/ 207 w 2080"/>
              <a:gd name="T105" fmla="*/ 962 h 2082"/>
              <a:gd name="T106" fmla="*/ 582 w 2080"/>
              <a:gd name="T107" fmla="*/ 962 h 2082"/>
              <a:gd name="T108" fmla="*/ 1487 w 2080"/>
              <a:gd name="T109" fmla="*/ 1282 h 2082"/>
              <a:gd name="T110" fmla="*/ 1862 w 2080"/>
              <a:gd name="T111" fmla="*/ 1282 h 2082"/>
              <a:gd name="T112" fmla="*/ 1679 w 2080"/>
              <a:gd name="T113" fmla="*/ 760 h 2082"/>
              <a:gd name="T114" fmla="*/ 1487 w 2080"/>
              <a:gd name="T115" fmla="*/ 1282 h 2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0" h="2082">
                <a:moveTo>
                  <a:pt x="880" y="1842"/>
                </a:moveTo>
                <a:cubicBezTo>
                  <a:pt x="880" y="442"/>
                  <a:pt x="880" y="442"/>
                  <a:pt x="880" y="442"/>
                </a:cubicBezTo>
                <a:cubicBezTo>
                  <a:pt x="444" y="326"/>
                  <a:pt x="444" y="326"/>
                  <a:pt x="444" y="326"/>
                </a:cubicBezTo>
                <a:cubicBezTo>
                  <a:pt x="666" y="962"/>
                  <a:pt x="666" y="962"/>
                  <a:pt x="666" y="962"/>
                </a:cubicBezTo>
                <a:cubicBezTo>
                  <a:pt x="800" y="962"/>
                  <a:pt x="800" y="962"/>
                  <a:pt x="800" y="962"/>
                </a:cubicBezTo>
                <a:cubicBezTo>
                  <a:pt x="800" y="1007"/>
                  <a:pt x="800" y="1052"/>
                  <a:pt x="800" y="1096"/>
                </a:cubicBezTo>
                <a:cubicBezTo>
                  <a:pt x="791" y="1108"/>
                  <a:pt x="791" y="1108"/>
                  <a:pt x="791" y="1108"/>
                </a:cubicBezTo>
                <a:cubicBezTo>
                  <a:pt x="699" y="1218"/>
                  <a:pt x="542" y="1282"/>
                  <a:pt x="400" y="1282"/>
                </a:cubicBezTo>
                <a:cubicBezTo>
                  <a:pt x="258" y="1282"/>
                  <a:pt x="101" y="1218"/>
                  <a:pt x="9" y="1108"/>
                </a:cubicBezTo>
                <a:cubicBezTo>
                  <a:pt x="0" y="1096"/>
                  <a:pt x="0" y="1096"/>
                  <a:pt x="0" y="1096"/>
                </a:cubicBezTo>
                <a:cubicBezTo>
                  <a:pt x="0" y="1052"/>
                  <a:pt x="0" y="1007"/>
                  <a:pt x="0" y="962"/>
                </a:cubicBezTo>
                <a:cubicBezTo>
                  <a:pt x="122" y="962"/>
                  <a:pt x="122" y="962"/>
                  <a:pt x="122" y="962"/>
                </a:cubicBezTo>
                <a:cubicBezTo>
                  <a:pt x="364" y="305"/>
                  <a:pt x="364" y="305"/>
                  <a:pt x="364" y="305"/>
                </a:cubicBezTo>
                <a:cubicBezTo>
                  <a:pt x="303" y="288"/>
                  <a:pt x="303" y="288"/>
                  <a:pt x="303" y="288"/>
                </a:cubicBezTo>
                <a:cubicBezTo>
                  <a:pt x="250" y="274"/>
                  <a:pt x="216" y="220"/>
                  <a:pt x="231" y="166"/>
                </a:cubicBezTo>
                <a:cubicBezTo>
                  <a:pt x="238" y="139"/>
                  <a:pt x="255" y="118"/>
                  <a:pt x="278" y="105"/>
                </a:cubicBezTo>
                <a:cubicBezTo>
                  <a:pt x="464" y="0"/>
                  <a:pt x="464" y="0"/>
                  <a:pt x="464" y="0"/>
                </a:cubicBezTo>
                <a:cubicBezTo>
                  <a:pt x="968" y="135"/>
                  <a:pt x="968" y="135"/>
                  <a:pt x="968" y="135"/>
                </a:cubicBezTo>
                <a:cubicBezTo>
                  <a:pt x="893" y="164"/>
                  <a:pt x="840" y="237"/>
                  <a:pt x="840" y="322"/>
                </a:cubicBezTo>
                <a:cubicBezTo>
                  <a:pt x="840" y="432"/>
                  <a:pt x="930" y="522"/>
                  <a:pt x="1040" y="522"/>
                </a:cubicBezTo>
                <a:cubicBezTo>
                  <a:pt x="1150" y="522"/>
                  <a:pt x="1240" y="432"/>
                  <a:pt x="1240" y="322"/>
                </a:cubicBezTo>
                <a:cubicBezTo>
                  <a:pt x="1240" y="274"/>
                  <a:pt x="1223" y="230"/>
                  <a:pt x="1196" y="196"/>
                </a:cubicBezTo>
                <a:cubicBezTo>
                  <a:pt x="1693" y="330"/>
                  <a:pt x="1693" y="330"/>
                  <a:pt x="1693" y="330"/>
                </a:cubicBezTo>
                <a:cubicBezTo>
                  <a:pt x="1804" y="513"/>
                  <a:pt x="1804" y="513"/>
                  <a:pt x="1804" y="513"/>
                </a:cubicBezTo>
                <a:cubicBezTo>
                  <a:pt x="1818" y="536"/>
                  <a:pt x="1822" y="564"/>
                  <a:pt x="1815" y="590"/>
                </a:cubicBezTo>
                <a:cubicBezTo>
                  <a:pt x="1804" y="630"/>
                  <a:pt x="1770" y="658"/>
                  <a:pt x="1730" y="663"/>
                </a:cubicBezTo>
                <a:cubicBezTo>
                  <a:pt x="1946" y="1282"/>
                  <a:pt x="1946" y="1282"/>
                  <a:pt x="1946" y="1282"/>
                </a:cubicBezTo>
                <a:cubicBezTo>
                  <a:pt x="2080" y="1282"/>
                  <a:pt x="2080" y="1282"/>
                  <a:pt x="2080" y="1282"/>
                </a:cubicBezTo>
                <a:cubicBezTo>
                  <a:pt x="2080" y="1327"/>
                  <a:pt x="2080" y="1372"/>
                  <a:pt x="2080" y="1416"/>
                </a:cubicBezTo>
                <a:cubicBezTo>
                  <a:pt x="2071" y="1428"/>
                  <a:pt x="2071" y="1428"/>
                  <a:pt x="2071" y="1428"/>
                </a:cubicBezTo>
                <a:cubicBezTo>
                  <a:pt x="1979" y="1538"/>
                  <a:pt x="1822" y="1602"/>
                  <a:pt x="1680" y="1602"/>
                </a:cubicBezTo>
                <a:cubicBezTo>
                  <a:pt x="1538" y="1602"/>
                  <a:pt x="1381" y="1538"/>
                  <a:pt x="1289" y="1428"/>
                </a:cubicBezTo>
                <a:cubicBezTo>
                  <a:pt x="1280" y="1416"/>
                  <a:pt x="1280" y="1416"/>
                  <a:pt x="1280" y="1416"/>
                </a:cubicBezTo>
                <a:cubicBezTo>
                  <a:pt x="1280" y="1372"/>
                  <a:pt x="1280" y="1327"/>
                  <a:pt x="1280" y="1282"/>
                </a:cubicBezTo>
                <a:cubicBezTo>
                  <a:pt x="1402" y="1282"/>
                  <a:pt x="1402" y="1282"/>
                  <a:pt x="1402" y="1282"/>
                </a:cubicBezTo>
                <a:cubicBezTo>
                  <a:pt x="1636" y="646"/>
                  <a:pt x="1636" y="646"/>
                  <a:pt x="1636" y="646"/>
                </a:cubicBezTo>
                <a:cubicBezTo>
                  <a:pt x="1200" y="529"/>
                  <a:pt x="1200" y="529"/>
                  <a:pt x="1200" y="529"/>
                </a:cubicBezTo>
                <a:cubicBezTo>
                  <a:pt x="1200" y="1842"/>
                  <a:pt x="1200" y="1842"/>
                  <a:pt x="1200" y="1842"/>
                </a:cubicBezTo>
                <a:cubicBezTo>
                  <a:pt x="1400" y="1842"/>
                  <a:pt x="1400" y="1842"/>
                  <a:pt x="1400" y="1842"/>
                </a:cubicBezTo>
                <a:cubicBezTo>
                  <a:pt x="1466" y="1842"/>
                  <a:pt x="1520" y="1896"/>
                  <a:pt x="1520" y="1962"/>
                </a:cubicBezTo>
                <a:cubicBezTo>
                  <a:pt x="1520" y="2082"/>
                  <a:pt x="1520" y="2082"/>
                  <a:pt x="1520" y="2082"/>
                </a:cubicBezTo>
                <a:cubicBezTo>
                  <a:pt x="560" y="2082"/>
                  <a:pt x="560" y="2082"/>
                  <a:pt x="560" y="2082"/>
                </a:cubicBezTo>
                <a:cubicBezTo>
                  <a:pt x="560" y="1962"/>
                  <a:pt x="560" y="1962"/>
                  <a:pt x="560" y="1962"/>
                </a:cubicBezTo>
                <a:cubicBezTo>
                  <a:pt x="560" y="1896"/>
                  <a:pt x="614" y="1842"/>
                  <a:pt x="680" y="1842"/>
                </a:cubicBezTo>
                <a:lnTo>
                  <a:pt x="880" y="1842"/>
                </a:lnTo>
                <a:close/>
                <a:moveTo>
                  <a:pt x="1040" y="202"/>
                </a:moveTo>
                <a:cubicBezTo>
                  <a:pt x="974" y="202"/>
                  <a:pt x="920" y="256"/>
                  <a:pt x="920" y="322"/>
                </a:cubicBezTo>
                <a:cubicBezTo>
                  <a:pt x="920" y="388"/>
                  <a:pt x="974" y="442"/>
                  <a:pt x="1040" y="442"/>
                </a:cubicBezTo>
                <a:cubicBezTo>
                  <a:pt x="1106" y="442"/>
                  <a:pt x="1160" y="388"/>
                  <a:pt x="1160" y="322"/>
                </a:cubicBezTo>
                <a:cubicBezTo>
                  <a:pt x="1160" y="256"/>
                  <a:pt x="1106" y="202"/>
                  <a:pt x="1040" y="202"/>
                </a:cubicBezTo>
                <a:close/>
                <a:moveTo>
                  <a:pt x="582" y="962"/>
                </a:moveTo>
                <a:cubicBezTo>
                  <a:pt x="399" y="440"/>
                  <a:pt x="399" y="440"/>
                  <a:pt x="399" y="440"/>
                </a:cubicBezTo>
                <a:cubicBezTo>
                  <a:pt x="207" y="962"/>
                  <a:pt x="207" y="962"/>
                  <a:pt x="207" y="962"/>
                </a:cubicBezTo>
                <a:lnTo>
                  <a:pt x="582" y="962"/>
                </a:lnTo>
                <a:close/>
                <a:moveTo>
                  <a:pt x="1487" y="1282"/>
                </a:moveTo>
                <a:cubicBezTo>
                  <a:pt x="1862" y="1282"/>
                  <a:pt x="1862" y="1282"/>
                  <a:pt x="1862" y="1282"/>
                </a:cubicBezTo>
                <a:cubicBezTo>
                  <a:pt x="1679" y="760"/>
                  <a:pt x="1679" y="760"/>
                  <a:pt x="1679" y="760"/>
                </a:cubicBezTo>
                <a:lnTo>
                  <a:pt x="1487" y="1282"/>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83" name="Oval 21">
            <a:extLst>
              <a:ext uri="{FF2B5EF4-FFF2-40B4-BE49-F238E27FC236}">
                <a16:creationId xmlns:a16="http://schemas.microsoft.com/office/drawing/2014/main" id="{0C1C7712-C2BB-7C4A-9993-E9D5EA117CA5}"/>
              </a:ext>
            </a:extLst>
          </p:cNvPr>
          <p:cNvSpPr/>
          <p:nvPr/>
        </p:nvSpPr>
        <p:spPr>
          <a:xfrm rot="20700000">
            <a:off x="8575442" y="2200790"/>
            <a:ext cx="436017" cy="340148"/>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86" name="Freeform 17">
            <a:extLst>
              <a:ext uri="{FF2B5EF4-FFF2-40B4-BE49-F238E27FC236}">
                <a16:creationId xmlns:a16="http://schemas.microsoft.com/office/drawing/2014/main" id="{19C0AB87-2DC8-8A45-99B7-1A30842A1724}"/>
              </a:ext>
            </a:extLst>
          </p:cNvPr>
          <p:cNvSpPr>
            <a:spLocks noChangeAspect="1" noEditPoints="1"/>
          </p:cNvSpPr>
          <p:nvPr/>
        </p:nvSpPr>
        <p:spPr bwMode="auto">
          <a:xfrm>
            <a:off x="4274868" y="5411269"/>
            <a:ext cx="324000" cy="374025"/>
          </a:xfrm>
          <a:custGeom>
            <a:avLst/>
            <a:gdLst>
              <a:gd name="T0" fmla="*/ 1005 w 1808"/>
              <a:gd name="T1" fmla="*/ 1253 h 2088"/>
              <a:gd name="T2" fmla="*/ 964 w 1808"/>
              <a:gd name="T3" fmla="*/ 1746 h 2088"/>
              <a:gd name="T4" fmla="*/ 770 w 1808"/>
              <a:gd name="T5" fmla="*/ 1940 h 2088"/>
              <a:gd name="T6" fmla="*/ 228 w 1808"/>
              <a:gd name="T7" fmla="*/ 1940 h 2088"/>
              <a:gd name="T8" fmla="*/ 148 w 1808"/>
              <a:gd name="T9" fmla="*/ 1860 h 2088"/>
              <a:gd name="T10" fmla="*/ 148 w 1808"/>
              <a:gd name="T11" fmla="*/ 1318 h 2088"/>
              <a:gd name="T12" fmla="*/ 342 w 1808"/>
              <a:gd name="T13" fmla="*/ 1124 h 2088"/>
              <a:gd name="T14" fmla="*/ 835 w 1808"/>
              <a:gd name="T15" fmla="*/ 1083 h 2088"/>
              <a:gd name="T16" fmla="*/ 719 w 1808"/>
              <a:gd name="T17" fmla="*/ 1199 h 2088"/>
              <a:gd name="T18" fmla="*/ 454 w 1808"/>
              <a:gd name="T19" fmla="*/ 1238 h 2088"/>
              <a:gd name="T20" fmla="*/ 262 w 1808"/>
              <a:gd name="T21" fmla="*/ 1430 h 2088"/>
              <a:gd name="T22" fmla="*/ 262 w 1808"/>
              <a:gd name="T23" fmla="*/ 1746 h 2088"/>
              <a:gd name="T24" fmla="*/ 342 w 1808"/>
              <a:gd name="T25" fmla="*/ 1826 h 2088"/>
              <a:gd name="T26" fmla="*/ 658 w 1808"/>
              <a:gd name="T27" fmla="*/ 1826 h 2088"/>
              <a:gd name="T28" fmla="*/ 850 w 1808"/>
              <a:gd name="T29" fmla="*/ 1634 h 2088"/>
              <a:gd name="T30" fmla="*/ 889 w 1808"/>
              <a:gd name="T31" fmla="*/ 1369 h 2088"/>
              <a:gd name="T32" fmla="*/ 1005 w 1808"/>
              <a:gd name="T33" fmla="*/ 1253 h 2088"/>
              <a:gd name="T34" fmla="*/ 1568 w 1808"/>
              <a:gd name="T35" fmla="*/ 1080 h 2088"/>
              <a:gd name="T36" fmla="*/ 1808 w 1808"/>
              <a:gd name="T37" fmla="*/ 1080 h 2088"/>
              <a:gd name="T38" fmla="*/ 1808 w 1808"/>
              <a:gd name="T39" fmla="*/ 1160 h 2088"/>
              <a:gd name="T40" fmla="*/ 1568 w 1808"/>
              <a:gd name="T41" fmla="*/ 1160 h 2088"/>
              <a:gd name="T42" fmla="*/ 1568 w 1808"/>
              <a:gd name="T43" fmla="*/ 1080 h 2088"/>
              <a:gd name="T44" fmla="*/ 1491 w 1808"/>
              <a:gd name="T45" fmla="*/ 1346 h 2088"/>
              <a:gd name="T46" fmla="*/ 1660 w 1808"/>
              <a:gd name="T47" fmla="*/ 1516 h 2088"/>
              <a:gd name="T48" fmla="*/ 1604 w 1808"/>
              <a:gd name="T49" fmla="*/ 1572 h 2088"/>
              <a:gd name="T50" fmla="*/ 1434 w 1808"/>
              <a:gd name="T51" fmla="*/ 1403 h 2088"/>
              <a:gd name="T52" fmla="*/ 1491 w 1808"/>
              <a:gd name="T53" fmla="*/ 1346 h 2088"/>
              <a:gd name="T54" fmla="*/ 1248 w 1808"/>
              <a:gd name="T55" fmla="*/ 1480 h 2088"/>
              <a:gd name="T56" fmla="*/ 1248 w 1808"/>
              <a:gd name="T57" fmla="*/ 1720 h 2088"/>
              <a:gd name="T58" fmla="*/ 1168 w 1808"/>
              <a:gd name="T59" fmla="*/ 1720 h 2088"/>
              <a:gd name="T60" fmla="*/ 1168 w 1808"/>
              <a:gd name="T61" fmla="*/ 1480 h 2088"/>
              <a:gd name="T62" fmla="*/ 1248 w 1808"/>
              <a:gd name="T63" fmla="*/ 1480 h 2088"/>
              <a:gd name="T64" fmla="*/ 1248 w 1808"/>
              <a:gd name="T65" fmla="*/ 720 h 2088"/>
              <a:gd name="T66" fmla="*/ 1328 w 1808"/>
              <a:gd name="T67" fmla="*/ 640 h 2088"/>
              <a:gd name="T68" fmla="*/ 1408 w 1808"/>
              <a:gd name="T69" fmla="*/ 720 h 2088"/>
              <a:gd name="T70" fmla="*/ 1408 w 1808"/>
              <a:gd name="T71" fmla="*/ 1040 h 2088"/>
              <a:gd name="T72" fmla="*/ 1248 w 1808"/>
              <a:gd name="T73" fmla="*/ 1040 h 2088"/>
              <a:gd name="T74" fmla="*/ 1248 w 1808"/>
              <a:gd name="T75" fmla="*/ 720 h 2088"/>
              <a:gd name="T76" fmla="*/ 1272 w 1808"/>
              <a:gd name="T77" fmla="*/ 0 h 2088"/>
              <a:gd name="T78" fmla="*/ 1384 w 1808"/>
              <a:gd name="T79" fmla="*/ 0 h 2088"/>
              <a:gd name="T80" fmla="*/ 1768 w 1808"/>
              <a:gd name="T81" fmla="*/ 384 h 2088"/>
              <a:gd name="T82" fmla="*/ 1768 w 1808"/>
              <a:gd name="T83" fmla="*/ 656 h 2088"/>
              <a:gd name="T84" fmla="*/ 1488 w 1808"/>
              <a:gd name="T85" fmla="*/ 1026 h 2088"/>
              <a:gd name="T86" fmla="*/ 1488 w 1808"/>
              <a:gd name="T87" fmla="*/ 854 h 2088"/>
              <a:gd name="T88" fmla="*/ 1608 w 1808"/>
              <a:gd name="T89" fmla="*/ 656 h 2088"/>
              <a:gd name="T90" fmla="*/ 1608 w 1808"/>
              <a:gd name="T91" fmla="*/ 384 h 2088"/>
              <a:gd name="T92" fmla="*/ 1384 w 1808"/>
              <a:gd name="T93" fmla="*/ 160 h 2088"/>
              <a:gd name="T94" fmla="*/ 1272 w 1808"/>
              <a:gd name="T95" fmla="*/ 160 h 2088"/>
              <a:gd name="T96" fmla="*/ 1048 w 1808"/>
              <a:gd name="T97" fmla="*/ 384 h 2088"/>
              <a:gd name="T98" fmla="*/ 1048 w 1808"/>
              <a:gd name="T99" fmla="*/ 656 h 2088"/>
              <a:gd name="T100" fmla="*/ 1168 w 1808"/>
              <a:gd name="T101" fmla="*/ 854 h 2088"/>
              <a:gd name="T102" fmla="*/ 1168 w 1808"/>
              <a:gd name="T103" fmla="*/ 1026 h 2088"/>
              <a:gd name="T104" fmla="*/ 888 w 1808"/>
              <a:gd name="T105" fmla="*/ 656 h 2088"/>
              <a:gd name="T106" fmla="*/ 888 w 1808"/>
              <a:gd name="T107" fmla="*/ 384 h 2088"/>
              <a:gd name="T108" fmla="*/ 1272 w 1808"/>
              <a:gd name="T109" fmla="*/ 0 h 2088"/>
              <a:gd name="T110" fmla="*/ 744 w 1808"/>
              <a:gd name="T111" fmla="*/ 1456 h 2088"/>
              <a:gd name="T112" fmla="*/ 632 w 1808"/>
              <a:gd name="T113" fmla="*/ 1456 h 2088"/>
              <a:gd name="T114" fmla="*/ 632 w 1808"/>
              <a:gd name="T115" fmla="*/ 1344 h 2088"/>
              <a:gd name="T116" fmla="*/ 892 w 1808"/>
              <a:gd name="T117" fmla="*/ 1084 h 2088"/>
              <a:gd name="T118" fmla="*/ 1004 w 1808"/>
              <a:gd name="T119" fmla="*/ 1196 h 2088"/>
              <a:gd name="T120" fmla="*/ 744 w 1808"/>
              <a:gd name="T121" fmla="*/ 1456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2088">
                <a:moveTo>
                  <a:pt x="1005" y="1253"/>
                </a:moveTo>
                <a:cubicBezTo>
                  <a:pt x="1112" y="1404"/>
                  <a:pt x="1095" y="1615"/>
                  <a:pt x="964" y="1746"/>
                </a:cubicBezTo>
                <a:cubicBezTo>
                  <a:pt x="770" y="1940"/>
                  <a:pt x="770" y="1940"/>
                  <a:pt x="770" y="1940"/>
                </a:cubicBezTo>
                <a:cubicBezTo>
                  <a:pt x="622" y="2088"/>
                  <a:pt x="377" y="2088"/>
                  <a:pt x="228" y="1940"/>
                </a:cubicBezTo>
                <a:cubicBezTo>
                  <a:pt x="148" y="1860"/>
                  <a:pt x="148" y="1860"/>
                  <a:pt x="148" y="1860"/>
                </a:cubicBezTo>
                <a:cubicBezTo>
                  <a:pt x="0" y="1711"/>
                  <a:pt x="0" y="1466"/>
                  <a:pt x="148" y="1318"/>
                </a:cubicBezTo>
                <a:cubicBezTo>
                  <a:pt x="342" y="1124"/>
                  <a:pt x="342" y="1124"/>
                  <a:pt x="342" y="1124"/>
                </a:cubicBezTo>
                <a:cubicBezTo>
                  <a:pt x="473" y="993"/>
                  <a:pt x="684" y="976"/>
                  <a:pt x="835" y="1083"/>
                </a:cubicBezTo>
                <a:cubicBezTo>
                  <a:pt x="719" y="1199"/>
                  <a:pt x="719" y="1199"/>
                  <a:pt x="719" y="1199"/>
                </a:cubicBezTo>
                <a:cubicBezTo>
                  <a:pt x="633" y="1152"/>
                  <a:pt x="524" y="1168"/>
                  <a:pt x="454" y="1238"/>
                </a:cubicBezTo>
                <a:cubicBezTo>
                  <a:pt x="262" y="1430"/>
                  <a:pt x="262" y="1430"/>
                  <a:pt x="262" y="1430"/>
                </a:cubicBezTo>
                <a:cubicBezTo>
                  <a:pt x="175" y="1517"/>
                  <a:pt x="175" y="1660"/>
                  <a:pt x="262" y="1746"/>
                </a:cubicBezTo>
                <a:cubicBezTo>
                  <a:pt x="342" y="1826"/>
                  <a:pt x="342" y="1826"/>
                  <a:pt x="342" y="1826"/>
                </a:cubicBezTo>
                <a:cubicBezTo>
                  <a:pt x="428" y="1913"/>
                  <a:pt x="571" y="1913"/>
                  <a:pt x="658" y="1826"/>
                </a:cubicBezTo>
                <a:cubicBezTo>
                  <a:pt x="850" y="1634"/>
                  <a:pt x="850" y="1634"/>
                  <a:pt x="850" y="1634"/>
                </a:cubicBezTo>
                <a:cubicBezTo>
                  <a:pt x="920" y="1564"/>
                  <a:pt x="936" y="1455"/>
                  <a:pt x="889" y="1369"/>
                </a:cubicBezTo>
                <a:lnTo>
                  <a:pt x="1005" y="1253"/>
                </a:lnTo>
                <a:close/>
                <a:moveTo>
                  <a:pt x="1568" y="1080"/>
                </a:moveTo>
                <a:cubicBezTo>
                  <a:pt x="1808" y="1080"/>
                  <a:pt x="1808" y="1080"/>
                  <a:pt x="1808" y="1080"/>
                </a:cubicBezTo>
                <a:cubicBezTo>
                  <a:pt x="1808" y="1160"/>
                  <a:pt x="1808" y="1160"/>
                  <a:pt x="1808" y="1160"/>
                </a:cubicBezTo>
                <a:cubicBezTo>
                  <a:pt x="1568" y="1160"/>
                  <a:pt x="1568" y="1160"/>
                  <a:pt x="1568" y="1160"/>
                </a:cubicBezTo>
                <a:lnTo>
                  <a:pt x="1568" y="1080"/>
                </a:lnTo>
                <a:close/>
                <a:moveTo>
                  <a:pt x="1491" y="1346"/>
                </a:moveTo>
                <a:cubicBezTo>
                  <a:pt x="1660" y="1516"/>
                  <a:pt x="1660" y="1516"/>
                  <a:pt x="1660" y="1516"/>
                </a:cubicBezTo>
                <a:cubicBezTo>
                  <a:pt x="1604" y="1572"/>
                  <a:pt x="1604" y="1572"/>
                  <a:pt x="1604" y="1572"/>
                </a:cubicBezTo>
                <a:cubicBezTo>
                  <a:pt x="1434" y="1403"/>
                  <a:pt x="1434" y="1403"/>
                  <a:pt x="1434" y="1403"/>
                </a:cubicBezTo>
                <a:lnTo>
                  <a:pt x="1491" y="1346"/>
                </a:lnTo>
                <a:close/>
                <a:moveTo>
                  <a:pt x="1248" y="1480"/>
                </a:moveTo>
                <a:cubicBezTo>
                  <a:pt x="1248" y="1720"/>
                  <a:pt x="1248" y="1720"/>
                  <a:pt x="1248" y="1720"/>
                </a:cubicBezTo>
                <a:cubicBezTo>
                  <a:pt x="1168" y="1720"/>
                  <a:pt x="1168" y="1720"/>
                  <a:pt x="1168" y="1720"/>
                </a:cubicBezTo>
                <a:cubicBezTo>
                  <a:pt x="1168" y="1480"/>
                  <a:pt x="1168" y="1480"/>
                  <a:pt x="1168" y="1480"/>
                </a:cubicBezTo>
                <a:lnTo>
                  <a:pt x="1248" y="1480"/>
                </a:lnTo>
                <a:close/>
                <a:moveTo>
                  <a:pt x="1248" y="720"/>
                </a:moveTo>
                <a:cubicBezTo>
                  <a:pt x="1248" y="676"/>
                  <a:pt x="1284" y="640"/>
                  <a:pt x="1328" y="640"/>
                </a:cubicBezTo>
                <a:cubicBezTo>
                  <a:pt x="1372" y="640"/>
                  <a:pt x="1408" y="676"/>
                  <a:pt x="1408" y="720"/>
                </a:cubicBezTo>
                <a:cubicBezTo>
                  <a:pt x="1408" y="1040"/>
                  <a:pt x="1408" y="1040"/>
                  <a:pt x="1408" y="1040"/>
                </a:cubicBezTo>
                <a:cubicBezTo>
                  <a:pt x="1248" y="1040"/>
                  <a:pt x="1248" y="1040"/>
                  <a:pt x="1248" y="1040"/>
                </a:cubicBezTo>
                <a:lnTo>
                  <a:pt x="1248" y="720"/>
                </a:lnTo>
                <a:close/>
                <a:moveTo>
                  <a:pt x="1272" y="0"/>
                </a:moveTo>
                <a:cubicBezTo>
                  <a:pt x="1384" y="0"/>
                  <a:pt x="1384" y="0"/>
                  <a:pt x="1384" y="0"/>
                </a:cubicBezTo>
                <a:cubicBezTo>
                  <a:pt x="1596" y="0"/>
                  <a:pt x="1768" y="172"/>
                  <a:pt x="1768" y="384"/>
                </a:cubicBezTo>
                <a:cubicBezTo>
                  <a:pt x="1768" y="656"/>
                  <a:pt x="1768" y="656"/>
                  <a:pt x="1768" y="656"/>
                </a:cubicBezTo>
                <a:cubicBezTo>
                  <a:pt x="1768" y="828"/>
                  <a:pt x="1652" y="980"/>
                  <a:pt x="1488" y="1026"/>
                </a:cubicBezTo>
                <a:cubicBezTo>
                  <a:pt x="1488" y="854"/>
                  <a:pt x="1488" y="854"/>
                  <a:pt x="1488" y="854"/>
                </a:cubicBezTo>
                <a:cubicBezTo>
                  <a:pt x="1561" y="816"/>
                  <a:pt x="1608" y="740"/>
                  <a:pt x="1608" y="656"/>
                </a:cubicBezTo>
                <a:cubicBezTo>
                  <a:pt x="1608" y="384"/>
                  <a:pt x="1608" y="384"/>
                  <a:pt x="1608" y="384"/>
                </a:cubicBezTo>
                <a:cubicBezTo>
                  <a:pt x="1608" y="261"/>
                  <a:pt x="1507" y="160"/>
                  <a:pt x="1384" y="160"/>
                </a:cubicBezTo>
                <a:cubicBezTo>
                  <a:pt x="1272" y="160"/>
                  <a:pt x="1272" y="160"/>
                  <a:pt x="1272" y="160"/>
                </a:cubicBezTo>
                <a:cubicBezTo>
                  <a:pt x="1149" y="160"/>
                  <a:pt x="1048" y="261"/>
                  <a:pt x="1048" y="384"/>
                </a:cubicBezTo>
                <a:cubicBezTo>
                  <a:pt x="1048" y="656"/>
                  <a:pt x="1048" y="656"/>
                  <a:pt x="1048" y="656"/>
                </a:cubicBezTo>
                <a:cubicBezTo>
                  <a:pt x="1048" y="740"/>
                  <a:pt x="1095" y="816"/>
                  <a:pt x="1168" y="854"/>
                </a:cubicBezTo>
                <a:cubicBezTo>
                  <a:pt x="1168" y="1026"/>
                  <a:pt x="1168" y="1026"/>
                  <a:pt x="1168" y="1026"/>
                </a:cubicBezTo>
                <a:cubicBezTo>
                  <a:pt x="1004" y="980"/>
                  <a:pt x="888" y="828"/>
                  <a:pt x="888" y="656"/>
                </a:cubicBezTo>
                <a:cubicBezTo>
                  <a:pt x="888" y="384"/>
                  <a:pt x="888" y="384"/>
                  <a:pt x="888" y="384"/>
                </a:cubicBezTo>
                <a:cubicBezTo>
                  <a:pt x="888" y="172"/>
                  <a:pt x="1060" y="0"/>
                  <a:pt x="1272" y="0"/>
                </a:cubicBezTo>
                <a:close/>
                <a:moveTo>
                  <a:pt x="744" y="1456"/>
                </a:moveTo>
                <a:cubicBezTo>
                  <a:pt x="713" y="1488"/>
                  <a:pt x="663" y="1488"/>
                  <a:pt x="632" y="1456"/>
                </a:cubicBezTo>
                <a:cubicBezTo>
                  <a:pt x="600" y="1425"/>
                  <a:pt x="600" y="1375"/>
                  <a:pt x="632" y="1344"/>
                </a:cubicBezTo>
                <a:cubicBezTo>
                  <a:pt x="892" y="1084"/>
                  <a:pt x="892" y="1084"/>
                  <a:pt x="892" y="1084"/>
                </a:cubicBezTo>
                <a:cubicBezTo>
                  <a:pt x="1004" y="1196"/>
                  <a:pt x="1004" y="1196"/>
                  <a:pt x="1004" y="1196"/>
                </a:cubicBezTo>
                <a:lnTo>
                  <a:pt x="744" y="1456"/>
                </a:lnTo>
                <a:close/>
              </a:path>
            </a:pathLst>
          </a:custGeom>
          <a:solidFill>
            <a:srgbClr val="8D8EA8"/>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nvGrpSpPr>
          <p:cNvPr id="5" name="Group 4">
            <a:extLst>
              <a:ext uri="{FF2B5EF4-FFF2-40B4-BE49-F238E27FC236}">
                <a16:creationId xmlns:a16="http://schemas.microsoft.com/office/drawing/2014/main" id="{E86B331D-9D1A-9A44-A189-D3BACD367ED0}"/>
              </a:ext>
            </a:extLst>
          </p:cNvPr>
          <p:cNvGrpSpPr/>
          <p:nvPr/>
        </p:nvGrpSpPr>
        <p:grpSpPr>
          <a:xfrm>
            <a:off x="3815235" y="5414771"/>
            <a:ext cx="360000" cy="360001"/>
            <a:chOff x="4792278" y="4617079"/>
            <a:chExt cx="305333" cy="278568"/>
          </a:xfrm>
          <a:solidFill>
            <a:srgbClr val="8D8EA8"/>
          </a:solidFill>
        </p:grpSpPr>
        <p:sp>
          <p:nvSpPr>
            <p:cNvPr id="88" name="Freeform 11">
              <a:extLst>
                <a:ext uri="{FF2B5EF4-FFF2-40B4-BE49-F238E27FC236}">
                  <a16:creationId xmlns:a16="http://schemas.microsoft.com/office/drawing/2014/main" id="{5D0CC607-A9BA-4241-98B7-CBABF33F792A}"/>
                </a:ext>
              </a:extLst>
            </p:cNvPr>
            <p:cNvSpPr>
              <a:spLocks/>
            </p:cNvSpPr>
            <p:nvPr/>
          </p:nvSpPr>
          <p:spPr bwMode="auto">
            <a:xfrm>
              <a:off x="4793437" y="4617079"/>
              <a:ext cx="275262" cy="275593"/>
            </a:xfrm>
            <a:custGeom>
              <a:avLst/>
              <a:gdLst>
                <a:gd name="T0" fmla="*/ 763 w 1925"/>
                <a:gd name="T1" fmla="*/ 1046 h 1927"/>
                <a:gd name="T2" fmla="*/ 508 w 1925"/>
                <a:gd name="T3" fmla="*/ 1047 h 1927"/>
                <a:gd name="T4" fmla="*/ 317 w 1925"/>
                <a:gd name="T5" fmla="*/ 1019 h 1927"/>
                <a:gd name="T6" fmla="*/ 45 w 1925"/>
                <a:gd name="T7" fmla="*/ 737 h 1927"/>
                <a:gd name="T8" fmla="*/ 0 w 1925"/>
                <a:gd name="T9" fmla="*/ 512 h 1927"/>
                <a:gd name="T10" fmla="*/ 120 w 1925"/>
                <a:gd name="T11" fmla="*/ 447 h 1927"/>
                <a:gd name="T12" fmla="*/ 370 w 1925"/>
                <a:gd name="T13" fmla="*/ 697 h 1927"/>
                <a:gd name="T14" fmla="*/ 623 w 1925"/>
                <a:gd name="T15" fmla="*/ 621 h 1927"/>
                <a:gd name="T16" fmla="*/ 713 w 1925"/>
                <a:gd name="T17" fmla="*/ 351 h 1927"/>
                <a:gd name="T18" fmla="*/ 468 w 1925"/>
                <a:gd name="T19" fmla="*/ 104 h 1927"/>
                <a:gd name="T20" fmla="*/ 566 w 1925"/>
                <a:gd name="T21" fmla="*/ 0 h 1927"/>
                <a:gd name="T22" fmla="*/ 762 w 1925"/>
                <a:gd name="T23" fmla="*/ 55 h 1927"/>
                <a:gd name="T24" fmla="*/ 1022 w 1925"/>
                <a:gd name="T25" fmla="*/ 320 h 1927"/>
                <a:gd name="T26" fmla="*/ 1051 w 1925"/>
                <a:gd name="T27" fmla="*/ 514 h 1927"/>
                <a:gd name="T28" fmla="*/ 1083 w 1925"/>
                <a:gd name="T29" fmla="*/ 776 h 1927"/>
                <a:gd name="T30" fmla="*/ 1852 w 1925"/>
                <a:gd name="T31" fmla="*/ 1542 h 1927"/>
                <a:gd name="T32" fmla="*/ 1782 w 1925"/>
                <a:gd name="T33" fmla="*/ 1790 h 1927"/>
                <a:gd name="T34" fmla="*/ 1539 w 1925"/>
                <a:gd name="T35" fmla="*/ 1854 h 1927"/>
                <a:gd name="T36" fmla="*/ 763 w 1925"/>
                <a:gd name="T37" fmla="*/ 1046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5" h="1927">
                  <a:moveTo>
                    <a:pt x="763" y="1046"/>
                  </a:moveTo>
                  <a:cubicBezTo>
                    <a:pt x="740" y="1019"/>
                    <a:pt x="554" y="1044"/>
                    <a:pt x="508" y="1047"/>
                  </a:cubicBezTo>
                  <a:cubicBezTo>
                    <a:pt x="438" y="1053"/>
                    <a:pt x="375" y="1043"/>
                    <a:pt x="317" y="1019"/>
                  </a:cubicBezTo>
                  <a:cubicBezTo>
                    <a:pt x="196" y="969"/>
                    <a:pt x="96" y="856"/>
                    <a:pt x="45" y="737"/>
                  </a:cubicBezTo>
                  <a:cubicBezTo>
                    <a:pt x="12" y="660"/>
                    <a:pt x="1" y="594"/>
                    <a:pt x="0" y="512"/>
                  </a:cubicBezTo>
                  <a:cubicBezTo>
                    <a:pt x="40" y="490"/>
                    <a:pt x="80" y="468"/>
                    <a:pt x="120" y="447"/>
                  </a:cubicBezTo>
                  <a:cubicBezTo>
                    <a:pt x="370" y="697"/>
                    <a:pt x="370" y="697"/>
                    <a:pt x="370" y="697"/>
                  </a:cubicBezTo>
                  <a:cubicBezTo>
                    <a:pt x="623" y="621"/>
                    <a:pt x="623" y="621"/>
                    <a:pt x="623" y="621"/>
                  </a:cubicBezTo>
                  <a:cubicBezTo>
                    <a:pt x="713" y="351"/>
                    <a:pt x="713" y="351"/>
                    <a:pt x="713" y="351"/>
                  </a:cubicBezTo>
                  <a:cubicBezTo>
                    <a:pt x="468" y="104"/>
                    <a:pt x="468" y="104"/>
                    <a:pt x="468" y="104"/>
                  </a:cubicBezTo>
                  <a:cubicBezTo>
                    <a:pt x="566" y="0"/>
                    <a:pt x="566" y="0"/>
                    <a:pt x="566" y="0"/>
                  </a:cubicBezTo>
                  <a:cubicBezTo>
                    <a:pt x="638" y="9"/>
                    <a:pt x="696" y="23"/>
                    <a:pt x="762" y="55"/>
                  </a:cubicBezTo>
                  <a:cubicBezTo>
                    <a:pt x="872" y="108"/>
                    <a:pt x="975" y="206"/>
                    <a:pt x="1022" y="320"/>
                  </a:cubicBezTo>
                  <a:cubicBezTo>
                    <a:pt x="1047" y="378"/>
                    <a:pt x="1057" y="442"/>
                    <a:pt x="1051" y="514"/>
                  </a:cubicBezTo>
                  <a:cubicBezTo>
                    <a:pt x="1046" y="579"/>
                    <a:pt x="1056" y="717"/>
                    <a:pt x="1083" y="776"/>
                  </a:cubicBezTo>
                  <a:cubicBezTo>
                    <a:pt x="1852" y="1542"/>
                    <a:pt x="1852" y="1542"/>
                    <a:pt x="1852" y="1542"/>
                  </a:cubicBezTo>
                  <a:cubicBezTo>
                    <a:pt x="1925" y="1614"/>
                    <a:pt x="1840" y="1733"/>
                    <a:pt x="1782" y="1790"/>
                  </a:cubicBezTo>
                  <a:cubicBezTo>
                    <a:pt x="1726" y="1845"/>
                    <a:pt x="1609" y="1927"/>
                    <a:pt x="1539" y="1854"/>
                  </a:cubicBezTo>
                  <a:lnTo>
                    <a:pt x="763" y="1046"/>
                  </a:ln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89" name="Freeform 10">
              <a:extLst>
                <a:ext uri="{FF2B5EF4-FFF2-40B4-BE49-F238E27FC236}">
                  <a16:creationId xmlns:a16="http://schemas.microsoft.com/office/drawing/2014/main" id="{D4F77094-1DA3-934E-8A98-27ADA92D9646}"/>
                </a:ext>
              </a:extLst>
            </p:cNvPr>
            <p:cNvSpPr>
              <a:spLocks noEditPoints="1"/>
            </p:cNvSpPr>
            <p:nvPr/>
          </p:nvSpPr>
          <p:spPr bwMode="auto">
            <a:xfrm>
              <a:off x="4792278" y="4617245"/>
              <a:ext cx="305333" cy="278402"/>
            </a:xfrm>
            <a:custGeom>
              <a:avLst/>
              <a:gdLst>
                <a:gd name="T0" fmla="*/ 943 w 2135"/>
                <a:gd name="T1" fmla="*/ 1339 h 1946"/>
                <a:gd name="T2" fmla="*/ 405 w 2135"/>
                <a:gd name="T3" fmla="*/ 1870 h 1946"/>
                <a:gd name="T4" fmla="*/ 142 w 2135"/>
                <a:gd name="T5" fmla="*/ 1793 h 1946"/>
                <a:gd name="T6" fmla="*/ 76 w 2135"/>
                <a:gd name="T7" fmla="*/ 1540 h 1946"/>
                <a:gd name="T8" fmla="*/ 512 w 2135"/>
                <a:gd name="T9" fmla="*/ 1127 h 1946"/>
                <a:gd name="T10" fmla="*/ 553 w 2135"/>
                <a:gd name="T11" fmla="*/ 1123 h 1946"/>
                <a:gd name="T12" fmla="*/ 710 w 2135"/>
                <a:gd name="T13" fmla="*/ 1097 h 1946"/>
                <a:gd name="T14" fmla="*/ 943 w 2135"/>
                <a:gd name="T15" fmla="*/ 1339 h 1946"/>
                <a:gd name="T16" fmla="*/ 1140 w 2135"/>
                <a:gd name="T17" fmla="*/ 608 h 1946"/>
                <a:gd name="T18" fmla="*/ 1271 w 2135"/>
                <a:gd name="T19" fmla="*/ 477 h 1946"/>
                <a:gd name="T20" fmla="*/ 1278 w 2135"/>
                <a:gd name="T21" fmla="*/ 321 h 1946"/>
                <a:gd name="T22" fmla="*/ 1182 w 2135"/>
                <a:gd name="T23" fmla="*/ 230 h 1946"/>
                <a:gd name="T24" fmla="*/ 1052 w 2135"/>
                <a:gd name="T25" fmla="*/ 163 h 1946"/>
                <a:gd name="T26" fmla="*/ 1045 w 2135"/>
                <a:gd name="T27" fmla="*/ 54 h 1946"/>
                <a:gd name="T28" fmla="*/ 1283 w 2135"/>
                <a:gd name="T29" fmla="*/ 11 h 1946"/>
                <a:gd name="T30" fmla="*/ 1411 w 2135"/>
                <a:gd name="T31" fmla="*/ 49 h 1946"/>
                <a:gd name="T32" fmla="*/ 1518 w 2135"/>
                <a:gd name="T33" fmla="*/ 125 h 1946"/>
                <a:gd name="T34" fmla="*/ 1595 w 2135"/>
                <a:gd name="T35" fmla="*/ 151 h 1946"/>
                <a:gd name="T36" fmla="*/ 1678 w 2135"/>
                <a:gd name="T37" fmla="*/ 178 h 1946"/>
                <a:gd name="T38" fmla="*/ 1785 w 2135"/>
                <a:gd name="T39" fmla="*/ 285 h 1946"/>
                <a:gd name="T40" fmla="*/ 1812 w 2135"/>
                <a:gd name="T41" fmla="*/ 368 h 1946"/>
                <a:gd name="T42" fmla="*/ 1838 w 2135"/>
                <a:gd name="T43" fmla="*/ 445 h 1946"/>
                <a:gd name="T44" fmla="*/ 1948 w 2135"/>
                <a:gd name="T45" fmla="*/ 448 h 1946"/>
                <a:gd name="T46" fmla="*/ 2106 w 2135"/>
                <a:gd name="T47" fmla="*/ 606 h 1946"/>
                <a:gd name="T48" fmla="*/ 2106 w 2135"/>
                <a:gd name="T49" fmla="*/ 714 h 1946"/>
                <a:gd name="T50" fmla="*/ 1892 w 2135"/>
                <a:gd name="T51" fmla="*/ 928 h 1946"/>
                <a:gd name="T52" fmla="*/ 1784 w 2135"/>
                <a:gd name="T53" fmla="*/ 928 h 1946"/>
                <a:gd name="T54" fmla="*/ 1626 w 2135"/>
                <a:gd name="T55" fmla="*/ 770 h 1946"/>
                <a:gd name="T56" fmla="*/ 1644 w 2135"/>
                <a:gd name="T57" fmla="*/ 700 h 1946"/>
                <a:gd name="T58" fmla="*/ 1570 w 2135"/>
                <a:gd name="T59" fmla="*/ 635 h 1946"/>
                <a:gd name="T60" fmla="*/ 1478 w 2135"/>
                <a:gd name="T61" fmla="*/ 700 h 1946"/>
                <a:gd name="T62" fmla="*/ 1304 w 2135"/>
                <a:gd name="T63" fmla="*/ 875 h 1946"/>
                <a:gd name="T64" fmla="*/ 1159 w 2135"/>
                <a:gd name="T65" fmla="*/ 731 h 1946"/>
                <a:gd name="T66" fmla="*/ 1140 w 2135"/>
                <a:gd name="T67" fmla="*/ 608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5" h="1946">
                  <a:moveTo>
                    <a:pt x="943" y="1339"/>
                  </a:moveTo>
                  <a:cubicBezTo>
                    <a:pt x="405" y="1870"/>
                    <a:pt x="405" y="1870"/>
                    <a:pt x="405" y="1870"/>
                  </a:cubicBezTo>
                  <a:cubicBezTo>
                    <a:pt x="329" y="1946"/>
                    <a:pt x="201" y="1853"/>
                    <a:pt x="142" y="1793"/>
                  </a:cubicBezTo>
                  <a:cubicBezTo>
                    <a:pt x="85" y="1734"/>
                    <a:pt x="0" y="1612"/>
                    <a:pt x="76" y="1540"/>
                  </a:cubicBezTo>
                  <a:cubicBezTo>
                    <a:pt x="512" y="1127"/>
                    <a:pt x="512" y="1127"/>
                    <a:pt x="512" y="1127"/>
                  </a:cubicBezTo>
                  <a:cubicBezTo>
                    <a:pt x="526" y="1126"/>
                    <a:pt x="540" y="1124"/>
                    <a:pt x="553" y="1123"/>
                  </a:cubicBezTo>
                  <a:cubicBezTo>
                    <a:pt x="608" y="1117"/>
                    <a:pt x="702" y="1088"/>
                    <a:pt x="710" y="1097"/>
                  </a:cubicBezTo>
                  <a:lnTo>
                    <a:pt x="943" y="1339"/>
                  </a:lnTo>
                  <a:close/>
                  <a:moveTo>
                    <a:pt x="1140" y="608"/>
                  </a:moveTo>
                  <a:cubicBezTo>
                    <a:pt x="1271" y="477"/>
                    <a:pt x="1271" y="477"/>
                    <a:pt x="1271" y="477"/>
                  </a:cubicBezTo>
                  <a:cubicBezTo>
                    <a:pt x="1319" y="429"/>
                    <a:pt x="1315" y="374"/>
                    <a:pt x="1278" y="321"/>
                  </a:cubicBezTo>
                  <a:cubicBezTo>
                    <a:pt x="1253" y="285"/>
                    <a:pt x="1216" y="254"/>
                    <a:pt x="1182" y="230"/>
                  </a:cubicBezTo>
                  <a:cubicBezTo>
                    <a:pt x="1143" y="203"/>
                    <a:pt x="1097" y="178"/>
                    <a:pt x="1052" y="163"/>
                  </a:cubicBezTo>
                  <a:cubicBezTo>
                    <a:pt x="1003" y="145"/>
                    <a:pt x="998" y="78"/>
                    <a:pt x="1045" y="54"/>
                  </a:cubicBezTo>
                  <a:cubicBezTo>
                    <a:pt x="1118" y="16"/>
                    <a:pt x="1201" y="0"/>
                    <a:pt x="1283" y="11"/>
                  </a:cubicBezTo>
                  <a:cubicBezTo>
                    <a:pt x="1327" y="16"/>
                    <a:pt x="1371" y="29"/>
                    <a:pt x="1411" y="49"/>
                  </a:cubicBezTo>
                  <a:cubicBezTo>
                    <a:pt x="1450" y="68"/>
                    <a:pt x="1487" y="93"/>
                    <a:pt x="1518" y="125"/>
                  </a:cubicBezTo>
                  <a:cubicBezTo>
                    <a:pt x="1540" y="148"/>
                    <a:pt x="1570" y="149"/>
                    <a:pt x="1595" y="151"/>
                  </a:cubicBezTo>
                  <a:cubicBezTo>
                    <a:pt x="1627" y="153"/>
                    <a:pt x="1654" y="154"/>
                    <a:pt x="1678" y="178"/>
                  </a:cubicBezTo>
                  <a:cubicBezTo>
                    <a:pt x="1785" y="285"/>
                    <a:pt x="1785" y="285"/>
                    <a:pt x="1785" y="285"/>
                  </a:cubicBezTo>
                  <a:cubicBezTo>
                    <a:pt x="1809" y="309"/>
                    <a:pt x="1810" y="336"/>
                    <a:pt x="1812" y="368"/>
                  </a:cubicBezTo>
                  <a:cubicBezTo>
                    <a:pt x="1814" y="393"/>
                    <a:pt x="1816" y="423"/>
                    <a:pt x="1838" y="445"/>
                  </a:cubicBezTo>
                  <a:cubicBezTo>
                    <a:pt x="1874" y="481"/>
                    <a:pt x="1910" y="467"/>
                    <a:pt x="1948" y="448"/>
                  </a:cubicBezTo>
                  <a:cubicBezTo>
                    <a:pt x="2106" y="606"/>
                    <a:pt x="2106" y="606"/>
                    <a:pt x="2106" y="606"/>
                  </a:cubicBezTo>
                  <a:cubicBezTo>
                    <a:pt x="2135" y="635"/>
                    <a:pt x="2135" y="684"/>
                    <a:pt x="2106" y="714"/>
                  </a:cubicBezTo>
                  <a:cubicBezTo>
                    <a:pt x="1892" y="928"/>
                    <a:pt x="1892" y="928"/>
                    <a:pt x="1892" y="928"/>
                  </a:cubicBezTo>
                  <a:cubicBezTo>
                    <a:pt x="1862" y="957"/>
                    <a:pt x="1814" y="957"/>
                    <a:pt x="1784" y="928"/>
                  </a:cubicBezTo>
                  <a:cubicBezTo>
                    <a:pt x="1626" y="770"/>
                    <a:pt x="1626" y="770"/>
                    <a:pt x="1626" y="770"/>
                  </a:cubicBezTo>
                  <a:cubicBezTo>
                    <a:pt x="1638" y="746"/>
                    <a:pt x="1649" y="729"/>
                    <a:pt x="1644" y="700"/>
                  </a:cubicBezTo>
                  <a:cubicBezTo>
                    <a:pt x="1638" y="668"/>
                    <a:pt x="1604" y="633"/>
                    <a:pt x="1570" y="635"/>
                  </a:cubicBezTo>
                  <a:cubicBezTo>
                    <a:pt x="1538" y="637"/>
                    <a:pt x="1506" y="671"/>
                    <a:pt x="1478" y="700"/>
                  </a:cubicBezTo>
                  <a:cubicBezTo>
                    <a:pt x="1304" y="875"/>
                    <a:pt x="1304" y="875"/>
                    <a:pt x="1304" y="875"/>
                  </a:cubicBezTo>
                  <a:cubicBezTo>
                    <a:pt x="1159" y="731"/>
                    <a:pt x="1159" y="731"/>
                    <a:pt x="1159" y="731"/>
                  </a:cubicBezTo>
                  <a:cubicBezTo>
                    <a:pt x="1148" y="695"/>
                    <a:pt x="1142" y="646"/>
                    <a:pt x="1140" y="6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grpSp>
        <p:nvGrpSpPr>
          <p:cNvPr id="90" name="Group 89">
            <a:extLst>
              <a:ext uri="{FF2B5EF4-FFF2-40B4-BE49-F238E27FC236}">
                <a16:creationId xmlns:a16="http://schemas.microsoft.com/office/drawing/2014/main" id="{EA565499-D95A-734F-A576-43ACFCBEBE5F}"/>
              </a:ext>
            </a:extLst>
          </p:cNvPr>
          <p:cNvGrpSpPr>
            <a:grpSpLocks noChangeAspect="1"/>
          </p:cNvGrpSpPr>
          <p:nvPr/>
        </p:nvGrpSpPr>
        <p:grpSpPr>
          <a:xfrm>
            <a:off x="3241575" y="5409856"/>
            <a:ext cx="396000" cy="304616"/>
            <a:chOff x="7011992" y="3888690"/>
            <a:chExt cx="230860" cy="165670"/>
          </a:xfrm>
          <a:solidFill>
            <a:srgbClr val="8D8EA8"/>
          </a:solidFill>
        </p:grpSpPr>
        <p:sp>
          <p:nvSpPr>
            <p:cNvPr id="91" name="Rectangle 9">
              <a:extLst>
                <a:ext uri="{FF2B5EF4-FFF2-40B4-BE49-F238E27FC236}">
                  <a16:creationId xmlns:a16="http://schemas.microsoft.com/office/drawing/2014/main" id="{C19E68C6-D293-F243-9348-955E6D3B5E3D}"/>
                </a:ext>
              </a:extLst>
            </p:cNvPr>
            <p:cNvSpPr>
              <a:spLocks noChangeArrowheads="1"/>
            </p:cNvSpPr>
            <p:nvPr/>
          </p:nvSpPr>
          <p:spPr bwMode="auto">
            <a:xfrm>
              <a:off x="7055493" y="3888690"/>
              <a:ext cx="182948" cy="8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92" name="Freeform 10">
              <a:extLst>
                <a:ext uri="{FF2B5EF4-FFF2-40B4-BE49-F238E27FC236}">
                  <a16:creationId xmlns:a16="http://schemas.microsoft.com/office/drawing/2014/main" id="{0E8AB37D-22D8-7849-B8A7-272CD3BC3BC8}"/>
                </a:ext>
              </a:extLst>
            </p:cNvPr>
            <p:cNvSpPr>
              <a:spLocks/>
            </p:cNvSpPr>
            <p:nvPr/>
          </p:nvSpPr>
          <p:spPr bwMode="auto">
            <a:xfrm>
              <a:off x="7173128" y="3906090"/>
              <a:ext cx="69724" cy="148270"/>
            </a:xfrm>
            <a:custGeom>
              <a:avLst/>
              <a:gdLst>
                <a:gd name="T0" fmla="*/ 360 w 640"/>
                <a:gd name="T1" fmla="*/ 722 h 1360"/>
                <a:gd name="T2" fmla="*/ 640 w 640"/>
                <a:gd name="T3" fmla="*/ 1040 h 1360"/>
                <a:gd name="T4" fmla="*/ 320 w 640"/>
                <a:gd name="T5" fmla="*/ 1360 h 1360"/>
                <a:gd name="T6" fmla="*/ 0 w 640"/>
                <a:gd name="T7" fmla="*/ 1040 h 1360"/>
                <a:gd name="T8" fmla="*/ 280 w 640"/>
                <a:gd name="T9" fmla="*/ 722 h 1360"/>
                <a:gd name="T10" fmla="*/ 280 w 640"/>
                <a:gd name="T11" fmla="*/ 0 h 1360"/>
                <a:gd name="T12" fmla="*/ 360 w 640"/>
                <a:gd name="T13" fmla="*/ 0 h 1360"/>
                <a:gd name="T14" fmla="*/ 360 w 640"/>
                <a:gd name="T15" fmla="*/ 722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0" h="1360">
                  <a:moveTo>
                    <a:pt x="360" y="722"/>
                  </a:moveTo>
                  <a:cubicBezTo>
                    <a:pt x="520" y="742"/>
                    <a:pt x="640" y="879"/>
                    <a:pt x="640" y="1040"/>
                  </a:cubicBezTo>
                  <a:cubicBezTo>
                    <a:pt x="640" y="1217"/>
                    <a:pt x="497" y="1360"/>
                    <a:pt x="320" y="1360"/>
                  </a:cubicBezTo>
                  <a:cubicBezTo>
                    <a:pt x="143" y="1360"/>
                    <a:pt x="0" y="1217"/>
                    <a:pt x="0" y="1040"/>
                  </a:cubicBezTo>
                  <a:cubicBezTo>
                    <a:pt x="0" y="879"/>
                    <a:pt x="120" y="742"/>
                    <a:pt x="280" y="722"/>
                  </a:cubicBezTo>
                  <a:cubicBezTo>
                    <a:pt x="280" y="0"/>
                    <a:pt x="280" y="0"/>
                    <a:pt x="280" y="0"/>
                  </a:cubicBezTo>
                  <a:cubicBezTo>
                    <a:pt x="360" y="0"/>
                    <a:pt x="360" y="0"/>
                    <a:pt x="360" y="0"/>
                  </a:cubicBezTo>
                  <a:lnTo>
                    <a:pt x="360"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93" name="Freeform 11">
              <a:extLst>
                <a:ext uri="{FF2B5EF4-FFF2-40B4-BE49-F238E27FC236}">
                  <a16:creationId xmlns:a16="http://schemas.microsoft.com/office/drawing/2014/main" id="{908AE124-0DF7-5544-8C56-BBC441521AB5}"/>
                </a:ext>
              </a:extLst>
            </p:cNvPr>
            <p:cNvSpPr>
              <a:spLocks/>
            </p:cNvSpPr>
            <p:nvPr/>
          </p:nvSpPr>
          <p:spPr bwMode="auto">
            <a:xfrm>
              <a:off x="7112105" y="3906090"/>
              <a:ext cx="69724" cy="148270"/>
            </a:xfrm>
            <a:custGeom>
              <a:avLst/>
              <a:gdLst>
                <a:gd name="T0" fmla="*/ 360 w 640"/>
                <a:gd name="T1" fmla="*/ 722 h 1360"/>
                <a:gd name="T2" fmla="*/ 640 w 640"/>
                <a:gd name="T3" fmla="*/ 1040 h 1360"/>
                <a:gd name="T4" fmla="*/ 320 w 640"/>
                <a:gd name="T5" fmla="*/ 1360 h 1360"/>
                <a:gd name="T6" fmla="*/ 0 w 640"/>
                <a:gd name="T7" fmla="*/ 1040 h 1360"/>
                <a:gd name="T8" fmla="*/ 280 w 640"/>
                <a:gd name="T9" fmla="*/ 722 h 1360"/>
                <a:gd name="T10" fmla="*/ 280 w 640"/>
                <a:gd name="T11" fmla="*/ 0 h 1360"/>
                <a:gd name="T12" fmla="*/ 360 w 640"/>
                <a:gd name="T13" fmla="*/ 0 h 1360"/>
                <a:gd name="T14" fmla="*/ 360 w 640"/>
                <a:gd name="T15" fmla="*/ 722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0" h="1360">
                  <a:moveTo>
                    <a:pt x="360" y="722"/>
                  </a:moveTo>
                  <a:cubicBezTo>
                    <a:pt x="520" y="742"/>
                    <a:pt x="640" y="879"/>
                    <a:pt x="640" y="1040"/>
                  </a:cubicBezTo>
                  <a:cubicBezTo>
                    <a:pt x="640" y="1217"/>
                    <a:pt x="497" y="1360"/>
                    <a:pt x="320" y="1360"/>
                  </a:cubicBezTo>
                  <a:cubicBezTo>
                    <a:pt x="143" y="1360"/>
                    <a:pt x="0" y="1217"/>
                    <a:pt x="0" y="1040"/>
                  </a:cubicBezTo>
                  <a:cubicBezTo>
                    <a:pt x="0" y="879"/>
                    <a:pt x="120" y="742"/>
                    <a:pt x="280" y="722"/>
                  </a:cubicBezTo>
                  <a:cubicBezTo>
                    <a:pt x="280" y="0"/>
                    <a:pt x="280" y="0"/>
                    <a:pt x="280" y="0"/>
                  </a:cubicBezTo>
                  <a:cubicBezTo>
                    <a:pt x="360" y="0"/>
                    <a:pt x="360" y="0"/>
                    <a:pt x="360" y="0"/>
                  </a:cubicBezTo>
                  <a:lnTo>
                    <a:pt x="360"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94" name="Freeform 12">
              <a:extLst>
                <a:ext uri="{FF2B5EF4-FFF2-40B4-BE49-F238E27FC236}">
                  <a16:creationId xmlns:a16="http://schemas.microsoft.com/office/drawing/2014/main" id="{6FE0774D-3338-A344-AAA6-53F4C29842EA}"/>
                </a:ext>
              </a:extLst>
            </p:cNvPr>
            <p:cNvSpPr>
              <a:spLocks/>
            </p:cNvSpPr>
            <p:nvPr/>
          </p:nvSpPr>
          <p:spPr bwMode="auto">
            <a:xfrm>
              <a:off x="7011992" y="3906090"/>
              <a:ext cx="79649" cy="139570"/>
            </a:xfrm>
            <a:custGeom>
              <a:avLst/>
              <a:gdLst>
                <a:gd name="T0" fmla="*/ 320 w 732"/>
                <a:gd name="T1" fmla="*/ 640 h 1280"/>
                <a:gd name="T2" fmla="*/ 397 w 732"/>
                <a:gd name="T3" fmla="*/ 649 h 1280"/>
                <a:gd name="T4" fmla="*/ 646 w 732"/>
                <a:gd name="T5" fmla="*/ 0 h 1280"/>
                <a:gd name="T6" fmla="*/ 732 w 732"/>
                <a:gd name="T7" fmla="*/ 0 h 1280"/>
                <a:gd name="T8" fmla="*/ 471 w 732"/>
                <a:gd name="T9" fmla="*/ 678 h 1280"/>
                <a:gd name="T10" fmla="*/ 640 w 732"/>
                <a:gd name="T11" fmla="*/ 960 h 1280"/>
                <a:gd name="T12" fmla="*/ 320 w 732"/>
                <a:gd name="T13" fmla="*/ 1280 h 1280"/>
                <a:gd name="T14" fmla="*/ 0 w 732"/>
                <a:gd name="T15" fmla="*/ 960 h 1280"/>
                <a:gd name="T16" fmla="*/ 320 w 732"/>
                <a:gd name="T17" fmla="*/ 64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2" h="1280">
                  <a:moveTo>
                    <a:pt x="320" y="640"/>
                  </a:moveTo>
                  <a:cubicBezTo>
                    <a:pt x="346" y="640"/>
                    <a:pt x="372" y="643"/>
                    <a:pt x="397" y="649"/>
                  </a:cubicBezTo>
                  <a:cubicBezTo>
                    <a:pt x="646" y="0"/>
                    <a:pt x="646" y="0"/>
                    <a:pt x="646" y="0"/>
                  </a:cubicBezTo>
                  <a:cubicBezTo>
                    <a:pt x="732" y="0"/>
                    <a:pt x="732" y="0"/>
                    <a:pt x="732" y="0"/>
                  </a:cubicBezTo>
                  <a:cubicBezTo>
                    <a:pt x="471" y="678"/>
                    <a:pt x="471" y="678"/>
                    <a:pt x="471" y="678"/>
                  </a:cubicBezTo>
                  <a:cubicBezTo>
                    <a:pt x="575" y="734"/>
                    <a:pt x="640" y="842"/>
                    <a:pt x="640" y="960"/>
                  </a:cubicBezTo>
                  <a:cubicBezTo>
                    <a:pt x="640" y="1137"/>
                    <a:pt x="497" y="1280"/>
                    <a:pt x="320" y="1280"/>
                  </a:cubicBezTo>
                  <a:cubicBezTo>
                    <a:pt x="143" y="1280"/>
                    <a:pt x="0" y="1137"/>
                    <a:pt x="0" y="960"/>
                  </a:cubicBezTo>
                  <a:cubicBezTo>
                    <a:pt x="0" y="783"/>
                    <a:pt x="143" y="640"/>
                    <a:pt x="320" y="6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grpSp>
        <p:nvGrpSpPr>
          <p:cNvPr id="87" name="Group 86">
            <a:extLst>
              <a:ext uri="{FF2B5EF4-FFF2-40B4-BE49-F238E27FC236}">
                <a16:creationId xmlns:a16="http://schemas.microsoft.com/office/drawing/2014/main" id="{4DAEB373-6850-9F4D-9780-80D5DD75FEA8}"/>
              </a:ext>
            </a:extLst>
          </p:cNvPr>
          <p:cNvGrpSpPr>
            <a:grpSpLocks noChangeAspect="1"/>
          </p:cNvGrpSpPr>
          <p:nvPr/>
        </p:nvGrpSpPr>
        <p:grpSpPr>
          <a:xfrm>
            <a:off x="1817924" y="4822877"/>
            <a:ext cx="360000" cy="359998"/>
            <a:chOff x="4640977" y="1837457"/>
            <a:chExt cx="728445" cy="728443"/>
          </a:xfrm>
          <a:solidFill>
            <a:srgbClr val="8D8EA8"/>
          </a:solidFill>
        </p:grpSpPr>
        <p:sp>
          <p:nvSpPr>
            <p:cNvPr id="95" name="Donut 69">
              <a:extLst>
                <a:ext uri="{FF2B5EF4-FFF2-40B4-BE49-F238E27FC236}">
                  <a16:creationId xmlns:a16="http://schemas.microsoft.com/office/drawing/2014/main" id="{C7F8C28D-54EA-1147-A6EA-8BB1B94C0E3A}"/>
                </a:ext>
              </a:extLst>
            </p:cNvPr>
            <p:cNvSpPr>
              <a:spLocks/>
            </p:cNvSpPr>
            <p:nvPr>
              <p:custDataLst>
                <p:tags r:id="rId3"/>
              </p:custDataLst>
            </p:nvPr>
          </p:nvSpPr>
          <p:spPr>
            <a:xfrm flipV="1">
              <a:off x="4640977" y="1837457"/>
              <a:ext cx="728445" cy="728443"/>
            </a:xfrm>
            <a:prstGeom prst="donut">
              <a:avLst>
                <a:gd name="adj" fmla="val 11756"/>
              </a:avLst>
            </a:prstGeom>
            <a:grpFill/>
            <a:ln w="9525" cap="flat" cmpd="sng" algn="ctr">
              <a:noFill/>
              <a:prstDash val="solid"/>
            </a:ln>
            <a:effectLst/>
          </p:spPr>
          <p:txBody>
            <a:bodyPr lIns="72000" tIns="0" rIns="72000" bIns="0" rtlCol="0" anchor="ctr"/>
            <a:lstStyle/>
            <a:p>
              <a:pPr marL="0" marR="0" lvl="0" indent="0" algn="ctr" defTabSz="914400" eaLnBrk="1" fontAlgn="base" latinLnBrk="0" hangingPunct="1">
                <a:lnSpc>
                  <a:spcPct val="90000"/>
                </a:lnSpc>
                <a:spcBef>
                  <a:spcPts val="3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arrow"/>
                <a:ea typeface="+mn-ea"/>
                <a:cs typeface="Arial" panose="020B0604020202020204" pitchFamily="34" charset="0"/>
              </a:endParaRPr>
            </a:p>
          </p:txBody>
        </p:sp>
        <p:grpSp>
          <p:nvGrpSpPr>
            <p:cNvPr id="96" name="Group 56">
              <a:extLst>
                <a:ext uri="{FF2B5EF4-FFF2-40B4-BE49-F238E27FC236}">
                  <a16:creationId xmlns:a16="http://schemas.microsoft.com/office/drawing/2014/main" id="{ABA4CF13-CDA2-304A-BE09-D4D456D48A84}"/>
                </a:ext>
              </a:extLst>
            </p:cNvPr>
            <p:cNvGrpSpPr/>
            <p:nvPr>
              <p:custDataLst>
                <p:tags r:id="rId4"/>
              </p:custDataLst>
            </p:nvPr>
          </p:nvGrpSpPr>
          <p:grpSpPr>
            <a:xfrm>
              <a:off x="4810000" y="1996020"/>
              <a:ext cx="398083" cy="398082"/>
              <a:chOff x="2786002" y="3040978"/>
              <a:chExt cx="1082694" cy="1082694"/>
            </a:xfrm>
            <a:grpFill/>
          </p:grpSpPr>
          <p:sp>
            <p:nvSpPr>
              <p:cNvPr id="97" name="Rectangle 96">
                <a:extLst>
                  <a:ext uri="{FF2B5EF4-FFF2-40B4-BE49-F238E27FC236}">
                    <a16:creationId xmlns:a16="http://schemas.microsoft.com/office/drawing/2014/main" id="{78519679-971B-C14B-8A1F-8D862EDD33F0}"/>
                  </a:ext>
                </a:extLst>
              </p:cNvPr>
              <p:cNvSpPr/>
              <p:nvPr/>
            </p:nvSpPr>
            <p:spPr>
              <a:xfrm rot="5400000">
                <a:off x="2786002" y="3476409"/>
                <a:ext cx="1082694" cy="211831"/>
              </a:xfrm>
              <a:prstGeom prst="rect">
                <a:avLst/>
              </a:prstGeom>
              <a:grpFill/>
              <a:ln w="9525" cap="flat" cmpd="sng" algn="ctr">
                <a:noFill/>
                <a:prstDash val="solid"/>
              </a:ln>
              <a:effectLst/>
            </p:spPr>
            <p:txBody>
              <a:bodyPr lIns="72000" tIns="0" rIns="72000" bIns="0" rtlCol="0" anchor="ctr"/>
              <a:lstStyle/>
              <a:p>
                <a:pPr marL="0" marR="0" lvl="0" indent="0" algn="ctr" defTabSz="914400" eaLnBrk="1" fontAlgn="base" latinLnBrk="0" hangingPunct="1">
                  <a:lnSpc>
                    <a:spcPct val="90000"/>
                  </a:lnSpc>
                  <a:spcBef>
                    <a:spcPts val="3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arrow"/>
                  <a:ea typeface="+mn-ea"/>
                  <a:cs typeface="Arial" panose="020B0604020202020204" pitchFamily="34" charset="0"/>
                </a:endParaRPr>
              </a:p>
            </p:txBody>
          </p:sp>
          <p:sp>
            <p:nvSpPr>
              <p:cNvPr id="98" name="Rectangle 97">
                <a:extLst>
                  <a:ext uri="{FF2B5EF4-FFF2-40B4-BE49-F238E27FC236}">
                    <a16:creationId xmlns:a16="http://schemas.microsoft.com/office/drawing/2014/main" id="{3F07E9A9-A72F-624B-981F-32BD52E3BCD2}"/>
                  </a:ext>
                </a:extLst>
              </p:cNvPr>
              <p:cNvSpPr/>
              <p:nvPr/>
            </p:nvSpPr>
            <p:spPr>
              <a:xfrm>
                <a:off x="2786002" y="3476409"/>
                <a:ext cx="1082694" cy="211831"/>
              </a:xfrm>
              <a:prstGeom prst="rect">
                <a:avLst/>
              </a:prstGeom>
              <a:grpFill/>
              <a:ln w="9525" cap="flat" cmpd="sng" algn="ctr">
                <a:noFill/>
                <a:prstDash val="solid"/>
              </a:ln>
              <a:effectLst/>
            </p:spPr>
            <p:txBody>
              <a:bodyPr lIns="72000" tIns="0" rIns="72000" bIns="0" rtlCol="0" anchor="ctr"/>
              <a:lstStyle/>
              <a:p>
                <a:pPr marL="0" marR="0" lvl="0" indent="0" algn="ctr" defTabSz="914400" eaLnBrk="1" fontAlgn="base" latinLnBrk="0" hangingPunct="1">
                  <a:lnSpc>
                    <a:spcPct val="90000"/>
                  </a:lnSpc>
                  <a:spcBef>
                    <a:spcPts val="3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arrow"/>
                  <a:ea typeface="+mn-ea"/>
                  <a:cs typeface="Arial" panose="020B0604020202020204" pitchFamily="34" charset="0"/>
                </a:endParaRPr>
              </a:p>
            </p:txBody>
          </p:sp>
        </p:grpSp>
      </p:grpSp>
      <p:grpSp>
        <p:nvGrpSpPr>
          <p:cNvPr id="99" name="Group 98">
            <a:extLst>
              <a:ext uri="{FF2B5EF4-FFF2-40B4-BE49-F238E27FC236}">
                <a16:creationId xmlns:a16="http://schemas.microsoft.com/office/drawing/2014/main" id="{61F7A67B-E02B-754E-9C54-EAF384D3EE2E}"/>
              </a:ext>
            </a:extLst>
          </p:cNvPr>
          <p:cNvGrpSpPr>
            <a:grpSpLocks noChangeAspect="1"/>
          </p:cNvGrpSpPr>
          <p:nvPr/>
        </p:nvGrpSpPr>
        <p:grpSpPr>
          <a:xfrm>
            <a:off x="2270932" y="4819594"/>
            <a:ext cx="360000" cy="359998"/>
            <a:chOff x="8545544" y="1832056"/>
            <a:chExt cx="728445" cy="728443"/>
          </a:xfrm>
          <a:solidFill>
            <a:srgbClr val="8D8EA8"/>
          </a:solidFill>
        </p:grpSpPr>
        <p:sp>
          <p:nvSpPr>
            <p:cNvPr id="100" name="Donut 81">
              <a:extLst>
                <a:ext uri="{FF2B5EF4-FFF2-40B4-BE49-F238E27FC236}">
                  <a16:creationId xmlns:a16="http://schemas.microsoft.com/office/drawing/2014/main" id="{F6A82F41-FE9E-EB44-B8AD-C95F908E7A81}"/>
                </a:ext>
              </a:extLst>
            </p:cNvPr>
            <p:cNvSpPr>
              <a:spLocks/>
            </p:cNvSpPr>
            <p:nvPr>
              <p:custDataLst>
                <p:tags r:id="rId2"/>
              </p:custDataLst>
            </p:nvPr>
          </p:nvSpPr>
          <p:spPr>
            <a:xfrm flipV="1">
              <a:off x="8545544" y="1832056"/>
              <a:ext cx="728445" cy="728443"/>
            </a:xfrm>
            <a:prstGeom prst="donut">
              <a:avLst>
                <a:gd name="adj" fmla="val 11756"/>
              </a:avLst>
            </a:prstGeom>
            <a:grpFill/>
            <a:ln w="9525" cap="flat" cmpd="sng" algn="ctr">
              <a:noFill/>
              <a:prstDash val="solid"/>
            </a:ln>
            <a:effectLst/>
          </p:spPr>
          <p:txBody>
            <a:bodyPr lIns="72000" tIns="0" rIns="72000" bIns="0" rtlCol="0" anchor="ctr"/>
            <a:lstStyle/>
            <a:p>
              <a:pPr marL="0" marR="0" lvl="0" indent="0" algn="ctr" defTabSz="914400" eaLnBrk="1" fontAlgn="base" latinLnBrk="0" hangingPunct="1">
                <a:lnSpc>
                  <a:spcPct val="90000"/>
                </a:lnSpc>
                <a:spcBef>
                  <a:spcPts val="3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arrow"/>
                <a:ea typeface="+mn-ea"/>
                <a:cs typeface="Arial" panose="020B0604020202020204" pitchFamily="34" charset="0"/>
              </a:endParaRPr>
            </a:p>
          </p:txBody>
        </p:sp>
        <p:sp>
          <p:nvSpPr>
            <p:cNvPr id="101" name="Rectangle 100">
              <a:extLst>
                <a:ext uri="{FF2B5EF4-FFF2-40B4-BE49-F238E27FC236}">
                  <a16:creationId xmlns:a16="http://schemas.microsoft.com/office/drawing/2014/main" id="{B8D9344D-8D6A-424B-9262-438FB03EAD25}"/>
                </a:ext>
              </a:extLst>
            </p:cNvPr>
            <p:cNvSpPr/>
            <p:nvPr/>
          </p:nvSpPr>
          <p:spPr>
            <a:xfrm>
              <a:off x="8714567" y="2150717"/>
              <a:ext cx="398083" cy="77885"/>
            </a:xfrm>
            <a:prstGeom prst="rect">
              <a:avLst/>
            </a:prstGeom>
            <a:grpFill/>
            <a:ln w="9525" cap="flat" cmpd="sng" algn="ctr">
              <a:noFill/>
              <a:prstDash val="solid"/>
            </a:ln>
            <a:effectLst/>
          </p:spPr>
          <p:txBody>
            <a:bodyPr lIns="72000" tIns="0" rIns="72000" bIns="0" rtlCol="0" anchor="ctr"/>
            <a:lstStyle/>
            <a:p>
              <a:pPr marL="0" marR="0" lvl="0" indent="0" algn="ctr" defTabSz="914400" eaLnBrk="1" fontAlgn="base" latinLnBrk="0" hangingPunct="1">
                <a:lnSpc>
                  <a:spcPct val="90000"/>
                </a:lnSpc>
                <a:spcBef>
                  <a:spcPts val="30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arrow"/>
                <a:ea typeface="+mn-ea"/>
                <a:cs typeface="Arial" panose="020B0604020202020204" pitchFamily="34" charset="0"/>
              </a:endParaRPr>
            </a:p>
          </p:txBody>
        </p:sp>
      </p:grpSp>
      <p:sp>
        <p:nvSpPr>
          <p:cNvPr id="102" name="Round Same Side Corner Rectangle 20">
            <a:extLst>
              <a:ext uri="{FF2B5EF4-FFF2-40B4-BE49-F238E27FC236}">
                <a16:creationId xmlns:a16="http://schemas.microsoft.com/office/drawing/2014/main" id="{092FA240-CB07-9046-9FA1-85B9D2B93900}"/>
              </a:ext>
            </a:extLst>
          </p:cNvPr>
          <p:cNvSpPr>
            <a:spLocks noChangeAspect="1"/>
          </p:cNvSpPr>
          <p:nvPr/>
        </p:nvSpPr>
        <p:spPr>
          <a:xfrm rot="10800000">
            <a:off x="3062038" y="4206009"/>
            <a:ext cx="204958" cy="437216"/>
          </a:xfrm>
          <a:custGeom>
            <a:avLst/>
            <a:gdLst>
              <a:gd name="connsiteX0" fmla="*/ 1228565 w 1856332"/>
              <a:gd name="connsiteY0" fmla="*/ 3214674 h 3959924"/>
              <a:gd name="connsiteX1" fmla="*/ 622681 w 1856332"/>
              <a:gd name="connsiteY1" fmla="*/ 3214674 h 3959924"/>
              <a:gd name="connsiteX2" fmla="*/ 521281 w 1856332"/>
              <a:gd name="connsiteY2" fmla="*/ 3174669 h 3959924"/>
              <a:gd name="connsiteX3" fmla="*/ 466697 w 1856332"/>
              <a:gd name="connsiteY3" fmla="*/ 3144149 h 3959924"/>
              <a:gd name="connsiteX4" fmla="*/ 8303 w 1856332"/>
              <a:gd name="connsiteY4" fmla="*/ 1942070 h 3959924"/>
              <a:gd name="connsiteX5" fmla="*/ 81139 w 1856332"/>
              <a:gd name="connsiteY5" fmla="*/ 1779444 h 3959924"/>
              <a:gd name="connsiteX6" fmla="*/ 243764 w 1856332"/>
              <a:gd name="connsiteY6" fmla="*/ 1852280 h 3959924"/>
              <a:gd name="connsiteX7" fmla="*/ 504770 w 1856332"/>
              <a:gd name="connsiteY7" fmla="*/ 2536736 h 3959924"/>
              <a:gd name="connsiteX8" fmla="*/ 555637 w 1856332"/>
              <a:gd name="connsiteY8" fmla="*/ 2536736 h 3959924"/>
              <a:gd name="connsiteX9" fmla="*/ 226299 w 1856332"/>
              <a:gd name="connsiteY9" fmla="*/ 1210417 h 3959924"/>
              <a:gd name="connsiteX10" fmla="*/ 551784 w 1856332"/>
              <a:gd name="connsiteY10" fmla="*/ 1210417 h 3959924"/>
              <a:gd name="connsiteX11" fmla="*/ 551784 w 1856332"/>
              <a:gd name="connsiteY11" fmla="*/ 168335 h 3959924"/>
              <a:gd name="connsiteX12" fmla="*/ 720119 w 1856332"/>
              <a:gd name="connsiteY12" fmla="*/ 0 h 3959924"/>
              <a:gd name="connsiteX13" fmla="*/ 888454 w 1856332"/>
              <a:gd name="connsiteY13" fmla="*/ 168335 h 3959924"/>
              <a:gd name="connsiteX14" fmla="*/ 888454 w 1856332"/>
              <a:gd name="connsiteY14" fmla="*/ 1210417 h 3959924"/>
              <a:gd name="connsiteX15" fmla="*/ 968040 w 1856332"/>
              <a:gd name="connsiteY15" fmla="*/ 1210417 h 3959924"/>
              <a:gd name="connsiteX16" fmla="*/ 968040 w 1856332"/>
              <a:gd name="connsiteY16" fmla="*/ 168335 h 3959924"/>
              <a:gd name="connsiteX17" fmla="*/ 1136375 w 1856332"/>
              <a:gd name="connsiteY17" fmla="*/ 0 h 3959924"/>
              <a:gd name="connsiteX18" fmla="*/ 1304710 w 1856332"/>
              <a:gd name="connsiteY18" fmla="*/ 168335 h 3959924"/>
              <a:gd name="connsiteX19" fmla="*/ 1304710 w 1856332"/>
              <a:gd name="connsiteY19" fmla="*/ 1210417 h 3959924"/>
              <a:gd name="connsiteX20" fmla="*/ 1631589 w 1856332"/>
              <a:gd name="connsiteY20" fmla="*/ 1210417 h 3959924"/>
              <a:gd name="connsiteX21" fmla="*/ 1302251 w 1856332"/>
              <a:gd name="connsiteY21" fmla="*/ 2536736 h 3959924"/>
              <a:gd name="connsiteX22" fmla="*/ 1351562 w 1856332"/>
              <a:gd name="connsiteY22" fmla="*/ 2536736 h 3959924"/>
              <a:gd name="connsiteX23" fmla="*/ 1612568 w 1856332"/>
              <a:gd name="connsiteY23" fmla="*/ 1852280 h 3959924"/>
              <a:gd name="connsiteX24" fmla="*/ 1775193 w 1856332"/>
              <a:gd name="connsiteY24" fmla="*/ 1779444 h 3959924"/>
              <a:gd name="connsiteX25" fmla="*/ 1848029 w 1856332"/>
              <a:gd name="connsiteY25" fmla="*/ 1942070 h 3959924"/>
              <a:gd name="connsiteX26" fmla="*/ 1389635 w 1856332"/>
              <a:gd name="connsiteY26" fmla="*/ 3144149 h 3959924"/>
              <a:gd name="connsiteX27" fmla="*/ 1344732 w 1856332"/>
              <a:gd name="connsiteY27" fmla="*/ 3176282 h 3959924"/>
              <a:gd name="connsiteX28" fmla="*/ 1228565 w 1856332"/>
              <a:gd name="connsiteY28" fmla="*/ 3214674 h 3959924"/>
              <a:gd name="connsiteX29" fmla="*/ 925623 w 1856332"/>
              <a:gd name="connsiteY29" fmla="*/ 3959924 h 3959924"/>
              <a:gd name="connsiteX30" fmla="*/ 601623 w 1856332"/>
              <a:gd name="connsiteY30" fmla="*/ 3635924 h 3959924"/>
              <a:gd name="connsiteX31" fmla="*/ 925623 w 1856332"/>
              <a:gd name="connsiteY31" fmla="*/ 3311924 h 3959924"/>
              <a:gd name="connsiteX32" fmla="*/ 1249623 w 1856332"/>
              <a:gd name="connsiteY32" fmla="*/ 3635924 h 3959924"/>
              <a:gd name="connsiteX33" fmla="*/ 925623 w 1856332"/>
              <a:gd name="connsiteY33"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56332" h="3959924">
                <a:moveTo>
                  <a:pt x="1228565" y="3214674"/>
                </a:moveTo>
                <a:lnTo>
                  <a:pt x="622681" y="3214674"/>
                </a:lnTo>
                <a:cubicBezTo>
                  <a:pt x="495703" y="3202920"/>
                  <a:pt x="501057" y="3225622"/>
                  <a:pt x="466697" y="3144149"/>
                </a:cubicBezTo>
                <a:lnTo>
                  <a:pt x="8303" y="1942070"/>
                </a:lnTo>
                <a:cubicBezTo>
                  <a:pt x="-16491" y="1877049"/>
                  <a:pt x="16118" y="1804239"/>
                  <a:pt x="81139" y="1779444"/>
                </a:cubicBezTo>
                <a:cubicBezTo>
                  <a:pt x="146160" y="1754650"/>
                  <a:pt x="218970" y="1787259"/>
                  <a:pt x="243764" y="1852280"/>
                </a:cubicBezTo>
                <a:lnTo>
                  <a:pt x="504770" y="2536736"/>
                </a:lnTo>
                <a:lnTo>
                  <a:pt x="555637" y="2536736"/>
                </a:lnTo>
                <a:lnTo>
                  <a:pt x="226299" y="1210417"/>
                </a:lnTo>
                <a:lnTo>
                  <a:pt x="551784" y="1210417"/>
                </a:lnTo>
                <a:lnTo>
                  <a:pt x="551784" y="168335"/>
                </a:lnTo>
                <a:cubicBezTo>
                  <a:pt x="551784" y="75366"/>
                  <a:pt x="627150" y="0"/>
                  <a:pt x="720119" y="0"/>
                </a:cubicBezTo>
                <a:cubicBezTo>
                  <a:pt x="813088" y="0"/>
                  <a:pt x="888454" y="75366"/>
                  <a:pt x="888454" y="168335"/>
                </a:cubicBezTo>
                <a:lnTo>
                  <a:pt x="888454" y="1210417"/>
                </a:lnTo>
                <a:lnTo>
                  <a:pt x="968040" y="1210417"/>
                </a:lnTo>
                <a:lnTo>
                  <a:pt x="968040" y="168335"/>
                </a:lnTo>
                <a:cubicBezTo>
                  <a:pt x="968040" y="75366"/>
                  <a:pt x="1043406" y="0"/>
                  <a:pt x="1136375" y="0"/>
                </a:cubicBezTo>
                <a:cubicBezTo>
                  <a:pt x="1229344" y="0"/>
                  <a:pt x="1304710" y="75366"/>
                  <a:pt x="1304710" y="168335"/>
                </a:cubicBezTo>
                <a:lnTo>
                  <a:pt x="1304710" y="1210417"/>
                </a:lnTo>
                <a:lnTo>
                  <a:pt x="1631589" y="1210417"/>
                </a:lnTo>
                <a:lnTo>
                  <a:pt x="1302251" y="2536736"/>
                </a:lnTo>
                <a:lnTo>
                  <a:pt x="1351562" y="2536736"/>
                </a:lnTo>
                <a:lnTo>
                  <a:pt x="1612568" y="1852280"/>
                </a:lnTo>
                <a:cubicBezTo>
                  <a:pt x="1637362" y="1787259"/>
                  <a:pt x="1710172" y="1754650"/>
                  <a:pt x="1775193" y="1779444"/>
                </a:cubicBezTo>
                <a:cubicBezTo>
                  <a:pt x="1840214" y="1804239"/>
                  <a:pt x="1872823" y="1877049"/>
                  <a:pt x="1848029" y="1942070"/>
                </a:cubicBezTo>
                <a:lnTo>
                  <a:pt x="1389635" y="3144149"/>
                </a:lnTo>
                <a:cubicBezTo>
                  <a:pt x="1348984" y="3225622"/>
                  <a:pt x="1356391" y="3202920"/>
                  <a:pt x="1228565" y="3214674"/>
                </a:cubicBezTo>
                <a:close/>
                <a:moveTo>
                  <a:pt x="925623" y="3959924"/>
                </a:moveTo>
                <a:cubicBezTo>
                  <a:pt x="746683" y="3959924"/>
                  <a:pt x="601623" y="3814864"/>
                  <a:pt x="601623" y="3635924"/>
                </a:cubicBezTo>
                <a:cubicBezTo>
                  <a:pt x="601623" y="3456984"/>
                  <a:pt x="746683" y="3311924"/>
                  <a:pt x="925623" y="3311924"/>
                </a:cubicBezTo>
                <a:cubicBezTo>
                  <a:pt x="1104563" y="3311924"/>
                  <a:pt x="1249623" y="3456984"/>
                  <a:pt x="1249623" y="3635924"/>
                </a:cubicBezTo>
                <a:cubicBezTo>
                  <a:pt x="1249623" y="3814864"/>
                  <a:pt x="1104563" y="3959924"/>
                  <a:pt x="925623" y="3959924"/>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3" name="Round Same Side Corner Rectangle 8">
            <a:extLst>
              <a:ext uri="{FF2B5EF4-FFF2-40B4-BE49-F238E27FC236}">
                <a16:creationId xmlns:a16="http://schemas.microsoft.com/office/drawing/2014/main" id="{4D31987E-B535-1548-9E2B-4F5F46F8A933}"/>
              </a:ext>
            </a:extLst>
          </p:cNvPr>
          <p:cNvSpPr>
            <a:spLocks noChangeAspect="1"/>
          </p:cNvSpPr>
          <p:nvPr/>
        </p:nvSpPr>
        <p:spPr>
          <a:xfrm>
            <a:off x="3292331" y="4188368"/>
            <a:ext cx="171736" cy="45231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5" name="Rectangle 9">
            <a:extLst>
              <a:ext uri="{FF2B5EF4-FFF2-40B4-BE49-F238E27FC236}">
                <a16:creationId xmlns:a16="http://schemas.microsoft.com/office/drawing/2014/main" id="{3BE38C2B-336B-3C4F-B4BE-D7B81350A3D7}"/>
              </a:ext>
            </a:extLst>
          </p:cNvPr>
          <p:cNvSpPr>
            <a:spLocks noChangeAspect="1"/>
          </p:cNvSpPr>
          <p:nvPr/>
        </p:nvSpPr>
        <p:spPr>
          <a:xfrm>
            <a:off x="2600481" y="4219846"/>
            <a:ext cx="371115" cy="370511"/>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6" name="Rounded Rectangle 5">
            <a:extLst>
              <a:ext uri="{FF2B5EF4-FFF2-40B4-BE49-F238E27FC236}">
                <a16:creationId xmlns:a16="http://schemas.microsoft.com/office/drawing/2014/main" id="{11047581-2689-E240-8857-0E8D45C71945}"/>
              </a:ext>
            </a:extLst>
          </p:cNvPr>
          <p:cNvSpPr>
            <a:spLocks noChangeAspect="1"/>
          </p:cNvSpPr>
          <p:nvPr/>
        </p:nvSpPr>
        <p:spPr>
          <a:xfrm>
            <a:off x="7879049" y="3140182"/>
            <a:ext cx="644023" cy="202306"/>
          </a:xfrm>
          <a:custGeom>
            <a:avLst/>
            <a:gdLst>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84943 w 4571767"/>
              <a:gd name="connsiteY35" fmla="*/ 39812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84943 w 4571767"/>
              <a:gd name="connsiteY35" fmla="*/ 39812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506208 w 4571767"/>
              <a:gd name="connsiteY35" fmla="*/ 461917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74310 w 4571767"/>
              <a:gd name="connsiteY35" fmla="*/ 44065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74310 w 4571767"/>
              <a:gd name="connsiteY35" fmla="*/ 44065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571767" h="1436123">
                <a:moveTo>
                  <a:pt x="3451807" y="168171"/>
                </a:moveTo>
                <a:cubicBezTo>
                  <a:pt x="3271756" y="167321"/>
                  <a:pt x="3093453" y="184319"/>
                  <a:pt x="2895923" y="221714"/>
                </a:cubicBezTo>
                <a:cubicBezTo>
                  <a:pt x="2721740" y="269308"/>
                  <a:pt x="2669155" y="320444"/>
                  <a:pt x="2669155" y="442234"/>
                </a:cubicBezTo>
                <a:lnTo>
                  <a:pt x="2669155" y="1079532"/>
                </a:lnTo>
                <a:cubicBezTo>
                  <a:pt x="2669155" y="1201322"/>
                  <a:pt x="2770682" y="1300052"/>
                  <a:pt x="2895923" y="1300052"/>
                </a:cubicBezTo>
                <a:lnTo>
                  <a:pt x="4018179" y="1300052"/>
                </a:lnTo>
                <a:cubicBezTo>
                  <a:pt x="4143419" y="1300052"/>
                  <a:pt x="4244947" y="1201322"/>
                  <a:pt x="4244947" y="1079532"/>
                </a:cubicBezTo>
                <a:lnTo>
                  <a:pt x="4244947" y="442234"/>
                </a:lnTo>
                <a:cubicBezTo>
                  <a:pt x="4244947" y="320444"/>
                  <a:pt x="4185370" y="269308"/>
                  <a:pt x="4018179" y="221714"/>
                </a:cubicBezTo>
                <a:cubicBezTo>
                  <a:pt x="3813657" y="187719"/>
                  <a:pt x="3631858" y="169021"/>
                  <a:pt x="3451807" y="168171"/>
                </a:cubicBezTo>
                <a:close/>
                <a:moveTo>
                  <a:pt x="1119961" y="168171"/>
                </a:moveTo>
                <a:cubicBezTo>
                  <a:pt x="939910" y="169021"/>
                  <a:pt x="758111" y="187719"/>
                  <a:pt x="553589" y="221714"/>
                </a:cubicBezTo>
                <a:cubicBezTo>
                  <a:pt x="386398" y="269308"/>
                  <a:pt x="326821" y="320444"/>
                  <a:pt x="326821" y="442234"/>
                </a:cubicBezTo>
                <a:lnTo>
                  <a:pt x="326821" y="1079532"/>
                </a:lnTo>
                <a:cubicBezTo>
                  <a:pt x="326821" y="1201322"/>
                  <a:pt x="428349" y="1300052"/>
                  <a:pt x="553589" y="1300052"/>
                </a:cubicBezTo>
                <a:lnTo>
                  <a:pt x="1675845" y="1300052"/>
                </a:lnTo>
                <a:cubicBezTo>
                  <a:pt x="1801086" y="1300052"/>
                  <a:pt x="1902613" y="1201322"/>
                  <a:pt x="1902613" y="1079532"/>
                </a:cubicBezTo>
                <a:lnTo>
                  <a:pt x="1902613" y="442234"/>
                </a:lnTo>
                <a:cubicBezTo>
                  <a:pt x="1902613" y="320444"/>
                  <a:pt x="1850028" y="269308"/>
                  <a:pt x="1675845" y="221714"/>
                </a:cubicBezTo>
                <a:cubicBezTo>
                  <a:pt x="1478315" y="184319"/>
                  <a:pt x="1300012" y="167321"/>
                  <a:pt x="1119961" y="168171"/>
                </a:cubicBezTo>
                <a:close/>
                <a:moveTo>
                  <a:pt x="1121187" y="38"/>
                </a:moveTo>
                <a:cubicBezTo>
                  <a:pt x="1343334" y="-1041"/>
                  <a:pt x="1563325" y="20526"/>
                  <a:pt x="1807038" y="67971"/>
                </a:cubicBezTo>
                <a:cubicBezTo>
                  <a:pt x="1906130" y="95814"/>
                  <a:pt x="1973325" y="124613"/>
                  <a:pt x="2016287" y="163497"/>
                </a:cubicBezTo>
                <a:cubicBezTo>
                  <a:pt x="2192333" y="131034"/>
                  <a:pt x="2373065" y="132902"/>
                  <a:pt x="2548970" y="168752"/>
                </a:cubicBezTo>
                <a:cubicBezTo>
                  <a:pt x="2591975" y="127420"/>
                  <a:pt x="2660813" y="97170"/>
                  <a:pt x="2764730" y="67971"/>
                </a:cubicBezTo>
                <a:cubicBezTo>
                  <a:pt x="3008443" y="20526"/>
                  <a:pt x="3228434" y="-1041"/>
                  <a:pt x="3450581" y="38"/>
                </a:cubicBezTo>
                <a:cubicBezTo>
                  <a:pt x="3672728" y="1116"/>
                  <a:pt x="3897032" y="24839"/>
                  <a:pt x="4149372" y="67971"/>
                </a:cubicBezTo>
                <a:lnTo>
                  <a:pt x="4543824" y="199412"/>
                </a:lnTo>
                <a:cubicBezTo>
                  <a:pt x="4559206" y="199412"/>
                  <a:pt x="4571676" y="211882"/>
                  <a:pt x="4571676" y="227264"/>
                </a:cubicBezTo>
                <a:cubicBezTo>
                  <a:pt x="4572734" y="350513"/>
                  <a:pt x="4564268" y="426136"/>
                  <a:pt x="4565326" y="549385"/>
                </a:cubicBezTo>
                <a:cubicBezTo>
                  <a:pt x="4567562" y="597827"/>
                  <a:pt x="4477723" y="636745"/>
                  <a:pt x="4429159" y="656612"/>
                </a:cubicBezTo>
                <a:lnTo>
                  <a:pt x="4429159" y="1156336"/>
                </a:lnTo>
                <a:cubicBezTo>
                  <a:pt x="4429159" y="1310858"/>
                  <a:pt x="4303894" y="1436123"/>
                  <a:pt x="4149372" y="1436123"/>
                </a:cubicBezTo>
                <a:lnTo>
                  <a:pt x="2764730" y="1436123"/>
                </a:lnTo>
                <a:cubicBezTo>
                  <a:pt x="2610208" y="1436123"/>
                  <a:pt x="2484943" y="1310858"/>
                  <a:pt x="2484943" y="1156336"/>
                </a:cubicBezTo>
                <a:lnTo>
                  <a:pt x="2474310" y="440652"/>
                </a:lnTo>
                <a:cubicBezTo>
                  <a:pt x="2406606" y="372700"/>
                  <a:pt x="2176327" y="349391"/>
                  <a:pt x="2086825" y="443779"/>
                </a:cubicBezTo>
                <a:lnTo>
                  <a:pt x="2086825" y="1156336"/>
                </a:lnTo>
                <a:cubicBezTo>
                  <a:pt x="2086825" y="1310858"/>
                  <a:pt x="1961560" y="1436123"/>
                  <a:pt x="1807038" y="1436123"/>
                </a:cubicBezTo>
                <a:lnTo>
                  <a:pt x="422396" y="1436123"/>
                </a:lnTo>
                <a:cubicBezTo>
                  <a:pt x="267874" y="1436123"/>
                  <a:pt x="142609" y="1310858"/>
                  <a:pt x="142609" y="1156336"/>
                </a:cubicBezTo>
                <a:lnTo>
                  <a:pt x="142609" y="656612"/>
                </a:lnTo>
                <a:cubicBezTo>
                  <a:pt x="94045" y="636745"/>
                  <a:pt x="4206" y="597827"/>
                  <a:pt x="6442" y="549385"/>
                </a:cubicBezTo>
                <a:cubicBezTo>
                  <a:pt x="7500" y="426136"/>
                  <a:pt x="-966" y="350513"/>
                  <a:pt x="92" y="227264"/>
                </a:cubicBezTo>
                <a:cubicBezTo>
                  <a:pt x="92" y="211882"/>
                  <a:pt x="12562" y="199412"/>
                  <a:pt x="27944" y="199412"/>
                </a:cubicBezTo>
                <a:lnTo>
                  <a:pt x="422396" y="67971"/>
                </a:lnTo>
                <a:cubicBezTo>
                  <a:pt x="674736" y="24839"/>
                  <a:pt x="899040" y="1116"/>
                  <a:pt x="1121187" y="38"/>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48" name="Textfeld 47">
            <a:extLst>
              <a:ext uri="{FF2B5EF4-FFF2-40B4-BE49-F238E27FC236}">
                <a16:creationId xmlns:a16="http://schemas.microsoft.com/office/drawing/2014/main" id="{A71F721D-DB6E-412A-9A95-1279BA2D5DD9}"/>
              </a:ext>
            </a:extLst>
          </p:cNvPr>
          <p:cNvSpPr txBox="1"/>
          <p:nvPr/>
        </p:nvSpPr>
        <p:spPr>
          <a:xfrm>
            <a:off x="4724400" y="3200400"/>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a:t>Text hinzufügen</a:t>
            </a:r>
          </a:p>
        </p:txBody>
      </p:sp>
      <p:sp>
        <p:nvSpPr>
          <p:cNvPr id="107" name="Oval 8">
            <a:extLst>
              <a:ext uri="{FF2B5EF4-FFF2-40B4-BE49-F238E27FC236}">
                <a16:creationId xmlns:a16="http://schemas.microsoft.com/office/drawing/2014/main" id="{83013FC9-DB5B-4936-8CCE-6DC84C49C2EA}"/>
              </a:ext>
            </a:extLst>
          </p:cNvPr>
          <p:cNvSpPr/>
          <p:nvPr/>
        </p:nvSpPr>
        <p:spPr>
          <a:xfrm>
            <a:off x="5101988" y="4344613"/>
            <a:ext cx="360000" cy="360000"/>
          </a:xfrm>
          <a:custGeom>
            <a:avLst/>
            <a:gdLst/>
            <a:ahLst/>
            <a:cxnLst/>
            <a:rect l="l" t="t" r="r" b="b"/>
            <a:pathLst>
              <a:path w="3068057" h="3083879">
                <a:moveTo>
                  <a:pt x="1943022" y="0"/>
                </a:moveTo>
                <a:cubicBezTo>
                  <a:pt x="2091435" y="0"/>
                  <a:pt x="2214809" y="107202"/>
                  <a:pt x="2232575" y="249298"/>
                </a:cubicBezTo>
                <a:cubicBezTo>
                  <a:pt x="2066806" y="323095"/>
                  <a:pt x="1966497" y="475331"/>
                  <a:pt x="1992863" y="623272"/>
                </a:cubicBezTo>
                <a:lnTo>
                  <a:pt x="2032344" y="614884"/>
                </a:lnTo>
                <a:cubicBezTo>
                  <a:pt x="2007703" y="472429"/>
                  <a:pt x="2119863" y="324636"/>
                  <a:pt x="2294697" y="266187"/>
                </a:cubicBezTo>
                <a:cubicBezTo>
                  <a:pt x="2304190" y="260641"/>
                  <a:pt x="2314409" y="260119"/>
                  <a:pt x="2324748" y="260119"/>
                </a:cubicBezTo>
                <a:cubicBezTo>
                  <a:pt x="2491310" y="260119"/>
                  <a:pt x="2626336" y="395145"/>
                  <a:pt x="2626336" y="561708"/>
                </a:cubicBezTo>
                <a:lnTo>
                  <a:pt x="2609021" y="647481"/>
                </a:lnTo>
                <a:lnTo>
                  <a:pt x="2626336" y="647481"/>
                </a:lnTo>
                <a:lnTo>
                  <a:pt x="2626336" y="656343"/>
                </a:lnTo>
                <a:cubicBezTo>
                  <a:pt x="2762823" y="669742"/>
                  <a:pt x="2867295" y="786613"/>
                  <a:pt x="2867295" y="927882"/>
                </a:cubicBezTo>
                <a:lnTo>
                  <a:pt x="2850464" y="1011252"/>
                </a:lnTo>
                <a:cubicBezTo>
                  <a:pt x="2978255" y="1064152"/>
                  <a:pt x="3068057" y="1190111"/>
                  <a:pt x="3068057" y="1337042"/>
                </a:cubicBezTo>
                <a:cubicBezTo>
                  <a:pt x="3068057" y="1418703"/>
                  <a:pt x="3040320" y="1493884"/>
                  <a:pt x="2992210" y="1551889"/>
                </a:cubicBezTo>
                <a:cubicBezTo>
                  <a:pt x="2909241" y="1651289"/>
                  <a:pt x="2791782" y="1696238"/>
                  <a:pt x="2686704" y="1660749"/>
                </a:cubicBezTo>
                <a:lnTo>
                  <a:pt x="2673794" y="1698968"/>
                </a:lnTo>
                <a:cubicBezTo>
                  <a:pt x="2768232" y="1730865"/>
                  <a:pt x="2870956" y="1707121"/>
                  <a:pt x="2955415" y="1640323"/>
                </a:cubicBezTo>
                <a:cubicBezTo>
                  <a:pt x="2993943" y="1688574"/>
                  <a:pt x="3012247" y="1750635"/>
                  <a:pt x="3012247" y="1816968"/>
                </a:cubicBezTo>
                <a:cubicBezTo>
                  <a:pt x="3012247" y="1986406"/>
                  <a:pt x="2892829" y="2127952"/>
                  <a:pt x="2733451" y="2161496"/>
                </a:cubicBezTo>
                <a:cubicBezTo>
                  <a:pt x="2570803" y="2185843"/>
                  <a:pt x="2422847" y="2122052"/>
                  <a:pt x="2373218" y="2004561"/>
                </a:cubicBezTo>
                <a:cubicBezTo>
                  <a:pt x="2397575" y="1987765"/>
                  <a:pt x="2417022" y="1964396"/>
                  <a:pt x="2431421" y="1936987"/>
                </a:cubicBezTo>
                <a:cubicBezTo>
                  <a:pt x="2469123" y="1865220"/>
                  <a:pt x="2466430" y="1776674"/>
                  <a:pt x="2424327" y="1703750"/>
                </a:cubicBezTo>
                <a:lnTo>
                  <a:pt x="2390880" y="1723060"/>
                </a:lnTo>
                <a:cubicBezTo>
                  <a:pt x="2426033" y="1783948"/>
                  <a:pt x="2428758" y="1857660"/>
                  <a:pt x="2398065" y="1917447"/>
                </a:cubicBezTo>
                <a:cubicBezTo>
                  <a:pt x="2386618" y="1939743"/>
                  <a:pt x="2371177" y="1958844"/>
                  <a:pt x="2348681" y="1969064"/>
                </a:cubicBezTo>
                <a:lnTo>
                  <a:pt x="2314536" y="1978212"/>
                </a:lnTo>
                <a:lnTo>
                  <a:pt x="2320989" y="1994504"/>
                </a:lnTo>
                <a:cubicBezTo>
                  <a:pt x="2292439" y="2010252"/>
                  <a:pt x="2259301" y="2017439"/>
                  <a:pt x="2224883" y="2015050"/>
                </a:cubicBezTo>
                <a:cubicBezTo>
                  <a:pt x="2157880" y="2010397"/>
                  <a:pt x="2096183" y="1970105"/>
                  <a:pt x="2062112" y="1908746"/>
                </a:cubicBezTo>
                <a:lnTo>
                  <a:pt x="2028307" y="1927422"/>
                </a:lnTo>
                <a:cubicBezTo>
                  <a:pt x="2069101" y="2000945"/>
                  <a:pt x="2143517" y="2048870"/>
                  <a:pt x="2224395" y="2053708"/>
                </a:cubicBezTo>
                <a:cubicBezTo>
                  <a:pt x="2263912" y="2056070"/>
                  <a:pt x="2302036" y="2047984"/>
                  <a:pt x="2335071" y="2030056"/>
                </a:cubicBezTo>
                <a:cubicBezTo>
                  <a:pt x="2400196" y="2159379"/>
                  <a:pt x="2567325" y="2230480"/>
                  <a:pt x="2748680" y="2204554"/>
                </a:cubicBezTo>
                <a:cubicBezTo>
                  <a:pt x="2767068" y="2240602"/>
                  <a:pt x="2774723" y="2281713"/>
                  <a:pt x="2774723" y="2324613"/>
                </a:cubicBezTo>
                <a:cubicBezTo>
                  <a:pt x="2774723" y="2444667"/>
                  <a:pt x="2714770" y="2550720"/>
                  <a:pt x="2619461" y="2609132"/>
                </a:cubicBezTo>
                <a:cubicBezTo>
                  <a:pt x="2594093" y="2739763"/>
                  <a:pt x="2496512" y="2844553"/>
                  <a:pt x="2368919" y="2876858"/>
                </a:cubicBezTo>
                <a:cubicBezTo>
                  <a:pt x="2184369" y="2908073"/>
                  <a:pt x="2016372" y="2826285"/>
                  <a:pt x="1978290" y="2684161"/>
                </a:cubicBezTo>
                <a:lnTo>
                  <a:pt x="1939323" y="2694602"/>
                </a:lnTo>
                <a:cubicBezTo>
                  <a:pt x="1970494" y="2810931"/>
                  <a:pt x="2075973" y="2892306"/>
                  <a:pt x="2210223" y="2912307"/>
                </a:cubicBezTo>
                <a:cubicBezTo>
                  <a:pt x="2165434" y="3014618"/>
                  <a:pt x="2062317" y="3083879"/>
                  <a:pt x="1943022" y="3083879"/>
                </a:cubicBezTo>
                <a:cubicBezTo>
                  <a:pt x="1804718" y="3083879"/>
                  <a:pt x="1736151" y="2990782"/>
                  <a:pt x="1657612" y="2862428"/>
                </a:cubicBezTo>
                <a:cubicBezTo>
                  <a:pt x="1632100" y="2775963"/>
                  <a:pt x="1598588" y="2449530"/>
                  <a:pt x="1653064" y="2147091"/>
                </a:cubicBezTo>
                <a:cubicBezTo>
                  <a:pt x="1775302" y="2294672"/>
                  <a:pt x="1947360" y="2360889"/>
                  <a:pt x="2101389" y="2319520"/>
                </a:cubicBezTo>
                <a:lnTo>
                  <a:pt x="2085913" y="2268654"/>
                </a:lnTo>
                <a:cubicBezTo>
                  <a:pt x="1935632" y="2308197"/>
                  <a:pt x="1765039" y="2228547"/>
                  <a:pt x="1652548" y="2065927"/>
                </a:cubicBezTo>
                <a:cubicBezTo>
                  <a:pt x="1594744" y="1988631"/>
                  <a:pt x="1552933" y="1543383"/>
                  <a:pt x="1647107" y="1210118"/>
                </a:cubicBezTo>
                <a:cubicBezTo>
                  <a:pt x="1757451" y="1073526"/>
                  <a:pt x="1924310" y="1023711"/>
                  <a:pt x="2044795" y="1095494"/>
                </a:cubicBezTo>
                <a:lnTo>
                  <a:pt x="2046624" y="1092427"/>
                </a:lnTo>
                <a:cubicBezTo>
                  <a:pt x="2044963" y="1115904"/>
                  <a:pt x="2049817" y="1139574"/>
                  <a:pt x="2059741" y="1162003"/>
                </a:cubicBezTo>
                <a:cubicBezTo>
                  <a:pt x="2085174" y="1219476"/>
                  <a:pt x="2140055" y="1259997"/>
                  <a:pt x="2204060" y="1268556"/>
                </a:cubicBezTo>
                <a:lnTo>
                  <a:pt x="2208020" y="1238949"/>
                </a:lnTo>
                <a:cubicBezTo>
                  <a:pt x="2154665" y="1231814"/>
                  <a:pt x="2108853" y="1198319"/>
                  <a:pt x="2087448" y="1150798"/>
                </a:cubicBezTo>
                <a:cubicBezTo>
                  <a:pt x="2064784" y="1100476"/>
                  <a:pt x="2073123" y="1042569"/>
                  <a:pt x="2109077" y="1000639"/>
                </a:cubicBezTo>
                <a:cubicBezTo>
                  <a:pt x="2142987" y="961090"/>
                  <a:pt x="2196315" y="941798"/>
                  <a:pt x="2249471" y="949847"/>
                </a:cubicBezTo>
                <a:lnTo>
                  <a:pt x="2253988" y="920317"/>
                </a:lnTo>
                <a:cubicBezTo>
                  <a:pt x="2190211" y="910645"/>
                  <a:pt x="2126205" y="934132"/>
                  <a:pt x="2085632" y="982099"/>
                </a:cubicBezTo>
                <a:lnTo>
                  <a:pt x="2052614" y="1055246"/>
                </a:lnTo>
                <a:cubicBezTo>
                  <a:pt x="1928226" y="988072"/>
                  <a:pt x="1765306" y="1028878"/>
                  <a:pt x="1646726" y="1149851"/>
                </a:cubicBezTo>
                <a:cubicBezTo>
                  <a:pt x="1576863" y="1018908"/>
                  <a:pt x="1584053" y="461235"/>
                  <a:pt x="1633436" y="269593"/>
                </a:cubicBezTo>
                <a:cubicBezTo>
                  <a:pt x="1697428" y="119029"/>
                  <a:pt x="1776459" y="0"/>
                  <a:pt x="1943022" y="0"/>
                </a:cubicBezTo>
                <a:close/>
                <a:moveTo>
                  <a:pt x="1125035" y="0"/>
                </a:moveTo>
                <a:cubicBezTo>
                  <a:pt x="1263339" y="0"/>
                  <a:pt x="1331906" y="93097"/>
                  <a:pt x="1410445" y="221451"/>
                </a:cubicBezTo>
                <a:cubicBezTo>
                  <a:pt x="1435957" y="307916"/>
                  <a:pt x="1469469" y="634350"/>
                  <a:pt x="1414993" y="936788"/>
                </a:cubicBezTo>
                <a:cubicBezTo>
                  <a:pt x="1292755" y="789207"/>
                  <a:pt x="1120697" y="722990"/>
                  <a:pt x="966668" y="764359"/>
                </a:cubicBezTo>
                <a:lnTo>
                  <a:pt x="982144" y="815225"/>
                </a:lnTo>
                <a:cubicBezTo>
                  <a:pt x="1132425" y="775682"/>
                  <a:pt x="1303018" y="855332"/>
                  <a:pt x="1415509" y="1017952"/>
                </a:cubicBezTo>
                <a:cubicBezTo>
                  <a:pt x="1473313" y="1095249"/>
                  <a:pt x="1515123" y="1540497"/>
                  <a:pt x="1420950" y="1873762"/>
                </a:cubicBezTo>
                <a:cubicBezTo>
                  <a:pt x="1310606" y="2010353"/>
                  <a:pt x="1143747" y="2060168"/>
                  <a:pt x="1023262" y="1988385"/>
                </a:cubicBezTo>
                <a:lnTo>
                  <a:pt x="1021433" y="1991453"/>
                </a:lnTo>
                <a:cubicBezTo>
                  <a:pt x="1023094" y="1967976"/>
                  <a:pt x="1018240" y="1944306"/>
                  <a:pt x="1008316" y="1921877"/>
                </a:cubicBezTo>
                <a:cubicBezTo>
                  <a:pt x="982883" y="1864403"/>
                  <a:pt x="928002" y="1823883"/>
                  <a:pt x="863997" y="1815323"/>
                </a:cubicBezTo>
                <a:lnTo>
                  <a:pt x="860037" y="1844930"/>
                </a:lnTo>
                <a:cubicBezTo>
                  <a:pt x="913392" y="1852066"/>
                  <a:pt x="959204" y="1885560"/>
                  <a:pt x="980609" y="1933082"/>
                </a:cubicBezTo>
                <a:cubicBezTo>
                  <a:pt x="1003273" y="1983404"/>
                  <a:pt x="994934" y="2041310"/>
                  <a:pt x="958980" y="2083241"/>
                </a:cubicBezTo>
                <a:cubicBezTo>
                  <a:pt x="925070" y="2122789"/>
                  <a:pt x="871742" y="2142082"/>
                  <a:pt x="818586" y="2134033"/>
                </a:cubicBezTo>
                <a:lnTo>
                  <a:pt x="814069" y="2163562"/>
                </a:lnTo>
                <a:cubicBezTo>
                  <a:pt x="877846" y="2173235"/>
                  <a:pt x="941852" y="2149747"/>
                  <a:pt x="982425" y="2101780"/>
                </a:cubicBezTo>
                <a:lnTo>
                  <a:pt x="1015443" y="2028633"/>
                </a:lnTo>
                <a:cubicBezTo>
                  <a:pt x="1139831" y="2095808"/>
                  <a:pt x="1302751" y="2055001"/>
                  <a:pt x="1421331" y="1934029"/>
                </a:cubicBezTo>
                <a:cubicBezTo>
                  <a:pt x="1491194" y="2064971"/>
                  <a:pt x="1484003" y="2622644"/>
                  <a:pt x="1434621" y="2814287"/>
                </a:cubicBezTo>
                <a:cubicBezTo>
                  <a:pt x="1370629" y="2964850"/>
                  <a:pt x="1291598" y="3083879"/>
                  <a:pt x="1125035" y="3083879"/>
                </a:cubicBezTo>
                <a:cubicBezTo>
                  <a:pt x="976622" y="3083879"/>
                  <a:pt x="853248" y="2976677"/>
                  <a:pt x="835482" y="2834581"/>
                </a:cubicBezTo>
                <a:cubicBezTo>
                  <a:pt x="1001251" y="2760784"/>
                  <a:pt x="1101560" y="2608549"/>
                  <a:pt x="1075194" y="2460607"/>
                </a:cubicBezTo>
                <a:lnTo>
                  <a:pt x="1035713" y="2468996"/>
                </a:lnTo>
                <a:cubicBezTo>
                  <a:pt x="1060354" y="2611450"/>
                  <a:pt x="948194" y="2759243"/>
                  <a:pt x="773360" y="2817692"/>
                </a:cubicBezTo>
                <a:cubicBezTo>
                  <a:pt x="763867" y="2823239"/>
                  <a:pt x="753648" y="2823760"/>
                  <a:pt x="743309" y="2823760"/>
                </a:cubicBezTo>
                <a:cubicBezTo>
                  <a:pt x="576747" y="2823760"/>
                  <a:pt x="441721" y="2688734"/>
                  <a:pt x="441721" y="2522172"/>
                </a:cubicBezTo>
                <a:lnTo>
                  <a:pt x="459036" y="2436399"/>
                </a:lnTo>
                <a:lnTo>
                  <a:pt x="441721" y="2436399"/>
                </a:lnTo>
                <a:lnTo>
                  <a:pt x="441721" y="2427537"/>
                </a:lnTo>
                <a:cubicBezTo>
                  <a:pt x="305234" y="2414137"/>
                  <a:pt x="200762" y="2297266"/>
                  <a:pt x="200762" y="2155997"/>
                </a:cubicBezTo>
                <a:lnTo>
                  <a:pt x="217593" y="2072628"/>
                </a:lnTo>
                <a:cubicBezTo>
                  <a:pt x="89802" y="2019727"/>
                  <a:pt x="0" y="1893768"/>
                  <a:pt x="0" y="1746838"/>
                </a:cubicBezTo>
                <a:cubicBezTo>
                  <a:pt x="0" y="1665177"/>
                  <a:pt x="27737" y="1589996"/>
                  <a:pt x="75847" y="1531990"/>
                </a:cubicBezTo>
                <a:cubicBezTo>
                  <a:pt x="158816" y="1432590"/>
                  <a:pt x="276275" y="1387641"/>
                  <a:pt x="381353" y="1423131"/>
                </a:cubicBezTo>
                <a:lnTo>
                  <a:pt x="394263" y="1384911"/>
                </a:lnTo>
                <a:cubicBezTo>
                  <a:pt x="299825" y="1353014"/>
                  <a:pt x="197101" y="1376758"/>
                  <a:pt x="112642" y="1443556"/>
                </a:cubicBezTo>
                <a:cubicBezTo>
                  <a:pt x="74114" y="1395305"/>
                  <a:pt x="55810" y="1333244"/>
                  <a:pt x="55810" y="1266911"/>
                </a:cubicBezTo>
                <a:cubicBezTo>
                  <a:pt x="55810" y="1097473"/>
                  <a:pt x="175228" y="955927"/>
                  <a:pt x="334606" y="922383"/>
                </a:cubicBezTo>
                <a:cubicBezTo>
                  <a:pt x="497254" y="898036"/>
                  <a:pt x="645210" y="961827"/>
                  <a:pt x="694839" y="1079319"/>
                </a:cubicBezTo>
                <a:cubicBezTo>
                  <a:pt x="670482" y="1096114"/>
                  <a:pt x="651035" y="1119484"/>
                  <a:pt x="636636" y="1146893"/>
                </a:cubicBezTo>
                <a:cubicBezTo>
                  <a:pt x="598934" y="1218660"/>
                  <a:pt x="601627" y="1307205"/>
                  <a:pt x="643730" y="1380130"/>
                </a:cubicBezTo>
                <a:lnTo>
                  <a:pt x="677177" y="1360819"/>
                </a:lnTo>
                <a:cubicBezTo>
                  <a:pt x="642024" y="1299932"/>
                  <a:pt x="639299" y="1226219"/>
                  <a:pt x="669992" y="1166433"/>
                </a:cubicBezTo>
                <a:cubicBezTo>
                  <a:pt x="681439" y="1144136"/>
                  <a:pt x="696880" y="1125036"/>
                  <a:pt x="719376" y="1114815"/>
                </a:cubicBezTo>
                <a:lnTo>
                  <a:pt x="753521" y="1105667"/>
                </a:lnTo>
                <a:lnTo>
                  <a:pt x="747068" y="1089375"/>
                </a:lnTo>
                <a:cubicBezTo>
                  <a:pt x="775618" y="1073627"/>
                  <a:pt x="808756" y="1066440"/>
                  <a:pt x="843174" y="1068829"/>
                </a:cubicBezTo>
                <a:cubicBezTo>
                  <a:pt x="910177" y="1073482"/>
                  <a:pt x="971874" y="1113774"/>
                  <a:pt x="1005945" y="1175134"/>
                </a:cubicBezTo>
                <a:lnTo>
                  <a:pt x="1039750" y="1156458"/>
                </a:lnTo>
                <a:cubicBezTo>
                  <a:pt x="998956" y="1082934"/>
                  <a:pt x="924540" y="1035010"/>
                  <a:pt x="843662" y="1030172"/>
                </a:cubicBezTo>
                <a:cubicBezTo>
                  <a:pt x="804145" y="1027809"/>
                  <a:pt x="766021" y="1035895"/>
                  <a:pt x="732986" y="1053824"/>
                </a:cubicBezTo>
                <a:cubicBezTo>
                  <a:pt x="667861" y="924500"/>
                  <a:pt x="500732" y="853399"/>
                  <a:pt x="319377" y="879325"/>
                </a:cubicBezTo>
                <a:cubicBezTo>
                  <a:pt x="300989" y="843277"/>
                  <a:pt x="293334" y="802167"/>
                  <a:pt x="293334" y="759266"/>
                </a:cubicBezTo>
                <a:cubicBezTo>
                  <a:pt x="293334" y="639212"/>
                  <a:pt x="353287" y="533159"/>
                  <a:pt x="448596" y="474747"/>
                </a:cubicBezTo>
                <a:cubicBezTo>
                  <a:pt x="473964" y="344116"/>
                  <a:pt x="571545" y="239326"/>
                  <a:pt x="699138" y="207021"/>
                </a:cubicBezTo>
                <a:cubicBezTo>
                  <a:pt x="883688" y="175806"/>
                  <a:pt x="1051685" y="257594"/>
                  <a:pt x="1089767" y="399718"/>
                </a:cubicBezTo>
                <a:lnTo>
                  <a:pt x="1128734" y="389277"/>
                </a:lnTo>
                <a:cubicBezTo>
                  <a:pt x="1097563" y="272948"/>
                  <a:pt x="992084" y="191573"/>
                  <a:pt x="857834" y="171572"/>
                </a:cubicBezTo>
                <a:cubicBezTo>
                  <a:pt x="902623" y="69261"/>
                  <a:pt x="1005740" y="0"/>
                  <a:pt x="1125035" y="0"/>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0" name="Rounded Rectangle 5">
            <a:extLst>
              <a:ext uri="{FF2B5EF4-FFF2-40B4-BE49-F238E27FC236}">
                <a16:creationId xmlns:a16="http://schemas.microsoft.com/office/drawing/2014/main" id="{75D1E983-82C4-4419-8451-FACA85F0925D}"/>
              </a:ext>
            </a:extLst>
          </p:cNvPr>
          <p:cNvSpPr>
            <a:spLocks noChangeAspect="1"/>
          </p:cNvSpPr>
          <p:nvPr/>
        </p:nvSpPr>
        <p:spPr>
          <a:xfrm>
            <a:off x="8022187" y="3283320"/>
            <a:ext cx="644023" cy="202306"/>
          </a:xfrm>
          <a:custGeom>
            <a:avLst/>
            <a:gdLst>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84943 w 4571767"/>
              <a:gd name="connsiteY35" fmla="*/ 39812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84943 w 4571767"/>
              <a:gd name="connsiteY35" fmla="*/ 39812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506208 w 4571767"/>
              <a:gd name="connsiteY35" fmla="*/ 461917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74310 w 4571767"/>
              <a:gd name="connsiteY35" fmla="*/ 44065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 name="connsiteX0" fmla="*/ 3451807 w 4571767"/>
              <a:gd name="connsiteY0" fmla="*/ 168171 h 1436123"/>
              <a:gd name="connsiteX1" fmla="*/ 2895923 w 4571767"/>
              <a:gd name="connsiteY1" fmla="*/ 221714 h 1436123"/>
              <a:gd name="connsiteX2" fmla="*/ 2669155 w 4571767"/>
              <a:gd name="connsiteY2" fmla="*/ 442234 h 1436123"/>
              <a:gd name="connsiteX3" fmla="*/ 2669155 w 4571767"/>
              <a:gd name="connsiteY3" fmla="*/ 1079532 h 1436123"/>
              <a:gd name="connsiteX4" fmla="*/ 2895923 w 4571767"/>
              <a:gd name="connsiteY4" fmla="*/ 1300052 h 1436123"/>
              <a:gd name="connsiteX5" fmla="*/ 4018179 w 4571767"/>
              <a:gd name="connsiteY5" fmla="*/ 1300052 h 1436123"/>
              <a:gd name="connsiteX6" fmla="*/ 4244947 w 4571767"/>
              <a:gd name="connsiteY6" fmla="*/ 1079532 h 1436123"/>
              <a:gd name="connsiteX7" fmla="*/ 4244947 w 4571767"/>
              <a:gd name="connsiteY7" fmla="*/ 442234 h 1436123"/>
              <a:gd name="connsiteX8" fmla="*/ 4018179 w 4571767"/>
              <a:gd name="connsiteY8" fmla="*/ 221714 h 1436123"/>
              <a:gd name="connsiteX9" fmla="*/ 3451807 w 4571767"/>
              <a:gd name="connsiteY9" fmla="*/ 168171 h 1436123"/>
              <a:gd name="connsiteX10" fmla="*/ 1119961 w 4571767"/>
              <a:gd name="connsiteY10" fmla="*/ 168171 h 1436123"/>
              <a:gd name="connsiteX11" fmla="*/ 553589 w 4571767"/>
              <a:gd name="connsiteY11" fmla="*/ 221714 h 1436123"/>
              <a:gd name="connsiteX12" fmla="*/ 326821 w 4571767"/>
              <a:gd name="connsiteY12" fmla="*/ 442234 h 1436123"/>
              <a:gd name="connsiteX13" fmla="*/ 326821 w 4571767"/>
              <a:gd name="connsiteY13" fmla="*/ 1079532 h 1436123"/>
              <a:gd name="connsiteX14" fmla="*/ 553589 w 4571767"/>
              <a:gd name="connsiteY14" fmla="*/ 1300052 h 1436123"/>
              <a:gd name="connsiteX15" fmla="*/ 1675845 w 4571767"/>
              <a:gd name="connsiteY15" fmla="*/ 1300052 h 1436123"/>
              <a:gd name="connsiteX16" fmla="*/ 1902613 w 4571767"/>
              <a:gd name="connsiteY16" fmla="*/ 1079532 h 1436123"/>
              <a:gd name="connsiteX17" fmla="*/ 1902613 w 4571767"/>
              <a:gd name="connsiteY17" fmla="*/ 442234 h 1436123"/>
              <a:gd name="connsiteX18" fmla="*/ 1675845 w 4571767"/>
              <a:gd name="connsiteY18" fmla="*/ 221714 h 1436123"/>
              <a:gd name="connsiteX19" fmla="*/ 1119961 w 4571767"/>
              <a:gd name="connsiteY19" fmla="*/ 168171 h 1436123"/>
              <a:gd name="connsiteX20" fmla="*/ 1121187 w 4571767"/>
              <a:gd name="connsiteY20" fmla="*/ 38 h 1436123"/>
              <a:gd name="connsiteX21" fmla="*/ 1807038 w 4571767"/>
              <a:gd name="connsiteY21" fmla="*/ 67971 h 1436123"/>
              <a:gd name="connsiteX22" fmla="*/ 2016287 w 4571767"/>
              <a:gd name="connsiteY22" fmla="*/ 163497 h 1436123"/>
              <a:gd name="connsiteX23" fmla="*/ 2548970 w 4571767"/>
              <a:gd name="connsiteY23" fmla="*/ 168752 h 1436123"/>
              <a:gd name="connsiteX24" fmla="*/ 2764730 w 4571767"/>
              <a:gd name="connsiteY24" fmla="*/ 67971 h 1436123"/>
              <a:gd name="connsiteX25" fmla="*/ 3450581 w 4571767"/>
              <a:gd name="connsiteY25" fmla="*/ 38 h 1436123"/>
              <a:gd name="connsiteX26" fmla="*/ 4149372 w 4571767"/>
              <a:gd name="connsiteY26" fmla="*/ 67971 h 1436123"/>
              <a:gd name="connsiteX27" fmla="*/ 4543824 w 4571767"/>
              <a:gd name="connsiteY27" fmla="*/ 199412 h 1436123"/>
              <a:gd name="connsiteX28" fmla="*/ 4571676 w 4571767"/>
              <a:gd name="connsiteY28" fmla="*/ 227264 h 1436123"/>
              <a:gd name="connsiteX29" fmla="*/ 4565326 w 4571767"/>
              <a:gd name="connsiteY29" fmla="*/ 549385 h 1436123"/>
              <a:gd name="connsiteX30" fmla="*/ 4429159 w 4571767"/>
              <a:gd name="connsiteY30" fmla="*/ 656612 h 1436123"/>
              <a:gd name="connsiteX31" fmla="*/ 4429159 w 4571767"/>
              <a:gd name="connsiteY31" fmla="*/ 1156336 h 1436123"/>
              <a:gd name="connsiteX32" fmla="*/ 4149372 w 4571767"/>
              <a:gd name="connsiteY32" fmla="*/ 1436123 h 1436123"/>
              <a:gd name="connsiteX33" fmla="*/ 2764730 w 4571767"/>
              <a:gd name="connsiteY33" fmla="*/ 1436123 h 1436123"/>
              <a:gd name="connsiteX34" fmla="*/ 2484943 w 4571767"/>
              <a:gd name="connsiteY34" fmla="*/ 1156336 h 1436123"/>
              <a:gd name="connsiteX35" fmla="*/ 2474310 w 4571767"/>
              <a:gd name="connsiteY35" fmla="*/ 440652 h 1436123"/>
              <a:gd name="connsiteX36" fmla="*/ 2086825 w 4571767"/>
              <a:gd name="connsiteY36" fmla="*/ 443779 h 1436123"/>
              <a:gd name="connsiteX37" fmla="*/ 2086825 w 4571767"/>
              <a:gd name="connsiteY37" fmla="*/ 1156336 h 1436123"/>
              <a:gd name="connsiteX38" fmla="*/ 1807038 w 4571767"/>
              <a:gd name="connsiteY38" fmla="*/ 1436123 h 1436123"/>
              <a:gd name="connsiteX39" fmla="*/ 422396 w 4571767"/>
              <a:gd name="connsiteY39" fmla="*/ 1436123 h 1436123"/>
              <a:gd name="connsiteX40" fmla="*/ 142609 w 4571767"/>
              <a:gd name="connsiteY40" fmla="*/ 1156336 h 1436123"/>
              <a:gd name="connsiteX41" fmla="*/ 142609 w 4571767"/>
              <a:gd name="connsiteY41" fmla="*/ 656612 h 1436123"/>
              <a:gd name="connsiteX42" fmla="*/ 6442 w 4571767"/>
              <a:gd name="connsiteY42" fmla="*/ 549385 h 1436123"/>
              <a:gd name="connsiteX43" fmla="*/ 92 w 4571767"/>
              <a:gd name="connsiteY43" fmla="*/ 227264 h 1436123"/>
              <a:gd name="connsiteX44" fmla="*/ 27944 w 4571767"/>
              <a:gd name="connsiteY44" fmla="*/ 199412 h 1436123"/>
              <a:gd name="connsiteX45" fmla="*/ 422396 w 4571767"/>
              <a:gd name="connsiteY45" fmla="*/ 67971 h 1436123"/>
              <a:gd name="connsiteX46" fmla="*/ 1121187 w 4571767"/>
              <a:gd name="connsiteY46" fmla="*/ 38 h 143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571767" h="1436123">
                <a:moveTo>
                  <a:pt x="3451807" y="168171"/>
                </a:moveTo>
                <a:cubicBezTo>
                  <a:pt x="3271756" y="167321"/>
                  <a:pt x="3093453" y="184319"/>
                  <a:pt x="2895923" y="221714"/>
                </a:cubicBezTo>
                <a:cubicBezTo>
                  <a:pt x="2721740" y="269308"/>
                  <a:pt x="2669155" y="320444"/>
                  <a:pt x="2669155" y="442234"/>
                </a:cubicBezTo>
                <a:lnTo>
                  <a:pt x="2669155" y="1079532"/>
                </a:lnTo>
                <a:cubicBezTo>
                  <a:pt x="2669155" y="1201322"/>
                  <a:pt x="2770682" y="1300052"/>
                  <a:pt x="2895923" y="1300052"/>
                </a:cubicBezTo>
                <a:lnTo>
                  <a:pt x="4018179" y="1300052"/>
                </a:lnTo>
                <a:cubicBezTo>
                  <a:pt x="4143419" y="1300052"/>
                  <a:pt x="4244947" y="1201322"/>
                  <a:pt x="4244947" y="1079532"/>
                </a:cubicBezTo>
                <a:lnTo>
                  <a:pt x="4244947" y="442234"/>
                </a:lnTo>
                <a:cubicBezTo>
                  <a:pt x="4244947" y="320444"/>
                  <a:pt x="4185370" y="269308"/>
                  <a:pt x="4018179" y="221714"/>
                </a:cubicBezTo>
                <a:cubicBezTo>
                  <a:pt x="3813657" y="187719"/>
                  <a:pt x="3631858" y="169021"/>
                  <a:pt x="3451807" y="168171"/>
                </a:cubicBezTo>
                <a:close/>
                <a:moveTo>
                  <a:pt x="1119961" y="168171"/>
                </a:moveTo>
                <a:cubicBezTo>
                  <a:pt x="939910" y="169021"/>
                  <a:pt x="758111" y="187719"/>
                  <a:pt x="553589" y="221714"/>
                </a:cubicBezTo>
                <a:cubicBezTo>
                  <a:pt x="386398" y="269308"/>
                  <a:pt x="326821" y="320444"/>
                  <a:pt x="326821" y="442234"/>
                </a:cubicBezTo>
                <a:lnTo>
                  <a:pt x="326821" y="1079532"/>
                </a:lnTo>
                <a:cubicBezTo>
                  <a:pt x="326821" y="1201322"/>
                  <a:pt x="428349" y="1300052"/>
                  <a:pt x="553589" y="1300052"/>
                </a:cubicBezTo>
                <a:lnTo>
                  <a:pt x="1675845" y="1300052"/>
                </a:lnTo>
                <a:cubicBezTo>
                  <a:pt x="1801086" y="1300052"/>
                  <a:pt x="1902613" y="1201322"/>
                  <a:pt x="1902613" y="1079532"/>
                </a:cubicBezTo>
                <a:lnTo>
                  <a:pt x="1902613" y="442234"/>
                </a:lnTo>
                <a:cubicBezTo>
                  <a:pt x="1902613" y="320444"/>
                  <a:pt x="1850028" y="269308"/>
                  <a:pt x="1675845" y="221714"/>
                </a:cubicBezTo>
                <a:cubicBezTo>
                  <a:pt x="1478315" y="184319"/>
                  <a:pt x="1300012" y="167321"/>
                  <a:pt x="1119961" y="168171"/>
                </a:cubicBezTo>
                <a:close/>
                <a:moveTo>
                  <a:pt x="1121187" y="38"/>
                </a:moveTo>
                <a:cubicBezTo>
                  <a:pt x="1343334" y="-1041"/>
                  <a:pt x="1563325" y="20526"/>
                  <a:pt x="1807038" y="67971"/>
                </a:cubicBezTo>
                <a:cubicBezTo>
                  <a:pt x="1906130" y="95814"/>
                  <a:pt x="1973325" y="124613"/>
                  <a:pt x="2016287" y="163497"/>
                </a:cubicBezTo>
                <a:cubicBezTo>
                  <a:pt x="2192333" y="131034"/>
                  <a:pt x="2373065" y="132902"/>
                  <a:pt x="2548970" y="168752"/>
                </a:cubicBezTo>
                <a:cubicBezTo>
                  <a:pt x="2591975" y="127420"/>
                  <a:pt x="2660813" y="97170"/>
                  <a:pt x="2764730" y="67971"/>
                </a:cubicBezTo>
                <a:cubicBezTo>
                  <a:pt x="3008443" y="20526"/>
                  <a:pt x="3228434" y="-1041"/>
                  <a:pt x="3450581" y="38"/>
                </a:cubicBezTo>
                <a:cubicBezTo>
                  <a:pt x="3672728" y="1116"/>
                  <a:pt x="3897032" y="24839"/>
                  <a:pt x="4149372" y="67971"/>
                </a:cubicBezTo>
                <a:lnTo>
                  <a:pt x="4543824" y="199412"/>
                </a:lnTo>
                <a:cubicBezTo>
                  <a:pt x="4559206" y="199412"/>
                  <a:pt x="4571676" y="211882"/>
                  <a:pt x="4571676" y="227264"/>
                </a:cubicBezTo>
                <a:cubicBezTo>
                  <a:pt x="4572734" y="350513"/>
                  <a:pt x="4564268" y="426136"/>
                  <a:pt x="4565326" y="549385"/>
                </a:cubicBezTo>
                <a:cubicBezTo>
                  <a:pt x="4567562" y="597827"/>
                  <a:pt x="4477723" y="636745"/>
                  <a:pt x="4429159" y="656612"/>
                </a:cubicBezTo>
                <a:lnTo>
                  <a:pt x="4429159" y="1156336"/>
                </a:lnTo>
                <a:cubicBezTo>
                  <a:pt x="4429159" y="1310858"/>
                  <a:pt x="4303894" y="1436123"/>
                  <a:pt x="4149372" y="1436123"/>
                </a:cubicBezTo>
                <a:lnTo>
                  <a:pt x="2764730" y="1436123"/>
                </a:lnTo>
                <a:cubicBezTo>
                  <a:pt x="2610208" y="1436123"/>
                  <a:pt x="2484943" y="1310858"/>
                  <a:pt x="2484943" y="1156336"/>
                </a:cubicBezTo>
                <a:lnTo>
                  <a:pt x="2474310" y="440652"/>
                </a:lnTo>
                <a:cubicBezTo>
                  <a:pt x="2406606" y="372700"/>
                  <a:pt x="2176327" y="349391"/>
                  <a:pt x="2086825" y="443779"/>
                </a:cubicBezTo>
                <a:lnTo>
                  <a:pt x="2086825" y="1156336"/>
                </a:lnTo>
                <a:cubicBezTo>
                  <a:pt x="2086825" y="1310858"/>
                  <a:pt x="1961560" y="1436123"/>
                  <a:pt x="1807038" y="1436123"/>
                </a:cubicBezTo>
                <a:lnTo>
                  <a:pt x="422396" y="1436123"/>
                </a:lnTo>
                <a:cubicBezTo>
                  <a:pt x="267874" y="1436123"/>
                  <a:pt x="142609" y="1310858"/>
                  <a:pt x="142609" y="1156336"/>
                </a:cubicBezTo>
                <a:lnTo>
                  <a:pt x="142609" y="656612"/>
                </a:lnTo>
                <a:cubicBezTo>
                  <a:pt x="94045" y="636745"/>
                  <a:pt x="4206" y="597827"/>
                  <a:pt x="6442" y="549385"/>
                </a:cubicBezTo>
                <a:cubicBezTo>
                  <a:pt x="7500" y="426136"/>
                  <a:pt x="-966" y="350513"/>
                  <a:pt x="92" y="227264"/>
                </a:cubicBezTo>
                <a:cubicBezTo>
                  <a:pt x="92" y="211882"/>
                  <a:pt x="12562" y="199412"/>
                  <a:pt x="27944" y="199412"/>
                </a:cubicBezTo>
                <a:lnTo>
                  <a:pt x="422396" y="67971"/>
                </a:lnTo>
                <a:cubicBezTo>
                  <a:pt x="674736" y="24839"/>
                  <a:pt x="899040" y="1116"/>
                  <a:pt x="1121187" y="38"/>
                </a:cubicBezTo>
                <a:close/>
              </a:path>
            </a:pathLst>
          </a:cu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Tree>
    <p:extLst>
      <p:ext uri="{BB962C8B-B14F-4D97-AF65-F5344CB8AC3E}">
        <p14:creationId xmlns:p14="http://schemas.microsoft.com/office/powerpoint/2010/main" val="13747486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bLeanShape Left U-Shape 12">
            <a:extLst>
              <a:ext uri="{FF2B5EF4-FFF2-40B4-BE49-F238E27FC236}">
                <a16:creationId xmlns:a16="http://schemas.microsoft.com/office/drawing/2014/main" id="{0D367E0C-3410-418B-858C-68FDAD6D1043}"/>
              </a:ext>
            </a:extLst>
          </p:cNvPr>
          <p:cNvSpPr/>
          <p:nvPr/>
        </p:nvSpPr>
        <p:spPr>
          <a:xfrm>
            <a:off x="365683" y="1919786"/>
            <a:ext cx="479790" cy="396084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845472" y="1919786"/>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611487" y="2045786"/>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52" name="Rectangle 51">
            <a:extLst>
              <a:ext uri="{FF2B5EF4-FFF2-40B4-BE49-F238E27FC236}">
                <a16:creationId xmlns:a16="http://schemas.microsoft.com/office/drawing/2014/main" id="{CA24CF78-EE3B-4434-A627-37DBB072910D}"/>
              </a:ext>
            </a:extLst>
          </p:cNvPr>
          <p:cNvSpPr/>
          <p:nvPr/>
        </p:nvSpPr>
        <p:spPr>
          <a:xfrm>
            <a:off x="845472" y="2729997"/>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3" name="Rectangle 52">
            <a:extLst>
              <a:ext uri="{FF2B5EF4-FFF2-40B4-BE49-F238E27FC236}">
                <a16:creationId xmlns:a16="http://schemas.microsoft.com/office/drawing/2014/main" id="{6D95470C-4D39-4133-A5E0-F6993F0838B5}"/>
              </a:ext>
            </a:extLst>
          </p:cNvPr>
          <p:cNvSpPr/>
          <p:nvPr userDrawn="1"/>
        </p:nvSpPr>
        <p:spPr bwMode="gray">
          <a:xfrm>
            <a:off x="611487" y="2855997"/>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55" name="Rectangle 54">
            <a:extLst>
              <a:ext uri="{FF2B5EF4-FFF2-40B4-BE49-F238E27FC236}">
                <a16:creationId xmlns:a16="http://schemas.microsoft.com/office/drawing/2014/main" id="{3137117A-C35A-4F1D-A93A-7EC19DC6C05C}"/>
              </a:ext>
            </a:extLst>
          </p:cNvPr>
          <p:cNvSpPr/>
          <p:nvPr/>
        </p:nvSpPr>
        <p:spPr>
          <a:xfrm>
            <a:off x="845472" y="3540208"/>
            <a:ext cx="7510918"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6" name="Rectangle 55">
            <a:extLst>
              <a:ext uri="{FF2B5EF4-FFF2-40B4-BE49-F238E27FC236}">
                <a16:creationId xmlns:a16="http://schemas.microsoft.com/office/drawing/2014/main" id="{EB38A0BD-9534-444A-A5C6-9FF65B853610}"/>
              </a:ext>
            </a:extLst>
          </p:cNvPr>
          <p:cNvSpPr/>
          <p:nvPr userDrawn="1"/>
        </p:nvSpPr>
        <p:spPr bwMode="gray">
          <a:xfrm>
            <a:off x="611487" y="3666208"/>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58" name="Rectangle 57">
            <a:extLst>
              <a:ext uri="{FF2B5EF4-FFF2-40B4-BE49-F238E27FC236}">
                <a16:creationId xmlns:a16="http://schemas.microsoft.com/office/drawing/2014/main" id="{5C20D6C2-600C-48E3-B27E-8A63BF0EB493}"/>
              </a:ext>
            </a:extLst>
          </p:cNvPr>
          <p:cNvSpPr/>
          <p:nvPr/>
        </p:nvSpPr>
        <p:spPr>
          <a:xfrm>
            <a:off x="845472" y="4350419"/>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9" name="Rectangle 58">
            <a:extLst>
              <a:ext uri="{FF2B5EF4-FFF2-40B4-BE49-F238E27FC236}">
                <a16:creationId xmlns:a16="http://schemas.microsoft.com/office/drawing/2014/main" id="{12031D58-9725-4AFE-9FA3-6D7652866A64}"/>
              </a:ext>
            </a:extLst>
          </p:cNvPr>
          <p:cNvSpPr/>
          <p:nvPr userDrawn="1"/>
        </p:nvSpPr>
        <p:spPr bwMode="gray">
          <a:xfrm>
            <a:off x="611487" y="447641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61" name="Rectangle 60">
            <a:extLst>
              <a:ext uri="{FF2B5EF4-FFF2-40B4-BE49-F238E27FC236}">
                <a16:creationId xmlns:a16="http://schemas.microsoft.com/office/drawing/2014/main" id="{D70B5239-0330-4B9E-90FB-5D890A369B8B}"/>
              </a:ext>
            </a:extLst>
          </p:cNvPr>
          <p:cNvSpPr/>
          <p:nvPr/>
        </p:nvSpPr>
        <p:spPr>
          <a:xfrm>
            <a:off x="845472" y="5160629"/>
            <a:ext cx="7510917"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62" name="Rectangle 61">
            <a:extLst>
              <a:ext uri="{FF2B5EF4-FFF2-40B4-BE49-F238E27FC236}">
                <a16:creationId xmlns:a16="http://schemas.microsoft.com/office/drawing/2014/main" id="{CB52C7DF-65FD-48A7-9B9D-295B8B520C35}"/>
              </a:ext>
            </a:extLst>
          </p:cNvPr>
          <p:cNvSpPr/>
          <p:nvPr userDrawn="1"/>
        </p:nvSpPr>
        <p:spPr bwMode="gray">
          <a:xfrm>
            <a:off x="611487" y="528662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5</a:t>
            </a:r>
          </a:p>
        </p:txBody>
      </p:sp>
      <p:sp>
        <p:nvSpPr>
          <p:cNvPr id="24" name="Rectangle 73">
            <a:extLst>
              <a:ext uri="{FF2B5EF4-FFF2-40B4-BE49-F238E27FC236}">
                <a16:creationId xmlns:a16="http://schemas.microsoft.com/office/drawing/2014/main" id="{75CF34F0-74F4-43F3-B1F6-5506C988C4FE}"/>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34603894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
            <a:extLst>
              <a:ext uri="{FF2B5EF4-FFF2-40B4-BE49-F238E27FC236}">
                <a16:creationId xmlns:a16="http://schemas.microsoft.com/office/drawing/2014/main" id="{361F0F9C-5F99-4E0D-8F35-0B77628741D3}"/>
              </a:ext>
            </a:extLst>
          </p:cNvPr>
          <p:cNvSpPr>
            <a:spLocks noChangeShapeType="1"/>
          </p:cNvSpPr>
          <p:nvPr/>
        </p:nvSpPr>
        <p:spPr bwMode="auto">
          <a:xfrm flipH="1">
            <a:off x="844519" y="1913475"/>
            <a:ext cx="0" cy="3967151"/>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352364-B6E4-4745-AA7A-BF389E3654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29">
            <a:extLst>
              <a:ext uri="{FF2B5EF4-FFF2-40B4-BE49-F238E27FC236}">
                <a16:creationId xmlns:a16="http://schemas.microsoft.com/office/drawing/2014/main" id="{E1EB7A84-8A39-4EB6-9094-1A04E5DB06A3}"/>
              </a:ext>
            </a:extLst>
          </p:cNvPr>
          <p:cNvSpPr/>
          <p:nvPr/>
        </p:nvSpPr>
        <p:spPr>
          <a:xfrm>
            <a:off x="845472" y="1919786"/>
            <a:ext cx="7510909"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1" name="Rectangle 30">
            <a:extLst>
              <a:ext uri="{FF2B5EF4-FFF2-40B4-BE49-F238E27FC236}">
                <a16:creationId xmlns:a16="http://schemas.microsoft.com/office/drawing/2014/main" id="{E8A1DBD2-BC93-4047-81CE-615323B60E98}"/>
              </a:ext>
            </a:extLst>
          </p:cNvPr>
          <p:cNvSpPr/>
          <p:nvPr userDrawn="1"/>
        </p:nvSpPr>
        <p:spPr bwMode="gray">
          <a:xfrm>
            <a:off x="611487" y="2045786"/>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1</a:t>
            </a:r>
          </a:p>
        </p:txBody>
      </p:sp>
      <p:sp>
        <p:nvSpPr>
          <p:cNvPr id="52" name="Rectangle 51">
            <a:extLst>
              <a:ext uri="{FF2B5EF4-FFF2-40B4-BE49-F238E27FC236}">
                <a16:creationId xmlns:a16="http://schemas.microsoft.com/office/drawing/2014/main" id="{CA24CF78-EE3B-4434-A627-37DBB072910D}"/>
              </a:ext>
            </a:extLst>
          </p:cNvPr>
          <p:cNvSpPr/>
          <p:nvPr/>
        </p:nvSpPr>
        <p:spPr>
          <a:xfrm>
            <a:off x="845472" y="2729997"/>
            <a:ext cx="7510893"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3" name="Rectangle 52">
            <a:extLst>
              <a:ext uri="{FF2B5EF4-FFF2-40B4-BE49-F238E27FC236}">
                <a16:creationId xmlns:a16="http://schemas.microsoft.com/office/drawing/2014/main" id="{6D95470C-4D39-4133-A5E0-F6993F0838B5}"/>
              </a:ext>
            </a:extLst>
          </p:cNvPr>
          <p:cNvSpPr/>
          <p:nvPr userDrawn="1"/>
        </p:nvSpPr>
        <p:spPr bwMode="gray">
          <a:xfrm>
            <a:off x="611487" y="2855997"/>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2</a:t>
            </a:r>
          </a:p>
        </p:txBody>
      </p:sp>
      <p:sp>
        <p:nvSpPr>
          <p:cNvPr id="55" name="Rectangle 54">
            <a:extLst>
              <a:ext uri="{FF2B5EF4-FFF2-40B4-BE49-F238E27FC236}">
                <a16:creationId xmlns:a16="http://schemas.microsoft.com/office/drawing/2014/main" id="{3137117A-C35A-4F1D-A93A-7EC19DC6C05C}"/>
              </a:ext>
            </a:extLst>
          </p:cNvPr>
          <p:cNvSpPr/>
          <p:nvPr/>
        </p:nvSpPr>
        <p:spPr>
          <a:xfrm>
            <a:off x="845473" y="3540208"/>
            <a:ext cx="7510888"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6" name="Rectangle 55">
            <a:extLst>
              <a:ext uri="{FF2B5EF4-FFF2-40B4-BE49-F238E27FC236}">
                <a16:creationId xmlns:a16="http://schemas.microsoft.com/office/drawing/2014/main" id="{EB38A0BD-9534-444A-A5C6-9FF65B853610}"/>
              </a:ext>
            </a:extLst>
          </p:cNvPr>
          <p:cNvSpPr/>
          <p:nvPr userDrawn="1"/>
        </p:nvSpPr>
        <p:spPr bwMode="gray">
          <a:xfrm>
            <a:off x="611487" y="3666208"/>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3</a:t>
            </a:r>
          </a:p>
        </p:txBody>
      </p:sp>
      <p:sp>
        <p:nvSpPr>
          <p:cNvPr id="58" name="Rectangle 57">
            <a:extLst>
              <a:ext uri="{FF2B5EF4-FFF2-40B4-BE49-F238E27FC236}">
                <a16:creationId xmlns:a16="http://schemas.microsoft.com/office/drawing/2014/main" id="{5C20D6C2-600C-48E3-B27E-8A63BF0EB493}"/>
              </a:ext>
            </a:extLst>
          </p:cNvPr>
          <p:cNvSpPr/>
          <p:nvPr/>
        </p:nvSpPr>
        <p:spPr>
          <a:xfrm>
            <a:off x="845472" y="4350419"/>
            <a:ext cx="7510883"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9" name="Rectangle 58">
            <a:extLst>
              <a:ext uri="{FF2B5EF4-FFF2-40B4-BE49-F238E27FC236}">
                <a16:creationId xmlns:a16="http://schemas.microsoft.com/office/drawing/2014/main" id="{12031D58-9725-4AFE-9FA3-6D7652866A64}"/>
              </a:ext>
            </a:extLst>
          </p:cNvPr>
          <p:cNvSpPr/>
          <p:nvPr userDrawn="1"/>
        </p:nvSpPr>
        <p:spPr bwMode="gray">
          <a:xfrm>
            <a:off x="611487" y="447641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4</a:t>
            </a:r>
          </a:p>
        </p:txBody>
      </p:sp>
      <p:sp>
        <p:nvSpPr>
          <p:cNvPr id="61" name="Rectangle 60">
            <a:extLst>
              <a:ext uri="{FF2B5EF4-FFF2-40B4-BE49-F238E27FC236}">
                <a16:creationId xmlns:a16="http://schemas.microsoft.com/office/drawing/2014/main" id="{D70B5239-0330-4B9E-90FB-5D890A369B8B}"/>
              </a:ext>
            </a:extLst>
          </p:cNvPr>
          <p:cNvSpPr/>
          <p:nvPr/>
        </p:nvSpPr>
        <p:spPr>
          <a:xfrm>
            <a:off x="845472" y="5160629"/>
            <a:ext cx="7510875" cy="720000"/>
          </a:xfrm>
          <a:prstGeom prst="rect">
            <a:avLst/>
          </a:prstGeom>
          <a:noFill/>
          <a:ln w="12700" cap="flat" cmpd="sng" algn="ctr">
            <a:noFill/>
            <a:prstDash val="solid"/>
            <a:miter lim="800000"/>
          </a:ln>
          <a:effectLst/>
        </p:spPr>
        <p:txBody>
          <a:bodyPr lIns="360000" tIns="0" bIns="0" rtlCol="0" anchor="ctr"/>
          <a:lstStyle/>
          <a:p>
            <a:pPr marL="0" lvl="1" indent="0">
              <a:spcBef>
                <a:spcPts val="600"/>
              </a:spcBef>
              <a:buClr>
                <a:schemeClr val="tx2"/>
              </a:buClr>
              <a:buNone/>
            </a:pPr>
            <a:r>
              <a:rPr lang="en-GB" b="1"/>
              <a:t>On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62" name="Rectangle 61">
            <a:extLst>
              <a:ext uri="{FF2B5EF4-FFF2-40B4-BE49-F238E27FC236}">
                <a16:creationId xmlns:a16="http://schemas.microsoft.com/office/drawing/2014/main" id="{CB52C7DF-65FD-48A7-9B9D-295B8B520C35}"/>
              </a:ext>
            </a:extLst>
          </p:cNvPr>
          <p:cNvSpPr/>
          <p:nvPr userDrawn="1"/>
        </p:nvSpPr>
        <p:spPr bwMode="gray">
          <a:xfrm>
            <a:off x="611487" y="5286629"/>
            <a:ext cx="468001" cy="468000"/>
          </a:xfrm>
          <a:prstGeom prst="rect">
            <a:avLst/>
          </a:prstGeom>
          <a:solidFill>
            <a:srgbClr val="8D8EA7"/>
          </a:solidFill>
          <a:ln w="57150" algn="ctr">
            <a:solidFill>
              <a:schemeClr val="bg1"/>
            </a:solidFill>
            <a:miter lim="800000"/>
            <a:headEnd/>
            <a:tailEnd/>
          </a:ln>
        </p:spPr>
        <p:txBody>
          <a:bodyPr lIns="128563" tIns="102850" rIns="128563" bIns="102850" rtlCol="0" anchor="ctr"/>
          <a:lstStyle/>
          <a:p>
            <a:pPr marL="0" marR="0" lvl="0" indent="0" algn="ctr" defTabSz="1306205" eaLnBrk="1" fontAlgn="base" latinLnBrk="0" hangingPunct="1">
              <a:lnSpc>
                <a:spcPct val="100000"/>
              </a:lnSpc>
              <a:spcBef>
                <a:spcPct val="50000"/>
              </a:spcBef>
              <a:spcAft>
                <a:spcPct val="0"/>
              </a:spcAft>
              <a:buClr>
                <a:srgbClr val="F0AB00"/>
              </a:buClr>
              <a:buSzPct val="80000"/>
              <a:buFontTx/>
              <a:buNone/>
              <a:tabLst/>
              <a:defRPr/>
            </a:pPr>
            <a:r>
              <a:rPr kumimoji="0" lang="en-GB" sz="2400" b="1" i="0" u="none" strike="noStrike" kern="0" cap="none" spc="0" normalizeH="0" baseline="0" noProof="0">
                <a:ln>
                  <a:noFill/>
                </a:ln>
                <a:solidFill>
                  <a:srgbClr val="FFFFFF"/>
                </a:solidFill>
                <a:effectLst/>
                <a:uLnTx/>
                <a:uFillTx/>
                <a:ea typeface="Arial Unicode MS" pitchFamily="34" charset="-128"/>
                <a:cs typeface="Arial Unicode MS" pitchFamily="34" charset="-128"/>
              </a:rPr>
              <a:t>5</a:t>
            </a:r>
          </a:p>
        </p:txBody>
      </p:sp>
      <p:sp>
        <p:nvSpPr>
          <p:cNvPr id="23" name="Rectangle 73">
            <a:extLst>
              <a:ext uri="{FF2B5EF4-FFF2-40B4-BE49-F238E27FC236}">
                <a16:creationId xmlns:a16="http://schemas.microsoft.com/office/drawing/2014/main" id="{2E3EA07A-46CC-4231-88DC-E6351A0FF2B9}"/>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3848304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DF4E55-54C1-4CB7-8FC1-7511399B0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41" name="Rectangle 40">
            <a:extLst>
              <a:ext uri="{FF2B5EF4-FFF2-40B4-BE49-F238E27FC236}">
                <a16:creationId xmlns:a16="http://schemas.microsoft.com/office/drawing/2014/main" id="{26E43F7D-E1BC-4B2B-A4D2-CAF370AF8369}"/>
              </a:ext>
            </a:extLst>
          </p:cNvPr>
          <p:cNvSpPr/>
          <p:nvPr/>
        </p:nvSpPr>
        <p:spPr>
          <a:xfrm>
            <a:off x="4297680" y="1913429"/>
            <a:ext cx="3878259" cy="1760482"/>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ix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BContent19">
            <a:extLst>
              <a:ext uri="{FF2B5EF4-FFF2-40B4-BE49-F238E27FC236}">
                <a16:creationId xmlns:a16="http://schemas.microsoft.com/office/drawing/2014/main" id="{45A12B0F-8499-4973-AAFA-7EC5C23EC6E2}"/>
              </a:ext>
            </a:extLst>
          </p:cNvPr>
          <p:cNvSpPr txBox="1"/>
          <p:nvPr/>
        </p:nvSpPr>
        <p:spPr>
          <a:xfrm>
            <a:off x="365682" y="1913429"/>
            <a:ext cx="482735" cy="914096"/>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600" b="1" i="0" u="none" strike="noStrike" kern="0" cap="none" spc="0" normalizeH="0" baseline="0" noProof="0">
                <a:ln>
                  <a:noFill/>
                </a:ln>
                <a:solidFill>
                  <a:srgbClr val="8D8EA7"/>
                </a:solidFill>
                <a:effectLst/>
                <a:uLnTx/>
                <a:uFillTx/>
                <a:latin typeface="+mj-lt"/>
              </a:rPr>
              <a:t>1</a:t>
            </a:r>
          </a:p>
        </p:txBody>
      </p:sp>
      <p:sp>
        <p:nvSpPr>
          <p:cNvPr id="24" name="Rectangle 23">
            <a:extLst>
              <a:ext uri="{FF2B5EF4-FFF2-40B4-BE49-F238E27FC236}">
                <a16:creationId xmlns:a16="http://schemas.microsoft.com/office/drawing/2014/main" id="{0941BA65-BDAB-43E1-962F-0F19E76464F8}"/>
              </a:ext>
            </a:extLst>
          </p:cNvPr>
          <p:cNvSpPr>
            <a:spLocks noChangeAspect="1"/>
          </p:cNvSpPr>
          <p:nvPr/>
        </p:nvSpPr>
        <p:spPr>
          <a:xfrm>
            <a:off x="995236" y="1913428"/>
            <a:ext cx="3155625" cy="1773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37" name="Rectangle 36">
            <a:extLst>
              <a:ext uri="{FF2B5EF4-FFF2-40B4-BE49-F238E27FC236}">
                <a16:creationId xmlns:a16="http://schemas.microsoft.com/office/drawing/2014/main" id="{E3E6CD26-811E-426A-9656-4ACEF7B0AA6C}"/>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36" name="Rectangle 35">
            <a:extLst>
              <a:ext uri="{FF2B5EF4-FFF2-40B4-BE49-F238E27FC236}">
                <a16:creationId xmlns:a16="http://schemas.microsoft.com/office/drawing/2014/main" id="{E9CC37F5-1222-4B8D-8D54-1B41749FC387}"/>
              </a:ext>
            </a:extLst>
          </p:cNvPr>
          <p:cNvSpPr/>
          <p:nvPr/>
        </p:nvSpPr>
        <p:spPr>
          <a:xfrm>
            <a:off x="4297680" y="4106657"/>
            <a:ext cx="3878259" cy="1760482"/>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six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8" name="RBContent19">
            <a:extLst>
              <a:ext uri="{FF2B5EF4-FFF2-40B4-BE49-F238E27FC236}">
                <a16:creationId xmlns:a16="http://schemas.microsoft.com/office/drawing/2014/main" id="{9B076B2D-DD8C-43B3-A0B2-AAD2AC0D325C}"/>
              </a:ext>
            </a:extLst>
          </p:cNvPr>
          <p:cNvSpPr txBox="1"/>
          <p:nvPr/>
        </p:nvSpPr>
        <p:spPr>
          <a:xfrm>
            <a:off x="365682" y="4106657"/>
            <a:ext cx="482735" cy="914096"/>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600" b="1" i="0" u="none" strike="noStrike" kern="0" cap="none" spc="0" normalizeH="0" baseline="0" noProof="0">
                <a:ln>
                  <a:noFill/>
                </a:ln>
                <a:solidFill>
                  <a:srgbClr val="8D8EA7"/>
                </a:solidFill>
                <a:effectLst/>
                <a:uLnTx/>
                <a:uFillTx/>
                <a:latin typeface="+mj-lt"/>
              </a:rPr>
              <a:t>2</a:t>
            </a:r>
          </a:p>
        </p:txBody>
      </p:sp>
      <p:sp>
        <p:nvSpPr>
          <p:cNvPr id="39" name="Rectangle 38">
            <a:extLst>
              <a:ext uri="{FF2B5EF4-FFF2-40B4-BE49-F238E27FC236}">
                <a16:creationId xmlns:a16="http://schemas.microsoft.com/office/drawing/2014/main" id="{25F5324A-7A21-4FEF-A574-DD303BA9C3B4}"/>
              </a:ext>
            </a:extLst>
          </p:cNvPr>
          <p:cNvSpPr>
            <a:spLocks noChangeAspect="1"/>
          </p:cNvSpPr>
          <p:nvPr/>
        </p:nvSpPr>
        <p:spPr>
          <a:xfrm>
            <a:off x="995236" y="4106656"/>
            <a:ext cx="3155625" cy="17739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Tree>
    <p:extLst>
      <p:ext uri="{BB962C8B-B14F-4D97-AF65-F5344CB8AC3E}">
        <p14:creationId xmlns:p14="http://schemas.microsoft.com/office/powerpoint/2010/main" val="257573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DF4E55-54C1-4CB7-8FC1-7511399B0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41" name="Rectangle 40">
            <a:extLst>
              <a:ext uri="{FF2B5EF4-FFF2-40B4-BE49-F238E27FC236}">
                <a16:creationId xmlns:a16="http://schemas.microsoft.com/office/drawing/2014/main" id="{26E43F7D-E1BC-4B2B-A4D2-CAF370AF8369}"/>
              </a:ext>
            </a:extLst>
          </p:cNvPr>
          <p:cNvSpPr/>
          <p:nvPr/>
        </p:nvSpPr>
        <p:spPr>
          <a:xfrm>
            <a:off x="3072794" y="1913429"/>
            <a:ext cx="5103146"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BContent19">
            <a:extLst>
              <a:ext uri="{FF2B5EF4-FFF2-40B4-BE49-F238E27FC236}">
                <a16:creationId xmlns:a16="http://schemas.microsoft.com/office/drawing/2014/main" id="{45A12B0F-8499-4973-AAFA-7EC5C23EC6E2}"/>
              </a:ext>
            </a:extLst>
          </p:cNvPr>
          <p:cNvSpPr txBox="1"/>
          <p:nvPr/>
        </p:nvSpPr>
        <p:spPr>
          <a:xfrm>
            <a:off x="365682" y="1913429"/>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1</a:t>
            </a:r>
          </a:p>
        </p:txBody>
      </p:sp>
      <p:sp>
        <p:nvSpPr>
          <p:cNvPr id="24" name="Rectangle 23">
            <a:extLst>
              <a:ext uri="{FF2B5EF4-FFF2-40B4-BE49-F238E27FC236}">
                <a16:creationId xmlns:a16="http://schemas.microsoft.com/office/drawing/2014/main" id="{0941BA65-BDAB-43E1-962F-0F19E76464F8}"/>
              </a:ext>
            </a:extLst>
          </p:cNvPr>
          <p:cNvSpPr>
            <a:spLocks noChangeAspect="1"/>
          </p:cNvSpPr>
          <p:nvPr/>
        </p:nvSpPr>
        <p:spPr>
          <a:xfrm>
            <a:off x="961604" y="1913429"/>
            <a:ext cx="1998000" cy="1123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27" name="Rectangle 26">
            <a:extLst>
              <a:ext uri="{FF2B5EF4-FFF2-40B4-BE49-F238E27FC236}">
                <a16:creationId xmlns:a16="http://schemas.microsoft.com/office/drawing/2014/main" id="{86A119C4-0E66-4A20-ADDE-0352809C6389}"/>
              </a:ext>
            </a:extLst>
          </p:cNvPr>
          <p:cNvSpPr/>
          <p:nvPr/>
        </p:nvSpPr>
        <p:spPr>
          <a:xfrm>
            <a:off x="3072794" y="3335429"/>
            <a:ext cx="5103146"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8" name="RBContent19">
            <a:extLst>
              <a:ext uri="{FF2B5EF4-FFF2-40B4-BE49-F238E27FC236}">
                <a16:creationId xmlns:a16="http://schemas.microsoft.com/office/drawing/2014/main" id="{E7345B2B-FA16-485A-852B-C9C507082EA4}"/>
              </a:ext>
            </a:extLst>
          </p:cNvPr>
          <p:cNvSpPr txBox="1"/>
          <p:nvPr/>
        </p:nvSpPr>
        <p:spPr>
          <a:xfrm>
            <a:off x="365682" y="3335429"/>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2</a:t>
            </a:r>
          </a:p>
        </p:txBody>
      </p:sp>
      <p:sp>
        <p:nvSpPr>
          <p:cNvPr id="29" name="Rectangle 28">
            <a:extLst>
              <a:ext uri="{FF2B5EF4-FFF2-40B4-BE49-F238E27FC236}">
                <a16:creationId xmlns:a16="http://schemas.microsoft.com/office/drawing/2014/main" id="{30476F13-58C4-4FBE-9661-8E8DD3C84B18}"/>
              </a:ext>
            </a:extLst>
          </p:cNvPr>
          <p:cNvSpPr/>
          <p:nvPr/>
        </p:nvSpPr>
        <p:spPr>
          <a:xfrm>
            <a:off x="961604" y="3335429"/>
            <a:ext cx="1998000" cy="1123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31" name="Rectangle 30">
            <a:extLst>
              <a:ext uri="{FF2B5EF4-FFF2-40B4-BE49-F238E27FC236}">
                <a16:creationId xmlns:a16="http://schemas.microsoft.com/office/drawing/2014/main" id="{60C16A55-C126-4F57-BC88-D6357D2B3E7C}"/>
              </a:ext>
            </a:extLst>
          </p:cNvPr>
          <p:cNvSpPr/>
          <p:nvPr/>
        </p:nvSpPr>
        <p:spPr>
          <a:xfrm>
            <a:off x="3072794" y="4757429"/>
            <a:ext cx="5103146"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BContent19">
            <a:extLst>
              <a:ext uri="{FF2B5EF4-FFF2-40B4-BE49-F238E27FC236}">
                <a16:creationId xmlns:a16="http://schemas.microsoft.com/office/drawing/2014/main" id="{D17A9E1D-FB1A-4F2F-97B9-C53CDB1943D0}"/>
              </a:ext>
            </a:extLst>
          </p:cNvPr>
          <p:cNvSpPr txBox="1"/>
          <p:nvPr/>
        </p:nvSpPr>
        <p:spPr>
          <a:xfrm>
            <a:off x="365682" y="4757429"/>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3</a:t>
            </a:r>
          </a:p>
        </p:txBody>
      </p:sp>
      <p:sp>
        <p:nvSpPr>
          <p:cNvPr id="33" name="Rectangle 32">
            <a:extLst>
              <a:ext uri="{FF2B5EF4-FFF2-40B4-BE49-F238E27FC236}">
                <a16:creationId xmlns:a16="http://schemas.microsoft.com/office/drawing/2014/main" id="{5773038C-F3FA-4A36-9061-96A7610292CD}"/>
              </a:ext>
            </a:extLst>
          </p:cNvPr>
          <p:cNvSpPr/>
          <p:nvPr/>
        </p:nvSpPr>
        <p:spPr>
          <a:xfrm>
            <a:off x="961604" y="4757429"/>
            <a:ext cx="1998000" cy="1123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37" name="Rectangle 36">
            <a:extLst>
              <a:ext uri="{FF2B5EF4-FFF2-40B4-BE49-F238E27FC236}">
                <a16:creationId xmlns:a16="http://schemas.microsoft.com/office/drawing/2014/main" id="{E3E6CD26-811E-426A-9656-4ACEF7B0AA6C}"/>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1430003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DF4E55-54C1-4CB7-8FC1-7511399B0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42" name="RBContent19">
            <a:extLst>
              <a:ext uri="{FF2B5EF4-FFF2-40B4-BE49-F238E27FC236}">
                <a16:creationId xmlns:a16="http://schemas.microsoft.com/office/drawing/2014/main" id="{45A12B0F-8499-4973-AAFA-7EC5C23EC6E2}"/>
              </a:ext>
            </a:extLst>
          </p:cNvPr>
          <p:cNvSpPr txBox="1"/>
          <p:nvPr/>
        </p:nvSpPr>
        <p:spPr>
          <a:xfrm>
            <a:off x="365682" y="1913429"/>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1</a:t>
            </a:r>
          </a:p>
        </p:txBody>
      </p:sp>
      <p:sp>
        <p:nvSpPr>
          <p:cNvPr id="40" name="RBContent19">
            <a:extLst>
              <a:ext uri="{FF2B5EF4-FFF2-40B4-BE49-F238E27FC236}">
                <a16:creationId xmlns:a16="http://schemas.microsoft.com/office/drawing/2014/main" id="{33B2B9D4-A4CF-4397-B7F3-92E0972BF00F}"/>
              </a:ext>
            </a:extLst>
          </p:cNvPr>
          <p:cNvSpPr txBox="1"/>
          <p:nvPr/>
        </p:nvSpPr>
        <p:spPr>
          <a:xfrm>
            <a:off x="365682" y="2908706"/>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2</a:t>
            </a:r>
          </a:p>
        </p:txBody>
      </p:sp>
      <p:sp>
        <p:nvSpPr>
          <p:cNvPr id="46" name="RBContent19">
            <a:extLst>
              <a:ext uri="{FF2B5EF4-FFF2-40B4-BE49-F238E27FC236}">
                <a16:creationId xmlns:a16="http://schemas.microsoft.com/office/drawing/2014/main" id="{03D50D8A-8D15-4F70-8B68-7AADF7BC3FC0}"/>
              </a:ext>
            </a:extLst>
          </p:cNvPr>
          <p:cNvSpPr txBox="1"/>
          <p:nvPr/>
        </p:nvSpPr>
        <p:spPr>
          <a:xfrm>
            <a:off x="365682" y="3903983"/>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3</a:t>
            </a:r>
          </a:p>
        </p:txBody>
      </p:sp>
      <p:sp>
        <p:nvSpPr>
          <p:cNvPr id="41" name="Rectangle 40">
            <a:extLst>
              <a:ext uri="{FF2B5EF4-FFF2-40B4-BE49-F238E27FC236}">
                <a16:creationId xmlns:a16="http://schemas.microsoft.com/office/drawing/2014/main" id="{26E43F7D-E1BC-4B2B-A4D2-CAF370AF8369}"/>
              </a:ext>
            </a:extLst>
          </p:cNvPr>
          <p:cNvSpPr/>
          <p:nvPr/>
        </p:nvSpPr>
        <p:spPr>
          <a:xfrm>
            <a:off x="2874596" y="1913429"/>
            <a:ext cx="5293291"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ectangle 38">
            <a:extLst>
              <a:ext uri="{FF2B5EF4-FFF2-40B4-BE49-F238E27FC236}">
                <a16:creationId xmlns:a16="http://schemas.microsoft.com/office/drawing/2014/main" id="{11A6FAB2-EE1E-4434-9AE4-2E294DF5A136}"/>
              </a:ext>
            </a:extLst>
          </p:cNvPr>
          <p:cNvSpPr/>
          <p:nvPr/>
        </p:nvSpPr>
        <p:spPr>
          <a:xfrm>
            <a:off x="2874596" y="2908706"/>
            <a:ext cx="5293291"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5" name="Rectangle 44">
            <a:extLst>
              <a:ext uri="{FF2B5EF4-FFF2-40B4-BE49-F238E27FC236}">
                <a16:creationId xmlns:a16="http://schemas.microsoft.com/office/drawing/2014/main" id="{D55C02EB-5A80-46A9-9EEE-68D53DD0531E}"/>
              </a:ext>
            </a:extLst>
          </p:cNvPr>
          <p:cNvSpPr/>
          <p:nvPr/>
        </p:nvSpPr>
        <p:spPr>
          <a:xfrm>
            <a:off x="2874596" y="3903983"/>
            <a:ext cx="5293291"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9" name="Rectangle 48">
            <a:extLst>
              <a:ext uri="{FF2B5EF4-FFF2-40B4-BE49-F238E27FC236}">
                <a16:creationId xmlns:a16="http://schemas.microsoft.com/office/drawing/2014/main" id="{7E1B9336-D6E1-4BDD-B82E-621D2E28075E}"/>
              </a:ext>
            </a:extLst>
          </p:cNvPr>
          <p:cNvSpPr/>
          <p:nvPr/>
        </p:nvSpPr>
        <p:spPr>
          <a:xfrm>
            <a:off x="2874596" y="4899261"/>
            <a:ext cx="5293291"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0" name="RBContent19">
            <a:extLst>
              <a:ext uri="{FF2B5EF4-FFF2-40B4-BE49-F238E27FC236}">
                <a16:creationId xmlns:a16="http://schemas.microsoft.com/office/drawing/2014/main" id="{458C4156-2A3B-40FE-934A-DC8B5F1B5E24}"/>
              </a:ext>
            </a:extLst>
          </p:cNvPr>
          <p:cNvSpPr txBox="1"/>
          <p:nvPr/>
        </p:nvSpPr>
        <p:spPr>
          <a:xfrm>
            <a:off x="365682" y="4899261"/>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4</a:t>
            </a:r>
          </a:p>
        </p:txBody>
      </p:sp>
      <p:sp>
        <p:nvSpPr>
          <p:cNvPr id="24" name="Rectangle 23">
            <a:extLst>
              <a:ext uri="{FF2B5EF4-FFF2-40B4-BE49-F238E27FC236}">
                <a16:creationId xmlns:a16="http://schemas.microsoft.com/office/drawing/2014/main" id="{0941BA65-BDAB-43E1-962F-0F19E76464F8}"/>
              </a:ext>
            </a:extLst>
          </p:cNvPr>
          <p:cNvSpPr/>
          <p:nvPr/>
        </p:nvSpPr>
        <p:spPr>
          <a:xfrm>
            <a:off x="1082851" y="1914669"/>
            <a:ext cx="1557311" cy="8754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43" name="Rectangle 42">
            <a:extLst>
              <a:ext uri="{FF2B5EF4-FFF2-40B4-BE49-F238E27FC236}">
                <a16:creationId xmlns:a16="http://schemas.microsoft.com/office/drawing/2014/main" id="{A750D047-9799-4D86-BCD9-6B1A17A1669C}"/>
              </a:ext>
            </a:extLst>
          </p:cNvPr>
          <p:cNvSpPr/>
          <p:nvPr/>
        </p:nvSpPr>
        <p:spPr>
          <a:xfrm>
            <a:off x="1082851" y="2909946"/>
            <a:ext cx="1557311" cy="8754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47" name="Rectangle 46">
            <a:extLst>
              <a:ext uri="{FF2B5EF4-FFF2-40B4-BE49-F238E27FC236}">
                <a16:creationId xmlns:a16="http://schemas.microsoft.com/office/drawing/2014/main" id="{82746F9B-2636-4A45-926E-E9E3E959FC04}"/>
              </a:ext>
            </a:extLst>
          </p:cNvPr>
          <p:cNvSpPr/>
          <p:nvPr/>
        </p:nvSpPr>
        <p:spPr>
          <a:xfrm>
            <a:off x="1082851" y="3905223"/>
            <a:ext cx="1557311" cy="8754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51" name="Rectangle 50">
            <a:extLst>
              <a:ext uri="{FF2B5EF4-FFF2-40B4-BE49-F238E27FC236}">
                <a16:creationId xmlns:a16="http://schemas.microsoft.com/office/drawing/2014/main" id="{06732B8C-41CE-40B5-97BB-A2E343F50F50}"/>
              </a:ext>
            </a:extLst>
          </p:cNvPr>
          <p:cNvSpPr/>
          <p:nvPr/>
        </p:nvSpPr>
        <p:spPr>
          <a:xfrm>
            <a:off x="1082851" y="4900501"/>
            <a:ext cx="1557311" cy="8754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sp>
        <p:nvSpPr>
          <p:cNvPr id="52" name="Rectangle 51">
            <a:extLst>
              <a:ext uri="{FF2B5EF4-FFF2-40B4-BE49-F238E27FC236}">
                <a16:creationId xmlns:a16="http://schemas.microsoft.com/office/drawing/2014/main" id="{C60AA6B8-83D6-466E-9DC3-12653CAABB8C}"/>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40444493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9F26338B-31A6-4655-B0E6-E109765F38B7}"/>
              </a:ext>
            </a:extLst>
          </p:cNvPr>
          <p:cNvGrpSpPr/>
          <p:nvPr/>
        </p:nvGrpSpPr>
        <p:grpSpPr>
          <a:xfrm>
            <a:off x="268374" y="2215755"/>
            <a:ext cx="3925655" cy="3597481"/>
            <a:chOff x="1843174" y="2215755"/>
            <a:chExt cx="3925655" cy="3597481"/>
          </a:xfrm>
        </p:grpSpPr>
        <p:sp>
          <p:nvSpPr>
            <p:cNvPr id="42" name="RBContent19">
              <a:extLst>
                <a:ext uri="{FF2B5EF4-FFF2-40B4-BE49-F238E27FC236}">
                  <a16:creationId xmlns:a16="http://schemas.microsoft.com/office/drawing/2014/main" id="{45A12B0F-8499-4973-AAFA-7EC5C23EC6E2}"/>
                </a:ext>
              </a:extLst>
            </p:cNvPr>
            <p:cNvSpPr txBox="1"/>
            <p:nvPr/>
          </p:nvSpPr>
          <p:spPr>
            <a:xfrm>
              <a:off x="1843174" y="4300001"/>
              <a:ext cx="432000" cy="914096"/>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600" b="1" i="0" u="none" strike="noStrike" kern="0" cap="none" spc="0" normalizeH="0" baseline="0" noProof="0">
                  <a:ln>
                    <a:noFill/>
                  </a:ln>
                  <a:solidFill>
                    <a:srgbClr val="8D8EA7"/>
                  </a:solidFill>
                  <a:effectLst/>
                  <a:uLnTx/>
                  <a:uFillTx/>
                  <a:latin typeface="+mj-lt"/>
                </a:rPr>
                <a:t>1</a:t>
              </a:r>
            </a:p>
          </p:txBody>
        </p:sp>
        <p:sp>
          <p:nvSpPr>
            <p:cNvPr id="18" name="Rectangle 17">
              <a:extLst>
                <a:ext uri="{FF2B5EF4-FFF2-40B4-BE49-F238E27FC236}">
                  <a16:creationId xmlns:a16="http://schemas.microsoft.com/office/drawing/2014/main" id="{72D58959-FDC5-4DCC-BFB6-1556B08DB4D4}"/>
                </a:ext>
              </a:extLst>
            </p:cNvPr>
            <p:cNvSpPr/>
            <p:nvPr/>
          </p:nvSpPr>
          <p:spPr>
            <a:xfrm>
              <a:off x="2351069" y="4300002"/>
              <a:ext cx="3417760" cy="1513234"/>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F1AE4666-2AF5-4569-8523-8063596DDD76}"/>
                </a:ext>
              </a:extLst>
            </p:cNvPr>
            <p:cNvSpPr>
              <a:spLocks noChangeAspect="1"/>
            </p:cNvSpPr>
            <p:nvPr/>
          </p:nvSpPr>
          <p:spPr>
            <a:xfrm>
              <a:off x="2351071" y="2215755"/>
              <a:ext cx="3417758" cy="1970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C90A5F20-AFDB-4BAC-9EA1-4B83F53B0366}"/>
              </a:ext>
            </a:extLst>
          </p:cNvPr>
          <p:cNvGrpSpPr/>
          <p:nvPr/>
        </p:nvGrpSpPr>
        <p:grpSpPr>
          <a:xfrm>
            <a:off x="4290609" y="2215753"/>
            <a:ext cx="3969202" cy="3597487"/>
            <a:chOff x="6319581" y="2215753"/>
            <a:chExt cx="3969202" cy="3597487"/>
          </a:xfrm>
        </p:grpSpPr>
        <p:sp>
          <p:nvSpPr>
            <p:cNvPr id="23" name="RBContent19">
              <a:extLst>
                <a:ext uri="{FF2B5EF4-FFF2-40B4-BE49-F238E27FC236}">
                  <a16:creationId xmlns:a16="http://schemas.microsoft.com/office/drawing/2014/main" id="{97FF9219-E312-4CC4-B6C0-2F6FACD8A315}"/>
                </a:ext>
              </a:extLst>
            </p:cNvPr>
            <p:cNvSpPr txBox="1"/>
            <p:nvPr/>
          </p:nvSpPr>
          <p:spPr>
            <a:xfrm>
              <a:off x="6319581" y="4300005"/>
              <a:ext cx="432000" cy="914096"/>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600" b="1" i="0" u="none" strike="noStrike" kern="0" cap="none" spc="0" normalizeH="0" baseline="0" noProof="0">
                  <a:ln>
                    <a:noFill/>
                  </a:ln>
                  <a:solidFill>
                    <a:srgbClr val="8D8EA7"/>
                  </a:solidFill>
                  <a:effectLst/>
                  <a:uLnTx/>
                  <a:uFillTx/>
                  <a:latin typeface="+mj-lt"/>
                </a:rPr>
                <a:t>2</a:t>
              </a:r>
            </a:p>
          </p:txBody>
        </p:sp>
        <p:sp>
          <p:nvSpPr>
            <p:cNvPr id="24" name="Rectangle 23">
              <a:extLst>
                <a:ext uri="{FF2B5EF4-FFF2-40B4-BE49-F238E27FC236}">
                  <a16:creationId xmlns:a16="http://schemas.microsoft.com/office/drawing/2014/main" id="{A12263CF-81CF-4FE2-9C66-D27F44AD08CE}"/>
                </a:ext>
              </a:extLst>
            </p:cNvPr>
            <p:cNvSpPr/>
            <p:nvPr/>
          </p:nvSpPr>
          <p:spPr>
            <a:xfrm>
              <a:off x="6871022" y="4300005"/>
              <a:ext cx="3417760"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0" name="Rectangle 26">
              <a:extLst>
                <a:ext uri="{FF2B5EF4-FFF2-40B4-BE49-F238E27FC236}">
                  <a16:creationId xmlns:a16="http://schemas.microsoft.com/office/drawing/2014/main" id="{FAAD2ADD-21C2-4D34-9A3D-25A7DE021A73}"/>
                </a:ext>
              </a:extLst>
            </p:cNvPr>
            <p:cNvSpPr>
              <a:spLocks noChangeAspect="1"/>
            </p:cNvSpPr>
            <p:nvPr/>
          </p:nvSpPr>
          <p:spPr>
            <a:xfrm>
              <a:off x="6871023" y="2215753"/>
              <a:ext cx="3417760" cy="19703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
        <p:nvSpPr>
          <p:cNvPr id="19" name="Rectangle 18">
            <a:extLst>
              <a:ext uri="{FF2B5EF4-FFF2-40B4-BE49-F238E27FC236}">
                <a16:creationId xmlns:a16="http://schemas.microsoft.com/office/drawing/2014/main" id="{0D89C31D-F504-4411-B4B9-2DF433941456}"/>
              </a:ext>
            </a:extLst>
          </p:cNvPr>
          <p:cNvSpPr/>
          <p:nvPr/>
        </p:nvSpPr>
        <p:spPr>
          <a:xfrm>
            <a:off x="8907830" y="1913429"/>
            <a:ext cx="2918487"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8873711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C9AD3EC1-1498-4A43-A92C-6EC8B8B99F55}"/>
              </a:ext>
            </a:extLst>
          </p:cNvPr>
          <p:cNvGrpSpPr/>
          <p:nvPr/>
        </p:nvGrpSpPr>
        <p:grpSpPr>
          <a:xfrm>
            <a:off x="365682" y="2215755"/>
            <a:ext cx="3464005" cy="3524798"/>
            <a:chOff x="365683" y="2215755"/>
            <a:chExt cx="3464005" cy="3524798"/>
          </a:xfrm>
        </p:grpSpPr>
        <p:sp>
          <p:nvSpPr>
            <p:cNvPr id="42" name="RBContent19">
              <a:extLst>
                <a:ext uri="{FF2B5EF4-FFF2-40B4-BE49-F238E27FC236}">
                  <a16:creationId xmlns:a16="http://schemas.microsoft.com/office/drawing/2014/main" id="{45A12B0F-8499-4973-AAFA-7EC5C23EC6E2}"/>
                </a:ext>
              </a:extLst>
            </p:cNvPr>
            <p:cNvSpPr txBox="1"/>
            <p:nvPr/>
          </p:nvSpPr>
          <p:spPr>
            <a:xfrm>
              <a:off x="365683" y="4227318"/>
              <a:ext cx="360000" cy="7478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1</a:t>
              </a:r>
            </a:p>
          </p:txBody>
        </p:sp>
        <p:sp>
          <p:nvSpPr>
            <p:cNvPr id="18" name="Rectangle 17">
              <a:extLst>
                <a:ext uri="{FF2B5EF4-FFF2-40B4-BE49-F238E27FC236}">
                  <a16:creationId xmlns:a16="http://schemas.microsoft.com/office/drawing/2014/main" id="{72D58959-FDC5-4DCC-BFB6-1556B08DB4D4}"/>
                </a:ext>
              </a:extLst>
            </p:cNvPr>
            <p:cNvSpPr/>
            <p:nvPr/>
          </p:nvSpPr>
          <p:spPr>
            <a:xfrm>
              <a:off x="790619" y="4227318"/>
              <a:ext cx="3038400"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F1AE4666-2AF5-4569-8523-8063596DDD76}"/>
                </a:ext>
              </a:extLst>
            </p:cNvPr>
            <p:cNvSpPr>
              <a:spLocks noChangeAspect="1"/>
            </p:cNvSpPr>
            <p:nvPr/>
          </p:nvSpPr>
          <p:spPr>
            <a:xfrm>
              <a:off x="790619" y="2215755"/>
              <a:ext cx="3039069" cy="18977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1ACFBC25-712C-42C3-9029-AF3CDC8E3399}"/>
              </a:ext>
            </a:extLst>
          </p:cNvPr>
          <p:cNvGrpSpPr/>
          <p:nvPr/>
        </p:nvGrpSpPr>
        <p:grpSpPr>
          <a:xfrm>
            <a:off x="4364879" y="2215755"/>
            <a:ext cx="3464005" cy="3524798"/>
            <a:chOff x="4363997" y="2215755"/>
            <a:chExt cx="3464005" cy="3524798"/>
          </a:xfrm>
        </p:grpSpPr>
        <p:sp>
          <p:nvSpPr>
            <p:cNvPr id="31" name="RBContent19">
              <a:extLst>
                <a:ext uri="{FF2B5EF4-FFF2-40B4-BE49-F238E27FC236}">
                  <a16:creationId xmlns:a16="http://schemas.microsoft.com/office/drawing/2014/main" id="{C64BFB71-8089-40CB-8A95-F84DB66F8FB2}"/>
                </a:ext>
              </a:extLst>
            </p:cNvPr>
            <p:cNvSpPr txBox="1"/>
            <p:nvPr/>
          </p:nvSpPr>
          <p:spPr>
            <a:xfrm>
              <a:off x="4363997" y="4227318"/>
              <a:ext cx="360000" cy="7478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2</a:t>
              </a:r>
            </a:p>
          </p:txBody>
        </p:sp>
        <p:sp>
          <p:nvSpPr>
            <p:cNvPr id="32" name="Rectangle 31">
              <a:extLst>
                <a:ext uri="{FF2B5EF4-FFF2-40B4-BE49-F238E27FC236}">
                  <a16:creationId xmlns:a16="http://schemas.microsoft.com/office/drawing/2014/main" id="{8B6D6986-0EE6-43C9-9813-E65C5A226D0A}"/>
                </a:ext>
              </a:extLst>
            </p:cNvPr>
            <p:cNvSpPr/>
            <p:nvPr/>
          </p:nvSpPr>
          <p:spPr>
            <a:xfrm>
              <a:off x="4788933" y="4227318"/>
              <a:ext cx="3038400"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0" name="Rectangle 29">
              <a:extLst>
                <a:ext uri="{FF2B5EF4-FFF2-40B4-BE49-F238E27FC236}">
                  <a16:creationId xmlns:a16="http://schemas.microsoft.com/office/drawing/2014/main" id="{4E74BDAF-BB53-41CC-8C0E-02FC4F3DF5BA}"/>
                </a:ext>
              </a:extLst>
            </p:cNvPr>
            <p:cNvSpPr>
              <a:spLocks noChangeAspect="1"/>
            </p:cNvSpPr>
            <p:nvPr/>
          </p:nvSpPr>
          <p:spPr>
            <a:xfrm>
              <a:off x="4788933" y="2215755"/>
              <a:ext cx="3039069" cy="18977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0" name="Group 9">
            <a:extLst>
              <a:ext uri="{FF2B5EF4-FFF2-40B4-BE49-F238E27FC236}">
                <a16:creationId xmlns:a16="http://schemas.microsoft.com/office/drawing/2014/main" id="{B0E3DEF9-5589-4C7F-9071-71C961E6BF3B}"/>
              </a:ext>
            </a:extLst>
          </p:cNvPr>
          <p:cNvGrpSpPr/>
          <p:nvPr/>
        </p:nvGrpSpPr>
        <p:grpSpPr>
          <a:xfrm>
            <a:off x="8364076" y="2215755"/>
            <a:ext cx="3464006" cy="3524798"/>
            <a:chOff x="8362311" y="2215755"/>
            <a:chExt cx="3464006" cy="3524798"/>
          </a:xfrm>
        </p:grpSpPr>
        <p:sp>
          <p:nvSpPr>
            <p:cNvPr id="36" name="RBContent19">
              <a:extLst>
                <a:ext uri="{FF2B5EF4-FFF2-40B4-BE49-F238E27FC236}">
                  <a16:creationId xmlns:a16="http://schemas.microsoft.com/office/drawing/2014/main" id="{2FF652AB-0D60-4A51-9838-7F930D83541A}"/>
                </a:ext>
              </a:extLst>
            </p:cNvPr>
            <p:cNvSpPr txBox="1"/>
            <p:nvPr/>
          </p:nvSpPr>
          <p:spPr>
            <a:xfrm>
              <a:off x="8362311" y="4227318"/>
              <a:ext cx="360000" cy="7478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3</a:t>
              </a:r>
            </a:p>
          </p:txBody>
        </p:sp>
        <p:sp>
          <p:nvSpPr>
            <p:cNvPr id="37" name="Rectangle 36">
              <a:extLst>
                <a:ext uri="{FF2B5EF4-FFF2-40B4-BE49-F238E27FC236}">
                  <a16:creationId xmlns:a16="http://schemas.microsoft.com/office/drawing/2014/main" id="{F296DA03-2378-41DD-82AB-5721116FEAF1}"/>
                </a:ext>
              </a:extLst>
            </p:cNvPr>
            <p:cNvSpPr/>
            <p:nvPr/>
          </p:nvSpPr>
          <p:spPr>
            <a:xfrm>
              <a:off x="8787247" y="4227318"/>
              <a:ext cx="3038400"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ectangle 34">
              <a:extLst>
                <a:ext uri="{FF2B5EF4-FFF2-40B4-BE49-F238E27FC236}">
                  <a16:creationId xmlns:a16="http://schemas.microsoft.com/office/drawing/2014/main" id="{71F5E69B-7F9D-4468-8670-F9980286C5DF}"/>
                </a:ext>
              </a:extLst>
            </p:cNvPr>
            <p:cNvSpPr>
              <a:spLocks noChangeAspect="1"/>
            </p:cNvSpPr>
            <p:nvPr/>
          </p:nvSpPr>
          <p:spPr>
            <a:xfrm>
              <a:off x="8787248" y="2215755"/>
              <a:ext cx="3039069" cy="18977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4602404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7A642B2A-815B-46BA-A5B7-17E430739347}"/>
              </a:ext>
            </a:extLst>
          </p:cNvPr>
          <p:cNvGrpSpPr/>
          <p:nvPr/>
        </p:nvGrpSpPr>
        <p:grpSpPr>
          <a:xfrm>
            <a:off x="365682" y="2215755"/>
            <a:ext cx="2777567" cy="2997004"/>
            <a:chOff x="428336" y="2215755"/>
            <a:chExt cx="2777567" cy="2997004"/>
          </a:xfrm>
        </p:grpSpPr>
        <p:sp>
          <p:nvSpPr>
            <p:cNvPr id="42" name="RBContent19">
              <a:extLst>
                <a:ext uri="{FF2B5EF4-FFF2-40B4-BE49-F238E27FC236}">
                  <a16:creationId xmlns:a16="http://schemas.microsoft.com/office/drawing/2014/main" id="{45A12B0F-8499-4973-AAFA-7EC5C23EC6E2}"/>
                </a:ext>
              </a:extLst>
            </p:cNvPr>
            <p:cNvSpPr txBox="1"/>
            <p:nvPr/>
          </p:nvSpPr>
          <p:spPr>
            <a:xfrm>
              <a:off x="428336" y="3699524"/>
              <a:ext cx="334599" cy="769365"/>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1</a:t>
              </a:r>
            </a:p>
          </p:txBody>
        </p:sp>
        <p:sp>
          <p:nvSpPr>
            <p:cNvPr id="18" name="Rectangle 17">
              <a:extLst>
                <a:ext uri="{FF2B5EF4-FFF2-40B4-BE49-F238E27FC236}">
                  <a16:creationId xmlns:a16="http://schemas.microsoft.com/office/drawing/2014/main" id="{72D58959-FDC5-4DCC-BFB6-1556B08DB4D4}"/>
                </a:ext>
              </a:extLst>
            </p:cNvPr>
            <p:cNvSpPr/>
            <p:nvPr/>
          </p:nvSpPr>
          <p:spPr>
            <a:xfrm>
              <a:off x="847774" y="3699524"/>
              <a:ext cx="2358129"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F1AE4666-2AF5-4569-8523-8063596DDD76}"/>
                </a:ext>
              </a:extLst>
            </p:cNvPr>
            <p:cNvSpPr>
              <a:spLocks noChangeAspect="1"/>
            </p:cNvSpPr>
            <p:nvPr/>
          </p:nvSpPr>
          <p:spPr>
            <a:xfrm>
              <a:off x="847776" y="2215755"/>
              <a:ext cx="2358000" cy="1375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0" name="Group 9">
            <a:extLst>
              <a:ext uri="{FF2B5EF4-FFF2-40B4-BE49-F238E27FC236}">
                <a16:creationId xmlns:a16="http://schemas.microsoft.com/office/drawing/2014/main" id="{AB4CF9A4-783F-498C-9465-4A99FC99516E}"/>
              </a:ext>
            </a:extLst>
          </p:cNvPr>
          <p:cNvGrpSpPr/>
          <p:nvPr/>
        </p:nvGrpSpPr>
        <p:grpSpPr>
          <a:xfrm>
            <a:off x="3223159" y="2217915"/>
            <a:ext cx="2777439" cy="2994844"/>
            <a:chOff x="3262170" y="2217915"/>
            <a:chExt cx="2777439" cy="2994844"/>
          </a:xfrm>
        </p:grpSpPr>
        <p:sp>
          <p:nvSpPr>
            <p:cNvPr id="40" name="RBContent19">
              <a:extLst>
                <a:ext uri="{FF2B5EF4-FFF2-40B4-BE49-F238E27FC236}">
                  <a16:creationId xmlns:a16="http://schemas.microsoft.com/office/drawing/2014/main" id="{602D0F69-C91A-49C5-A75A-5FC2F0B22B1B}"/>
                </a:ext>
              </a:extLst>
            </p:cNvPr>
            <p:cNvSpPr txBox="1"/>
            <p:nvPr/>
          </p:nvSpPr>
          <p:spPr>
            <a:xfrm>
              <a:off x="3262170" y="3699524"/>
              <a:ext cx="334599" cy="755376"/>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2</a:t>
              </a:r>
            </a:p>
          </p:txBody>
        </p:sp>
        <p:sp>
          <p:nvSpPr>
            <p:cNvPr id="41" name="Rectangle 40">
              <a:extLst>
                <a:ext uri="{FF2B5EF4-FFF2-40B4-BE49-F238E27FC236}">
                  <a16:creationId xmlns:a16="http://schemas.microsoft.com/office/drawing/2014/main" id="{A79ED331-8B3B-46B2-B197-5A5EF9552E04}"/>
                </a:ext>
              </a:extLst>
            </p:cNvPr>
            <p:cNvSpPr/>
            <p:nvPr/>
          </p:nvSpPr>
          <p:spPr>
            <a:xfrm>
              <a:off x="3681609" y="3699524"/>
              <a:ext cx="2353220"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ectangle 38">
              <a:extLst>
                <a:ext uri="{FF2B5EF4-FFF2-40B4-BE49-F238E27FC236}">
                  <a16:creationId xmlns:a16="http://schemas.microsoft.com/office/drawing/2014/main" id="{7B00F419-60A5-42AF-9922-15667BB9AE53}"/>
                </a:ext>
              </a:extLst>
            </p:cNvPr>
            <p:cNvSpPr>
              <a:spLocks noChangeAspect="1"/>
            </p:cNvSpPr>
            <p:nvPr/>
          </p:nvSpPr>
          <p:spPr>
            <a:xfrm>
              <a:off x="3681609" y="2217915"/>
              <a:ext cx="2358000" cy="1375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1" name="Group 10">
            <a:extLst>
              <a:ext uri="{FF2B5EF4-FFF2-40B4-BE49-F238E27FC236}">
                <a16:creationId xmlns:a16="http://schemas.microsoft.com/office/drawing/2014/main" id="{6D3E1757-2328-4DD6-94CC-A05F02AE0DC3}"/>
              </a:ext>
            </a:extLst>
          </p:cNvPr>
          <p:cNvGrpSpPr/>
          <p:nvPr/>
        </p:nvGrpSpPr>
        <p:grpSpPr>
          <a:xfrm>
            <a:off x="6080508" y="2217915"/>
            <a:ext cx="2833832" cy="2994844"/>
            <a:chOff x="6096002" y="2217915"/>
            <a:chExt cx="2833832" cy="2994844"/>
          </a:xfrm>
        </p:grpSpPr>
        <p:sp>
          <p:nvSpPr>
            <p:cNvPr id="46" name="RBContent19">
              <a:extLst>
                <a:ext uri="{FF2B5EF4-FFF2-40B4-BE49-F238E27FC236}">
                  <a16:creationId xmlns:a16="http://schemas.microsoft.com/office/drawing/2014/main" id="{D369865E-4C88-413D-8911-4FA3C009DBA5}"/>
                </a:ext>
              </a:extLst>
            </p:cNvPr>
            <p:cNvSpPr txBox="1"/>
            <p:nvPr/>
          </p:nvSpPr>
          <p:spPr>
            <a:xfrm>
              <a:off x="6096002" y="3699524"/>
              <a:ext cx="334599" cy="769365"/>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3</a:t>
              </a:r>
            </a:p>
          </p:txBody>
        </p:sp>
        <p:sp>
          <p:nvSpPr>
            <p:cNvPr id="47" name="Rectangle 46">
              <a:extLst>
                <a:ext uri="{FF2B5EF4-FFF2-40B4-BE49-F238E27FC236}">
                  <a16:creationId xmlns:a16="http://schemas.microsoft.com/office/drawing/2014/main" id="{210137CE-CA0F-4847-B438-352D69C87CBC}"/>
                </a:ext>
              </a:extLst>
            </p:cNvPr>
            <p:cNvSpPr/>
            <p:nvPr/>
          </p:nvSpPr>
          <p:spPr>
            <a:xfrm>
              <a:off x="6515442" y="3699524"/>
              <a:ext cx="2414392"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5" name="Rectangle 44">
              <a:extLst>
                <a:ext uri="{FF2B5EF4-FFF2-40B4-BE49-F238E27FC236}">
                  <a16:creationId xmlns:a16="http://schemas.microsoft.com/office/drawing/2014/main" id="{7636AF65-9108-4E85-8C49-189CAA884368}"/>
                </a:ext>
              </a:extLst>
            </p:cNvPr>
            <p:cNvSpPr>
              <a:spLocks noChangeAspect="1"/>
            </p:cNvSpPr>
            <p:nvPr/>
          </p:nvSpPr>
          <p:spPr>
            <a:xfrm>
              <a:off x="6515442" y="2217915"/>
              <a:ext cx="2358000" cy="1375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2" name="Group 11">
            <a:extLst>
              <a:ext uri="{FF2B5EF4-FFF2-40B4-BE49-F238E27FC236}">
                <a16:creationId xmlns:a16="http://schemas.microsoft.com/office/drawing/2014/main" id="{EF516895-881E-47D6-8270-0ABA7C91C886}"/>
              </a:ext>
            </a:extLst>
          </p:cNvPr>
          <p:cNvGrpSpPr/>
          <p:nvPr/>
        </p:nvGrpSpPr>
        <p:grpSpPr>
          <a:xfrm>
            <a:off x="8994251" y="2217915"/>
            <a:ext cx="2833831" cy="2994844"/>
            <a:chOff x="8929834" y="2217915"/>
            <a:chExt cx="2833831" cy="2994844"/>
          </a:xfrm>
        </p:grpSpPr>
        <p:sp>
          <p:nvSpPr>
            <p:cNvPr id="51" name="RBContent19">
              <a:extLst>
                <a:ext uri="{FF2B5EF4-FFF2-40B4-BE49-F238E27FC236}">
                  <a16:creationId xmlns:a16="http://schemas.microsoft.com/office/drawing/2014/main" id="{624EE536-B232-4F29-9D24-14AA93A4F1E1}"/>
                </a:ext>
              </a:extLst>
            </p:cNvPr>
            <p:cNvSpPr txBox="1"/>
            <p:nvPr/>
          </p:nvSpPr>
          <p:spPr>
            <a:xfrm>
              <a:off x="8929834" y="3699524"/>
              <a:ext cx="334599" cy="769365"/>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5400" b="1" i="0" u="none" strike="noStrike" kern="0" cap="none" spc="0" normalizeH="0" baseline="0" noProof="0">
                  <a:ln>
                    <a:noFill/>
                  </a:ln>
                  <a:solidFill>
                    <a:srgbClr val="8D8EA7"/>
                  </a:solidFill>
                  <a:effectLst/>
                  <a:uLnTx/>
                  <a:uFillTx/>
                  <a:latin typeface="+mj-lt"/>
                </a:rPr>
                <a:t>4</a:t>
              </a:r>
            </a:p>
          </p:txBody>
        </p:sp>
        <p:sp>
          <p:nvSpPr>
            <p:cNvPr id="52" name="Rectangle 51">
              <a:extLst>
                <a:ext uri="{FF2B5EF4-FFF2-40B4-BE49-F238E27FC236}">
                  <a16:creationId xmlns:a16="http://schemas.microsoft.com/office/drawing/2014/main" id="{A0A4CF05-365C-49F6-BB27-AF7B08DDD8F3}"/>
                </a:ext>
              </a:extLst>
            </p:cNvPr>
            <p:cNvSpPr/>
            <p:nvPr/>
          </p:nvSpPr>
          <p:spPr>
            <a:xfrm>
              <a:off x="9349273" y="3699524"/>
              <a:ext cx="2414392" cy="1513235"/>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0" name="Rectangle 49">
              <a:extLst>
                <a:ext uri="{FF2B5EF4-FFF2-40B4-BE49-F238E27FC236}">
                  <a16:creationId xmlns:a16="http://schemas.microsoft.com/office/drawing/2014/main" id="{DA255587-5F13-47AE-8431-1CED4B999392}"/>
                </a:ext>
              </a:extLst>
            </p:cNvPr>
            <p:cNvSpPr>
              <a:spLocks noChangeAspect="1"/>
            </p:cNvSpPr>
            <p:nvPr/>
          </p:nvSpPr>
          <p:spPr>
            <a:xfrm>
              <a:off x="9349273" y="2217915"/>
              <a:ext cx="2358000" cy="1375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38638872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65682" y="6028266"/>
            <a:ext cx="11460635" cy="221803"/>
          </a:xfrm>
        </p:spPr>
        <p:txBody>
          <a:bodyPr/>
          <a:lstStyle/>
          <a:p>
            <a:endParaRPr lang="en-GB"/>
          </a:p>
        </p:txBody>
      </p:sp>
      <p:grpSp>
        <p:nvGrpSpPr>
          <p:cNvPr id="5" name="Group 4">
            <a:extLst>
              <a:ext uri="{FF2B5EF4-FFF2-40B4-BE49-F238E27FC236}">
                <a16:creationId xmlns:a16="http://schemas.microsoft.com/office/drawing/2014/main" id="{2411DFE3-9626-4EE9-B7E5-81DC4E3E657B}"/>
              </a:ext>
            </a:extLst>
          </p:cNvPr>
          <p:cNvGrpSpPr/>
          <p:nvPr/>
        </p:nvGrpSpPr>
        <p:grpSpPr>
          <a:xfrm>
            <a:off x="9669722" y="2215755"/>
            <a:ext cx="2158360" cy="2889332"/>
            <a:chOff x="9667957" y="2215755"/>
            <a:chExt cx="2158360" cy="2889332"/>
          </a:xfrm>
        </p:grpSpPr>
        <p:sp>
          <p:nvSpPr>
            <p:cNvPr id="78" name="RBContent19">
              <a:extLst>
                <a:ext uri="{FF2B5EF4-FFF2-40B4-BE49-F238E27FC236}">
                  <a16:creationId xmlns:a16="http://schemas.microsoft.com/office/drawing/2014/main" id="{C52DAC6A-61FE-4646-BE73-A6CAD133CA81}"/>
                </a:ext>
              </a:extLst>
            </p:cNvPr>
            <p:cNvSpPr txBox="1"/>
            <p:nvPr/>
          </p:nvSpPr>
          <p:spPr>
            <a:xfrm>
              <a:off x="9667957" y="3314853"/>
              <a:ext cx="330078" cy="664798"/>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5</a:t>
              </a:r>
            </a:p>
          </p:txBody>
        </p:sp>
        <p:sp>
          <p:nvSpPr>
            <p:cNvPr id="79" name="Rectangle 78">
              <a:extLst>
                <a:ext uri="{FF2B5EF4-FFF2-40B4-BE49-F238E27FC236}">
                  <a16:creationId xmlns:a16="http://schemas.microsoft.com/office/drawing/2014/main" id="{C1927B67-8F94-401E-9E61-E31F5C1E98CD}"/>
                </a:ext>
              </a:extLst>
            </p:cNvPr>
            <p:cNvSpPr/>
            <p:nvPr/>
          </p:nvSpPr>
          <p:spPr>
            <a:xfrm>
              <a:off x="10084455" y="3314853"/>
              <a:ext cx="1741859" cy="1790234"/>
            </a:xfrm>
            <a:prstGeom prst="rect">
              <a:avLst/>
            </a:prstGeom>
          </p:spPr>
          <p:txBody>
            <a:bodyPr wrap="square" lIns="0" tIns="0" rIns="0" bIns="0">
              <a:spAutoFit/>
            </a:bodyPr>
            <a:lstStyle/>
            <a:p>
              <a:pPr marL="0" lvl="1" indent="0">
                <a:spcBef>
                  <a:spcPts val="600"/>
                </a:spcBef>
                <a:buClr>
                  <a:schemeClr val="tx2"/>
                </a:buClr>
                <a:buNone/>
              </a:pPr>
              <a:r>
                <a:rPr lang="en-GB" b="1"/>
                <a:t>Two-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7" name="Rectangle 76">
              <a:extLst>
                <a:ext uri="{FF2B5EF4-FFF2-40B4-BE49-F238E27FC236}">
                  <a16:creationId xmlns:a16="http://schemas.microsoft.com/office/drawing/2014/main" id="{DDB025B1-7EB6-41FE-B982-48A2A70BE17A}"/>
                </a:ext>
              </a:extLst>
            </p:cNvPr>
            <p:cNvSpPr>
              <a:spLocks noChangeAspect="1"/>
            </p:cNvSpPr>
            <p:nvPr/>
          </p:nvSpPr>
          <p:spPr>
            <a:xfrm>
              <a:off x="10084455" y="2215755"/>
              <a:ext cx="1741862" cy="9974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E9E5FB31-8DB1-4467-9DB0-B33D54298872}"/>
              </a:ext>
            </a:extLst>
          </p:cNvPr>
          <p:cNvGrpSpPr/>
          <p:nvPr/>
        </p:nvGrpSpPr>
        <p:grpSpPr>
          <a:xfrm>
            <a:off x="7343711" y="2215755"/>
            <a:ext cx="2158360" cy="2889332"/>
            <a:chOff x="7342388" y="2215755"/>
            <a:chExt cx="2158360" cy="2889332"/>
          </a:xfrm>
        </p:grpSpPr>
        <p:sp>
          <p:nvSpPr>
            <p:cNvPr id="73" name="RBContent19">
              <a:extLst>
                <a:ext uri="{FF2B5EF4-FFF2-40B4-BE49-F238E27FC236}">
                  <a16:creationId xmlns:a16="http://schemas.microsoft.com/office/drawing/2014/main" id="{A45D33CC-C8AF-474C-8F0B-0FA7F09B1779}"/>
                </a:ext>
              </a:extLst>
            </p:cNvPr>
            <p:cNvSpPr txBox="1"/>
            <p:nvPr/>
          </p:nvSpPr>
          <p:spPr>
            <a:xfrm>
              <a:off x="7342388" y="3314853"/>
              <a:ext cx="330078" cy="664798"/>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4</a:t>
              </a:r>
            </a:p>
          </p:txBody>
        </p:sp>
        <p:sp>
          <p:nvSpPr>
            <p:cNvPr id="74" name="Rectangle 73">
              <a:extLst>
                <a:ext uri="{FF2B5EF4-FFF2-40B4-BE49-F238E27FC236}">
                  <a16:creationId xmlns:a16="http://schemas.microsoft.com/office/drawing/2014/main" id="{99184219-70BE-48FB-BFBE-EB7A06FAC7CF}"/>
                </a:ext>
              </a:extLst>
            </p:cNvPr>
            <p:cNvSpPr/>
            <p:nvPr/>
          </p:nvSpPr>
          <p:spPr>
            <a:xfrm>
              <a:off x="7758886" y="3314853"/>
              <a:ext cx="1741859" cy="1790234"/>
            </a:xfrm>
            <a:prstGeom prst="rect">
              <a:avLst/>
            </a:prstGeom>
          </p:spPr>
          <p:txBody>
            <a:bodyPr wrap="square" lIns="0" tIns="0" rIns="0" bIns="0">
              <a:spAutoFit/>
            </a:bodyPr>
            <a:lstStyle/>
            <a:p>
              <a:pPr marL="0" lvl="1" indent="0">
                <a:spcBef>
                  <a:spcPts val="600"/>
                </a:spcBef>
                <a:buClr>
                  <a:schemeClr val="tx2"/>
                </a:buClr>
                <a:buNone/>
              </a:pPr>
              <a:r>
                <a:rPr lang="en-GB" b="1"/>
                <a:t>Two-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0" name="Rectangle 79">
              <a:extLst>
                <a:ext uri="{FF2B5EF4-FFF2-40B4-BE49-F238E27FC236}">
                  <a16:creationId xmlns:a16="http://schemas.microsoft.com/office/drawing/2014/main" id="{5439840D-3D6A-4797-811E-AED215E3D8D1}"/>
                </a:ext>
              </a:extLst>
            </p:cNvPr>
            <p:cNvSpPr>
              <a:spLocks noChangeAspect="1"/>
            </p:cNvSpPr>
            <p:nvPr/>
          </p:nvSpPr>
          <p:spPr>
            <a:xfrm>
              <a:off x="7758886" y="2215755"/>
              <a:ext cx="1741862" cy="9974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0" name="Group 9">
            <a:extLst>
              <a:ext uri="{FF2B5EF4-FFF2-40B4-BE49-F238E27FC236}">
                <a16:creationId xmlns:a16="http://schemas.microsoft.com/office/drawing/2014/main" id="{9FEA4A54-6498-4F8A-BACF-B05119FD0052}"/>
              </a:ext>
            </a:extLst>
          </p:cNvPr>
          <p:cNvGrpSpPr/>
          <p:nvPr/>
        </p:nvGrpSpPr>
        <p:grpSpPr>
          <a:xfrm>
            <a:off x="5017700" y="2215755"/>
            <a:ext cx="2158360" cy="2889332"/>
            <a:chOff x="5016819" y="2215755"/>
            <a:chExt cx="2158360" cy="2889332"/>
          </a:xfrm>
        </p:grpSpPr>
        <p:sp>
          <p:nvSpPr>
            <p:cNvPr id="68" name="RBContent19">
              <a:extLst>
                <a:ext uri="{FF2B5EF4-FFF2-40B4-BE49-F238E27FC236}">
                  <a16:creationId xmlns:a16="http://schemas.microsoft.com/office/drawing/2014/main" id="{0EB87005-F52B-4102-B291-B214E3341B96}"/>
                </a:ext>
              </a:extLst>
            </p:cNvPr>
            <p:cNvSpPr txBox="1"/>
            <p:nvPr/>
          </p:nvSpPr>
          <p:spPr>
            <a:xfrm>
              <a:off x="5016819" y="3314853"/>
              <a:ext cx="330078" cy="664798"/>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3</a:t>
              </a:r>
            </a:p>
          </p:txBody>
        </p:sp>
        <p:sp>
          <p:nvSpPr>
            <p:cNvPr id="69" name="Rectangle 68">
              <a:extLst>
                <a:ext uri="{FF2B5EF4-FFF2-40B4-BE49-F238E27FC236}">
                  <a16:creationId xmlns:a16="http://schemas.microsoft.com/office/drawing/2014/main" id="{301F85AE-B6B9-4959-A853-43706F5C7964}"/>
                </a:ext>
              </a:extLst>
            </p:cNvPr>
            <p:cNvSpPr/>
            <p:nvPr/>
          </p:nvSpPr>
          <p:spPr>
            <a:xfrm>
              <a:off x="5433317" y="3314853"/>
              <a:ext cx="1741859" cy="1790234"/>
            </a:xfrm>
            <a:prstGeom prst="rect">
              <a:avLst/>
            </a:prstGeom>
          </p:spPr>
          <p:txBody>
            <a:bodyPr wrap="square" lIns="0" tIns="0" rIns="0" bIns="0">
              <a:spAutoFit/>
            </a:bodyPr>
            <a:lstStyle/>
            <a:p>
              <a:pPr marL="0" lvl="1" indent="0">
                <a:spcBef>
                  <a:spcPts val="600"/>
                </a:spcBef>
                <a:buClr>
                  <a:schemeClr val="tx2"/>
                </a:buClr>
                <a:buNone/>
              </a:pPr>
              <a:r>
                <a:rPr lang="en-GB" b="1"/>
                <a:t>Two-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1" name="Rectangle 80">
              <a:extLst>
                <a:ext uri="{FF2B5EF4-FFF2-40B4-BE49-F238E27FC236}">
                  <a16:creationId xmlns:a16="http://schemas.microsoft.com/office/drawing/2014/main" id="{1E1D7F95-8CB9-4F26-9003-B324ADBC5979}"/>
                </a:ext>
              </a:extLst>
            </p:cNvPr>
            <p:cNvSpPr>
              <a:spLocks noChangeAspect="1"/>
            </p:cNvSpPr>
            <p:nvPr/>
          </p:nvSpPr>
          <p:spPr>
            <a:xfrm>
              <a:off x="5433317" y="2215755"/>
              <a:ext cx="1741862" cy="9974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1" name="Group 10">
            <a:extLst>
              <a:ext uri="{FF2B5EF4-FFF2-40B4-BE49-F238E27FC236}">
                <a16:creationId xmlns:a16="http://schemas.microsoft.com/office/drawing/2014/main" id="{AFBBD8DE-1C0D-4D7E-9599-20F9FF935C08}"/>
              </a:ext>
            </a:extLst>
          </p:cNvPr>
          <p:cNvGrpSpPr/>
          <p:nvPr/>
        </p:nvGrpSpPr>
        <p:grpSpPr>
          <a:xfrm>
            <a:off x="2691690" y="2215755"/>
            <a:ext cx="2158359" cy="2889328"/>
            <a:chOff x="2691251" y="2215755"/>
            <a:chExt cx="2158359" cy="2889328"/>
          </a:xfrm>
        </p:grpSpPr>
        <p:sp>
          <p:nvSpPr>
            <p:cNvPr id="63" name="RBContent19">
              <a:extLst>
                <a:ext uri="{FF2B5EF4-FFF2-40B4-BE49-F238E27FC236}">
                  <a16:creationId xmlns:a16="http://schemas.microsoft.com/office/drawing/2014/main" id="{6C74CC4D-8834-447E-84CE-529C4D42AC7B}"/>
                </a:ext>
              </a:extLst>
            </p:cNvPr>
            <p:cNvSpPr txBox="1"/>
            <p:nvPr/>
          </p:nvSpPr>
          <p:spPr>
            <a:xfrm>
              <a:off x="2691251" y="3314849"/>
              <a:ext cx="330078" cy="6647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2</a:t>
              </a:r>
            </a:p>
          </p:txBody>
        </p:sp>
        <p:sp>
          <p:nvSpPr>
            <p:cNvPr id="64" name="Rectangle 63">
              <a:extLst>
                <a:ext uri="{FF2B5EF4-FFF2-40B4-BE49-F238E27FC236}">
                  <a16:creationId xmlns:a16="http://schemas.microsoft.com/office/drawing/2014/main" id="{7B886CBB-AEB7-49F3-B611-0B680A95423C}"/>
                </a:ext>
              </a:extLst>
            </p:cNvPr>
            <p:cNvSpPr/>
            <p:nvPr/>
          </p:nvSpPr>
          <p:spPr>
            <a:xfrm>
              <a:off x="3107749" y="3314849"/>
              <a:ext cx="1741859" cy="1790234"/>
            </a:xfrm>
            <a:prstGeom prst="rect">
              <a:avLst/>
            </a:prstGeom>
          </p:spPr>
          <p:txBody>
            <a:bodyPr wrap="square" lIns="0" tIns="0" rIns="0" bIns="0">
              <a:spAutoFit/>
            </a:bodyPr>
            <a:lstStyle/>
            <a:p>
              <a:pPr marL="0" lvl="1" indent="0">
                <a:spcBef>
                  <a:spcPts val="600"/>
                </a:spcBef>
                <a:buClr>
                  <a:schemeClr val="tx2"/>
                </a:buClr>
                <a:buNone/>
              </a:pPr>
              <a:r>
                <a:rPr lang="en-GB" b="1"/>
                <a:t>Two-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2" name="Rectangle 81">
              <a:extLst>
                <a:ext uri="{FF2B5EF4-FFF2-40B4-BE49-F238E27FC236}">
                  <a16:creationId xmlns:a16="http://schemas.microsoft.com/office/drawing/2014/main" id="{1ECBD087-6DB8-4F8E-B342-A99BAA392F73}"/>
                </a:ext>
              </a:extLst>
            </p:cNvPr>
            <p:cNvSpPr>
              <a:spLocks noChangeAspect="1"/>
            </p:cNvSpPr>
            <p:nvPr/>
          </p:nvSpPr>
          <p:spPr>
            <a:xfrm>
              <a:off x="3107748" y="2215755"/>
              <a:ext cx="1741862" cy="9974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2" name="Group 11">
            <a:extLst>
              <a:ext uri="{FF2B5EF4-FFF2-40B4-BE49-F238E27FC236}">
                <a16:creationId xmlns:a16="http://schemas.microsoft.com/office/drawing/2014/main" id="{35D6EB90-3568-4DA6-9396-596E84A4C001}"/>
              </a:ext>
            </a:extLst>
          </p:cNvPr>
          <p:cNvGrpSpPr/>
          <p:nvPr/>
        </p:nvGrpSpPr>
        <p:grpSpPr>
          <a:xfrm>
            <a:off x="365682" y="2215757"/>
            <a:ext cx="2158357" cy="2889326"/>
            <a:chOff x="365682" y="2215757"/>
            <a:chExt cx="2158357" cy="2889326"/>
          </a:xfrm>
        </p:grpSpPr>
        <p:sp>
          <p:nvSpPr>
            <p:cNvPr id="42" name="RBContent19">
              <a:extLst>
                <a:ext uri="{FF2B5EF4-FFF2-40B4-BE49-F238E27FC236}">
                  <a16:creationId xmlns:a16="http://schemas.microsoft.com/office/drawing/2014/main" id="{45A12B0F-8499-4973-AAFA-7EC5C23EC6E2}"/>
                </a:ext>
              </a:extLst>
            </p:cNvPr>
            <p:cNvSpPr txBox="1"/>
            <p:nvPr/>
          </p:nvSpPr>
          <p:spPr>
            <a:xfrm>
              <a:off x="365682" y="3314849"/>
              <a:ext cx="330078" cy="6647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18" name="Rectangle 17">
              <a:extLst>
                <a:ext uri="{FF2B5EF4-FFF2-40B4-BE49-F238E27FC236}">
                  <a16:creationId xmlns:a16="http://schemas.microsoft.com/office/drawing/2014/main" id="{72D58959-FDC5-4DCC-BFB6-1556B08DB4D4}"/>
                </a:ext>
              </a:extLst>
            </p:cNvPr>
            <p:cNvSpPr/>
            <p:nvPr/>
          </p:nvSpPr>
          <p:spPr>
            <a:xfrm>
              <a:off x="782180" y="3314849"/>
              <a:ext cx="1741859" cy="1790234"/>
            </a:xfrm>
            <a:prstGeom prst="rect">
              <a:avLst/>
            </a:prstGeom>
          </p:spPr>
          <p:txBody>
            <a:bodyPr wrap="square" lIns="0" tIns="0" rIns="0" bIns="0">
              <a:spAutoFit/>
            </a:bodyPr>
            <a:lstStyle/>
            <a:p>
              <a:pPr marL="0" lvl="1" indent="0">
                <a:spcBef>
                  <a:spcPts val="600"/>
                </a:spcBef>
                <a:buClr>
                  <a:schemeClr val="tx2"/>
                </a:buClr>
                <a:buNone/>
              </a:pPr>
              <a:r>
                <a:rPr lang="en-GB" b="1"/>
                <a:t>Two-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iv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3" name="Rectangle 82">
              <a:extLst>
                <a:ext uri="{FF2B5EF4-FFF2-40B4-BE49-F238E27FC236}">
                  <a16:creationId xmlns:a16="http://schemas.microsoft.com/office/drawing/2014/main" id="{44B13EC0-783E-4DDC-AB00-497B56720F4C}"/>
                </a:ext>
              </a:extLst>
            </p:cNvPr>
            <p:cNvSpPr>
              <a:spLocks noChangeAspect="1"/>
            </p:cNvSpPr>
            <p:nvPr/>
          </p:nvSpPr>
          <p:spPr>
            <a:xfrm>
              <a:off x="782180" y="2215757"/>
              <a:ext cx="1741859" cy="9974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30237043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3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4" name="Group 3">
            <a:extLst>
              <a:ext uri="{FF2B5EF4-FFF2-40B4-BE49-F238E27FC236}">
                <a16:creationId xmlns:a16="http://schemas.microsoft.com/office/drawing/2014/main" id="{A93CE1EE-2120-4B79-8BE5-604CA7518221}"/>
              </a:ext>
            </a:extLst>
          </p:cNvPr>
          <p:cNvGrpSpPr/>
          <p:nvPr/>
        </p:nvGrpSpPr>
        <p:grpSpPr>
          <a:xfrm>
            <a:off x="365682" y="1919786"/>
            <a:ext cx="3635612" cy="3190506"/>
            <a:chOff x="351822" y="1753581"/>
            <a:chExt cx="3635612" cy="3190506"/>
          </a:xfrm>
        </p:grpSpPr>
        <p:sp>
          <p:nvSpPr>
            <p:cNvPr id="34" name="Rectangle 29">
              <a:extLst>
                <a:ext uri="{FF2B5EF4-FFF2-40B4-BE49-F238E27FC236}">
                  <a16:creationId xmlns:a16="http://schemas.microsoft.com/office/drawing/2014/main" id="{64B5619B-3CA1-4666-98B7-1ED8F636DEB0}"/>
                </a:ext>
              </a:extLst>
            </p:cNvPr>
            <p:cNvSpPr/>
            <p:nvPr/>
          </p:nvSpPr>
          <p:spPr>
            <a:xfrm>
              <a:off x="747434" y="3980746"/>
              <a:ext cx="32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6" name="Text 15">
              <a:extLst>
                <a:ext uri="{FF2B5EF4-FFF2-40B4-BE49-F238E27FC236}">
                  <a16:creationId xmlns:a16="http://schemas.microsoft.com/office/drawing/2014/main" id="{03ED8A98-DED7-488A-8D54-4D24A97D505E}"/>
                </a:ext>
              </a:extLst>
            </p:cNvPr>
            <p:cNvSpPr>
              <a:spLocks noChangeArrowheads="1"/>
            </p:cNvSpPr>
            <p:nvPr/>
          </p:nvSpPr>
          <p:spPr bwMode="auto">
            <a:xfrm>
              <a:off x="747433" y="1753581"/>
              <a:ext cx="32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8" name="RBContent19">
              <a:extLst>
                <a:ext uri="{FF2B5EF4-FFF2-40B4-BE49-F238E27FC236}">
                  <a16:creationId xmlns:a16="http://schemas.microsoft.com/office/drawing/2014/main" id="{948B7DB5-1FDA-4AF1-A474-AA1920EEB0B1}"/>
                </a:ext>
              </a:extLst>
            </p:cNvPr>
            <p:cNvSpPr txBox="1"/>
            <p:nvPr/>
          </p:nvSpPr>
          <p:spPr>
            <a:xfrm>
              <a:off x="351822" y="1753581"/>
              <a:ext cx="3312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27" name="Rectangle 26">
              <a:extLst>
                <a:ext uri="{FF2B5EF4-FFF2-40B4-BE49-F238E27FC236}">
                  <a16:creationId xmlns:a16="http://schemas.microsoft.com/office/drawing/2014/main" id="{A89650E2-195E-4128-B499-96148510BECD}"/>
                </a:ext>
              </a:extLst>
            </p:cNvPr>
            <p:cNvSpPr>
              <a:spLocks noChangeAspect="1"/>
            </p:cNvSpPr>
            <p:nvPr/>
          </p:nvSpPr>
          <p:spPr>
            <a:xfrm>
              <a:off x="747434" y="2108334"/>
              <a:ext cx="3062571" cy="17656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5" name="Group 4">
            <a:extLst>
              <a:ext uri="{FF2B5EF4-FFF2-40B4-BE49-F238E27FC236}">
                <a16:creationId xmlns:a16="http://schemas.microsoft.com/office/drawing/2014/main" id="{1C8D185C-F768-44FB-A511-FB97A1B74F00}"/>
              </a:ext>
            </a:extLst>
          </p:cNvPr>
          <p:cNvGrpSpPr/>
          <p:nvPr/>
        </p:nvGrpSpPr>
        <p:grpSpPr>
          <a:xfrm>
            <a:off x="4192976" y="1919786"/>
            <a:ext cx="3751737" cy="3190506"/>
            <a:chOff x="4192976" y="1753581"/>
            <a:chExt cx="3751737" cy="3190506"/>
          </a:xfrm>
        </p:grpSpPr>
        <p:sp>
          <p:nvSpPr>
            <p:cNvPr id="31" name="Rectangle 29">
              <a:extLst>
                <a:ext uri="{FF2B5EF4-FFF2-40B4-BE49-F238E27FC236}">
                  <a16:creationId xmlns:a16="http://schemas.microsoft.com/office/drawing/2014/main" id="{A654C273-01BD-49EA-B5F1-4BE4D57774E2}"/>
                </a:ext>
              </a:extLst>
            </p:cNvPr>
            <p:cNvSpPr/>
            <p:nvPr/>
          </p:nvSpPr>
          <p:spPr>
            <a:xfrm>
              <a:off x="4704712" y="3980746"/>
              <a:ext cx="32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BContent19">
              <a:extLst>
                <a:ext uri="{FF2B5EF4-FFF2-40B4-BE49-F238E27FC236}">
                  <a16:creationId xmlns:a16="http://schemas.microsoft.com/office/drawing/2014/main" id="{32A0AF49-842C-4434-8565-ED314A5724BC}"/>
                </a:ext>
              </a:extLst>
            </p:cNvPr>
            <p:cNvSpPr txBox="1"/>
            <p:nvPr/>
          </p:nvSpPr>
          <p:spPr>
            <a:xfrm>
              <a:off x="4192976" y="1753581"/>
              <a:ext cx="3312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37" name="Text 15">
              <a:extLst>
                <a:ext uri="{FF2B5EF4-FFF2-40B4-BE49-F238E27FC236}">
                  <a16:creationId xmlns:a16="http://schemas.microsoft.com/office/drawing/2014/main" id="{BE7BA9F6-B955-423B-8CD0-05A2306EB7EB}"/>
                </a:ext>
              </a:extLst>
            </p:cNvPr>
            <p:cNvSpPr>
              <a:spLocks noChangeArrowheads="1"/>
            </p:cNvSpPr>
            <p:nvPr/>
          </p:nvSpPr>
          <p:spPr bwMode="auto">
            <a:xfrm>
              <a:off x="4704713" y="1753581"/>
              <a:ext cx="32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0" name="Rectangle 26">
              <a:extLst>
                <a:ext uri="{FF2B5EF4-FFF2-40B4-BE49-F238E27FC236}">
                  <a16:creationId xmlns:a16="http://schemas.microsoft.com/office/drawing/2014/main" id="{0E07BF38-D336-49F0-8304-431402AD9825}"/>
                </a:ext>
              </a:extLst>
            </p:cNvPr>
            <p:cNvSpPr>
              <a:spLocks noChangeAspect="1"/>
            </p:cNvSpPr>
            <p:nvPr/>
          </p:nvSpPr>
          <p:spPr>
            <a:xfrm>
              <a:off x="4704712" y="2108334"/>
              <a:ext cx="3062571" cy="17656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21C102E7-93A4-429A-A287-12AA84C2019C}"/>
              </a:ext>
            </a:extLst>
          </p:cNvPr>
          <p:cNvGrpSpPr/>
          <p:nvPr/>
        </p:nvGrpSpPr>
        <p:grpSpPr>
          <a:xfrm>
            <a:off x="8163021" y="1919786"/>
            <a:ext cx="3665061" cy="3190506"/>
            <a:chOff x="8013548" y="1753581"/>
            <a:chExt cx="3665061" cy="3190506"/>
          </a:xfrm>
        </p:grpSpPr>
        <p:sp>
          <p:nvSpPr>
            <p:cNvPr id="29" name="Rectangle 29">
              <a:extLst>
                <a:ext uri="{FF2B5EF4-FFF2-40B4-BE49-F238E27FC236}">
                  <a16:creationId xmlns:a16="http://schemas.microsoft.com/office/drawing/2014/main" id="{58A5CE96-8715-4A58-8647-41593CF8EB35}"/>
                </a:ext>
              </a:extLst>
            </p:cNvPr>
            <p:cNvSpPr/>
            <p:nvPr/>
          </p:nvSpPr>
          <p:spPr>
            <a:xfrm>
              <a:off x="8438609" y="3980746"/>
              <a:ext cx="32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BContent19">
              <a:extLst>
                <a:ext uri="{FF2B5EF4-FFF2-40B4-BE49-F238E27FC236}">
                  <a16:creationId xmlns:a16="http://schemas.microsoft.com/office/drawing/2014/main" id="{D7DD4A34-62A8-48B7-985E-3F0D797279E2}"/>
                </a:ext>
              </a:extLst>
            </p:cNvPr>
            <p:cNvSpPr txBox="1"/>
            <p:nvPr/>
          </p:nvSpPr>
          <p:spPr>
            <a:xfrm>
              <a:off x="8013548" y="1753581"/>
              <a:ext cx="3312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3</a:t>
              </a:r>
            </a:p>
          </p:txBody>
        </p:sp>
        <p:sp>
          <p:nvSpPr>
            <p:cNvPr id="41" name="Text 15">
              <a:extLst>
                <a:ext uri="{FF2B5EF4-FFF2-40B4-BE49-F238E27FC236}">
                  <a16:creationId xmlns:a16="http://schemas.microsoft.com/office/drawing/2014/main" id="{21CF718C-1BBF-4229-B03D-60AB0A0919D3}"/>
                </a:ext>
              </a:extLst>
            </p:cNvPr>
            <p:cNvSpPr>
              <a:spLocks noChangeArrowheads="1"/>
            </p:cNvSpPr>
            <p:nvPr/>
          </p:nvSpPr>
          <p:spPr bwMode="auto">
            <a:xfrm>
              <a:off x="8438608" y="1753581"/>
              <a:ext cx="32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2" name="Rectangle 26">
              <a:extLst>
                <a:ext uri="{FF2B5EF4-FFF2-40B4-BE49-F238E27FC236}">
                  <a16:creationId xmlns:a16="http://schemas.microsoft.com/office/drawing/2014/main" id="{B497E819-FC47-4E14-88E3-87B0E12F1410}"/>
                </a:ext>
              </a:extLst>
            </p:cNvPr>
            <p:cNvSpPr>
              <a:spLocks noChangeAspect="1"/>
            </p:cNvSpPr>
            <p:nvPr/>
          </p:nvSpPr>
          <p:spPr>
            <a:xfrm>
              <a:off x="8438610" y="2111847"/>
              <a:ext cx="3056478" cy="17621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1271587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6D4-5EFA-4F57-BDCC-674E609BB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5" imgH="416" progId="TCLayout.ActiveDocument.1">
                  <p:embed/>
                </p:oleObj>
              </mc:Choice>
              <mc:Fallback>
                <p:oleObj name="think-cell Folie" r:id="rId3" imgW="415" imgH="416" progId="TCLayout.ActiveDocument.1">
                  <p:embed/>
                  <p:pic>
                    <p:nvPicPr>
                      <p:cNvPr id="4" name="Object 3" hidden="1">
                        <a:extLst>
                          <a:ext uri="{FF2B5EF4-FFF2-40B4-BE49-F238E27FC236}">
                            <a16:creationId xmlns:a16="http://schemas.microsoft.com/office/drawing/2014/main" id="{2E5D16D4-5EFA-4F57-BDCC-674E609BBC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759A161-3EBE-4F5E-B833-026F415F8F41}"/>
              </a:ext>
            </a:extLst>
          </p:cNvPr>
          <p:cNvSpPr>
            <a:spLocks noGrp="1"/>
          </p:cNvSpPr>
          <p:nvPr>
            <p:ph type="ctrTitle"/>
          </p:nvPr>
        </p:nvSpPr>
        <p:spPr/>
        <p:txBody>
          <a:bodyPr/>
          <a:lstStyle/>
          <a:p>
            <a:r>
              <a:rPr lang="en-GB"/>
              <a:t>AGENDAS</a:t>
            </a:r>
          </a:p>
        </p:txBody>
      </p:sp>
    </p:spTree>
    <p:extLst>
      <p:ext uri="{BB962C8B-B14F-4D97-AF65-F5344CB8AC3E}">
        <p14:creationId xmlns:p14="http://schemas.microsoft.com/office/powerpoint/2010/main" val="25065406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4" name="Group 3">
            <a:extLst>
              <a:ext uri="{FF2B5EF4-FFF2-40B4-BE49-F238E27FC236}">
                <a16:creationId xmlns:a16="http://schemas.microsoft.com/office/drawing/2014/main" id="{8F2DDCDA-E74F-4109-858C-9BCA34489589}"/>
              </a:ext>
            </a:extLst>
          </p:cNvPr>
          <p:cNvGrpSpPr/>
          <p:nvPr/>
        </p:nvGrpSpPr>
        <p:grpSpPr>
          <a:xfrm>
            <a:off x="365682" y="1919786"/>
            <a:ext cx="2739891" cy="2779445"/>
            <a:chOff x="351822" y="1753581"/>
            <a:chExt cx="2739891" cy="2779445"/>
          </a:xfrm>
        </p:grpSpPr>
        <p:sp>
          <p:nvSpPr>
            <p:cNvPr id="34" name="Rectangle 29">
              <a:extLst>
                <a:ext uri="{FF2B5EF4-FFF2-40B4-BE49-F238E27FC236}">
                  <a16:creationId xmlns:a16="http://schemas.microsoft.com/office/drawing/2014/main" id="{64B5619B-3CA1-4666-98B7-1ED8F636DEB0}"/>
                </a:ext>
              </a:extLst>
            </p:cNvPr>
            <p:cNvSpPr/>
            <p:nvPr/>
          </p:nvSpPr>
          <p:spPr>
            <a:xfrm>
              <a:off x="751713" y="3569685"/>
              <a:ext cx="23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BContent19">
              <a:extLst>
                <a:ext uri="{FF2B5EF4-FFF2-40B4-BE49-F238E27FC236}">
                  <a16:creationId xmlns:a16="http://schemas.microsoft.com/office/drawing/2014/main" id="{C979AB89-F948-4EC7-85BB-335F1070AC1E}"/>
                </a:ext>
              </a:extLst>
            </p:cNvPr>
            <p:cNvSpPr txBox="1"/>
            <p:nvPr/>
          </p:nvSpPr>
          <p:spPr>
            <a:xfrm>
              <a:off x="351822" y="1753581"/>
              <a:ext cx="332637"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38" name="Text 15">
              <a:extLst>
                <a:ext uri="{FF2B5EF4-FFF2-40B4-BE49-F238E27FC236}">
                  <a16:creationId xmlns:a16="http://schemas.microsoft.com/office/drawing/2014/main" id="{73810E23-B47E-4929-8918-FE72841F6609}"/>
                </a:ext>
              </a:extLst>
            </p:cNvPr>
            <p:cNvSpPr>
              <a:spLocks noChangeArrowheads="1"/>
            </p:cNvSpPr>
            <p:nvPr/>
          </p:nvSpPr>
          <p:spPr bwMode="auto">
            <a:xfrm>
              <a:off x="741881" y="1753581"/>
              <a:ext cx="23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2" name="Rectangle 26">
              <a:extLst>
                <a:ext uri="{FF2B5EF4-FFF2-40B4-BE49-F238E27FC236}">
                  <a16:creationId xmlns:a16="http://schemas.microsoft.com/office/drawing/2014/main" id="{EFDCEC2A-5BE7-4360-B13C-576AAF8861B1}"/>
                </a:ext>
              </a:extLst>
            </p:cNvPr>
            <p:cNvSpPr>
              <a:spLocks noChangeAspect="1"/>
            </p:cNvSpPr>
            <p:nvPr/>
          </p:nvSpPr>
          <p:spPr>
            <a:xfrm>
              <a:off x="741882" y="2118177"/>
              <a:ext cx="2283444" cy="13164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5" name="Group 4">
            <a:extLst>
              <a:ext uri="{FF2B5EF4-FFF2-40B4-BE49-F238E27FC236}">
                <a16:creationId xmlns:a16="http://schemas.microsoft.com/office/drawing/2014/main" id="{20E2260A-B397-42DC-830E-598CA2578A17}"/>
              </a:ext>
            </a:extLst>
          </p:cNvPr>
          <p:cNvGrpSpPr/>
          <p:nvPr/>
        </p:nvGrpSpPr>
        <p:grpSpPr>
          <a:xfrm>
            <a:off x="3249899" y="1919786"/>
            <a:ext cx="2763177" cy="2779445"/>
            <a:chOff x="3208225" y="1753581"/>
            <a:chExt cx="2763177" cy="2779445"/>
          </a:xfrm>
        </p:grpSpPr>
        <p:sp>
          <p:nvSpPr>
            <p:cNvPr id="64" name="Rectangle 29">
              <a:extLst>
                <a:ext uri="{FF2B5EF4-FFF2-40B4-BE49-F238E27FC236}">
                  <a16:creationId xmlns:a16="http://schemas.microsoft.com/office/drawing/2014/main" id="{68F422B0-A1CD-42E4-A259-BC94F1B5136D}"/>
                </a:ext>
              </a:extLst>
            </p:cNvPr>
            <p:cNvSpPr/>
            <p:nvPr/>
          </p:nvSpPr>
          <p:spPr>
            <a:xfrm>
              <a:off x="3631402" y="3569685"/>
              <a:ext cx="23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BContent19">
              <a:extLst>
                <a:ext uri="{FF2B5EF4-FFF2-40B4-BE49-F238E27FC236}">
                  <a16:creationId xmlns:a16="http://schemas.microsoft.com/office/drawing/2014/main" id="{EA803DA4-1736-4A10-BA13-F9428EBD12CF}"/>
                </a:ext>
              </a:extLst>
            </p:cNvPr>
            <p:cNvSpPr txBox="1"/>
            <p:nvPr/>
          </p:nvSpPr>
          <p:spPr>
            <a:xfrm>
              <a:off x="3208225" y="1753581"/>
              <a:ext cx="332637"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41" name="Text 15">
              <a:extLst>
                <a:ext uri="{FF2B5EF4-FFF2-40B4-BE49-F238E27FC236}">
                  <a16:creationId xmlns:a16="http://schemas.microsoft.com/office/drawing/2014/main" id="{8911571F-13A2-41FD-84FD-BEA25B1E6B1B}"/>
                </a:ext>
              </a:extLst>
            </p:cNvPr>
            <p:cNvSpPr>
              <a:spLocks noChangeArrowheads="1"/>
            </p:cNvSpPr>
            <p:nvPr/>
          </p:nvSpPr>
          <p:spPr bwMode="auto">
            <a:xfrm>
              <a:off x="3631402" y="1753581"/>
              <a:ext cx="23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3" name="Rectangle 26">
              <a:extLst>
                <a:ext uri="{FF2B5EF4-FFF2-40B4-BE49-F238E27FC236}">
                  <a16:creationId xmlns:a16="http://schemas.microsoft.com/office/drawing/2014/main" id="{EE471033-B641-4EAD-AFE9-32A473B0A065}"/>
                </a:ext>
              </a:extLst>
            </p:cNvPr>
            <p:cNvSpPr>
              <a:spLocks noChangeAspect="1"/>
            </p:cNvSpPr>
            <p:nvPr/>
          </p:nvSpPr>
          <p:spPr>
            <a:xfrm>
              <a:off x="3631403" y="2118177"/>
              <a:ext cx="2283444" cy="13164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9B68816E-CB9F-4648-85E9-30B278087C28}"/>
              </a:ext>
            </a:extLst>
          </p:cNvPr>
          <p:cNvGrpSpPr/>
          <p:nvPr/>
        </p:nvGrpSpPr>
        <p:grpSpPr>
          <a:xfrm>
            <a:off x="6157402" y="1919786"/>
            <a:ext cx="2763177" cy="2779445"/>
            <a:chOff x="6085346" y="1753581"/>
            <a:chExt cx="2763177" cy="2779445"/>
          </a:xfrm>
        </p:grpSpPr>
        <p:sp>
          <p:nvSpPr>
            <p:cNvPr id="78" name="Rectangle 29">
              <a:extLst>
                <a:ext uri="{FF2B5EF4-FFF2-40B4-BE49-F238E27FC236}">
                  <a16:creationId xmlns:a16="http://schemas.microsoft.com/office/drawing/2014/main" id="{1F5F950E-B77D-4553-A50C-7B138D8DB4D6}"/>
                </a:ext>
              </a:extLst>
            </p:cNvPr>
            <p:cNvSpPr/>
            <p:nvPr/>
          </p:nvSpPr>
          <p:spPr>
            <a:xfrm>
              <a:off x="6508523" y="3569685"/>
              <a:ext cx="23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7" name="RBContent19">
              <a:extLst>
                <a:ext uri="{FF2B5EF4-FFF2-40B4-BE49-F238E27FC236}">
                  <a16:creationId xmlns:a16="http://schemas.microsoft.com/office/drawing/2014/main" id="{2FE427A6-E766-42AE-89D3-0528423399B8}"/>
                </a:ext>
              </a:extLst>
            </p:cNvPr>
            <p:cNvSpPr txBox="1"/>
            <p:nvPr/>
          </p:nvSpPr>
          <p:spPr>
            <a:xfrm>
              <a:off x="6085346" y="1753581"/>
              <a:ext cx="332637"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3</a:t>
              </a:r>
              <a:endParaRPr kumimoji="0" lang="en-GB" sz="4800" b="1" i="0" u="none" strike="noStrike" kern="0" cap="none" spc="0" normalizeH="0" baseline="0" noProof="0">
                <a:ln>
                  <a:noFill/>
                </a:ln>
                <a:solidFill>
                  <a:srgbClr val="8D8EA7"/>
                </a:solidFill>
                <a:effectLst/>
                <a:uLnTx/>
                <a:uFillTx/>
                <a:latin typeface="+mj-lt"/>
              </a:endParaRPr>
            </a:p>
          </p:txBody>
        </p:sp>
        <p:sp>
          <p:nvSpPr>
            <p:cNvPr id="49" name="Text 15">
              <a:extLst>
                <a:ext uri="{FF2B5EF4-FFF2-40B4-BE49-F238E27FC236}">
                  <a16:creationId xmlns:a16="http://schemas.microsoft.com/office/drawing/2014/main" id="{93B95778-2B3F-4A86-9570-0CA8073B4E0A}"/>
                </a:ext>
              </a:extLst>
            </p:cNvPr>
            <p:cNvSpPr>
              <a:spLocks noChangeArrowheads="1"/>
            </p:cNvSpPr>
            <p:nvPr/>
          </p:nvSpPr>
          <p:spPr bwMode="auto">
            <a:xfrm>
              <a:off x="6508523" y="1753581"/>
              <a:ext cx="23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5" name="Rectangle 26">
              <a:extLst>
                <a:ext uri="{FF2B5EF4-FFF2-40B4-BE49-F238E27FC236}">
                  <a16:creationId xmlns:a16="http://schemas.microsoft.com/office/drawing/2014/main" id="{8E04B8A7-CF48-437C-B90F-9DB427D26F72}"/>
                </a:ext>
              </a:extLst>
            </p:cNvPr>
            <p:cNvSpPr>
              <a:spLocks noChangeAspect="1"/>
            </p:cNvSpPr>
            <p:nvPr/>
          </p:nvSpPr>
          <p:spPr>
            <a:xfrm>
              <a:off x="6508523" y="2123642"/>
              <a:ext cx="2273965" cy="1310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0" name="Group 9">
            <a:extLst>
              <a:ext uri="{FF2B5EF4-FFF2-40B4-BE49-F238E27FC236}">
                <a16:creationId xmlns:a16="http://schemas.microsoft.com/office/drawing/2014/main" id="{8E3510D8-A797-4AD8-B209-629071B53037}"/>
              </a:ext>
            </a:extLst>
          </p:cNvPr>
          <p:cNvGrpSpPr/>
          <p:nvPr/>
        </p:nvGrpSpPr>
        <p:grpSpPr>
          <a:xfrm>
            <a:off x="9064905" y="1919786"/>
            <a:ext cx="2763177" cy="2779445"/>
            <a:chOff x="8962466" y="1753581"/>
            <a:chExt cx="2763177" cy="2779445"/>
          </a:xfrm>
        </p:grpSpPr>
        <p:sp>
          <p:nvSpPr>
            <p:cNvPr id="71" name="Rectangle 29">
              <a:extLst>
                <a:ext uri="{FF2B5EF4-FFF2-40B4-BE49-F238E27FC236}">
                  <a16:creationId xmlns:a16="http://schemas.microsoft.com/office/drawing/2014/main" id="{6A06D899-AC00-4456-8606-09AE6F6C3A72}"/>
                </a:ext>
              </a:extLst>
            </p:cNvPr>
            <p:cNvSpPr/>
            <p:nvPr/>
          </p:nvSpPr>
          <p:spPr>
            <a:xfrm>
              <a:off x="9385643" y="3569685"/>
              <a:ext cx="234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3" name="RBContent19">
              <a:extLst>
                <a:ext uri="{FF2B5EF4-FFF2-40B4-BE49-F238E27FC236}">
                  <a16:creationId xmlns:a16="http://schemas.microsoft.com/office/drawing/2014/main" id="{E02C3A35-9DBD-4290-A941-79E34C395081}"/>
                </a:ext>
              </a:extLst>
            </p:cNvPr>
            <p:cNvSpPr txBox="1"/>
            <p:nvPr/>
          </p:nvSpPr>
          <p:spPr>
            <a:xfrm>
              <a:off x="8962466" y="1753581"/>
              <a:ext cx="332637"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4</a:t>
              </a:r>
            </a:p>
          </p:txBody>
        </p:sp>
        <p:sp>
          <p:nvSpPr>
            <p:cNvPr id="45" name="Text 15">
              <a:extLst>
                <a:ext uri="{FF2B5EF4-FFF2-40B4-BE49-F238E27FC236}">
                  <a16:creationId xmlns:a16="http://schemas.microsoft.com/office/drawing/2014/main" id="{832BB8DE-D6B8-451B-8E42-8874BFA8A6C7}"/>
                </a:ext>
              </a:extLst>
            </p:cNvPr>
            <p:cNvSpPr>
              <a:spLocks noChangeArrowheads="1"/>
            </p:cNvSpPr>
            <p:nvPr/>
          </p:nvSpPr>
          <p:spPr bwMode="auto">
            <a:xfrm>
              <a:off x="9385643" y="1753581"/>
              <a:ext cx="234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2" name="Rectangle 26">
              <a:extLst>
                <a:ext uri="{FF2B5EF4-FFF2-40B4-BE49-F238E27FC236}">
                  <a16:creationId xmlns:a16="http://schemas.microsoft.com/office/drawing/2014/main" id="{A3957970-2EB6-49BD-92EF-8B6D84D4709C}"/>
                </a:ext>
              </a:extLst>
            </p:cNvPr>
            <p:cNvSpPr>
              <a:spLocks noChangeAspect="1"/>
            </p:cNvSpPr>
            <p:nvPr/>
          </p:nvSpPr>
          <p:spPr>
            <a:xfrm>
              <a:off x="9385643" y="2128677"/>
              <a:ext cx="2265231" cy="1305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21268994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11" name="Group 10">
            <a:extLst>
              <a:ext uri="{FF2B5EF4-FFF2-40B4-BE49-F238E27FC236}">
                <a16:creationId xmlns:a16="http://schemas.microsoft.com/office/drawing/2014/main" id="{B703894C-7E4B-4809-9000-7F6BC89FCFEE}"/>
              </a:ext>
            </a:extLst>
          </p:cNvPr>
          <p:cNvGrpSpPr/>
          <p:nvPr/>
        </p:nvGrpSpPr>
        <p:grpSpPr>
          <a:xfrm>
            <a:off x="365682" y="1919786"/>
            <a:ext cx="2199689" cy="2765607"/>
            <a:chOff x="351611" y="1753581"/>
            <a:chExt cx="2199689" cy="2765607"/>
          </a:xfrm>
        </p:grpSpPr>
        <p:sp>
          <p:nvSpPr>
            <p:cNvPr id="34" name="Rectangle 29">
              <a:extLst>
                <a:ext uri="{FF2B5EF4-FFF2-40B4-BE49-F238E27FC236}">
                  <a16:creationId xmlns:a16="http://schemas.microsoft.com/office/drawing/2014/main" id="{64B5619B-3CA1-4666-98B7-1ED8F636DEB0}"/>
                </a:ext>
              </a:extLst>
            </p:cNvPr>
            <p:cNvSpPr/>
            <p:nvPr/>
          </p:nvSpPr>
          <p:spPr>
            <a:xfrm>
              <a:off x="751300" y="3555847"/>
              <a:ext cx="18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6" name="RBContent19">
              <a:extLst>
                <a:ext uri="{FF2B5EF4-FFF2-40B4-BE49-F238E27FC236}">
                  <a16:creationId xmlns:a16="http://schemas.microsoft.com/office/drawing/2014/main" id="{18B0B282-E28C-4EBE-9085-0FC360C3F8A8}"/>
                </a:ext>
              </a:extLst>
            </p:cNvPr>
            <p:cNvSpPr txBox="1"/>
            <p:nvPr/>
          </p:nvSpPr>
          <p:spPr>
            <a:xfrm>
              <a:off x="351611"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42" name="Text 15">
              <a:extLst>
                <a:ext uri="{FF2B5EF4-FFF2-40B4-BE49-F238E27FC236}">
                  <a16:creationId xmlns:a16="http://schemas.microsoft.com/office/drawing/2014/main" id="{C0E84A34-EA32-4293-B8ED-AC2C218278D3}"/>
                </a:ext>
              </a:extLst>
            </p:cNvPr>
            <p:cNvSpPr>
              <a:spLocks noChangeArrowheads="1"/>
            </p:cNvSpPr>
            <p:nvPr/>
          </p:nvSpPr>
          <p:spPr bwMode="auto">
            <a:xfrm>
              <a:off x="741360" y="1753581"/>
              <a:ext cx="1800000" cy="553998"/>
            </a:xfrm>
            <a:prstGeom prst="rect">
              <a:avLst/>
            </a:prstGeom>
            <a:noFill/>
            <a:ln w="6350">
              <a:noFill/>
              <a:miter lim="800000"/>
              <a:headEnd/>
              <a:tailEnd/>
            </a:ln>
          </p:spPr>
          <p:txBody>
            <a:bodyPr wrap="square" lIns="0" tIns="0" rIns="0" bIns="0">
              <a:spAutoFit/>
            </a:bodyPr>
            <a:lstStyle/>
            <a:p>
              <a:pPr defTabSz="330200"/>
              <a:r>
                <a:rPr lang="en-GB" b="1">
                  <a:ea typeface="PMingLiU" pitchFamily="18" charset="-120"/>
                  <a:cs typeface="Arial" panose="020B0604020202020204" pitchFamily="34" charset="0"/>
                </a:rPr>
                <a:t>Two-line </a:t>
              </a:r>
              <a:br>
                <a:rPr lang="en-GB" b="1">
                  <a:ea typeface="PMingLiU" pitchFamily="18" charset="-120"/>
                  <a:cs typeface="Arial" panose="020B0604020202020204" pitchFamily="34" charset="0"/>
                </a:rPr>
              </a:br>
              <a:r>
                <a:rPr lang="en-GB" b="1">
                  <a:ea typeface="PMingLiU" pitchFamily="18" charset="-120"/>
                  <a:cs typeface="Arial" panose="020B0604020202020204" pitchFamily="34" charset="0"/>
                </a:rPr>
                <a:t>Header</a:t>
              </a:r>
            </a:p>
          </p:txBody>
        </p:sp>
        <p:sp>
          <p:nvSpPr>
            <p:cNvPr id="37" name="Rectangle 26">
              <a:extLst>
                <a:ext uri="{FF2B5EF4-FFF2-40B4-BE49-F238E27FC236}">
                  <a16:creationId xmlns:a16="http://schemas.microsoft.com/office/drawing/2014/main" id="{E0326B54-5342-4F97-9A9B-2429D59DBDD4}"/>
                </a:ext>
              </a:extLst>
            </p:cNvPr>
            <p:cNvSpPr>
              <a:spLocks noChangeAspect="1"/>
            </p:cNvSpPr>
            <p:nvPr/>
          </p:nvSpPr>
          <p:spPr>
            <a:xfrm>
              <a:off x="741360" y="2379728"/>
              <a:ext cx="1800000" cy="1037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10" name="Group 9">
            <a:extLst>
              <a:ext uri="{FF2B5EF4-FFF2-40B4-BE49-F238E27FC236}">
                <a16:creationId xmlns:a16="http://schemas.microsoft.com/office/drawing/2014/main" id="{77891105-DE19-4C84-A463-5F3441BF377C}"/>
              </a:ext>
            </a:extLst>
          </p:cNvPr>
          <p:cNvGrpSpPr/>
          <p:nvPr/>
        </p:nvGrpSpPr>
        <p:grpSpPr>
          <a:xfrm>
            <a:off x="2650597" y="1919786"/>
            <a:ext cx="2230450" cy="2765607"/>
            <a:chOff x="2601434" y="1753581"/>
            <a:chExt cx="2230450" cy="2765607"/>
          </a:xfrm>
        </p:grpSpPr>
        <p:sp>
          <p:nvSpPr>
            <p:cNvPr id="64" name="Rectangle 29">
              <a:extLst>
                <a:ext uri="{FF2B5EF4-FFF2-40B4-BE49-F238E27FC236}">
                  <a16:creationId xmlns:a16="http://schemas.microsoft.com/office/drawing/2014/main" id="{68F422B0-A1CD-42E4-A259-BC94F1B5136D}"/>
                </a:ext>
              </a:extLst>
            </p:cNvPr>
            <p:cNvSpPr/>
            <p:nvPr/>
          </p:nvSpPr>
          <p:spPr>
            <a:xfrm>
              <a:off x="3031884" y="3555847"/>
              <a:ext cx="18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3" name="RBContent19">
              <a:extLst>
                <a:ext uri="{FF2B5EF4-FFF2-40B4-BE49-F238E27FC236}">
                  <a16:creationId xmlns:a16="http://schemas.microsoft.com/office/drawing/2014/main" id="{7E18E7FB-F3FD-40A1-A1E6-67E576856E7D}"/>
                </a:ext>
              </a:extLst>
            </p:cNvPr>
            <p:cNvSpPr txBox="1"/>
            <p:nvPr/>
          </p:nvSpPr>
          <p:spPr>
            <a:xfrm>
              <a:off x="2601434"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54" name="Text 15">
              <a:extLst>
                <a:ext uri="{FF2B5EF4-FFF2-40B4-BE49-F238E27FC236}">
                  <a16:creationId xmlns:a16="http://schemas.microsoft.com/office/drawing/2014/main" id="{33EB3087-94A2-4FA6-8596-72EAA9EFBD11}"/>
                </a:ext>
              </a:extLst>
            </p:cNvPr>
            <p:cNvSpPr>
              <a:spLocks noChangeArrowheads="1"/>
            </p:cNvSpPr>
            <p:nvPr/>
          </p:nvSpPr>
          <p:spPr bwMode="auto">
            <a:xfrm>
              <a:off x="3031883" y="1753581"/>
              <a:ext cx="1800000" cy="553998"/>
            </a:xfrm>
            <a:prstGeom prst="rect">
              <a:avLst/>
            </a:prstGeom>
            <a:noFill/>
            <a:ln w="6350">
              <a:noFill/>
              <a:miter lim="800000"/>
              <a:headEnd/>
              <a:tailEnd/>
            </a:ln>
          </p:spPr>
          <p:txBody>
            <a:bodyPr wrap="square" lIns="0" tIns="0" rIns="0" bIns="0">
              <a:spAutoFit/>
            </a:bodyPr>
            <a:lstStyle/>
            <a:p>
              <a:pPr defTabSz="330200"/>
              <a:r>
                <a:rPr lang="en-GB" b="1">
                  <a:ea typeface="PMingLiU" pitchFamily="18" charset="-120"/>
                  <a:cs typeface="Arial" panose="020B0604020202020204" pitchFamily="34" charset="0"/>
                </a:rPr>
                <a:t>Two-line </a:t>
              </a:r>
              <a:br>
                <a:rPr lang="en-GB" b="1">
                  <a:ea typeface="PMingLiU" pitchFamily="18" charset="-120"/>
                  <a:cs typeface="Arial" panose="020B0604020202020204" pitchFamily="34" charset="0"/>
                </a:rPr>
              </a:br>
              <a:r>
                <a:rPr lang="en-GB" b="1">
                  <a:ea typeface="PMingLiU" pitchFamily="18" charset="-120"/>
                  <a:cs typeface="Arial" panose="020B0604020202020204" pitchFamily="34" charset="0"/>
                </a:rPr>
                <a:t>Header</a:t>
              </a:r>
            </a:p>
          </p:txBody>
        </p:sp>
        <p:sp>
          <p:nvSpPr>
            <p:cNvPr id="38" name="Rectangle 26">
              <a:extLst>
                <a:ext uri="{FF2B5EF4-FFF2-40B4-BE49-F238E27FC236}">
                  <a16:creationId xmlns:a16="http://schemas.microsoft.com/office/drawing/2014/main" id="{9FD3175B-CFFE-46DA-A6DB-1EE233E9B649}"/>
                </a:ext>
              </a:extLst>
            </p:cNvPr>
            <p:cNvSpPr>
              <a:spLocks noChangeAspect="1"/>
            </p:cNvSpPr>
            <p:nvPr/>
          </p:nvSpPr>
          <p:spPr>
            <a:xfrm>
              <a:off x="3031883" y="2379728"/>
              <a:ext cx="1800000" cy="1037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9" name="Group 8">
            <a:extLst>
              <a:ext uri="{FF2B5EF4-FFF2-40B4-BE49-F238E27FC236}">
                <a16:creationId xmlns:a16="http://schemas.microsoft.com/office/drawing/2014/main" id="{F30BA73A-111A-4B35-85AF-B824ED73FCA6}"/>
              </a:ext>
            </a:extLst>
          </p:cNvPr>
          <p:cNvGrpSpPr/>
          <p:nvPr/>
        </p:nvGrpSpPr>
        <p:grpSpPr>
          <a:xfrm>
            <a:off x="4966273" y="1919786"/>
            <a:ext cx="2230453" cy="2765607"/>
            <a:chOff x="4891957" y="1753581"/>
            <a:chExt cx="2230453" cy="2765607"/>
          </a:xfrm>
        </p:grpSpPr>
        <p:sp>
          <p:nvSpPr>
            <p:cNvPr id="78" name="Rectangle 29">
              <a:extLst>
                <a:ext uri="{FF2B5EF4-FFF2-40B4-BE49-F238E27FC236}">
                  <a16:creationId xmlns:a16="http://schemas.microsoft.com/office/drawing/2014/main" id="{1F5F950E-B77D-4553-A50C-7B138D8DB4D6}"/>
                </a:ext>
              </a:extLst>
            </p:cNvPr>
            <p:cNvSpPr/>
            <p:nvPr/>
          </p:nvSpPr>
          <p:spPr>
            <a:xfrm>
              <a:off x="5322409" y="3555847"/>
              <a:ext cx="18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5" name="RBContent19">
              <a:extLst>
                <a:ext uri="{FF2B5EF4-FFF2-40B4-BE49-F238E27FC236}">
                  <a16:creationId xmlns:a16="http://schemas.microsoft.com/office/drawing/2014/main" id="{FD53BEC2-A214-4461-8687-7D0E34488B01}"/>
                </a:ext>
              </a:extLst>
            </p:cNvPr>
            <p:cNvSpPr txBox="1"/>
            <p:nvPr/>
          </p:nvSpPr>
          <p:spPr>
            <a:xfrm>
              <a:off x="489195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3</a:t>
              </a:r>
              <a:endParaRPr kumimoji="0" lang="en-GB" sz="4800" b="1" i="0" u="none" strike="noStrike" kern="0" cap="none" spc="0" normalizeH="0" baseline="0" noProof="0">
                <a:ln>
                  <a:noFill/>
                </a:ln>
                <a:solidFill>
                  <a:srgbClr val="8D8EA7"/>
                </a:solidFill>
                <a:effectLst/>
                <a:uLnTx/>
                <a:uFillTx/>
                <a:latin typeface="+mj-lt"/>
              </a:endParaRPr>
            </a:p>
          </p:txBody>
        </p:sp>
        <p:sp>
          <p:nvSpPr>
            <p:cNvPr id="67" name="Text 15">
              <a:extLst>
                <a:ext uri="{FF2B5EF4-FFF2-40B4-BE49-F238E27FC236}">
                  <a16:creationId xmlns:a16="http://schemas.microsoft.com/office/drawing/2014/main" id="{37F28DCE-1BBE-405B-A2E8-7F8C93E738E0}"/>
                </a:ext>
              </a:extLst>
            </p:cNvPr>
            <p:cNvSpPr>
              <a:spLocks noChangeArrowheads="1"/>
            </p:cNvSpPr>
            <p:nvPr/>
          </p:nvSpPr>
          <p:spPr bwMode="auto">
            <a:xfrm>
              <a:off x="5322410" y="1753581"/>
              <a:ext cx="1800000" cy="553998"/>
            </a:xfrm>
            <a:prstGeom prst="rect">
              <a:avLst/>
            </a:prstGeom>
            <a:noFill/>
            <a:ln w="6350">
              <a:noFill/>
              <a:miter lim="800000"/>
              <a:headEnd/>
              <a:tailEnd/>
            </a:ln>
          </p:spPr>
          <p:txBody>
            <a:bodyPr wrap="square" lIns="0" tIns="0" rIns="0" bIns="0">
              <a:spAutoFit/>
            </a:bodyPr>
            <a:lstStyle/>
            <a:p>
              <a:pPr defTabSz="330200"/>
              <a:r>
                <a:rPr lang="en-GB" b="1">
                  <a:ea typeface="PMingLiU" pitchFamily="18" charset="-120"/>
                  <a:cs typeface="Arial" panose="020B0604020202020204" pitchFamily="34" charset="0"/>
                </a:rPr>
                <a:t>Two-line </a:t>
              </a:r>
              <a:br>
                <a:rPr lang="en-GB" b="1">
                  <a:ea typeface="PMingLiU" pitchFamily="18" charset="-120"/>
                  <a:cs typeface="Arial" panose="020B0604020202020204" pitchFamily="34" charset="0"/>
                </a:rPr>
              </a:br>
              <a:r>
                <a:rPr lang="en-GB" b="1">
                  <a:ea typeface="PMingLiU" pitchFamily="18" charset="-120"/>
                  <a:cs typeface="Arial" panose="020B0604020202020204" pitchFamily="34" charset="0"/>
                </a:rPr>
                <a:t>Header</a:t>
              </a:r>
            </a:p>
          </p:txBody>
        </p:sp>
        <p:sp>
          <p:nvSpPr>
            <p:cNvPr id="45" name="Rectangle 26">
              <a:extLst>
                <a:ext uri="{FF2B5EF4-FFF2-40B4-BE49-F238E27FC236}">
                  <a16:creationId xmlns:a16="http://schemas.microsoft.com/office/drawing/2014/main" id="{F0FBA463-DC2F-4C3A-BFC0-8010E147DF11}"/>
                </a:ext>
              </a:extLst>
            </p:cNvPr>
            <p:cNvSpPr>
              <a:spLocks noChangeAspect="1"/>
            </p:cNvSpPr>
            <p:nvPr/>
          </p:nvSpPr>
          <p:spPr>
            <a:xfrm>
              <a:off x="5322408" y="2379728"/>
              <a:ext cx="1800000" cy="1037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5" name="Group 4">
            <a:extLst>
              <a:ext uri="{FF2B5EF4-FFF2-40B4-BE49-F238E27FC236}">
                <a16:creationId xmlns:a16="http://schemas.microsoft.com/office/drawing/2014/main" id="{F259B1DA-27DD-4091-BDC4-AE2177572782}"/>
              </a:ext>
            </a:extLst>
          </p:cNvPr>
          <p:cNvGrpSpPr/>
          <p:nvPr/>
        </p:nvGrpSpPr>
        <p:grpSpPr>
          <a:xfrm>
            <a:off x="7281952" y="1919786"/>
            <a:ext cx="2230452" cy="2765607"/>
            <a:chOff x="7182482" y="1753581"/>
            <a:chExt cx="2230452" cy="2765607"/>
          </a:xfrm>
        </p:grpSpPr>
        <p:sp>
          <p:nvSpPr>
            <p:cNvPr id="71" name="Rectangle 29">
              <a:extLst>
                <a:ext uri="{FF2B5EF4-FFF2-40B4-BE49-F238E27FC236}">
                  <a16:creationId xmlns:a16="http://schemas.microsoft.com/office/drawing/2014/main" id="{6A06D899-AC00-4456-8606-09AE6F6C3A72}"/>
                </a:ext>
              </a:extLst>
            </p:cNvPr>
            <p:cNvSpPr/>
            <p:nvPr/>
          </p:nvSpPr>
          <p:spPr>
            <a:xfrm>
              <a:off x="7612934" y="3555847"/>
              <a:ext cx="18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BContent19">
              <a:extLst>
                <a:ext uri="{FF2B5EF4-FFF2-40B4-BE49-F238E27FC236}">
                  <a16:creationId xmlns:a16="http://schemas.microsoft.com/office/drawing/2014/main" id="{042E0C6E-BAC5-4648-BCDB-847AB6D3D4D2}"/>
                </a:ext>
              </a:extLst>
            </p:cNvPr>
            <p:cNvSpPr txBox="1"/>
            <p:nvPr/>
          </p:nvSpPr>
          <p:spPr>
            <a:xfrm>
              <a:off x="7182482"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4</a:t>
              </a:r>
            </a:p>
          </p:txBody>
        </p:sp>
        <p:sp>
          <p:nvSpPr>
            <p:cNvPr id="58" name="Text 15">
              <a:extLst>
                <a:ext uri="{FF2B5EF4-FFF2-40B4-BE49-F238E27FC236}">
                  <a16:creationId xmlns:a16="http://schemas.microsoft.com/office/drawing/2014/main" id="{43BAE9F2-8845-439E-8830-46E7BC25F235}"/>
                </a:ext>
              </a:extLst>
            </p:cNvPr>
            <p:cNvSpPr>
              <a:spLocks noChangeArrowheads="1"/>
            </p:cNvSpPr>
            <p:nvPr/>
          </p:nvSpPr>
          <p:spPr bwMode="auto">
            <a:xfrm>
              <a:off x="7612933" y="1753581"/>
              <a:ext cx="1800000" cy="553998"/>
            </a:xfrm>
            <a:prstGeom prst="rect">
              <a:avLst/>
            </a:prstGeom>
            <a:noFill/>
            <a:ln w="6350">
              <a:noFill/>
              <a:miter lim="800000"/>
              <a:headEnd/>
              <a:tailEnd/>
            </a:ln>
          </p:spPr>
          <p:txBody>
            <a:bodyPr wrap="square" lIns="0" tIns="0" rIns="0" bIns="0">
              <a:spAutoFit/>
            </a:bodyPr>
            <a:lstStyle/>
            <a:p>
              <a:pPr defTabSz="330200"/>
              <a:r>
                <a:rPr lang="en-GB" b="1">
                  <a:ea typeface="PMingLiU" pitchFamily="18" charset="-120"/>
                  <a:cs typeface="Arial" panose="020B0604020202020204" pitchFamily="34" charset="0"/>
                </a:rPr>
                <a:t>Two-line </a:t>
              </a:r>
              <a:br>
                <a:rPr lang="en-GB" b="1">
                  <a:ea typeface="PMingLiU" pitchFamily="18" charset="-120"/>
                  <a:cs typeface="Arial" panose="020B0604020202020204" pitchFamily="34" charset="0"/>
                </a:rPr>
              </a:br>
              <a:r>
                <a:rPr lang="en-GB" b="1">
                  <a:ea typeface="PMingLiU" pitchFamily="18" charset="-120"/>
                  <a:cs typeface="Arial" panose="020B0604020202020204" pitchFamily="34" charset="0"/>
                </a:rPr>
                <a:t>Header</a:t>
              </a:r>
            </a:p>
          </p:txBody>
        </p:sp>
        <p:sp>
          <p:nvSpPr>
            <p:cNvPr id="46" name="Rectangle 26">
              <a:extLst>
                <a:ext uri="{FF2B5EF4-FFF2-40B4-BE49-F238E27FC236}">
                  <a16:creationId xmlns:a16="http://schemas.microsoft.com/office/drawing/2014/main" id="{0C3999F5-6EC0-407D-AF3B-9D7FC4D78073}"/>
                </a:ext>
              </a:extLst>
            </p:cNvPr>
            <p:cNvSpPr>
              <a:spLocks noChangeAspect="1"/>
            </p:cNvSpPr>
            <p:nvPr/>
          </p:nvSpPr>
          <p:spPr>
            <a:xfrm>
              <a:off x="7612933" y="2379728"/>
              <a:ext cx="1800000" cy="1037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4" name="Group 3">
            <a:extLst>
              <a:ext uri="{FF2B5EF4-FFF2-40B4-BE49-F238E27FC236}">
                <a16:creationId xmlns:a16="http://schemas.microsoft.com/office/drawing/2014/main" id="{1DA55C55-7483-4B5D-8A7A-CB98B18685E6}"/>
              </a:ext>
            </a:extLst>
          </p:cNvPr>
          <p:cNvGrpSpPr/>
          <p:nvPr/>
        </p:nvGrpSpPr>
        <p:grpSpPr>
          <a:xfrm>
            <a:off x="9597629" y="1919786"/>
            <a:ext cx="2230453" cy="2765607"/>
            <a:chOff x="9473007" y="1753581"/>
            <a:chExt cx="2230453" cy="2765607"/>
          </a:xfrm>
        </p:grpSpPr>
        <p:sp>
          <p:nvSpPr>
            <p:cNvPr id="41" name="Rectangle 29">
              <a:extLst>
                <a:ext uri="{FF2B5EF4-FFF2-40B4-BE49-F238E27FC236}">
                  <a16:creationId xmlns:a16="http://schemas.microsoft.com/office/drawing/2014/main" id="{D39B9C77-8A14-4C7F-BF64-3E88C8BC859D}"/>
                </a:ext>
              </a:extLst>
            </p:cNvPr>
            <p:cNvSpPr/>
            <p:nvPr/>
          </p:nvSpPr>
          <p:spPr>
            <a:xfrm>
              <a:off x="9903460" y="3555847"/>
              <a:ext cx="18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2" name="RBContent19">
              <a:extLst>
                <a:ext uri="{FF2B5EF4-FFF2-40B4-BE49-F238E27FC236}">
                  <a16:creationId xmlns:a16="http://schemas.microsoft.com/office/drawing/2014/main" id="{E0503D63-5878-4616-995F-F665E8E340EE}"/>
                </a:ext>
              </a:extLst>
            </p:cNvPr>
            <p:cNvSpPr txBox="1"/>
            <p:nvPr/>
          </p:nvSpPr>
          <p:spPr>
            <a:xfrm>
              <a:off x="947300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5</a:t>
              </a:r>
            </a:p>
          </p:txBody>
        </p:sp>
        <p:sp>
          <p:nvSpPr>
            <p:cNvPr id="76" name="Text 15">
              <a:extLst>
                <a:ext uri="{FF2B5EF4-FFF2-40B4-BE49-F238E27FC236}">
                  <a16:creationId xmlns:a16="http://schemas.microsoft.com/office/drawing/2014/main" id="{2C90DDFD-C1B5-45CF-BB91-D71D024A9063}"/>
                </a:ext>
              </a:extLst>
            </p:cNvPr>
            <p:cNvSpPr>
              <a:spLocks noChangeArrowheads="1"/>
            </p:cNvSpPr>
            <p:nvPr/>
          </p:nvSpPr>
          <p:spPr bwMode="auto">
            <a:xfrm>
              <a:off x="9903459" y="1753581"/>
              <a:ext cx="1800000"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a:t>
              </a:r>
              <a:br>
                <a:rPr lang="en-GB" b="1">
                  <a:latin typeface="+mj-lt"/>
                  <a:ea typeface="PMingLiU" pitchFamily="18" charset="-120"/>
                  <a:cs typeface="Arial" panose="020B0604020202020204" pitchFamily="34" charset="0"/>
                </a:rPr>
              </a:br>
              <a:r>
                <a:rPr lang="en-GB" b="1">
                  <a:latin typeface="+mj-lt"/>
                  <a:ea typeface="PMingLiU" pitchFamily="18" charset="-120"/>
                  <a:cs typeface="Arial" panose="020B0604020202020204" pitchFamily="34" charset="0"/>
                </a:rPr>
                <a:t>Header</a:t>
              </a:r>
            </a:p>
          </p:txBody>
        </p:sp>
        <p:sp>
          <p:nvSpPr>
            <p:cNvPr id="47" name="Rectangle 26">
              <a:extLst>
                <a:ext uri="{FF2B5EF4-FFF2-40B4-BE49-F238E27FC236}">
                  <a16:creationId xmlns:a16="http://schemas.microsoft.com/office/drawing/2014/main" id="{1E7D03B0-ED97-4517-85B1-4988E381B8B8}"/>
                </a:ext>
              </a:extLst>
            </p:cNvPr>
            <p:cNvSpPr>
              <a:spLocks noChangeAspect="1"/>
            </p:cNvSpPr>
            <p:nvPr/>
          </p:nvSpPr>
          <p:spPr>
            <a:xfrm>
              <a:off x="9903459" y="2379728"/>
              <a:ext cx="1800000" cy="1037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35660917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6D4-5EFA-4F57-BDCC-674E609BB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5" imgH="416" progId="TCLayout.ActiveDocument.1">
                  <p:embed/>
                </p:oleObj>
              </mc:Choice>
              <mc:Fallback>
                <p:oleObj name="think-cell Folie" r:id="rId3" imgW="415" imgH="416" progId="TCLayout.ActiveDocument.1">
                  <p:embed/>
                  <p:pic>
                    <p:nvPicPr>
                      <p:cNvPr id="4" name="Object 3" hidden="1">
                        <a:extLst>
                          <a:ext uri="{FF2B5EF4-FFF2-40B4-BE49-F238E27FC236}">
                            <a16:creationId xmlns:a16="http://schemas.microsoft.com/office/drawing/2014/main" id="{2E5D16D4-5EFA-4F57-BDCC-674E609BBC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759A161-3EBE-4F5E-B833-026F415F8F41}"/>
              </a:ext>
            </a:extLst>
          </p:cNvPr>
          <p:cNvSpPr>
            <a:spLocks noGrp="1"/>
          </p:cNvSpPr>
          <p:nvPr>
            <p:ph type="ctrTitle"/>
          </p:nvPr>
        </p:nvSpPr>
        <p:spPr/>
        <p:txBody>
          <a:bodyPr/>
          <a:lstStyle/>
          <a:p>
            <a:r>
              <a:rPr lang="en-GB"/>
              <a:t>Process</a:t>
            </a:r>
          </a:p>
        </p:txBody>
      </p:sp>
    </p:spTree>
    <p:extLst>
      <p:ext uri="{BB962C8B-B14F-4D97-AF65-F5344CB8AC3E}">
        <p14:creationId xmlns:p14="http://schemas.microsoft.com/office/powerpoint/2010/main" val="3334953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8" name="Inhaltsplatzhalter 2">
            <a:extLst>
              <a:ext uri="{FF2B5EF4-FFF2-40B4-BE49-F238E27FC236}">
                <a16:creationId xmlns:a16="http://schemas.microsoft.com/office/drawing/2014/main" id="{FA7FF1AD-AC0C-407E-A630-71E3A9CA0F6E}"/>
              </a:ext>
            </a:extLst>
          </p:cNvPr>
          <p:cNvSpPr txBox="1">
            <a:spLocks/>
          </p:cNvSpPr>
          <p:nvPr/>
        </p:nvSpPr>
        <p:spPr bwMode="gray">
          <a:xfrm>
            <a:off x="8228082" y="2243635"/>
            <a:ext cx="3600000" cy="3636989"/>
          </a:xfrm>
          <a:prstGeom prst="rect">
            <a:avLst/>
          </a:prstGeom>
          <a:solidFill>
            <a:schemeClr val="bg1">
              <a:lumMod val="95000"/>
            </a:schemeClr>
          </a:solidFill>
          <a:ln w="9525" cap="flat" cmpd="sng" algn="ctr">
            <a:noFill/>
            <a:prstDash val="solid"/>
          </a:ln>
          <a:effectLst/>
        </p:spPr>
        <p:txBody>
          <a:bodyPr lIns="91440" tIns="137160" rtlCol="0" anchor="t"/>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marL="190062" lvl="3" indent="-190062" defTabSz="914400" fontAlgn="base">
              <a:lnSpc>
                <a:spcPct val="90000"/>
              </a:lnSpc>
              <a:spcBef>
                <a:spcPts val="181"/>
              </a:spcBef>
              <a:spcAft>
                <a:spcPct val="0"/>
              </a:spcAft>
              <a:buClr>
                <a:srgbClr val="A2A2A2"/>
              </a:buClr>
              <a:buSzPct val="100000"/>
              <a:buFont typeface="Wingdings"/>
              <a:buChar char="§"/>
              <a:defRPr/>
            </a:pPr>
            <a:r>
              <a:rPr lang="en-GB" sz="1600">
                <a:solidFill>
                  <a:prstClr val="black"/>
                </a:solidFill>
                <a:latin typeface="Arial"/>
              </a:rPr>
              <a:t>Describing </a:t>
            </a:r>
          </a:p>
          <a:p>
            <a:pPr marL="190062" lvl="3" indent="-190062" defTabSz="914400" fontAlgn="base">
              <a:lnSpc>
                <a:spcPct val="90000"/>
              </a:lnSpc>
              <a:spcBef>
                <a:spcPts val="181"/>
              </a:spcBef>
              <a:spcAft>
                <a:spcPct val="0"/>
              </a:spcAft>
              <a:buClr>
                <a:srgbClr val="A2A2A2"/>
              </a:buClr>
              <a:buSzPct val="100000"/>
              <a:buFont typeface="Wingdings"/>
              <a:buChar char="§"/>
              <a:defRPr/>
            </a:pPr>
            <a:r>
              <a:rPr lang="en-GB" sz="1600">
                <a:solidFill>
                  <a:prstClr val="black"/>
                </a:solidFill>
                <a:latin typeface="Arial"/>
              </a:rPr>
              <a:t>Text </a:t>
            </a:r>
          </a:p>
          <a:p>
            <a:pPr marL="190062" lvl="3" indent="-190062" defTabSz="914400" fontAlgn="base">
              <a:lnSpc>
                <a:spcPct val="90000"/>
              </a:lnSpc>
              <a:spcBef>
                <a:spcPts val="181"/>
              </a:spcBef>
              <a:spcAft>
                <a:spcPct val="0"/>
              </a:spcAft>
              <a:buClr>
                <a:srgbClr val="A2A2A2"/>
              </a:buClr>
              <a:buSzPct val="100000"/>
              <a:buFont typeface="Wingdings"/>
              <a:buChar char="§"/>
              <a:defRPr/>
            </a:pPr>
            <a:r>
              <a:rPr lang="en-GB" sz="1600">
                <a:solidFill>
                  <a:prstClr val="black"/>
                </a:solidFill>
                <a:latin typeface="Arial"/>
              </a:rPr>
              <a:t>over four lines </a:t>
            </a:r>
          </a:p>
          <a:p>
            <a:pPr marL="190062" lvl="3" indent="-190062" defTabSz="914400" fontAlgn="base">
              <a:lnSpc>
                <a:spcPct val="90000"/>
              </a:lnSpc>
              <a:spcBef>
                <a:spcPts val="181"/>
              </a:spcBef>
              <a:spcAft>
                <a:spcPct val="0"/>
              </a:spcAft>
              <a:buClr>
                <a:srgbClr val="A2A2A2"/>
              </a:buClr>
              <a:buSzPct val="100000"/>
              <a:buFont typeface="Wingdings"/>
              <a:buChar char="§"/>
              <a:defRPr/>
            </a:pPr>
            <a:r>
              <a:rPr lang="en-GB" sz="1600">
                <a:solidFill>
                  <a:prstClr val="black"/>
                </a:solidFill>
                <a:latin typeface="Arial"/>
              </a:rPr>
              <a:t>...</a:t>
            </a:r>
          </a:p>
          <a:p>
            <a:pPr algn="l">
              <a:spcAft>
                <a:spcPts val="600"/>
              </a:spcAft>
              <a:buClr>
                <a:schemeClr val="accent3"/>
              </a:buClr>
            </a:pPr>
            <a:endParaRPr lang="en-GB" sz="1600" b="0">
              <a:solidFill>
                <a:schemeClr val="tx1">
                  <a:lumMod val="85000"/>
                  <a:lumOff val="15000"/>
                </a:schemeClr>
              </a:solidFill>
            </a:endParaRPr>
          </a:p>
        </p:txBody>
      </p:sp>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365682" y="2243636"/>
            <a:ext cx="7701358" cy="0"/>
          </a:xfrm>
          <a:prstGeom prst="line">
            <a:avLst/>
          </a:prstGeom>
          <a:noFill/>
          <a:ln w="22225">
            <a:solidFill>
              <a:srgbClr val="BBBEC2"/>
            </a:solidFill>
            <a:round/>
            <a:headEn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365682" y="1919786"/>
            <a:ext cx="7700158" cy="276999"/>
          </a:xfrm>
          <a:prstGeom prst="rect">
            <a:avLst/>
          </a:prstGeom>
          <a:noFill/>
          <a:ln w="6350">
            <a:noFill/>
            <a:miter lim="800000"/>
            <a:headEnd/>
            <a:tailEnd/>
          </a:ln>
        </p:spPr>
        <p:txBody>
          <a:bodyPr wrap="square" lIns="0" tIns="0" rIns="0" bIns="0">
            <a:spAutoFit/>
          </a:bodyPr>
          <a:lstStyle/>
          <a:p>
            <a:pPr defTabSz="330200"/>
            <a:r>
              <a:rPr lang="en-GB" b="1">
                <a:solidFill>
                  <a:sysClr val="windowText" lastClr="000000"/>
                </a:solidFill>
                <a:latin typeface="+mj-lt"/>
                <a:ea typeface="PMingLiU" pitchFamily="18" charset="-120"/>
                <a:cs typeface="Arial" panose="020B0604020202020204" pitchFamily="34" charset="0"/>
              </a:rPr>
              <a:t>Single-line header</a:t>
            </a:r>
          </a:p>
        </p:txBody>
      </p:sp>
      <p:sp>
        <p:nvSpPr>
          <p:cNvPr id="30" name="Rectangle 29">
            <a:extLst>
              <a:ext uri="{FF2B5EF4-FFF2-40B4-BE49-F238E27FC236}">
                <a16:creationId xmlns:a16="http://schemas.microsoft.com/office/drawing/2014/main" id="{15DBA3C0-2FF4-4FBD-87F8-B1F1D6BF60DE}"/>
              </a:ext>
            </a:extLst>
          </p:cNvPr>
          <p:cNvSpPr/>
          <p:nvPr/>
        </p:nvSpPr>
        <p:spPr>
          <a:xfrm>
            <a:off x="365682" y="2371087"/>
            <a:ext cx="7701358"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8228082" y="2243636"/>
            <a:ext cx="3600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228082"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spTree>
    <p:extLst>
      <p:ext uri="{BB962C8B-B14F-4D97-AF65-F5344CB8AC3E}">
        <p14:creationId xmlns:p14="http://schemas.microsoft.com/office/powerpoint/2010/main" val="6659781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11" name="Group 10">
            <a:extLst>
              <a:ext uri="{FF2B5EF4-FFF2-40B4-BE49-F238E27FC236}">
                <a16:creationId xmlns:a16="http://schemas.microsoft.com/office/drawing/2014/main" id="{DFFD7A6C-6A2B-48F7-BDDC-570EA6CFE5CD}"/>
              </a:ext>
            </a:extLst>
          </p:cNvPr>
          <p:cNvGrpSpPr/>
          <p:nvPr/>
        </p:nvGrpSpPr>
        <p:grpSpPr>
          <a:xfrm>
            <a:off x="365681" y="1919786"/>
            <a:ext cx="3708000" cy="1414642"/>
            <a:chOff x="365681" y="1919786"/>
            <a:chExt cx="3708000" cy="1414642"/>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365681" y="2243636"/>
              <a:ext cx="3708000" cy="0"/>
            </a:xfrm>
            <a:prstGeom prst="line">
              <a:avLst/>
            </a:prstGeom>
            <a:noFill/>
            <a:ln w="22225">
              <a:solidFill>
                <a:srgbClr val="BBBEC2"/>
              </a:solidFill>
              <a:round/>
              <a:headEn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365681" y="1919786"/>
              <a:ext cx="3708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0" name="Rectangle 29">
              <a:extLst>
                <a:ext uri="{FF2B5EF4-FFF2-40B4-BE49-F238E27FC236}">
                  <a16:creationId xmlns:a16="http://schemas.microsoft.com/office/drawing/2014/main" id="{15DBA3C0-2FF4-4FBD-87F8-B1F1D6BF60DE}"/>
                </a:ext>
              </a:extLst>
            </p:cNvPr>
            <p:cNvSpPr/>
            <p:nvPr/>
          </p:nvSpPr>
          <p:spPr>
            <a:xfrm>
              <a:off x="365681" y="2371087"/>
              <a:ext cx="3708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2" name="Group 11">
            <a:extLst>
              <a:ext uri="{FF2B5EF4-FFF2-40B4-BE49-F238E27FC236}">
                <a16:creationId xmlns:a16="http://schemas.microsoft.com/office/drawing/2014/main" id="{0C84B295-52FC-4D54-B768-870B6EFFD42B}"/>
              </a:ext>
            </a:extLst>
          </p:cNvPr>
          <p:cNvGrpSpPr/>
          <p:nvPr/>
        </p:nvGrpSpPr>
        <p:grpSpPr>
          <a:xfrm>
            <a:off x="8120082" y="1919786"/>
            <a:ext cx="3708000" cy="3960834"/>
            <a:chOff x="8120082" y="1919786"/>
            <a:chExt cx="3708000" cy="3960834"/>
          </a:xfrm>
        </p:grpSpPr>
        <p:sp>
          <p:nvSpPr>
            <p:cNvPr id="4" name="Rectangle 3">
              <a:extLst>
                <a:ext uri="{FF2B5EF4-FFF2-40B4-BE49-F238E27FC236}">
                  <a16:creationId xmlns:a16="http://schemas.microsoft.com/office/drawing/2014/main" id="{77C4456F-F0EA-4C5E-A6CE-93A905E22E93}"/>
                </a:ext>
              </a:extLst>
            </p:cNvPr>
            <p:cNvSpPr/>
            <p:nvPr/>
          </p:nvSpPr>
          <p:spPr>
            <a:xfrm>
              <a:off x="8120082" y="2243635"/>
              <a:ext cx="3708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8120082" y="2243636"/>
              <a:ext cx="3708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120082" y="1919786"/>
              <a:ext cx="3708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10" name="Group 9">
            <a:extLst>
              <a:ext uri="{FF2B5EF4-FFF2-40B4-BE49-F238E27FC236}">
                <a16:creationId xmlns:a16="http://schemas.microsoft.com/office/drawing/2014/main" id="{116F9790-C0EE-4D9E-A139-D79449649C41}"/>
              </a:ext>
            </a:extLst>
          </p:cNvPr>
          <p:cNvGrpSpPr/>
          <p:nvPr/>
        </p:nvGrpSpPr>
        <p:grpSpPr>
          <a:xfrm>
            <a:off x="4242881" y="1919786"/>
            <a:ext cx="3708000" cy="1414642"/>
            <a:chOff x="4296882" y="1919786"/>
            <a:chExt cx="3708000" cy="1414642"/>
          </a:xfrm>
        </p:grpSpPr>
        <p:sp>
          <p:nvSpPr>
            <p:cNvPr id="27" name="Line 2">
              <a:extLst>
                <a:ext uri="{FF2B5EF4-FFF2-40B4-BE49-F238E27FC236}">
                  <a16:creationId xmlns:a16="http://schemas.microsoft.com/office/drawing/2014/main" id="{D71A6881-EB0D-4EB2-B74E-5C477D870C0F}"/>
                </a:ext>
              </a:extLst>
            </p:cNvPr>
            <p:cNvSpPr>
              <a:spLocks noChangeShapeType="1"/>
            </p:cNvSpPr>
            <p:nvPr/>
          </p:nvSpPr>
          <p:spPr bwMode="auto">
            <a:xfrm>
              <a:off x="4296882" y="2243636"/>
              <a:ext cx="3708000" cy="0"/>
            </a:xfrm>
            <a:prstGeom prst="line">
              <a:avLst/>
            </a:prstGeom>
            <a:noFill/>
            <a:ln w="22225">
              <a:solidFill>
                <a:srgbClr val="BBBEC2"/>
              </a:solidFill>
              <a:round/>
              <a:headEn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8" name="Text 15">
              <a:extLst>
                <a:ext uri="{FF2B5EF4-FFF2-40B4-BE49-F238E27FC236}">
                  <a16:creationId xmlns:a16="http://schemas.microsoft.com/office/drawing/2014/main" id="{D92CC13E-E860-448B-84BB-CFF3BD7FD6E4}"/>
                </a:ext>
              </a:extLst>
            </p:cNvPr>
            <p:cNvSpPr>
              <a:spLocks noChangeArrowheads="1"/>
            </p:cNvSpPr>
            <p:nvPr/>
          </p:nvSpPr>
          <p:spPr bwMode="auto">
            <a:xfrm>
              <a:off x="4296882" y="1919786"/>
              <a:ext cx="3708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9" name="Rectangle 28">
              <a:extLst>
                <a:ext uri="{FF2B5EF4-FFF2-40B4-BE49-F238E27FC236}">
                  <a16:creationId xmlns:a16="http://schemas.microsoft.com/office/drawing/2014/main" id="{E72EA14C-4B94-4E27-B18C-28311FF1A2B2}"/>
                </a:ext>
              </a:extLst>
            </p:cNvPr>
            <p:cNvSpPr/>
            <p:nvPr/>
          </p:nvSpPr>
          <p:spPr>
            <a:xfrm>
              <a:off x="4296882" y="2371087"/>
              <a:ext cx="3708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18619857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grpSp>
        <p:nvGrpSpPr>
          <p:cNvPr id="5" name="Group 4">
            <a:extLst>
              <a:ext uri="{FF2B5EF4-FFF2-40B4-BE49-F238E27FC236}">
                <a16:creationId xmlns:a16="http://schemas.microsoft.com/office/drawing/2014/main" id="{07AFE8AC-91BC-4535-BA25-6D015BF032C4}"/>
              </a:ext>
            </a:extLst>
          </p:cNvPr>
          <p:cNvGrpSpPr/>
          <p:nvPr/>
        </p:nvGrpSpPr>
        <p:grpSpPr>
          <a:xfrm>
            <a:off x="9056082" y="1922025"/>
            <a:ext cx="2772000" cy="3958595"/>
            <a:chOff x="9056082" y="1922025"/>
            <a:chExt cx="2772000" cy="3958595"/>
          </a:xfrm>
        </p:grpSpPr>
        <p:sp>
          <p:nvSpPr>
            <p:cNvPr id="31" name="Rectangle 30">
              <a:extLst>
                <a:ext uri="{FF2B5EF4-FFF2-40B4-BE49-F238E27FC236}">
                  <a16:creationId xmlns:a16="http://schemas.microsoft.com/office/drawing/2014/main" id="{5A2B49A9-975A-4F97-A8F5-735D1E4B7151}"/>
                </a:ext>
              </a:extLst>
            </p:cNvPr>
            <p:cNvSpPr/>
            <p:nvPr/>
          </p:nvSpPr>
          <p:spPr>
            <a:xfrm>
              <a:off x="9056082" y="2243635"/>
              <a:ext cx="2772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29" name="Line 2">
              <a:extLst>
                <a:ext uri="{FF2B5EF4-FFF2-40B4-BE49-F238E27FC236}">
                  <a16:creationId xmlns:a16="http://schemas.microsoft.com/office/drawing/2014/main" id="{A9C7B1C1-5445-41FD-8981-673D98FB19EA}"/>
                </a:ext>
              </a:extLst>
            </p:cNvPr>
            <p:cNvSpPr>
              <a:spLocks noChangeShapeType="1"/>
            </p:cNvSpPr>
            <p:nvPr/>
          </p:nvSpPr>
          <p:spPr bwMode="auto">
            <a:xfrm>
              <a:off x="9056082" y="2245875"/>
              <a:ext cx="2772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4" name="Text 15">
              <a:extLst>
                <a:ext uri="{FF2B5EF4-FFF2-40B4-BE49-F238E27FC236}">
                  <a16:creationId xmlns:a16="http://schemas.microsoft.com/office/drawing/2014/main" id="{7D9BD20E-87E1-4DD6-8E72-267705C0C517}"/>
                </a:ext>
              </a:extLst>
            </p:cNvPr>
            <p:cNvSpPr>
              <a:spLocks noChangeArrowheads="1"/>
            </p:cNvSpPr>
            <p:nvPr/>
          </p:nvSpPr>
          <p:spPr bwMode="auto">
            <a:xfrm>
              <a:off x="9056082" y="1922025"/>
              <a:ext cx="2772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4" name="Group 3">
            <a:extLst>
              <a:ext uri="{FF2B5EF4-FFF2-40B4-BE49-F238E27FC236}">
                <a16:creationId xmlns:a16="http://schemas.microsoft.com/office/drawing/2014/main" id="{2D0ACB06-A10F-47EC-A55C-12B9E76B10C9}"/>
              </a:ext>
            </a:extLst>
          </p:cNvPr>
          <p:cNvGrpSpPr/>
          <p:nvPr/>
        </p:nvGrpSpPr>
        <p:grpSpPr>
          <a:xfrm>
            <a:off x="365681" y="1919786"/>
            <a:ext cx="2772000" cy="1414642"/>
            <a:chOff x="414032" y="1919786"/>
            <a:chExt cx="2711081" cy="1414642"/>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414033" y="2243636"/>
              <a:ext cx="271108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5DBA3C0-2FF4-4FBD-87F8-B1F1D6BF60DE}"/>
                </a:ext>
              </a:extLst>
            </p:cNvPr>
            <p:cNvSpPr/>
            <p:nvPr/>
          </p:nvSpPr>
          <p:spPr>
            <a:xfrm>
              <a:off x="414032" y="2371087"/>
              <a:ext cx="271108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5" name="Text 15">
              <a:extLst>
                <a:ext uri="{FF2B5EF4-FFF2-40B4-BE49-F238E27FC236}">
                  <a16:creationId xmlns:a16="http://schemas.microsoft.com/office/drawing/2014/main" id="{B3B05669-B6E9-4E4E-9A0E-2DFBE7318699}"/>
                </a:ext>
              </a:extLst>
            </p:cNvPr>
            <p:cNvSpPr>
              <a:spLocks noChangeArrowheads="1"/>
            </p:cNvSpPr>
            <p:nvPr/>
          </p:nvSpPr>
          <p:spPr bwMode="auto">
            <a:xfrm>
              <a:off x="414033" y="1919786"/>
              <a:ext cx="271108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23" name="Group 22">
            <a:extLst>
              <a:ext uri="{FF2B5EF4-FFF2-40B4-BE49-F238E27FC236}">
                <a16:creationId xmlns:a16="http://schemas.microsoft.com/office/drawing/2014/main" id="{EF4FA831-3F0F-4E97-BA8B-9FD09E33E812}"/>
              </a:ext>
            </a:extLst>
          </p:cNvPr>
          <p:cNvGrpSpPr/>
          <p:nvPr/>
        </p:nvGrpSpPr>
        <p:grpSpPr>
          <a:xfrm>
            <a:off x="3262481" y="1919786"/>
            <a:ext cx="2772000" cy="1414642"/>
            <a:chOff x="414032" y="1919786"/>
            <a:chExt cx="2711081" cy="1414642"/>
          </a:xfrm>
        </p:grpSpPr>
        <p:sp>
          <p:nvSpPr>
            <p:cNvPr id="24" name="Line 2">
              <a:extLst>
                <a:ext uri="{FF2B5EF4-FFF2-40B4-BE49-F238E27FC236}">
                  <a16:creationId xmlns:a16="http://schemas.microsoft.com/office/drawing/2014/main" id="{6ABEFF37-D146-4B8E-9BA2-682409C3FE18}"/>
                </a:ext>
              </a:extLst>
            </p:cNvPr>
            <p:cNvSpPr>
              <a:spLocks noChangeShapeType="1"/>
            </p:cNvSpPr>
            <p:nvPr/>
          </p:nvSpPr>
          <p:spPr bwMode="auto">
            <a:xfrm>
              <a:off x="414033" y="2243636"/>
              <a:ext cx="271108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3C78C565-54D6-4D0E-A7B3-36F7E107114B}"/>
                </a:ext>
              </a:extLst>
            </p:cNvPr>
            <p:cNvSpPr/>
            <p:nvPr/>
          </p:nvSpPr>
          <p:spPr>
            <a:xfrm>
              <a:off x="414032" y="2371087"/>
              <a:ext cx="271108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Text 15">
              <a:extLst>
                <a:ext uri="{FF2B5EF4-FFF2-40B4-BE49-F238E27FC236}">
                  <a16:creationId xmlns:a16="http://schemas.microsoft.com/office/drawing/2014/main" id="{E3F243CC-B96E-4757-A20E-1F7CA732D02C}"/>
                </a:ext>
              </a:extLst>
            </p:cNvPr>
            <p:cNvSpPr>
              <a:spLocks noChangeArrowheads="1"/>
            </p:cNvSpPr>
            <p:nvPr/>
          </p:nvSpPr>
          <p:spPr bwMode="auto">
            <a:xfrm>
              <a:off x="414033" y="1919786"/>
              <a:ext cx="271108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35" name="Group 34">
            <a:extLst>
              <a:ext uri="{FF2B5EF4-FFF2-40B4-BE49-F238E27FC236}">
                <a16:creationId xmlns:a16="http://schemas.microsoft.com/office/drawing/2014/main" id="{03FDB4A7-3B20-4212-A8A3-EB1A994D7B0F}"/>
              </a:ext>
            </a:extLst>
          </p:cNvPr>
          <p:cNvGrpSpPr/>
          <p:nvPr/>
        </p:nvGrpSpPr>
        <p:grpSpPr>
          <a:xfrm>
            <a:off x="6159281" y="1919786"/>
            <a:ext cx="2772000" cy="1414642"/>
            <a:chOff x="414032" y="1919786"/>
            <a:chExt cx="2711081" cy="1414642"/>
          </a:xfrm>
        </p:grpSpPr>
        <p:sp>
          <p:nvSpPr>
            <p:cNvPr id="36" name="Line 2">
              <a:extLst>
                <a:ext uri="{FF2B5EF4-FFF2-40B4-BE49-F238E27FC236}">
                  <a16:creationId xmlns:a16="http://schemas.microsoft.com/office/drawing/2014/main" id="{113A4A1D-8E56-423C-8DE5-220C64973171}"/>
                </a:ext>
              </a:extLst>
            </p:cNvPr>
            <p:cNvSpPr>
              <a:spLocks noChangeShapeType="1"/>
            </p:cNvSpPr>
            <p:nvPr/>
          </p:nvSpPr>
          <p:spPr bwMode="auto">
            <a:xfrm>
              <a:off x="414033" y="2243636"/>
              <a:ext cx="271108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F31577C-AEF6-4DC6-BC44-1A3087800DC7}"/>
                </a:ext>
              </a:extLst>
            </p:cNvPr>
            <p:cNvSpPr/>
            <p:nvPr/>
          </p:nvSpPr>
          <p:spPr>
            <a:xfrm>
              <a:off x="414032" y="2371087"/>
              <a:ext cx="271108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8" name="Text 15">
              <a:extLst>
                <a:ext uri="{FF2B5EF4-FFF2-40B4-BE49-F238E27FC236}">
                  <a16:creationId xmlns:a16="http://schemas.microsoft.com/office/drawing/2014/main" id="{B68AE9B1-3CD2-4D3E-BD36-4BAECA8E53FA}"/>
                </a:ext>
              </a:extLst>
            </p:cNvPr>
            <p:cNvSpPr>
              <a:spLocks noChangeArrowheads="1"/>
            </p:cNvSpPr>
            <p:nvPr/>
          </p:nvSpPr>
          <p:spPr bwMode="auto">
            <a:xfrm>
              <a:off x="414033" y="1919786"/>
              <a:ext cx="271108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spTree>
    <p:extLst>
      <p:ext uri="{BB962C8B-B14F-4D97-AF65-F5344CB8AC3E}">
        <p14:creationId xmlns:p14="http://schemas.microsoft.com/office/powerpoint/2010/main" val="20502607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4" name="Group 3">
            <a:extLst>
              <a:ext uri="{FF2B5EF4-FFF2-40B4-BE49-F238E27FC236}">
                <a16:creationId xmlns:a16="http://schemas.microsoft.com/office/drawing/2014/main" id="{A0C7442E-5CEE-45CC-A36D-AD2AA7945C1C}"/>
              </a:ext>
            </a:extLst>
          </p:cNvPr>
          <p:cNvGrpSpPr/>
          <p:nvPr/>
        </p:nvGrpSpPr>
        <p:grpSpPr>
          <a:xfrm>
            <a:off x="365681" y="1919786"/>
            <a:ext cx="2196000" cy="1414642"/>
            <a:chOff x="414033" y="1919786"/>
            <a:chExt cx="2162054" cy="1414642"/>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414034" y="2243636"/>
              <a:ext cx="2162053"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5DBA3C0-2FF4-4FBD-87F8-B1F1D6BF60DE}"/>
                </a:ext>
              </a:extLst>
            </p:cNvPr>
            <p:cNvSpPr/>
            <p:nvPr/>
          </p:nvSpPr>
          <p:spPr>
            <a:xfrm>
              <a:off x="414033" y="2371087"/>
              <a:ext cx="216205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5" name="Text 15">
              <a:extLst>
                <a:ext uri="{FF2B5EF4-FFF2-40B4-BE49-F238E27FC236}">
                  <a16:creationId xmlns:a16="http://schemas.microsoft.com/office/drawing/2014/main" id="{B3B05669-B6E9-4E4E-9A0E-2DFBE7318699}"/>
                </a:ext>
              </a:extLst>
            </p:cNvPr>
            <p:cNvSpPr>
              <a:spLocks noChangeArrowheads="1"/>
            </p:cNvSpPr>
            <p:nvPr/>
          </p:nvSpPr>
          <p:spPr bwMode="auto">
            <a:xfrm>
              <a:off x="414034" y="1919786"/>
              <a:ext cx="2162053"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5" name="Group 4">
            <a:extLst>
              <a:ext uri="{FF2B5EF4-FFF2-40B4-BE49-F238E27FC236}">
                <a16:creationId xmlns:a16="http://schemas.microsoft.com/office/drawing/2014/main" id="{A49A88AC-6454-42A8-A8FB-5B06D2E2E9B0}"/>
              </a:ext>
            </a:extLst>
          </p:cNvPr>
          <p:cNvGrpSpPr/>
          <p:nvPr/>
        </p:nvGrpSpPr>
        <p:grpSpPr>
          <a:xfrm>
            <a:off x="9632082" y="1919786"/>
            <a:ext cx="2196000" cy="3960834"/>
            <a:chOff x="9632082" y="1919786"/>
            <a:chExt cx="2196000" cy="3960834"/>
          </a:xfrm>
        </p:grpSpPr>
        <p:sp>
          <p:nvSpPr>
            <p:cNvPr id="35" name="Rectangle 34">
              <a:extLst>
                <a:ext uri="{FF2B5EF4-FFF2-40B4-BE49-F238E27FC236}">
                  <a16:creationId xmlns:a16="http://schemas.microsoft.com/office/drawing/2014/main" id="{17AFAABD-3C16-4C8C-ACE5-4370FB1885BC}"/>
                </a:ext>
              </a:extLst>
            </p:cNvPr>
            <p:cNvSpPr/>
            <p:nvPr/>
          </p:nvSpPr>
          <p:spPr>
            <a:xfrm>
              <a:off x="9632082" y="2243635"/>
              <a:ext cx="2196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38" name="Line 2">
              <a:extLst>
                <a:ext uri="{FF2B5EF4-FFF2-40B4-BE49-F238E27FC236}">
                  <a16:creationId xmlns:a16="http://schemas.microsoft.com/office/drawing/2014/main" id="{C45FB4B9-3216-4FAD-80D3-9C88ACAE81F5}"/>
                </a:ext>
              </a:extLst>
            </p:cNvPr>
            <p:cNvSpPr>
              <a:spLocks noChangeShapeType="1"/>
            </p:cNvSpPr>
            <p:nvPr/>
          </p:nvSpPr>
          <p:spPr bwMode="auto">
            <a:xfrm>
              <a:off x="9632082" y="2249665"/>
              <a:ext cx="2196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0" name="Text 15">
              <a:extLst>
                <a:ext uri="{FF2B5EF4-FFF2-40B4-BE49-F238E27FC236}">
                  <a16:creationId xmlns:a16="http://schemas.microsoft.com/office/drawing/2014/main" id="{287F1AC9-2584-4E19-B33B-427D00B7F5D9}"/>
                </a:ext>
              </a:extLst>
            </p:cNvPr>
            <p:cNvSpPr>
              <a:spLocks noChangeArrowheads="1"/>
            </p:cNvSpPr>
            <p:nvPr/>
          </p:nvSpPr>
          <p:spPr bwMode="auto">
            <a:xfrm>
              <a:off x="9632082" y="1919786"/>
              <a:ext cx="2196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51" name="Group 50">
            <a:extLst>
              <a:ext uri="{FF2B5EF4-FFF2-40B4-BE49-F238E27FC236}">
                <a16:creationId xmlns:a16="http://schemas.microsoft.com/office/drawing/2014/main" id="{9398AF96-ED88-4602-917E-6E64FBD0CB08}"/>
              </a:ext>
            </a:extLst>
          </p:cNvPr>
          <p:cNvGrpSpPr/>
          <p:nvPr/>
        </p:nvGrpSpPr>
        <p:grpSpPr>
          <a:xfrm>
            <a:off x="2682281" y="1919786"/>
            <a:ext cx="2196000" cy="1414642"/>
            <a:chOff x="414033" y="1919786"/>
            <a:chExt cx="2162054" cy="1414642"/>
          </a:xfrm>
        </p:grpSpPr>
        <p:sp>
          <p:nvSpPr>
            <p:cNvPr id="52" name="Line 2">
              <a:extLst>
                <a:ext uri="{FF2B5EF4-FFF2-40B4-BE49-F238E27FC236}">
                  <a16:creationId xmlns:a16="http://schemas.microsoft.com/office/drawing/2014/main" id="{59EC47AF-BDCC-422C-953C-C486445CE8AE}"/>
                </a:ext>
              </a:extLst>
            </p:cNvPr>
            <p:cNvSpPr>
              <a:spLocks noChangeShapeType="1"/>
            </p:cNvSpPr>
            <p:nvPr/>
          </p:nvSpPr>
          <p:spPr bwMode="auto">
            <a:xfrm>
              <a:off x="414034" y="2243636"/>
              <a:ext cx="2162053"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6B748BF-8E5D-4FE5-90E6-2DDC1B824DF6}"/>
                </a:ext>
              </a:extLst>
            </p:cNvPr>
            <p:cNvSpPr/>
            <p:nvPr/>
          </p:nvSpPr>
          <p:spPr>
            <a:xfrm>
              <a:off x="414033" y="2371087"/>
              <a:ext cx="216205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4" name="Text 15">
              <a:extLst>
                <a:ext uri="{FF2B5EF4-FFF2-40B4-BE49-F238E27FC236}">
                  <a16:creationId xmlns:a16="http://schemas.microsoft.com/office/drawing/2014/main" id="{72C5DD16-A30E-426F-BB98-A6D568548FC5}"/>
                </a:ext>
              </a:extLst>
            </p:cNvPr>
            <p:cNvSpPr>
              <a:spLocks noChangeArrowheads="1"/>
            </p:cNvSpPr>
            <p:nvPr/>
          </p:nvSpPr>
          <p:spPr bwMode="auto">
            <a:xfrm>
              <a:off x="414034" y="1919786"/>
              <a:ext cx="2162053"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55" name="Group 54">
            <a:extLst>
              <a:ext uri="{FF2B5EF4-FFF2-40B4-BE49-F238E27FC236}">
                <a16:creationId xmlns:a16="http://schemas.microsoft.com/office/drawing/2014/main" id="{91C721F9-76F0-49A4-B41C-BFD48282215D}"/>
              </a:ext>
            </a:extLst>
          </p:cNvPr>
          <p:cNvGrpSpPr/>
          <p:nvPr/>
        </p:nvGrpSpPr>
        <p:grpSpPr>
          <a:xfrm>
            <a:off x="4998881" y="1919786"/>
            <a:ext cx="2196000" cy="1414642"/>
            <a:chOff x="414033" y="1919786"/>
            <a:chExt cx="2162054" cy="1414642"/>
          </a:xfrm>
        </p:grpSpPr>
        <p:sp>
          <p:nvSpPr>
            <p:cNvPr id="56" name="Line 2">
              <a:extLst>
                <a:ext uri="{FF2B5EF4-FFF2-40B4-BE49-F238E27FC236}">
                  <a16:creationId xmlns:a16="http://schemas.microsoft.com/office/drawing/2014/main" id="{1304C234-3671-464E-8685-D062A08EDBFC}"/>
                </a:ext>
              </a:extLst>
            </p:cNvPr>
            <p:cNvSpPr>
              <a:spLocks noChangeShapeType="1"/>
            </p:cNvSpPr>
            <p:nvPr/>
          </p:nvSpPr>
          <p:spPr bwMode="auto">
            <a:xfrm>
              <a:off x="414034" y="2243636"/>
              <a:ext cx="2162053"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83486ACB-9853-4ACB-BA9C-27AD4059D8FC}"/>
                </a:ext>
              </a:extLst>
            </p:cNvPr>
            <p:cNvSpPr/>
            <p:nvPr/>
          </p:nvSpPr>
          <p:spPr>
            <a:xfrm>
              <a:off x="414033" y="2371087"/>
              <a:ext cx="216205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8" name="Text 15">
              <a:extLst>
                <a:ext uri="{FF2B5EF4-FFF2-40B4-BE49-F238E27FC236}">
                  <a16:creationId xmlns:a16="http://schemas.microsoft.com/office/drawing/2014/main" id="{C3C93872-6074-48F5-968B-FAFCEA7F38BE}"/>
                </a:ext>
              </a:extLst>
            </p:cNvPr>
            <p:cNvSpPr>
              <a:spLocks noChangeArrowheads="1"/>
            </p:cNvSpPr>
            <p:nvPr/>
          </p:nvSpPr>
          <p:spPr bwMode="auto">
            <a:xfrm>
              <a:off x="414034" y="1919786"/>
              <a:ext cx="2162053"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59" name="Group 58">
            <a:extLst>
              <a:ext uri="{FF2B5EF4-FFF2-40B4-BE49-F238E27FC236}">
                <a16:creationId xmlns:a16="http://schemas.microsoft.com/office/drawing/2014/main" id="{5A496E6D-DC40-42EC-A380-B75E2D0DBB17}"/>
              </a:ext>
            </a:extLst>
          </p:cNvPr>
          <p:cNvGrpSpPr/>
          <p:nvPr/>
        </p:nvGrpSpPr>
        <p:grpSpPr>
          <a:xfrm>
            <a:off x="7315481" y="1919786"/>
            <a:ext cx="2196000" cy="1414642"/>
            <a:chOff x="414033" y="1919786"/>
            <a:chExt cx="2162054" cy="1414642"/>
          </a:xfrm>
        </p:grpSpPr>
        <p:sp>
          <p:nvSpPr>
            <p:cNvPr id="60" name="Line 2">
              <a:extLst>
                <a:ext uri="{FF2B5EF4-FFF2-40B4-BE49-F238E27FC236}">
                  <a16:creationId xmlns:a16="http://schemas.microsoft.com/office/drawing/2014/main" id="{58E5BC16-5C05-460C-8286-59DC99014B4B}"/>
                </a:ext>
              </a:extLst>
            </p:cNvPr>
            <p:cNvSpPr>
              <a:spLocks noChangeShapeType="1"/>
            </p:cNvSpPr>
            <p:nvPr/>
          </p:nvSpPr>
          <p:spPr bwMode="auto">
            <a:xfrm>
              <a:off x="414034" y="2243636"/>
              <a:ext cx="2162053"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99B9F799-21BA-4D1F-ACB7-F77BF8617F3F}"/>
                </a:ext>
              </a:extLst>
            </p:cNvPr>
            <p:cNvSpPr/>
            <p:nvPr/>
          </p:nvSpPr>
          <p:spPr>
            <a:xfrm>
              <a:off x="414033" y="2371087"/>
              <a:ext cx="216205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2" name="Text 15">
              <a:extLst>
                <a:ext uri="{FF2B5EF4-FFF2-40B4-BE49-F238E27FC236}">
                  <a16:creationId xmlns:a16="http://schemas.microsoft.com/office/drawing/2014/main" id="{16BA67B8-37CF-499A-8F25-FB48ED1682CD}"/>
                </a:ext>
              </a:extLst>
            </p:cNvPr>
            <p:cNvSpPr>
              <a:spLocks noChangeArrowheads="1"/>
            </p:cNvSpPr>
            <p:nvPr/>
          </p:nvSpPr>
          <p:spPr bwMode="auto">
            <a:xfrm>
              <a:off x="414034" y="1919786"/>
              <a:ext cx="2162053"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spTree>
    <p:extLst>
      <p:ext uri="{BB962C8B-B14F-4D97-AF65-F5344CB8AC3E}">
        <p14:creationId xmlns:p14="http://schemas.microsoft.com/office/powerpoint/2010/main" val="31147287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9" name="Group 8">
            <a:extLst>
              <a:ext uri="{FF2B5EF4-FFF2-40B4-BE49-F238E27FC236}">
                <a16:creationId xmlns:a16="http://schemas.microsoft.com/office/drawing/2014/main" id="{564A735C-E42C-4CB1-97A5-AE76E9F29CD2}"/>
              </a:ext>
            </a:extLst>
          </p:cNvPr>
          <p:cNvGrpSpPr/>
          <p:nvPr/>
        </p:nvGrpSpPr>
        <p:grpSpPr>
          <a:xfrm>
            <a:off x="8228082" y="1919786"/>
            <a:ext cx="3600000" cy="3960834"/>
            <a:chOff x="8150411" y="1919786"/>
            <a:chExt cx="3677671" cy="3960834"/>
          </a:xfrm>
        </p:grpSpPr>
        <p:sp>
          <p:nvSpPr>
            <p:cNvPr id="30" name="Rectangle 29">
              <a:extLst>
                <a:ext uri="{FF2B5EF4-FFF2-40B4-BE49-F238E27FC236}">
                  <a16:creationId xmlns:a16="http://schemas.microsoft.com/office/drawing/2014/main" id="{E7E20D9C-21D0-4E30-8D2B-C823BBC4D6B7}"/>
                </a:ext>
              </a:extLst>
            </p:cNvPr>
            <p:cNvSpPr/>
            <p:nvPr/>
          </p:nvSpPr>
          <p:spPr>
            <a:xfrm>
              <a:off x="8150411" y="2243635"/>
              <a:ext cx="3676981"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8151101" y="2237367"/>
              <a:ext cx="3676981" cy="627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177967" y="1919786"/>
              <a:ext cx="3650115"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4" name="Group 3">
            <a:extLst>
              <a:ext uri="{FF2B5EF4-FFF2-40B4-BE49-F238E27FC236}">
                <a16:creationId xmlns:a16="http://schemas.microsoft.com/office/drawing/2014/main" id="{79F327F9-AD74-40E8-925F-3998FE6AA4CF}"/>
              </a:ext>
            </a:extLst>
          </p:cNvPr>
          <p:cNvGrpSpPr/>
          <p:nvPr/>
        </p:nvGrpSpPr>
        <p:grpSpPr>
          <a:xfrm>
            <a:off x="365682" y="1919786"/>
            <a:ext cx="3600000" cy="3562180"/>
            <a:chOff x="414033" y="1919786"/>
            <a:chExt cx="3600000" cy="3562180"/>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414033" y="2243636"/>
              <a:ext cx="3600000" cy="0"/>
            </a:xfrm>
            <a:prstGeom prst="line">
              <a:avLst/>
            </a:prstGeom>
            <a:noFill/>
            <a:ln w="22225">
              <a:solidFill>
                <a:srgbClr val="BBBEC2"/>
              </a:solidFill>
              <a:round/>
              <a:headEn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414033"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1" name="Rectangle 29">
              <a:extLst>
                <a:ext uri="{FF2B5EF4-FFF2-40B4-BE49-F238E27FC236}">
                  <a16:creationId xmlns:a16="http://schemas.microsoft.com/office/drawing/2014/main" id="{DFDC3F0D-B6B2-4287-85B1-116361E2D1A2}"/>
                </a:ext>
              </a:extLst>
            </p:cNvPr>
            <p:cNvSpPr/>
            <p:nvPr/>
          </p:nvSpPr>
          <p:spPr>
            <a:xfrm>
              <a:off x="414033" y="4518625"/>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64BE0E6E-E23B-42FC-BB42-EFC76434A5A5}"/>
                </a:ext>
              </a:extLst>
            </p:cNvPr>
            <p:cNvSpPr>
              <a:spLocks noChangeAspect="1"/>
            </p:cNvSpPr>
            <p:nvPr/>
          </p:nvSpPr>
          <p:spPr>
            <a:xfrm>
              <a:off x="414033" y="2343398"/>
              <a:ext cx="3600000" cy="20754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5" name="Group 4">
            <a:extLst>
              <a:ext uri="{FF2B5EF4-FFF2-40B4-BE49-F238E27FC236}">
                <a16:creationId xmlns:a16="http://schemas.microsoft.com/office/drawing/2014/main" id="{DFC958CD-1CA2-482E-AB51-5854AFEA3AF0}"/>
              </a:ext>
            </a:extLst>
          </p:cNvPr>
          <p:cNvGrpSpPr/>
          <p:nvPr/>
        </p:nvGrpSpPr>
        <p:grpSpPr>
          <a:xfrm>
            <a:off x="4296686" y="1919786"/>
            <a:ext cx="3600392" cy="3562180"/>
            <a:chOff x="4295608" y="1919786"/>
            <a:chExt cx="3600392" cy="3562180"/>
          </a:xfrm>
        </p:grpSpPr>
        <p:sp>
          <p:nvSpPr>
            <p:cNvPr id="32" name="Line 2">
              <a:extLst>
                <a:ext uri="{FF2B5EF4-FFF2-40B4-BE49-F238E27FC236}">
                  <a16:creationId xmlns:a16="http://schemas.microsoft.com/office/drawing/2014/main" id="{FCD4F1E6-B18B-4800-8015-68CCA18AF1A7}"/>
                </a:ext>
              </a:extLst>
            </p:cNvPr>
            <p:cNvSpPr>
              <a:spLocks noChangeShapeType="1"/>
            </p:cNvSpPr>
            <p:nvPr/>
          </p:nvSpPr>
          <p:spPr bwMode="auto">
            <a:xfrm>
              <a:off x="4296000" y="2243636"/>
              <a:ext cx="3600000" cy="0"/>
            </a:xfrm>
            <a:prstGeom prst="line">
              <a:avLst/>
            </a:prstGeom>
            <a:noFill/>
            <a:ln w="22225">
              <a:solidFill>
                <a:srgbClr val="BBBEC2"/>
              </a:solidFill>
              <a:round/>
              <a:headEn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296000"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0" name="Rectangle 29">
              <a:extLst>
                <a:ext uri="{FF2B5EF4-FFF2-40B4-BE49-F238E27FC236}">
                  <a16:creationId xmlns:a16="http://schemas.microsoft.com/office/drawing/2014/main" id="{5F2588E7-A576-4877-9E54-DA84E16D23B8}"/>
                </a:ext>
              </a:extLst>
            </p:cNvPr>
            <p:cNvSpPr/>
            <p:nvPr/>
          </p:nvSpPr>
          <p:spPr>
            <a:xfrm>
              <a:off x="4295608" y="4518625"/>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8" name="Rectangle 26">
              <a:extLst>
                <a:ext uri="{FF2B5EF4-FFF2-40B4-BE49-F238E27FC236}">
                  <a16:creationId xmlns:a16="http://schemas.microsoft.com/office/drawing/2014/main" id="{207F152A-C0FE-4475-8B5A-0BF609C6F58A}"/>
                </a:ext>
              </a:extLst>
            </p:cNvPr>
            <p:cNvSpPr>
              <a:spLocks noChangeAspect="1"/>
            </p:cNvSpPr>
            <p:nvPr/>
          </p:nvSpPr>
          <p:spPr>
            <a:xfrm>
              <a:off x="4295608" y="2343398"/>
              <a:ext cx="3573918" cy="20604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7040400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A386A31C-DF6A-4F24-B549-299A7B59AE11}"/>
              </a:ext>
            </a:extLst>
          </p:cNvPr>
          <p:cNvGrpSpPr/>
          <p:nvPr/>
        </p:nvGrpSpPr>
        <p:grpSpPr>
          <a:xfrm>
            <a:off x="9128082" y="1922025"/>
            <a:ext cx="2700000" cy="3958595"/>
            <a:chOff x="9128082" y="1922025"/>
            <a:chExt cx="2700000" cy="3958595"/>
          </a:xfrm>
        </p:grpSpPr>
        <p:sp>
          <p:nvSpPr>
            <p:cNvPr id="39" name="Rectangle 38">
              <a:extLst>
                <a:ext uri="{FF2B5EF4-FFF2-40B4-BE49-F238E27FC236}">
                  <a16:creationId xmlns:a16="http://schemas.microsoft.com/office/drawing/2014/main" id="{D6DEDB30-5870-4546-930F-3C3BE7092A44}"/>
                </a:ext>
              </a:extLst>
            </p:cNvPr>
            <p:cNvSpPr/>
            <p:nvPr/>
          </p:nvSpPr>
          <p:spPr>
            <a:xfrm>
              <a:off x="9128082" y="2243635"/>
              <a:ext cx="2700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29" name="Line 2">
              <a:extLst>
                <a:ext uri="{FF2B5EF4-FFF2-40B4-BE49-F238E27FC236}">
                  <a16:creationId xmlns:a16="http://schemas.microsoft.com/office/drawing/2014/main" id="{A9C7B1C1-5445-41FD-8981-673D98FB19EA}"/>
                </a:ext>
              </a:extLst>
            </p:cNvPr>
            <p:cNvSpPr>
              <a:spLocks noChangeShapeType="1"/>
            </p:cNvSpPr>
            <p:nvPr/>
          </p:nvSpPr>
          <p:spPr bwMode="auto">
            <a:xfrm>
              <a:off x="9128082" y="2245875"/>
              <a:ext cx="2700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4" name="Text 15">
              <a:extLst>
                <a:ext uri="{FF2B5EF4-FFF2-40B4-BE49-F238E27FC236}">
                  <a16:creationId xmlns:a16="http://schemas.microsoft.com/office/drawing/2014/main" id="{7D9BD20E-87E1-4DD6-8E72-267705C0C517}"/>
                </a:ext>
              </a:extLst>
            </p:cNvPr>
            <p:cNvSpPr>
              <a:spLocks noChangeArrowheads="1"/>
            </p:cNvSpPr>
            <p:nvPr/>
          </p:nvSpPr>
          <p:spPr bwMode="auto">
            <a:xfrm>
              <a:off x="9128082" y="1922025"/>
              <a:ext cx="27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4" name="Group 3">
            <a:extLst>
              <a:ext uri="{FF2B5EF4-FFF2-40B4-BE49-F238E27FC236}">
                <a16:creationId xmlns:a16="http://schemas.microsoft.com/office/drawing/2014/main" id="{E29F158D-B1D9-443F-A9AD-041C78EFE490}"/>
              </a:ext>
            </a:extLst>
          </p:cNvPr>
          <p:cNvGrpSpPr/>
          <p:nvPr/>
        </p:nvGrpSpPr>
        <p:grpSpPr>
          <a:xfrm>
            <a:off x="414031" y="1919786"/>
            <a:ext cx="2700002" cy="3036563"/>
            <a:chOff x="414031" y="1919786"/>
            <a:chExt cx="2700002" cy="3036563"/>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414033" y="2243636"/>
              <a:ext cx="270000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5" name="Text 15">
              <a:extLst>
                <a:ext uri="{FF2B5EF4-FFF2-40B4-BE49-F238E27FC236}">
                  <a16:creationId xmlns:a16="http://schemas.microsoft.com/office/drawing/2014/main" id="{B3B05669-B6E9-4E4E-9A0E-2DFBE7318699}"/>
                </a:ext>
              </a:extLst>
            </p:cNvPr>
            <p:cNvSpPr>
              <a:spLocks noChangeArrowheads="1"/>
            </p:cNvSpPr>
            <p:nvPr/>
          </p:nvSpPr>
          <p:spPr bwMode="auto">
            <a:xfrm>
              <a:off x="414033" y="1919786"/>
              <a:ext cx="27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6" name="Rectangle 29">
              <a:extLst>
                <a:ext uri="{FF2B5EF4-FFF2-40B4-BE49-F238E27FC236}">
                  <a16:creationId xmlns:a16="http://schemas.microsoft.com/office/drawing/2014/main" id="{9553CD43-5355-40DF-BCAF-0CF705016180}"/>
                </a:ext>
              </a:extLst>
            </p:cNvPr>
            <p:cNvSpPr/>
            <p:nvPr/>
          </p:nvSpPr>
          <p:spPr>
            <a:xfrm>
              <a:off x="414033" y="3993008"/>
              <a:ext cx="27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26">
              <a:extLst>
                <a:ext uri="{FF2B5EF4-FFF2-40B4-BE49-F238E27FC236}">
                  <a16:creationId xmlns:a16="http://schemas.microsoft.com/office/drawing/2014/main" id="{227E04D3-7B3B-4B18-A53A-F419BC11B3F5}"/>
                </a:ext>
              </a:extLst>
            </p:cNvPr>
            <p:cNvSpPr>
              <a:spLocks noChangeAspect="1"/>
            </p:cNvSpPr>
            <p:nvPr/>
          </p:nvSpPr>
          <p:spPr>
            <a:xfrm>
              <a:off x="414031" y="2341746"/>
              <a:ext cx="2700000" cy="1556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28" name="Group 27">
            <a:extLst>
              <a:ext uri="{FF2B5EF4-FFF2-40B4-BE49-F238E27FC236}">
                <a16:creationId xmlns:a16="http://schemas.microsoft.com/office/drawing/2014/main" id="{F0242A0E-BA70-4ADE-9261-E49F3E4D05A4}"/>
              </a:ext>
            </a:extLst>
          </p:cNvPr>
          <p:cNvGrpSpPr/>
          <p:nvPr/>
        </p:nvGrpSpPr>
        <p:grpSpPr>
          <a:xfrm>
            <a:off x="3318715" y="1919786"/>
            <a:ext cx="2700002" cy="3036563"/>
            <a:chOff x="414031" y="1919786"/>
            <a:chExt cx="2700002" cy="3036563"/>
          </a:xfrm>
        </p:grpSpPr>
        <p:sp>
          <p:nvSpPr>
            <p:cNvPr id="30" name="Line 2">
              <a:extLst>
                <a:ext uri="{FF2B5EF4-FFF2-40B4-BE49-F238E27FC236}">
                  <a16:creationId xmlns:a16="http://schemas.microsoft.com/office/drawing/2014/main" id="{386AF90A-75AC-4CB7-AFA7-E247A3542EA7}"/>
                </a:ext>
              </a:extLst>
            </p:cNvPr>
            <p:cNvSpPr>
              <a:spLocks noChangeShapeType="1"/>
            </p:cNvSpPr>
            <p:nvPr/>
          </p:nvSpPr>
          <p:spPr bwMode="auto">
            <a:xfrm>
              <a:off x="414033" y="2243636"/>
              <a:ext cx="270000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1" name="Text 15">
              <a:extLst>
                <a:ext uri="{FF2B5EF4-FFF2-40B4-BE49-F238E27FC236}">
                  <a16:creationId xmlns:a16="http://schemas.microsoft.com/office/drawing/2014/main" id="{C63D9913-A7C5-40D6-BBA6-4DD5290AEC47}"/>
                </a:ext>
              </a:extLst>
            </p:cNvPr>
            <p:cNvSpPr>
              <a:spLocks noChangeArrowheads="1"/>
            </p:cNvSpPr>
            <p:nvPr/>
          </p:nvSpPr>
          <p:spPr bwMode="auto">
            <a:xfrm>
              <a:off x="414033" y="1919786"/>
              <a:ext cx="27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3" name="Rectangle 29">
              <a:extLst>
                <a:ext uri="{FF2B5EF4-FFF2-40B4-BE49-F238E27FC236}">
                  <a16:creationId xmlns:a16="http://schemas.microsoft.com/office/drawing/2014/main" id="{DB57B1A4-C67F-4E3E-9BE6-8BE5201539D1}"/>
                </a:ext>
              </a:extLst>
            </p:cNvPr>
            <p:cNvSpPr/>
            <p:nvPr/>
          </p:nvSpPr>
          <p:spPr>
            <a:xfrm>
              <a:off x="414033" y="3993008"/>
              <a:ext cx="27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ectangle 26">
              <a:extLst>
                <a:ext uri="{FF2B5EF4-FFF2-40B4-BE49-F238E27FC236}">
                  <a16:creationId xmlns:a16="http://schemas.microsoft.com/office/drawing/2014/main" id="{152739D4-7D1E-4DD1-83E9-E55B371F4019}"/>
                </a:ext>
              </a:extLst>
            </p:cNvPr>
            <p:cNvSpPr>
              <a:spLocks noChangeAspect="1"/>
            </p:cNvSpPr>
            <p:nvPr/>
          </p:nvSpPr>
          <p:spPr>
            <a:xfrm>
              <a:off x="414031" y="2341746"/>
              <a:ext cx="2700000" cy="1556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40" name="Group 39">
            <a:extLst>
              <a:ext uri="{FF2B5EF4-FFF2-40B4-BE49-F238E27FC236}">
                <a16:creationId xmlns:a16="http://schemas.microsoft.com/office/drawing/2014/main" id="{EF1AD2D5-2F5A-4482-8826-6302FBD65558}"/>
              </a:ext>
            </a:extLst>
          </p:cNvPr>
          <p:cNvGrpSpPr/>
          <p:nvPr/>
        </p:nvGrpSpPr>
        <p:grpSpPr>
          <a:xfrm>
            <a:off x="6223399" y="1919786"/>
            <a:ext cx="2700002" cy="3036563"/>
            <a:chOff x="414031" y="1919786"/>
            <a:chExt cx="2700002" cy="3036563"/>
          </a:xfrm>
        </p:grpSpPr>
        <p:sp>
          <p:nvSpPr>
            <p:cNvPr id="43" name="Line 2">
              <a:extLst>
                <a:ext uri="{FF2B5EF4-FFF2-40B4-BE49-F238E27FC236}">
                  <a16:creationId xmlns:a16="http://schemas.microsoft.com/office/drawing/2014/main" id="{82FE1150-84CE-41C5-890E-F5AC58D627C4}"/>
                </a:ext>
              </a:extLst>
            </p:cNvPr>
            <p:cNvSpPr>
              <a:spLocks noChangeShapeType="1"/>
            </p:cNvSpPr>
            <p:nvPr/>
          </p:nvSpPr>
          <p:spPr bwMode="auto">
            <a:xfrm>
              <a:off x="414033" y="2243636"/>
              <a:ext cx="2700000" cy="0"/>
            </a:xfrm>
            <a:prstGeom prst="line">
              <a:avLst/>
            </a:prstGeom>
            <a:noFill/>
            <a:ln w="22225">
              <a:solidFill>
                <a:srgbClr val="BBBEC2"/>
              </a:solidFill>
              <a:round/>
              <a:headEnd type="none" w="med" len="med"/>
              <a:tailEnd type="triangl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6" name="Text 15">
              <a:extLst>
                <a:ext uri="{FF2B5EF4-FFF2-40B4-BE49-F238E27FC236}">
                  <a16:creationId xmlns:a16="http://schemas.microsoft.com/office/drawing/2014/main" id="{F4ECD20A-5CFA-4237-AC24-7D23A06317AC}"/>
                </a:ext>
              </a:extLst>
            </p:cNvPr>
            <p:cNvSpPr>
              <a:spLocks noChangeArrowheads="1"/>
            </p:cNvSpPr>
            <p:nvPr/>
          </p:nvSpPr>
          <p:spPr bwMode="auto">
            <a:xfrm>
              <a:off x="414033" y="1919786"/>
              <a:ext cx="27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7" name="Rectangle 29">
              <a:extLst>
                <a:ext uri="{FF2B5EF4-FFF2-40B4-BE49-F238E27FC236}">
                  <a16:creationId xmlns:a16="http://schemas.microsoft.com/office/drawing/2014/main" id="{618613A8-AE71-483B-88D4-D37596868F98}"/>
                </a:ext>
              </a:extLst>
            </p:cNvPr>
            <p:cNvSpPr/>
            <p:nvPr/>
          </p:nvSpPr>
          <p:spPr>
            <a:xfrm>
              <a:off x="414033" y="3993008"/>
              <a:ext cx="27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8" name="Rectangle 26">
              <a:extLst>
                <a:ext uri="{FF2B5EF4-FFF2-40B4-BE49-F238E27FC236}">
                  <a16:creationId xmlns:a16="http://schemas.microsoft.com/office/drawing/2014/main" id="{DCD68D85-9118-4987-8F5C-59CB2991C631}"/>
                </a:ext>
              </a:extLst>
            </p:cNvPr>
            <p:cNvSpPr>
              <a:spLocks noChangeAspect="1"/>
            </p:cNvSpPr>
            <p:nvPr/>
          </p:nvSpPr>
          <p:spPr>
            <a:xfrm>
              <a:off x="414031" y="2341746"/>
              <a:ext cx="2700000" cy="1556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40686973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4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0"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6F728642-6CDF-4692-B123-D980E7C8FDCF}"/>
              </a:ext>
            </a:extLst>
          </p:cNvPr>
          <p:cNvGrpSpPr/>
          <p:nvPr/>
        </p:nvGrpSpPr>
        <p:grpSpPr>
          <a:xfrm>
            <a:off x="9668080" y="1919786"/>
            <a:ext cx="2160000" cy="3960834"/>
            <a:chOff x="9663692" y="1919786"/>
            <a:chExt cx="2162482" cy="3960834"/>
          </a:xfrm>
        </p:grpSpPr>
        <p:sp>
          <p:nvSpPr>
            <p:cNvPr id="49" name="Rectangle 48">
              <a:extLst>
                <a:ext uri="{FF2B5EF4-FFF2-40B4-BE49-F238E27FC236}">
                  <a16:creationId xmlns:a16="http://schemas.microsoft.com/office/drawing/2014/main" id="{F7769CEB-EB06-4B73-8EB0-681A65B83328}"/>
                </a:ext>
              </a:extLst>
            </p:cNvPr>
            <p:cNvSpPr/>
            <p:nvPr/>
          </p:nvSpPr>
          <p:spPr>
            <a:xfrm>
              <a:off x="9663692" y="2243635"/>
              <a:ext cx="2160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38" name="Line 2">
              <a:extLst>
                <a:ext uri="{FF2B5EF4-FFF2-40B4-BE49-F238E27FC236}">
                  <a16:creationId xmlns:a16="http://schemas.microsoft.com/office/drawing/2014/main" id="{C45FB4B9-3216-4FAD-80D3-9C88ACAE81F5}"/>
                </a:ext>
              </a:extLst>
            </p:cNvPr>
            <p:cNvSpPr>
              <a:spLocks noChangeShapeType="1"/>
            </p:cNvSpPr>
            <p:nvPr/>
          </p:nvSpPr>
          <p:spPr bwMode="auto">
            <a:xfrm>
              <a:off x="9666174" y="2249665"/>
              <a:ext cx="2160000" cy="0"/>
            </a:xfrm>
            <a:prstGeom prst="line">
              <a:avLst/>
            </a:prstGeom>
            <a:noFill/>
            <a:ln w="22225">
              <a:solidFill>
                <a:schemeClr val="bg1">
                  <a:lumMod val="50000"/>
                </a:schemeClr>
              </a:solidFill>
              <a:round/>
              <a:headEnd/>
              <a:tailEnd type="none" w="med" len="med"/>
            </a:ln>
          </p:spPr>
          <p:txBody>
            <a:bodyPr lIns="0" tIns="0" rIns="0" bIns="0" anchor="ctr"/>
            <a:lstStyle/>
            <a:p>
              <a:endParaRPr lang="en-GB" sz="1600">
                <a:highlight>
                  <a:srgbClr val="000000"/>
                </a:highlight>
                <a:latin typeface="Arial" panose="020B0604020202020204" pitchFamily="34" charset="0"/>
                <a:cs typeface="Arial" panose="020B0604020202020204" pitchFamily="34" charset="0"/>
              </a:endParaRPr>
            </a:p>
          </p:txBody>
        </p:sp>
        <p:sp>
          <p:nvSpPr>
            <p:cNvPr id="40" name="Text 15">
              <a:extLst>
                <a:ext uri="{FF2B5EF4-FFF2-40B4-BE49-F238E27FC236}">
                  <a16:creationId xmlns:a16="http://schemas.microsoft.com/office/drawing/2014/main" id="{287F1AC9-2584-4E19-B33B-427D00B7F5D9}"/>
                </a:ext>
              </a:extLst>
            </p:cNvPr>
            <p:cNvSpPr>
              <a:spLocks noChangeArrowheads="1"/>
            </p:cNvSpPr>
            <p:nvPr/>
          </p:nvSpPr>
          <p:spPr bwMode="auto">
            <a:xfrm>
              <a:off x="9666174" y="1919786"/>
              <a:ext cx="216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4" name="Group 3">
            <a:extLst>
              <a:ext uri="{FF2B5EF4-FFF2-40B4-BE49-F238E27FC236}">
                <a16:creationId xmlns:a16="http://schemas.microsoft.com/office/drawing/2014/main" id="{954AC3EF-8B50-4208-A6B2-F56E2496C5CF}"/>
              </a:ext>
            </a:extLst>
          </p:cNvPr>
          <p:cNvGrpSpPr/>
          <p:nvPr/>
        </p:nvGrpSpPr>
        <p:grpSpPr>
          <a:xfrm>
            <a:off x="365680" y="1919786"/>
            <a:ext cx="2160000" cy="2676229"/>
            <a:chOff x="409959" y="1919786"/>
            <a:chExt cx="2164075" cy="2676229"/>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414034" y="2243636"/>
              <a:ext cx="2160000" cy="0"/>
            </a:xfrm>
            <a:prstGeom prst="line">
              <a:avLst/>
            </a:prstGeom>
            <a:noFill/>
            <a:ln w="22225">
              <a:solidFill>
                <a:srgbClr val="BBBEC2"/>
              </a:solidFill>
              <a:round/>
              <a:headEnd type="none" w="med" len="med"/>
              <a:tailEnd type="triangle" w="med" len="med"/>
            </a:ln>
          </p:spPr>
          <p:txBody>
            <a:bodyPr lIns="0" tIns="0" rIns="0" bIns="0" anchor="ctr"/>
            <a:lstStyle/>
            <a:p>
              <a:endParaRPr lang="en-GB" sz="1600">
                <a:highlight>
                  <a:srgbClr val="000000"/>
                </a:highlight>
                <a:latin typeface="Arial" panose="020B0604020202020204" pitchFamily="34" charset="0"/>
                <a:cs typeface="Arial" panose="020B0604020202020204" pitchFamily="34" charset="0"/>
              </a:endParaRPr>
            </a:p>
          </p:txBody>
        </p:sp>
        <p:sp>
          <p:nvSpPr>
            <p:cNvPr id="25" name="Text 15">
              <a:extLst>
                <a:ext uri="{FF2B5EF4-FFF2-40B4-BE49-F238E27FC236}">
                  <a16:creationId xmlns:a16="http://schemas.microsoft.com/office/drawing/2014/main" id="{B3B05669-B6E9-4E4E-9A0E-2DFBE7318699}"/>
                </a:ext>
              </a:extLst>
            </p:cNvPr>
            <p:cNvSpPr>
              <a:spLocks noChangeArrowheads="1"/>
            </p:cNvSpPr>
            <p:nvPr/>
          </p:nvSpPr>
          <p:spPr bwMode="auto">
            <a:xfrm>
              <a:off x="414034" y="1919786"/>
              <a:ext cx="216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3" name="Rectangle 29">
              <a:extLst>
                <a:ext uri="{FF2B5EF4-FFF2-40B4-BE49-F238E27FC236}">
                  <a16:creationId xmlns:a16="http://schemas.microsoft.com/office/drawing/2014/main" id="{C37BE4C1-58A2-46BB-A6B5-C4B627A64B63}"/>
                </a:ext>
              </a:extLst>
            </p:cNvPr>
            <p:cNvSpPr/>
            <p:nvPr/>
          </p:nvSpPr>
          <p:spPr>
            <a:xfrm>
              <a:off x="409959" y="3632674"/>
              <a:ext cx="216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26">
              <a:extLst>
                <a:ext uri="{FF2B5EF4-FFF2-40B4-BE49-F238E27FC236}">
                  <a16:creationId xmlns:a16="http://schemas.microsoft.com/office/drawing/2014/main" id="{35EC62A6-873F-401D-82E0-B65B25D94307}"/>
                </a:ext>
              </a:extLst>
            </p:cNvPr>
            <p:cNvSpPr>
              <a:spLocks noChangeAspect="1"/>
            </p:cNvSpPr>
            <p:nvPr/>
          </p:nvSpPr>
          <p:spPr>
            <a:xfrm>
              <a:off x="414031" y="2340942"/>
              <a:ext cx="2160000" cy="1233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33" name="Group 32">
            <a:extLst>
              <a:ext uri="{FF2B5EF4-FFF2-40B4-BE49-F238E27FC236}">
                <a16:creationId xmlns:a16="http://schemas.microsoft.com/office/drawing/2014/main" id="{3AE549B4-DD73-44EE-8EE6-70E08DA179E9}"/>
              </a:ext>
            </a:extLst>
          </p:cNvPr>
          <p:cNvGrpSpPr/>
          <p:nvPr/>
        </p:nvGrpSpPr>
        <p:grpSpPr>
          <a:xfrm>
            <a:off x="2691280" y="1919786"/>
            <a:ext cx="2160000" cy="2676229"/>
            <a:chOff x="409959" y="1919786"/>
            <a:chExt cx="2164075" cy="2676229"/>
          </a:xfrm>
        </p:grpSpPr>
        <p:sp>
          <p:nvSpPr>
            <p:cNvPr id="35" name="Line 2">
              <a:extLst>
                <a:ext uri="{FF2B5EF4-FFF2-40B4-BE49-F238E27FC236}">
                  <a16:creationId xmlns:a16="http://schemas.microsoft.com/office/drawing/2014/main" id="{B1F95334-D66A-4142-92BD-C2E323140674}"/>
                </a:ext>
              </a:extLst>
            </p:cNvPr>
            <p:cNvSpPr>
              <a:spLocks noChangeShapeType="1"/>
            </p:cNvSpPr>
            <p:nvPr/>
          </p:nvSpPr>
          <p:spPr bwMode="auto">
            <a:xfrm>
              <a:off x="414034" y="2243636"/>
              <a:ext cx="2160000" cy="0"/>
            </a:xfrm>
            <a:prstGeom prst="line">
              <a:avLst/>
            </a:prstGeom>
            <a:noFill/>
            <a:ln w="22225">
              <a:solidFill>
                <a:srgbClr val="BBBEC2"/>
              </a:solidFill>
              <a:round/>
              <a:headEnd type="none" w="med" len="med"/>
              <a:tailEnd type="triangle" w="med" len="med"/>
            </a:ln>
          </p:spPr>
          <p:txBody>
            <a:bodyPr lIns="0" tIns="0" rIns="0" bIns="0" anchor="ctr"/>
            <a:lstStyle/>
            <a:p>
              <a:endParaRPr lang="en-GB" sz="1600">
                <a:highlight>
                  <a:srgbClr val="000000"/>
                </a:highlight>
                <a:latin typeface="Arial" panose="020B0604020202020204" pitchFamily="34" charset="0"/>
                <a:cs typeface="Arial" panose="020B0604020202020204" pitchFamily="34" charset="0"/>
              </a:endParaRPr>
            </a:p>
          </p:txBody>
        </p:sp>
        <p:sp>
          <p:nvSpPr>
            <p:cNvPr id="36" name="Text 15">
              <a:extLst>
                <a:ext uri="{FF2B5EF4-FFF2-40B4-BE49-F238E27FC236}">
                  <a16:creationId xmlns:a16="http://schemas.microsoft.com/office/drawing/2014/main" id="{90B107EB-05DF-4FD2-945F-70FF58CF9C05}"/>
                </a:ext>
              </a:extLst>
            </p:cNvPr>
            <p:cNvSpPr>
              <a:spLocks noChangeArrowheads="1"/>
            </p:cNvSpPr>
            <p:nvPr/>
          </p:nvSpPr>
          <p:spPr bwMode="auto">
            <a:xfrm>
              <a:off x="414034" y="1919786"/>
              <a:ext cx="216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7" name="Rectangle 29">
              <a:extLst>
                <a:ext uri="{FF2B5EF4-FFF2-40B4-BE49-F238E27FC236}">
                  <a16:creationId xmlns:a16="http://schemas.microsoft.com/office/drawing/2014/main" id="{A21DB5D2-09A9-4D35-946F-E68B7684BA7D}"/>
                </a:ext>
              </a:extLst>
            </p:cNvPr>
            <p:cNvSpPr/>
            <p:nvPr/>
          </p:nvSpPr>
          <p:spPr>
            <a:xfrm>
              <a:off x="409959" y="3632674"/>
              <a:ext cx="216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ectangle 26">
              <a:extLst>
                <a:ext uri="{FF2B5EF4-FFF2-40B4-BE49-F238E27FC236}">
                  <a16:creationId xmlns:a16="http://schemas.microsoft.com/office/drawing/2014/main" id="{02F97DFE-8372-4452-A801-C8078E502A6B}"/>
                </a:ext>
              </a:extLst>
            </p:cNvPr>
            <p:cNvSpPr>
              <a:spLocks noChangeAspect="1"/>
            </p:cNvSpPr>
            <p:nvPr/>
          </p:nvSpPr>
          <p:spPr>
            <a:xfrm>
              <a:off x="414031" y="2340942"/>
              <a:ext cx="2160000" cy="1233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48" name="Group 47">
            <a:extLst>
              <a:ext uri="{FF2B5EF4-FFF2-40B4-BE49-F238E27FC236}">
                <a16:creationId xmlns:a16="http://schemas.microsoft.com/office/drawing/2014/main" id="{2E3BEDF4-0998-4505-9B96-3922790C9240}"/>
              </a:ext>
            </a:extLst>
          </p:cNvPr>
          <p:cNvGrpSpPr/>
          <p:nvPr/>
        </p:nvGrpSpPr>
        <p:grpSpPr>
          <a:xfrm>
            <a:off x="5016880" y="1919786"/>
            <a:ext cx="2160000" cy="2676229"/>
            <a:chOff x="409959" y="1919786"/>
            <a:chExt cx="2164075" cy="2676229"/>
          </a:xfrm>
        </p:grpSpPr>
        <p:sp>
          <p:nvSpPr>
            <p:cNvPr id="50" name="Line 2">
              <a:extLst>
                <a:ext uri="{FF2B5EF4-FFF2-40B4-BE49-F238E27FC236}">
                  <a16:creationId xmlns:a16="http://schemas.microsoft.com/office/drawing/2014/main" id="{E5B9A635-B9E7-4311-B738-4A040D6821ED}"/>
                </a:ext>
              </a:extLst>
            </p:cNvPr>
            <p:cNvSpPr>
              <a:spLocks noChangeShapeType="1"/>
            </p:cNvSpPr>
            <p:nvPr/>
          </p:nvSpPr>
          <p:spPr bwMode="auto">
            <a:xfrm>
              <a:off x="414034" y="2243636"/>
              <a:ext cx="2160000" cy="0"/>
            </a:xfrm>
            <a:prstGeom prst="line">
              <a:avLst/>
            </a:prstGeom>
            <a:noFill/>
            <a:ln w="22225">
              <a:solidFill>
                <a:srgbClr val="BBBEC2"/>
              </a:solidFill>
              <a:round/>
              <a:headEnd type="none" w="med" len="med"/>
              <a:tailEnd type="triangle" w="med" len="med"/>
            </a:ln>
          </p:spPr>
          <p:txBody>
            <a:bodyPr lIns="0" tIns="0" rIns="0" bIns="0" anchor="ctr"/>
            <a:lstStyle/>
            <a:p>
              <a:endParaRPr lang="en-GB" sz="1600">
                <a:highlight>
                  <a:srgbClr val="000000"/>
                </a:highlight>
                <a:latin typeface="Arial" panose="020B0604020202020204" pitchFamily="34" charset="0"/>
                <a:cs typeface="Arial" panose="020B0604020202020204" pitchFamily="34" charset="0"/>
              </a:endParaRPr>
            </a:p>
          </p:txBody>
        </p:sp>
        <p:sp>
          <p:nvSpPr>
            <p:cNvPr id="51" name="Text 15">
              <a:extLst>
                <a:ext uri="{FF2B5EF4-FFF2-40B4-BE49-F238E27FC236}">
                  <a16:creationId xmlns:a16="http://schemas.microsoft.com/office/drawing/2014/main" id="{9CA130EF-8F9F-4F21-B5B6-F77FC06EC5FF}"/>
                </a:ext>
              </a:extLst>
            </p:cNvPr>
            <p:cNvSpPr>
              <a:spLocks noChangeArrowheads="1"/>
            </p:cNvSpPr>
            <p:nvPr/>
          </p:nvSpPr>
          <p:spPr bwMode="auto">
            <a:xfrm>
              <a:off x="414034" y="1919786"/>
              <a:ext cx="216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4" name="Rectangle 29">
              <a:extLst>
                <a:ext uri="{FF2B5EF4-FFF2-40B4-BE49-F238E27FC236}">
                  <a16:creationId xmlns:a16="http://schemas.microsoft.com/office/drawing/2014/main" id="{53DF5A90-D489-462A-9E8B-3D3FF9F766BA}"/>
                </a:ext>
              </a:extLst>
            </p:cNvPr>
            <p:cNvSpPr/>
            <p:nvPr/>
          </p:nvSpPr>
          <p:spPr>
            <a:xfrm>
              <a:off x="409959" y="3632674"/>
              <a:ext cx="216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5" name="Rectangle 26">
              <a:extLst>
                <a:ext uri="{FF2B5EF4-FFF2-40B4-BE49-F238E27FC236}">
                  <a16:creationId xmlns:a16="http://schemas.microsoft.com/office/drawing/2014/main" id="{B043DD8F-86E7-4504-A7B9-379E16E7B1D8}"/>
                </a:ext>
              </a:extLst>
            </p:cNvPr>
            <p:cNvSpPr>
              <a:spLocks noChangeAspect="1"/>
            </p:cNvSpPr>
            <p:nvPr/>
          </p:nvSpPr>
          <p:spPr>
            <a:xfrm>
              <a:off x="414031" y="2340942"/>
              <a:ext cx="2160000" cy="1233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grpSp>
        <p:nvGrpSpPr>
          <p:cNvPr id="56" name="Group 55">
            <a:extLst>
              <a:ext uri="{FF2B5EF4-FFF2-40B4-BE49-F238E27FC236}">
                <a16:creationId xmlns:a16="http://schemas.microsoft.com/office/drawing/2014/main" id="{39E7F1A3-0DC9-41EB-8152-562F8E612803}"/>
              </a:ext>
            </a:extLst>
          </p:cNvPr>
          <p:cNvGrpSpPr/>
          <p:nvPr/>
        </p:nvGrpSpPr>
        <p:grpSpPr>
          <a:xfrm>
            <a:off x="7342480" y="1919786"/>
            <a:ext cx="2160000" cy="2676229"/>
            <a:chOff x="409959" y="1919786"/>
            <a:chExt cx="2164075" cy="2676229"/>
          </a:xfrm>
        </p:grpSpPr>
        <p:sp>
          <p:nvSpPr>
            <p:cNvPr id="57" name="Line 2">
              <a:extLst>
                <a:ext uri="{FF2B5EF4-FFF2-40B4-BE49-F238E27FC236}">
                  <a16:creationId xmlns:a16="http://schemas.microsoft.com/office/drawing/2014/main" id="{1EA76D52-B7E5-4FB5-AF24-0DDE3FC13EF6}"/>
                </a:ext>
              </a:extLst>
            </p:cNvPr>
            <p:cNvSpPr>
              <a:spLocks noChangeShapeType="1"/>
            </p:cNvSpPr>
            <p:nvPr/>
          </p:nvSpPr>
          <p:spPr bwMode="auto">
            <a:xfrm>
              <a:off x="414034" y="2243636"/>
              <a:ext cx="2160000" cy="0"/>
            </a:xfrm>
            <a:prstGeom prst="line">
              <a:avLst/>
            </a:prstGeom>
            <a:noFill/>
            <a:ln w="22225">
              <a:solidFill>
                <a:srgbClr val="BBBEC2"/>
              </a:solidFill>
              <a:round/>
              <a:headEnd type="none" w="med" len="med"/>
              <a:tailEnd type="triangle" w="med" len="med"/>
            </a:ln>
          </p:spPr>
          <p:txBody>
            <a:bodyPr lIns="0" tIns="0" rIns="0" bIns="0" anchor="ctr"/>
            <a:lstStyle/>
            <a:p>
              <a:endParaRPr lang="en-GB" sz="1600">
                <a:highlight>
                  <a:srgbClr val="000000"/>
                </a:highlight>
                <a:latin typeface="Arial" panose="020B0604020202020204" pitchFamily="34" charset="0"/>
                <a:cs typeface="Arial" panose="020B0604020202020204" pitchFamily="34" charset="0"/>
              </a:endParaRPr>
            </a:p>
          </p:txBody>
        </p:sp>
        <p:sp>
          <p:nvSpPr>
            <p:cNvPr id="58" name="Text 15">
              <a:extLst>
                <a:ext uri="{FF2B5EF4-FFF2-40B4-BE49-F238E27FC236}">
                  <a16:creationId xmlns:a16="http://schemas.microsoft.com/office/drawing/2014/main" id="{4054A159-EE53-46AE-889C-1F174552B6E3}"/>
                </a:ext>
              </a:extLst>
            </p:cNvPr>
            <p:cNvSpPr>
              <a:spLocks noChangeArrowheads="1"/>
            </p:cNvSpPr>
            <p:nvPr/>
          </p:nvSpPr>
          <p:spPr bwMode="auto">
            <a:xfrm>
              <a:off x="414034" y="1919786"/>
              <a:ext cx="216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9" name="Rectangle 29">
              <a:extLst>
                <a:ext uri="{FF2B5EF4-FFF2-40B4-BE49-F238E27FC236}">
                  <a16:creationId xmlns:a16="http://schemas.microsoft.com/office/drawing/2014/main" id="{F11071D4-D80A-46B9-9992-9830DB7FF26A}"/>
                </a:ext>
              </a:extLst>
            </p:cNvPr>
            <p:cNvSpPr/>
            <p:nvPr/>
          </p:nvSpPr>
          <p:spPr>
            <a:xfrm>
              <a:off x="409959" y="3632674"/>
              <a:ext cx="216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0" name="Rectangle 26">
              <a:extLst>
                <a:ext uri="{FF2B5EF4-FFF2-40B4-BE49-F238E27FC236}">
                  <a16:creationId xmlns:a16="http://schemas.microsoft.com/office/drawing/2014/main" id="{86D7CBC4-3515-4E8C-BA5E-BD605AC1BC00}"/>
                </a:ext>
              </a:extLst>
            </p:cNvPr>
            <p:cNvSpPr>
              <a:spLocks noChangeAspect="1"/>
            </p:cNvSpPr>
            <p:nvPr/>
          </p:nvSpPr>
          <p:spPr>
            <a:xfrm>
              <a:off x="414031" y="2340942"/>
              <a:ext cx="2160000" cy="1233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Excerpt of the chapter slide]</a:t>
              </a:r>
            </a:p>
          </p:txBody>
        </p:sp>
      </p:grpSp>
    </p:spTree>
    <p:extLst>
      <p:ext uri="{BB962C8B-B14F-4D97-AF65-F5344CB8AC3E}">
        <p14:creationId xmlns:p14="http://schemas.microsoft.com/office/powerpoint/2010/main" val="3539509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E93666-33C2-7642-B2FF-D98953A8A8B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89E93666-33C2-7642-B2FF-D98953A8A8B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ECCBA0A-8508-5A4C-9B80-EBB762235781}"/>
              </a:ext>
            </a:extLst>
          </p:cNvPr>
          <p:cNvSpPr>
            <a:spLocks noGrp="1"/>
          </p:cNvSpPr>
          <p:nvPr>
            <p:ph type="sldNum" sz="quarter" idx="4"/>
          </p:nvPr>
        </p:nvSpPr>
        <p:spPr/>
        <p:txBody>
          <a:bodyPr/>
          <a:lstStyle/>
          <a:p>
            <a:fld id="{3D966009-6E5A-4F8C-8CA7-E37AFBF5FB92}" type="slidenum">
              <a:rPr lang="en-US" smtClean="0"/>
              <a:t>5</a:t>
            </a:fld>
            <a:endParaRPr lang="en-US"/>
          </a:p>
        </p:txBody>
      </p:sp>
      <p:sp>
        <p:nvSpPr>
          <p:cNvPr id="3" name="Title 2">
            <a:extLst>
              <a:ext uri="{FF2B5EF4-FFF2-40B4-BE49-F238E27FC236}">
                <a16:creationId xmlns:a16="http://schemas.microsoft.com/office/drawing/2014/main" id="{2D98BB67-90DD-094A-ADFA-A115862972C5}"/>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F6CF9E44-0A61-4E48-B05B-70B28A10379A}"/>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DC1177F1-FB2E-C54F-B042-175E0EC24C56}"/>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7D86F6B4-9207-2844-8AE0-C99601F781C6}"/>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BAD6F85B-7273-114C-9906-5C070210D425}"/>
              </a:ext>
            </a:extLst>
          </p:cNvPr>
          <p:cNvSpPr>
            <a:spLocks noGrp="1"/>
          </p:cNvSpPr>
          <p:nvPr>
            <p:ph sz="quarter" idx="14"/>
          </p:nvPr>
        </p:nvSpPr>
        <p:spPr/>
        <p:txBody>
          <a:bodyPr/>
          <a:lstStyle/>
          <a:p>
            <a:endParaRPr lang="de-DE"/>
          </a:p>
        </p:txBody>
      </p:sp>
      <p:grpSp>
        <p:nvGrpSpPr>
          <p:cNvPr id="38" name="Group 37">
            <a:extLst>
              <a:ext uri="{FF2B5EF4-FFF2-40B4-BE49-F238E27FC236}">
                <a16:creationId xmlns:a16="http://schemas.microsoft.com/office/drawing/2014/main" id="{B1445AB0-1CFB-5949-A29F-F777BED46A7C}"/>
              </a:ext>
            </a:extLst>
          </p:cNvPr>
          <p:cNvGrpSpPr/>
          <p:nvPr/>
        </p:nvGrpSpPr>
        <p:grpSpPr>
          <a:xfrm>
            <a:off x="365682" y="1693967"/>
            <a:ext cx="864096" cy="1188088"/>
            <a:chOff x="2391994" y="1635646"/>
            <a:chExt cx="805454" cy="1584088"/>
          </a:xfrm>
          <a:solidFill>
            <a:srgbClr val="8D8EA8"/>
          </a:solidFill>
        </p:grpSpPr>
        <p:sp>
          <p:nvSpPr>
            <p:cNvPr id="39" name="Rectangle 38">
              <a:extLst>
                <a:ext uri="{FF2B5EF4-FFF2-40B4-BE49-F238E27FC236}">
                  <a16:creationId xmlns:a16="http://schemas.microsoft.com/office/drawing/2014/main" id="{5D1282A5-B30C-E648-8CA1-60ECC84A2B41}"/>
                </a:ext>
              </a:extLst>
            </p:cNvPr>
            <p:cNvSpPr/>
            <p:nvPr/>
          </p:nvSpPr>
          <p:spPr>
            <a:xfrm>
              <a:off x="2391994" y="1635646"/>
              <a:ext cx="805454" cy="79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Isosceles Triangle 4">
              <a:extLst>
                <a:ext uri="{FF2B5EF4-FFF2-40B4-BE49-F238E27FC236}">
                  <a16:creationId xmlns:a16="http://schemas.microsoft.com/office/drawing/2014/main" id="{60CEB5E2-881C-CA4B-9E6D-004947457961}"/>
                </a:ext>
              </a:extLst>
            </p:cNvPr>
            <p:cNvSpPr/>
            <p:nvPr/>
          </p:nvSpPr>
          <p:spPr>
            <a:xfrm rot="10800000">
              <a:off x="2391994" y="2427734"/>
              <a:ext cx="805454" cy="792000"/>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41" name="Group 40">
            <a:extLst>
              <a:ext uri="{FF2B5EF4-FFF2-40B4-BE49-F238E27FC236}">
                <a16:creationId xmlns:a16="http://schemas.microsoft.com/office/drawing/2014/main" id="{6792B53F-DC27-2746-B73C-CAFE04330DE5}"/>
              </a:ext>
            </a:extLst>
          </p:cNvPr>
          <p:cNvGrpSpPr/>
          <p:nvPr/>
        </p:nvGrpSpPr>
        <p:grpSpPr>
          <a:xfrm>
            <a:off x="1301784" y="1744972"/>
            <a:ext cx="4788417" cy="901412"/>
            <a:chOff x="496118" y="2469560"/>
            <a:chExt cx="3149131" cy="901412"/>
          </a:xfrm>
          <a:noFill/>
        </p:grpSpPr>
        <p:sp>
          <p:nvSpPr>
            <p:cNvPr id="42" name="TextBox 41">
              <a:extLst>
                <a:ext uri="{FF2B5EF4-FFF2-40B4-BE49-F238E27FC236}">
                  <a16:creationId xmlns:a16="http://schemas.microsoft.com/office/drawing/2014/main" id="{4BC8D42B-3EFF-304C-8B2E-6ACC5B737A8C}"/>
                </a:ext>
              </a:extLst>
            </p:cNvPr>
            <p:cNvSpPr txBox="1"/>
            <p:nvPr/>
          </p:nvSpPr>
          <p:spPr>
            <a:xfrm>
              <a:off x="496118" y="2724641"/>
              <a:ext cx="3149131" cy="646331"/>
            </a:xfrm>
            <a:prstGeom prst="rect">
              <a:avLst/>
            </a:prstGeom>
            <a:grp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43" name="TextBox 42">
              <a:extLst>
                <a:ext uri="{FF2B5EF4-FFF2-40B4-BE49-F238E27FC236}">
                  <a16:creationId xmlns:a16="http://schemas.microsoft.com/office/drawing/2014/main" id="{9BC48AD5-C5B0-F94F-B93B-4DFF08059967}"/>
                </a:ext>
              </a:extLst>
            </p:cNvPr>
            <p:cNvSpPr txBox="1"/>
            <p:nvPr/>
          </p:nvSpPr>
          <p:spPr>
            <a:xfrm>
              <a:off x="496119" y="2469560"/>
              <a:ext cx="1752190" cy="307777"/>
            </a:xfrm>
            <a:prstGeom prst="rect">
              <a:avLst/>
            </a:prstGeom>
            <a:noFill/>
          </p:spPr>
          <p:txBody>
            <a:bodyPr wrap="square" rtlCol="0">
              <a:spAutoFit/>
            </a:bodyPr>
            <a:lstStyle/>
            <a:p>
              <a:r>
                <a:rPr lang="en-US" altLang="ko-KR" sz="1400" b="1">
                  <a:cs typeface="Arial" pitchFamily="34" charset="0"/>
                </a:rPr>
                <a:t>Your Text  Here</a:t>
              </a:r>
              <a:endParaRPr lang="ko-KR" altLang="en-US" sz="1400" b="1">
                <a:cs typeface="Arial" pitchFamily="34" charset="0"/>
              </a:endParaRPr>
            </a:p>
          </p:txBody>
        </p:sp>
      </p:grpSp>
      <p:sp>
        <p:nvSpPr>
          <p:cNvPr id="44" name="TextBox 43">
            <a:extLst>
              <a:ext uri="{FF2B5EF4-FFF2-40B4-BE49-F238E27FC236}">
                <a16:creationId xmlns:a16="http://schemas.microsoft.com/office/drawing/2014/main" id="{75ECCA2B-B09B-6E4A-A131-AC7EA091290C}"/>
              </a:ext>
            </a:extLst>
          </p:cNvPr>
          <p:cNvSpPr txBox="1"/>
          <p:nvPr/>
        </p:nvSpPr>
        <p:spPr>
          <a:xfrm>
            <a:off x="443170" y="1736715"/>
            <a:ext cx="709121" cy="646331"/>
          </a:xfrm>
          <a:prstGeom prst="rect">
            <a:avLst/>
          </a:prstGeom>
          <a:noFill/>
        </p:spPr>
        <p:txBody>
          <a:bodyPr wrap="square" rtlCol="0">
            <a:spAutoFit/>
          </a:bodyPr>
          <a:lstStyle/>
          <a:p>
            <a:pPr algn="ctr"/>
            <a:r>
              <a:rPr lang="en-US" altLang="ko-KR" sz="3600" b="1">
                <a:solidFill>
                  <a:schemeClr val="bg1"/>
                </a:solidFill>
                <a:cs typeface="Arial" pitchFamily="34" charset="0"/>
              </a:rPr>
              <a:t>01</a:t>
            </a:r>
            <a:endParaRPr lang="ko-KR" altLang="en-US" sz="3600" b="1">
              <a:solidFill>
                <a:schemeClr val="bg1"/>
              </a:solidFill>
              <a:cs typeface="Arial" pitchFamily="34" charset="0"/>
            </a:endParaRPr>
          </a:p>
        </p:txBody>
      </p:sp>
      <p:grpSp>
        <p:nvGrpSpPr>
          <p:cNvPr id="70" name="Group 69">
            <a:extLst>
              <a:ext uri="{FF2B5EF4-FFF2-40B4-BE49-F238E27FC236}">
                <a16:creationId xmlns:a16="http://schemas.microsoft.com/office/drawing/2014/main" id="{2D0FE12A-45BE-5741-AB24-195E8E54DA42}"/>
              </a:ext>
            </a:extLst>
          </p:cNvPr>
          <p:cNvGrpSpPr/>
          <p:nvPr/>
        </p:nvGrpSpPr>
        <p:grpSpPr>
          <a:xfrm>
            <a:off x="6095998" y="1721904"/>
            <a:ext cx="5730314" cy="1188088"/>
            <a:chOff x="4335041" y="1693934"/>
            <a:chExt cx="5730314" cy="1188088"/>
          </a:xfrm>
        </p:grpSpPr>
        <p:grpSp>
          <p:nvGrpSpPr>
            <p:cNvPr id="45" name="Group 44">
              <a:extLst>
                <a:ext uri="{FF2B5EF4-FFF2-40B4-BE49-F238E27FC236}">
                  <a16:creationId xmlns:a16="http://schemas.microsoft.com/office/drawing/2014/main" id="{938B0427-6821-9544-BB62-B156B86DE174}"/>
                </a:ext>
              </a:extLst>
            </p:cNvPr>
            <p:cNvGrpSpPr/>
            <p:nvPr/>
          </p:nvGrpSpPr>
          <p:grpSpPr>
            <a:xfrm>
              <a:off x="4335041" y="1693934"/>
              <a:ext cx="864096" cy="1188088"/>
              <a:chOff x="2391994" y="1635646"/>
              <a:chExt cx="805454" cy="1584088"/>
            </a:xfrm>
            <a:solidFill>
              <a:srgbClr val="98DFBB"/>
            </a:solidFill>
          </p:grpSpPr>
          <p:sp>
            <p:nvSpPr>
              <p:cNvPr id="46" name="Rectangle 45">
                <a:extLst>
                  <a:ext uri="{FF2B5EF4-FFF2-40B4-BE49-F238E27FC236}">
                    <a16:creationId xmlns:a16="http://schemas.microsoft.com/office/drawing/2014/main" id="{67E67B1E-FD1B-3749-8402-7B8E87DA42F1}"/>
                  </a:ext>
                </a:extLst>
              </p:cNvPr>
              <p:cNvSpPr/>
              <p:nvPr/>
            </p:nvSpPr>
            <p:spPr>
              <a:xfrm>
                <a:off x="2391994" y="1635646"/>
                <a:ext cx="805454" cy="792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Isosceles Triangle 13">
                <a:extLst>
                  <a:ext uri="{FF2B5EF4-FFF2-40B4-BE49-F238E27FC236}">
                    <a16:creationId xmlns:a16="http://schemas.microsoft.com/office/drawing/2014/main" id="{E930AAA9-6D7D-A847-9685-531FA6E50D92}"/>
                  </a:ext>
                </a:extLst>
              </p:cNvPr>
              <p:cNvSpPr/>
              <p:nvPr/>
            </p:nvSpPr>
            <p:spPr>
              <a:xfrm rot="10800000">
                <a:off x="2391994" y="2427734"/>
                <a:ext cx="805454" cy="792000"/>
              </a:xfrm>
              <a:prstGeom prst="triangle">
                <a:avLst>
                  <a:gd name="adj" fmla="val 0"/>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66" name="Group 65">
              <a:extLst>
                <a:ext uri="{FF2B5EF4-FFF2-40B4-BE49-F238E27FC236}">
                  <a16:creationId xmlns:a16="http://schemas.microsoft.com/office/drawing/2014/main" id="{C21EF88B-BB9C-D947-BD1C-350A5F73C18F}"/>
                </a:ext>
              </a:extLst>
            </p:cNvPr>
            <p:cNvGrpSpPr/>
            <p:nvPr/>
          </p:nvGrpSpPr>
          <p:grpSpPr>
            <a:xfrm>
              <a:off x="4412529" y="1736682"/>
              <a:ext cx="5652826" cy="909669"/>
              <a:chOff x="4412529" y="1736682"/>
              <a:chExt cx="5652826" cy="909669"/>
            </a:xfrm>
          </p:grpSpPr>
          <p:grpSp>
            <p:nvGrpSpPr>
              <p:cNvPr id="48" name="Group 47">
                <a:extLst>
                  <a:ext uri="{FF2B5EF4-FFF2-40B4-BE49-F238E27FC236}">
                    <a16:creationId xmlns:a16="http://schemas.microsoft.com/office/drawing/2014/main" id="{E44E821F-E4A5-884D-AAB2-44D529282F76}"/>
                  </a:ext>
                </a:extLst>
              </p:cNvPr>
              <p:cNvGrpSpPr/>
              <p:nvPr/>
            </p:nvGrpSpPr>
            <p:grpSpPr>
              <a:xfrm>
                <a:off x="5271144" y="1744939"/>
                <a:ext cx="4794211" cy="901412"/>
                <a:chOff x="496118" y="2469560"/>
                <a:chExt cx="3152941" cy="901412"/>
              </a:xfrm>
              <a:noFill/>
            </p:grpSpPr>
            <p:sp>
              <p:nvSpPr>
                <p:cNvPr id="49" name="TextBox 48">
                  <a:extLst>
                    <a:ext uri="{FF2B5EF4-FFF2-40B4-BE49-F238E27FC236}">
                      <a16:creationId xmlns:a16="http://schemas.microsoft.com/office/drawing/2014/main" id="{AA0FF0FE-25B9-9949-A84A-FB51D5E43D1E}"/>
                    </a:ext>
                  </a:extLst>
                </p:cNvPr>
                <p:cNvSpPr txBox="1"/>
                <p:nvPr/>
              </p:nvSpPr>
              <p:spPr>
                <a:xfrm>
                  <a:off x="496118" y="2724641"/>
                  <a:ext cx="3152941" cy="646331"/>
                </a:xfrm>
                <a:prstGeom prst="rect">
                  <a:avLst/>
                </a:prstGeom>
                <a:grp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50" name="TextBox 49">
                  <a:extLst>
                    <a:ext uri="{FF2B5EF4-FFF2-40B4-BE49-F238E27FC236}">
                      <a16:creationId xmlns:a16="http://schemas.microsoft.com/office/drawing/2014/main" id="{B669D3BE-C412-FC4C-9575-B37B14B91A8B}"/>
                    </a:ext>
                  </a:extLst>
                </p:cNvPr>
                <p:cNvSpPr txBox="1"/>
                <p:nvPr/>
              </p:nvSpPr>
              <p:spPr>
                <a:xfrm>
                  <a:off x="496119" y="2469560"/>
                  <a:ext cx="1752190" cy="307777"/>
                </a:xfrm>
                <a:prstGeom prst="rect">
                  <a:avLst/>
                </a:prstGeom>
                <a:noFill/>
              </p:spPr>
              <p:txBody>
                <a:bodyPr wrap="square" rtlCol="0">
                  <a:spAutoFit/>
                </a:bodyPr>
                <a:lstStyle/>
                <a:p>
                  <a:r>
                    <a:rPr lang="en-US" altLang="ko-KR" sz="1400" b="1">
                      <a:cs typeface="Arial" pitchFamily="34" charset="0"/>
                    </a:rPr>
                    <a:t>Your Text  Here</a:t>
                  </a:r>
                  <a:endParaRPr lang="ko-KR" altLang="en-US" sz="1400" b="1">
                    <a:cs typeface="Arial" pitchFamily="34" charset="0"/>
                  </a:endParaRPr>
                </a:p>
              </p:txBody>
            </p:sp>
          </p:grpSp>
          <p:sp>
            <p:nvSpPr>
              <p:cNvPr id="51" name="TextBox 50">
                <a:extLst>
                  <a:ext uri="{FF2B5EF4-FFF2-40B4-BE49-F238E27FC236}">
                    <a16:creationId xmlns:a16="http://schemas.microsoft.com/office/drawing/2014/main" id="{95857F79-9E39-D94B-8224-D40010127144}"/>
                  </a:ext>
                </a:extLst>
              </p:cNvPr>
              <p:cNvSpPr txBox="1"/>
              <p:nvPr/>
            </p:nvSpPr>
            <p:spPr>
              <a:xfrm>
                <a:off x="4412529" y="1736682"/>
                <a:ext cx="709121" cy="646331"/>
              </a:xfrm>
              <a:prstGeom prst="rect">
                <a:avLst/>
              </a:prstGeom>
              <a:noFill/>
            </p:spPr>
            <p:txBody>
              <a:bodyPr wrap="square" rtlCol="0">
                <a:spAutoFit/>
              </a:bodyPr>
              <a:lstStyle/>
              <a:p>
                <a:pPr algn="ctr"/>
                <a:r>
                  <a:rPr lang="en-US" altLang="ko-KR" sz="3600" b="1">
                    <a:solidFill>
                      <a:schemeClr val="bg1"/>
                    </a:solidFill>
                    <a:cs typeface="Arial" pitchFamily="34" charset="0"/>
                  </a:rPr>
                  <a:t>02</a:t>
                </a:r>
                <a:endParaRPr lang="ko-KR" altLang="en-US" sz="3600" b="1">
                  <a:solidFill>
                    <a:schemeClr val="bg1"/>
                  </a:solidFill>
                  <a:cs typeface="Arial" pitchFamily="34" charset="0"/>
                </a:endParaRPr>
              </a:p>
            </p:txBody>
          </p:sp>
        </p:grpSp>
      </p:grpSp>
      <p:grpSp>
        <p:nvGrpSpPr>
          <p:cNvPr id="68" name="Group 67">
            <a:extLst>
              <a:ext uri="{FF2B5EF4-FFF2-40B4-BE49-F238E27FC236}">
                <a16:creationId xmlns:a16="http://schemas.microsoft.com/office/drawing/2014/main" id="{02F3EB4D-CB91-B54B-A025-8E45C50A5FB5}"/>
              </a:ext>
            </a:extLst>
          </p:cNvPr>
          <p:cNvGrpSpPr/>
          <p:nvPr/>
        </p:nvGrpSpPr>
        <p:grpSpPr>
          <a:xfrm>
            <a:off x="371475" y="3808526"/>
            <a:ext cx="5724521" cy="1188088"/>
            <a:chOff x="365682" y="3386144"/>
            <a:chExt cx="5724521" cy="1188088"/>
          </a:xfrm>
        </p:grpSpPr>
        <p:grpSp>
          <p:nvGrpSpPr>
            <p:cNvPr id="52" name="Group 51">
              <a:extLst>
                <a:ext uri="{FF2B5EF4-FFF2-40B4-BE49-F238E27FC236}">
                  <a16:creationId xmlns:a16="http://schemas.microsoft.com/office/drawing/2014/main" id="{D4085FD3-6AB5-1C41-8BD9-0EF9AF03A1FA}"/>
                </a:ext>
              </a:extLst>
            </p:cNvPr>
            <p:cNvGrpSpPr/>
            <p:nvPr/>
          </p:nvGrpSpPr>
          <p:grpSpPr>
            <a:xfrm>
              <a:off x="365682" y="3386144"/>
              <a:ext cx="864096" cy="1188088"/>
              <a:chOff x="2391994" y="1635646"/>
              <a:chExt cx="805454" cy="1584088"/>
            </a:xfrm>
            <a:solidFill>
              <a:srgbClr val="F8B2A3"/>
            </a:solidFill>
          </p:grpSpPr>
          <p:sp>
            <p:nvSpPr>
              <p:cNvPr id="53" name="Rectangle 52">
                <a:extLst>
                  <a:ext uri="{FF2B5EF4-FFF2-40B4-BE49-F238E27FC236}">
                    <a16:creationId xmlns:a16="http://schemas.microsoft.com/office/drawing/2014/main" id="{2807E461-2BD9-FE49-94B7-B949A7E48E71}"/>
                  </a:ext>
                </a:extLst>
              </p:cNvPr>
              <p:cNvSpPr/>
              <p:nvPr/>
            </p:nvSpPr>
            <p:spPr>
              <a:xfrm>
                <a:off x="2391994" y="1635646"/>
                <a:ext cx="805454" cy="792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4" name="Isosceles Triangle 20">
                <a:extLst>
                  <a:ext uri="{FF2B5EF4-FFF2-40B4-BE49-F238E27FC236}">
                    <a16:creationId xmlns:a16="http://schemas.microsoft.com/office/drawing/2014/main" id="{43BEF4CC-A427-5C40-9119-5AC71D243BB9}"/>
                  </a:ext>
                </a:extLst>
              </p:cNvPr>
              <p:cNvSpPr/>
              <p:nvPr/>
            </p:nvSpPr>
            <p:spPr>
              <a:xfrm rot="10800000">
                <a:off x="2391994" y="2427734"/>
                <a:ext cx="805454" cy="792000"/>
              </a:xfrm>
              <a:prstGeom prst="triangle">
                <a:avLst>
                  <a:gd name="adj" fmla="val 0"/>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55" name="Group 54">
              <a:extLst>
                <a:ext uri="{FF2B5EF4-FFF2-40B4-BE49-F238E27FC236}">
                  <a16:creationId xmlns:a16="http://schemas.microsoft.com/office/drawing/2014/main" id="{59C19984-A2CF-124B-8150-4D1DE23DB24B}"/>
                </a:ext>
              </a:extLst>
            </p:cNvPr>
            <p:cNvGrpSpPr/>
            <p:nvPr/>
          </p:nvGrpSpPr>
          <p:grpSpPr>
            <a:xfrm>
              <a:off x="1301786" y="3437149"/>
              <a:ext cx="4788417" cy="901412"/>
              <a:chOff x="496119" y="2469560"/>
              <a:chExt cx="3149131" cy="901412"/>
            </a:xfrm>
            <a:noFill/>
          </p:grpSpPr>
          <p:sp>
            <p:nvSpPr>
              <p:cNvPr id="56" name="TextBox 55">
                <a:extLst>
                  <a:ext uri="{FF2B5EF4-FFF2-40B4-BE49-F238E27FC236}">
                    <a16:creationId xmlns:a16="http://schemas.microsoft.com/office/drawing/2014/main" id="{08F7D00E-2DBE-D74C-AB69-B37CBF2CB7A2}"/>
                  </a:ext>
                </a:extLst>
              </p:cNvPr>
              <p:cNvSpPr txBox="1"/>
              <p:nvPr/>
            </p:nvSpPr>
            <p:spPr>
              <a:xfrm>
                <a:off x="496119" y="2724641"/>
                <a:ext cx="3149131" cy="646331"/>
              </a:xfrm>
              <a:prstGeom prst="rect">
                <a:avLst/>
              </a:prstGeom>
              <a:grp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57" name="TextBox 56">
                <a:extLst>
                  <a:ext uri="{FF2B5EF4-FFF2-40B4-BE49-F238E27FC236}">
                    <a16:creationId xmlns:a16="http://schemas.microsoft.com/office/drawing/2014/main" id="{C7D11114-15F0-5345-8710-2ACB813FC84F}"/>
                  </a:ext>
                </a:extLst>
              </p:cNvPr>
              <p:cNvSpPr txBox="1"/>
              <p:nvPr/>
            </p:nvSpPr>
            <p:spPr>
              <a:xfrm>
                <a:off x="496119" y="2469560"/>
                <a:ext cx="1752190" cy="307777"/>
              </a:xfrm>
              <a:prstGeom prst="rect">
                <a:avLst/>
              </a:prstGeom>
              <a:noFill/>
            </p:spPr>
            <p:txBody>
              <a:bodyPr wrap="square" rtlCol="0">
                <a:spAutoFit/>
              </a:bodyPr>
              <a:lstStyle/>
              <a:p>
                <a:r>
                  <a:rPr lang="en-US" altLang="ko-KR" sz="1400" b="1">
                    <a:cs typeface="Arial" pitchFamily="34" charset="0"/>
                  </a:rPr>
                  <a:t>Your Text  Here</a:t>
                </a:r>
                <a:endParaRPr lang="ko-KR" altLang="en-US" sz="1400" b="1">
                  <a:cs typeface="Arial" pitchFamily="34" charset="0"/>
                </a:endParaRPr>
              </a:p>
            </p:txBody>
          </p:sp>
        </p:grpSp>
        <p:sp>
          <p:nvSpPr>
            <p:cNvPr id="58" name="TextBox 57">
              <a:extLst>
                <a:ext uri="{FF2B5EF4-FFF2-40B4-BE49-F238E27FC236}">
                  <a16:creationId xmlns:a16="http://schemas.microsoft.com/office/drawing/2014/main" id="{3CAAFEAB-AA2D-134F-BA5E-ABD46B24C40F}"/>
                </a:ext>
              </a:extLst>
            </p:cNvPr>
            <p:cNvSpPr txBox="1"/>
            <p:nvPr/>
          </p:nvSpPr>
          <p:spPr>
            <a:xfrm>
              <a:off x="443170" y="3428892"/>
              <a:ext cx="709121" cy="646331"/>
            </a:xfrm>
            <a:prstGeom prst="rect">
              <a:avLst/>
            </a:prstGeom>
            <a:noFill/>
          </p:spPr>
          <p:txBody>
            <a:bodyPr wrap="square" rtlCol="0">
              <a:spAutoFit/>
            </a:bodyPr>
            <a:lstStyle/>
            <a:p>
              <a:pPr algn="ctr"/>
              <a:r>
                <a:rPr lang="en-US" altLang="ko-KR" sz="3600" b="1">
                  <a:solidFill>
                    <a:schemeClr val="bg1"/>
                  </a:solidFill>
                  <a:cs typeface="Arial" pitchFamily="34" charset="0"/>
                </a:rPr>
                <a:t>03</a:t>
              </a:r>
              <a:endParaRPr lang="ko-KR" altLang="en-US" sz="3600" b="1">
                <a:solidFill>
                  <a:schemeClr val="bg1"/>
                </a:solidFill>
                <a:cs typeface="Arial" pitchFamily="34" charset="0"/>
              </a:endParaRPr>
            </a:p>
          </p:txBody>
        </p:sp>
      </p:grpSp>
      <p:grpSp>
        <p:nvGrpSpPr>
          <p:cNvPr id="69" name="Group 68">
            <a:extLst>
              <a:ext uri="{FF2B5EF4-FFF2-40B4-BE49-F238E27FC236}">
                <a16:creationId xmlns:a16="http://schemas.microsoft.com/office/drawing/2014/main" id="{59D7C70E-A9DF-3B45-A473-52B863B399EC}"/>
              </a:ext>
            </a:extLst>
          </p:cNvPr>
          <p:cNvGrpSpPr/>
          <p:nvPr/>
        </p:nvGrpSpPr>
        <p:grpSpPr>
          <a:xfrm>
            <a:off x="6095999" y="3808526"/>
            <a:ext cx="5724521" cy="1188088"/>
            <a:chOff x="4335041" y="3386111"/>
            <a:chExt cx="5724521" cy="1188088"/>
          </a:xfrm>
        </p:grpSpPr>
        <p:grpSp>
          <p:nvGrpSpPr>
            <p:cNvPr id="59" name="Group 58">
              <a:extLst>
                <a:ext uri="{FF2B5EF4-FFF2-40B4-BE49-F238E27FC236}">
                  <a16:creationId xmlns:a16="http://schemas.microsoft.com/office/drawing/2014/main" id="{418DD3D1-3B31-2A46-8F5C-E2996B4F637D}"/>
                </a:ext>
              </a:extLst>
            </p:cNvPr>
            <p:cNvGrpSpPr/>
            <p:nvPr/>
          </p:nvGrpSpPr>
          <p:grpSpPr>
            <a:xfrm>
              <a:off x="4335041" y="3386111"/>
              <a:ext cx="864096" cy="1188088"/>
              <a:chOff x="2391994" y="1635646"/>
              <a:chExt cx="805454" cy="1584088"/>
            </a:xfrm>
            <a:solidFill>
              <a:srgbClr val="A4B4EA"/>
            </a:solidFill>
          </p:grpSpPr>
          <p:sp>
            <p:nvSpPr>
              <p:cNvPr id="60" name="Rectangle 59">
                <a:extLst>
                  <a:ext uri="{FF2B5EF4-FFF2-40B4-BE49-F238E27FC236}">
                    <a16:creationId xmlns:a16="http://schemas.microsoft.com/office/drawing/2014/main" id="{10A5534A-C5B9-2B40-8B4A-FDE6A6ACB1E6}"/>
                  </a:ext>
                </a:extLst>
              </p:cNvPr>
              <p:cNvSpPr/>
              <p:nvPr/>
            </p:nvSpPr>
            <p:spPr>
              <a:xfrm>
                <a:off x="2391994" y="1635646"/>
                <a:ext cx="805454" cy="792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1" name="Isosceles Triangle 27">
                <a:extLst>
                  <a:ext uri="{FF2B5EF4-FFF2-40B4-BE49-F238E27FC236}">
                    <a16:creationId xmlns:a16="http://schemas.microsoft.com/office/drawing/2014/main" id="{DDDD4B58-D405-DF4F-A1BB-53C4E96176FC}"/>
                  </a:ext>
                </a:extLst>
              </p:cNvPr>
              <p:cNvSpPr/>
              <p:nvPr/>
            </p:nvSpPr>
            <p:spPr>
              <a:xfrm rot="10800000">
                <a:off x="2391994" y="2427734"/>
                <a:ext cx="805454" cy="792000"/>
              </a:xfrm>
              <a:prstGeom prst="triangle">
                <a:avLst>
                  <a:gd name="adj" fmla="val 0"/>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62" name="Group 61">
              <a:extLst>
                <a:ext uri="{FF2B5EF4-FFF2-40B4-BE49-F238E27FC236}">
                  <a16:creationId xmlns:a16="http://schemas.microsoft.com/office/drawing/2014/main" id="{C465B268-7BCB-C140-A62C-AB91F21A9938}"/>
                </a:ext>
              </a:extLst>
            </p:cNvPr>
            <p:cNvGrpSpPr/>
            <p:nvPr/>
          </p:nvGrpSpPr>
          <p:grpSpPr>
            <a:xfrm>
              <a:off x="5271143" y="3437116"/>
              <a:ext cx="4788419" cy="901412"/>
              <a:chOff x="496118" y="2469560"/>
              <a:chExt cx="3149132" cy="901412"/>
            </a:xfrm>
            <a:noFill/>
          </p:grpSpPr>
          <p:sp>
            <p:nvSpPr>
              <p:cNvPr id="63" name="TextBox 62">
                <a:extLst>
                  <a:ext uri="{FF2B5EF4-FFF2-40B4-BE49-F238E27FC236}">
                    <a16:creationId xmlns:a16="http://schemas.microsoft.com/office/drawing/2014/main" id="{05165B05-12D3-AC44-97AA-2AB3E58F28E4}"/>
                  </a:ext>
                </a:extLst>
              </p:cNvPr>
              <p:cNvSpPr txBox="1"/>
              <p:nvPr/>
            </p:nvSpPr>
            <p:spPr>
              <a:xfrm>
                <a:off x="496118" y="2724641"/>
                <a:ext cx="3149132" cy="646331"/>
              </a:xfrm>
              <a:prstGeom prst="rect">
                <a:avLst/>
              </a:prstGeom>
              <a:grp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nd appeal to your Presentations. Easy to change colors, photos and Text. </a:t>
                </a:r>
              </a:p>
            </p:txBody>
          </p:sp>
          <p:sp>
            <p:nvSpPr>
              <p:cNvPr id="64" name="TextBox 63">
                <a:extLst>
                  <a:ext uri="{FF2B5EF4-FFF2-40B4-BE49-F238E27FC236}">
                    <a16:creationId xmlns:a16="http://schemas.microsoft.com/office/drawing/2014/main" id="{3D6AED1A-1711-7943-B3E1-338FC21C07CD}"/>
                  </a:ext>
                </a:extLst>
              </p:cNvPr>
              <p:cNvSpPr txBox="1"/>
              <p:nvPr/>
            </p:nvSpPr>
            <p:spPr>
              <a:xfrm>
                <a:off x="496119" y="2469560"/>
                <a:ext cx="1752190" cy="307777"/>
              </a:xfrm>
              <a:prstGeom prst="rect">
                <a:avLst/>
              </a:prstGeom>
              <a:noFill/>
            </p:spPr>
            <p:txBody>
              <a:bodyPr wrap="square" rtlCol="0">
                <a:spAutoFit/>
              </a:bodyPr>
              <a:lstStyle/>
              <a:p>
                <a:r>
                  <a:rPr lang="en-US" altLang="ko-KR" sz="1400" b="1">
                    <a:cs typeface="Arial" pitchFamily="34" charset="0"/>
                  </a:rPr>
                  <a:t>Your Text  Here</a:t>
                </a:r>
                <a:endParaRPr lang="ko-KR" altLang="en-US" sz="1400" b="1">
                  <a:cs typeface="Arial" pitchFamily="34" charset="0"/>
                </a:endParaRPr>
              </a:p>
            </p:txBody>
          </p:sp>
        </p:grpSp>
        <p:sp>
          <p:nvSpPr>
            <p:cNvPr id="65" name="TextBox 64">
              <a:extLst>
                <a:ext uri="{FF2B5EF4-FFF2-40B4-BE49-F238E27FC236}">
                  <a16:creationId xmlns:a16="http://schemas.microsoft.com/office/drawing/2014/main" id="{086B6932-7669-6A40-B439-DA8E2FD73D4C}"/>
                </a:ext>
              </a:extLst>
            </p:cNvPr>
            <p:cNvSpPr txBox="1"/>
            <p:nvPr/>
          </p:nvSpPr>
          <p:spPr>
            <a:xfrm>
              <a:off x="4412529" y="3428859"/>
              <a:ext cx="709121" cy="646331"/>
            </a:xfrm>
            <a:prstGeom prst="rect">
              <a:avLst/>
            </a:prstGeom>
            <a:noFill/>
          </p:spPr>
          <p:txBody>
            <a:bodyPr wrap="square" rtlCol="0">
              <a:spAutoFit/>
            </a:bodyPr>
            <a:lstStyle/>
            <a:p>
              <a:pPr algn="ctr"/>
              <a:r>
                <a:rPr lang="en-US" altLang="ko-KR" sz="3600" b="1">
                  <a:solidFill>
                    <a:schemeClr val="bg1"/>
                  </a:solidFill>
                  <a:cs typeface="Arial" pitchFamily="34" charset="0"/>
                </a:rPr>
                <a:t>04</a:t>
              </a:r>
              <a:endParaRPr lang="ko-KR" altLang="en-US" sz="3600" b="1">
                <a:solidFill>
                  <a:schemeClr val="bg1"/>
                </a:solidFill>
                <a:cs typeface="Arial" pitchFamily="34" charset="0"/>
              </a:endParaRPr>
            </a:p>
          </p:txBody>
        </p:sp>
      </p:grpSp>
    </p:spTree>
    <p:extLst>
      <p:ext uri="{BB962C8B-B14F-4D97-AF65-F5344CB8AC3E}">
        <p14:creationId xmlns:p14="http://schemas.microsoft.com/office/powerpoint/2010/main" val="13951063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9">
            <a:extLst>
              <a:ext uri="{FF2B5EF4-FFF2-40B4-BE49-F238E27FC236}">
                <a16:creationId xmlns:a16="http://schemas.microsoft.com/office/drawing/2014/main" id="{246AC6B5-6CF9-4B93-8BEE-0515FC061C28}"/>
              </a:ext>
            </a:extLst>
          </p:cNvPr>
          <p:cNvCxnSpPr/>
          <p:nvPr/>
        </p:nvCxnSpPr>
        <p:spPr>
          <a:xfrm>
            <a:off x="362143" y="1802673"/>
            <a:ext cx="0" cy="407057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11" name="Group 10">
            <a:extLst>
              <a:ext uri="{FF2B5EF4-FFF2-40B4-BE49-F238E27FC236}">
                <a16:creationId xmlns:a16="http://schemas.microsoft.com/office/drawing/2014/main" id="{F3429214-724E-4C08-B899-80FE667E63FD}"/>
              </a:ext>
            </a:extLst>
          </p:cNvPr>
          <p:cNvGrpSpPr/>
          <p:nvPr/>
        </p:nvGrpSpPr>
        <p:grpSpPr>
          <a:xfrm>
            <a:off x="8354081" y="1919786"/>
            <a:ext cx="3474001" cy="4002196"/>
            <a:chOff x="8356389" y="1919786"/>
            <a:chExt cx="3474001" cy="4002196"/>
          </a:xfrm>
        </p:grpSpPr>
        <p:sp>
          <p:nvSpPr>
            <p:cNvPr id="24" name="Rectangle 78">
              <a:extLst>
                <a:ext uri="{FF2B5EF4-FFF2-40B4-BE49-F238E27FC236}">
                  <a16:creationId xmlns:a16="http://schemas.microsoft.com/office/drawing/2014/main" id="{792C299D-691E-4DD8-9FD9-A48E58DB20E8}"/>
                </a:ext>
              </a:extLst>
            </p:cNvPr>
            <p:cNvSpPr/>
            <p:nvPr/>
          </p:nvSpPr>
          <p:spPr>
            <a:xfrm>
              <a:off x="8356390" y="1919786"/>
              <a:ext cx="3474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a:off x="8356392" y="2364444"/>
              <a:ext cx="3351600"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9">
              <a:extLst>
                <a:ext uri="{FF2B5EF4-FFF2-40B4-BE49-F238E27FC236}">
                  <a16:creationId xmlns:a16="http://schemas.microsoft.com/office/drawing/2014/main" id="{B5E97CED-32F9-49E1-BFC4-D1EF7075A5A3}"/>
                </a:ext>
              </a:extLst>
            </p:cNvPr>
            <p:cNvSpPr>
              <a:spLocks/>
            </p:cNvSpPr>
            <p:nvPr/>
          </p:nvSpPr>
          <p:spPr>
            <a:xfrm>
              <a:off x="8356392" y="3644620"/>
              <a:ext cx="3351600"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79">
              <a:extLst>
                <a:ext uri="{FF2B5EF4-FFF2-40B4-BE49-F238E27FC236}">
                  <a16:creationId xmlns:a16="http://schemas.microsoft.com/office/drawing/2014/main" id="{E331A474-6A18-43F5-8EF1-5B965B703DE4}"/>
                </a:ext>
              </a:extLst>
            </p:cNvPr>
            <p:cNvSpPr>
              <a:spLocks/>
            </p:cNvSpPr>
            <p:nvPr/>
          </p:nvSpPr>
          <p:spPr>
            <a:xfrm>
              <a:off x="8356392" y="4914962"/>
              <a:ext cx="3351600"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7" name="Straight Connector 63">
              <a:extLst>
                <a:ext uri="{FF2B5EF4-FFF2-40B4-BE49-F238E27FC236}">
                  <a16:creationId xmlns:a16="http://schemas.microsoft.com/office/drawing/2014/main" id="{F169EBE5-B5EC-4E98-8275-F52E1D07C1CC}"/>
                </a:ext>
              </a:extLst>
            </p:cNvPr>
            <p:cNvCxnSpPr>
              <a:cxnSpLocks/>
            </p:cNvCxnSpPr>
            <p:nvPr/>
          </p:nvCxnSpPr>
          <p:spPr>
            <a:xfrm flipV="1">
              <a:off x="8356389" y="3515168"/>
              <a:ext cx="3350909" cy="3650"/>
            </a:xfrm>
            <a:prstGeom prst="line">
              <a:avLst/>
            </a:prstGeom>
            <a:noFill/>
            <a:ln w="22225" cap="flat" cmpd="sng" algn="ctr">
              <a:solidFill>
                <a:srgbClr val="BBBEC2"/>
              </a:solidFill>
              <a:prstDash val="solid"/>
              <a:headEnd type="none" w="med" len="med"/>
              <a:tailEnd type="none" w="med" len="med"/>
            </a:ln>
            <a:effectLst/>
          </p:spPr>
        </p:cxnSp>
        <p:cxnSp>
          <p:nvCxnSpPr>
            <p:cNvPr id="48" name="Straight Connector 63">
              <a:extLst>
                <a:ext uri="{FF2B5EF4-FFF2-40B4-BE49-F238E27FC236}">
                  <a16:creationId xmlns:a16="http://schemas.microsoft.com/office/drawing/2014/main" id="{8E343190-4F5F-4A60-B7C7-46E9A56CC6B1}"/>
                </a:ext>
              </a:extLst>
            </p:cNvPr>
            <p:cNvCxnSpPr>
              <a:cxnSpLocks/>
            </p:cNvCxnSpPr>
            <p:nvPr/>
          </p:nvCxnSpPr>
          <p:spPr>
            <a:xfrm>
              <a:off x="8356389" y="4789162"/>
              <a:ext cx="3350909" cy="0"/>
            </a:xfrm>
            <a:prstGeom prst="line">
              <a:avLst/>
            </a:prstGeom>
            <a:noFill/>
            <a:ln w="22225" cap="flat" cmpd="sng" algn="ctr">
              <a:solidFill>
                <a:srgbClr val="BBBEC2"/>
              </a:solidFill>
              <a:prstDash val="solid"/>
              <a:headEnd type="none" w="med" len="med"/>
              <a:tailEnd type="none" w="med" len="med"/>
            </a:ln>
            <a:effectLst/>
          </p:spPr>
        </p:cxnSp>
        <p:sp>
          <p:nvSpPr>
            <p:cNvPr id="27" name="RbLeanShape Left Angle 27">
              <a:extLst>
                <a:ext uri="{FF2B5EF4-FFF2-40B4-BE49-F238E27FC236}">
                  <a16:creationId xmlns:a16="http://schemas.microsoft.com/office/drawing/2014/main" id="{2C90A7CF-8DEA-4C19-A4E6-3F93ABB61D1B}"/>
                </a:ext>
              </a:extLst>
            </p:cNvPr>
            <p:cNvSpPr/>
            <p:nvPr/>
          </p:nvSpPr>
          <p:spPr>
            <a:xfrm>
              <a:off x="8356389" y="2247141"/>
              <a:ext cx="3473465" cy="367484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pSp>
      <p:sp>
        <p:nvSpPr>
          <p:cNvPr id="36" name="Rectangle 78">
            <a:extLst>
              <a:ext uri="{FF2B5EF4-FFF2-40B4-BE49-F238E27FC236}">
                <a16:creationId xmlns:a16="http://schemas.microsoft.com/office/drawing/2014/main" id="{48BD0EFB-69A7-41CB-8F34-D400709B3115}"/>
              </a:ext>
            </a:extLst>
          </p:cNvPr>
          <p:cNvSpPr/>
          <p:nvPr/>
        </p:nvSpPr>
        <p:spPr>
          <a:xfrm>
            <a:off x="369263" y="1919786"/>
            <a:ext cx="786456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Header</a:t>
            </a:r>
          </a:p>
        </p:txBody>
      </p:sp>
      <p:sp>
        <p:nvSpPr>
          <p:cNvPr id="30" name="Rectangle 79">
            <a:extLst>
              <a:ext uri="{FF2B5EF4-FFF2-40B4-BE49-F238E27FC236}">
                <a16:creationId xmlns:a16="http://schemas.microsoft.com/office/drawing/2014/main" id="{D449C2A3-FFA6-4E37-BB67-8CD75B242904}"/>
              </a:ext>
            </a:extLst>
          </p:cNvPr>
          <p:cNvSpPr>
            <a:spLocks/>
          </p:cNvSpPr>
          <p:nvPr/>
        </p:nvSpPr>
        <p:spPr>
          <a:xfrm>
            <a:off x="365685" y="2364444"/>
            <a:ext cx="7864566"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ectangle 79">
            <a:extLst>
              <a:ext uri="{FF2B5EF4-FFF2-40B4-BE49-F238E27FC236}">
                <a16:creationId xmlns:a16="http://schemas.microsoft.com/office/drawing/2014/main" id="{9E605FCC-6AF9-4065-8110-B0FBAF8F9562}"/>
              </a:ext>
            </a:extLst>
          </p:cNvPr>
          <p:cNvSpPr>
            <a:spLocks/>
          </p:cNvSpPr>
          <p:nvPr/>
        </p:nvSpPr>
        <p:spPr>
          <a:xfrm>
            <a:off x="365685" y="3644620"/>
            <a:ext cx="7864566"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ectangle 79">
            <a:extLst>
              <a:ext uri="{FF2B5EF4-FFF2-40B4-BE49-F238E27FC236}">
                <a16:creationId xmlns:a16="http://schemas.microsoft.com/office/drawing/2014/main" id="{78FFD5BD-C314-4D72-979D-E9F81DAF0F44}"/>
              </a:ext>
            </a:extLst>
          </p:cNvPr>
          <p:cNvSpPr>
            <a:spLocks/>
          </p:cNvSpPr>
          <p:nvPr/>
        </p:nvSpPr>
        <p:spPr>
          <a:xfrm>
            <a:off x="365685" y="4914962"/>
            <a:ext cx="7864566"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3" name="Straight Connector 63">
            <a:extLst>
              <a:ext uri="{FF2B5EF4-FFF2-40B4-BE49-F238E27FC236}">
                <a16:creationId xmlns:a16="http://schemas.microsoft.com/office/drawing/2014/main" id="{E7FD1BC5-9871-4FC4-BED4-EF17CEEBF24A}"/>
              </a:ext>
            </a:extLst>
          </p:cNvPr>
          <p:cNvCxnSpPr>
            <a:cxnSpLocks/>
          </p:cNvCxnSpPr>
          <p:nvPr/>
        </p:nvCxnSpPr>
        <p:spPr>
          <a:xfrm>
            <a:off x="365682" y="3518818"/>
            <a:ext cx="7864569" cy="0"/>
          </a:xfrm>
          <a:prstGeom prst="line">
            <a:avLst/>
          </a:prstGeom>
          <a:noFill/>
          <a:ln w="22225" cap="flat" cmpd="sng" algn="ctr">
            <a:solidFill>
              <a:srgbClr val="BBBEC2"/>
            </a:solidFill>
            <a:prstDash val="solid"/>
            <a:headEnd type="none" w="med" len="med"/>
            <a:tailEnd type="none" w="med" len="med"/>
          </a:ln>
          <a:effectLst/>
        </p:spPr>
      </p:cxnSp>
      <p:cxnSp>
        <p:nvCxnSpPr>
          <p:cNvPr id="44" name="Straight Connector 63">
            <a:extLst>
              <a:ext uri="{FF2B5EF4-FFF2-40B4-BE49-F238E27FC236}">
                <a16:creationId xmlns:a16="http://schemas.microsoft.com/office/drawing/2014/main" id="{1DEFEE18-1595-4223-B0FC-EB01DB2B0609}"/>
              </a:ext>
            </a:extLst>
          </p:cNvPr>
          <p:cNvCxnSpPr>
            <a:cxnSpLocks/>
          </p:cNvCxnSpPr>
          <p:nvPr/>
        </p:nvCxnSpPr>
        <p:spPr>
          <a:xfrm>
            <a:off x="365682" y="4789162"/>
            <a:ext cx="7864569" cy="0"/>
          </a:xfrm>
          <a:prstGeom prst="line">
            <a:avLst/>
          </a:prstGeom>
          <a:noFill/>
          <a:ln w="22225" cap="flat" cmpd="sng" algn="ctr">
            <a:solidFill>
              <a:srgbClr val="BBBEC2"/>
            </a:solidFill>
            <a:prstDash val="solid"/>
            <a:headEnd type="none" w="med" len="med"/>
            <a:tailEnd type="none" w="med" len="med"/>
          </a:ln>
          <a:effectLst/>
        </p:spPr>
      </p:cxnSp>
      <p:cxnSp>
        <p:nvCxnSpPr>
          <p:cNvPr id="29" name="Straight Connector 63">
            <a:extLst>
              <a:ext uri="{FF2B5EF4-FFF2-40B4-BE49-F238E27FC236}">
                <a16:creationId xmlns:a16="http://schemas.microsoft.com/office/drawing/2014/main" id="{0C1068A2-B2B2-42D7-90E1-56AD5B519CDA}"/>
              </a:ext>
            </a:extLst>
          </p:cNvPr>
          <p:cNvCxnSpPr>
            <a:cxnSpLocks/>
          </p:cNvCxnSpPr>
          <p:nvPr/>
        </p:nvCxnSpPr>
        <p:spPr>
          <a:xfrm>
            <a:off x="365682" y="2244969"/>
            <a:ext cx="7864566" cy="0"/>
          </a:xfrm>
          <a:prstGeom prst="line">
            <a:avLst/>
          </a:prstGeom>
          <a:noFill/>
          <a:ln w="22225" cap="flat" cmpd="sng" algn="ctr">
            <a:solidFill>
              <a:srgbClr val="BBBEC2"/>
            </a:solidFill>
            <a:prstDash val="solid"/>
            <a:headEnd type="none" w="med" len="med"/>
            <a:tailEnd type="triangle" w="med" len="med"/>
          </a:ln>
          <a:effectLst/>
        </p:spPr>
      </p:cxnSp>
    </p:spTree>
    <p:extLst>
      <p:ext uri="{BB962C8B-B14F-4D97-AF65-F5344CB8AC3E}">
        <p14:creationId xmlns:p14="http://schemas.microsoft.com/office/powerpoint/2010/main" val="28080833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9">
            <a:extLst>
              <a:ext uri="{FF2B5EF4-FFF2-40B4-BE49-F238E27FC236}">
                <a16:creationId xmlns:a16="http://schemas.microsoft.com/office/drawing/2014/main" id="{246AC6B5-6CF9-4B93-8BEE-0515FC061C28}"/>
              </a:ext>
            </a:extLst>
          </p:cNvPr>
          <p:cNvCxnSpPr/>
          <p:nvPr/>
        </p:nvCxnSpPr>
        <p:spPr>
          <a:xfrm>
            <a:off x="365682" y="1802673"/>
            <a:ext cx="0" cy="407057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34956" y="5383024"/>
            <a:ext cx="11460635" cy="221803"/>
          </a:xfrm>
        </p:spPr>
        <p:txBody>
          <a:bodyPr/>
          <a:lstStyle/>
          <a:p>
            <a:endParaRPr lang="en-GB"/>
          </a:p>
        </p:txBody>
      </p:sp>
      <p:cxnSp>
        <p:nvCxnSpPr>
          <p:cNvPr id="23" name="Straight Connector 63">
            <a:extLst>
              <a:ext uri="{FF2B5EF4-FFF2-40B4-BE49-F238E27FC236}">
                <a16:creationId xmlns:a16="http://schemas.microsoft.com/office/drawing/2014/main" id="{F155906D-D7CE-4B7F-A8B1-82D841B813DC}"/>
              </a:ext>
            </a:extLst>
          </p:cNvPr>
          <p:cNvCxnSpPr>
            <a:cxnSpLocks/>
          </p:cNvCxnSpPr>
          <p:nvPr/>
        </p:nvCxnSpPr>
        <p:spPr>
          <a:xfrm>
            <a:off x="365682" y="2244969"/>
            <a:ext cx="7864566" cy="0"/>
          </a:xfrm>
          <a:prstGeom prst="line">
            <a:avLst/>
          </a:prstGeom>
          <a:noFill/>
          <a:ln w="22225" cap="flat" cmpd="sng" algn="ctr">
            <a:solidFill>
              <a:srgbClr val="BBBEC2"/>
            </a:solidFill>
            <a:prstDash val="solid"/>
            <a:headEnd type="none" w="med" len="med"/>
            <a:tailEnd type="triangle" w="med" len="med"/>
          </a:ln>
          <a:effectLst/>
        </p:spPr>
      </p:cxnSp>
      <p:sp>
        <p:nvSpPr>
          <p:cNvPr id="30" name="Rectangle 79">
            <a:extLst>
              <a:ext uri="{FF2B5EF4-FFF2-40B4-BE49-F238E27FC236}">
                <a16:creationId xmlns:a16="http://schemas.microsoft.com/office/drawing/2014/main" id="{D449C2A3-FFA6-4E37-BB67-8CD75B242904}"/>
              </a:ext>
            </a:extLst>
          </p:cNvPr>
          <p:cNvSpPr>
            <a:spLocks/>
          </p:cNvSpPr>
          <p:nvPr/>
        </p:nvSpPr>
        <p:spPr>
          <a:xfrm>
            <a:off x="365682" y="2360695"/>
            <a:ext cx="7864563" cy="764534"/>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b="1"/>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ectangle 79">
            <a:extLst>
              <a:ext uri="{FF2B5EF4-FFF2-40B4-BE49-F238E27FC236}">
                <a16:creationId xmlns:a16="http://schemas.microsoft.com/office/drawing/2014/main" id="{9E605FCC-6AF9-4065-8110-B0FBAF8F9562}"/>
              </a:ext>
            </a:extLst>
          </p:cNvPr>
          <p:cNvSpPr>
            <a:spLocks/>
          </p:cNvSpPr>
          <p:nvPr/>
        </p:nvSpPr>
        <p:spPr>
          <a:xfrm>
            <a:off x="365682" y="3278118"/>
            <a:ext cx="7864563" cy="764534"/>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b="1"/>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ectangle 79">
            <a:extLst>
              <a:ext uri="{FF2B5EF4-FFF2-40B4-BE49-F238E27FC236}">
                <a16:creationId xmlns:a16="http://schemas.microsoft.com/office/drawing/2014/main" id="{78FFD5BD-C314-4D72-979D-E9F81DAF0F44}"/>
              </a:ext>
            </a:extLst>
          </p:cNvPr>
          <p:cNvSpPr>
            <a:spLocks/>
          </p:cNvSpPr>
          <p:nvPr/>
        </p:nvSpPr>
        <p:spPr>
          <a:xfrm>
            <a:off x="365682" y="4195540"/>
            <a:ext cx="7864563" cy="764534"/>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b="1"/>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Rectangle 79">
            <a:extLst>
              <a:ext uri="{FF2B5EF4-FFF2-40B4-BE49-F238E27FC236}">
                <a16:creationId xmlns:a16="http://schemas.microsoft.com/office/drawing/2014/main" id="{70E4F909-F57F-4766-BA9E-85FF61912910}"/>
              </a:ext>
            </a:extLst>
          </p:cNvPr>
          <p:cNvSpPr>
            <a:spLocks/>
          </p:cNvSpPr>
          <p:nvPr/>
        </p:nvSpPr>
        <p:spPr>
          <a:xfrm>
            <a:off x="365682" y="5112962"/>
            <a:ext cx="7864563" cy="764534"/>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b="1"/>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3" name="Straight Connector 63">
            <a:extLst>
              <a:ext uri="{FF2B5EF4-FFF2-40B4-BE49-F238E27FC236}">
                <a16:creationId xmlns:a16="http://schemas.microsoft.com/office/drawing/2014/main" id="{E7FD1BC5-9871-4FC4-BED4-EF17CEEBF24A}"/>
              </a:ext>
            </a:extLst>
          </p:cNvPr>
          <p:cNvCxnSpPr>
            <a:cxnSpLocks/>
          </p:cNvCxnSpPr>
          <p:nvPr/>
        </p:nvCxnSpPr>
        <p:spPr>
          <a:xfrm>
            <a:off x="365682" y="3201673"/>
            <a:ext cx="7864566" cy="0"/>
          </a:xfrm>
          <a:prstGeom prst="line">
            <a:avLst/>
          </a:prstGeom>
          <a:noFill/>
          <a:ln w="22225" cap="flat" cmpd="sng" algn="ctr">
            <a:solidFill>
              <a:srgbClr val="BBBEC2"/>
            </a:solidFill>
            <a:prstDash val="solid"/>
            <a:headEnd type="none" w="med" len="med"/>
            <a:tailEnd type="none" w="med" len="med"/>
          </a:ln>
          <a:effectLst/>
        </p:spPr>
      </p:cxnSp>
      <p:cxnSp>
        <p:nvCxnSpPr>
          <p:cNvPr id="44" name="Straight Connector 63">
            <a:extLst>
              <a:ext uri="{FF2B5EF4-FFF2-40B4-BE49-F238E27FC236}">
                <a16:creationId xmlns:a16="http://schemas.microsoft.com/office/drawing/2014/main" id="{1DEFEE18-1595-4223-B0FC-EB01DB2B0609}"/>
              </a:ext>
            </a:extLst>
          </p:cNvPr>
          <p:cNvCxnSpPr>
            <a:cxnSpLocks/>
          </p:cNvCxnSpPr>
          <p:nvPr/>
        </p:nvCxnSpPr>
        <p:spPr>
          <a:xfrm>
            <a:off x="365682" y="4119096"/>
            <a:ext cx="7864566" cy="0"/>
          </a:xfrm>
          <a:prstGeom prst="line">
            <a:avLst/>
          </a:prstGeom>
          <a:noFill/>
          <a:ln w="22225" cap="flat" cmpd="sng" algn="ctr">
            <a:solidFill>
              <a:srgbClr val="BBBEC2"/>
            </a:solidFill>
            <a:prstDash val="solid"/>
            <a:headEnd type="none" w="med" len="med"/>
            <a:tailEnd type="none" w="med" len="med"/>
          </a:ln>
          <a:effectLst/>
        </p:spPr>
      </p:cxnSp>
      <p:cxnSp>
        <p:nvCxnSpPr>
          <p:cNvPr id="46" name="Straight Connector 63">
            <a:extLst>
              <a:ext uri="{FF2B5EF4-FFF2-40B4-BE49-F238E27FC236}">
                <a16:creationId xmlns:a16="http://schemas.microsoft.com/office/drawing/2014/main" id="{F99EEFBB-541B-47E1-8E71-8D2E8E2D679F}"/>
              </a:ext>
            </a:extLst>
          </p:cNvPr>
          <p:cNvCxnSpPr>
            <a:cxnSpLocks/>
          </p:cNvCxnSpPr>
          <p:nvPr/>
        </p:nvCxnSpPr>
        <p:spPr>
          <a:xfrm>
            <a:off x="365682" y="5036518"/>
            <a:ext cx="7864566" cy="0"/>
          </a:xfrm>
          <a:prstGeom prst="line">
            <a:avLst/>
          </a:prstGeom>
          <a:noFill/>
          <a:ln w="22225" cap="flat" cmpd="sng" algn="ctr">
            <a:solidFill>
              <a:srgbClr val="BBBEC2"/>
            </a:solidFill>
            <a:prstDash val="solid"/>
            <a:headEnd type="none" w="med" len="med"/>
            <a:tailEnd type="none" w="med" len="med"/>
          </a:ln>
          <a:effectLst/>
        </p:spPr>
      </p:cxnSp>
      <p:sp>
        <p:nvSpPr>
          <p:cNvPr id="35" name="Rectangle 78">
            <a:extLst>
              <a:ext uri="{FF2B5EF4-FFF2-40B4-BE49-F238E27FC236}">
                <a16:creationId xmlns:a16="http://schemas.microsoft.com/office/drawing/2014/main" id="{E54B9C06-F601-43EB-839B-BF3270BFB490}"/>
              </a:ext>
            </a:extLst>
          </p:cNvPr>
          <p:cNvSpPr/>
          <p:nvPr/>
        </p:nvSpPr>
        <p:spPr>
          <a:xfrm>
            <a:off x="365682" y="1919786"/>
            <a:ext cx="7864566"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Header</a:t>
            </a:r>
          </a:p>
        </p:txBody>
      </p:sp>
      <p:sp>
        <p:nvSpPr>
          <p:cNvPr id="37" name="RbLeanShape Left Angle 27">
            <a:extLst>
              <a:ext uri="{FF2B5EF4-FFF2-40B4-BE49-F238E27FC236}">
                <a16:creationId xmlns:a16="http://schemas.microsoft.com/office/drawing/2014/main" id="{13404B1D-5E96-4828-9304-7F015C003C73}"/>
              </a:ext>
            </a:extLst>
          </p:cNvPr>
          <p:cNvSpPr/>
          <p:nvPr/>
        </p:nvSpPr>
        <p:spPr>
          <a:xfrm>
            <a:off x="8354081" y="2243636"/>
            <a:ext cx="3473465" cy="367484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b="1"/>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a:off x="8354084" y="2360695"/>
            <a:ext cx="3473466"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9">
            <a:extLst>
              <a:ext uri="{FF2B5EF4-FFF2-40B4-BE49-F238E27FC236}">
                <a16:creationId xmlns:a16="http://schemas.microsoft.com/office/drawing/2014/main" id="{B5E97CED-32F9-49E1-BFC4-D1EF7075A5A3}"/>
              </a:ext>
            </a:extLst>
          </p:cNvPr>
          <p:cNvSpPr>
            <a:spLocks/>
          </p:cNvSpPr>
          <p:nvPr/>
        </p:nvSpPr>
        <p:spPr>
          <a:xfrm>
            <a:off x="8354084" y="3278118"/>
            <a:ext cx="3473466"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79">
            <a:extLst>
              <a:ext uri="{FF2B5EF4-FFF2-40B4-BE49-F238E27FC236}">
                <a16:creationId xmlns:a16="http://schemas.microsoft.com/office/drawing/2014/main" id="{E331A474-6A18-43F5-8EF1-5B965B703DE4}"/>
              </a:ext>
            </a:extLst>
          </p:cNvPr>
          <p:cNvSpPr>
            <a:spLocks/>
          </p:cNvSpPr>
          <p:nvPr/>
        </p:nvSpPr>
        <p:spPr>
          <a:xfrm>
            <a:off x="8354084" y="4195540"/>
            <a:ext cx="3473466"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79">
            <a:extLst>
              <a:ext uri="{FF2B5EF4-FFF2-40B4-BE49-F238E27FC236}">
                <a16:creationId xmlns:a16="http://schemas.microsoft.com/office/drawing/2014/main" id="{0CEE150D-6A88-41BB-A667-607C23C778CA}"/>
              </a:ext>
            </a:extLst>
          </p:cNvPr>
          <p:cNvSpPr>
            <a:spLocks/>
          </p:cNvSpPr>
          <p:nvPr/>
        </p:nvSpPr>
        <p:spPr>
          <a:xfrm>
            <a:off x="8354084" y="5112962"/>
            <a:ext cx="3466388"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7" name="Straight Connector 63">
            <a:extLst>
              <a:ext uri="{FF2B5EF4-FFF2-40B4-BE49-F238E27FC236}">
                <a16:creationId xmlns:a16="http://schemas.microsoft.com/office/drawing/2014/main" id="{F169EBE5-B5EC-4E98-8275-F52E1D07C1CC}"/>
              </a:ext>
            </a:extLst>
          </p:cNvPr>
          <p:cNvCxnSpPr>
            <a:cxnSpLocks/>
          </p:cNvCxnSpPr>
          <p:nvPr/>
        </p:nvCxnSpPr>
        <p:spPr>
          <a:xfrm flipV="1">
            <a:off x="8354081" y="3201673"/>
            <a:ext cx="3350909" cy="2771"/>
          </a:xfrm>
          <a:prstGeom prst="line">
            <a:avLst/>
          </a:prstGeom>
          <a:noFill/>
          <a:ln w="22225" cap="flat" cmpd="sng" algn="ctr">
            <a:solidFill>
              <a:srgbClr val="BBBEC2"/>
            </a:solidFill>
            <a:prstDash val="solid"/>
            <a:headEnd type="none" w="med" len="med"/>
            <a:tailEnd type="none" w="med" len="med"/>
          </a:ln>
          <a:effectLst/>
        </p:spPr>
      </p:cxnSp>
      <p:cxnSp>
        <p:nvCxnSpPr>
          <p:cNvPr id="48" name="Straight Connector 63">
            <a:extLst>
              <a:ext uri="{FF2B5EF4-FFF2-40B4-BE49-F238E27FC236}">
                <a16:creationId xmlns:a16="http://schemas.microsoft.com/office/drawing/2014/main" id="{8E343190-4F5F-4A60-B7C7-46E9A56CC6B1}"/>
              </a:ext>
            </a:extLst>
          </p:cNvPr>
          <p:cNvCxnSpPr>
            <a:cxnSpLocks/>
          </p:cNvCxnSpPr>
          <p:nvPr/>
        </p:nvCxnSpPr>
        <p:spPr>
          <a:xfrm>
            <a:off x="8354081" y="4119096"/>
            <a:ext cx="3350909" cy="0"/>
          </a:xfrm>
          <a:prstGeom prst="line">
            <a:avLst/>
          </a:prstGeom>
          <a:noFill/>
          <a:ln w="22225" cap="flat" cmpd="sng" algn="ctr">
            <a:solidFill>
              <a:srgbClr val="BBBEC2"/>
            </a:solidFill>
            <a:prstDash val="solid"/>
            <a:headEnd type="none" w="med" len="med"/>
            <a:tailEnd type="none" w="med" len="med"/>
          </a:ln>
          <a:effectLst/>
        </p:spPr>
      </p:cxnSp>
      <p:cxnSp>
        <p:nvCxnSpPr>
          <p:cNvPr id="49" name="Straight Connector 63">
            <a:extLst>
              <a:ext uri="{FF2B5EF4-FFF2-40B4-BE49-F238E27FC236}">
                <a16:creationId xmlns:a16="http://schemas.microsoft.com/office/drawing/2014/main" id="{03F4D5E4-AA3A-4BF8-9B96-93B66FF88329}"/>
              </a:ext>
            </a:extLst>
          </p:cNvPr>
          <p:cNvCxnSpPr>
            <a:cxnSpLocks/>
          </p:cNvCxnSpPr>
          <p:nvPr/>
        </p:nvCxnSpPr>
        <p:spPr>
          <a:xfrm>
            <a:off x="8354081" y="5036518"/>
            <a:ext cx="3350909" cy="0"/>
          </a:xfrm>
          <a:prstGeom prst="line">
            <a:avLst/>
          </a:prstGeom>
          <a:noFill/>
          <a:ln w="22225" cap="flat" cmpd="sng" algn="ctr">
            <a:solidFill>
              <a:srgbClr val="BBBEC2"/>
            </a:solidFill>
            <a:prstDash val="solid"/>
            <a:headEnd type="none" w="med" len="med"/>
            <a:tailEnd type="none" w="med" len="med"/>
          </a:ln>
          <a:effectLst/>
        </p:spPr>
      </p:cxnSp>
      <p:sp>
        <p:nvSpPr>
          <p:cNvPr id="38" name="Rectangle 78">
            <a:extLst>
              <a:ext uri="{FF2B5EF4-FFF2-40B4-BE49-F238E27FC236}">
                <a16:creationId xmlns:a16="http://schemas.microsoft.com/office/drawing/2014/main" id="{C53688CE-C6D7-4D61-ADC4-F81A5A8F9EEC}"/>
              </a:ext>
            </a:extLst>
          </p:cNvPr>
          <p:cNvSpPr/>
          <p:nvPr/>
        </p:nvSpPr>
        <p:spPr>
          <a:xfrm>
            <a:off x="8354082" y="1919786"/>
            <a:ext cx="3474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spTree>
    <p:extLst>
      <p:ext uri="{BB962C8B-B14F-4D97-AF65-F5344CB8AC3E}">
        <p14:creationId xmlns:p14="http://schemas.microsoft.com/office/powerpoint/2010/main" val="8805997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9">
            <a:extLst>
              <a:ext uri="{FF2B5EF4-FFF2-40B4-BE49-F238E27FC236}">
                <a16:creationId xmlns:a16="http://schemas.microsoft.com/office/drawing/2014/main" id="{246AC6B5-6CF9-4B93-8BEE-0515FC061C28}"/>
              </a:ext>
            </a:extLst>
          </p:cNvPr>
          <p:cNvCxnSpPr/>
          <p:nvPr/>
        </p:nvCxnSpPr>
        <p:spPr>
          <a:xfrm>
            <a:off x="362143" y="1802673"/>
            <a:ext cx="0" cy="407057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0" name="Rectangle 79">
            <a:extLst>
              <a:ext uri="{FF2B5EF4-FFF2-40B4-BE49-F238E27FC236}">
                <a16:creationId xmlns:a16="http://schemas.microsoft.com/office/drawing/2014/main" id="{D449C2A3-FFA6-4E37-BB67-8CD75B242904}"/>
              </a:ext>
            </a:extLst>
          </p:cNvPr>
          <p:cNvSpPr>
            <a:spLocks/>
          </p:cNvSpPr>
          <p:nvPr/>
        </p:nvSpPr>
        <p:spPr>
          <a:xfrm>
            <a:off x="362142" y="2357395"/>
            <a:ext cx="7775997" cy="524246"/>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31" name="Rectangle 79">
            <a:extLst>
              <a:ext uri="{FF2B5EF4-FFF2-40B4-BE49-F238E27FC236}">
                <a16:creationId xmlns:a16="http://schemas.microsoft.com/office/drawing/2014/main" id="{9E605FCC-6AF9-4065-8110-B0FBAF8F9562}"/>
              </a:ext>
            </a:extLst>
          </p:cNvPr>
          <p:cNvSpPr>
            <a:spLocks/>
          </p:cNvSpPr>
          <p:nvPr/>
        </p:nvSpPr>
        <p:spPr>
          <a:xfrm>
            <a:off x="362142" y="3055239"/>
            <a:ext cx="7775997" cy="524246"/>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2" name="Rectangle 79">
            <a:extLst>
              <a:ext uri="{FF2B5EF4-FFF2-40B4-BE49-F238E27FC236}">
                <a16:creationId xmlns:a16="http://schemas.microsoft.com/office/drawing/2014/main" id="{78FFD5BD-C314-4D72-979D-E9F81DAF0F44}"/>
              </a:ext>
            </a:extLst>
          </p:cNvPr>
          <p:cNvSpPr>
            <a:spLocks/>
          </p:cNvSpPr>
          <p:nvPr/>
        </p:nvSpPr>
        <p:spPr>
          <a:xfrm>
            <a:off x="362142" y="3753083"/>
            <a:ext cx="7775997" cy="524246"/>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3" name="Rectangle 79">
            <a:extLst>
              <a:ext uri="{FF2B5EF4-FFF2-40B4-BE49-F238E27FC236}">
                <a16:creationId xmlns:a16="http://schemas.microsoft.com/office/drawing/2014/main" id="{70E4F909-F57F-4766-BA9E-85FF61912910}"/>
              </a:ext>
            </a:extLst>
          </p:cNvPr>
          <p:cNvSpPr>
            <a:spLocks/>
          </p:cNvSpPr>
          <p:nvPr/>
        </p:nvSpPr>
        <p:spPr>
          <a:xfrm>
            <a:off x="362142" y="4450927"/>
            <a:ext cx="7775997" cy="524246"/>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a:off x="8356392" y="2357395"/>
            <a:ext cx="3473466" cy="525600"/>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9">
            <a:extLst>
              <a:ext uri="{FF2B5EF4-FFF2-40B4-BE49-F238E27FC236}">
                <a16:creationId xmlns:a16="http://schemas.microsoft.com/office/drawing/2014/main" id="{B5E97CED-32F9-49E1-BFC4-D1EF7075A5A3}"/>
              </a:ext>
            </a:extLst>
          </p:cNvPr>
          <p:cNvSpPr>
            <a:spLocks/>
          </p:cNvSpPr>
          <p:nvPr/>
        </p:nvSpPr>
        <p:spPr>
          <a:xfrm>
            <a:off x="8356392" y="3040491"/>
            <a:ext cx="3473466" cy="525600"/>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79">
            <a:extLst>
              <a:ext uri="{FF2B5EF4-FFF2-40B4-BE49-F238E27FC236}">
                <a16:creationId xmlns:a16="http://schemas.microsoft.com/office/drawing/2014/main" id="{E331A474-6A18-43F5-8EF1-5B965B703DE4}"/>
              </a:ext>
            </a:extLst>
          </p:cNvPr>
          <p:cNvSpPr>
            <a:spLocks/>
          </p:cNvSpPr>
          <p:nvPr/>
        </p:nvSpPr>
        <p:spPr>
          <a:xfrm>
            <a:off x="8356392" y="3743251"/>
            <a:ext cx="3473466" cy="525600"/>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79">
            <a:extLst>
              <a:ext uri="{FF2B5EF4-FFF2-40B4-BE49-F238E27FC236}">
                <a16:creationId xmlns:a16="http://schemas.microsoft.com/office/drawing/2014/main" id="{0CEE150D-6A88-41BB-A667-607C23C778CA}"/>
              </a:ext>
            </a:extLst>
          </p:cNvPr>
          <p:cNvSpPr>
            <a:spLocks/>
          </p:cNvSpPr>
          <p:nvPr/>
        </p:nvSpPr>
        <p:spPr>
          <a:xfrm>
            <a:off x="8356392" y="4446011"/>
            <a:ext cx="3466388" cy="525600"/>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3" name="Straight Connector 63">
            <a:extLst>
              <a:ext uri="{FF2B5EF4-FFF2-40B4-BE49-F238E27FC236}">
                <a16:creationId xmlns:a16="http://schemas.microsoft.com/office/drawing/2014/main" id="{E7FD1BC5-9871-4FC4-BED4-EF17CEEBF24A}"/>
              </a:ext>
            </a:extLst>
          </p:cNvPr>
          <p:cNvCxnSpPr>
            <a:cxnSpLocks/>
          </p:cNvCxnSpPr>
          <p:nvPr/>
        </p:nvCxnSpPr>
        <p:spPr>
          <a:xfrm>
            <a:off x="362139" y="2968440"/>
            <a:ext cx="7776000" cy="0"/>
          </a:xfrm>
          <a:prstGeom prst="line">
            <a:avLst/>
          </a:prstGeom>
          <a:noFill/>
          <a:ln w="22225" cap="flat" cmpd="sng" algn="ctr">
            <a:solidFill>
              <a:srgbClr val="BBBEC2"/>
            </a:solidFill>
            <a:prstDash val="solid"/>
            <a:headEnd type="none" w="med" len="med"/>
            <a:tailEnd type="none" w="med" len="med"/>
          </a:ln>
          <a:effectLst/>
        </p:spPr>
      </p:cxnSp>
      <p:cxnSp>
        <p:nvCxnSpPr>
          <p:cNvPr id="44" name="Straight Connector 63">
            <a:extLst>
              <a:ext uri="{FF2B5EF4-FFF2-40B4-BE49-F238E27FC236}">
                <a16:creationId xmlns:a16="http://schemas.microsoft.com/office/drawing/2014/main" id="{1DEFEE18-1595-4223-B0FC-EB01DB2B0609}"/>
              </a:ext>
            </a:extLst>
          </p:cNvPr>
          <p:cNvCxnSpPr>
            <a:cxnSpLocks/>
          </p:cNvCxnSpPr>
          <p:nvPr/>
        </p:nvCxnSpPr>
        <p:spPr>
          <a:xfrm>
            <a:off x="362139" y="3666284"/>
            <a:ext cx="7776000" cy="0"/>
          </a:xfrm>
          <a:prstGeom prst="line">
            <a:avLst/>
          </a:prstGeom>
          <a:noFill/>
          <a:ln w="22225" cap="flat" cmpd="sng" algn="ctr">
            <a:solidFill>
              <a:srgbClr val="BBBEC2"/>
            </a:solidFill>
            <a:prstDash val="solid"/>
            <a:headEnd type="none" w="med" len="med"/>
            <a:tailEnd type="none" w="med" len="med"/>
          </a:ln>
          <a:effectLst/>
        </p:spPr>
      </p:cxnSp>
      <p:cxnSp>
        <p:nvCxnSpPr>
          <p:cNvPr id="46" name="Straight Connector 63">
            <a:extLst>
              <a:ext uri="{FF2B5EF4-FFF2-40B4-BE49-F238E27FC236}">
                <a16:creationId xmlns:a16="http://schemas.microsoft.com/office/drawing/2014/main" id="{F99EEFBB-541B-47E1-8E71-8D2E8E2D679F}"/>
              </a:ext>
            </a:extLst>
          </p:cNvPr>
          <p:cNvCxnSpPr>
            <a:cxnSpLocks/>
          </p:cNvCxnSpPr>
          <p:nvPr/>
        </p:nvCxnSpPr>
        <p:spPr>
          <a:xfrm>
            <a:off x="362139" y="4364128"/>
            <a:ext cx="7776000" cy="0"/>
          </a:xfrm>
          <a:prstGeom prst="line">
            <a:avLst/>
          </a:prstGeom>
          <a:noFill/>
          <a:ln w="22225" cap="flat" cmpd="sng" algn="ctr">
            <a:solidFill>
              <a:srgbClr val="BBBEC2"/>
            </a:solidFill>
            <a:prstDash val="solid"/>
            <a:headEnd type="none" w="med" len="med"/>
            <a:tailEnd type="none" w="med" len="med"/>
          </a:ln>
          <a:effectLst/>
        </p:spPr>
      </p:cxnSp>
      <p:cxnSp>
        <p:nvCxnSpPr>
          <p:cNvPr id="47" name="Straight Connector 63">
            <a:extLst>
              <a:ext uri="{FF2B5EF4-FFF2-40B4-BE49-F238E27FC236}">
                <a16:creationId xmlns:a16="http://schemas.microsoft.com/office/drawing/2014/main" id="{F169EBE5-B5EC-4E98-8275-F52E1D07C1CC}"/>
              </a:ext>
            </a:extLst>
          </p:cNvPr>
          <p:cNvCxnSpPr>
            <a:cxnSpLocks/>
          </p:cNvCxnSpPr>
          <p:nvPr/>
        </p:nvCxnSpPr>
        <p:spPr>
          <a:xfrm flipV="1">
            <a:off x="8356389" y="2968440"/>
            <a:ext cx="3350909" cy="2175"/>
          </a:xfrm>
          <a:prstGeom prst="line">
            <a:avLst/>
          </a:prstGeom>
          <a:noFill/>
          <a:ln w="22225" cap="flat" cmpd="sng" algn="ctr">
            <a:solidFill>
              <a:srgbClr val="BBBEC2"/>
            </a:solidFill>
            <a:prstDash val="solid"/>
            <a:headEnd type="none" w="med" len="med"/>
            <a:tailEnd type="none" w="med" len="med"/>
          </a:ln>
          <a:effectLst/>
        </p:spPr>
      </p:cxnSp>
      <p:cxnSp>
        <p:nvCxnSpPr>
          <p:cNvPr id="48" name="Straight Connector 63">
            <a:extLst>
              <a:ext uri="{FF2B5EF4-FFF2-40B4-BE49-F238E27FC236}">
                <a16:creationId xmlns:a16="http://schemas.microsoft.com/office/drawing/2014/main" id="{8E343190-4F5F-4A60-B7C7-46E9A56CC6B1}"/>
              </a:ext>
            </a:extLst>
          </p:cNvPr>
          <p:cNvCxnSpPr>
            <a:cxnSpLocks/>
          </p:cNvCxnSpPr>
          <p:nvPr/>
        </p:nvCxnSpPr>
        <p:spPr>
          <a:xfrm>
            <a:off x="8356389" y="3666284"/>
            <a:ext cx="3350909" cy="0"/>
          </a:xfrm>
          <a:prstGeom prst="line">
            <a:avLst/>
          </a:prstGeom>
          <a:noFill/>
          <a:ln w="22225" cap="flat" cmpd="sng" algn="ctr">
            <a:solidFill>
              <a:srgbClr val="BBBEC2"/>
            </a:solidFill>
            <a:prstDash val="solid"/>
            <a:headEnd type="none" w="med" len="med"/>
            <a:tailEnd type="none" w="med" len="med"/>
          </a:ln>
          <a:effectLst/>
        </p:spPr>
      </p:cxnSp>
      <p:cxnSp>
        <p:nvCxnSpPr>
          <p:cNvPr id="49" name="Straight Connector 63">
            <a:extLst>
              <a:ext uri="{FF2B5EF4-FFF2-40B4-BE49-F238E27FC236}">
                <a16:creationId xmlns:a16="http://schemas.microsoft.com/office/drawing/2014/main" id="{03F4D5E4-AA3A-4BF8-9B96-93B66FF88329}"/>
              </a:ext>
            </a:extLst>
          </p:cNvPr>
          <p:cNvCxnSpPr>
            <a:cxnSpLocks/>
          </p:cNvCxnSpPr>
          <p:nvPr/>
        </p:nvCxnSpPr>
        <p:spPr>
          <a:xfrm>
            <a:off x="8356389" y="4364128"/>
            <a:ext cx="3350909" cy="0"/>
          </a:xfrm>
          <a:prstGeom prst="line">
            <a:avLst/>
          </a:prstGeom>
          <a:noFill/>
          <a:ln w="22225" cap="flat" cmpd="sng" algn="ctr">
            <a:solidFill>
              <a:srgbClr val="BBBEC2"/>
            </a:solidFill>
            <a:prstDash val="solid"/>
            <a:headEnd type="none" w="med" len="med"/>
            <a:tailEnd type="none" w="med" len="med"/>
          </a:ln>
          <a:effectLst/>
        </p:spPr>
      </p:cxnSp>
      <p:sp>
        <p:nvSpPr>
          <p:cNvPr id="34" name="Rectangle 79">
            <a:extLst>
              <a:ext uri="{FF2B5EF4-FFF2-40B4-BE49-F238E27FC236}">
                <a16:creationId xmlns:a16="http://schemas.microsoft.com/office/drawing/2014/main" id="{31E73126-A2BD-4AA2-9CD6-E4C8F4E90F60}"/>
              </a:ext>
            </a:extLst>
          </p:cNvPr>
          <p:cNvSpPr>
            <a:spLocks/>
          </p:cNvSpPr>
          <p:nvPr/>
        </p:nvSpPr>
        <p:spPr>
          <a:xfrm>
            <a:off x="369216" y="5148767"/>
            <a:ext cx="7775997" cy="524246"/>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8" name="Rectangle 79">
            <a:extLst>
              <a:ext uri="{FF2B5EF4-FFF2-40B4-BE49-F238E27FC236}">
                <a16:creationId xmlns:a16="http://schemas.microsoft.com/office/drawing/2014/main" id="{EC5ADB4B-A4CC-4557-A494-A0248F8732E9}"/>
              </a:ext>
            </a:extLst>
          </p:cNvPr>
          <p:cNvSpPr>
            <a:spLocks/>
          </p:cNvSpPr>
          <p:nvPr/>
        </p:nvSpPr>
        <p:spPr>
          <a:xfrm>
            <a:off x="8363466" y="5148767"/>
            <a:ext cx="3466388" cy="525600"/>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5" name="Straight Connector 63">
            <a:extLst>
              <a:ext uri="{FF2B5EF4-FFF2-40B4-BE49-F238E27FC236}">
                <a16:creationId xmlns:a16="http://schemas.microsoft.com/office/drawing/2014/main" id="{5634CE4B-9CA6-4D40-B6C2-70AB32D3C905}"/>
              </a:ext>
            </a:extLst>
          </p:cNvPr>
          <p:cNvCxnSpPr>
            <a:cxnSpLocks/>
          </p:cNvCxnSpPr>
          <p:nvPr/>
        </p:nvCxnSpPr>
        <p:spPr>
          <a:xfrm>
            <a:off x="362139" y="5061972"/>
            <a:ext cx="7776000" cy="0"/>
          </a:xfrm>
          <a:prstGeom prst="line">
            <a:avLst/>
          </a:prstGeom>
          <a:noFill/>
          <a:ln w="22225" cap="flat" cmpd="sng" algn="ctr">
            <a:solidFill>
              <a:srgbClr val="BBBEC2"/>
            </a:solidFill>
            <a:prstDash val="solid"/>
            <a:headEnd type="none" w="med" len="med"/>
            <a:tailEnd type="none" w="med" len="med"/>
          </a:ln>
          <a:effectLst/>
        </p:spPr>
      </p:cxnSp>
      <p:cxnSp>
        <p:nvCxnSpPr>
          <p:cNvPr id="50" name="Straight Connector 63">
            <a:extLst>
              <a:ext uri="{FF2B5EF4-FFF2-40B4-BE49-F238E27FC236}">
                <a16:creationId xmlns:a16="http://schemas.microsoft.com/office/drawing/2014/main" id="{DAB7C58F-FE4F-4E3C-9419-046567BC0399}"/>
              </a:ext>
            </a:extLst>
          </p:cNvPr>
          <p:cNvCxnSpPr>
            <a:cxnSpLocks/>
          </p:cNvCxnSpPr>
          <p:nvPr/>
        </p:nvCxnSpPr>
        <p:spPr>
          <a:xfrm>
            <a:off x="8356389" y="5061972"/>
            <a:ext cx="3350909" cy="0"/>
          </a:xfrm>
          <a:prstGeom prst="line">
            <a:avLst/>
          </a:prstGeom>
          <a:noFill/>
          <a:ln w="22225" cap="flat" cmpd="sng" algn="ctr">
            <a:solidFill>
              <a:srgbClr val="BBBEC2"/>
            </a:solidFill>
            <a:prstDash val="solid"/>
            <a:headEnd type="none" w="med" len="med"/>
            <a:tailEnd type="none" w="med" len="med"/>
          </a:ln>
          <a:effectLst/>
        </p:spPr>
      </p:cxnSp>
      <p:sp>
        <p:nvSpPr>
          <p:cNvPr id="52" name="RbLeanShape Left Angle 27">
            <a:extLst>
              <a:ext uri="{FF2B5EF4-FFF2-40B4-BE49-F238E27FC236}">
                <a16:creationId xmlns:a16="http://schemas.microsoft.com/office/drawing/2014/main" id="{87BACE80-1C61-4900-9786-6A23CA62C829}"/>
              </a:ext>
            </a:extLst>
          </p:cNvPr>
          <p:cNvSpPr/>
          <p:nvPr/>
        </p:nvSpPr>
        <p:spPr>
          <a:xfrm>
            <a:off x="8356389" y="2244969"/>
            <a:ext cx="3473465" cy="3677013"/>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6" name="Rectangle 78">
            <a:extLst>
              <a:ext uri="{FF2B5EF4-FFF2-40B4-BE49-F238E27FC236}">
                <a16:creationId xmlns:a16="http://schemas.microsoft.com/office/drawing/2014/main" id="{958FCF92-F308-4CDE-A10A-F2156BBE777A}"/>
              </a:ext>
            </a:extLst>
          </p:cNvPr>
          <p:cNvSpPr/>
          <p:nvPr/>
        </p:nvSpPr>
        <p:spPr>
          <a:xfrm>
            <a:off x="365680" y="1919786"/>
            <a:ext cx="7776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Header</a:t>
            </a:r>
          </a:p>
        </p:txBody>
      </p:sp>
      <p:sp>
        <p:nvSpPr>
          <p:cNvPr id="51" name="Rectangle 78">
            <a:extLst>
              <a:ext uri="{FF2B5EF4-FFF2-40B4-BE49-F238E27FC236}">
                <a16:creationId xmlns:a16="http://schemas.microsoft.com/office/drawing/2014/main" id="{C6B6F827-5A0F-4D2A-B1E6-CE86457A51C0}"/>
              </a:ext>
            </a:extLst>
          </p:cNvPr>
          <p:cNvSpPr/>
          <p:nvPr/>
        </p:nvSpPr>
        <p:spPr>
          <a:xfrm>
            <a:off x="8356390" y="1919786"/>
            <a:ext cx="3474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cxnSp>
        <p:nvCxnSpPr>
          <p:cNvPr id="54" name="Straight Connector 63">
            <a:extLst>
              <a:ext uri="{FF2B5EF4-FFF2-40B4-BE49-F238E27FC236}">
                <a16:creationId xmlns:a16="http://schemas.microsoft.com/office/drawing/2014/main" id="{E940A5C2-5F51-4E62-A6E5-93EEA9F30980}"/>
              </a:ext>
            </a:extLst>
          </p:cNvPr>
          <p:cNvCxnSpPr>
            <a:cxnSpLocks/>
          </p:cNvCxnSpPr>
          <p:nvPr/>
        </p:nvCxnSpPr>
        <p:spPr>
          <a:xfrm>
            <a:off x="365682" y="2244969"/>
            <a:ext cx="7864566" cy="0"/>
          </a:xfrm>
          <a:prstGeom prst="line">
            <a:avLst/>
          </a:prstGeom>
          <a:noFill/>
          <a:ln w="22225" cap="flat" cmpd="sng" algn="ctr">
            <a:solidFill>
              <a:srgbClr val="BBBEC2"/>
            </a:solidFill>
            <a:prstDash val="solid"/>
            <a:headEnd type="none" w="med" len="med"/>
            <a:tailEnd type="triangle" w="med" len="med"/>
          </a:ln>
          <a:effectLst/>
        </p:spPr>
      </p:cxnSp>
    </p:spTree>
    <p:extLst>
      <p:ext uri="{BB962C8B-B14F-4D97-AF65-F5344CB8AC3E}">
        <p14:creationId xmlns:p14="http://schemas.microsoft.com/office/powerpoint/2010/main" val="12432372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6" name="Rectangle 78">
            <a:extLst>
              <a:ext uri="{FF2B5EF4-FFF2-40B4-BE49-F238E27FC236}">
                <a16:creationId xmlns:a16="http://schemas.microsoft.com/office/drawing/2014/main" id="{48BD0EFB-69A7-41CB-8F34-D400709B3115}"/>
              </a:ext>
            </a:extLst>
          </p:cNvPr>
          <p:cNvSpPr/>
          <p:nvPr/>
        </p:nvSpPr>
        <p:spPr>
          <a:xfrm>
            <a:off x="365681" y="1947486"/>
            <a:ext cx="3350909"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Header</a:t>
            </a:r>
            <a:endParaRPr lang="en-GB" b="1" kern="0">
              <a:latin typeface="Arial" panose="020B0604020202020204" pitchFamily="34" charset="0"/>
              <a:cs typeface="Arial" panose="020B0604020202020204" pitchFamily="34" charset="0"/>
            </a:endParaRPr>
          </a:p>
        </p:txBody>
      </p:sp>
      <p:sp>
        <p:nvSpPr>
          <p:cNvPr id="45" name="RbLeanShape Left Angle 27">
            <a:extLst>
              <a:ext uri="{FF2B5EF4-FFF2-40B4-BE49-F238E27FC236}">
                <a16:creationId xmlns:a16="http://schemas.microsoft.com/office/drawing/2014/main" id="{63CB10CE-E227-434C-8BFB-B043D4BFC759}"/>
              </a:ext>
            </a:extLst>
          </p:cNvPr>
          <p:cNvSpPr/>
          <p:nvPr/>
        </p:nvSpPr>
        <p:spPr>
          <a:xfrm flipH="1">
            <a:off x="363043" y="2253467"/>
            <a:ext cx="3293912" cy="3697115"/>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4" name="Rectangle 78">
            <a:extLst>
              <a:ext uri="{FF2B5EF4-FFF2-40B4-BE49-F238E27FC236}">
                <a16:creationId xmlns:a16="http://schemas.microsoft.com/office/drawing/2014/main" id="{792C299D-691E-4DD8-9FD9-A48E58DB20E8}"/>
              </a:ext>
            </a:extLst>
          </p:cNvPr>
          <p:cNvSpPr/>
          <p:nvPr/>
        </p:nvSpPr>
        <p:spPr>
          <a:xfrm>
            <a:off x="3799591" y="1947486"/>
            <a:ext cx="8028491"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Header</a:t>
            </a:r>
            <a:endParaRPr lang="en-GB" b="1" kern="0">
              <a:latin typeface="Arial" panose="020B0604020202020204" pitchFamily="34" charset="0"/>
              <a:cs typeface="Arial" panose="020B0604020202020204" pitchFamily="34" charset="0"/>
            </a:endParaRPr>
          </a:p>
        </p:txBody>
      </p:sp>
      <p:cxnSp>
        <p:nvCxnSpPr>
          <p:cNvPr id="23" name="Straight Connector 63">
            <a:extLst>
              <a:ext uri="{FF2B5EF4-FFF2-40B4-BE49-F238E27FC236}">
                <a16:creationId xmlns:a16="http://schemas.microsoft.com/office/drawing/2014/main" id="{F155906D-D7CE-4B7F-A8B1-82D841B813DC}"/>
              </a:ext>
            </a:extLst>
          </p:cNvPr>
          <p:cNvCxnSpPr>
            <a:cxnSpLocks/>
          </p:cNvCxnSpPr>
          <p:nvPr/>
        </p:nvCxnSpPr>
        <p:spPr>
          <a:xfrm flipV="1">
            <a:off x="3799591" y="2243636"/>
            <a:ext cx="8028491" cy="6409"/>
          </a:xfrm>
          <a:prstGeom prst="line">
            <a:avLst/>
          </a:prstGeom>
          <a:noFill/>
          <a:ln w="22225" cap="flat" cmpd="sng" algn="ctr">
            <a:solidFill>
              <a:srgbClr val="BBBEC2"/>
            </a:solidFill>
            <a:prstDash val="solid"/>
            <a:headEnd type="none" w="med" len="med"/>
            <a:tailEnd type="none" w="med" len="med"/>
          </a:ln>
          <a:effectLst/>
        </p:spPr>
      </p:cxnSp>
      <p:sp>
        <p:nvSpPr>
          <p:cNvPr id="30" name="Rectangle 79">
            <a:extLst>
              <a:ext uri="{FF2B5EF4-FFF2-40B4-BE49-F238E27FC236}">
                <a16:creationId xmlns:a16="http://schemas.microsoft.com/office/drawing/2014/main" id="{D449C2A3-FFA6-4E37-BB67-8CD75B242904}"/>
              </a:ext>
            </a:extLst>
          </p:cNvPr>
          <p:cNvSpPr>
            <a:spLocks/>
          </p:cNvSpPr>
          <p:nvPr/>
        </p:nvSpPr>
        <p:spPr>
          <a:xfrm flipH="1">
            <a:off x="3799591" y="2360415"/>
            <a:ext cx="8028491" cy="771493"/>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ectangle 79">
            <a:extLst>
              <a:ext uri="{FF2B5EF4-FFF2-40B4-BE49-F238E27FC236}">
                <a16:creationId xmlns:a16="http://schemas.microsoft.com/office/drawing/2014/main" id="{9E605FCC-6AF9-4065-8110-B0FBAF8F9562}"/>
              </a:ext>
            </a:extLst>
          </p:cNvPr>
          <p:cNvSpPr>
            <a:spLocks/>
          </p:cNvSpPr>
          <p:nvPr/>
        </p:nvSpPr>
        <p:spPr>
          <a:xfrm flipH="1">
            <a:off x="3799591" y="3286189"/>
            <a:ext cx="8028491" cy="771493"/>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ectangle 79">
            <a:extLst>
              <a:ext uri="{FF2B5EF4-FFF2-40B4-BE49-F238E27FC236}">
                <a16:creationId xmlns:a16="http://schemas.microsoft.com/office/drawing/2014/main" id="{78FFD5BD-C314-4D72-979D-E9F81DAF0F44}"/>
              </a:ext>
            </a:extLst>
          </p:cNvPr>
          <p:cNvSpPr>
            <a:spLocks/>
          </p:cNvSpPr>
          <p:nvPr/>
        </p:nvSpPr>
        <p:spPr>
          <a:xfrm flipH="1">
            <a:off x="3799591" y="4211963"/>
            <a:ext cx="8028491" cy="771493"/>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Rectangle 79">
            <a:extLst>
              <a:ext uri="{FF2B5EF4-FFF2-40B4-BE49-F238E27FC236}">
                <a16:creationId xmlns:a16="http://schemas.microsoft.com/office/drawing/2014/main" id="{70E4F909-F57F-4766-BA9E-85FF61912910}"/>
              </a:ext>
            </a:extLst>
          </p:cNvPr>
          <p:cNvSpPr>
            <a:spLocks/>
          </p:cNvSpPr>
          <p:nvPr/>
        </p:nvSpPr>
        <p:spPr>
          <a:xfrm flipH="1">
            <a:off x="3799591" y="5137736"/>
            <a:ext cx="8028491" cy="771493"/>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3" name="Straight Connector 63">
            <a:extLst>
              <a:ext uri="{FF2B5EF4-FFF2-40B4-BE49-F238E27FC236}">
                <a16:creationId xmlns:a16="http://schemas.microsoft.com/office/drawing/2014/main" id="{E7FD1BC5-9871-4FC4-BED4-EF17CEEBF24A}"/>
              </a:ext>
            </a:extLst>
          </p:cNvPr>
          <p:cNvCxnSpPr>
            <a:cxnSpLocks/>
          </p:cNvCxnSpPr>
          <p:nvPr/>
        </p:nvCxnSpPr>
        <p:spPr>
          <a:xfrm flipH="1">
            <a:off x="3799591" y="3209049"/>
            <a:ext cx="8028491" cy="0"/>
          </a:xfrm>
          <a:prstGeom prst="line">
            <a:avLst/>
          </a:prstGeom>
          <a:noFill/>
          <a:ln w="22225" cap="flat" cmpd="sng" algn="ctr">
            <a:solidFill>
              <a:srgbClr val="BBBEC2"/>
            </a:solidFill>
            <a:prstDash val="solid"/>
            <a:headEnd type="none" w="med" len="med"/>
            <a:tailEnd type="none" w="med" len="med"/>
          </a:ln>
          <a:effectLst/>
        </p:spPr>
      </p:cxnSp>
      <p:cxnSp>
        <p:nvCxnSpPr>
          <p:cNvPr id="44" name="Straight Connector 63">
            <a:extLst>
              <a:ext uri="{FF2B5EF4-FFF2-40B4-BE49-F238E27FC236}">
                <a16:creationId xmlns:a16="http://schemas.microsoft.com/office/drawing/2014/main" id="{1DEFEE18-1595-4223-B0FC-EB01DB2B0609}"/>
              </a:ext>
            </a:extLst>
          </p:cNvPr>
          <p:cNvCxnSpPr>
            <a:cxnSpLocks/>
          </p:cNvCxnSpPr>
          <p:nvPr/>
        </p:nvCxnSpPr>
        <p:spPr>
          <a:xfrm flipH="1">
            <a:off x="3799591" y="4134823"/>
            <a:ext cx="8028491" cy="0"/>
          </a:xfrm>
          <a:prstGeom prst="line">
            <a:avLst/>
          </a:prstGeom>
          <a:noFill/>
          <a:ln w="22225" cap="flat" cmpd="sng" algn="ctr">
            <a:solidFill>
              <a:srgbClr val="BBBEC2"/>
            </a:solidFill>
            <a:prstDash val="solid"/>
            <a:headEnd type="none" w="med" len="med"/>
            <a:tailEnd type="none" w="med" len="med"/>
          </a:ln>
          <a:effectLst/>
        </p:spPr>
      </p:cxnSp>
      <p:cxnSp>
        <p:nvCxnSpPr>
          <p:cNvPr id="46" name="Straight Connector 63">
            <a:extLst>
              <a:ext uri="{FF2B5EF4-FFF2-40B4-BE49-F238E27FC236}">
                <a16:creationId xmlns:a16="http://schemas.microsoft.com/office/drawing/2014/main" id="{F99EEFBB-541B-47E1-8E71-8D2E8E2D679F}"/>
              </a:ext>
            </a:extLst>
          </p:cNvPr>
          <p:cNvCxnSpPr>
            <a:cxnSpLocks/>
          </p:cNvCxnSpPr>
          <p:nvPr/>
        </p:nvCxnSpPr>
        <p:spPr>
          <a:xfrm flipH="1">
            <a:off x="3799591" y="5060596"/>
            <a:ext cx="8028491" cy="0"/>
          </a:xfrm>
          <a:prstGeom prst="line">
            <a:avLst/>
          </a:prstGeom>
          <a:noFill/>
          <a:ln w="22225" cap="flat" cmpd="sng" algn="ctr">
            <a:solidFill>
              <a:srgbClr val="BBBEC2"/>
            </a:solidFill>
            <a:prstDash val="solid"/>
            <a:headEnd type="none" w="med" len="med"/>
            <a:tailEnd type="none" w="med" len="med"/>
          </a:ln>
          <a:effectLst/>
        </p:spPr>
      </p:cxn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446044" y="2360415"/>
            <a:ext cx="3210911"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9">
            <a:extLst>
              <a:ext uri="{FF2B5EF4-FFF2-40B4-BE49-F238E27FC236}">
                <a16:creationId xmlns:a16="http://schemas.microsoft.com/office/drawing/2014/main" id="{B5E97CED-32F9-49E1-BFC4-D1EF7075A5A3}"/>
              </a:ext>
            </a:extLst>
          </p:cNvPr>
          <p:cNvSpPr>
            <a:spLocks/>
          </p:cNvSpPr>
          <p:nvPr/>
        </p:nvSpPr>
        <p:spPr>
          <a:xfrm flipH="1">
            <a:off x="446044" y="3286189"/>
            <a:ext cx="3210911"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79">
            <a:extLst>
              <a:ext uri="{FF2B5EF4-FFF2-40B4-BE49-F238E27FC236}">
                <a16:creationId xmlns:a16="http://schemas.microsoft.com/office/drawing/2014/main" id="{E331A474-6A18-43F5-8EF1-5B965B703DE4}"/>
              </a:ext>
            </a:extLst>
          </p:cNvPr>
          <p:cNvSpPr>
            <a:spLocks/>
          </p:cNvSpPr>
          <p:nvPr/>
        </p:nvSpPr>
        <p:spPr>
          <a:xfrm flipH="1">
            <a:off x="446044" y="4211963"/>
            <a:ext cx="3210911"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79">
            <a:extLst>
              <a:ext uri="{FF2B5EF4-FFF2-40B4-BE49-F238E27FC236}">
                <a16:creationId xmlns:a16="http://schemas.microsoft.com/office/drawing/2014/main" id="{0CEE150D-6A88-41BB-A667-607C23C778CA}"/>
              </a:ext>
            </a:extLst>
          </p:cNvPr>
          <p:cNvSpPr>
            <a:spLocks/>
          </p:cNvSpPr>
          <p:nvPr/>
        </p:nvSpPr>
        <p:spPr>
          <a:xfrm flipH="1">
            <a:off x="452587" y="5137736"/>
            <a:ext cx="3204368"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7" name="Straight Connector 63">
            <a:extLst>
              <a:ext uri="{FF2B5EF4-FFF2-40B4-BE49-F238E27FC236}">
                <a16:creationId xmlns:a16="http://schemas.microsoft.com/office/drawing/2014/main" id="{F169EBE5-B5EC-4E98-8275-F52E1D07C1CC}"/>
              </a:ext>
            </a:extLst>
          </p:cNvPr>
          <p:cNvCxnSpPr>
            <a:cxnSpLocks/>
          </p:cNvCxnSpPr>
          <p:nvPr/>
        </p:nvCxnSpPr>
        <p:spPr>
          <a:xfrm flipH="1" flipV="1">
            <a:off x="559338" y="3209049"/>
            <a:ext cx="3097618" cy="2796"/>
          </a:xfrm>
          <a:prstGeom prst="line">
            <a:avLst/>
          </a:prstGeom>
          <a:noFill/>
          <a:ln w="22225" cap="flat" cmpd="sng" algn="ctr">
            <a:solidFill>
              <a:srgbClr val="BBBEC2"/>
            </a:solidFill>
            <a:prstDash val="solid"/>
            <a:headEnd type="none" w="med" len="med"/>
            <a:tailEnd type="none" w="med" len="med"/>
          </a:ln>
          <a:effectLst/>
        </p:spPr>
      </p:cxnSp>
      <p:cxnSp>
        <p:nvCxnSpPr>
          <p:cNvPr id="48" name="Straight Connector 63">
            <a:extLst>
              <a:ext uri="{FF2B5EF4-FFF2-40B4-BE49-F238E27FC236}">
                <a16:creationId xmlns:a16="http://schemas.microsoft.com/office/drawing/2014/main" id="{8E343190-4F5F-4A60-B7C7-46E9A56CC6B1}"/>
              </a:ext>
            </a:extLst>
          </p:cNvPr>
          <p:cNvCxnSpPr>
            <a:cxnSpLocks/>
          </p:cNvCxnSpPr>
          <p:nvPr/>
        </p:nvCxnSpPr>
        <p:spPr>
          <a:xfrm flipH="1">
            <a:off x="559338" y="4134823"/>
            <a:ext cx="3097618" cy="0"/>
          </a:xfrm>
          <a:prstGeom prst="line">
            <a:avLst/>
          </a:prstGeom>
          <a:noFill/>
          <a:ln w="22225" cap="flat" cmpd="sng" algn="ctr">
            <a:solidFill>
              <a:srgbClr val="BBBEC2"/>
            </a:solidFill>
            <a:prstDash val="solid"/>
            <a:headEnd type="none" w="med" len="med"/>
            <a:tailEnd type="none" w="med" len="med"/>
          </a:ln>
          <a:effectLst/>
        </p:spPr>
      </p:cxnSp>
      <p:cxnSp>
        <p:nvCxnSpPr>
          <p:cNvPr id="49" name="Straight Connector 63">
            <a:extLst>
              <a:ext uri="{FF2B5EF4-FFF2-40B4-BE49-F238E27FC236}">
                <a16:creationId xmlns:a16="http://schemas.microsoft.com/office/drawing/2014/main" id="{03F4D5E4-AA3A-4BF8-9B96-93B66FF88329}"/>
              </a:ext>
            </a:extLst>
          </p:cNvPr>
          <p:cNvCxnSpPr>
            <a:cxnSpLocks/>
          </p:cNvCxnSpPr>
          <p:nvPr/>
        </p:nvCxnSpPr>
        <p:spPr>
          <a:xfrm flipH="1">
            <a:off x="559338" y="5060596"/>
            <a:ext cx="3097618" cy="0"/>
          </a:xfrm>
          <a:prstGeom prst="line">
            <a:avLst/>
          </a:prstGeom>
          <a:noFill/>
          <a:ln w="22225" cap="flat" cmpd="sng" algn="ctr">
            <a:solidFill>
              <a:srgbClr val="BBBEC2"/>
            </a:solidFill>
            <a:prstDash val="solid"/>
            <a:headEnd type="none" w="med" len="med"/>
            <a:tailEnd type="none" w="med" len="med"/>
          </a:ln>
          <a:effectLst/>
        </p:spPr>
      </p:cxnSp>
    </p:spTree>
    <p:extLst>
      <p:ext uri="{BB962C8B-B14F-4D97-AF65-F5344CB8AC3E}">
        <p14:creationId xmlns:p14="http://schemas.microsoft.com/office/powerpoint/2010/main" val="34605286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61BFC0A1-4866-48FF-AB8E-B2C744A75143}"/>
              </a:ext>
            </a:extLst>
          </p:cNvPr>
          <p:cNvGrpSpPr/>
          <p:nvPr/>
        </p:nvGrpSpPr>
        <p:grpSpPr>
          <a:xfrm>
            <a:off x="365682" y="1919786"/>
            <a:ext cx="3456001" cy="1414642"/>
            <a:chOff x="381374" y="1919786"/>
            <a:chExt cx="3456001" cy="1414642"/>
          </a:xfrm>
        </p:grpSpPr>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flipV="1">
              <a:off x="381375" y="2232749"/>
              <a:ext cx="3456000" cy="1"/>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381375" y="1919786"/>
              <a:ext cx="3456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0" name="Rectangle 29">
              <a:extLst>
                <a:ext uri="{FF2B5EF4-FFF2-40B4-BE49-F238E27FC236}">
                  <a16:creationId xmlns:a16="http://schemas.microsoft.com/office/drawing/2014/main" id="{15DBA3C0-2FF4-4FBD-87F8-B1F1D6BF60DE}"/>
                </a:ext>
              </a:extLst>
            </p:cNvPr>
            <p:cNvSpPr/>
            <p:nvPr/>
          </p:nvSpPr>
          <p:spPr>
            <a:xfrm>
              <a:off x="381374" y="2371087"/>
              <a:ext cx="3456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6" name="Group 15">
            <a:extLst>
              <a:ext uri="{FF2B5EF4-FFF2-40B4-BE49-F238E27FC236}">
                <a16:creationId xmlns:a16="http://schemas.microsoft.com/office/drawing/2014/main" id="{61E3F304-E5FE-4C2D-BB30-98A3874D5BF6}"/>
              </a:ext>
            </a:extLst>
          </p:cNvPr>
          <p:cNvGrpSpPr/>
          <p:nvPr/>
        </p:nvGrpSpPr>
        <p:grpSpPr>
          <a:xfrm>
            <a:off x="8372082" y="1919786"/>
            <a:ext cx="3456000" cy="3960834"/>
            <a:chOff x="8372082" y="1919786"/>
            <a:chExt cx="3456000" cy="3960834"/>
          </a:xfrm>
        </p:grpSpPr>
        <p:sp>
          <p:nvSpPr>
            <p:cNvPr id="27" name="Rectangle 26">
              <a:extLst>
                <a:ext uri="{FF2B5EF4-FFF2-40B4-BE49-F238E27FC236}">
                  <a16:creationId xmlns:a16="http://schemas.microsoft.com/office/drawing/2014/main" id="{18E07C0B-ED5D-4CD9-A0D5-292C49BF143D}"/>
                </a:ext>
              </a:extLst>
            </p:cNvPr>
            <p:cNvSpPr/>
            <p:nvPr/>
          </p:nvSpPr>
          <p:spPr>
            <a:xfrm>
              <a:off x="8372082" y="2243635"/>
              <a:ext cx="3456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8372082" y="2232750"/>
              <a:ext cx="3456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372082" y="1919786"/>
              <a:ext cx="3456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10" name="Gruppieren 9">
            <a:extLst>
              <a:ext uri="{FF2B5EF4-FFF2-40B4-BE49-F238E27FC236}">
                <a16:creationId xmlns:a16="http://schemas.microsoft.com/office/drawing/2014/main" id="{9152D313-FC83-43A6-888D-B7457A7EE90B}"/>
              </a:ext>
            </a:extLst>
          </p:cNvPr>
          <p:cNvGrpSpPr/>
          <p:nvPr/>
        </p:nvGrpSpPr>
        <p:grpSpPr>
          <a:xfrm>
            <a:off x="3912403" y="2049869"/>
            <a:ext cx="365760" cy="365760"/>
            <a:chOff x="3739678" y="1998573"/>
            <a:chExt cx="457200" cy="468351"/>
          </a:xfrm>
        </p:grpSpPr>
        <p:sp>
          <p:nvSpPr>
            <p:cNvPr id="4" name="Flussdiagramm: Verbinder 3">
              <a:extLst>
                <a:ext uri="{FF2B5EF4-FFF2-40B4-BE49-F238E27FC236}">
                  <a16:creationId xmlns:a16="http://schemas.microsoft.com/office/drawing/2014/main" id="{391B5958-9F04-4EDE-A4B4-E5E918DF0DDD}"/>
                </a:ext>
              </a:extLst>
            </p:cNvPr>
            <p:cNvSpPr/>
            <p:nvPr/>
          </p:nvSpPr>
          <p:spPr>
            <a:xfrm>
              <a:off x="3739678" y="1998573"/>
              <a:ext cx="457200" cy="468351"/>
            </a:xfrm>
            <a:prstGeom prst="flowChartConnector">
              <a:avLst/>
            </a:prstGeom>
            <a:solidFill>
              <a:srgbClr val="BBBE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b="1">
                <a:solidFill>
                  <a:srgbClr val="004149"/>
                </a:solidFill>
              </a:endParaRPr>
            </a:p>
          </p:txBody>
        </p:sp>
        <p:sp>
          <p:nvSpPr>
            <p:cNvPr id="11" name="Additionszeichen 10">
              <a:extLst>
                <a:ext uri="{FF2B5EF4-FFF2-40B4-BE49-F238E27FC236}">
                  <a16:creationId xmlns:a16="http://schemas.microsoft.com/office/drawing/2014/main" id="{FDB8481D-E5A6-4A18-B9ED-17C251C39C0D}"/>
                </a:ext>
              </a:extLst>
            </p:cNvPr>
            <p:cNvSpPr/>
            <p:nvPr/>
          </p:nvSpPr>
          <p:spPr>
            <a:xfrm>
              <a:off x="3831118" y="209558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 name="Gruppieren 8">
            <a:extLst>
              <a:ext uri="{FF2B5EF4-FFF2-40B4-BE49-F238E27FC236}">
                <a16:creationId xmlns:a16="http://schemas.microsoft.com/office/drawing/2014/main" id="{5BBFEBF3-E9E6-4AA5-A74A-C45BDA18E9F0}"/>
              </a:ext>
            </a:extLst>
          </p:cNvPr>
          <p:cNvGrpSpPr/>
          <p:nvPr/>
        </p:nvGrpSpPr>
        <p:grpSpPr>
          <a:xfrm>
            <a:off x="7915604" y="2049869"/>
            <a:ext cx="365760" cy="365760"/>
            <a:chOff x="7633607" y="1998573"/>
            <a:chExt cx="457200" cy="468351"/>
          </a:xfrm>
        </p:grpSpPr>
        <p:sp>
          <p:nvSpPr>
            <p:cNvPr id="24" name="Flussdiagramm: Verbinder 23">
              <a:extLst>
                <a:ext uri="{FF2B5EF4-FFF2-40B4-BE49-F238E27FC236}">
                  <a16:creationId xmlns:a16="http://schemas.microsoft.com/office/drawing/2014/main" id="{1E126728-A011-43A8-8BAD-326910790244}"/>
                </a:ext>
              </a:extLst>
            </p:cNvPr>
            <p:cNvSpPr/>
            <p:nvPr/>
          </p:nvSpPr>
          <p:spPr>
            <a:xfrm>
              <a:off x="7633607" y="1998573"/>
              <a:ext cx="457200" cy="468351"/>
            </a:xfrm>
            <a:prstGeom prst="flowChartConnector">
              <a:avLst/>
            </a:prstGeom>
            <a:solidFill>
              <a:srgbClr val="BBBE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b="1">
                <a:solidFill>
                  <a:srgbClr val="004149"/>
                </a:solidFill>
              </a:endParaRPr>
            </a:p>
          </p:txBody>
        </p:sp>
        <p:sp>
          <p:nvSpPr>
            <p:cNvPr id="12" name="Gleich 11">
              <a:extLst>
                <a:ext uri="{FF2B5EF4-FFF2-40B4-BE49-F238E27FC236}">
                  <a16:creationId xmlns:a16="http://schemas.microsoft.com/office/drawing/2014/main" id="{98FC18F6-EF61-4576-B960-D1F9BEADC981}"/>
                </a:ext>
              </a:extLst>
            </p:cNvPr>
            <p:cNvSpPr/>
            <p:nvPr/>
          </p:nvSpPr>
          <p:spPr>
            <a:xfrm>
              <a:off x="7725047" y="2095588"/>
              <a:ext cx="274320" cy="274320"/>
            </a:xfrm>
            <a:prstGeom prst="mathEqual">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6" name="Group 25">
            <a:extLst>
              <a:ext uri="{FF2B5EF4-FFF2-40B4-BE49-F238E27FC236}">
                <a16:creationId xmlns:a16="http://schemas.microsoft.com/office/drawing/2014/main" id="{AB30E084-0790-4481-8E54-D7455D7B504D}"/>
              </a:ext>
            </a:extLst>
          </p:cNvPr>
          <p:cNvGrpSpPr/>
          <p:nvPr/>
        </p:nvGrpSpPr>
        <p:grpSpPr>
          <a:xfrm>
            <a:off x="4368883" y="1919786"/>
            <a:ext cx="3456001" cy="1414642"/>
            <a:chOff x="381374" y="1919786"/>
            <a:chExt cx="3456001" cy="1414642"/>
          </a:xfrm>
        </p:grpSpPr>
        <p:sp>
          <p:nvSpPr>
            <p:cNvPr id="28" name="Line 2">
              <a:extLst>
                <a:ext uri="{FF2B5EF4-FFF2-40B4-BE49-F238E27FC236}">
                  <a16:creationId xmlns:a16="http://schemas.microsoft.com/office/drawing/2014/main" id="{718509BB-8B2C-4A1B-AAC5-2920D7ADDBF4}"/>
                </a:ext>
              </a:extLst>
            </p:cNvPr>
            <p:cNvSpPr>
              <a:spLocks noChangeShapeType="1"/>
            </p:cNvSpPr>
            <p:nvPr/>
          </p:nvSpPr>
          <p:spPr bwMode="auto">
            <a:xfrm flipV="1">
              <a:off x="381375" y="2232749"/>
              <a:ext cx="3456000" cy="1"/>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9" name="Text 15">
              <a:extLst>
                <a:ext uri="{FF2B5EF4-FFF2-40B4-BE49-F238E27FC236}">
                  <a16:creationId xmlns:a16="http://schemas.microsoft.com/office/drawing/2014/main" id="{22BD91B1-EB71-412C-9763-94DB9D898AF9}"/>
                </a:ext>
              </a:extLst>
            </p:cNvPr>
            <p:cNvSpPr>
              <a:spLocks noChangeArrowheads="1"/>
            </p:cNvSpPr>
            <p:nvPr/>
          </p:nvSpPr>
          <p:spPr bwMode="auto">
            <a:xfrm>
              <a:off x="381375" y="1919786"/>
              <a:ext cx="3456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1" name="Rectangle 30">
              <a:extLst>
                <a:ext uri="{FF2B5EF4-FFF2-40B4-BE49-F238E27FC236}">
                  <a16:creationId xmlns:a16="http://schemas.microsoft.com/office/drawing/2014/main" id="{2EBEDA18-A15B-4E15-98EB-2E5B26EB09F9}"/>
                </a:ext>
              </a:extLst>
            </p:cNvPr>
            <p:cNvSpPr/>
            <p:nvPr/>
          </p:nvSpPr>
          <p:spPr>
            <a:xfrm>
              <a:off x="381374" y="2371087"/>
              <a:ext cx="3456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36675980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65682" y="6028266"/>
            <a:ext cx="11460635" cy="221803"/>
          </a:xfrm>
        </p:spPr>
        <p:txBody>
          <a:bodyPr/>
          <a:lstStyle/>
          <a:p>
            <a:endParaRPr lang="en-GB"/>
          </a:p>
        </p:txBody>
      </p:sp>
      <p:grpSp>
        <p:nvGrpSpPr>
          <p:cNvPr id="5" name="Group 4">
            <a:extLst>
              <a:ext uri="{FF2B5EF4-FFF2-40B4-BE49-F238E27FC236}">
                <a16:creationId xmlns:a16="http://schemas.microsoft.com/office/drawing/2014/main" id="{EC776D66-D05C-4638-A155-80E8F24E7112}"/>
              </a:ext>
            </a:extLst>
          </p:cNvPr>
          <p:cNvGrpSpPr/>
          <p:nvPr/>
        </p:nvGrpSpPr>
        <p:grpSpPr>
          <a:xfrm>
            <a:off x="9416082" y="1919786"/>
            <a:ext cx="2412000" cy="3960834"/>
            <a:chOff x="9114488" y="1919786"/>
            <a:chExt cx="2412000" cy="3960834"/>
          </a:xfrm>
        </p:grpSpPr>
        <p:sp>
          <p:nvSpPr>
            <p:cNvPr id="31" name="Rectangle 30">
              <a:extLst>
                <a:ext uri="{FF2B5EF4-FFF2-40B4-BE49-F238E27FC236}">
                  <a16:creationId xmlns:a16="http://schemas.microsoft.com/office/drawing/2014/main" id="{07A5CE6E-2E06-4F50-BBD4-71D07DF34A91}"/>
                </a:ext>
              </a:extLst>
            </p:cNvPr>
            <p:cNvSpPr/>
            <p:nvPr/>
          </p:nvSpPr>
          <p:spPr>
            <a:xfrm>
              <a:off x="9114488" y="2243635"/>
              <a:ext cx="2412000" cy="363698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9114488" y="2243636"/>
              <a:ext cx="2412000" cy="0"/>
            </a:xfrm>
            <a:prstGeom prst="line">
              <a:avLst/>
            </a:prstGeom>
            <a:noFill/>
            <a:ln w="22225">
              <a:solidFill>
                <a:schemeClr val="bg1">
                  <a:lumMod val="50000"/>
                </a:schemeClr>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9114488" y="1919786"/>
              <a:ext cx="2412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grpSp>
      <p:grpSp>
        <p:nvGrpSpPr>
          <p:cNvPr id="4" name="Group 3">
            <a:extLst>
              <a:ext uri="{FF2B5EF4-FFF2-40B4-BE49-F238E27FC236}">
                <a16:creationId xmlns:a16="http://schemas.microsoft.com/office/drawing/2014/main" id="{FD217A07-65CC-44F0-9928-3BD8E64FBA14}"/>
              </a:ext>
            </a:extLst>
          </p:cNvPr>
          <p:cNvGrpSpPr/>
          <p:nvPr/>
        </p:nvGrpSpPr>
        <p:grpSpPr>
          <a:xfrm>
            <a:off x="365682" y="1919786"/>
            <a:ext cx="2412001" cy="1414642"/>
            <a:chOff x="381374" y="1919786"/>
            <a:chExt cx="2412001" cy="1414642"/>
          </a:xfrm>
        </p:grpSpPr>
        <p:sp>
          <p:nvSpPr>
            <p:cNvPr id="35" name="Line 2">
              <a:extLst>
                <a:ext uri="{FF2B5EF4-FFF2-40B4-BE49-F238E27FC236}">
                  <a16:creationId xmlns:a16="http://schemas.microsoft.com/office/drawing/2014/main" id="{7767474B-09D8-4A97-8C6D-520C81A719FE}"/>
                </a:ext>
              </a:extLst>
            </p:cNvPr>
            <p:cNvSpPr>
              <a:spLocks noChangeShapeType="1"/>
            </p:cNvSpPr>
            <p:nvPr/>
          </p:nvSpPr>
          <p:spPr bwMode="auto">
            <a:xfrm>
              <a:off x="381375" y="2243636"/>
              <a:ext cx="2412000" cy="0"/>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6" name="Text 15">
              <a:extLst>
                <a:ext uri="{FF2B5EF4-FFF2-40B4-BE49-F238E27FC236}">
                  <a16:creationId xmlns:a16="http://schemas.microsoft.com/office/drawing/2014/main" id="{6D47CD8E-5C18-4DB0-A86E-956EC6247BD7}"/>
                </a:ext>
              </a:extLst>
            </p:cNvPr>
            <p:cNvSpPr>
              <a:spLocks noChangeArrowheads="1"/>
            </p:cNvSpPr>
            <p:nvPr/>
          </p:nvSpPr>
          <p:spPr bwMode="auto">
            <a:xfrm>
              <a:off x="381375" y="1919786"/>
              <a:ext cx="2412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7" name="Rectangle 29">
              <a:extLst>
                <a:ext uri="{FF2B5EF4-FFF2-40B4-BE49-F238E27FC236}">
                  <a16:creationId xmlns:a16="http://schemas.microsoft.com/office/drawing/2014/main" id="{816A0B4A-A6E7-48D4-8189-3D3C99BD09AB}"/>
                </a:ext>
              </a:extLst>
            </p:cNvPr>
            <p:cNvSpPr/>
            <p:nvPr/>
          </p:nvSpPr>
          <p:spPr>
            <a:xfrm>
              <a:off x="381374" y="2371087"/>
              <a:ext cx="2412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5" name="Gruppieren 44">
            <a:extLst>
              <a:ext uri="{FF2B5EF4-FFF2-40B4-BE49-F238E27FC236}">
                <a16:creationId xmlns:a16="http://schemas.microsoft.com/office/drawing/2014/main" id="{1DD2DDBA-B690-486F-BAE9-F539D463DE71}"/>
              </a:ext>
            </a:extLst>
          </p:cNvPr>
          <p:cNvGrpSpPr/>
          <p:nvPr/>
        </p:nvGrpSpPr>
        <p:grpSpPr>
          <a:xfrm>
            <a:off x="2897202" y="2067047"/>
            <a:ext cx="365760" cy="365760"/>
            <a:chOff x="3739678" y="1998573"/>
            <a:chExt cx="457200" cy="468351"/>
          </a:xfrm>
        </p:grpSpPr>
        <p:sp>
          <p:nvSpPr>
            <p:cNvPr id="46" name="Flussdiagramm: Verbinder 45">
              <a:extLst>
                <a:ext uri="{FF2B5EF4-FFF2-40B4-BE49-F238E27FC236}">
                  <a16:creationId xmlns:a16="http://schemas.microsoft.com/office/drawing/2014/main" id="{EFE18955-DEA6-48D7-A52A-20662D36ADF4}"/>
                </a:ext>
              </a:extLst>
            </p:cNvPr>
            <p:cNvSpPr/>
            <p:nvPr/>
          </p:nvSpPr>
          <p:spPr>
            <a:xfrm>
              <a:off x="3739678" y="1998573"/>
              <a:ext cx="457200" cy="468351"/>
            </a:xfrm>
            <a:prstGeom prst="flowChartConnector">
              <a:avLst/>
            </a:prstGeom>
            <a:solidFill>
              <a:srgbClr val="BBBE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b="1">
                <a:solidFill>
                  <a:srgbClr val="004149"/>
                </a:solidFill>
              </a:endParaRPr>
            </a:p>
          </p:txBody>
        </p:sp>
        <p:sp>
          <p:nvSpPr>
            <p:cNvPr id="47" name="Additionszeichen 46">
              <a:extLst>
                <a:ext uri="{FF2B5EF4-FFF2-40B4-BE49-F238E27FC236}">
                  <a16:creationId xmlns:a16="http://schemas.microsoft.com/office/drawing/2014/main" id="{3DFDB106-E8F0-437B-9ED2-5C51941C0EEF}"/>
                </a:ext>
              </a:extLst>
            </p:cNvPr>
            <p:cNvSpPr/>
            <p:nvPr/>
          </p:nvSpPr>
          <p:spPr>
            <a:xfrm>
              <a:off x="3831118" y="209558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1" name="Gruppieren 50">
            <a:extLst>
              <a:ext uri="{FF2B5EF4-FFF2-40B4-BE49-F238E27FC236}">
                <a16:creationId xmlns:a16="http://schemas.microsoft.com/office/drawing/2014/main" id="{502C4A87-8FD4-4750-B5DE-6547F98E19BA}"/>
              </a:ext>
            </a:extLst>
          </p:cNvPr>
          <p:cNvGrpSpPr/>
          <p:nvPr/>
        </p:nvGrpSpPr>
        <p:grpSpPr>
          <a:xfrm>
            <a:off x="8930800" y="2067047"/>
            <a:ext cx="365760" cy="365760"/>
            <a:chOff x="7633607" y="1998573"/>
            <a:chExt cx="457200" cy="468351"/>
          </a:xfrm>
        </p:grpSpPr>
        <p:sp>
          <p:nvSpPr>
            <p:cNvPr id="52" name="Flussdiagramm: Verbinder 51">
              <a:extLst>
                <a:ext uri="{FF2B5EF4-FFF2-40B4-BE49-F238E27FC236}">
                  <a16:creationId xmlns:a16="http://schemas.microsoft.com/office/drawing/2014/main" id="{34CA6A48-509E-4595-9E08-408566D52B0F}"/>
                </a:ext>
              </a:extLst>
            </p:cNvPr>
            <p:cNvSpPr/>
            <p:nvPr/>
          </p:nvSpPr>
          <p:spPr>
            <a:xfrm>
              <a:off x="7633607" y="1998573"/>
              <a:ext cx="457200" cy="468351"/>
            </a:xfrm>
            <a:prstGeom prst="flowChartConnector">
              <a:avLst/>
            </a:prstGeom>
            <a:solidFill>
              <a:srgbClr val="BBBE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b="1">
                <a:solidFill>
                  <a:srgbClr val="004149"/>
                </a:solidFill>
              </a:endParaRPr>
            </a:p>
          </p:txBody>
        </p:sp>
        <p:sp>
          <p:nvSpPr>
            <p:cNvPr id="53" name="Gleich 52">
              <a:extLst>
                <a:ext uri="{FF2B5EF4-FFF2-40B4-BE49-F238E27FC236}">
                  <a16:creationId xmlns:a16="http://schemas.microsoft.com/office/drawing/2014/main" id="{CBD50483-59E9-46EB-B6CE-F35FBF130B40}"/>
                </a:ext>
              </a:extLst>
            </p:cNvPr>
            <p:cNvSpPr/>
            <p:nvPr/>
          </p:nvSpPr>
          <p:spPr>
            <a:xfrm>
              <a:off x="7725047" y="2095588"/>
              <a:ext cx="274320" cy="274320"/>
            </a:xfrm>
            <a:prstGeom prst="mathEqual">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34" name="Gruppieren 44">
            <a:extLst>
              <a:ext uri="{FF2B5EF4-FFF2-40B4-BE49-F238E27FC236}">
                <a16:creationId xmlns:a16="http://schemas.microsoft.com/office/drawing/2014/main" id="{1E88B076-0DDB-4FA9-8E63-FEFB84A091C2}"/>
              </a:ext>
            </a:extLst>
          </p:cNvPr>
          <p:cNvGrpSpPr/>
          <p:nvPr/>
        </p:nvGrpSpPr>
        <p:grpSpPr>
          <a:xfrm>
            <a:off x="5914001" y="2067047"/>
            <a:ext cx="365760" cy="365760"/>
            <a:chOff x="3739678" y="1998573"/>
            <a:chExt cx="457200" cy="468351"/>
          </a:xfrm>
        </p:grpSpPr>
        <p:sp>
          <p:nvSpPr>
            <p:cNvPr id="38" name="Flussdiagramm: Verbinder 45">
              <a:extLst>
                <a:ext uri="{FF2B5EF4-FFF2-40B4-BE49-F238E27FC236}">
                  <a16:creationId xmlns:a16="http://schemas.microsoft.com/office/drawing/2014/main" id="{E804398E-F195-425B-8C2F-333C42F6B031}"/>
                </a:ext>
              </a:extLst>
            </p:cNvPr>
            <p:cNvSpPr/>
            <p:nvPr/>
          </p:nvSpPr>
          <p:spPr>
            <a:xfrm>
              <a:off x="3739678" y="1998573"/>
              <a:ext cx="457200" cy="468351"/>
            </a:xfrm>
            <a:prstGeom prst="flowChartConnector">
              <a:avLst/>
            </a:prstGeom>
            <a:solidFill>
              <a:srgbClr val="BBBEC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400" b="1">
                <a:solidFill>
                  <a:srgbClr val="004149"/>
                </a:solidFill>
              </a:endParaRPr>
            </a:p>
          </p:txBody>
        </p:sp>
        <p:sp>
          <p:nvSpPr>
            <p:cNvPr id="39" name="Additionszeichen 46">
              <a:extLst>
                <a:ext uri="{FF2B5EF4-FFF2-40B4-BE49-F238E27FC236}">
                  <a16:creationId xmlns:a16="http://schemas.microsoft.com/office/drawing/2014/main" id="{43849993-DF9D-497E-8AAE-0C34637808AD}"/>
                </a:ext>
              </a:extLst>
            </p:cNvPr>
            <p:cNvSpPr/>
            <p:nvPr/>
          </p:nvSpPr>
          <p:spPr>
            <a:xfrm>
              <a:off x="3831118" y="209558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0" name="Group 39">
            <a:extLst>
              <a:ext uri="{FF2B5EF4-FFF2-40B4-BE49-F238E27FC236}">
                <a16:creationId xmlns:a16="http://schemas.microsoft.com/office/drawing/2014/main" id="{D2FB4015-3E1D-4B9E-BB07-00FE377E280E}"/>
              </a:ext>
            </a:extLst>
          </p:cNvPr>
          <p:cNvGrpSpPr/>
          <p:nvPr/>
        </p:nvGrpSpPr>
        <p:grpSpPr>
          <a:xfrm>
            <a:off x="3382481" y="1919786"/>
            <a:ext cx="2412001" cy="1414642"/>
            <a:chOff x="381374" y="1919786"/>
            <a:chExt cx="2412001" cy="1414642"/>
          </a:xfrm>
        </p:grpSpPr>
        <p:sp>
          <p:nvSpPr>
            <p:cNvPr id="44" name="Line 2">
              <a:extLst>
                <a:ext uri="{FF2B5EF4-FFF2-40B4-BE49-F238E27FC236}">
                  <a16:creationId xmlns:a16="http://schemas.microsoft.com/office/drawing/2014/main" id="{38445533-72E0-418B-BDC2-02CDFF29729C}"/>
                </a:ext>
              </a:extLst>
            </p:cNvPr>
            <p:cNvSpPr>
              <a:spLocks noChangeShapeType="1"/>
            </p:cNvSpPr>
            <p:nvPr/>
          </p:nvSpPr>
          <p:spPr bwMode="auto">
            <a:xfrm>
              <a:off x="381375" y="2243636"/>
              <a:ext cx="2412000" cy="0"/>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54" name="Text 15">
              <a:extLst>
                <a:ext uri="{FF2B5EF4-FFF2-40B4-BE49-F238E27FC236}">
                  <a16:creationId xmlns:a16="http://schemas.microsoft.com/office/drawing/2014/main" id="{7A18B4D3-52F6-4C41-94D6-090962D309A5}"/>
                </a:ext>
              </a:extLst>
            </p:cNvPr>
            <p:cNvSpPr>
              <a:spLocks noChangeArrowheads="1"/>
            </p:cNvSpPr>
            <p:nvPr/>
          </p:nvSpPr>
          <p:spPr bwMode="auto">
            <a:xfrm>
              <a:off x="381375" y="1919786"/>
              <a:ext cx="2412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5" name="Rectangle 29">
              <a:extLst>
                <a:ext uri="{FF2B5EF4-FFF2-40B4-BE49-F238E27FC236}">
                  <a16:creationId xmlns:a16="http://schemas.microsoft.com/office/drawing/2014/main" id="{78781F0C-00FE-4AB5-9EAB-42093CBDEAF1}"/>
                </a:ext>
              </a:extLst>
            </p:cNvPr>
            <p:cNvSpPr/>
            <p:nvPr/>
          </p:nvSpPr>
          <p:spPr>
            <a:xfrm>
              <a:off x="381374" y="2371087"/>
              <a:ext cx="2412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56" name="Group 55">
            <a:extLst>
              <a:ext uri="{FF2B5EF4-FFF2-40B4-BE49-F238E27FC236}">
                <a16:creationId xmlns:a16="http://schemas.microsoft.com/office/drawing/2014/main" id="{8C1ABCBC-F42D-4C2F-8866-5A1C241EBC9F}"/>
              </a:ext>
            </a:extLst>
          </p:cNvPr>
          <p:cNvGrpSpPr/>
          <p:nvPr/>
        </p:nvGrpSpPr>
        <p:grpSpPr>
          <a:xfrm>
            <a:off x="6399280" y="1919786"/>
            <a:ext cx="2412001" cy="1414642"/>
            <a:chOff x="381374" y="1919786"/>
            <a:chExt cx="2412001" cy="1414642"/>
          </a:xfrm>
        </p:grpSpPr>
        <p:sp>
          <p:nvSpPr>
            <p:cNvPr id="57" name="Line 2">
              <a:extLst>
                <a:ext uri="{FF2B5EF4-FFF2-40B4-BE49-F238E27FC236}">
                  <a16:creationId xmlns:a16="http://schemas.microsoft.com/office/drawing/2014/main" id="{2A41D14E-8D65-477E-BA8E-FECF77E358F5}"/>
                </a:ext>
              </a:extLst>
            </p:cNvPr>
            <p:cNvSpPr>
              <a:spLocks noChangeShapeType="1"/>
            </p:cNvSpPr>
            <p:nvPr/>
          </p:nvSpPr>
          <p:spPr bwMode="auto">
            <a:xfrm>
              <a:off x="381375" y="2243636"/>
              <a:ext cx="2412000" cy="0"/>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58" name="Text 15">
              <a:extLst>
                <a:ext uri="{FF2B5EF4-FFF2-40B4-BE49-F238E27FC236}">
                  <a16:creationId xmlns:a16="http://schemas.microsoft.com/office/drawing/2014/main" id="{B3F5AAAC-FD2F-4BC8-A8AE-4E3BA99F16B0}"/>
                </a:ext>
              </a:extLst>
            </p:cNvPr>
            <p:cNvSpPr>
              <a:spLocks noChangeArrowheads="1"/>
            </p:cNvSpPr>
            <p:nvPr/>
          </p:nvSpPr>
          <p:spPr bwMode="auto">
            <a:xfrm>
              <a:off x="381375" y="1919786"/>
              <a:ext cx="2412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9" name="Rectangle 29">
              <a:extLst>
                <a:ext uri="{FF2B5EF4-FFF2-40B4-BE49-F238E27FC236}">
                  <a16:creationId xmlns:a16="http://schemas.microsoft.com/office/drawing/2014/main" id="{57F2CF49-8EFF-414A-ABDF-BE55152136FF}"/>
                </a:ext>
              </a:extLst>
            </p:cNvPr>
            <p:cNvSpPr/>
            <p:nvPr/>
          </p:nvSpPr>
          <p:spPr>
            <a:xfrm>
              <a:off x="381374" y="2371087"/>
              <a:ext cx="2412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129903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bLeanShape Left Angle 27">
            <a:extLst>
              <a:ext uri="{FF2B5EF4-FFF2-40B4-BE49-F238E27FC236}">
                <a16:creationId xmlns:a16="http://schemas.microsoft.com/office/drawing/2014/main" id="{B83B93DE-B537-4998-A6C7-E21DF23BC487}"/>
              </a:ext>
            </a:extLst>
          </p:cNvPr>
          <p:cNvSpPr/>
          <p:nvPr/>
        </p:nvSpPr>
        <p:spPr>
          <a:xfrm>
            <a:off x="365681" y="2253683"/>
            <a:ext cx="3418422" cy="3668299"/>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cxnSp>
        <p:nvCxnSpPr>
          <p:cNvPr id="23" name="Straight Connector 63">
            <a:extLst>
              <a:ext uri="{FF2B5EF4-FFF2-40B4-BE49-F238E27FC236}">
                <a16:creationId xmlns:a16="http://schemas.microsoft.com/office/drawing/2014/main" id="{F155906D-D7CE-4B7F-A8B1-82D841B813DC}"/>
              </a:ext>
            </a:extLst>
          </p:cNvPr>
          <p:cNvCxnSpPr>
            <a:cxnSpLocks/>
          </p:cNvCxnSpPr>
          <p:nvPr/>
        </p:nvCxnSpPr>
        <p:spPr>
          <a:xfrm flipV="1">
            <a:off x="3910249" y="2243349"/>
            <a:ext cx="7916068" cy="6409"/>
          </a:xfrm>
          <a:prstGeom prst="line">
            <a:avLst/>
          </a:prstGeom>
          <a:noFill/>
          <a:ln w="22225" cap="flat" cmpd="sng" algn="ctr">
            <a:solidFill>
              <a:srgbClr val="BBBEC2"/>
            </a:solidFill>
            <a:prstDash val="solid"/>
            <a:headEnd type="none" w="med" len="med"/>
            <a:tailEnd type="none" w="med" len="med"/>
          </a:ln>
          <a:effectLst/>
        </p:spPr>
      </p:cxnSp>
      <p:sp>
        <p:nvSpPr>
          <p:cNvPr id="36" name="Rectangle 78">
            <a:extLst>
              <a:ext uri="{FF2B5EF4-FFF2-40B4-BE49-F238E27FC236}">
                <a16:creationId xmlns:a16="http://schemas.microsoft.com/office/drawing/2014/main" id="{48BD0EFB-69A7-41CB-8F34-D400709B3115}"/>
              </a:ext>
            </a:extLst>
          </p:cNvPr>
          <p:cNvSpPr/>
          <p:nvPr/>
        </p:nvSpPr>
        <p:spPr>
          <a:xfrm>
            <a:off x="365681" y="1944935"/>
            <a:ext cx="3350909"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Results</a:t>
            </a:r>
            <a:endParaRPr lang="en-GB" b="1" kern="0">
              <a:latin typeface="Arial" panose="020B0604020202020204" pitchFamily="34" charset="0"/>
              <a:cs typeface="Arial" panose="020B0604020202020204" pitchFamily="34" charset="0"/>
            </a:endParaRPr>
          </a:p>
        </p:txBody>
      </p:sp>
      <p:sp>
        <p:nvSpPr>
          <p:cNvPr id="24" name="Rectangle 78">
            <a:extLst>
              <a:ext uri="{FF2B5EF4-FFF2-40B4-BE49-F238E27FC236}">
                <a16:creationId xmlns:a16="http://schemas.microsoft.com/office/drawing/2014/main" id="{792C299D-691E-4DD8-9FD9-A48E58DB20E8}"/>
              </a:ext>
            </a:extLst>
          </p:cNvPr>
          <p:cNvSpPr/>
          <p:nvPr/>
        </p:nvSpPr>
        <p:spPr>
          <a:xfrm>
            <a:off x="3910249" y="1944935"/>
            <a:ext cx="7916068"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Header</a:t>
            </a:r>
            <a:endParaRPr lang="en-GB" b="1" kern="0">
              <a:latin typeface="Arial" panose="020B0604020202020204" pitchFamily="34" charset="0"/>
              <a:cs typeface="Arial" panose="020B0604020202020204" pitchFamily="34" charset="0"/>
            </a:endParaRPr>
          </a:p>
        </p:txBody>
      </p:sp>
      <p:sp>
        <p:nvSpPr>
          <p:cNvPr id="30" name="Rectangle 79">
            <a:extLst>
              <a:ext uri="{FF2B5EF4-FFF2-40B4-BE49-F238E27FC236}">
                <a16:creationId xmlns:a16="http://schemas.microsoft.com/office/drawing/2014/main" id="{D449C2A3-FFA6-4E37-BB67-8CD75B242904}"/>
              </a:ext>
            </a:extLst>
          </p:cNvPr>
          <p:cNvSpPr>
            <a:spLocks/>
          </p:cNvSpPr>
          <p:nvPr/>
        </p:nvSpPr>
        <p:spPr>
          <a:xfrm flipH="1">
            <a:off x="3921085" y="2331815"/>
            <a:ext cx="7574562"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Rectangle 79">
            <a:extLst>
              <a:ext uri="{FF2B5EF4-FFF2-40B4-BE49-F238E27FC236}">
                <a16:creationId xmlns:a16="http://schemas.microsoft.com/office/drawing/2014/main" id="{70E4F909-F57F-4766-BA9E-85FF61912910}"/>
              </a:ext>
            </a:extLst>
          </p:cNvPr>
          <p:cNvSpPr>
            <a:spLocks/>
          </p:cNvSpPr>
          <p:nvPr/>
        </p:nvSpPr>
        <p:spPr>
          <a:xfrm flipH="1">
            <a:off x="3921082" y="5109136"/>
            <a:ext cx="7574565"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3" name="Straight Connector 63">
            <a:extLst>
              <a:ext uri="{FF2B5EF4-FFF2-40B4-BE49-F238E27FC236}">
                <a16:creationId xmlns:a16="http://schemas.microsoft.com/office/drawing/2014/main" id="{E7FD1BC5-9871-4FC4-BED4-EF17CEEBF24A}"/>
              </a:ext>
            </a:extLst>
          </p:cNvPr>
          <p:cNvCxnSpPr>
            <a:cxnSpLocks/>
          </p:cNvCxnSpPr>
          <p:nvPr/>
        </p:nvCxnSpPr>
        <p:spPr>
          <a:xfrm flipH="1">
            <a:off x="3910248" y="3190281"/>
            <a:ext cx="7918704" cy="0"/>
          </a:xfrm>
          <a:prstGeom prst="line">
            <a:avLst/>
          </a:prstGeom>
          <a:noFill/>
          <a:ln w="22225" cap="flat" cmpd="sng" algn="ctr">
            <a:solidFill>
              <a:srgbClr val="BBBEC2"/>
            </a:solidFill>
            <a:prstDash val="solid"/>
            <a:headEnd type="none" w="med" len="med"/>
            <a:tailEnd type="none" w="med" len="med"/>
          </a:ln>
          <a:effectLst/>
        </p:spPr>
      </p:cxnSp>
      <p:cxnSp>
        <p:nvCxnSpPr>
          <p:cNvPr id="44" name="Straight Connector 63">
            <a:extLst>
              <a:ext uri="{FF2B5EF4-FFF2-40B4-BE49-F238E27FC236}">
                <a16:creationId xmlns:a16="http://schemas.microsoft.com/office/drawing/2014/main" id="{1DEFEE18-1595-4223-B0FC-EB01DB2B0609}"/>
              </a:ext>
            </a:extLst>
          </p:cNvPr>
          <p:cNvCxnSpPr>
            <a:cxnSpLocks/>
          </p:cNvCxnSpPr>
          <p:nvPr/>
        </p:nvCxnSpPr>
        <p:spPr>
          <a:xfrm flipH="1">
            <a:off x="3910249" y="4106223"/>
            <a:ext cx="7918704" cy="0"/>
          </a:xfrm>
          <a:prstGeom prst="line">
            <a:avLst/>
          </a:prstGeom>
          <a:noFill/>
          <a:ln w="22225" cap="flat" cmpd="sng" algn="ctr">
            <a:solidFill>
              <a:srgbClr val="BBBEC2"/>
            </a:solidFill>
            <a:prstDash val="solid"/>
            <a:headEnd type="none" w="med" len="med"/>
            <a:tailEnd type="none" w="med" len="med"/>
          </a:ln>
          <a:effectLst/>
        </p:spPr>
      </p:cxnSp>
      <p:cxnSp>
        <p:nvCxnSpPr>
          <p:cNvPr id="46" name="Straight Connector 63">
            <a:extLst>
              <a:ext uri="{FF2B5EF4-FFF2-40B4-BE49-F238E27FC236}">
                <a16:creationId xmlns:a16="http://schemas.microsoft.com/office/drawing/2014/main" id="{F99EEFBB-541B-47E1-8E71-8D2E8E2D679F}"/>
              </a:ext>
            </a:extLst>
          </p:cNvPr>
          <p:cNvCxnSpPr>
            <a:cxnSpLocks/>
          </p:cNvCxnSpPr>
          <p:nvPr/>
        </p:nvCxnSpPr>
        <p:spPr>
          <a:xfrm flipH="1">
            <a:off x="3910249" y="5031996"/>
            <a:ext cx="7918704" cy="0"/>
          </a:xfrm>
          <a:prstGeom prst="line">
            <a:avLst/>
          </a:prstGeom>
          <a:noFill/>
          <a:ln w="22225" cap="flat" cmpd="sng" algn="ctr">
            <a:solidFill>
              <a:srgbClr val="BBBEC2"/>
            </a:solidFill>
            <a:prstDash val="solid"/>
            <a:headEnd type="none" w="med" len="med"/>
            <a:tailEnd type="none" w="med" len="med"/>
          </a:ln>
          <a:effectLst/>
        </p:spPr>
      </p:cxn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365681" y="2331815"/>
            <a:ext cx="3291274"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9">
            <a:extLst>
              <a:ext uri="{FF2B5EF4-FFF2-40B4-BE49-F238E27FC236}">
                <a16:creationId xmlns:a16="http://schemas.microsoft.com/office/drawing/2014/main" id="{B5E97CED-32F9-49E1-BFC4-D1EF7075A5A3}"/>
              </a:ext>
            </a:extLst>
          </p:cNvPr>
          <p:cNvSpPr>
            <a:spLocks/>
          </p:cNvSpPr>
          <p:nvPr/>
        </p:nvSpPr>
        <p:spPr>
          <a:xfrm flipH="1">
            <a:off x="365681" y="3257589"/>
            <a:ext cx="3291274"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1" name="Rectangle 79">
            <a:extLst>
              <a:ext uri="{FF2B5EF4-FFF2-40B4-BE49-F238E27FC236}">
                <a16:creationId xmlns:a16="http://schemas.microsoft.com/office/drawing/2014/main" id="{E331A474-6A18-43F5-8EF1-5B965B703DE4}"/>
              </a:ext>
            </a:extLst>
          </p:cNvPr>
          <p:cNvSpPr>
            <a:spLocks/>
          </p:cNvSpPr>
          <p:nvPr/>
        </p:nvSpPr>
        <p:spPr>
          <a:xfrm flipH="1">
            <a:off x="365681" y="4183363"/>
            <a:ext cx="3291274"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79">
            <a:extLst>
              <a:ext uri="{FF2B5EF4-FFF2-40B4-BE49-F238E27FC236}">
                <a16:creationId xmlns:a16="http://schemas.microsoft.com/office/drawing/2014/main" id="{0CEE150D-6A88-41BB-A667-607C23C778CA}"/>
              </a:ext>
            </a:extLst>
          </p:cNvPr>
          <p:cNvSpPr>
            <a:spLocks/>
          </p:cNvSpPr>
          <p:nvPr/>
        </p:nvSpPr>
        <p:spPr>
          <a:xfrm flipH="1">
            <a:off x="372388" y="5109136"/>
            <a:ext cx="3284567"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47" name="Straight Connector 63">
            <a:extLst>
              <a:ext uri="{FF2B5EF4-FFF2-40B4-BE49-F238E27FC236}">
                <a16:creationId xmlns:a16="http://schemas.microsoft.com/office/drawing/2014/main" id="{F169EBE5-B5EC-4E98-8275-F52E1D07C1CC}"/>
              </a:ext>
            </a:extLst>
          </p:cNvPr>
          <p:cNvCxnSpPr>
            <a:cxnSpLocks/>
          </p:cNvCxnSpPr>
          <p:nvPr/>
        </p:nvCxnSpPr>
        <p:spPr>
          <a:xfrm flipH="1">
            <a:off x="357481" y="3183245"/>
            <a:ext cx="3299476" cy="0"/>
          </a:xfrm>
          <a:prstGeom prst="line">
            <a:avLst/>
          </a:prstGeom>
          <a:noFill/>
          <a:ln w="22225" cap="flat" cmpd="sng" algn="ctr">
            <a:solidFill>
              <a:srgbClr val="BBBEC2"/>
            </a:solidFill>
            <a:prstDash val="solid"/>
            <a:headEnd type="none" w="med" len="med"/>
            <a:tailEnd type="none" w="med" len="med"/>
          </a:ln>
          <a:effectLst/>
        </p:spPr>
      </p:cxnSp>
      <p:cxnSp>
        <p:nvCxnSpPr>
          <p:cNvPr id="48" name="Straight Connector 63">
            <a:extLst>
              <a:ext uri="{FF2B5EF4-FFF2-40B4-BE49-F238E27FC236}">
                <a16:creationId xmlns:a16="http://schemas.microsoft.com/office/drawing/2014/main" id="{8E343190-4F5F-4A60-B7C7-46E9A56CC6B1}"/>
              </a:ext>
            </a:extLst>
          </p:cNvPr>
          <p:cNvCxnSpPr>
            <a:cxnSpLocks/>
          </p:cNvCxnSpPr>
          <p:nvPr/>
        </p:nvCxnSpPr>
        <p:spPr>
          <a:xfrm flipH="1">
            <a:off x="357480" y="4106223"/>
            <a:ext cx="3299476" cy="0"/>
          </a:xfrm>
          <a:prstGeom prst="line">
            <a:avLst/>
          </a:prstGeom>
          <a:noFill/>
          <a:ln w="22225" cap="flat" cmpd="sng" algn="ctr">
            <a:solidFill>
              <a:srgbClr val="BBBEC2"/>
            </a:solidFill>
            <a:prstDash val="solid"/>
            <a:headEnd type="none" w="med" len="med"/>
            <a:tailEnd type="none" w="med" len="med"/>
          </a:ln>
          <a:effectLst/>
        </p:spPr>
      </p:cxnSp>
      <p:cxnSp>
        <p:nvCxnSpPr>
          <p:cNvPr id="49" name="Straight Connector 63">
            <a:extLst>
              <a:ext uri="{FF2B5EF4-FFF2-40B4-BE49-F238E27FC236}">
                <a16:creationId xmlns:a16="http://schemas.microsoft.com/office/drawing/2014/main" id="{03F4D5E4-AA3A-4BF8-9B96-93B66FF88329}"/>
              </a:ext>
            </a:extLst>
          </p:cNvPr>
          <p:cNvCxnSpPr>
            <a:cxnSpLocks/>
          </p:cNvCxnSpPr>
          <p:nvPr/>
        </p:nvCxnSpPr>
        <p:spPr>
          <a:xfrm flipH="1">
            <a:off x="357480" y="5031996"/>
            <a:ext cx="3299476" cy="0"/>
          </a:xfrm>
          <a:prstGeom prst="line">
            <a:avLst/>
          </a:prstGeom>
          <a:noFill/>
          <a:ln w="22225" cap="flat" cmpd="sng" algn="ctr">
            <a:solidFill>
              <a:srgbClr val="BBBEC2"/>
            </a:solidFill>
            <a:prstDash val="solid"/>
            <a:headEnd type="none" w="med" len="med"/>
            <a:tailEnd type="none" w="med" len="med"/>
          </a:ln>
          <a:effectLst/>
        </p:spPr>
      </p:cxnSp>
      <p:grpSp>
        <p:nvGrpSpPr>
          <p:cNvPr id="56" name="Gruppieren 55">
            <a:extLst>
              <a:ext uri="{FF2B5EF4-FFF2-40B4-BE49-F238E27FC236}">
                <a16:creationId xmlns:a16="http://schemas.microsoft.com/office/drawing/2014/main" id="{81E75C82-3325-485B-8052-FA01AE8A04C8}"/>
              </a:ext>
            </a:extLst>
          </p:cNvPr>
          <p:cNvGrpSpPr/>
          <p:nvPr/>
        </p:nvGrpSpPr>
        <p:grpSpPr>
          <a:xfrm>
            <a:off x="3599358" y="3841320"/>
            <a:ext cx="364853" cy="493024"/>
            <a:chOff x="4217198" y="2116023"/>
            <a:chExt cx="364853" cy="493024"/>
          </a:xfrm>
        </p:grpSpPr>
        <p:sp>
          <p:nvSpPr>
            <p:cNvPr id="57" name="Rechteck 56">
              <a:extLst>
                <a:ext uri="{FF2B5EF4-FFF2-40B4-BE49-F238E27FC236}">
                  <a16:creationId xmlns:a16="http://schemas.microsoft.com/office/drawing/2014/main" id="{3EE8A2B6-9E2E-4C72-807D-95676B7810D4}"/>
                </a:ext>
              </a:extLst>
            </p:cNvPr>
            <p:cNvSpPr/>
            <p:nvPr/>
          </p:nvSpPr>
          <p:spPr>
            <a:xfrm>
              <a:off x="4217198" y="2116023"/>
              <a:ext cx="364853" cy="493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8" name="Group 32">
              <a:extLst>
                <a:ext uri="{FF2B5EF4-FFF2-40B4-BE49-F238E27FC236}">
                  <a16:creationId xmlns:a16="http://schemas.microsoft.com/office/drawing/2014/main" id="{190A537B-BD19-4D3F-AD4B-AC35A63CE1AC}"/>
                </a:ext>
              </a:extLst>
            </p:cNvPr>
            <p:cNvGrpSpPr/>
            <p:nvPr/>
          </p:nvGrpSpPr>
          <p:grpSpPr>
            <a:xfrm>
              <a:off x="4217198" y="2167259"/>
              <a:ext cx="364853" cy="381000"/>
              <a:chOff x="5175849" y="2051321"/>
              <a:chExt cx="448205" cy="381000"/>
            </a:xfrm>
          </p:grpSpPr>
          <p:sp>
            <p:nvSpPr>
              <p:cNvPr id="59" name="Chevron 18">
                <a:extLst>
                  <a:ext uri="{FF2B5EF4-FFF2-40B4-BE49-F238E27FC236}">
                    <a16:creationId xmlns:a16="http://schemas.microsoft.com/office/drawing/2014/main" id="{DBDDECF1-AF3A-4D9E-A73E-9334CC22E576}"/>
                  </a:ext>
                </a:extLst>
              </p:cNvPr>
              <p:cNvSpPr/>
              <p:nvPr/>
            </p:nvSpPr>
            <p:spPr>
              <a:xfrm>
                <a:off x="5344124" y="2051321"/>
                <a:ext cx="279930" cy="381000"/>
              </a:xfrm>
              <a:prstGeom prst="chevron">
                <a:avLst/>
              </a:prstGeom>
              <a:solidFill>
                <a:srgbClr val="004149"/>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sp>
            <p:nvSpPr>
              <p:cNvPr id="60" name="Chevron 59">
                <a:extLst>
                  <a:ext uri="{FF2B5EF4-FFF2-40B4-BE49-F238E27FC236}">
                    <a16:creationId xmlns:a16="http://schemas.microsoft.com/office/drawing/2014/main" id="{22FE064F-8E46-49F7-813B-5B77FD477085}"/>
                  </a:ext>
                </a:extLst>
              </p:cNvPr>
              <p:cNvSpPr/>
              <p:nvPr/>
            </p:nvSpPr>
            <p:spPr>
              <a:xfrm>
                <a:off x="5175849" y="2051321"/>
                <a:ext cx="279930" cy="381000"/>
              </a:xfrm>
              <a:prstGeom prst="chevron">
                <a:avLst/>
              </a:prstGeom>
              <a:solidFill>
                <a:srgbClr val="8D8EA7"/>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grpSp>
      </p:grpSp>
      <p:sp>
        <p:nvSpPr>
          <p:cNvPr id="31" name="Rectangle 79">
            <a:extLst>
              <a:ext uri="{FF2B5EF4-FFF2-40B4-BE49-F238E27FC236}">
                <a16:creationId xmlns:a16="http://schemas.microsoft.com/office/drawing/2014/main" id="{9E605FCC-6AF9-4065-8110-B0FBAF8F9562}"/>
              </a:ext>
            </a:extLst>
          </p:cNvPr>
          <p:cNvSpPr>
            <a:spLocks/>
          </p:cNvSpPr>
          <p:nvPr/>
        </p:nvSpPr>
        <p:spPr>
          <a:xfrm flipH="1">
            <a:off x="3921084" y="3257589"/>
            <a:ext cx="7574563"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ectangle 79">
            <a:extLst>
              <a:ext uri="{FF2B5EF4-FFF2-40B4-BE49-F238E27FC236}">
                <a16:creationId xmlns:a16="http://schemas.microsoft.com/office/drawing/2014/main" id="{78FFD5BD-C314-4D72-979D-E9F81DAF0F44}"/>
              </a:ext>
            </a:extLst>
          </p:cNvPr>
          <p:cNvSpPr>
            <a:spLocks/>
          </p:cNvSpPr>
          <p:nvPr/>
        </p:nvSpPr>
        <p:spPr>
          <a:xfrm flipH="1">
            <a:off x="3921083" y="4183363"/>
            <a:ext cx="7574564"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18975626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DF4E55-54C1-4CB7-8FC1-7511399B0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30" name="Rectangle 29">
            <a:extLst>
              <a:ext uri="{FF2B5EF4-FFF2-40B4-BE49-F238E27FC236}">
                <a16:creationId xmlns:a16="http://schemas.microsoft.com/office/drawing/2014/main" id="{B10BB6A8-7CE3-44A6-AF5F-7E3AEFA2C9C3}"/>
              </a:ext>
            </a:extLst>
          </p:cNvPr>
          <p:cNvSpPr/>
          <p:nvPr/>
        </p:nvSpPr>
        <p:spPr>
          <a:xfrm>
            <a:off x="7894236" y="1902058"/>
            <a:ext cx="3931200" cy="3996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0" lvl="3" fontAlgn="base">
              <a:lnSpc>
                <a:spcPct val="90000"/>
              </a:lnSpc>
              <a:spcBef>
                <a:spcPts val="181"/>
              </a:spcBef>
              <a:spcAft>
                <a:spcPct val="0"/>
              </a:spcAft>
              <a:buClr>
                <a:srgbClr val="A2A2A2"/>
              </a:buClr>
              <a:buSzPct val="100000"/>
              <a:defRPr/>
            </a:pPr>
            <a:endParaRPr lang="en-GB" sz="1600">
              <a:solidFill>
                <a:schemeClr val="tx1"/>
              </a:solidFill>
            </a:endParaRP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52" name="Text 15">
            <a:extLst>
              <a:ext uri="{FF2B5EF4-FFF2-40B4-BE49-F238E27FC236}">
                <a16:creationId xmlns:a16="http://schemas.microsoft.com/office/drawing/2014/main" id="{D3AA8195-0D65-4330-B88C-63D3191B267E}"/>
              </a:ext>
            </a:extLst>
          </p:cNvPr>
          <p:cNvSpPr>
            <a:spLocks noChangeArrowheads="1"/>
          </p:cNvSpPr>
          <p:nvPr/>
        </p:nvSpPr>
        <p:spPr bwMode="auto">
          <a:xfrm>
            <a:off x="7944351" y="1905607"/>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41" name="Rectangle 40">
            <a:extLst>
              <a:ext uri="{FF2B5EF4-FFF2-40B4-BE49-F238E27FC236}">
                <a16:creationId xmlns:a16="http://schemas.microsoft.com/office/drawing/2014/main" id="{26E43F7D-E1BC-4B2B-A4D2-CAF370AF8369}"/>
              </a:ext>
            </a:extLst>
          </p:cNvPr>
          <p:cNvSpPr/>
          <p:nvPr/>
        </p:nvSpPr>
        <p:spPr>
          <a:xfrm>
            <a:off x="961605" y="2341010"/>
            <a:ext cx="6058624"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BContent19">
            <a:extLst>
              <a:ext uri="{FF2B5EF4-FFF2-40B4-BE49-F238E27FC236}">
                <a16:creationId xmlns:a16="http://schemas.microsoft.com/office/drawing/2014/main" id="{45A12B0F-8499-4973-AAFA-7EC5C23EC6E2}"/>
              </a:ext>
            </a:extLst>
          </p:cNvPr>
          <p:cNvSpPr txBox="1"/>
          <p:nvPr/>
        </p:nvSpPr>
        <p:spPr>
          <a:xfrm>
            <a:off x="365682" y="2331352"/>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1</a:t>
            </a:r>
          </a:p>
        </p:txBody>
      </p:sp>
      <p:sp>
        <p:nvSpPr>
          <p:cNvPr id="27" name="Rectangle 26">
            <a:extLst>
              <a:ext uri="{FF2B5EF4-FFF2-40B4-BE49-F238E27FC236}">
                <a16:creationId xmlns:a16="http://schemas.microsoft.com/office/drawing/2014/main" id="{86A119C4-0E66-4A20-ADDE-0352809C6389}"/>
              </a:ext>
            </a:extLst>
          </p:cNvPr>
          <p:cNvSpPr/>
          <p:nvPr/>
        </p:nvSpPr>
        <p:spPr>
          <a:xfrm>
            <a:off x="961604" y="3565220"/>
            <a:ext cx="6058624"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8" name="RBContent19">
            <a:extLst>
              <a:ext uri="{FF2B5EF4-FFF2-40B4-BE49-F238E27FC236}">
                <a16:creationId xmlns:a16="http://schemas.microsoft.com/office/drawing/2014/main" id="{E7345B2B-FA16-485A-852B-C9C507082EA4}"/>
              </a:ext>
            </a:extLst>
          </p:cNvPr>
          <p:cNvSpPr txBox="1"/>
          <p:nvPr/>
        </p:nvSpPr>
        <p:spPr>
          <a:xfrm>
            <a:off x="365682" y="3555562"/>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2</a:t>
            </a:r>
          </a:p>
        </p:txBody>
      </p:sp>
      <p:sp>
        <p:nvSpPr>
          <p:cNvPr id="31" name="Rectangle 30">
            <a:extLst>
              <a:ext uri="{FF2B5EF4-FFF2-40B4-BE49-F238E27FC236}">
                <a16:creationId xmlns:a16="http://schemas.microsoft.com/office/drawing/2014/main" id="{60C16A55-C126-4F57-BC88-D6357D2B3E7C}"/>
              </a:ext>
            </a:extLst>
          </p:cNvPr>
          <p:cNvSpPr/>
          <p:nvPr/>
        </p:nvSpPr>
        <p:spPr>
          <a:xfrm>
            <a:off x="961604" y="4779772"/>
            <a:ext cx="6058624" cy="1018740"/>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BContent19">
            <a:extLst>
              <a:ext uri="{FF2B5EF4-FFF2-40B4-BE49-F238E27FC236}">
                <a16:creationId xmlns:a16="http://schemas.microsoft.com/office/drawing/2014/main" id="{D17A9E1D-FB1A-4F2F-97B9-C53CDB1943D0}"/>
              </a:ext>
            </a:extLst>
          </p:cNvPr>
          <p:cNvSpPr txBox="1"/>
          <p:nvPr/>
        </p:nvSpPr>
        <p:spPr>
          <a:xfrm>
            <a:off x="365682" y="4779772"/>
            <a:ext cx="482735" cy="830997"/>
          </a:xfrm>
          <a:prstGeom prst="rect">
            <a:avLst/>
          </a:prstGeom>
          <a:no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6000" b="1" i="0" u="none" strike="noStrike" kern="0" cap="none" spc="0" normalizeH="0" baseline="0" noProof="0">
                <a:ln>
                  <a:noFill/>
                </a:ln>
                <a:solidFill>
                  <a:srgbClr val="8D8EA7"/>
                </a:solidFill>
                <a:effectLst/>
                <a:uLnTx/>
                <a:uFillTx/>
                <a:latin typeface="+mj-lt"/>
              </a:rPr>
              <a:t>3</a:t>
            </a:r>
          </a:p>
        </p:txBody>
      </p:sp>
      <p:cxnSp>
        <p:nvCxnSpPr>
          <p:cNvPr id="21" name="Straight Connector 63">
            <a:extLst>
              <a:ext uri="{FF2B5EF4-FFF2-40B4-BE49-F238E27FC236}">
                <a16:creationId xmlns:a16="http://schemas.microsoft.com/office/drawing/2014/main" id="{F2025425-7466-41FD-877B-FD3B7D75C269}"/>
              </a:ext>
            </a:extLst>
          </p:cNvPr>
          <p:cNvCxnSpPr>
            <a:cxnSpLocks/>
          </p:cNvCxnSpPr>
          <p:nvPr/>
        </p:nvCxnSpPr>
        <p:spPr>
          <a:xfrm>
            <a:off x="365681" y="3457656"/>
            <a:ext cx="7077338" cy="0"/>
          </a:xfrm>
          <a:prstGeom prst="line">
            <a:avLst/>
          </a:prstGeom>
          <a:noFill/>
          <a:ln w="22225" cap="flat" cmpd="sng" algn="ctr">
            <a:solidFill>
              <a:srgbClr val="BBBEC2"/>
            </a:solidFill>
            <a:prstDash val="solid"/>
          </a:ln>
          <a:effectLst/>
        </p:spPr>
      </p:cxnSp>
      <p:cxnSp>
        <p:nvCxnSpPr>
          <p:cNvPr id="22" name="Straight Connector 65">
            <a:extLst>
              <a:ext uri="{FF2B5EF4-FFF2-40B4-BE49-F238E27FC236}">
                <a16:creationId xmlns:a16="http://schemas.microsoft.com/office/drawing/2014/main" id="{9B84BDC1-DCB1-4053-868A-D4450BB2292B}"/>
              </a:ext>
            </a:extLst>
          </p:cNvPr>
          <p:cNvCxnSpPr>
            <a:cxnSpLocks/>
          </p:cNvCxnSpPr>
          <p:nvPr/>
        </p:nvCxnSpPr>
        <p:spPr>
          <a:xfrm>
            <a:off x="365681" y="4681866"/>
            <a:ext cx="7077338" cy="0"/>
          </a:xfrm>
          <a:prstGeom prst="line">
            <a:avLst/>
          </a:prstGeom>
          <a:noFill/>
          <a:ln w="22225" cap="flat" cmpd="sng" algn="ctr">
            <a:solidFill>
              <a:srgbClr val="BBBEC2"/>
            </a:solidFill>
            <a:prstDash val="solid"/>
          </a:ln>
          <a:effectLst/>
        </p:spPr>
      </p:cxnSp>
      <p:sp>
        <p:nvSpPr>
          <p:cNvPr id="59" name="RbLeanShape Left Angle 27">
            <a:extLst>
              <a:ext uri="{FF2B5EF4-FFF2-40B4-BE49-F238E27FC236}">
                <a16:creationId xmlns:a16="http://schemas.microsoft.com/office/drawing/2014/main" id="{CFB52F31-331B-4E50-A50C-61C1A0730ACF}"/>
              </a:ext>
            </a:extLst>
          </p:cNvPr>
          <p:cNvSpPr/>
          <p:nvPr/>
        </p:nvSpPr>
        <p:spPr>
          <a:xfrm>
            <a:off x="363042" y="2233446"/>
            <a:ext cx="7320863" cy="366297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8" name="Rectangle 78">
            <a:extLst>
              <a:ext uri="{FF2B5EF4-FFF2-40B4-BE49-F238E27FC236}">
                <a16:creationId xmlns:a16="http://schemas.microsoft.com/office/drawing/2014/main" id="{10C33408-BC1A-4312-98F0-C95239179DED}"/>
              </a:ext>
            </a:extLst>
          </p:cNvPr>
          <p:cNvSpPr/>
          <p:nvPr/>
        </p:nvSpPr>
        <p:spPr>
          <a:xfrm>
            <a:off x="365680" y="1947486"/>
            <a:ext cx="73224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Header</a:t>
            </a:r>
            <a:endParaRPr lang="en-GB" b="1" kern="0">
              <a:latin typeface="Arial" panose="020B0604020202020204" pitchFamily="34" charset="0"/>
              <a:cs typeface="Arial" panose="020B0604020202020204" pitchFamily="34" charset="0"/>
            </a:endParaRPr>
          </a:p>
        </p:txBody>
      </p:sp>
      <p:sp>
        <p:nvSpPr>
          <p:cNvPr id="47" name="Rechteck 46">
            <a:extLst>
              <a:ext uri="{FF2B5EF4-FFF2-40B4-BE49-F238E27FC236}">
                <a16:creationId xmlns:a16="http://schemas.microsoft.com/office/drawing/2014/main" id="{82764658-A385-4151-84B8-1AF471B41440}"/>
              </a:ext>
            </a:extLst>
          </p:cNvPr>
          <p:cNvSpPr/>
          <p:nvPr/>
        </p:nvSpPr>
        <p:spPr>
          <a:xfrm>
            <a:off x="7501479" y="3785425"/>
            <a:ext cx="364853" cy="493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32">
            <a:extLst>
              <a:ext uri="{FF2B5EF4-FFF2-40B4-BE49-F238E27FC236}">
                <a16:creationId xmlns:a16="http://schemas.microsoft.com/office/drawing/2014/main" id="{52AB999F-F3C1-4B4D-B095-A057D8A16E47}"/>
              </a:ext>
            </a:extLst>
          </p:cNvPr>
          <p:cNvGrpSpPr/>
          <p:nvPr/>
        </p:nvGrpSpPr>
        <p:grpSpPr>
          <a:xfrm>
            <a:off x="7501479" y="3836661"/>
            <a:ext cx="364853" cy="381000"/>
            <a:chOff x="5175849" y="2051321"/>
            <a:chExt cx="448205" cy="381000"/>
          </a:xfrm>
        </p:grpSpPr>
        <p:sp>
          <p:nvSpPr>
            <p:cNvPr id="49" name="Chevron 18">
              <a:extLst>
                <a:ext uri="{FF2B5EF4-FFF2-40B4-BE49-F238E27FC236}">
                  <a16:creationId xmlns:a16="http://schemas.microsoft.com/office/drawing/2014/main" id="{6B5EA68E-E6E8-4353-BB9E-C248CEC52ED7}"/>
                </a:ext>
              </a:extLst>
            </p:cNvPr>
            <p:cNvSpPr/>
            <p:nvPr/>
          </p:nvSpPr>
          <p:spPr>
            <a:xfrm>
              <a:off x="5344124" y="2051321"/>
              <a:ext cx="279930" cy="381000"/>
            </a:xfrm>
            <a:prstGeom prst="chevron">
              <a:avLst/>
            </a:prstGeom>
            <a:solidFill>
              <a:srgbClr val="004149"/>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sp>
          <p:nvSpPr>
            <p:cNvPr id="50" name="Chevron 59">
              <a:extLst>
                <a:ext uri="{FF2B5EF4-FFF2-40B4-BE49-F238E27FC236}">
                  <a16:creationId xmlns:a16="http://schemas.microsoft.com/office/drawing/2014/main" id="{3331DF9D-4BF9-4F2D-B1FE-AC5E8E4B83DA}"/>
                </a:ext>
              </a:extLst>
            </p:cNvPr>
            <p:cNvSpPr/>
            <p:nvPr/>
          </p:nvSpPr>
          <p:spPr>
            <a:xfrm>
              <a:off x="5175849" y="2051321"/>
              <a:ext cx="279930" cy="381000"/>
            </a:xfrm>
            <a:prstGeom prst="chevron">
              <a:avLst/>
            </a:prstGeom>
            <a:solidFill>
              <a:srgbClr val="8D8EA7"/>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grpSp>
    </p:spTree>
    <p:extLst>
      <p:ext uri="{BB962C8B-B14F-4D97-AF65-F5344CB8AC3E}">
        <p14:creationId xmlns:p14="http://schemas.microsoft.com/office/powerpoint/2010/main" val="20484446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80" name="Rectangle 79">
            <a:extLst>
              <a:ext uri="{FF2B5EF4-FFF2-40B4-BE49-F238E27FC236}">
                <a16:creationId xmlns:a16="http://schemas.microsoft.com/office/drawing/2014/main" id="{026C88F7-88E5-413C-A54A-C08F41752DFE}"/>
              </a:ext>
            </a:extLst>
          </p:cNvPr>
          <p:cNvSpPr>
            <a:spLocks/>
          </p:cNvSpPr>
          <p:nvPr/>
        </p:nvSpPr>
        <p:spPr>
          <a:xfrm>
            <a:off x="4302074" y="2389238"/>
            <a:ext cx="3313692"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9" name="Rectangle 78">
            <a:extLst>
              <a:ext uri="{FF2B5EF4-FFF2-40B4-BE49-F238E27FC236}">
                <a16:creationId xmlns:a16="http://schemas.microsoft.com/office/drawing/2014/main" id="{0B167CCD-B821-4A23-9FA7-556FD079928B}"/>
              </a:ext>
            </a:extLst>
          </p:cNvPr>
          <p:cNvSpPr/>
          <p:nvPr/>
        </p:nvSpPr>
        <p:spPr>
          <a:xfrm>
            <a:off x="1969408" y="2389238"/>
            <a:ext cx="2078657"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1972299" y="2915706"/>
            <a:ext cx="9855782"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a:cxnSpLocks/>
          </p:cNvCxnSpPr>
          <p:nvPr/>
        </p:nvCxnSpPr>
        <p:spPr>
          <a:xfrm>
            <a:off x="1969408" y="3726938"/>
            <a:ext cx="9858673" cy="0"/>
          </a:xfrm>
          <a:prstGeom prst="line">
            <a:avLst/>
          </a:prstGeom>
          <a:noFill/>
          <a:ln w="22225" cap="flat" cmpd="sng" algn="ctr">
            <a:solidFill>
              <a:srgbClr val="BBBEC2"/>
            </a:solidFill>
            <a:prstDash val="solid"/>
          </a:ln>
          <a:effectLst/>
        </p:spPr>
      </p:cxnSp>
      <p:sp>
        <p:nvSpPr>
          <p:cNvPr id="45" name="Rectangle 44">
            <a:extLst>
              <a:ext uri="{FF2B5EF4-FFF2-40B4-BE49-F238E27FC236}">
                <a16:creationId xmlns:a16="http://schemas.microsoft.com/office/drawing/2014/main" id="{14FF0509-190B-4556-866B-E1E7A999EEAB}"/>
              </a:ext>
            </a:extLst>
          </p:cNvPr>
          <p:cNvSpPr/>
          <p:nvPr/>
        </p:nvSpPr>
        <p:spPr>
          <a:xfrm>
            <a:off x="1969408" y="3126708"/>
            <a:ext cx="2078657"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41A248C5-B535-4E1C-82E7-48A456D99A45}"/>
              </a:ext>
            </a:extLst>
          </p:cNvPr>
          <p:cNvSpPr>
            <a:spLocks/>
          </p:cNvSpPr>
          <p:nvPr/>
        </p:nvSpPr>
        <p:spPr>
          <a:xfrm>
            <a:off x="4302074" y="3126708"/>
            <a:ext cx="3313693"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tangle 55">
            <a:extLst>
              <a:ext uri="{FF2B5EF4-FFF2-40B4-BE49-F238E27FC236}">
                <a16:creationId xmlns:a16="http://schemas.microsoft.com/office/drawing/2014/main" id="{D9FF0F48-8BA1-4352-A8D1-8CD3B18F78E0}"/>
              </a:ext>
            </a:extLst>
          </p:cNvPr>
          <p:cNvSpPr/>
          <p:nvPr/>
        </p:nvSpPr>
        <p:spPr>
          <a:xfrm>
            <a:off x="1969408" y="3864179"/>
            <a:ext cx="2078657"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3925AB3-A14F-422D-90C2-088906BB6C96}"/>
              </a:ext>
            </a:extLst>
          </p:cNvPr>
          <p:cNvSpPr>
            <a:spLocks/>
          </p:cNvSpPr>
          <p:nvPr/>
        </p:nvSpPr>
        <p:spPr>
          <a:xfrm>
            <a:off x="4302074" y="3864179"/>
            <a:ext cx="3313693"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9" name="Rectangle 28">
            <a:extLst>
              <a:ext uri="{FF2B5EF4-FFF2-40B4-BE49-F238E27FC236}">
                <a16:creationId xmlns:a16="http://schemas.microsoft.com/office/drawing/2014/main" id="{80FFF5FB-625A-4E0C-8904-A0ED96BB23E5}"/>
              </a:ext>
            </a:extLst>
          </p:cNvPr>
          <p:cNvSpPr/>
          <p:nvPr/>
        </p:nvSpPr>
        <p:spPr>
          <a:xfrm>
            <a:off x="1969408" y="4601649"/>
            <a:ext cx="2078657"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2F7D4258-5B3E-4514-880A-0C61AF2A2217}"/>
              </a:ext>
            </a:extLst>
          </p:cNvPr>
          <p:cNvSpPr>
            <a:spLocks/>
          </p:cNvSpPr>
          <p:nvPr/>
        </p:nvSpPr>
        <p:spPr>
          <a:xfrm>
            <a:off x="4302074" y="4601649"/>
            <a:ext cx="3313693"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32" name="Straight Connector 31">
            <a:extLst>
              <a:ext uri="{FF2B5EF4-FFF2-40B4-BE49-F238E27FC236}">
                <a16:creationId xmlns:a16="http://schemas.microsoft.com/office/drawing/2014/main" id="{C16093BE-8628-4D8F-A94E-A832F00D4497}"/>
              </a:ext>
            </a:extLst>
          </p:cNvPr>
          <p:cNvCxnSpPr>
            <a:cxnSpLocks/>
          </p:cNvCxnSpPr>
          <p:nvPr/>
        </p:nvCxnSpPr>
        <p:spPr>
          <a:xfrm>
            <a:off x="1969408" y="5201879"/>
            <a:ext cx="9858673" cy="0"/>
          </a:xfrm>
          <a:prstGeom prst="line">
            <a:avLst/>
          </a:prstGeom>
          <a:noFill/>
          <a:ln w="22225" cap="flat" cmpd="sng" algn="ctr">
            <a:solidFill>
              <a:srgbClr val="BBBEC2"/>
            </a:solidFill>
            <a:prstDash val="solid"/>
          </a:ln>
          <a:effectLst/>
        </p:spPr>
      </p:cxnSp>
      <p:sp>
        <p:nvSpPr>
          <p:cNvPr id="34" name="Rectangle 33">
            <a:extLst>
              <a:ext uri="{FF2B5EF4-FFF2-40B4-BE49-F238E27FC236}">
                <a16:creationId xmlns:a16="http://schemas.microsoft.com/office/drawing/2014/main" id="{C2DE51E0-FD07-4DBE-8111-753A81E1FA7A}"/>
              </a:ext>
            </a:extLst>
          </p:cNvPr>
          <p:cNvSpPr/>
          <p:nvPr/>
        </p:nvSpPr>
        <p:spPr>
          <a:xfrm>
            <a:off x="1969408" y="5339119"/>
            <a:ext cx="2078657" cy="498598"/>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Two-line chapter Heading</a:t>
            </a:r>
            <a:endParaRPr lang="en-GB" b="1" kern="0">
              <a:solidFill>
                <a:srgbClr val="000000"/>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267A3152-C9AC-4ABA-8FE4-7D8870B13CA5}"/>
              </a:ext>
            </a:extLst>
          </p:cNvPr>
          <p:cNvSpPr>
            <a:spLocks/>
          </p:cNvSpPr>
          <p:nvPr/>
        </p:nvSpPr>
        <p:spPr>
          <a:xfrm>
            <a:off x="4302074" y="5339119"/>
            <a:ext cx="3313693"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Rectangle 79">
            <a:extLst>
              <a:ext uri="{FF2B5EF4-FFF2-40B4-BE49-F238E27FC236}">
                <a16:creationId xmlns:a16="http://schemas.microsoft.com/office/drawing/2014/main" id="{B0886D96-8F2D-4766-9041-F4F4539B114F}"/>
              </a:ext>
            </a:extLst>
          </p:cNvPr>
          <p:cNvSpPr>
            <a:spLocks/>
          </p:cNvSpPr>
          <p:nvPr/>
        </p:nvSpPr>
        <p:spPr>
          <a:xfrm>
            <a:off x="8233577" y="2389238"/>
            <a:ext cx="343135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7" name="Rectangle 25">
            <a:extLst>
              <a:ext uri="{FF2B5EF4-FFF2-40B4-BE49-F238E27FC236}">
                <a16:creationId xmlns:a16="http://schemas.microsoft.com/office/drawing/2014/main" id="{B87AD252-82E5-404E-BC45-43EF17149DCD}"/>
              </a:ext>
            </a:extLst>
          </p:cNvPr>
          <p:cNvSpPr>
            <a:spLocks/>
          </p:cNvSpPr>
          <p:nvPr/>
        </p:nvSpPr>
        <p:spPr>
          <a:xfrm>
            <a:off x="8233577" y="3126708"/>
            <a:ext cx="343135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8" name="Rectangle 27">
            <a:extLst>
              <a:ext uri="{FF2B5EF4-FFF2-40B4-BE49-F238E27FC236}">
                <a16:creationId xmlns:a16="http://schemas.microsoft.com/office/drawing/2014/main" id="{9AA73236-CD7F-4677-8FC4-498D3CB3327E}"/>
              </a:ext>
            </a:extLst>
          </p:cNvPr>
          <p:cNvSpPr>
            <a:spLocks/>
          </p:cNvSpPr>
          <p:nvPr/>
        </p:nvSpPr>
        <p:spPr>
          <a:xfrm>
            <a:off x="8233577" y="3864179"/>
            <a:ext cx="343135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ectangle 30">
            <a:extLst>
              <a:ext uri="{FF2B5EF4-FFF2-40B4-BE49-F238E27FC236}">
                <a16:creationId xmlns:a16="http://schemas.microsoft.com/office/drawing/2014/main" id="{707347FE-EBFB-497D-B4F5-53CDCAEFBEC2}"/>
              </a:ext>
            </a:extLst>
          </p:cNvPr>
          <p:cNvSpPr>
            <a:spLocks/>
          </p:cNvSpPr>
          <p:nvPr/>
        </p:nvSpPr>
        <p:spPr>
          <a:xfrm>
            <a:off x="8233577" y="4601649"/>
            <a:ext cx="343135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35">
            <a:extLst>
              <a:ext uri="{FF2B5EF4-FFF2-40B4-BE49-F238E27FC236}">
                <a16:creationId xmlns:a16="http://schemas.microsoft.com/office/drawing/2014/main" id="{83FFB7FD-B308-4380-8A3B-C86CB36B55D6}"/>
              </a:ext>
            </a:extLst>
          </p:cNvPr>
          <p:cNvSpPr>
            <a:spLocks/>
          </p:cNvSpPr>
          <p:nvPr/>
        </p:nvSpPr>
        <p:spPr>
          <a:xfrm>
            <a:off x="8233577" y="5339119"/>
            <a:ext cx="3431359"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9" name="Line 2">
            <a:extLst>
              <a:ext uri="{FF2B5EF4-FFF2-40B4-BE49-F238E27FC236}">
                <a16:creationId xmlns:a16="http://schemas.microsoft.com/office/drawing/2014/main" id="{F62B0777-E303-4F37-8E34-788B2F1F182E}"/>
              </a:ext>
            </a:extLst>
          </p:cNvPr>
          <p:cNvSpPr>
            <a:spLocks noChangeShapeType="1"/>
          </p:cNvSpPr>
          <p:nvPr/>
        </p:nvSpPr>
        <p:spPr bwMode="auto">
          <a:xfrm>
            <a:off x="1801906" y="2389237"/>
            <a:ext cx="1154" cy="3491386"/>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19" name="Rechteck 18">
            <a:extLst>
              <a:ext uri="{FF2B5EF4-FFF2-40B4-BE49-F238E27FC236}">
                <a16:creationId xmlns:a16="http://schemas.microsoft.com/office/drawing/2014/main" id="{E331B699-F90F-43B9-87AD-30EA3410AEB4}"/>
              </a:ext>
            </a:extLst>
          </p:cNvPr>
          <p:cNvSpPr/>
          <p:nvPr/>
        </p:nvSpPr>
        <p:spPr>
          <a:xfrm>
            <a:off x="1696137" y="4348685"/>
            <a:ext cx="239941" cy="2314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a:extLst>
              <a:ext uri="{FF2B5EF4-FFF2-40B4-BE49-F238E27FC236}">
                <a16:creationId xmlns:a16="http://schemas.microsoft.com/office/drawing/2014/main" id="{D0CD7538-EB8C-4767-AB7D-3B144FFC874E}"/>
              </a:ext>
            </a:extLst>
          </p:cNvPr>
          <p:cNvCxnSpPr>
            <a:cxnSpLocks/>
          </p:cNvCxnSpPr>
          <p:nvPr/>
        </p:nvCxnSpPr>
        <p:spPr>
          <a:xfrm>
            <a:off x="358976" y="4464408"/>
            <a:ext cx="11464889" cy="0"/>
          </a:xfrm>
          <a:prstGeom prst="line">
            <a:avLst/>
          </a:prstGeom>
          <a:noFill/>
          <a:ln w="22225" cap="flat" cmpd="sng" algn="ctr">
            <a:solidFill>
              <a:srgbClr val="BBBEC2"/>
            </a:solidFill>
            <a:prstDash val="solid"/>
          </a:ln>
          <a:effectLst/>
        </p:spPr>
      </p:cxnSp>
      <p:sp>
        <p:nvSpPr>
          <p:cNvPr id="52" name="Text 15">
            <a:extLst>
              <a:ext uri="{FF2B5EF4-FFF2-40B4-BE49-F238E27FC236}">
                <a16:creationId xmlns:a16="http://schemas.microsoft.com/office/drawing/2014/main" id="{286F968D-5C0F-4230-A4F7-8E7655D94128}"/>
              </a:ext>
            </a:extLst>
          </p:cNvPr>
          <p:cNvSpPr>
            <a:spLocks noChangeArrowheads="1"/>
          </p:cNvSpPr>
          <p:nvPr/>
        </p:nvSpPr>
        <p:spPr bwMode="auto">
          <a:xfrm>
            <a:off x="368807" y="2389238"/>
            <a:ext cx="1433100"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Multiple-line Header</a:t>
            </a:r>
          </a:p>
        </p:txBody>
      </p:sp>
      <p:sp>
        <p:nvSpPr>
          <p:cNvPr id="53" name="Text 15">
            <a:extLst>
              <a:ext uri="{FF2B5EF4-FFF2-40B4-BE49-F238E27FC236}">
                <a16:creationId xmlns:a16="http://schemas.microsoft.com/office/drawing/2014/main" id="{994AD2BB-FB4E-437A-9098-F7558921549F}"/>
              </a:ext>
            </a:extLst>
          </p:cNvPr>
          <p:cNvSpPr>
            <a:spLocks noChangeArrowheads="1"/>
          </p:cNvSpPr>
          <p:nvPr/>
        </p:nvSpPr>
        <p:spPr bwMode="auto">
          <a:xfrm>
            <a:off x="368807" y="4601649"/>
            <a:ext cx="1433100"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Multiple-line Header</a:t>
            </a:r>
          </a:p>
        </p:txBody>
      </p:sp>
      <p:sp>
        <p:nvSpPr>
          <p:cNvPr id="81" name="Line 2">
            <a:extLst>
              <a:ext uri="{FF2B5EF4-FFF2-40B4-BE49-F238E27FC236}">
                <a16:creationId xmlns:a16="http://schemas.microsoft.com/office/drawing/2014/main" id="{EF30D2C0-F19B-47DB-AED3-20699263D662}"/>
              </a:ext>
            </a:extLst>
          </p:cNvPr>
          <p:cNvSpPr>
            <a:spLocks noChangeShapeType="1"/>
          </p:cNvSpPr>
          <p:nvPr/>
        </p:nvSpPr>
        <p:spPr bwMode="auto">
          <a:xfrm>
            <a:off x="4296000" y="2243636"/>
            <a:ext cx="3600000" cy="0"/>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82" name="Text 15">
            <a:extLst>
              <a:ext uri="{FF2B5EF4-FFF2-40B4-BE49-F238E27FC236}">
                <a16:creationId xmlns:a16="http://schemas.microsoft.com/office/drawing/2014/main" id="{05CFD1D7-13D4-4206-9AF9-0CF9951EE526}"/>
              </a:ext>
            </a:extLst>
          </p:cNvPr>
          <p:cNvSpPr>
            <a:spLocks noChangeArrowheads="1"/>
          </p:cNvSpPr>
          <p:nvPr/>
        </p:nvSpPr>
        <p:spPr bwMode="auto">
          <a:xfrm>
            <a:off x="4296000"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83" name="Line 2">
            <a:extLst>
              <a:ext uri="{FF2B5EF4-FFF2-40B4-BE49-F238E27FC236}">
                <a16:creationId xmlns:a16="http://schemas.microsoft.com/office/drawing/2014/main" id="{EFD60456-7E7E-44E8-9609-42644BA0DC29}"/>
              </a:ext>
            </a:extLst>
          </p:cNvPr>
          <p:cNvSpPr>
            <a:spLocks noChangeShapeType="1"/>
          </p:cNvSpPr>
          <p:nvPr/>
        </p:nvSpPr>
        <p:spPr bwMode="auto">
          <a:xfrm>
            <a:off x="8228082" y="2243636"/>
            <a:ext cx="3600000" cy="0"/>
          </a:xfrm>
          <a:prstGeom prst="line">
            <a:avLst/>
          </a:prstGeom>
          <a:noFill/>
          <a:ln w="22225">
            <a:solidFill>
              <a:srgbClr val="BBBEC2"/>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84" name="Text 15">
            <a:extLst>
              <a:ext uri="{FF2B5EF4-FFF2-40B4-BE49-F238E27FC236}">
                <a16:creationId xmlns:a16="http://schemas.microsoft.com/office/drawing/2014/main" id="{F0CB3340-B945-4181-AE24-25B3BD7EBEAF}"/>
              </a:ext>
            </a:extLst>
          </p:cNvPr>
          <p:cNvSpPr>
            <a:spLocks noChangeArrowheads="1"/>
          </p:cNvSpPr>
          <p:nvPr/>
        </p:nvSpPr>
        <p:spPr bwMode="auto">
          <a:xfrm>
            <a:off x="8228082"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sp>
        <p:nvSpPr>
          <p:cNvPr id="85" name="Line 2">
            <a:extLst>
              <a:ext uri="{FF2B5EF4-FFF2-40B4-BE49-F238E27FC236}">
                <a16:creationId xmlns:a16="http://schemas.microsoft.com/office/drawing/2014/main" id="{7E23E387-A26A-423C-840E-3622D655FB41}"/>
              </a:ext>
            </a:extLst>
          </p:cNvPr>
          <p:cNvSpPr>
            <a:spLocks noChangeShapeType="1"/>
          </p:cNvSpPr>
          <p:nvPr/>
        </p:nvSpPr>
        <p:spPr bwMode="auto">
          <a:xfrm flipV="1">
            <a:off x="362154" y="2243635"/>
            <a:ext cx="3651879" cy="0"/>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86" name="Text 15">
            <a:extLst>
              <a:ext uri="{FF2B5EF4-FFF2-40B4-BE49-F238E27FC236}">
                <a16:creationId xmlns:a16="http://schemas.microsoft.com/office/drawing/2014/main" id="{BE6E5113-1864-4153-986C-1E6C408CA4AA}"/>
              </a:ext>
            </a:extLst>
          </p:cNvPr>
          <p:cNvSpPr>
            <a:spLocks noChangeArrowheads="1"/>
          </p:cNvSpPr>
          <p:nvPr/>
        </p:nvSpPr>
        <p:spPr bwMode="auto">
          <a:xfrm>
            <a:off x="362154"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1" name="Content Placeholder 14">
            <a:extLst>
              <a:ext uri="{FF2B5EF4-FFF2-40B4-BE49-F238E27FC236}">
                <a16:creationId xmlns:a16="http://schemas.microsoft.com/office/drawing/2014/main" id="{EFDBC6CB-92E6-48B1-AFAF-633C5FFB36D7}"/>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52719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5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2154"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9" name="Group 8">
            <a:extLst>
              <a:ext uri="{FF2B5EF4-FFF2-40B4-BE49-F238E27FC236}">
                <a16:creationId xmlns:a16="http://schemas.microsoft.com/office/drawing/2014/main" id="{DCA1CF66-DB6B-4E7A-8D4D-2DCDEFF1CADF}"/>
              </a:ext>
            </a:extLst>
          </p:cNvPr>
          <p:cNvGrpSpPr/>
          <p:nvPr/>
        </p:nvGrpSpPr>
        <p:grpSpPr>
          <a:xfrm>
            <a:off x="8044554" y="1919786"/>
            <a:ext cx="3780000" cy="1661889"/>
            <a:chOff x="8228082" y="1919786"/>
            <a:chExt cx="3780000" cy="1661889"/>
          </a:xfrm>
        </p:grpSpPr>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a:off x="8228082" y="2243636"/>
              <a:ext cx="3780000" cy="0"/>
            </a:xfrm>
            <a:prstGeom prst="line">
              <a:avLst/>
            </a:prstGeom>
            <a:noFill/>
            <a:ln w="22225">
              <a:solidFill>
                <a:srgbClr val="BBBEC2"/>
              </a:solidFill>
              <a:round/>
              <a:headEn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228082" y="1919786"/>
              <a:ext cx="378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Results</a:t>
              </a:r>
            </a:p>
          </p:txBody>
        </p:sp>
        <p:sp>
          <p:nvSpPr>
            <p:cNvPr id="44" name="Rectangle 43">
              <a:extLst>
                <a:ext uri="{FF2B5EF4-FFF2-40B4-BE49-F238E27FC236}">
                  <a16:creationId xmlns:a16="http://schemas.microsoft.com/office/drawing/2014/main" id="{4604A0BF-FA97-4192-8FBA-2C972BC5CE45}"/>
                </a:ext>
              </a:extLst>
            </p:cNvPr>
            <p:cNvSpPr/>
            <p:nvPr/>
          </p:nvSpPr>
          <p:spPr>
            <a:xfrm>
              <a:off x="8228082" y="2371087"/>
              <a:ext cx="3780000" cy="1210588"/>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 name="Group 3">
            <a:extLst>
              <a:ext uri="{FF2B5EF4-FFF2-40B4-BE49-F238E27FC236}">
                <a16:creationId xmlns:a16="http://schemas.microsoft.com/office/drawing/2014/main" id="{295E1A10-9680-4BC9-B7DD-E83534B37E12}"/>
              </a:ext>
            </a:extLst>
          </p:cNvPr>
          <p:cNvGrpSpPr/>
          <p:nvPr/>
        </p:nvGrpSpPr>
        <p:grpSpPr>
          <a:xfrm>
            <a:off x="362152" y="1919786"/>
            <a:ext cx="3780000" cy="1661889"/>
            <a:chOff x="362152" y="1919786"/>
            <a:chExt cx="3780000" cy="1661889"/>
          </a:xfrm>
        </p:grpSpPr>
        <p:sp>
          <p:nvSpPr>
            <p:cNvPr id="30" name="Rectangle 29">
              <a:extLst>
                <a:ext uri="{FF2B5EF4-FFF2-40B4-BE49-F238E27FC236}">
                  <a16:creationId xmlns:a16="http://schemas.microsoft.com/office/drawing/2014/main" id="{15DBA3C0-2FF4-4FBD-87F8-B1F1D6BF60DE}"/>
                </a:ext>
              </a:extLst>
            </p:cNvPr>
            <p:cNvSpPr/>
            <p:nvPr/>
          </p:nvSpPr>
          <p:spPr>
            <a:xfrm>
              <a:off x="362152" y="2371087"/>
              <a:ext cx="3780000" cy="1210588"/>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1" name="Line 2">
              <a:extLst>
                <a:ext uri="{FF2B5EF4-FFF2-40B4-BE49-F238E27FC236}">
                  <a16:creationId xmlns:a16="http://schemas.microsoft.com/office/drawing/2014/main" id="{74F273A2-1505-4F4D-B3E9-FBE45AD6DCDC}"/>
                </a:ext>
              </a:extLst>
            </p:cNvPr>
            <p:cNvSpPr>
              <a:spLocks noChangeShapeType="1"/>
            </p:cNvSpPr>
            <p:nvPr/>
          </p:nvSpPr>
          <p:spPr bwMode="auto">
            <a:xfrm flipV="1">
              <a:off x="362152" y="2243635"/>
              <a:ext cx="3780000" cy="0"/>
            </a:xfrm>
            <a:prstGeom prst="line">
              <a:avLst/>
            </a:prstGeom>
            <a:ln w="22225">
              <a:solidFill>
                <a:srgbClr val="BBBEC2"/>
              </a:solidFill>
              <a:tailEnd type="triangle" w="lg" len="lg"/>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4" name="Text 15">
              <a:extLst>
                <a:ext uri="{FF2B5EF4-FFF2-40B4-BE49-F238E27FC236}">
                  <a16:creationId xmlns:a16="http://schemas.microsoft.com/office/drawing/2014/main" id="{D5CE9829-A24A-46B7-A73E-9FD4092887BF}"/>
                </a:ext>
              </a:extLst>
            </p:cNvPr>
            <p:cNvSpPr>
              <a:spLocks noChangeArrowheads="1"/>
            </p:cNvSpPr>
            <p:nvPr/>
          </p:nvSpPr>
          <p:spPr bwMode="auto">
            <a:xfrm>
              <a:off x="362152" y="1919786"/>
              <a:ext cx="378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grpSp>
        <p:nvGrpSpPr>
          <p:cNvPr id="10" name="Group 9">
            <a:extLst>
              <a:ext uri="{FF2B5EF4-FFF2-40B4-BE49-F238E27FC236}">
                <a16:creationId xmlns:a16="http://schemas.microsoft.com/office/drawing/2014/main" id="{2CDE252E-1F83-46B9-B3FD-8DAE035572A3}"/>
              </a:ext>
            </a:extLst>
          </p:cNvPr>
          <p:cNvGrpSpPr/>
          <p:nvPr/>
        </p:nvGrpSpPr>
        <p:grpSpPr>
          <a:xfrm>
            <a:off x="4203353" y="1919786"/>
            <a:ext cx="3780000" cy="1661889"/>
            <a:chOff x="4203353" y="1919786"/>
            <a:chExt cx="3780000" cy="1661889"/>
          </a:xfrm>
        </p:grpSpPr>
        <p:sp>
          <p:nvSpPr>
            <p:cNvPr id="23" name="Rectangle 22">
              <a:extLst>
                <a:ext uri="{FF2B5EF4-FFF2-40B4-BE49-F238E27FC236}">
                  <a16:creationId xmlns:a16="http://schemas.microsoft.com/office/drawing/2014/main" id="{FCB11665-1E9C-45F8-B6A1-57BAE9DDED0C}"/>
                </a:ext>
              </a:extLst>
            </p:cNvPr>
            <p:cNvSpPr/>
            <p:nvPr/>
          </p:nvSpPr>
          <p:spPr>
            <a:xfrm>
              <a:off x="4203353" y="2371087"/>
              <a:ext cx="3780000" cy="1210588"/>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5" name="Line 2">
              <a:extLst>
                <a:ext uri="{FF2B5EF4-FFF2-40B4-BE49-F238E27FC236}">
                  <a16:creationId xmlns:a16="http://schemas.microsoft.com/office/drawing/2014/main" id="{FAF47A55-5D2D-42AE-A5D8-1CD2E7C9BA44}"/>
                </a:ext>
              </a:extLst>
            </p:cNvPr>
            <p:cNvSpPr>
              <a:spLocks noChangeShapeType="1"/>
            </p:cNvSpPr>
            <p:nvPr/>
          </p:nvSpPr>
          <p:spPr bwMode="auto">
            <a:xfrm flipV="1">
              <a:off x="4203353" y="2243635"/>
              <a:ext cx="3780000" cy="0"/>
            </a:xfrm>
            <a:prstGeom prst="line">
              <a:avLst/>
            </a:prstGeom>
            <a:ln w="22225">
              <a:solidFill>
                <a:srgbClr val="BBBEC2"/>
              </a:solidFill>
              <a:tailEnd type="triangle" w="lg" len="lg"/>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6" name="Text 15">
              <a:extLst>
                <a:ext uri="{FF2B5EF4-FFF2-40B4-BE49-F238E27FC236}">
                  <a16:creationId xmlns:a16="http://schemas.microsoft.com/office/drawing/2014/main" id="{171456EF-C479-49CA-86B4-22BD57779F27}"/>
                </a:ext>
              </a:extLst>
            </p:cNvPr>
            <p:cNvSpPr>
              <a:spLocks noChangeArrowheads="1"/>
            </p:cNvSpPr>
            <p:nvPr/>
          </p:nvSpPr>
          <p:spPr bwMode="auto">
            <a:xfrm>
              <a:off x="4203353" y="1919786"/>
              <a:ext cx="378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grpSp>
    </p:spTree>
    <p:extLst>
      <p:ext uri="{BB962C8B-B14F-4D97-AF65-F5344CB8AC3E}">
        <p14:creationId xmlns:p14="http://schemas.microsoft.com/office/powerpoint/2010/main" val="2192118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a:extLst>
              <a:ext uri="{FF2B5EF4-FFF2-40B4-BE49-F238E27FC236}">
                <a16:creationId xmlns:a16="http://schemas.microsoft.com/office/drawing/2014/main" id="{0A5F273D-EFE4-7E4A-8EE4-95AB19C8BA6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0" name="Object 49" hidden="1">
                        <a:extLst>
                          <a:ext uri="{FF2B5EF4-FFF2-40B4-BE49-F238E27FC236}">
                            <a16:creationId xmlns:a16="http://schemas.microsoft.com/office/drawing/2014/main" id="{0A5F273D-EFE4-7E4A-8EE4-95AB19C8BA6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68CFF57-3E46-ED4C-B185-2822C18D531A}"/>
              </a:ext>
            </a:extLst>
          </p:cNvPr>
          <p:cNvSpPr>
            <a:spLocks noGrp="1"/>
          </p:cNvSpPr>
          <p:nvPr>
            <p:ph type="sldNum" sz="quarter" idx="4"/>
          </p:nvPr>
        </p:nvSpPr>
        <p:spPr/>
        <p:txBody>
          <a:bodyPr/>
          <a:lstStyle/>
          <a:p>
            <a:fld id="{3D966009-6E5A-4F8C-8CA7-E37AFBF5FB92}" type="slidenum">
              <a:rPr lang="en-US" smtClean="0"/>
              <a:t>6</a:t>
            </a:fld>
            <a:endParaRPr lang="en-US"/>
          </a:p>
        </p:txBody>
      </p:sp>
      <p:sp>
        <p:nvSpPr>
          <p:cNvPr id="3" name="Title 2">
            <a:extLst>
              <a:ext uri="{FF2B5EF4-FFF2-40B4-BE49-F238E27FC236}">
                <a16:creationId xmlns:a16="http://schemas.microsoft.com/office/drawing/2014/main" id="{4686135C-6640-C845-906C-FA158BDD2356}"/>
              </a:ext>
            </a:extLst>
          </p:cNvPr>
          <p:cNvSpPr>
            <a:spLocks noGrp="1"/>
          </p:cNvSpPr>
          <p:nvPr>
            <p:ph type="title"/>
          </p:nvPr>
        </p:nvSpPr>
        <p:spPr/>
        <p:txBody>
          <a:bodyPr/>
          <a:lstStyle/>
          <a:p>
            <a:endParaRPr lang="en-GB"/>
          </a:p>
        </p:txBody>
      </p:sp>
      <p:sp>
        <p:nvSpPr>
          <p:cNvPr id="6" name="Text Placeholder 5">
            <a:extLst>
              <a:ext uri="{FF2B5EF4-FFF2-40B4-BE49-F238E27FC236}">
                <a16:creationId xmlns:a16="http://schemas.microsoft.com/office/drawing/2014/main" id="{D9E20423-08E0-DF4D-BE2C-FE529F937F6B}"/>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6ECEE467-383B-3846-840B-14762EAE748D}"/>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68BC21B-95AB-C349-84BE-7372F7A46872}"/>
              </a:ext>
            </a:extLst>
          </p:cNvPr>
          <p:cNvSpPr>
            <a:spLocks noGrp="1"/>
          </p:cNvSpPr>
          <p:nvPr>
            <p:ph sz="quarter" idx="14"/>
          </p:nvPr>
        </p:nvSpPr>
        <p:spPr/>
        <p:txBody>
          <a:bodyPr/>
          <a:lstStyle/>
          <a:p>
            <a:endParaRPr lang="en-GB"/>
          </a:p>
        </p:txBody>
      </p:sp>
      <p:grpSp>
        <p:nvGrpSpPr>
          <p:cNvPr id="12" name="Group 11">
            <a:extLst>
              <a:ext uri="{FF2B5EF4-FFF2-40B4-BE49-F238E27FC236}">
                <a16:creationId xmlns:a16="http://schemas.microsoft.com/office/drawing/2014/main" id="{DE3811FD-8135-534B-93C8-EA3ED4B432EB}"/>
              </a:ext>
            </a:extLst>
          </p:cNvPr>
          <p:cNvGrpSpPr/>
          <p:nvPr/>
        </p:nvGrpSpPr>
        <p:grpSpPr>
          <a:xfrm>
            <a:off x="371475" y="1725884"/>
            <a:ext cx="594114" cy="572669"/>
            <a:chOff x="2649212" y="2082576"/>
            <a:chExt cx="594114" cy="572669"/>
          </a:xfrm>
        </p:grpSpPr>
        <p:sp>
          <p:nvSpPr>
            <p:cNvPr id="51" name="Rectangle 50">
              <a:extLst>
                <a:ext uri="{FF2B5EF4-FFF2-40B4-BE49-F238E27FC236}">
                  <a16:creationId xmlns:a16="http://schemas.microsoft.com/office/drawing/2014/main" id="{7E1D7ADF-56CD-DD43-9497-ADF9FBEC3A3B}"/>
                </a:ext>
              </a:extLst>
            </p:cNvPr>
            <p:cNvSpPr/>
            <p:nvPr/>
          </p:nvSpPr>
          <p:spPr>
            <a:xfrm>
              <a:off x="2655485" y="2082576"/>
              <a:ext cx="581569" cy="572669"/>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55" name="TextBox 54">
              <a:extLst>
                <a:ext uri="{FF2B5EF4-FFF2-40B4-BE49-F238E27FC236}">
                  <a16:creationId xmlns:a16="http://schemas.microsoft.com/office/drawing/2014/main" id="{08DDFCF7-B744-D04B-9EAE-9C6278EC7888}"/>
                </a:ext>
              </a:extLst>
            </p:cNvPr>
            <p:cNvSpPr txBox="1"/>
            <p:nvPr/>
          </p:nvSpPr>
          <p:spPr>
            <a:xfrm>
              <a:off x="2649212" y="2138078"/>
              <a:ext cx="594114" cy="461665"/>
            </a:xfrm>
            <a:prstGeom prst="rect">
              <a:avLst/>
            </a:prstGeom>
            <a:noFill/>
          </p:spPr>
          <p:txBody>
            <a:bodyPr wrap="square" rtlCol="0" anchor="ctr">
              <a:spAutoFit/>
            </a:bodyPr>
            <a:lstStyle/>
            <a:p>
              <a:pPr algn="ctr"/>
              <a:r>
                <a:rPr lang="en-US" altLang="ko-KR" sz="2400" b="1">
                  <a:solidFill>
                    <a:schemeClr val="bg1"/>
                  </a:solidFill>
                  <a:cs typeface="Arial" pitchFamily="34" charset="0"/>
                </a:rPr>
                <a:t>01</a:t>
              </a:r>
              <a:endParaRPr lang="ko-KR" altLang="en-US" sz="2400" b="1">
                <a:solidFill>
                  <a:schemeClr val="bg1"/>
                </a:solidFill>
                <a:cs typeface="Arial" pitchFamily="34" charset="0"/>
              </a:endParaRPr>
            </a:p>
          </p:txBody>
        </p:sp>
      </p:grpSp>
      <p:grpSp>
        <p:nvGrpSpPr>
          <p:cNvPr id="11" name="Group 10">
            <a:extLst>
              <a:ext uri="{FF2B5EF4-FFF2-40B4-BE49-F238E27FC236}">
                <a16:creationId xmlns:a16="http://schemas.microsoft.com/office/drawing/2014/main" id="{A2275307-9ED0-5248-A6C1-3321F5D1F720}"/>
              </a:ext>
            </a:extLst>
          </p:cNvPr>
          <p:cNvGrpSpPr/>
          <p:nvPr/>
        </p:nvGrpSpPr>
        <p:grpSpPr>
          <a:xfrm>
            <a:off x="371475" y="2607139"/>
            <a:ext cx="594114" cy="572669"/>
            <a:chOff x="2649212" y="2855779"/>
            <a:chExt cx="594114" cy="572669"/>
          </a:xfrm>
          <a:solidFill>
            <a:srgbClr val="8D8EA8"/>
          </a:solidFill>
        </p:grpSpPr>
        <p:sp>
          <p:nvSpPr>
            <p:cNvPr id="59" name="Rectangle 58">
              <a:extLst>
                <a:ext uri="{FF2B5EF4-FFF2-40B4-BE49-F238E27FC236}">
                  <a16:creationId xmlns:a16="http://schemas.microsoft.com/office/drawing/2014/main" id="{7B47E408-DE9A-B445-9D9A-85C3DBDA8988}"/>
                </a:ext>
              </a:extLst>
            </p:cNvPr>
            <p:cNvSpPr/>
            <p:nvPr/>
          </p:nvSpPr>
          <p:spPr>
            <a:xfrm>
              <a:off x="2655485" y="2855779"/>
              <a:ext cx="581569" cy="5726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3" name="TextBox 62">
              <a:extLst>
                <a:ext uri="{FF2B5EF4-FFF2-40B4-BE49-F238E27FC236}">
                  <a16:creationId xmlns:a16="http://schemas.microsoft.com/office/drawing/2014/main" id="{6096424A-5482-EC4B-9439-1C1586F6C1C0}"/>
                </a:ext>
              </a:extLst>
            </p:cNvPr>
            <p:cNvSpPr txBox="1"/>
            <p:nvPr/>
          </p:nvSpPr>
          <p:spPr>
            <a:xfrm>
              <a:off x="2649212" y="2911281"/>
              <a:ext cx="594114" cy="461665"/>
            </a:xfrm>
            <a:prstGeom prst="rect">
              <a:avLst/>
            </a:prstGeom>
            <a:noFill/>
          </p:spPr>
          <p:txBody>
            <a:bodyPr wrap="square" rtlCol="0" anchor="ctr">
              <a:spAutoFit/>
            </a:bodyPr>
            <a:lstStyle/>
            <a:p>
              <a:pPr algn="ctr"/>
              <a:r>
                <a:rPr lang="en-US" altLang="ko-KR" sz="2400" b="1">
                  <a:solidFill>
                    <a:schemeClr val="bg1"/>
                  </a:solidFill>
                  <a:cs typeface="Arial" pitchFamily="34" charset="0"/>
                </a:rPr>
                <a:t>02</a:t>
              </a:r>
              <a:endParaRPr lang="ko-KR" altLang="en-US" sz="2400" b="1">
                <a:solidFill>
                  <a:schemeClr val="bg1"/>
                </a:solidFill>
                <a:cs typeface="Arial" pitchFamily="34" charset="0"/>
              </a:endParaRPr>
            </a:p>
          </p:txBody>
        </p:sp>
      </p:grpSp>
      <p:grpSp>
        <p:nvGrpSpPr>
          <p:cNvPr id="10" name="Group 9">
            <a:extLst>
              <a:ext uri="{FF2B5EF4-FFF2-40B4-BE49-F238E27FC236}">
                <a16:creationId xmlns:a16="http://schemas.microsoft.com/office/drawing/2014/main" id="{84BD9BC0-497F-9842-BB04-A5698181545E}"/>
              </a:ext>
            </a:extLst>
          </p:cNvPr>
          <p:cNvGrpSpPr/>
          <p:nvPr/>
        </p:nvGrpSpPr>
        <p:grpSpPr>
          <a:xfrm>
            <a:off x="371475" y="3503043"/>
            <a:ext cx="594114" cy="572669"/>
            <a:chOff x="2649212" y="3628982"/>
            <a:chExt cx="594114" cy="572669"/>
          </a:xfrm>
          <a:solidFill>
            <a:srgbClr val="8D8EA8"/>
          </a:solidFill>
        </p:grpSpPr>
        <p:sp>
          <p:nvSpPr>
            <p:cNvPr id="67" name="Rectangle 66">
              <a:extLst>
                <a:ext uri="{FF2B5EF4-FFF2-40B4-BE49-F238E27FC236}">
                  <a16:creationId xmlns:a16="http://schemas.microsoft.com/office/drawing/2014/main" id="{77CBF781-ABE1-E04A-B829-D50CFA1D0B96}"/>
                </a:ext>
              </a:extLst>
            </p:cNvPr>
            <p:cNvSpPr/>
            <p:nvPr/>
          </p:nvSpPr>
          <p:spPr>
            <a:xfrm>
              <a:off x="2655485" y="3628982"/>
              <a:ext cx="581569" cy="5726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71" name="TextBox 70">
              <a:extLst>
                <a:ext uri="{FF2B5EF4-FFF2-40B4-BE49-F238E27FC236}">
                  <a16:creationId xmlns:a16="http://schemas.microsoft.com/office/drawing/2014/main" id="{4B744A98-346F-6444-87C0-04672BB3E73C}"/>
                </a:ext>
              </a:extLst>
            </p:cNvPr>
            <p:cNvSpPr txBox="1"/>
            <p:nvPr/>
          </p:nvSpPr>
          <p:spPr>
            <a:xfrm>
              <a:off x="2649212" y="3684484"/>
              <a:ext cx="594114" cy="461665"/>
            </a:xfrm>
            <a:prstGeom prst="rect">
              <a:avLst/>
            </a:prstGeom>
            <a:noFill/>
          </p:spPr>
          <p:txBody>
            <a:bodyPr wrap="square" rtlCol="0" anchor="ctr">
              <a:spAutoFit/>
            </a:bodyPr>
            <a:lstStyle/>
            <a:p>
              <a:pPr algn="ctr"/>
              <a:r>
                <a:rPr lang="en-US" altLang="ko-KR" sz="2400" b="1">
                  <a:solidFill>
                    <a:schemeClr val="bg1"/>
                  </a:solidFill>
                  <a:cs typeface="Arial" pitchFamily="34" charset="0"/>
                </a:rPr>
                <a:t>03</a:t>
              </a:r>
              <a:endParaRPr lang="ko-KR" altLang="en-US" sz="2400" b="1">
                <a:solidFill>
                  <a:schemeClr val="bg1"/>
                </a:solidFill>
                <a:cs typeface="Arial" pitchFamily="34" charset="0"/>
              </a:endParaRPr>
            </a:p>
          </p:txBody>
        </p:sp>
      </p:grpSp>
      <p:grpSp>
        <p:nvGrpSpPr>
          <p:cNvPr id="5" name="Group 4">
            <a:extLst>
              <a:ext uri="{FF2B5EF4-FFF2-40B4-BE49-F238E27FC236}">
                <a16:creationId xmlns:a16="http://schemas.microsoft.com/office/drawing/2014/main" id="{572CF61C-C743-9745-B091-F6C0A6A7D637}"/>
              </a:ext>
            </a:extLst>
          </p:cNvPr>
          <p:cNvGrpSpPr/>
          <p:nvPr/>
        </p:nvGrpSpPr>
        <p:grpSpPr>
          <a:xfrm>
            <a:off x="371475" y="4398947"/>
            <a:ext cx="594114" cy="572669"/>
            <a:chOff x="2649212" y="4402185"/>
            <a:chExt cx="594114" cy="572669"/>
          </a:xfrm>
          <a:solidFill>
            <a:srgbClr val="8D8EA8"/>
          </a:solidFill>
        </p:grpSpPr>
        <p:sp>
          <p:nvSpPr>
            <p:cNvPr id="75" name="Rectangle 74">
              <a:extLst>
                <a:ext uri="{FF2B5EF4-FFF2-40B4-BE49-F238E27FC236}">
                  <a16:creationId xmlns:a16="http://schemas.microsoft.com/office/drawing/2014/main" id="{73E5B1B6-C452-1E4F-A47E-925FF7C04CF1}"/>
                </a:ext>
              </a:extLst>
            </p:cNvPr>
            <p:cNvSpPr/>
            <p:nvPr/>
          </p:nvSpPr>
          <p:spPr>
            <a:xfrm>
              <a:off x="2655485" y="4402185"/>
              <a:ext cx="581569" cy="5726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79" name="TextBox 78">
              <a:extLst>
                <a:ext uri="{FF2B5EF4-FFF2-40B4-BE49-F238E27FC236}">
                  <a16:creationId xmlns:a16="http://schemas.microsoft.com/office/drawing/2014/main" id="{B1AA4BE7-DE77-D54F-A9BC-805559689F10}"/>
                </a:ext>
              </a:extLst>
            </p:cNvPr>
            <p:cNvSpPr txBox="1"/>
            <p:nvPr/>
          </p:nvSpPr>
          <p:spPr>
            <a:xfrm>
              <a:off x="2649212" y="4457687"/>
              <a:ext cx="594114" cy="461665"/>
            </a:xfrm>
            <a:prstGeom prst="rect">
              <a:avLst/>
            </a:prstGeom>
            <a:noFill/>
          </p:spPr>
          <p:txBody>
            <a:bodyPr wrap="square" rtlCol="0" anchor="ctr">
              <a:spAutoFit/>
            </a:bodyPr>
            <a:lstStyle/>
            <a:p>
              <a:pPr algn="ctr"/>
              <a:r>
                <a:rPr lang="en-US" altLang="ko-KR" sz="2400" b="1">
                  <a:solidFill>
                    <a:schemeClr val="bg1"/>
                  </a:solidFill>
                  <a:cs typeface="Arial" pitchFamily="34" charset="0"/>
                </a:rPr>
                <a:t>04</a:t>
              </a:r>
              <a:endParaRPr lang="ko-KR" altLang="en-US" sz="2400" b="1">
                <a:solidFill>
                  <a:schemeClr val="bg1"/>
                </a:solidFill>
                <a:cs typeface="Arial" pitchFamily="34" charset="0"/>
              </a:endParaRPr>
            </a:p>
          </p:txBody>
        </p:sp>
      </p:grpSp>
      <p:grpSp>
        <p:nvGrpSpPr>
          <p:cNvPr id="9" name="Group 8">
            <a:extLst>
              <a:ext uri="{FF2B5EF4-FFF2-40B4-BE49-F238E27FC236}">
                <a16:creationId xmlns:a16="http://schemas.microsoft.com/office/drawing/2014/main" id="{A3B999B0-6910-CB43-8A39-8639F41F78BD}"/>
              </a:ext>
            </a:extLst>
          </p:cNvPr>
          <p:cNvGrpSpPr/>
          <p:nvPr/>
        </p:nvGrpSpPr>
        <p:grpSpPr>
          <a:xfrm>
            <a:off x="371475" y="5294849"/>
            <a:ext cx="594114" cy="572669"/>
            <a:chOff x="2649212" y="5175389"/>
            <a:chExt cx="594114" cy="572669"/>
          </a:xfrm>
          <a:solidFill>
            <a:srgbClr val="8D8EA8"/>
          </a:solidFill>
        </p:grpSpPr>
        <p:sp>
          <p:nvSpPr>
            <p:cNvPr id="83" name="Rectangle 82">
              <a:extLst>
                <a:ext uri="{FF2B5EF4-FFF2-40B4-BE49-F238E27FC236}">
                  <a16:creationId xmlns:a16="http://schemas.microsoft.com/office/drawing/2014/main" id="{8086FAAC-E617-BF48-B600-44C45967B92C}"/>
                </a:ext>
              </a:extLst>
            </p:cNvPr>
            <p:cNvSpPr/>
            <p:nvPr/>
          </p:nvSpPr>
          <p:spPr>
            <a:xfrm>
              <a:off x="2655485" y="5175389"/>
              <a:ext cx="581569" cy="5726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87" name="TextBox 86">
              <a:extLst>
                <a:ext uri="{FF2B5EF4-FFF2-40B4-BE49-F238E27FC236}">
                  <a16:creationId xmlns:a16="http://schemas.microsoft.com/office/drawing/2014/main" id="{F48489BC-38A3-2E41-832D-A6EC1004F7E7}"/>
                </a:ext>
              </a:extLst>
            </p:cNvPr>
            <p:cNvSpPr txBox="1"/>
            <p:nvPr/>
          </p:nvSpPr>
          <p:spPr>
            <a:xfrm>
              <a:off x="2649212" y="5230891"/>
              <a:ext cx="594114" cy="461665"/>
            </a:xfrm>
            <a:prstGeom prst="rect">
              <a:avLst/>
            </a:prstGeom>
            <a:noFill/>
          </p:spPr>
          <p:txBody>
            <a:bodyPr wrap="square" rtlCol="0" anchor="ctr">
              <a:spAutoFit/>
            </a:bodyPr>
            <a:lstStyle/>
            <a:p>
              <a:pPr algn="ctr"/>
              <a:r>
                <a:rPr lang="en-US" altLang="ko-KR" sz="2400" b="1">
                  <a:solidFill>
                    <a:schemeClr val="bg1"/>
                  </a:solidFill>
                  <a:cs typeface="Arial" pitchFamily="34" charset="0"/>
                </a:rPr>
                <a:t>05</a:t>
              </a:r>
              <a:endParaRPr lang="ko-KR" altLang="en-US" sz="2400" b="1">
                <a:solidFill>
                  <a:schemeClr val="bg1"/>
                </a:solidFill>
                <a:cs typeface="Arial" pitchFamily="34" charset="0"/>
              </a:endParaRPr>
            </a:p>
          </p:txBody>
        </p:sp>
      </p:grpSp>
      <p:grpSp>
        <p:nvGrpSpPr>
          <p:cNvPr id="18" name="Group 17">
            <a:extLst>
              <a:ext uri="{FF2B5EF4-FFF2-40B4-BE49-F238E27FC236}">
                <a16:creationId xmlns:a16="http://schemas.microsoft.com/office/drawing/2014/main" id="{65320C24-1689-E943-9C62-A00FC1D2494F}"/>
              </a:ext>
            </a:extLst>
          </p:cNvPr>
          <p:cNvGrpSpPr/>
          <p:nvPr/>
        </p:nvGrpSpPr>
        <p:grpSpPr>
          <a:xfrm>
            <a:off x="1155474" y="1725884"/>
            <a:ext cx="10620000" cy="4156283"/>
            <a:chOff x="1155475" y="1725884"/>
            <a:chExt cx="5138706" cy="4156283"/>
          </a:xfrm>
        </p:grpSpPr>
        <p:grpSp>
          <p:nvGrpSpPr>
            <p:cNvPr id="52" name="Group 51">
              <a:extLst>
                <a:ext uri="{FF2B5EF4-FFF2-40B4-BE49-F238E27FC236}">
                  <a16:creationId xmlns:a16="http://schemas.microsoft.com/office/drawing/2014/main" id="{CF51A579-55BC-524C-9C56-A11A378FA411}"/>
                </a:ext>
              </a:extLst>
            </p:cNvPr>
            <p:cNvGrpSpPr/>
            <p:nvPr/>
          </p:nvGrpSpPr>
          <p:grpSpPr>
            <a:xfrm>
              <a:off x="1155477" y="1725884"/>
              <a:ext cx="5138704" cy="601968"/>
              <a:chOff x="1795588" y="1688594"/>
              <a:chExt cx="6408712" cy="707911"/>
            </a:xfrm>
            <a:solidFill>
              <a:schemeClr val="bg1"/>
            </a:solidFill>
          </p:grpSpPr>
          <p:sp>
            <p:nvSpPr>
              <p:cNvPr id="53" name="Rounded Rectangle 52">
                <a:extLst>
                  <a:ext uri="{FF2B5EF4-FFF2-40B4-BE49-F238E27FC236}">
                    <a16:creationId xmlns:a16="http://schemas.microsoft.com/office/drawing/2014/main" id="{AD1AEF72-3DF8-A64A-BAEE-64A83CFC5168}"/>
                  </a:ext>
                </a:extLst>
              </p:cNvPr>
              <p:cNvSpPr/>
              <p:nvPr/>
            </p:nvSpPr>
            <p:spPr>
              <a:xfrm>
                <a:off x="1795588" y="1688594"/>
                <a:ext cx="6408712" cy="707911"/>
              </a:xfrm>
              <a:prstGeom prst="roundRect">
                <a:avLst>
                  <a:gd name="adj" fmla="val 10715"/>
                </a:avLst>
              </a:prstGeom>
              <a:grpFill/>
              <a:ln w="63500">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4" name="Rounded Rectangle 16">
                <a:extLst>
                  <a:ext uri="{FF2B5EF4-FFF2-40B4-BE49-F238E27FC236}">
                    <a16:creationId xmlns:a16="http://schemas.microsoft.com/office/drawing/2014/main" id="{3E31297C-72A2-B744-A219-08019FE7E937}"/>
                  </a:ext>
                </a:extLst>
              </p:cNvPr>
              <p:cNvSpPr/>
              <p:nvPr/>
            </p:nvSpPr>
            <p:spPr>
              <a:xfrm>
                <a:off x="7719981" y="1688594"/>
                <a:ext cx="484317" cy="600916"/>
              </a:xfrm>
              <a:custGeom>
                <a:avLst/>
                <a:gdLst/>
                <a:ahLst/>
                <a:cxnLst/>
                <a:rect l="l" t="t" r="r" b="b"/>
                <a:pathLst>
                  <a:path w="484317" h="697391">
                    <a:moveTo>
                      <a:pt x="0" y="0"/>
                    </a:moveTo>
                    <a:lnTo>
                      <a:pt x="396286" y="0"/>
                    </a:lnTo>
                    <a:cubicBezTo>
                      <a:pt x="444904" y="0"/>
                      <a:pt x="484317" y="39413"/>
                      <a:pt x="484317" y="88031"/>
                    </a:cubicBezTo>
                    <a:lnTo>
                      <a:pt x="484317" y="697391"/>
                    </a:lnTo>
                    <a:close/>
                  </a:path>
                </a:pathLst>
              </a:custGeom>
              <a:solidFill>
                <a:srgbClr val="8D8EA8"/>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56" name="Group 55">
              <a:extLst>
                <a:ext uri="{FF2B5EF4-FFF2-40B4-BE49-F238E27FC236}">
                  <a16:creationId xmlns:a16="http://schemas.microsoft.com/office/drawing/2014/main" id="{58184F8E-EB06-274B-B585-5D0E8154CECC}"/>
                </a:ext>
              </a:extLst>
            </p:cNvPr>
            <p:cNvGrpSpPr/>
            <p:nvPr/>
          </p:nvGrpSpPr>
          <p:grpSpPr>
            <a:xfrm>
              <a:off x="1252690" y="1757707"/>
              <a:ext cx="4752528" cy="509023"/>
              <a:chOff x="2175371" y="1762964"/>
              <a:chExt cx="5040560" cy="590745"/>
            </a:xfrm>
          </p:grpSpPr>
          <p:sp>
            <p:nvSpPr>
              <p:cNvPr id="57" name="TextBox 10">
                <a:extLst>
                  <a:ext uri="{FF2B5EF4-FFF2-40B4-BE49-F238E27FC236}">
                    <a16:creationId xmlns:a16="http://schemas.microsoft.com/office/drawing/2014/main" id="{DD536EAF-E324-E44C-8067-A97507F1EDDE}"/>
                  </a:ext>
                </a:extLst>
              </p:cNvPr>
              <p:cNvSpPr txBox="1"/>
              <p:nvPr/>
            </p:nvSpPr>
            <p:spPr bwMode="auto">
              <a:xfrm>
                <a:off x="2175371" y="1762964"/>
                <a:ext cx="5040560" cy="35719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400" b="1">
                    <a:solidFill>
                      <a:schemeClr val="tx1">
                        <a:lumMod val="65000"/>
                        <a:lumOff val="35000"/>
                      </a:schemeClr>
                    </a:solidFill>
                    <a:cs typeface="Arial" pitchFamily="34" charset="0"/>
                  </a:rPr>
                  <a:t>Your Text Here</a:t>
                </a:r>
              </a:p>
            </p:txBody>
          </p:sp>
          <p:sp>
            <p:nvSpPr>
              <p:cNvPr id="58" name="TextBox 12">
                <a:extLst>
                  <a:ext uri="{FF2B5EF4-FFF2-40B4-BE49-F238E27FC236}">
                    <a16:creationId xmlns:a16="http://schemas.microsoft.com/office/drawing/2014/main" id="{0EC7CAB9-84B0-3D44-8DE4-6CDA6B05381C}"/>
                  </a:ext>
                </a:extLst>
              </p:cNvPr>
              <p:cNvSpPr txBox="1"/>
              <p:nvPr/>
            </p:nvSpPr>
            <p:spPr bwMode="auto">
              <a:xfrm>
                <a:off x="2175371" y="2032239"/>
                <a:ext cx="5040560" cy="32147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chemeClr val="tx1">
                        <a:lumMod val="65000"/>
                        <a:lumOff val="35000"/>
                      </a:schemeClr>
                    </a:solidFill>
                    <a:cs typeface="Arial" pitchFamily="34" charset="0"/>
                  </a:rPr>
                  <a:t>Get a modern PowerPoint  Presentation that is beautifully designed.</a:t>
                </a:r>
                <a:endParaRPr lang="ko-KR" altLang="en-US" sz="1200">
                  <a:solidFill>
                    <a:schemeClr val="tx1">
                      <a:lumMod val="65000"/>
                      <a:lumOff val="35000"/>
                    </a:schemeClr>
                  </a:solidFill>
                  <a:cs typeface="Arial" pitchFamily="34" charset="0"/>
                </a:endParaRPr>
              </a:p>
            </p:txBody>
          </p:sp>
        </p:grpSp>
        <p:grpSp>
          <p:nvGrpSpPr>
            <p:cNvPr id="4" name="Group 3">
              <a:extLst>
                <a:ext uri="{FF2B5EF4-FFF2-40B4-BE49-F238E27FC236}">
                  <a16:creationId xmlns:a16="http://schemas.microsoft.com/office/drawing/2014/main" id="{8BF6E455-48BB-D242-8B3C-3615AAF2CBF1}"/>
                </a:ext>
              </a:extLst>
            </p:cNvPr>
            <p:cNvGrpSpPr/>
            <p:nvPr/>
          </p:nvGrpSpPr>
          <p:grpSpPr>
            <a:xfrm>
              <a:off x="1155477" y="2592489"/>
              <a:ext cx="5138704" cy="601968"/>
              <a:chOff x="3433214" y="2855779"/>
              <a:chExt cx="5138704" cy="601968"/>
            </a:xfrm>
          </p:grpSpPr>
          <p:grpSp>
            <p:nvGrpSpPr>
              <p:cNvPr id="60" name="Group 59">
                <a:extLst>
                  <a:ext uri="{FF2B5EF4-FFF2-40B4-BE49-F238E27FC236}">
                    <a16:creationId xmlns:a16="http://schemas.microsoft.com/office/drawing/2014/main" id="{5F7B10FC-E94B-FE44-8197-BD62CF597AEF}"/>
                  </a:ext>
                </a:extLst>
              </p:cNvPr>
              <p:cNvGrpSpPr/>
              <p:nvPr/>
            </p:nvGrpSpPr>
            <p:grpSpPr>
              <a:xfrm>
                <a:off x="3433214" y="2855779"/>
                <a:ext cx="5138704" cy="601968"/>
                <a:chOff x="1795588" y="1688594"/>
                <a:chExt cx="6408712" cy="707911"/>
              </a:xfrm>
              <a:solidFill>
                <a:schemeClr val="bg1"/>
              </a:solidFill>
            </p:grpSpPr>
            <p:sp>
              <p:nvSpPr>
                <p:cNvPr id="61" name="Rounded Rectangle 60">
                  <a:extLst>
                    <a:ext uri="{FF2B5EF4-FFF2-40B4-BE49-F238E27FC236}">
                      <a16:creationId xmlns:a16="http://schemas.microsoft.com/office/drawing/2014/main" id="{99972D03-1063-344C-A070-E7D1EF48B697}"/>
                    </a:ext>
                  </a:extLst>
                </p:cNvPr>
                <p:cNvSpPr/>
                <p:nvPr/>
              </p:nvSpPr>
              <p:spPr>
                <a:xfrm>
                  <a:off x="1795588" y="1688594"/>
                  <a:ext cx="6408712" cy="707911"/>
                </a:xfrm>
                <a:prstGeom prst="roundRect">
                  <a:avLst>
                    <a:gd name="adj" fmla="val 10715"/>
                  </a:avLst>
                </a:prstGeom>
                <a:grpFill/>
                <a:ln w="63500">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2" name="Rounded Rectangle 16">
                  <a:extLst>
                    <a:ext uri="{FF2B5EF4-FFF2-40B4-BE49-F238E27FC236}">
                      <a16:creationId xmlns:a16="http://schemas.microsoft.com/office/drawing/2014/main" id="{EBD0757C-8F5D-8040-9F16-C2D2527637F0}"/>
                    </a:ext>
                  </a:extLst>
                </p:cNvPr>
                <p:cNvSpPr/>
                <p:nvPr/>
              </p:nvSpPr>
              <p:spPr>
                <a:xfrm>
                  <a:off x="7719981" y="1688594"/>
                  <a:ext cx="484317" cy="600916"/>
                </a:xfrm>
                <a:custGeom>
                  <a:avLst/>
                  <a:gdLst/>
                  <a:ahLst/>
                  <a:cxnLst/>
                  <a:rect l="l" t="t" r="r" b="b"/>
                  <a:pathLst>
                    <a:path w="484317" h="697391">
                      <a:moveTo>
                        <a:pt x="0" y="0"/>
                      </a:moveTo>
                      <a:lnTo>
                        <a:pt x="396286" y="0"/>
                      </a:lnTo>
                      <a:cubicBezTo>
                        <a:pt x="444904" y="0"/>
                        <a:pt x="484317" y="39413"/>
                        <a:pt x="484317" y="88031"/>
                      </a:cubicBezTo>
                      <a:lnTo>
                        <a:pt x="484317" y="697391"/>
                      </a:lnTo>
                      <a:close/>
                    </a:path>
                  </a:pathLst>
                </a:custGeom>
                <a:solidFill>
                  <a:srgbClr val="8D8EA8"/>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64" name="Group 63">
                <a:extLst>
                  <a:ext uri="{FF2B5EF4-FFF2-40B4-BE49-F238E27FC236}">
                    <a16:creationId xmlns:a16="http://schemas.microsoft.com/office/drawing/2014/main" id="{71AA7A98-2D56-CC43-8A65-2A24D344D620}"/>
                  </a:ext>
                </a:extLst>
              </p:cNvPr>
              <p:cNvGrpSpPr/>
              <p:nvPr/>
            </p:nvGrpSpPr>
            <p:grpSpPr>
              <a:xfrm>
                <a:off x="3530427" y="2908944"/>
                <a:ext cx="4752528" cy="509023"/>
                <a:chOff x="2175371" y="1762964"/>
                <a:chExt cx="5040560" cy="590745"/>
              </a:xfrm>
            </p:grpSpPr>
            <p:sp>
              <p:nvSpPr>
                <p:cNvPr id="65" name="TextBox 10">
                  <a:extLst>
                    <a:ext uri="{FF2B5EF4-FFF2-40B4-BE49-F238E27FC236}">
                      <a16:creationId xmlns:a16="http://schemas.microsoft.com/office/drawing/2014/main" id="{A507137A-D0C5-2547-B921-DDD4E58E0F18}"/>
                    </a:ext>
                  </a:extLst>
                </p:cNvPr>
                <p:cNvSpPr txBox="1"/>
                <p:nvPr/>
              </p:nvSpPr>
              <p:spPr bwMode="auto">
                <a:xfrm>
                  <a:off x="2175371" y="1762964"/>
                  <a:ext cx="5040560" cy="35719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400" b="1">
                      <a:solidFill>
                        <a:schemeClr val="tx1">
                          <a:lumMod val="65000"/>
                          <a:lumOff val="35000"/>
                        </a:schemeClr>
                      </a:solidFill>
                      <a:cs typeface="Arial" pitchFamily="34" charset="0"/>
                    </a:rPr>
                    <a:t>Your Text Here</a:t>
                  </a:r>
                </a:p>
              </p:txBody>
            </p:sp>
            <p:sp>
              <p:nvSpPr>
                <p:cNvPr id="66" name="TextBox 12">
                  <a:extLst>
                    <a:ext uri="{FF2B5EF4-FFF2-40B4-BE49-F238E27FC236}">
                      <a16:creationId xmlns:a16="http://schemas.microsoft.com/office/drawing/2014/main" id="{4106110C-8FA2-6A4C-90F0-848AE0404826}"/>
                    </a:ext>
                  </a:extLst>
                </p:cNvPr>
                <p:cNvSpPr txBox="1"/>
                <p:nvPr/>
              </p:nvSpPr>
              <p:spPr bwMode="auto">
                <a:xfrm>
                  <a:off x="2175371" y="2032239"/>
                  <a:ext cx="5040560" cy="32147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chemeClr val="tx1">
                          <a:lumMod val="65000"/>
                          <a:lumOff val="35000"/>
                        </a:schemeClr>
                      </a:solidFill>
                      <a:cs typeface="Arial" pitchFamily="34" charset="0"/>
                    </a:rPr>
                    <a:t>Get a modern PowerPoint  Presentation that is beautifully designed.</a:t>
                  </a:r>
                  <a:endParaRPr lang="ko-KR" altLang="en-US" sz="1200">
                    <a:solidFill>
                      <a:schemeClr val="tx1">
                        <a:lumMod val="65000"/>
                        <a:lumOff val="35000"/>
                      </a:schemeClr>
                    </a:solidFill>
                    <a:cs typeface="Arial" pitchFamily="34" charset="0"/>
                  </a:endParaRPr>
                </a:p>
              </p:txBody>
            </p:sp>
          </p:grpSp>
        </p:grpSp>
        <p:grpSp>
          <p:nvGrpSpPr>
            <p:cNvPr id="95" name="Group 94">
              <a:extLst>
                <a:ext uri="{FF2B5EF4-FFF2-40B4-BE49-F238E27FC236}">
                  <a16:creationId xmlns:a16="http://schemas.microsoft.com/office/drawing/2014/main" id="{AF55781B-6F1D-1D4A-B177-1FE55DEBC1EC}"/>
                </a:ext>
              </a:extLst>
            </p:cNvPr>
            <p:cNvGrpSpPr/>
            <p:nvPr/>
          </p:nvGrpSpPr>
          <p:grpSpPr>
            <a:xfrm>
              <a:off x="1155477" y="3488393"/>
              <a:ext cx="5138704" cy="601968"/>
              <a:chOff x="3433214" y="2855779"/>
              <a:chExt cx="5138704" cy="601968"/>
            </a:xfrm>
          </p:grpSpPr>
          <p:grpSp>
            <p:nvGrpSpPr>
              <p:cNvPr id="96" name="Group 95">
                <a:extLst>
                  <a:ext uri="{FF2B5EF4-FFF2-40B4-BE49-F238E27FC236}">
                    <a16:creationId xmlns:a16="http://schemas.microsoft.com/office/drawing/2014/main" id="{FD8AD95C-5E2D-024B-80DB-BBC94DC0EA31}"/>
                  </a:ext>
                </a:extLst>
              </p:cNvPr>
              <p:cNvGrpSpPr/>
              <p:nvPr/>
            </p:nvGrpSpPr>
            <p:grpSpPr>
              <a:xfrm>
                <a:off x="3433214" y="2855779"/>
                <a:ext cx="5138704" cy="601968"/>
                <a:chOff x="1795588" y="1688594"/>
                <a:chExt cx="6408712" cy="707911"/>
              </a:xfrm>
              <a:solidFill>
                <a:schemeClr val="bg1"/>
              </a:solidFill>
            </p:grpSpPr>
            <p:sp>
              <p:nvSpPr>
                <p:cNvPr id="100" name="Rounded Rectangle 99">
                  <a:extLst>
                    <a:ext uri="{FF2B5EF4-FFF2-40B4-BE49-F238E27FC236}">
                      <a16:creationId xmlns:a16="http://schemas.microsoft.com/office/drawing/2014/main" id="{5568D34B-0B58-9141-817C-2373CE6E4EA7}"/>
                    </a:ext>
                  </a:extLst>
                </p:cNvPr>
                <p:cNvSpPr/>
                <p:nvPr/>
              </p:nvSpPr>
              <p:spPr>
                <a:xfrm>
                  <a:off x="1795588" y="1688594"/>
                  <a:ext cx="6408712" cy="707911"/>
                </a:xfrm>
                <a:prstGeom prst="roundRect">
                  <a:avLst>
                    <a:gd name="adj" fmla="val 10715"/>
                  </a:avLst>
                </a:prstGeom>
                <a:grpFill/>
                <a:ln w="63500">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1" name="Rounded Rectangle 16">
                  <a:extLst>
                    <a:ext uri="{FF2B5EF4-FFF2-40B4-BE49-F238E27FC236}">
                      <a16:creationId xmlns:a16="http://schemas.microsoft.com/office/drawing/2014/main" id="{6AD878A4-EA67-A143-A7C9-55E7CA702C61}"/>
                    </a:ext>
                  </a:extLst>
                </p:cNvPr>
                <p:cNvSpPr/>
                <p:nvPr/>
              </p:nvSpPr>
              <p:spPr>
                <a:xfrm>
                  <a:off x="7719981" y="1688594"/>
                  <a:ext cx="484317" cy="600916"/>
                </a:xfrm>
                <a:custGeom>
                  <a:avLst/>
                  <a:gdLst/>
                  <a:ahLst/>
                  <a:cxnLst/>
                  <a:rect l="l" t="t" r="r" b="b"/>
                  <a:pathLst>
                    <a:path w="484317" h="697391">
                      <a:moveTo>
                        <a:pt x="0" y="0"/>
                      </a:moveTo>
                      <a:lnTo>
                        <a:pt x="396286" y="0"/>
                      </a:lnTo>
                      <a:cubicBezTo>
                        <a:pt x="444904" y="0"/>
                        <a:pt x="484317" y="39413"/>
                        <a:pt x="484317" y="88031"/>
                      </a:cubicBezTo>
                      <a:lnTo>
                        <a:pt x="484317" y="697391"/>
                      </a:lnTo>
                      <a:close/>
                    </a:path>
                  </a:pathLst>
                </a:custGeom>
                <a:solidFill>
                  <a:srgbClr val="8D8EA8"/>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97" name="Group 96">
                <a:extLst>
                  <a:ext uri="{FF2B5EF4-FFF2-40B4-BE49-F238E27FC236}">
                    <a16:creationId xmlns:a16="http://schemas.microsoft.com/office/drawing/2014/main" id="{A54210A8-8C61-B646-806F-55310254A6EE}"/>
                  </a:ext>
                </a:extLst>
              </p:cNvPr>
              <p:cNvGrpSpPr/>
              <p:nvPr/>
            </p:nvGrpSpPr>
            <p:grpSpPr>
              <a:xfrm>
                <a:off x="3530427" y="2908944"/>
                <a:ext cx="4752528" cy="509023"/>
                <a:chOff x="2175371" y="1762964"/>
                <a:chExt cx="5040560" cy="590745"/>
              </a:xfrm>
            </p:grpSpPr>
            <p:sp>
              <p:nvSpPr>
                <p:cNvPr id="98" name="TextBox 10">
                  <a:extLst>
                    <a:ext uri="{FF2B5EF4-FFF2-40B4-BE49-F238E27FC236}">
                      <a16:creationId xmlns:a16="http://schemas.microsoft.com/office/drawing/2014/main" id="{9C3032EF-F275-EB4E-9508-F4788459CEFA}"/>
                    </a:ext>
                  </a:extLst>
                </p:cNvPr>
                <p:cNvSpPr txBox="1"/>
                <p:nvPr/>
              </p:nvSpPr>
              <p:spPr bwMode="auto">
                <a:xfrm>
                  <a:off x="2175371" y="1762964"/>
                  <a:ext cx="5040560" cy="35719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400" b="1">
                      <a:solidFill>
                        <a:schemeClr val="tx1">
                          <a:lumMod val="65000"/>
                          <a:lumOff val="35000"/>
                        </a:schemeClr>
                      </a:solidFill>
                      <a:cs typeface="Arial" pitchFamily="34" charset="0"/>
                    </a:rPr>
                    <a:t>Your Text Here</a:t>
                  </a:r>
                </a:p>
              </p:txBody>
            </p:sp>
            <p:sp>
              <p:nvSpPr>
                <p:cNvPr id="99" name="TextBox 12">
                  <a:extLst>
                    <a:ext uri="{FF2B5EF4-FFF2-40B4-BE49-F238E27FC236}">
                      <a16:creationId xmlns:a16="http://schemas.microsoft.com/office/drawing/2014/main" id="{275738FE-021F-2346-B530-0A089E483006}"/>
                    </a:ext>
                  </a:extLst>
                </p:cNvPr>
                <p:cNvSpPr txBox="1"/>
                <p:nvPr/>
              </p:nvSpPr>
              <p:spPr bwMode="auto">
                <a:xfrm>
                  <a:off x="2175371" y="2032239"/>
                  <a:ext cx="5040560" cy="32147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chemeClr val="tx1">
                          <a:lumMod val="65000"/>
                          <a:lumOff val="35000"/>
                        </a:schemeClr>
                      </a:solidFill>
                      <a:cs typeface="Arial" pitchFamily="34" charset="0"/>
                    </a:rPr>
                    <a:t>Get a modern PowerPoint  Presentation that is beautifully designed.</a:t>
                  </a:r>
                  <a:endParaRPr lang="ko-KR" altLang="en-US" sz="1200">
                    <a:solidFill>
                      <a:schemeClr val="tx1">
                        <a:lumMod val="65000"/>
                        <a:lumOff val="35000"/>
                      </a:schemeClr>
                    </a:solidFill>
                    <a:cs typeface="Arial" pitchFamily="34" charset="0"/>
                  </a:endParaRPr>
                </a:p>
              </p:txBody>
            </p:sp>
          </p:grpSp>
        </p:grpSp>
        <p:grpSp>
          <p:nvGrpSpPr>
            <p:cNvPr id="102" name="Group 101">
              <a:extLst>
                <a:ext uri="{FF2B5EF4-FFF2-40B4-BE49-F238E27FC236}">
                  <a16:creationId xmlns:a16="http://schemas.microsoft.com/office/drawing/2014/main" id="{73597D21-9A7B-AB45-91A5-F4F619C45C3C}"/>
                </a:ext>
              </a:extLst>
            </p:cNvPr>
            <p:cNvGrpSpPr/>
            <p:nvPr/>
          </p:nvGrpSpPr>
          <p:grpSpPr>
            <a:xfrm>
              <a:off x="1155477" y="4384297"/>
              <a:ext cx="5138704" cy="601968"/>
              <a:chOff x="3433214" y="2855779"/>
              <a:chExt cx="5138704" cy="601968"/>
            </a:xfrm>
          </p:grpSpPr>
          <p:grpSp>
            <p:nvGrpSpPr>
              <p:cNvPr id="103" name="Group 102">
                <a:extLst>
                  <a:ext uri="{FF2B5EF4-FFF2-40B4-BE49-F238E27FC236}">
                    <a16:creationId xmlns:a16="http://schemas.microsoft.com/office/drawing/2014/main" id="{424BBA5D-93A3-7748-B4D9-C9A907F6AF37}"/>
                  </a:ext>
                </a:extLst>
              </p:cNvPr>
              <p:cNvGrpSpPr/>
              <p:nvPr/>
            </p:nvGrpSpPr>
            <p:grpSpPr>
              <a:xfrm>
                <a:off x="3433214" y="2855779"/>
                <a:ext cx="5138704" cy="601968"/>
                <a:chOff x="1795588" y="1688594"/>
                <a:chExt cx="6408712" cy="707911"/>
              </a:xfrm>
              <a:solidFill>
                <a:schemeClr val="bg1"/>
              </a:solidFill>
            </p:grpSpPr>
            <p:sp>
              <p:nvSpPr>
                <p:cNvPr id="107" name="Rounded Rectangle 106">
                  <a:extLst>
                    <a:ext uri="{FF2B5EF4-FFF2-40B4-BE49-F238E27FC236}">
                      <a16:creationId xmlns:a16="http://schemas.microsoft.com/office/drawing/2014/main" id="{20E6B074-FD56-FF45-B522-DBC5B20EAC28}"/>
                    </a:ext>
                  </a:extLst>
                </p:cNvPr>
                <p:cNvSpPr/>
                <p:nvPr/>
              </p:nvSpPr>
              <p:spPr>
                <a:xfrm>
                  <a:off x="1795588" y="1688594"/>
                  <a:ext cx="6408712" cy="707911"/>
                </a:xfrm>
                <a:prstGeom prst="roundRect">
                  <a:avLst>
                    <a:gd name="adj" fmla="val 10715"/>
                  </a:avLst>
                </a:prstGeom>
                <a:grpFill/>
                <a:ln w="63500">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8" name="Rounded Rectangle 16">
                  <a:extLst>
                    <a:ext uri="{FF2B5EF4-FFF2-40B4-BE49-F238E27FC236}">
                      <a16:creationId xmlns:a16="http://schemas.microsoft.com/office/drawing/2014/main" id="{88D5DE9F-F455-7B44-A901-DA25494DB971}"/>
                    </a:ext>
                  </a:extLst>
                </p:cNvPr>
                <p:cNvSpPr/>
                <p:nvPr/>
              </p:nvSpPr>
              <p:spPr>
                <a:xfrm>
                  <a:off x="7719981" y="1688594"/>
                  <a:ext cx="484317" cy="600916"/>
                </a:xfrm>
                <a:custGeom>
                  <a:avLst/>
                  <a:gdLst/>
                  <a:ahLst/>
                  <a:cxnLst/>
                  <a:rect l="l" t="t" r="r" b="b"/>
                  <a:pathLst>
                    <a:path w="484317" h="697391">
                      <a:moveTo>
                        <a:pt x="0" y="0"/>
                      </a:moveTo>
                      <a:lnTo>
                        <a:pt x="396286" y="0"/>
                      </a:lnTo>
                      <a:cubicBezTo>
                        <a:pt x="444904" y="0"/>
                        <a:pt x="484317" y="39413"/>
                        <a:pt x="484317" y="88031"/>
                      </a:cubicBezTo>
                      <a:lnTo>
                        <a:pt x="484317" y="697391"/>
                      </a:lnTo>
                      <a:close/>
                    </a:path>
                  </a:pathLst>
                </a:custGeom>
                <a:solidFill>
                  <a:srgbClr val="8D8EA8"/>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04" name="Group 103">
                <a:extLst>
                  <a:ext uri="{FF2B5EF4-FFF2-40B4-BE49-F238E27FC236}">
                    <a16:creationId xmlns:a16="http://schemas.microsoft.com/office/drawing/2014/main" id="{8CE7E352-DA92-5642-93D7-71B6614305B2}"/>
                  </a:ext>
                </a:extLst>
              </p:cNvPr>
              <p:cNvGrpSpPr/>
              <p:nvPr/>
            </p:nvGrpSpPr>
            <p:grpSpPr>
              <a:xfrm>
                <a:off x="3530427" y="2908944"/>
                <a:ext cx="4752528" cy="509023"/>
                <a:chOff x="2175371" y="1762964"/>
                <a:chExt cx="5040560" cy="590745"/>
              </a:xfrm>
            </p:grpSpPr>
            <p:sp>
              <p:nvSpPr>
                <p:cNvPr id="105" name="TextBox 10">
                  <a:extLst>
                    <a:ext uri="{FF2B5EF4-FFF2-40B4-BE49-F238E27FC236}">
                      <a16:creationId xmlns:a16="http://schemas.microsoft.com/office/drawing/2014/main" id="{40737406-FC8C-0741-A759-654AAB275F41}"/>
                    </a:ext>
                  </a:extLst>
                </p:cNvPr>
                <p:cNvSpPr txBox="1"/>
                <p:nvPr/>
              </p:nvSpPr>
              <p:spPr bwMode="auto">
                <a:xfrm>
                  <a:off x="2175371" y="1762964"/>
                  <a:ext cx="5040560" cy="35719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400" b="1">
                      <a:solidFill>
                        <a:schemeClr val="tx1">
                          <a:lumMod val="65000"/>
                          <a:lumOff val="35000"/>
                        </a:schemeClr>
                      </a:solidFill>
                      <a:cs typeface="Arial" pitchFamily="34" charset="0"/>
                    </a:rPr>
                    <a:t>Your Text Here</a:t>
                  </a:r>
                </a:p>
              </p:txBody>
            </p:sp>
            <p:sp>
              <p:nvSpPr>
                <p:cNvPr id="106" name="TextBox 12">
                  <a:extLst>
                    <a:ext uri="{FF2B5EF4-FFF2-40B4-BE49-F238E27FC236}">
                      <a16:creationId xmlns:a16="http://schemas.microsoft.com/office/drawing/2014/main" id="{36428070-80EC-F749-8AA5-4C8EC0CC4F98}"/>
                    </a:ext>
                  </a:extLst>
                </p:cNvPr>
                <p:cNvSpPr txBox="1"/>
                <p:nvPr/>
              </p:nvSpPr>
              <p:spPr bwMode="auto">
                <a:xfrm>
                  <a:off x="2175371" y="2032239"/>
                  <a:ext cx="5040560" cy="32147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chemeClr val="tx1">
                          <a:lumMod val="65000"/>
                          <a:lumOff val="35000"/>
                        </a:schemeClr>
                      </a:solidFill>
                      <a:cs typeface="Arial" pitchFamily="34" charset="0"/>
                    </a:rPr>
                    <a:t>Get a modern PowerPoint  Presentation that is beautifully designed.</a:t>
                  </a:r>
                  <a:endParaRPr lang="ko-KR" altLang="en-US" sz="1200">
                    <a:solidFill>
                      <a:schemeClr val="tx1">
                        <a:lumMod val="65000"/>
                        <a:lumOff val="35000"/>
                      </a:schemeClr>
                    </a:solidFill>
                    <a:cs typeface="Arial" pitchFamily="34" charset="0"/>
                  </a:endParaRPr>
                </a:p>
              </p:txBody>
            </p:sp>
          </p:grpSp>
        </p:grpSp>
        <p:grpSp>
          <p:nvGrpSpPr>
            <p:cNvPr id="109" name="Group 108">
              <a:extLst>
                <a:ext uri="{FF2B5EF4-FFF2-40B4-BE49-F238E27FC236}">
                  <a16:creationId xmlns:a16="http://schemas.microsoft.com/office/drawing/2014/main" id="{E174DBC4-E049-9044-B289-93706CBD1CE4}"/>
                </a:ext>
              </a:extLst>
            </p:cNvPr>
            <p:cNvGrpSpPr/>
            <p:nvPr/>
          </p:nvGrpSpPr>
          <p:grpSpPr>
            <a:xfrm>
              <a:off x="1155475" y="5280199"/>
              <a:ext cx="5138704" cy="601968"/>
              <a:chOff x="3433214" y="2855779"/>
              <a:chExt cx="5138704" cy="601968"/>
            </a:xfrm>
          </p:grpSpPr>
          <p:grpSp>
            <p:nvGrpSpPr>
              <p:cNvPr id="110" name="Group 109">
                <a:extLst>
                  <a:ext uri="{FF2B5EF4-FFF2-40B4-BE49-F238E27FC236}">
                    <a16:creationId xmlns:a16="http://schemas.microsoft.com/office/drawing/2014/main" id="{08FBB783-A48E-4241-AC2E-AC91C1BB11BB}"/>
                  </a:ext>
                </a:extLst>
              </p:cNvPr>
              <p:cNvGrpSpPr/>
              <p:nvPr/>
            </p:nvGrpSpPr>
            <p:grpSpPr>
              <a:xfrm>
                <a:off x="3433214" y="2855779"/>
                <a:ext cx="5138704" cy="601968"/>
                <a:chOff x="1795588" y="1688594"/>
                <a:chExt cx="6408712" cy="707911"/>
              </a:xfrm>
              <a:solidFill>
                <a:schemeClr val="bg1"/>
              </a:solidFill>
            </p:grpSpPr>
            <p:sp>
              <p:nvSpPr>
                <p:cNvPr id="114" name="Rounded Rectangle 113">
                  <a:extLst>
                    <a:ext uri="{FF2B5EF4-FFF2-40B4-BE49-F238E27FC236}">
                      <a16:creationId xmlns:a16="http://schemas.microsoft.com/office/drawing/2014/main" id="{E06A883B-F7E5-1445-AEB6-15D9198BF03F}"/>
                    </a:ext>
                  </a:extLst>
                </p:cNvPr>
                <p:cNvSpPr/>
                <p:nvPr/>
              </p:nvSpPr>
              <p:spPr>
                <a:xfrm>
                  <a:off x="1795588" y="1688594"/>
                  <a:ext cx="6408712" cy="707911"/>
                </a:xfrm>
                <a:prstGeom prst="roundRect">
                  <a:avLst>
                    <a:gd name="adj" fmla="val 10715"/>
                  </a:avLst>
                </a:prstGeom>
                <a:grpFill/>
                <a:ln w="63500">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5" name="Rounded Rectangle 16">
                  <a:extLst>
                    <a:ext uri="{FF2B5EF4-FFF2-40B4-BE49-F238E27FC236}">
                      <a16:creationId xmlns:a16="http://schemas.microsoft.com/office/drawing/2014/main" id="{191EC4F5-C821-FE48-94F7-3E317B3573AF}"/>
                    </a:ext>
                  </a:extLst>
                </p:cNvPr>
                <p:cNvSpPr/>
                <p:nvPr/>
              </p:nvSpPr>
              <p:spPr>
                <a:xfrm>
                  <a:off x="7719981" y="1688594"/>
                  <a:ext cx="484317" cy="600916"/>
                </a:xfrm>
                <a:custGeom>
                  <a:avLst/>
                  <a:gdLst/>
                  <a:ahLst/>
                  <a:cxnLst/>
                  <a:rect l="l" t="t" r="r" b="b"/>
                  <a:pathLst>
                    <a:path w="484317" h="697391">
                      <a:moveTo>
                        <a:pt x="0" y="0"/>
                      </a:moveTo>
                      <a:lnTo>
                        <a:pt x="396286" y="0"/>
                      </a:lnTo>
                      <a:cubicBezTo>
                        <a:pt x="444904" y="0"/>
                        <a:pt x="484317" y="39413"/>
                        <a:pt x="484317" y="88031"/>
                      </a:cubicBezTo>
                      <a:lnTo>
                        <a:pt x="484317" y="697391"/>
                      </a:lnTo>
                      <a:close/>
                    </a:path>
                  </a:pathLst>
                </a:custGeom>
                <a:solidFill>
                  <a:srgbClr val="8D8EA8"/>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11" name="Group 110">
                <a:extLst>
                  <a:ext uri="{FF2B5EF4-FFF2-40B4-BE49-F238E27FC236}">
                    <a16:creationId xmlns:a16="http://schemas.microsoft.com/office/drawing/2014/main" id="{E7F3AEE4-3113-F34E-997D-BA994C1D178A}"/>
                  </a:ext>
                </a:extLst>
              </p:cNvPr>
              <p:cNvGrpSpPr/>
              <p:nvPr/>
            </p:nvGrpSpPr>
            <p:grpSpPr>
              <a:xfrm>
                <a:off x="3530427" y="2908944"/>
                <a:ext cx="4752528" cy="509023"/>
                <a:chOff x="2175371" y="1762964"/>
                <a:chExt cx="5040560" cy="590745"/>
              </a:xfrm>
            </p:grpSpPr>
            <p:sp>
              <p:nvSpPr>
                <p:cNvPr id="112" name="TextBox 10">
                  <a:extLst>
                    <a:ext uri="{FF2B5EF4-FFF2-40B4-BE49-F238E27FC236}">
                      <a16:creationId xmlns:a16="http://schemas.microsoft.com/office/drawing/2014/main" id="{AB5E1A02-852D-9A41-B973-6D7DA66800E5}"/>
                    </a:ext>
                  </a:extLst>
                </p:cNvPr>
                <p:cNvSpPr txBox="1"/>
                <p:nvPr/>
              </p:nvSpPr>
              <p:spPr bwMode="auto">
                <a:xfrm>
                  <a:off x="2175371" y="1762964"/>
                  <a:ext cx="5040560" cy="35719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400" b="1">
                      <a:solidFill>
                        <a:schemeClr val="tx1">
                          <a:lumMod val="65000"/>
                          <a:lumOff val="35000"/>
                        </a:schemeClr>
                      </a:solidFill>
                      <a:cs typeface="Arial" pitchFamily="34" charset="0"/>
                    </a:rPr>
                    <a:t>Your Text Here</a:t>
                  </a:r>
                </a:p>
              </p:txBody>
            </p:sp>
            <p:sp>
              <p:nvSpPr>
                <p:cNvPr id="113" name="TextBox 12">
                  <a:extLst>
                    <a:ext uri="{FF2B5EF4-FFF2-40B4-BE49-F238E27FC236}">
                      <a16:creationId xmlns:a16="http://schemas.microsoft.com/office/drawing/2014/main" id="{FEA78482-4851-B049-A32D-62DCC88D1241}"/>
                    </a:ext>
                  </a:extLst>
                </p:cNvPr>
                <p:cNvSpPr txBox="1"/>
                <p:nvPr/>
              </p:nvSpPr>
              <p:spPr bwMode="auto">
                <a:xfrm>
                  <a:off x="2175371" y="2032239"/>
                  <a:ext cx="5040560" cy="321470"/>
                </a:xfrm>
                <a:prstGeom prst="rect">
                  <a:avLst/>
                </a:prstGeom>
                <a:noFill/>
                <a:effectLst/>
              </p:spPr>
              <p:txBody>
                <a:bodyPr wrap="square" anchor="ctr">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chemeClr val="tx1">
                          <a:lumMod val="65000"/>
                          <a:lumOff val="35000"/>
                        </a:schemeClr>
                      </a:solidFill>
                      <a:cs typeface="Arial" pitchFamily="34" charset="0"/>
                    </a:rPr>
                    <a:t>Get a modern PowerPoint  Presentation that is beautifully designed.</a:t>
                  </a:r>
                  <a:endParaRPr lang="ko-KR" altLang="en-US" sz="1200">
                    <a:solidFill>
                      <a:schemeClr val="tx1">
                        <a:lumMod val="65000"/>
                        <a:lumOff val="35000"/>
                      </a:schemeClr>
                    </a:solidFill>
                    <a:cs typeface="Arial" pitchFamily="34" charset="0"/>
                  </a:endParaRPr>
                </a:p>
              </p:txBody>
            </p:sp>
          </p:grpSp>
        </p:grpSp>
      </p:grpSp>
    </p:spTree>
    <p:extLst>
      <p:ext uri="{BB962C8B-B14F-4D97-AF65-F5344CB8AC3E}">
        <p14:creationId xmlns:p14="http://schemas.microsoft.com/office/powerpoint/2010/main" val="27448916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4222B1-DC55-4DB7-8A51-4CF5DD63AA8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120" name="Oval 119">
            <a:extLst>
              <a:ext uri="{FF2B5EF4-FFF2-40B4-BE49-F238E27FC236}">
                <a16:creationId xmlns:a16="http://schemas.microsoft.com/office/drawing/2014/main" id="{A26FCCF2-E466-45B6-8C6D-1DC03CE5F655}"/>
              </a:ext>
            </a:extLst>
          </p:cNvPr>
          <p:cNvSpPr/>
          <p:nvPr/>
        </p:nvSpPr>
        <p:spPr>
          <a:xfrm flipH="1">
            <a:off x="11012771" y="3193954"/>
            <a:ext cx="445264" cy="445262"/>
          </a:xfrm>
          <a:prstGeom prst="ellipse">
            <a:avLst/>
          </a:prstGeom>
          <a:solidFill>
            <a:schemeClr val="bg1"/>
          </a:solidFill>
          <a:ln w="19050"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p>
        </p:txBody>
      </p:sp>
      <p:cxnSp>
        <p:nvCxnSpPr>
          <p:cNvPr id="223" name="HorizontalLine14">
            <a:extLst>
              <a:ext uri="{FF2B5EF4-FFF2-40B4-BE49-F238E27FC236}">
                <a16:creationId xmlns:a16="http://schemas.microsoft.com/office/drawing/2014/main" id="{B13B7BD2-2957-47DF-A6DB-B9A81F497925}"/>
              </a:ext>
            </a:extLst>
          </p:cNvPr>
          <p:cNvCxnSpPr>
            <a:cxnSpLocks/>
          </p:cNvCxnSpPr>
          <p:nvPr/>
        </p:nvCxnSpPr>
        <p:spPr>
          <a:xfrm flipH="1">
            <a:off x="3562756" y="4793409"/>
            <a:ext cx="8262000" cy="0"/>
          </a:xfrm>
          <a:prstGeom prst="line">
            <a:avLst/>
          </a:prstGeom>
          <a:ln w="22225">
            <a:solidFill>
              <a:srgbClr val="BBBEC2"/>
            </a:solidFill>
          </a:ln>
          <a:effectLst/>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3EAFD45F-03FC-4A5B-A719-4F53044EC21E}"/>
              </a:ext>
            </a:extLst>
          </p:cNvPr>
          <p:cNvGrpSpPr/>
          <p:nvPr/>
        </p:nvGrpSpPr>
        <p:grpSpPr>
          <a:xfrm flipH="1">
            <a:off x="11012771" y="4570778"/>
            <a:ext cx="445264" cy="445262"/>
            <a:chOff x="3947652" y="3785205"/>
            <a:chExt cx="445264" cy="445262"/>
          </a:xfrm>
        </p:grpSpPr>
        <p:sp>
          <p:nvSpPr>
            <p:cNvPr id="225" name="Oval 224">
              <a:extLst>
                <a:ext uri="{FF2B5EF4-FFF2-40B4-BE49-F238E27FC236}">
                  <a16:creationId xmlns:a16="http://schemas.microsoft.com/office/drawing/2014/main" id="{595BB0AA-B2FA-459B-BBC2-D92FF55A7267}"/>
                </a:ext>
              </a:extLst>
            </p:cNvPr>
            <p:cNvSpPr/>
            <p:nvPr/>
          </p:nvSpPr>
          <p:spPr>
            <a:xfrm>
              <a:off x="3947652" y="3785205"/>
              <a:ext cx="445264" cy="445262"/>
            </a:xfrm>
            <a:prstGeom prst="ellipse">
              <a:avLst/>
            </a:prstGeom>
            <a:solidFill>
              <a:schemeClr val="bg1"/>
            </a:solidFill>
            <a:ln w="19050"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p>
          </p:txBody>
        </p:sp>
        <p:sp>
          <p:nvSpPr>
            <p:cNvPr id="226" name="Freeform 6">
              <a:extLst>
                <a:ext uri="{FF2B5EF4-FFF2-40B4-BE49-F238E27FC236}">
                  <a16:creationId xmlns:a16="http://schemas.microsoft.com/office/drawing/2014/main" id="{376BFA3D-5CEE-48A9-8585-2C73A9824FAB}"/>
                </a:ext>
              </a:extLst>
            </p:cNvPr>
            <p:cNvSpPr>
              <a:spLocks/>
            </p:cNvSpPr>
            <p:nvPr/>
          </p:nvSpPr>
          <p:spPr bwMode="auto">
            <a:xfrm rot="5400000">
              <a:off x="4045706" y="3899162"/>
              <a:ext cx="249156" cy="217348"/>
            </a:xfrm>
            <a:custGeom>
              <a:avLst/>
              <a:gdLst>
                <a:gd name="T0" fmla="*/ 0 w 429"/>
                <a:gd name="T1" fmla="*/ 107 h 303"/>
                <a:gd name="T2" fmla="*/ 259 w 429"/>
                <a:gd name="T3" fmla="*/ 107 h 303"/>
                <a:gd name="T4" fmla="*/ 153 w 429"/>
                <a:gd name="T5" fmla="*/ 0 h 303"/>
                <a:gd name="T6" fmla="*/ 281 w 429"/>
                <a:gd name="T7" fmla="*/ 0 h 303"/>
                <a:gd name="T8" fmla="*/ 429 w 429"/>
                <a:gd name="T9" fmla="*/ 152 h 303"/>
                <a:gd name="T10" fmla="*/ 281 w 429"/>
                <a:gd name="T11" fmla="*/ 303 h 303"/>
                <a:gd name="T12" fmla="*/ 153 w 429"/>
                <a:gd name="T13" fmla="*/ 303 h 303"/>
                <a:gd name="T14" fmla="*/ 259 w 429"/>
                <a:gd name="T15" fmla="*/ 197 h 303"/>
                <a:gd name="T16" fmla="*/ 0 w 429"/>
                <a:gd name="T17" fmla="*/ 197 h 303"/>
                <a:gd name="T18" fmla="*/ 0 w 429"/>
                <a:gd name="T19" fmla="*/ 10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 h="303">
                  <a:moveTo>
                    <a:pt x="0" y="107"/>
                  </a:moveTo>
                  <a:lnTo>
                    <a:pt x="259" y="107"/>
                  </a:lnTo>
                  <a:lnTo>
                    <a:pt x="153" y="0"/>
                  </a:lnTo>
                  <a:lnTo>
                    <a:pt x="281" y="0"/>
                  </a:lnTo>
                  <a:lnTo>
                    <a:pt x="429" y="152"/>
                  </a:lnTo>
                  <a:lnTo>
                    <a:pt x="281" y="303"/>
                  </a:lnTo>
                  <a:lnTo>
                    <a:pt x="153" y="303"/>
                  </a:lnTo>
                  <a:lnTo>
                    <a:pt x="259" y="197"/>
                  </a:lnTo>
                  <a:lnTo>
                    <a:pt x="0" y="197"/>
                  </a:lnTo>
                  <a:lnTo>
                    <a:pt x="0" y="107"/>
                  </a:lnTo>
                  <a:close/>
                </a:path>
              </a:pathLst>
            </a:custGeom>
            <a:solidFill>
              <a:srgbClr val="90D214"/>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a:xfrm>
            <a:off x="365682" y="90049"/>
            <a:ext cx="9939600" cy="201600"/>
          </a:xfrm>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100" name="Title55">
            <a:extLst>
              <a:ext uri="{FF2B5EF4-FFF2-40B4-BE49-F238E27FC236}">
                <a16:creationId xmlns:a16="http://schemas.microsoft.com/office/drawing/2014/main" id="{EF972523-3EBE-4AF1-9E73-11AD0DEE2165}"/>
              </a:ext>
            </a:extLst>
          </p:cNvPr>
          <p:cNvSpPr txBox="1"/>
          <p:nvPr/>
        </p:nvSpPr>
        <p:spPr>
          <a:xfrm>
            <a:off x="365681" y="1919786"/>
            <a:ext cx="3023101" cy="276999"/>
          </a:xfrm>
          <a:prstGeom prst="rect">
            <a:avLst/>
          </a:prstGeom>
          <a:noFill/>
          <a:ln w="9525">
            <a:noFill/>
          </a:ln>
        </p:spPr>
        <p:txBody>
          <a:bodyPr vert="horz" wrap="square" lIns="0" tIns="0" rIns="0" bIns="0" rtlCol="0" anchor="b">
            <a:spAutoFit/>
          </a:bodyPr>
          <a:lstStyle/>
          <a:p>
            <a:pPr defTabSz="330200"/>
            <a:r>
              <a:rPr lang="en-GB" b="1">
                <a:ea typeface="PMingLiU" pitchFamily="18" charset="-120"/>
                <a:cs typeface="Arial" panose="020B0604020202020204" pitchFamily="34" charset="0"/>
              </a:rPr>
              <a:t>Single-line header</a:t>
            </a:r>
          </a:p>
        </p:txBody>
      </p:sp>
      <p:cxnSp>
        <p:nvCxnSpPr>
          <p:cNvPr id="101" name="HorizontalLine12">
            <a:extLst>
              <a:ext uri="{FF2B5EF4-FFF2-40B4-BE49-F238E27FC236}">
                <a16:creationId xmlns:a16="http://schemas.microsoft.com/office/drawing/2014/main" id="{313149BD-5638-43FA-900C-8A1D09BA9ABB}"/>
              </a:ext>
            </a:extLst>
          </p:cNvPr>
          <p:cNvCxnSpPr>
            <a:cxnSpLocks/>
          </p:cNvCxnSpPr>
          <p:nvPr/>
        </p:nvCxnSpPr>
        <p:spPr>
          <a:xfrm>
            <a:off x="365682" y="2244974"/>
            <a:ext cx="3023101" cy="0"/>
          </a:xfrm>
          <a:prstGeom prst="line">
            <a:avLst/>
          </a:prstGeom>
          <a:ln w="22225">
            <a:solidFill>
              <a:srgbClr val="BBBEC2"/>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03" name="Title1313">
            <a:extLst>
              <a:ext uri="{FF2B5EF4-FFF2-40B4-BE49-F238E27FC236}">
                <a16:creationId xmlns:a16="http://schemas.microsoft.com/office/drawing/2014/main" id="{AE18E845-BF2F-45FA-8F88-92DE0403D94C}"/>
              </a:ext>
            </a:extLst>
          </p:cNvPr>
          <p:cNvSpPr txBox="1"/>
          <p:nvPr/>
        </p:nvSpPr>
        <p:spPr>
          <a:xfrm>
            <a:off x="3562756" y="1919786"/>
            <a:ext cx="8263561" cy="276999"/>
          </a:xfrm>
          <a:prstGeom prst="rect">
            <a:avLst/>
          </a:prstGeom>
          <a:noFill/>
          <a:ln w="9525">
            <a:noFill/>
          </a:ln>
        </p:spPr>
        <p:txBody>
          <a:bodyPr vert="horz" wrap="square" lIns="0" tIns="0" rIns="0" bIns="0" rtlCol="0" anchor="b">
            <a:spAutoFit/>
          </a:bodyPr>
          <a:lstStyle/>
          <a:p>
            <a:pPr defTabSz="330200"/>
            <a:r>
              <a:rPr lang="en-GB" b="1">
                <a:ea typeface="PMingLiU" pitchFamily="18" charset="-120"/>
                <a:cs typeface="Arial" panose="020B0604020202020204" pitchFamily="34" charset="0"/>
              </a:rPr>
              <a:t>Single-line header</a:t>
            </a:r>
          </a:p>
        </p:txBody>
      </p:sp>
      <p:cxnSp>
        <p:nvCxnSpPr>
          <p:cNvPr id="104" name="HorizontalLine14">
            <a:extLst>
              <a:ext uri="{FF2B5EF4-FFF2-40B4-BE49-F238E27FC236}">
                <a16:creationId xmlns:a16="http://schemas.microsoft.com/office/drawing/2014/main" id="{887C9EE3-7D6D-48D5-A2F0-3C11ABAA70EE}"/>
              </a:ext>
            </a:extLst>
          </p:cNvPr>
          <p:cNvCxnSpPr>
            <a:cxnSpLocks/>
          </p:cNvCxnSpPr>
          <p:nvPr/>
        </p:nvCxnSpPr>
        <p:spPr>
          <a:xfrm>
            <a:off x="3562756" y="2244974"/>
            <a:ext cx="8263561" cy="0"/>
          </a:xfrm>
          <a:prstGeom prst="line">
            <a:avLst/>
          </a:prstGeom>
          <a:ln w="22225">
            <a:solidFill>
              <a:srgbClr val="BBBEC2"/>
            </a:solidFill>
          </a:ln>
          <a:effectLst/>
        </p:spPr>
        <p:style>
          <a:lnRef idx="1">
            <a:schemeClr val="accent1"/>
          </a:lnRef>
          <a:fillRef idx="0">
            <a:schemeClr val="accent1"/>
          </a:fillRef>
          <a:effectRef idx="0">
            <a:schemeClr val="accent1"/>
          </a:effectRef>
          <a:fontRef idx="minor">
            <a:schemeClr val="tx1"/>
          </a:fontRef>
        </p:style>
      </p:cxnSp>
      <p:sp>
        <p:nvSpPr>
          <p:cNvPr id="35" name="Rectangle 79">
            <a:extLst>
              <a:ext uri="{FF2B5EF4-FFF2-40B4-BE49-F238E27FC236}">
                <a16:creationId xmlns:a16="http://schemas.microsoft.com/office/drawing/2014/main" id="{5F55BC43-EAEA-4A85-8B52-9F59EF5C16EA}"/>
              </a:ext>
            </a:extLst>
          </p:cNvPr>
          <p:cNvSpPr>
            <a:spLocks/>
          </p:cNvSpPr>
          <p:nvPr/>
        </p:nvSpPr>
        <p:spPr>
          <a:xfrm>
            <a:off x="3568080" y="2360367"/>
            <a:ext cx="7775997"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6" name="Rectangle 79">
            <a:extLst>
              <a:ext uri="{FF2B5EF4-FFF2-40B4-BE49-F238E27FC236}">
                <a16:creationId xmlns:a16="http://schemas.microsoft.com/office/drawing/2014/main" id="{0B59B308-F032-4B1C-A740-B700B86CB435}"/>
              </a:ext>
            </a:extLst>
          </p:cNvPr>
          <p:cNvSpPr>
            <a:spLocks/>
          </p:cNvSpPr>
          <p:nvPr/>
        </p:nvSpPr>
        <p:spPr>
          <a:xfrm>
            <a:off x="3562750" y="3631954"/>
            <a:ext cx="7775997"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7" name="Rectangle 79">
            <a:extLst>
              <a:ext uri="{FF2B5EF4-FFF2-40B4-BE49-F238E27FC236}">
                <a16:creationId xmlns:a16="http://schemas.microsoft.com/office/drawing/2014/main" id="{C571F218-44AF-4E87-89BF-CF67DE848035}"/>
              </a:ext>
            </a:extLst>
          </p:cNvPr>
          <p:cNvSpPr>
            <a:spLocks/>
          </p:cNvSpPr>
          <p:nvPr/>
        </p:nvSpPr>
        <p:spPr>
          <a:xfrm>
            <a:off x="3562749" y="4903541"/>
            <a:ext cx="7775997" cy="1018740"/>
          </a:xfrm>
          <a:prstGeom prst="rect">
            <a:avLst/>
          </a:prstGeom>
        </p:spPr>
        <p:txBody>
          <a:bodyPr vert="horz" wrap="square" lIns="0" tIns="0" rIns="0" bIns="0">
            <a:spAutoFit/>
          </a:bodyPr>
          <a:lstStyle/>
          <a:p>
            <a:pPr marL="0" lvl="1">
              <a:spcBef>
                <a:spcPts val="600"/>
              </a:spcBef>
              <a:buClr>
                <a:srgbClr val="004149"/>
              </a:buClr>
            </a:pPr>
            <a:r>
              <a:rPr lang="en-GB" b="1"/>
              <a:t>One-line header</a:t>
            </a:r>
            <a:endParaRPr lang="en-GB" sz="1600"/>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nvGrpSpPr>
          <p:cNvPr id="9" name="Gruppieren 8">
            <a:extLst>
              <a:ext uri="{FF2B5EF4-FFF2-40B4-BE49-F238E27FC236}">
                <a16:creationId xmlns:a16="http://schemas.microsoft.com/office/drawing/2014/main" id="{14F4AC40-7901-468E-9186-88E6BA939B36}"/>
              </a:ext>
            </a:extLst>
          </p:cNvPr>
          <p:cNvGrpSpPr/>
          <p:nvPr/>
        </p:nvGrpSpPr>
        <p:grpSpPr>
          <a:xfrm>
            <a:off x="3562756" y="3298006"/>
            <a:ext cx="8262000" cy="445262"/>
            <a:chOff x="3562756" y="3306715"/>
            <a:chExt cx="8262000" cy="445262"/>
          </a:xfrm>
        </p:grpSpPr>
        <p:cxnSp>
          <p:nvCxnSpPr>
            <p:cNvPr id="114" name="HorizontalLine14">
              <a:extLst>
                <a:ext uri="{FF2B5EF4-FFF2-40B4-BE49-F238E27FC236}">
                  <a16:creationId xmlns:a16="http://schemas.microsoft.com/office/drawing/2014/main" id="{AE55D00C-307E-46F0-8922-C6FB10704BB2}"/>
                </a:ext>
              </a:extLst>
            </p:cNvPr>
            <p:cNvCxnSpPr>
              <a:cxnSpLocks/>
            </p:cNvCxnSpPr>
            <p:nvPr/>
          </p:nvCxnSpPr>
          <p:spPr>
            <a:xfrm flipH="1">
              <a:off x="3562756" y="3527901"/>
              <a:ext cx="8262000" cy="0"/>
            </a:xfrm>
            <a:prstGeom prst="line">
              <a:avLst/>
            </a:prstGeom>
            <a:ln w="22225">
              <a:solidFill>
                <a:srgbClr val="BBBEC2"/>
              </a:solidFill>
            </a:ln>
            <a:effectLst/>
          </p:spPr>
          <p:style>
            <a:lnRef idx="1">
              <a:schemeClr val="accent1"/>
            </a:lnRef>
            <a:fillRef idx="0">
              <a:schemeClr val="accent1"/>
            </a:fillRef>
            <a:effectRef idx="0">
              <a:schemeClr val="accent1"/>
            </a:effectRef>
            <a:fontRef idx="minor">
              <a:schemeClr val="tx1"/>
            </a:fontRef>
          </p:style>
        </p:cxnSp>
        <p:grpSp>
          <p:nvGrpSpPr>
            <p:cNvPr id="40" name="Group 223">
              <a:extLst>
                <a:ext uri="{FF2B5EF4-FFF2-40B4-BE49-F238E27FC236}">
                  <a16:creationId xmlns:a16="http://schemas.microsoft.com/office/drawing/2014/main" id="{2FBEF8B7-4DF8-4289-BA30-8FB27F28A9E9}"/>
                </a:ext>
              </a:extLst>
            </p:cNvPr>
            <p:cNvGrpSpPr/>
            <p:nvPr/>
          </p:nvGrpSpPr>
          <p:grpSpPr>
            <a:xfrm flipH="1">
              <a:off x="11012771" y="3306715"/>
              <a:ext cx="445264" cy="445262"/>
              <a:chOff x="3947652" y="3785205"/>
              <a:chExt cx="445264" cy="445262"/>
            </a:xfrm>
          </p:grpSpPr>
          <p:sp>
            <p:nvSpPr>
              <p:cNvPr id="41" name="Oval 224">
                <a:extLst>
                  <a:ext uri="{FF2B5EF4-FFF2-40B4-BE49-F238E27FC236}">
                    <a16:creationId xmlns:a16="http://schemas.microsoft.com/office/drawing/2014/main" id="{4C430C25-2EE6-400D-835C-A53788B67A4E}"/>
                  </a:ext>
                </a:extLst>
              </p:cNvPr>
              <p:cNvSpPr/>
              <p:nvPr/>
            </p:nvSpPr>
            <p:spPr>
              <a:xfrm>
                <a:off x="3947652" y="3785205"/>
                <a:ext cx="445264" cy="445262"/>
              </a:xfrm>
              <a:prstGeom prst="ellipse">
                <a:avLst/>
              </a:prstGeom>
              <a:solidFill>
                <a:schemeClr val="bg1"/>
              </a:solidFill>
              <a:ln w="19050"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p>
            </p:txBody>
          </p:sp>
          <p:sp>
            <p:nvSpPr>
              <p:cNvPr id="42" name="Freeform 6">
                <a:extLst>
                  <a:ext uri="{FF2B5EF4-FFF2-40B4-BE49-F238E27FC236}">
                    <a16:creationId xmlns:a16="http://schemas.microsoft.com/office/drawing/2014/main" id="{6B421592-7234-4E36-A646-23110D9F1CF4}"/>
                  </a:ext>
                </a:extLst>
              </p:cNvPr>
              <p:cNvSpPr>
                <a:spLocks/>
              </p:cNvSpPr>
              <p:nvPr/>
            </p:nvSpPr>
            <p:spPr bwMode="auto">
              <a:xfrm rot="5400000">
                <a:off x="4045706" y="3899162"/>
                <a:ext cx="249156" cy="217348"/>
              </a:xfrm>
              <a:custGeom>
                <a:avLst/>
                <a:gdLst>
                  <a:gd name="T0" fmla="*/ 0 w 429"/>
                  <a:gd name="T1" fmla="*/ 107 h 303"/>
                  <a:gd name="T2" fmla="*/ 259 w 429"/>
                  <a:gd name="T3" fmla="*/ 107 h 303"/>
                  <a:gd name="T4" fmla="*/ 153 w 429"/>
                  <a:gd name="T5" fmla="*/ 0 h 303"/>
                  <a:gd name="T6" fmla="*/ 281 w 429"/>
                  <a:gd name="T7" fmla="*/ 0 h 303"/>
                  <a:gd name="T8" fmla="*/ 429 w 429"/>
                  <a:gd name="T9" fmla="*/ 152 h 303"/>
                  <a:gd name="T10" fmla="*/ 281 w 429"/>
                  <a:gd name="T11" fmla="*/ 303 h 303"/>
                  <a:gd name="T12" fmla="*/ 153 w 429"/>
                  <a:gd name="T13" fmla="*/ 303 h 303"/>
                  <a:gd name="T14" fmla="*/ 259 w 429"/>
                  <a:gd name="T15" fmla="*/ 197 h 303"/>
                  <a:gd name="T16" fmla="*/ 0 w 429"/>
                  <a:gd name="T17" fmla="*/ 197 h 303"/>
                  <a:gd name="T18" fmla="*/ 0 w 429"/>
                  <a:gd name="T19" fmla="*/ 10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 h="303">
                    <a:moveTo>
                      <a:pt x="0" y="107"/>
                    </a:moveTo>
                    <a:lnTo>
                      <a:pt x="259" y="107"/>
                    </a:lnTo>
                    <a:lnTo>
                      <a:pt x="153" y="0"/>
                    </a:lnTo>
                    <a:lnTo>
                      <a:pt x="281" y="0"/>
                    </a:lnTo>
                    <a:lnTo>
                      <a:pt x="429" y="152"/>
                    </a:lnTo>
                    <a:lnTo>
                      <a:pt x="281" y="303"/>
                    </a:lnTo>
                    <a:lnTo>
                      <a:pt x="153" y="303"/>
                    </a:lnTo>
                    <a:lnTo>
                      <a:pt x="259" y="197"/>
                    </a:lnTo>
                    <a:lnTo>
                      <a:pt x="0" y="197"/>
                    </a:lnTo>
                    <a:lnTo>
                      <a:pt x="0" y="107"/>
                    </a:lnTo>
                    <a:close/>
                  </a:path>
                </a:pathLst>
              </a:custGeom>
              <a:solidFill>
                <a:srgbClr val="90D214"/>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29" name="Rectangle 28">
            <a:extLst>
              <a:ext uri="{FF2B5EF4-FFF2-40B4-BE49-F238E27FC236}">
                <a16:creationId xmlns:a16="http://schemas.microsoft.com/office/drawing/2014/main" id="{BBB583D6-282B-47BE-ABB8-3E1FE5423610}"/>
              </a:ext>
            </a:extLst>
          </p:cNvPr>
          <p:cNvSpPr/>
          <p:nvPr/>
        </p:nvSpPr>
        <p:spPr>
          <a:xfrm>
            <a:off x="365682" y="2371087"/>
            <a:ext cx="3024000" cy="1210588"/>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26704037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bLeanShape Left U-Shape 12">
            <a:extLst>
              <a:ext uri="{FF2B5EF4-FFF2-40B4-BE49-F238E27FC236}">
                <a16:creationId xmlns:a16="http://schemas.microsoft.com/office/drawing/2014/main" id="{26E32D5E-341D-40C2-818E-CFEA242B4E67}"/>
              </a:ext>
            </a:extLst>
          </p:cNvPr>
          <p:cNvSpPr/>
          <p:nvPr/>
        </p:nvSpPr>
        <p:spPr>
          <a:xfrm>
            <a:off x="365682" y="1913429"/>
            <a:ext cx="3996999" cy="3967199"/>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grpSp>
        <p:nvGrpSpPr>
          <p:cNvPr id="5" name="Gruppieren 4">
            <a:extLst>
              <a:ext uri="{FF2B5EF4-FFF2-40B4-BE49-F238E27FC236}">
                <a16:creationId xmlns:a16="http://schemas.microsoft.com/office/drawing/2014/main" id="{8F2F8BE6-9451-406C-9173-404FA5AB76FD}"/>
              </a:ext>
            </a:extLst>
          </p:cNvPr>
          <p:cNvGrpSpPr/>
          <p:nvPr/>
        </p:nvGrpSpPr>
        <p:grpSpPr>
          <a:xfrm>
            <a:off x="4180254" y="2116023"/>
            <a:ext cx="364853" cy="493024"/>
            <a:chOff x="4217198" y="2116023"/>
            <a:chExt cx="364853" cy="493024"/>
          </a:xfrm>
        </p:grpSpPr>
        <p:sp>
          <p:nvSpPr>
            <p:cNvPr id="4" name="Rechteck 3">
              <a:extLst>
                <a:ext uri="{FF2B5EF4-FFF2-40B4-BE49-F238E27FC236}">
                  <a16:creationId xmlns:a16="http://schemas.microsoft.com/office/drawing/2014/main" id="{858E38B3-AB45-4DB0-BA7B-BB335050E240}"/>
                </a:ext>
              </a:extLst>
            </p:cNvPr>
            <p:cNvSpPr/>
            <p:nvPr/>
          </p:nvSpPr>
          <p:spPr>
            <a:xfrm>
              <a:off x="4217198" y="2116023"/>
              <a:ext cx="364853" cy="493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32">
              <a:extLst>
                <a:ext uri="{FF2B5EF4-FFF2-40B4-BE49-F238E27FC236}">
                  <a16:creationId xmlns:a16="http://schemas.microsoft.com/office/drawing/2014/main" id="{E6421C49-9E50-4ABD-92BA-71B2BBAF5287}"/>
                </a:ext>
              </a:extLst>
            </p:cNvPr>
            <p:cNvGrpSpPr/>
            <p:nvPr/>
          </p:nvGrpSpPr>
          <p:grpSpPr>
            <a:xfrm>
              <a:off x="4217198" y="2167259"/>
              <a:ext cx="364853" cy="381000"/>
              <a:chOff x="5175849" y="2051321"/>
              <a:chExt cx="448205" cy="381000"/>
            </a:xfrm>
          </p:grpSpPr>
          <p:sp>
            <p:nvSpPr>
              <p:cNvPr id="17" name="Chevron 18">
                <a:extLst>
                  <a:ext uri="{FF2B5EF4-FFF2-40B4-BE49-F238E27FC236}">
                    <a16:creationId xmlns:a16="http://schemas.microsoft.com/office/drawing/2014/main" id="{A699051C-1D88-42DB-BB27-F3F5AE751709}"/>
                  </a:ext>
                </a:extLst>
              </p:cNvPr>
              <p:cNvSpPr/>
              <p:nvPr/>
            </p:nvSpPr>
            <p:spPr>
              <a:xfrm>
                <a:off x="5344124" y="2051321"/>
                <a:ext cx="279930" cy="381000"/>
              </a:xfrm>
              <a:prstGeom prst="chevron">
                <a:avLst/>
              </a:prstGeom>
              <a:solidFill>
                <a:srgbClr val="004149"/>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sp>
            <p:nvSpPr>
              <p:cNvPr id="18" name="Chevron 59">
                <a:extLst>
                  <a:ext uri="{FF2B5EF4-FFF2-40B4-BE49-F238E27FC236}">
                    <a16:creationId xmlns:a16="http://schemas.microsoft.com/office/drawing/2014/main" id="{0D752485-1147-4ED9-884A-A3512F4F74C4}"/>
                  </a:ext>
                </a:extLst>
              </p:cNvPr>
              <p:cNvSpPr/>
              <p:nvPr/>
            </p:nvSpPr>
            <p:spPr>
              <a:xfrm>
                <a:off x="5175849" y="2051321"/>
                <a:ext cx="279930" cy="381000"/>
              </a:xfrm>
              <a:prstGeom prst="chevron">
                <a:avLst/>
              </a:prstGeom>
              <a:solidFill>
                <a:srgbClr val="8D8EA7"/>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tx1"/>
                  </a:solidFill>
                </a:endParaRPr>
              </a:p>
            </p:txBody>
          </p:sp>
        </p:grpSp>
      </p:grpSp>
      <p:sp>
        <p:nvSpPr>
          <p:cNvPr id="19" name="Text 15">
            <a:extLst>
              <a:ext uri="{FF2B5EF4-FFF2-40B4-BE49-F238E27FC236}">
                <a16:creationId xmlns:a16="http://schemas.microsoft.com/office/drawing/2014/main" id="{E38FE92C-44CE-4E55-8CD9-61E9D1742C1D}"/>
              </a:ext>
            </a:extLst>
          </p:cNvPr>
          <p:cNvSpPr>
            <a:spLocks noChangeArrowheads="1"/>
          </p:cNvSpPr>
          <p:nvPr/>
        </p:nvSpPr>
        <p:spPr bwMode="auto">
          <a:xfrm rot="16200000">
            <a:off x="3730341" y="2777773"/>
            <a:ext cx="2121975" cy="492443"/>
          </a:xfrm>
          <a:prstGeom prst="rect">
            <a:avLst/>
          </a:prstGeom>
          <a:noFill/>
          <a:ln w="6350">
            <a:noFill/>
            <a:miter lim="800000"/>
            <a:headEnd/>
            <a:tailEnd/>
          </a:ln>
        </p:spPr>
        <p:txBody>
          <a:bodyPr wrap="square" lIns="0" tIns="0" rIns="0" bIns="0">
            <a:spAutoFit/>
          </a:bodyPr>
          <a:lstStyle/>
          <a:p>
            <a:pPr defTabSz="330200"/>
            <a:r>
              <a:rPr lang="en-GB" sz="3200" b="1">
                <a:solidFill>
                  <a:srgbClr val="8D8EA7"/>
                </a:solidFill>
                <a:latin typeface="+mj-lt"/>
                <a:ea typeface="PMingLiU" pitchFamily="18" charset="-120"/>
                <a:cs typeface="Arial" panose="020B0604020202020204" pitchFamily="34" charset="0"/>
              </a:rPr>
              <a:t>Objectives</a:t>
            </a:r>
          </a:p>
        </p:txBody>
      </p:sp>
      <p:sp>
        <p:nvSpPr>
          <p:cNvPr id="21" name="Rectangle 29">
            <a:extLst>
              <a:ext uri="{FF2B5EF4-FFF2-40B4-BE49-F238E27FC236}">
                <a16:creationId xmlns:a16="http://schemas.microsoft.com/office/drawing/2014/main" id="{5C838EA8-8CFF-4ABD-A80A-17D254B4D727}"/>
              </a:ext>
            </a:extLst>
          </p:cNvPr>
          <p:cNvSpPr/>
          <p:nvPr/>
        </p:nvSpPr>
        <p:spPr>
          <a:xfrm>
            <a:off x="5169065" y="1963007"/>
            <a:ext cx="6657251" cy="1074140"/>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a:t>…</a:t>
            </a:r>
          </a:p>
        </p:txBody>
      </p:sp>
      <p:sp>
        <p:nvSpPr>
          <p:cNvPr id="22" name="Rectangle 29">
            <a:extLst>
              <a:ext uri="{FF2B5EF4-FFF2-40B4-BE49-F238E27FC236}">
                <a16:creationId xmlns:a16="http://schemas.microsoft.com/office/drawing/2014/main" id="{7E5CCAB2-D675-401D-A15A-09336C24A08B}"/>
              </a:ext>
            </a:extLst>
          </p:cNvPr>
          <p:cNvSpPr/>
          <p:nvPr/>
        </p:nvSpPr>
        <p:spPr>
          <a:xfrm>
            <a:off x="365682" y="2116023"/>
            <a:ext cx="3714535" cy="1074140"/>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a:t>…</a:t>
            </a:r>
          </a:p>
        </p:txBody>
      </p:sp>
    </p:spTree>
    <p:extLst>
      <p:ext uri="{BB962C8B-B14F-4D97-AF65-F5344CB8AC3E}">
        <p14:creationId xmlns:p14="http://schemas.microsoft.com/office/powerpoint/2010/main" val="39094499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6D4-5EFA-4F57-BDCC-674E609BBC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5" imgH="416" progId="TCLayout.ActiveDocument.1">
                  <p:embed/>
                </p:oleObj>
              </mc:Choice>
              <mc:Fallback>
                <p:oleObj name="think-cell Folie" r:id="rId3" imgW="415" imgH="416" progId="TCLayout.ActiveDocument.1">
                  <p:embed/>
                  <p:pic>
                    <p:nvPicPr>
                      <p:cNvPr id="4" name="Object 3" hidden="1">
                        <a:extLst>
                          <a:ext uri="{FF2B5EF4-FFF2-40B4-BE49-F238E27FC236}">
                            <a16:creationId xmlns:a16="http://schemas.microsoft.com/office/drawing/2014/main" id="{2E5D16D4-5EFA-4F57-BDCC-674E609BBC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759A161-3EBE-4F5E-B833-026F415F8F41}"/>
              </a:ext>
            </a:extLst>
          </p:cNvPr>
          <p:cNvSpPr>
            <a:spLocks noGrp="1"/>
          </p:cNvSpPr>
          <p:nvPr>
            <p:ph type="ctrTitle"/>
          </p:nvPr>
        </p:nvSpPr>
        <p:spPr/>
        <p:txBody>
          <a:bodyPr/>
          <a:lstStyle/>
          <a:p>
            <a:r>
              <a:rPr lang="en-GB"/>
              <a:t>Enumeration</a:t>
            </a:r>
          </a:p>
        </p:txBody>
      </p:sp>
    </p:spTree>
    <p:extLst>
      <p:ext uri="{BB962C8B-B14F-4D97-AF65-F5344CB8AC3E}">
        <p14:creationId xmlns:p14="http://schemas.microsoft.com/office/powerpoint/2010/main" val="18048684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4" name="Group 3">
            <a:extLst>
              <a:ext uri="{FF2B5EF4-FFF2-40B4-BE49-F238E27FC236}">
                <a16:creationId xmlns:a16="http://schemas.microsoft.com/office/drawing/2014/main" id="{544E333C-4B37-444A-9E33-5A388BD4B6E3}"/>
              </a:ext>
            </a:extLst>
          </p:cNvPr>
          <p:cNvGrpSpPr/>
          <p:nvPr/>
        </p:nvGrpSpPr>
        <p:grpSpPr>
          <a:xfrm>
            <a:off x="365682" y="1919786"/>
            <a:ext cx="2943828" cy="1300197"/>
            <a:chOff x="365682" y="1919786"/>
            <a:chExt cx="2943828" cy="1300197"/>
          </a:xfrm>
        </p:grpSpPr>
        <p:sp>
          <p:nvSpPr>
            <p:cNvPr id="24" name="RBContent19">
              <a:extLst>
                <a:ext uri="{FF2B5EF4-FFF2-40B4-BE49-F238E27FC236}">
                  <a16:creationId xmlns:a16="http://schemas.microsoft.com/office/drawing/2014/main" id="{424DF39D-8D71-4130-9563-5BAF1D113DE9}"/>
                </a:ext>
              </a:extLst>
            </p:cNvPr>
            <p:cNvSpPr txBox="1"/>
            <p:nvPr/>
          </p:nvSpPr>
          <p:spPr>
            <a:xfrm>
              <a:off x="365682" y="1919786"/>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26" name="Text 15">
              <a:extLst>
                <a:ext uri="{FF2B5EF4-FFF2-40B4-BE49-F238E27FC236}">
                  <a16:creationId xmlns:a16="http://schemas.microsoft.com/office/drawing/2014/main" id="{88338FE3-DA0A-4D2A-A93F-CA96029503BE}"/>
                </a:ext>
              </a:extLst>
            </p:cNvPr>
            <p:cNvSpPr>
              <a:spLocks noChangeArrowheads="1"/>
            </p:cNvSpPr>
            <p:nvPr/>
          </p:nvSpPr>
          <p:spPr bwMode="auto">
            <a:xfrm>
              <a:off x="770493" y="1919786"/>
              <a:ext cx="252089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7" name="Rectangle 29">
              <a:extLst>
                <a:ext uri="{FF2B5EF4-FFF2-40B4-BE49-F238E27FC236}">
                  <a16:creationId xmlns:a16="http://schemas.microsoft.com/office/drawing/2014/main" id="{821346B8-CDD5-4006-A0DE-B86907CD1B1B}"/>
                </a:ext>
              </a:extLst>
            </p:cNvPr>
            <p:cNvSpPr/>
            <p:nvPr/>
          </p:nvSpPr>
          <p:spPr>
            <a:xfrm>
              <a:off x="770493" y="2256642"/>
              <a:ext cx="253901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1" name="Group 10">
            <a:extLst>
              <a:ext uri="{FF2B5EF4-FFF2-40B4-BE49-F238E27FC236}">
                <a16:creationId xmlns:a16="http://schemas.microsoft.com/office/drawing/2014/main" id="{03C7B271-C68B-894C-AA70-CFF3BA81B7BC}"/>
              </a:ext>
            </a:extLst>
          </p:cNvPr>
          <p:cNvGrpSpPr/>
          <p:nvPr/>
        </p:nvGrpSpPr>
        <p:grpSpPr>
          <a:xfrm>
            <a:off x="3133440" y="1919786"/>
            <a:ext cx="2969846" cy="1300197"/>
            <a:chOff x="3133440" y="1919786"/>
            <a:chExt cx="2969846" cy="1300197"/>
          </a:xfrm>
        </p:grpSpPr>
        <p:sp>
          <p:nvSpPr>
            <p:cNvPr id="28" name="RBContent19">
              <a:extLst>
                <a:ext uri="{FF2B5EF4-FFF2-40B4-BE49-F238E27FC236}">
                  <a16:creationId xmlns:a16="http://schemas.microsoft.com/office/drawing/2014/main" id="{9E5F4AB3-7A07-49A9-B661-606AE99D76FF}"/>
                </a:ext>
              </a:extLst>
            </p:cNvPr>
            <p:cNvSpPr txBox="1"/>
            <p:nvPr/>
          </p:nvSpPr>
          <p:spPr>
            <a:xfrm>
              <a:off x="3133440" y="1919786"/>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30" name="Text 15">
              <a:extLst>
                <a:ext uri="{FF2B5EF4-FFF2-40B4-BE49-F238E27FC236}">
                  <a16:creationId xmlns:a16="http://schemas.microsoft.com/office/drawing/2014/main" id="{8BEDC4C9-556C-4529-AC7B-7F595B5C9FBD}"/>
                </a:ext>
              </a:extLst>
            </p:cNvPr>
            <p:cNvSpPr>
              <a:spLocks noChangeArrowheads="1"/>
            </p:cNvSpPr>
            <p:nvPr/>
          </p:nvSpPr>
          <p:spPr bwMode="auto">
            <a:xfrm>
              <a:off x="3607289" y="1919786"/>
              <a:ext cx="2495997"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5" name="Rectangle 29">
              <a:extLst>
                <a:ext uri="{FF2B5EF4-FFF2-40B4-BE49-F238E27FC236}">
                  <a16:creationId xmlns:a16="http://schemas.microsoft.com/office/drawing/2014/main" id="{8C9272EB-6C4F-4B87-B127-4D79B42B1076}"/>
                </a:ext>
              </a:extLst>
            </p:cNvPr>
            <p:cNvSpPr/>
            <p:nvPr/>
          </p:nvSpPr>
          <p:spPr>
            <a:xfrm>
              <a:off x="3607287" y="2256642"/>
              <a:ext cx="249599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2" name="Group 11">
            <a:extLst>
              <a:ext uri="{FF2B5EF4-FFF2-40B4-BE49-F238E27FC236}">
                <a16:creationId xmlns:a16="http://schemas.microsoft.com/office/drawing/2014/main" id="{062811A4-2C23-9349-BEE4-C49D1E19192C}"/>
              </a:ext>
            </a:extLst>
          </p:cNvPr>
          <p:cNvGrpSpPr/>
          <p:nvPr/>
        </p:nvGrpSpPr>
        <p:grpSpPr>
          <a:xfrm>
            <a:off x="5927216" y="1919786"/>
            <a:ext cx="3038468" cy="1300197"/>
            <a:chOff x="5927216" y="1919786"/>
            <a:chExt cx="3038468" cy="1300197"/>
          </a:xfrm>
        </p:grpSpPr>
        <p:sp>
          <p:nvSpPr>
            <p:cNvPr id="20" name="RBContent19">
              <a:extLst>
                <a:ext uri="{FF2B5EF4-FFF2-40B4-BE49-F238E27FC236}">
                  <a16:creationId xmlns:a16="http://schemas.microsoft.com/office/drawing/2014/main" id="{BE453161-805A-44E6-ABF8-9AA8C6216F58}"/>
                </a:ext>
              </a:extLst>
            </p:cNvPr>
            <p:cNvSpPr txBox="1"/>
            <p:nvPr/>
          </p:nvSpPr>
          <p:spPr>
            <a:xfrm>
              <a:off x="5927216" y="1919786"/>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3</a:t>
              </a:r>
            </a:p>
          </p:txBody>
        </p:sp>
        <p:sp>
          <p:nvSpPr>
            <p:cNvPr id="21" name="Text 15">
              <a:extLst>
                <a:ext uri="{FF2B5EF4-FFF2-40B4-BE49-F238E27FC236}">
                  <a16:creationId xmlns:a16="http://schemas.microsoft.com/office/drawing/2014/main" id="{023F5059-4A1D-4BA8-A4F2-09A93897E4C4}"/>
                </a:ext>
              </a:extLst>
            </p:cNvPr>
            <p:cNvSpPr>
              <a:spLocks noChangeArrowheads="1"/>
            </p:cNvSpPr>
            <p:nvPr/>
          </p:nvSpPr>
          <p:spPr bwMode="auto">
            <a:xfrm>
              <a:off x="6401065" y="1919786"/>
              <a:ext cx="256461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22" name="Rectangle 29">
              <a:extLst>
                <a:ext uri="{FF2B5EF4-FFF2-40B4-BE49-F238E27FC236}">
                  <a16:creationId xmlns:a16="http://schemas.microsoft.com/office/drawing/2014/main" id="{99B4AAE5-67FF-498B-9E30-BD3C2E9D3F3A}"/>
                </a:ext>
              </a:extLst>
            </p:cNvPr>
            <p:cNvSpPr/>
            <p:nvPr/>
          </p:nvSpPr>
          <p:spPr>
            <a:xfrm>
              <a:off x="6401063" y="2256642"/>
              <a:ext cx="25646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6" name="Group 15">
            <a:extLst>
              <a:ext uri="{FF2B5EF4-FFF2-40B4-BE49-F238E27FC236}">
                <a16:creationId xmlns:a16="http://schemas.microsoft.com/office/drawing/2014/main" id="{053F88B8-A022-4743-A619-DBC1586DFFEE}"/>
              </a:ext>
            </a:extLst>
          </p:cNvPr>
          <p:cNvGrpSpPr/>
          <p:nvPr/>
        </p:nvGrpSpPr>
        <p:grpSpPr>
          <a:xfrm>
            <a:off x="8789614" y="1919786"/>
            <a:ext cx="3038468" cy="1300197"/>
            <a:chOff x="8789614" y="1919786"/>
            <a:chExt cx="3038468" cy="1300197"/>
          </a:xfrm>
        </p:grpSpPr>
        <p:sp>
          <p:nvSpPr>
            <p:cNvPr id="42" name="RBContent19">
              <a:extLst>
                <a:ext uri="{FF2B5EF4-FFF2-40B4-BE49-F238E27FC236}">
                  <a16:creationId xmlns:a16="http://schemas.microsoft.com/office/drawing/2014/main" id="{CB8D270A-91D4-4413-AE81-6A89196E798B}"/>
                </a:ext>
              </a:extLst>
            </p:cNvPr>
            <p:cNvSpPr txBox="1"/>
            <p:nvPr/>
          </p:nvSpPr>
          <p:spPr>
            <a:xfrm>
              <a:off x="8789614" y="1919786"/>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4</a:t>
              </a:r>
            </a:p>
          </p:txBody>
        </p:sp>
        <p:sp>
          <p:nvSpPr>
            <p:cNvPr id="43" name="Text 15">
              <a:extLst>
                <a:ext uri="{FF2B5EF4-FFF2-40B4-BE49-F238E27FC236}">
                  <a16:creationId xmlns:a16="http://schemas.microsoft.com/office/drawing/2014/main" id="{40B62812-C51B-481B-AF2C-B3CCAA51B1A9}"/>
                </a:ext>
              </a:extLst>
            </p:cNvPr>
            <p:cNvSpPr>
              <a:spLocks noChangeArrowheads="1"/>
            </p:cNvSpPr>
            <p:nvPr/>
          </p:nvSpPr>
          <p:spPr bwMode="auto">
            <a:xfrm>
              <a:off x="9263463" y="1919786"/>
              <a:ext cx="256461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4" name="Rectangle 29">
              <a:extLst>
                <a:ext uri="{FF2B5EF4-FFF2-40B4-BE49-F238E27FC236}">
                  <a16:creationId xmlns:a16="http://schemas.microsoft.com/office/drawing/2014/main" id="{A764AB4B-3B47-449B-AB9E-6E4823AE4515}"/>
                </a:ext>
              </a:extLst>
            </p:cNvPr>
            <p:cNvSpPr/>
            <p:nvPr/>
          </p:nvSpPr>
          <p:spPr>
            <a:xfrm>
              <a:off x="9263461" y="2256642"/>
              <a:ext cx="25646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7" name="Group 16">
            <a:extLst>
              <a:ext uri="{FF2B5EF4-FFF2-40B4-BE49-F238E27FC236}">
                <a16:creationId xmlns:a16="http://schemas.microsoft.com/office/drawing/2014/main" id="{C0171108-25EC-9441-B6F3-708BA2745D8D}"/>
              </a:ext>
            </a:extLst>
          </p:cNvPr>
          <p:cNvGrpSpPr/>
          <p:nvPr/>
        </p:nvGrpSpPr>
        <p:grpSpPr>
          <a:xfrm>
            <a:off x="365682" y="3562762"/>
            <a:ext cx="2943828" cy="1300197"/>
            <a:chOff x="365682" y="3562762"/>
            <a:chExt cx="2943828" cy="1300197"/>
          </a:xfrm>
        </p:grpSpPr>
        <p:sp>
          <p:nvSpPr>
            <p:cNvPr id="46" name="RBContent19">
              <a:extLst>
                <a:ext uri="{FF2B5EF4-FFF2-40B4-BE49-F238E27FC236}">
                  <a16:creationId xmlns:a16="http://schemas.microsoft.com/office/drawing/2014/main" id="{D222AF1D-33E7-4592-ACAA-174AD59B4DCF}"/>
                </a:ext>
              </a:extLst>
            </p:cNvPr>
            <p:cNvSpPr txBox="1"/>
            <p:nvPr/>
          </p:nvSpPr>
          <p:spPr>
            <a:xfrm>
              <a:off x="365682" y="3562762"/>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5</a:t>
              </a:r>
            </a:p>
          </p:txBody>
        </p:sp>
        <p:sp>
          <p:nvSpPr>
            <p:cNvPr id="47" name="Text 15">
              <a:extLst>
                <a:ext uri="{FF2B5EF4-FFF2-40B4-BE49-F238E27FC236}">
                  <a16:creationId xmlns:a16="http://schemas.microsoft.com/office/drawing/2014/main" id="{35A3CCCA-1ADF-4313-9977-22E4531FAB88}"/>
                </a:ext>
              </a:extLst>
            </p:cNvPr>
            <p:cNvSpPr>
              <a:spLocks noChangeArrowheads="1"/>
            </p:cNvSpPr>
            <p:nvPr/>
          </p:nvSpPr>
          <p:spPr bwMode="auto">
            <a:xfrm>
              <a:off x="770493" y="3562762"/>
              <a:ext cx="252089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8" name="Rectangle 29">
              <a:extLst>
                <a:ext uri="{FF2B5EF4-FFF2-40B4-BE49-F238E27FC236}">
                  <a16:creationId xmlns:a16="http://schemas.microsoft.com/office/drawing/2014/main" id="{1D8E844F-16FC-4C06-9BD5-75ED7195705F}"/>
                </a:ext>
              </a:extLst>
            </p:cNvPr>
            <p:cNvSpPr/>
            <p:nvPr/>
          </p:nvSpPr>
          <p:spPr>
            <a:xfrm>
              <a:off x="770493" y="3899618"/>
              <a:ext cx="253901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8" name="Group 17">
            <a:extLst>
              <a:ext uri="{FF2B5EF4-FFF2-40B4-BE49-F238E27FC236}">
                <a16:creationId xmlns:a16="http://schemas.microsoft.com/office/drawing/2014/main" id="{8CE47E7A-288A-744B-8ED5-3867EA688D50}"/>
              </a:ext>
            </a:extLst>
          </p:cNvPr>
          <p:cNvGrpSpPr/>
          <p:nvPr/>
        </p:nvGrpSpPr>
        <p:grpSpPr>
          <a:xfrm>
            <a:off x="3133440" y="3562762"/>
            <a:ext cx="2969846" cy="1300197"/>
            <a:chOff x="3133440" y="3562762"/>
            <a:chExt cx="2969846" cy="1300197"/>
          </a:xfrm>
        </p:grpSpPr>
        <p:sp>
          <p:nvSpPr>
            <p:cNvPr id="50" name="RBContent19">
              <a:extLst>
                <a:ext uri="{FF2B5EF4-FFF2-40B4-BE49-F238E27FC236}">
                  <a16:creationId xmlns:a16="http://schemas.microsoft.com/office/drawing/2014/main" id="{1C4846E0-706C-4E28-AB9A-BAC6CE4A2209}"/>
                </a:ext>
              </a:extLst>
            </p:cNvPr>
            <p:cNvSpPr txBox="1"/>
            <p:nvPr/>
          </p:nvSpPr>
          <p:spPr>
            <a:xfrm>
              <a:off x="3133440" y="3562762"/>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6</a:t>
              </a:r>
              <a:endParaRPr kumimoji="0" lang="en-GB" sz="4800" b="1" i="0" u="none" strike="noStrike" kern="0" cap="none" spc="0" normalizeH="0" baseline="0" noProof="0">
                <a:ln>
                  <a:noFill/>
                </a:ln>
                <a:solidFill>
                  <a:srgbClr val="8D8EA7"/>
                </a:solidFill>
                <a:effectLst/>
                <a:uLnTx/>
                <a:uFillTx/>
                <a:latin typeface="+mj-lt"/>
              </a:endParaRPr>
            </a:p>
          </p:txBody>
        </p:sp>
        <p:sp>
          <p:nvSpPr>
            <p:cNvPr id="51" name="Text 15">
              <a:extLst>
                <a:ext uri="{FF2B5EF4-FFF2-40B4-BE49-F238E27FC236}">
                  <a16:creationId xmlns:a16="http://schemas.microsoft.com/office/drawing/2014/main" id="{8725C334-2578-429E-BBD4-AE49975E2427}"/>
                </a:ext>
              </a:extLst>
            </p:cNvPr>
            <p:cNvSpPr>
              <a:spLocks noChangeArrowheads="1"/>
            </p:cNvSpPr>
            <p:nvPr/>
          </p:nvSpPr>
          <p:spPr bwMode="auto">
            <a:xfrm>
              <a:off x="3607289" y="3562762"/>
              <a:ext cx="2495997"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2" name="Rectangle 29">
              <a:extLst>
                <a:ext uri="{FF2B5EF4-FFF2-40B4-BE49-F238E27FC236}">
                  <a16:creationId xmlns:a16="http://schemas.microsoft.com/office/drawing/2014/main" id="{09F294AF-14C8-48E2-938C-F339A6508F15}"/>
                </a:ext>
              </a:extLst>
            </p:cNvPr>
            <p:cNvSpPr/>
            <p:nvPr/>
          </p:nvSpPr>
          <p:spPr>
            <a:xfrm>
              <a:off x="3607287" y="3899618"/>
              <a:ext cx="249599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9" name="Group 18">
            <a:extLst>
              <a:ext uri="{FF2B5EF4-FFF2-40B4-BE49-F238E27FC236}">
                <a16:creationId xmlns:a16="http://schemas.microsoft.com/office/drawing/2014/main" id="{927D3E59-C54B-2543-826C-2F48E9762E49}"/>
              </a:ext>
            </a:extLst>
          </p:cNvPr>
          <p:cNvGrpSpPr/>
          <p:nvPr/>
        </p:nvGrpSpPr>
        <p:grpSpPr>
          <a:xfrm>
            <a:off x="5927216" y="3562762"/>
            <a:ext cx="3038468" cy="1300197"/>
            <a:chOff x="5927216" y="3562762"/>
            <a:chExt cx="3038468" cy="1300197"/>
          </a:xfrm>
        </p:grpSpPr>
        <p:sp>
          <p:nvSpPr>
            <p:cNvPr id="54" name="RBContent19">
              <a:extLst>
                <a:ext uri="{FF2B5EF4-FFF2-40B4-BE49-F238E27FC236}">
                  <a16:creationId xmlns:a16="http://schemas.microsoft.com/office/drawing/2014/main" id="{7FABEC3C-A606-4B66-A890-59A81BB4D1BA}"/>
                </a:ext>
              </a:extLst>
            </p:cNvPr>
            <p:cNvSpPr txBox="1"/>
            <p:nvPr/>
          </p:nvSpPr>
          <p:spPr>
            <a:xfrm>
              <a:off x="5927216" y="3562762"/>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7</a:t>
              </a:r>
            </a:p>
          </p:txBody>
        </p:sp>
        <p:sp>
          <p:nvSpPr>
            <p:cNvPr id="55" name="Text 15">
              <a:extLst>
                <a:ext uri="{FF2B5EF4-FFF2-40B4-BE49-F238E27FC236}">
                  <a16:creationId xmlns:a16="http://schemas.microsoft.com/office/drawing/2014/main" id="{8845519F-4651-482B-9B17-A4A77E4474F7}"/>
                </a:ext>
              </a:extLst>
            </p:cNvPr>
            <p:cNvSpPr>
              <a:spLocks noChangeArrowheads="1"/>
            </p:cNvSpPr>
            <p:nvPr/>
          </p:nvSpPr>
          <p:spPr bwMode="auto">
            <a:xfrm>
              <a:off x="6401065" y="3562762"/>
              <a:ext cx="256461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56" name="Rectangle 29">
              <a:extLst>
                <a:ext uri="{FF2B5EF4-FFF2-40B4-BE49-F238E27FC236}">
                  <a16:creationId xmlns:a16="http://schemas.microsoft.com/office/drawing/2014/main" id="{07C90280-A36A-4B10-AFC5-22F8AC4E2DC4}"/>
                </a:ext>
              </a:extLst>
            </p:cNvPr>
            <p:cNvSpPr/>
            <p:nvPr/>
          </p:nvSpPr>
          <p:spPr>
            <a:xfrm>
              <a:off x="6401063" y="3899618"/>
              <a:ext cx="25646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23" name="Group 22">
            <a:extLst>
              <a:ext uri="{FF2B5EF4-FFF2-40B4-BE49-F238E27FC236}">
                <a16:creationId xmlns:a16="http://schemas.microsoft.com/office/drawing/2014/main" id="{EBCFFAE0-BF07-EF4B-90A4-786B5DBA87E5}"/>
              </a:ext>
            </a:extLst>
          </p:cNvPr>
          <p:cNvGrpSpPr/>
          <p:nvPr/>
        </p:nvGrpSpPr>
        <p:grpSpPr>
          <a:xfrm>
            <a:off x="8789614" y="3562762"/>
            <a:ext cx="3038468" cy="1300197"/>
            <a:chOff x="8789614" y="3562762"/>
            <a:chExt cx="3038468" cy="1300197"/>
          </a:xfrm>
        </p:grpSpPr>
        <p:sp>
          <p:nvSpPr>
            <p:cNvPr id="58" name="RBContent19">
              <a:extLst>
                <a:ext uri="{FF2B5EF4-FFF2-40B4-BE49-F238E27FC236}">
                  <a16:creationId xmlns:a16="http://schemas.microsoft.com/office/drawing/2014/main" id="{0D1B7C74-30F2-4443-8ACD-F06BD77C921C}"/>
                </a:ext>
              </a:extLst>
            </p:cNvPr>
            <p:cNvSpPr txBox="1"/>
            <p:nvPr/>
          </p:nvSpPr>
          <p:spPr>
            <a:xfrm>
              <a:off x="8789614" y="3562762"/>
              <a:ext cx="327600"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8</a:t>
              </a:r>
            </a:p>
          </p:txBody>
        </p:sp>
        <p:sp>
          <p:nvSpPr>
            <p:cNvPr id="59" name="Text 15">
              <a:extLst>
                <a:ext uri="{FF2B5EF4-FFF2-40B4-BE49-F238E27FC236}">
                  <a16:creationId xmlns:a16="http://schemas.microsoft.com/office/drawing/2014/main" id="{304A3815-9ED3-450B-83D3-61AF6F409D2D}"/>
                </a:ext>
              </a:extLst>
            </p:cNvPr>
            <p:cNvSpPr>
              <a:spLocks noChangeArrowheads="1"/>
            </p:cNvSpPr>
            <p:nvPr/>
          </p:nvSpPr>
          <p:spPr bwMode="auto">
            <a:xfrm>
              <a:off x="9263463" y="3562762"/>
              <a:ext cx="256461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60" name="Rectangle 29">
              <a:extLst>
                <a:ext uri="{FF2B5EF4-FFF2-40B4-BE49-F238E27FC236}">
                  <a16:creationId xmlns:a16="http://schemas.microsoft.com/office/drawing/2014/main" id="{7496EE1E-D5B3-40AF-8166-7EA66848C417}"/>
                </a:ext>
              </a:extLst>
            </p:cNvPr>
            <p:cNvSpPr/>
            <p:nvPr/>
          </p:nvSpPr>
          <p:spPr>
            <a:xfrm>
              <a:off x="9263461" y="3899618"/>
              <a:ext cx="25646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20957210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D63BC1BD-A236-4248-A345-956DCFDBC53A}"/>
              </a:ext>
            </a:extLst>
          </p:cNvPr>
          <p:cNvGrpSpPr/>
          <p:nvPr/>
        </p:nvGrpSpPr>
        <p:grpSpPr>
          <a:xfrm>
            <a:off x="7260564" y="1919786"/>
            <a:ext cx="2243405" cy="1580847"/>
            <a:chOff x="7263449" y="1753581"/>
            <a:chExt cx="2243405" cy="1580847"/>
          </a:xfrm>
        </p:grpSpPr>
        <p:sp>
          <p:nvSpPr>
            <p:cNvPr id="66" name="RBContent19">
              <a:extLst>
                <a:ext uri="{FF2B5EF4-FFF2-40B4-BE49-F238E27FC236}">
                  <a16:creationId xmlns:a16="http://schemas.microsoft.com/office/drawing/2014/main" id="{24BC0D8C-1992-4FED-9BBA-1238E5E4CFAC}"/>
                </a:ext>
              </a:extLst>
            </p:cNvPr>
            <p:cNvSpPr txBox="1"/>
            <p:nvPr/>
          </p:nvSpPr>
          <p:spPr>
            <a:xfrm>
              <a:off x="726344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4</a:t>
              </a:r>
            </a:p>
          </p:txBody>
        </p:sp>
        <p:sp>
          <p:nvSpPr>
            <p:cNvPr id="69" name="Text 15">
              <a:extLst>
                <a:ext uri="{FF2B5EF4-FFF2-40B4-BE49-F238E27FC236}">
                  <a16:creationId xmlns:a16="http://schemas.microsoft.com/office/drawing/2014/main" id="{48BEC58D-775D-4449-8C60-53E8B3C7FF76}"/>
                </a:ext>
              </a:extLst>
            </p:cNvPr>
            <p:cNvSpPr>
              <a:spLocks noChangeArrowheads="1"/>
            </p:cNvSpPr>
            <p:nvPr/>
          </p:nvSpPr>
          <p:spPr bwMode="auto">
            <a:xfrm>
              <a:off x="7655833" y="1753581"/>
              <a:ext cx="158789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71" name="Rectangle 29">
              <a:extLst>
                <a:ext uri="{FF2B5EF4-FFF2-40B4-BE49-F238E27FC236}">
                  <a16:creationId xmlns:a16="http://schemas.microsoft.com/office/drawing/2014/main" id="{6A06D899-AC00-4456-8606-09AE6F6C3A72}"/>
                </a:ext>
              </a:extLst>
            </p:cNvPr>
            <p:cNvSpPr/>
            <p:nvPr/>
          </p:nvSpPr>
          <p:spPr>
            <a:xfrm>
              <a:off x="7655833" y="2371087"/>
              <a:ext cx="1851021"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0" name="Group 9">
            <a:extLst>
              <a:ext uri="{FF2B5EF4-FFF2-40B4-BE49-F238E27FC236}">
                <a16:creationId xmlns:a16="http://schemas.microsoft.com/office/drawing/2014/main" id="{5DC82D85-3CF4-44A0-AB02-01E5DD8BDA51}"/>
              </a:ext>
            </a:extLst>
          </p:cNvPr>
          <p:cNvGrpSpPr/>
          <p:nvPr/>
        </p:nvGrpSpPr>
        <p:grpSpPr>
          <a:xfrm>
            <a:off x="2721475" y="1919786"/>
            <a:ext cx="2134269" cy="1580847"/>
            <a:chOff x="2705939" y="1753581"/>
            <a:chExt cx="2134269" cy="1580847"/>
          </a:xfrm>
        </p:grpSpPr>
        <p:sp>
          <p:nvSpPr>
            <p:cNvPr id="59" name="RBContent19">
              <a:extLst>
                <a:ext uri="{FF2B5EF4-FFF2-40B4-BE49-F238E27FC236}">
                  <a16:creationId xmlns:a16="http://schemas.microsoft.com/office/drawing/2014/main" id="{7A012632-9B81-4D1E-A25D-1439D2906D48}"/>
                </a:ext>
              </a:extLst>
            </p:cNvPr>
            <p:cNvSpPr txBox="1"/>
            <p:nvPr/>
          </p:nvSpPr>
          <p:spPr>
            <a:xfrm>
              <a:off x="270593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62" name="Text 15">
              <a:extLst>
                <a:ext uri="{FF2B5EF4-FFF2-40B4-BE49-F238E27FC236}">
                  <a16:creationId xmlns:a16="http://schemas.microsoft.com/office/drawing/2014/main" id="{B02AF771-9CE0-4F54-8561-4542C8FD8EC3}"/>
                </a:ext>
              </a:extLst>
            </p:cNvPr>
            <p:cNvSpPr>
              <a:spLocks noChangeArrowheads="1"/>
            </p:cNvSpPr>
            <p:nvPr/>
          </p:nvSpPr>
          <p:spPr bwMode="auto">
            <a:xfrm>
              <a:off x="3098321" y="1753581"/>
              <a:ext cx="17418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64" name="Rectangle 29">
              <a:extLst>
                <a:ext uri="{FF2B5EF4-FFF2-40B4-BE49-F238E27FC236}">
                  <a16:creationId xmlns:a16="http://schemas.microsoft.com/office/drawing/2014/main" id="{68F422B0-A1CD-42E4-A259-BC94F1B5136D}"/>
                </a:ext>
              </a:extLst>
            </p:cNvPr>
            <p:cNvSpPr/>
            <p:nvPr/>
          </p:nvSpPr>
          <p:spPr>
            <a:xfrm>
              <a:off x="3098321" y="2371087"/>
              <a:ext cx="174188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9" name="Group 8">
            <a:extLst>
              <a:ext uri="{FF2B5EF4-FFF2-40B4-BE49-F238E27FC236}">
                <a16:creationId xmlns:a16="http://schemas.microsoft.com/office/drawing/2014/main" id="{E570C14E-C201-43FE-818A-8AADC65A27E9}"/>
              </a:ext>
            </a:extLst>
          </p:cNvPr>
          <p:cNvGrpSpPr/>
          <p:nvPr/>
        </p:nvGrpSpPr>
        <p:grpSpPr>
          <a:xfrm>
            <a:off x="4936453" y="1919786"/>
            <a:ext cx="2243403" cy="1580847"/>
            <a:chOff x="4930127" y="1753581"/>
            <a:chExt cx="2243403" cy="1580847"/>
          </a:xfrm>
        </p:grpSpPr>
        <p:sp>
          <p:nvSpPr>
            <p:cNvPr id="73" name="RBContent19">
              <a:extLst>
                <a:ext uri="{FF2B5EF4-FFF2-40B4-BE49-F238E27FC236}">
                  <a16:creationId xmlns:a16="http://schemas.microsoft.com/office/drawing/2014/main" id="{2ABA07C5-B9E9-4C92-8D25-3C40B2C01EFC}"/>
                </a:ext>
              </a:extLst>
            </p:cNvPr>
            <p:cNvSpPr txBox="1"/>
            <p:nvPr/>
          </p:nvSpPr>
          <p:spPr>
            <a:xfrm>
              <a:off x="493012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3</a:t>
              </a:r>
              <a:endParaRPr kumimoji="0" lang="en-GB" sz="4800" b="1" i="0" u="none" strike="noStrike" kern="0" cap="none" spc="0" normalizeH="0" baseline="0" noProof="0">
                <a:ln>
                  <a:noFill/>
                </a:ln>
                <a:solidFill>
                  <a:srgbClr val="8D8EA7"/>
                </a:solidFill>
                <a:effectLst/>
                <a:uLnTx/>
                <a:uFillTx/>
                <a:latin typeface="+mj-lt"/>
              </a:endParaRPr>
            </a:p>
          </p:txBody>
        </p:sp>
        <p:sp>
          <p:nvSpPr>
            <p:cNvPr id="76" name="Text 15">
              <a:extLst>
                <a:ext uri="{FF2B5EF4-FFF2-40B4-BE49-F238E27FC236}">
                  <a16:creationId xmlns:a16="http://schemas.microsoft.com/office/drawing/2014/main" id="{956A2249-06A3-417F-80BE-AA885AA3C53B}"/>
                </a:ext>
              </a:extLst>
            </p:cNvPr>
            <p:cNvSpPr>
              <a:spLocks noChangeArrowheads="1"/>
            </p:cNvSpPr>
            <p:nvPr/>
          </p:nvSpPr>
          <p:spPr bwMode="auto">
            <a:xfrm>
              <a:off x="5322512" y="1753581"/>
              <a:ext cx="1721088"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78" name="Rectangle 29">
              <a:extLst>
                <a:ext uri="{FF2B5EF4-FFF2-40B4-BE49-F238E27FC236}">
                  <a16:creationId xmlns:a16="http://schemas.microsoft.com/office/drawing/2014/main" id="{1F5F950E-B77D-4553-A50C-7B138D8DB4D6}"/>
                </a:ext>
              </a:extLst>
            </p:cNvPr>
            <p:cNvSpPr/>
            <p:nvPr/>
          </p:nvSpPr>
          <p:spPr>
            <a:xfrm>
              <a:off x="5322511" y="2371087"/>
              <a:ext cx="18510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 name="Group 3">
            <a:extLst>
              <a:ext uri="{FF2B5EF4-FFF2-40B4-BE49-F238E27FC236}">
                <a16:creationId xmlns:a16="http://schemas.microsoft.com/office/drawing/2014/main" id="{98F60C18-2618-4A0A-A8C4-75F569B52CE7}"/>
              </a:ext>
            </a:extLst>
          </p:cNvPr>
          <p:cNvGrpSpPr/>
          <p:nvPr/>
        </p:nvGrpSpPr>
        <p:grpSpPr>
          <a:xfrm>
            <a:off x="9584677" y="1919786"/>
            <a:ext cx="2243405" cy="1580847"/>
            <a:chOff x="9596773" y="1753581"/>
            <a:chExt cx="2243405" cy="1580847"/>
          </a:xfrm>
        </p:grpSpPr>
        <p:sp>
          <p:nvSpPr>
            <p:cNvPr id="37" name="RBContent19">
              <a:extLst>
                <a:ext uri="{FF2B5EF4-FFF2-40B4-BE49-F238E27FC236}">
                  <a16:creationId xmlns:a16="http://schemas.microsoft.com/office/drawing/2014/main" id="{19C4431E-9239-4F76-90C8-89BF379304CB}"/>
                </a:ext>
              </a:extLst>
            </p:cNvPr>
            <p:cNvSpPr txBox="1"/>
            <p:nvPr/>
          </p:nvSpPr>
          <p:spPr>
            <a:xfrm>
              <a:off x="9596773"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5</a:t>
              </a:r>
            </a:p>
          </p:txBody>
        </p:sp>
        <p:sp>
          <p:nvSpPr>
            <p:cNvPr id="39" name="Text 15">
              <a:extLst>
                <a:ext uri="{FF2B5EF4-FFF2-40B4-BE49-F238E27FC236}">
                  <a16:creationId xmlns:a16="http://schemas.microsoft.com/office/drawing/2014/main" id="{18FC6B3B-C5C7-40B2-AFA9-41FB4F464118}"/>
                </a:ext>
              </a:extLst>
            </p:cNvPr>
            <p:cNvSpPr>
              <a:spLocks noChangeArrowheads="1"/>
            </p:cNvSpPr>
            <p:nvPr/>
          </p:nvSpPr>
          <p:spPr bwMode="auto">
            <a:xfrm>
              <a:off x="9989158" y="1753581"/>
              <a:ext cx="170916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1" name="Rectangle 29">
              <a:extLst>
                <a:ext uri="{FF2B5EF4-FFF2-40B4-BE49-F238E27FC236}">
                  <a16:creationId xmlns:a16="http://schemas.microsoft.com/office/drawing/2014/main" id="{D39B9C77-8A14-4C7F-BF64-3E88C8BC859D}"/>
                </a:ext>
              </a:extLst>
            </p:cNvPr>
            <p:cNvSpPr/>
            <p:nvPr/>
          </p:nvSpPr>
          <p:spPr>
            <a:xfrm>
              <a:off x="9989158" y="2371087"/>
              <a:ext cx="185102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1" name="Group 10">
            <a:extLst>
              <a:ext uri="{FF2B5EF4-FFF2-40B4-BE49-F238E27FC236}">
                <a16:creationId xmlns:a16="http://schemas.microsoft.com/office/drawing/2014/main" id="{EECD95A6-AC8E-44AA-B437-DA85C34D2CCA}"/>
              </a:ext>
            </a:extLst>
          </p:cNvPr>
          <p:cNvGrpSpPr/>
          <p:nvPr/>
        </p:nvGrpSpPr>
        <p:grpSpPr>
          <a:xfrm>
            <a:off x="365682" y="1919786"/>
            <a:ext cx="2275084" cy="1580847"/>
            <a:chOff x="351822" y="1753581"/>
            <a:chExt cx="2275084" cy="1580847"/>
          </a:xfrm>
        </p:grpSpPr>
        <p:sp>
          <p:nvSpPr>
            <p:cNvPr id="20" name="RBContent19">
              <a:extLst>
                <a:ext uri="{FF2B5EF4-FFF2-40B4-BE49-F238E27FC236}">
                  <a16:creationId xmlns:a16="http://schemas.microsoft.com/office/drawing/2014/main" id="{AA0FBF20-0775-4CD7-95AE-9EFDF22959AB}"/>
                </a:ext>
              </a:extLst>
            </p:cNvPr>
            <p:cNvSpPr txBox="1"/>
            <p:nvPr/>
          </p:nvSpPr>
          <p:spPr>
            <a:xfrm>
              <a:off x="351822"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745261" y="1753581"/>
              <a:ext cx="17210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2" name="Rectangle 29">
              <a:extLst>
                <a:ext uri="{FF2B5EF4-FFF2-40B4-BE49-F238E27FC236}">
                  <a16:creationId xmlns:a16="http://schemas.microsoft.com/office/drawing/2014/main" id="{78C6745A-983B-441F-8E3F-862159E183C6}"/>
                </a:ext>
              </a:extLst>
            </p:cNvPr>
            <p:cNvSpPr/>
            <p:nvPr/>
          </p:nvSpPr>
          <p:spPr>
            <a:xfrm>
              <a:off x="755093" y="2371087"/>
              <a:ext cx="187181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34" name="Group 33">
            <a:extLst>
              <a:ext uri="{FF2B5EF4-FFF2-40B4-BE49-F238E27FC236}">
                <a16:creationId xmlns:a16="http://schemas.microsoft.com/office/drawing/2014/main" id="{C4D62EBC-765E-487E-8FB4-BC3CB3470E92}"/>
              </a:ext>
            </a:extLst>
          </p:cNvPr>
          <p:cNvGrpSpPr/>
          <p:nvPr/>
        </p:nvGrpSpPr>
        <p:grpSpPr>
          <a:xfrm>
            <a:off x="7260564" y="3758746"/>
            <a:ext cx="2243405" cy="1580847"/>
            <a:chOff x="7263449" y="1753581"/>
            <a:chExt cx="2243405" cy="1580847"/>
          </a:xfrm>
        </p:grpSpPr>
        <p:sp>
          <p:nvSpPr>
            <p:cNvPr id="35" name="RBContent19">
              <a:extLst>
                <a:ext uri="{FF2B5EF4-FFF2-40B4-BE49-F238E27FC236}">
                  <a16:creationId xmlns:a16="http://schemas.microsoft.com/office/drawing/2014/main" id="{BC216163-1C68-4346-B915-F36C94773F9C}"/>
                </a:ext>
              </a:extLst>
            </p:cNvPr>
            <p:cNvSpPr txBox="1"/>
            <p:nvPr/>
          </p:nvSpPr>
          <p:spPr>
            <a:xfrm>
              <a:off x="726344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9</a:t>
              </a:r>
            </a:p>
          </p:txBody>
        </p:sp>
        <p:sp>
          <p:nvSpPr>
            <p:cNvPr id="36" name="Text 15">
              <a:extLst>
                <a:ext uri="{FF2B5EF4-FFF2-40B4-BE49-F238E27FC236}">
                  <a16:creationId xmlns:a16="http://schemas.microsoft.com/office/drawing/2014/main" id="{85F33426-0113-451F-9878-3D3539A7FEF8}"/>
                </a:ext>
              </a:extLst>
            </p:cNvPr>
            <p:cNvSpPr>
              <a:spLocks noChangeArrowheads="1"/>
            </p:cNvSpPr>
            <p:nvPr/>
          </p:nvSpPr>
          <p:spPr bwMode="auto">
            <a:xfrm>
              <a:off x="7655833" y="1753581"/>
              <a:ext cx="158789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38" name="Rectangle 29">
              <a:extLst>
                <a:ext uri="{FF2B5EF4-FFF2-40B4-BE49-F238E27FC236}">
                  <a16:creationId xmlns:a16="http://schemas.microsoft.com/office/drawing/2014/main" id="{7CD2EEFE-F7E2-48E6-AF7E-7CD567AE7FB4}"/>
                </a:ext>
              </a:extLst>
            </p:cNvPr>
            <p:cNvSpPr/>
            <p:nvPr/>
          </p:nvSpPr>
          <p:spPr>
            <a:xfrm>
              <a:off x="7655833" y="2371087"/>
              <a:ext cx="1851021"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0" name="Group 39">
            <a:extLst>
              <a:ext uri="{FF2B5EF4-FFF2-40B4-BE49-F238E27FC236}">
                <a16:creationId xmlns:a16="http://schemas.microsoft.com/office/drawing/2014/main" id="{F4540111-A3D7-46E1-BB04-D8AE88AA1A33}"/>
              </a:ext>
            </a:extLst>
          </p:cNvPr>
          <p:cNvGrpSpPr/>
          <p:nvPr/>
        </p:nvGrpSpPr>
        <p:grpSpPr>
          <a:xfrm>
            <a:off x="2721475" y="3758746"/>
            <a:ext cx="2134269" cy="1580847"/>
            <a:chOff x="2705939" y="1753581"/>
            <a:chExt cx="2134269" cy="1580847"/>
          </a:xfrm>
        </p:grpSpPr>
        <p:sp>
          <p:nvSpPr>
            <p:cNvPr id="43" name="RBContent19">
              <a:extLst>
                <a:ext uri="{FF2B5EF4-FFF2-40B4-BE49-F238E27FC236}">
                  <a16:creationId xmlns:a16="http://schemas.microsoft.com/office/drawing/2014/main" id="{FAD53080-B419-49D1-978E-291949EDC0F0}"/>
                </a:ext>
              </a:extLst>
            </p:cNvPr>
            <p:cNvSpPr txBox="1"/>
            <p:nvPr/>
          </p:nvSpPr>
          <p:spPr>
            <a:xfrm>
              <a:off x="270593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7</a:t>
              </a:r>
              <a:endParaRPr kumimoji="0" lang="en-GB" sz="4800" b="1" i="0" u="none" strike="noStrike" kern="0" cap="none" spc="0" normalizeH="0" baseline="0" noProof="0">
                <a:ln>
                  <a:noFill/>
                </a:ln>
                <a:solidFill>
                  <a:srgbClr val="8D8EA7"/>
                </a:solidFill>
                <a:effectLst/>
                <a:uLnTx/>
                <a:uFillTx/>
                <a:latin typeface="+mj-lt"/>
              </a:endParaRPr>
            </a:p>
          </p:txBody>
        </p:sp>
        <p:sp>
          <p:nvSpPr>
            <p:cNvPr id="44" name="Text 15">
              <a:extLst>
                <a:ext uri="{FF2B5EF4-FFF2-40B4-BE49-F238E27FC236}">
                  <a16:creationId xmlns:a16="http://schemas.microsoft.com/office/drawing/2014/main" id="{B5ED5AC2-1DE9-416F-B0FE-6746A24A1771}"/>
                </a:ext>
              </a:extLst>
            </p:cNvPr>
            <p:cNvSpPr>
              <a:spLocks noChangeArrowheads="1"/>
            </p:cNvSpPr>
            <p:nvPr/>
          </p:nvSpPr>
          <p:spPr bwMode="auto">
            <a:xfrm>
              <a:off x="3098321" y="1753581"/>
              <a:ext cx="17418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5" name="Rectangle 29">
              <a:extLst>
                <a:ext uri="{FF2B5EF4-FFF2-40B4-BE49-F238E27FC236}">
                  <a16:creationId xmlns:a16="http://schemas.microsoft.com/office/drawing/2014/main" id="{A199E010-AB7A-40E1-9BB6-87CAADD57673}"/>
                </a:ext>
              </a:extLst>
            </p:cNvPr>
            <p:cNvSpPr/>
            <p:nvPr/>
          </p:nvSpPr>
          <p:spPr>
            <a:xfrm>
              <a:off x="3098321" y="2371087"/>
              <a:ext cx="174188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6" name="Group 45">
            <a:extLst>
              <a:ext uri="{FF2B5EF4-FFF2-40B4-BE49-F238E27FC236}">
                <a16:creationId xmlns:a16="http://schemas.microsoft.com/office/drawing/2014/main" id="{B8393DCC-9A24-4807-A033-6BB833EBBFF7}"/>
              </a:ext>
            </a:extLst>
          </p:cNvPr>
          <p:cNvGrpSpPr/>
          <p:nvPr/>
        </p:nvGrpSpPr>
        <p:grpSpPr>
          <a:xfrm>
            <a:off x="4936453" y="3758746"/>
            <a:ext cx="2243403" cy="1580847"/>
            <a:chOff x="4930127" y="1753581"/>
            <a:chExt cx="2243403" cy="1580847"/>
          </a:xfrm>
        </p:grpSpPr>
        <p:sp>
          <p:nvSpPr>
            <p:cNvPr id="47" name="RBContent19">
              <a:extLst>
                <a:ext uri="{FF2B5EF4-FFF2-40B4-BE49-F238E27FC236}">
                  <a16:creationId xmlns:a16="http://schemas.microsoft.com/office/drawing/2014/main" id="{3975D380-1F33-49DB-B8AB-E7C2F390545F}"/>
                </a:ext>
              </a:extLst>
            </p:cNvPr>
            <p:cNvSpPr txBox="1"/>
            <p:nvPr/>
          </p:nvSpPr>
          <p:spPr>
            <a:xfrm>
              <a:off x="493012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8</a:t>
              </a:r>
              <a:endParaRPr kumimoji="0" lang="en-GB" sz="4800" b="1" i="0" u="none" strike="noStrike" kern="0" cap="none" spc="0" normalizeH="0" baseline="0" noProof="0">
                <a:ln>
                  <a:noFill/>
                </a:ln>
                <a:solidFill>
                  <a:srgbClr val="8D8EA7"/>
                </a:solidFill>
                <a:effectLst/>
                <a:uLnTx/>
                <a:uFillTx/>
                <a:latin typeface="+mj-lt"/>
              </a:endParaRPr>
            </a:p>
          </p:txBody>
        </p:sp>
        <p:sp>
          <p:nvSpPr>
            <p:cNvPr id="48" name="Text 15">
              <a:extLst>
                <a:ext uri="{FF2B5EF4-FFF2-40B4-BE49-F238E27FC236}">
                  <a16:creationId xmlns:a16="http://schemas.microsoft.com/office/drawing/2014/main" id="{6EF1AA1A-1A0C-4F46-B72E-5555C24B3AC0}"/>
                </a:ext>
              </a:extLst>
            </p:cNvPr>
            <p:cNvSpPr>
              <a:spLocks noChangeArrowheads="1"/>
            </p:cNvSpPr>
            <p:nvPr/>
          </p:nvSpPr>
          <p:spPr bwMode="auto">
            <a:xfrm>
              <a:off x="5322512" y="1753581"/>
              <a:ext cx="1721088"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9" name="Rectangle 29">
              <a:extLst>
                <a:ext uri="{FF2B5EF4-FFF2-40B4-BE49-F238E27FC236}">
                  <a16:creationId xmlns:a16="http://schemas.microsoft.com/office/drawing/2014/main" id="{3D333582-F48D-4896-9D3F-E94F33EF7C85}"/>
                </a:ext>
              </a:extLst>
            </p:cNvPr>
            <p:cNvSpPr/>
            <p:nvPr/>
          </p:nvSpPr>
          <p:spPr>
            <a:xfrm>
              <a:off x="5322511" y="2371087"/>
              <a:ext cx="18510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50" name="Group 49">
            <a:extLst>
              <a:ext uri="{FF2B5EF4-FFF2-40B4-BE49-F238E27FC236}">
                <a16:creationId xmlns:a16="http://schemas.microsoft.com/office/drawing/2014/main" id="{A7A573F9-6F41-42AB-B5CB-65DDCD02A97F}"/>
              </a:ext>
            </a:extLst>
          </p:cNvPr>
          <p:cNvGrpSpPr/>
          <p:nvPr/>
        </p:nvGrpSpPr>
        <p:grpSpPr>
          <a:xfrm>
            <a:off x="9111586" y="3758746"/>
            <a:ext cx="2716496" cy="1580847"/>
            <a:chOff x="9123682" y="1753581"/>
            <a:chExt cx="2716496" cy="1580847"/>
          </a:xfrm>
        </p:grpSpPr>
        <p:sp>
          <p:nvSpPr>
            <p:cNvPr id="51" name="RBContent19">
              <a:extLst>
                <a:ext uri="{FF2B5EF4-FFF2-40B4-BE49-F238E27FC236}">
                  <a16:creationId xmlns:a16="http://schemas.microsoft.com/office/drawing/2014/main" id="{A1496092-07CE-4103-A8EE-0CA1890186BD}"/>
                </a:ext>
              </a:extLst>
            </p:cNvPr>
            <p:cNvSpPr txBox="1"/>
            <p:nvPr/>
          </p:nvSpPr>
          <p:spPr>
            <a:xfrm>
              <a:off x="9123682" y="1753581"/>
              <a:ext cx="735543"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10</a:t>
              </a:r>
            </a:p>
          </p:txBody>
        </p:sp>
        <p:sp>
          <p:nvSpPr>
            <p:cNvPr id="52" name="Text 15">
              <a:extLst>
                <a:ext uri="{FF2B5EF4-FFF2-40B4-BE49-F238E27FC236}">
                  <a16:creationId xmlns:a16="http://schemas.microsoft.com/office/drawing/2014/main" id="{89506351-869F-459F-A95B-3752429A2D85}"/>
                </a:ext>
              </a:extLst>
            </p:cNvPr>
            <p:cNvSpPr>
              <a:spLocks noChangeArrowheads="1"/>
            </p:cNvSpPr>
            <p:nvPr/>
          </p:nvSpPr>
          <p:spPr bwMode="auto">
            <a:xfrm>
              <a:off x="9989158" y="1753581"/>
              <a:ext cx="170916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53" name="Rectangle 29">
              <a:extLst>
                <a:ext uri="{FF2B5EF4-FFF2-40B4-BE49-F238E27FC236}">
                  <a16:creationId xmlns:a16="http://schemas.microsoft.com/office/drawing/2014/main" id="{EA632BDA-70BE-4791-BD75-C8A4C3C335C9}"/>
                </a:ext>
              </a:extLst>
            </p:cNvPr>
            <p:cNvSpPr/>
            <p:nvPr/>
          </p:nvSpPr>
          <p:spPr>
            <a:xfrm>
              <a:off x="9989158" y="2371087"/>
              <a:ext cx="185102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54" name="Group 53">
            <a:extLst>
              <a:ext uri="{FF2B5EF4-FFF2-40B4-BE49-F238E27FC236}">
                <a16:creationId xmlns:a16="http://schemas.microsoft.com/office/drawing/2014/main" id="{C5FFC9F4-FA8D-4F0F-B431-61B103B4E0D1}"/>
              </a:ext>
            </a:extLst>
          </p:cNvPr>
          <p:cNvGrpSpPr/>
          <p:nvPr/>
        </p:nvGrpSpPr>
        <p:grpSpPr>
          <a:xfrm>
            <a:off x="365682" y="3758746"/>
            <a:ext cx="2275084" cy="1580847"/>
            <a:chOff x="351822" y="1753581"/>
            <a:chExt cx="2275084" cy="1580847"/>
          </a:xfrm>
        </p:grpSpPr>
        <p:sp>
          <p:nvSpPr>
            <p:cNvPr id="55" name="RBContent19">
              <a:extLst>
                <a:ext uri="{FF2B5EF4-FFF2-40B4-BE49-F238E27FC236}">
                  <a16:creationId xmlns:a16="http://schemas.microsoft.com/office/drawing/2014/main" id="{29BDA4CA-3850-4EDD-82F3-CE799D0CED8D}"/>
                </a:ext>
              </a:extLst>
            </p:cNvPr>
            <p:cNvSpPr txBox="1"/>
            <p:nvPr/>
          </p:nvSpPr>
          <p:spPr>
            <a:xfrm>
              <a:off x="351822"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6</a:t>
              </a:r>
            </a:p>
          </p:txBody>
        </p:sp>
        <p:sp>
          <p:nvSpPr>
            <p:cNvPr id="56" name="Text 15">
              <a:extLst>
                <a:ext uri="{FF2B5EF4-FFF2-40B4-BE49-F238E27FC236}">
                  <a16:creationId xmlns:a16="http://schemas.microsoft.com/office/drawing/2014/main" id="{C2A10CF5-B07A-4DC4-8A76-82834F67F862}"/>
                </a:ext>
              </a:extLst>
            </p:cNvPr>
            <p:cNvSpPr>
              <a:spLocks noChangeArrowheads="1"/>
            </p:cNvSpPr>
            <p:nvPr/>
          </p:nvSpPr>
          <p:spPr bwMode="auto">
            <a:xfrm>
              <a:off x="745261" y="1753581"/>
              <a:ext cx="17210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57" name="Rectangle 29">
              <a:extLst>
                <a:ext uri="{FF2B5EF4-FFF2-40B4-BE49-F238E27FC236}">
                  <a16:creationId xmlns:a16="http://schemas.microsoft.com/office/drawing/2014/main" id="{D31BA0A9-E5A3-4808-9B2B-EA4461A1FDBA}"/>
                </a:ext>
              </a:extLst>
            </p:cNvPr>
            <p:cNvSpPr/>
            <p:nvPr/>
          </p:nvSpPr>
          <p:spPr>
            <a:xfrm>
              <a:off x="755093" y="2371087"/>
              <a:ext cx="187181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8963533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5" name="Group 4">
            <a:extLst>
              <a:ext uri="{FF2B5EF4-FFF2-40B4-BE49-F238E27FC236}">
                <a16:creationId xmlns:a16="http://schemas.microsoft.com/office/drawing/2014/main" id="{D63BC1BD-A236-4248-A345-956DCFDBC53A}"/>
              </a:ext>
            </a:extLst>
          </p:cNvPr>
          <p:cNvGrpSpPr/>
          <p:nvPr/>
        </p:nvGrpSpPr>
        <p:grpSpPr>
          <a:xfrm>
            <a:off x="7260564" y="1919786"/>
            <a:ext cx="2243405" cy="1580847"/>
            <a:chOff x="7263449" y="1753581"/>
            <a:chExt cx="2243405" cy="1580847"/>
          </a:xfrm>
        </p:grpSpPr>
        <p:sp>
          <p:nvSpPr>
            <p:cNvPr id="66" name="RBContent19">
              <a:extLst>
                <a:ext uri="{FF2B5EF4-FFF2-40B4-BE49-F238E27FC236}">
                  <a16:creationId xmlns:a16="http://schemas.microsoft.com/office/drawing/2014/main" id="{24BC0D8C-1992-4FED-9BBA-1238E5E4CFAC}"/>
                </a:ext>
              </a:extLst>
            </p:cNvPr>
            <p:cNvSpPr txBox="1"/>
            <p:nvPr/>
          </p:nvSpPr>
          <p:spPr>
            <a:xfrm>
              <a:off x="726344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4</a:t>
              </a:r>
            </a:p>
          </p:txBody>
        </p:sp>
        <p:sp>
          <p:nvSpPr>
            <p:cNvPr id="69" name="Text 15">
              <a:extLst>
                <a:ext uri="{FF2B5EF4-FFF2-40B4-BE49-F238E27FC236}">
                  <a16:creationId xmlns:a16="http://schemas.microsoft.com/office/drawing/2014/main" id="{48BEC58D-775D-4449-8C60-53E8B3C7FF76}"/>
                </a:ext>
              </a:extLst>
            </p:cNvPr>
            <p:cNvSpPr>
              <a:spLocks noChangeArrowheads="1"/>
            </p:cNvSpPr>
            <p:nvPr/>
          </p:nvSpPr>
          <p:spPr bwMode="auto">
            <a:xfrm>
              <a:off x="7655833" y="1753581"/>
              <a:ext cx="158789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71" name="Rectangle 29">
              <a:extLst>
                <a:ext uri="{FF2B5EF4-FFF2-40B4-BE49-F238E27FC236}">
                  <a16:creationId xmlns:a16="http://schemas.microsoft.com/office/drawing/2014/main" id="{6A06D899-AC00-4456-8606-09AE6F6C3A72}"/>
                </a:ext>
              </a:extLst>
            </p:cNvPr>
            <p:cNvSpPr/>
            <p:nvPr/>
          </p:nvSpPr>
          <p:spPr>
            <a:xfrm>
              <a:off x="7655833" y="2371087"/>
              <a:ext cx="1851021"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0" name="Group 9">
            <a:extLst>
              <a:ext uri="{FF2B5EF4-FFF2-40B4-BE49-F238E27FC236}">
                <a16:creationId xmlns:a16="http://schemas.microsoft.com/office/drawing/2014/main" id="{5DC82D85-3CF4-44A0-AB02-01E5DD8BDA51}"/>
              </a:ext>
            </a:extLst>
          </p:cNvPr>
          <p:cNvGrpSpPr/>
          <p:nvPr/>
        </p:nvGrpSpPr>
        <p:grpSpPr>
          <a:xfrm>
            <a:off x="2721475" y="1919786"/>
            <a:ext cx="2134269" cy="1580847"/>
            <a:chOff x="2705939" y="1753581"/>
            <a:chExt cx="2134269" cy="1580847"/>
          </a:xfrm>
        </p:grpSpPr>
        <p:sp>
          <p:nvSpPr>
            <p:cNvPr id="59" name="RBContent19">
              <a:extLst>
                <a:ext uri="{FF2B5EF4-FFF2-40B4-BE49-F238E27FC236}">
                  <a16:creationId xmlns:a16="http://schemas.microsoft.com/office/drawing/2014/main" id="{7A012632-9B81-4D1E-A25D-1439D2906D48}"/>
                </a:ext>
              </a:extLst>
            </p:cNvPr>
            <p:cNvSpPr txBox="1"/>
            <p:nvPr/>
          </p:nvSpPr>
          <p:spPr>
            <a:xfrm>
              <a:off x="270593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2</a:t>
              </a:r>
              <a:endParaRPr kumimoji="0" lang="en-GB" sz="4800" b="1" i="0" u="none" strike="noStrike" kern="0" cap="none" spc="0" normalizeH="0" baseline="0" noProof="0">
                <a:ln>
                  <a:noFill/>
                </a:ln>
                <a:solidFill>
                  <a:srgbClr val="8D8EA7"/>
                </a:solidFill>
                <a:effectLst/>
                <a:uLnTx/>
                <a:uFillTx/>
                <a:latin typeface="+mj-lt"/>
              </a:endParaRPr>
            </a:p>
          </p:txBody>
        </p:sp>
        <p:sp>
          <p:nvSpPr>
            <p:cNvPr id="62" name="Text 15">
              <a:extLst>
                <a:ext uri="{FF2B5EF4-FFF2-40B4-BE49-F238E27FC236}">
                  <a16:creationId xmlns:a16="http://schemas.microsoft.com/office/drawing/2014/main" id="{B02AF771-9CE0-4F54-8561-4542C8FD8EC3}"/>
                </a:ext>
              </a:extLst>
            </p:cNvPr>
            <p:cNvSpPr>
              <a:spLocks noChangeArrowheads="1"/>
            </p:cNvSpPr>
            <p:nvPr/>
          </p:nvSpPr>
          <p:spPr bwMode="auto">
            <a:xfrm>
              <a:off x="3098321" y="1753581"/>
              <a:ext cx="17418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64" name="Rectangle 29">
              <a:extLst>
                <a:ext uri="{FF2B5EF4-FFF2-40B4-BE49-F238E27FC236}">
                  <a16:creationId xmlns:a16="http://schemas.microsoft.com/office/drawing/2014/main" id="{68F422B0-A1CD-42E4-A259-BC94F1B5136D}"/>
                </a:ext>
              </a:extLst>
            </p:cNvPr>
            <p:cNvSpPr/>
            <p:nvPr/>
          </p:nvSpPr>
          <p:spPr>
            <a:xfrm>
              <a:off x="3098321" y="2371087"/>
              <a:ext cx="174188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9" name="Group 8">
            <a:extLst>
              <a:ext uri="{FF2B5EF4-FFF2-40B4-BE49-F238E27FC236}">
                <a16:creationId xmlns:a16="http://schemas.microsoft.com/office/drawing/2014/main" id="{E570C14E-C201-43FE-818A-8AADC65A27E9}"/>
              </a:ext>
            </a:extLst>
          </p:cNvPr>
          <p:cNvGrpSpPr/>
          <p:nvPr/>
        </p:nvGrpSpPr>
        <p:grpSpPr>
          <a:xfrm>
            <a:off x="4936453" y="1919786"/>
            <a:ext cx="2243403" cy="1580847"/>
            <a:chOff x="4930127" y="1753581"/>
            <a:chExt cx="2243403" cy="1580847"/>
          </a:xfrm>
        </p:grpSpPr>
        <p:sp>
          <p:nvSpPr>
            <p:cNvPr id="73" name="RBContent19">
              <a:extLst>
                <a:ext uri="{FF2B5EF4-FFF2-40B4-BE49-F238E27FC236}">
                  <a16:creationId xmlns:a16="http://schemas.microsoft.com/office/drawing/2014/main" id="{2ABA07C5-B9E9-4C92-8D25-3C40B2C01EFC}"/>
                </a:ext>
              </a:extLst>
            </p:cNvPr>
            <p:cNvSpPr txBox="1"/>
            <p:nvPr/>
          </p:nvSpPr>
          <p:spPr>
            <a:xfrm>
              <a:off x="493012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3</a:t>
              </a:r>
              <a:endParaRPr kumimoji="0" lang="en-GB" sz="4800" b="1" i="0" u="none" strike="noStrike" kern="0" cap="none" spc="0" normalizeH="0" baseline="0" noProof="0">
                <a:ln>
                  <a:noFill/>
                </a:ln>
                <a:solidFill>
                  <a:srgbClr val="8D8EA7"/>
                </a:solidFill>
                <a:effectLst/>
                <a:uLnTx/>
                <a:uFillTx/>
                <a:latin typeface="+mj-lt"/>
              </a:endParaRPr>
            </a:p>
          </p:txBody>
        </p:sp>
        <p:sp>
          <p:nvSpPr>
            <p:cNvPr id="76" name="Text 15">
              <a:extLst>
                <a:ext uri="{FF2B5EF4-FFF2-40B4-BE49-F238E27FC236}">
                  <a16:creationId xmlns:a16="http://schemas.microsoft.com/office/drawing/2014/main" id="{956A2249-06A3-417F-80BE-AA885AA3C53B}"/>
                </a:ext>
              </a:extLst>
            </p:cNvPr>
            <p:cNvSpPr>
              <a:spLocks noChangeArrowheads="1"/>
            </p:cNvSpPr>
            <p:nvPr/>
          </p:nvSpPr>
          <p:spPr bwMode="auto">
            <a:xfrm>
              <a:off x="5322512" y="1753581"/>
              <a:ext cx="1721088"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78" name="Rectangle 29">
              <a:extLst>
                <a:ext uri="{FF2B5EF4-FFF2-40B4-BE49-F238E27FC236}">
                  <a16:creationId xmlns:a16="http://schemas.microsoft.com/office/drawing/2014/main" id="{1F5F950E-B77D-4553-A50C-7B138D8DB4D6}"/>
                </a:ext>
              </a:extLst>
            </p:cNvPr>
            <p:cNvSpPr/>
            <p:nvPr/>
          </p:nvSpPr>
          <p:spPr>
            <a:xfrm>
              <a:off x="5322511" y="2371087"/>
              <a:ext cx="18510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1" name="Group 10">
            <a:extLst>
              <a:ext uri="{FF2B5EF4-FFF2-40B4-BE49-F238E27FC236}">
                <a16:creationId xmlns:a16="http://schemas.microsoft.com/office/drawing/2014/main" id="{EECD95A6-AC8E-44AA-B437-DA85C34D2CCA}"/>
              </a:ext>
            </a:extLst>
          </p:cNvPr>
          <p:cNvGrpSpPr/>
          <p:nvPr/>
        </p:nvGrpSpPr>
        <p:grpSpPr>
          <a:xfrm>
            <a:off x="365682" y="1919786"/>
            <a:ext cx="2275084" cy="1580847"/>
            <a:chOff x="351822" y="1753581"/>
            <a:chExt cx="2275084" cy="1580847"/>
          </a:xfrm>
        </p:grpSpPr>
        <p:sp>
          <p:nvSpPr>
            <p:cNvPr id="20" name="RBContent19">
              <a:extLst>
                <a:ext uri="{FF2B5EF4-FFF2-40B4-BE49-F238E27FC236}">
                  <a16:creationId xmlns:a16="http://schemas.microsoft.com/office/drawing/2014/main" id="{AA0FBF20-0775-4CD7-95AE-9EFDF22959AB}"/>
                </a:ext>
              </a:extLst>
            </p:cNvPr>
            <p:cNvSpPr txBox="1"/>
            <p:nvPr/>
          </p:nvSpPr>
          <p:spPr>
            <a:xfrm>
              <a:off x="351822"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1</a:t>
              </a: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745261" y="1753581"/>
              <a:ext cx="17210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2" name="Rectangle 29">
              <a:extLst>
                <a:ext uri="{FF2B5EF4-FFF2-40B4-BE49-F238E27FC236}">
                  <a16:creationId xmlns:a16="http://schemas.microsoft.com/office/drawing/2014/main" id="{78C6745A-983B-441F-8E3F-862159E183C6}"/>
                </a:ext>
              </a:extLst>
            </p:cNvPr>
            <p:cNvSpPr/>
            <p:nvPr/>
          </p:nvSpPr>
          <p:spPr>
            <a:xfrm>
              <a:off x="755093" y="2371087"/>
              <a:ext cx="187181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34" name="Group 33">
            <a:extLst>
              <a:ext uri="{FF2B5EF4-FFF2-40B4-BE49-F238E27FC236}">
                <a16:creationId xmlns:a16="http://schemas.microsoft.com/office/drawing/2014/main" id="{C4D62EBC-765E-487E-8FB4-BC3CB3470E92}"/>
              </a:ext>
            </a:extLst>
          </p:cNvPr>
          <p:cNvGrpSpPr/>
          <p:nvPr/>
        </p:nvGrpSpPr>
        <p:grpSpPr>
          <a:xfrm>
            <a:off x="7260564" y="3758746"/>
            <a:ext cx="2243405" cy="1580847"/>
            <a:chOff x="7263449" y="1753581"/>
            <a:chExt cx="2243405" cy="1580847"/>
          </a:xfrm>
        </p:grpSpPr>
        <p:sp>
          <p:nvSpPr>
            <p:cNvPr id="35" name="RBContent19">
              <a:extLst>
                <a:ext uri="{FF2B5EF4-FFF2-40B4-BE49-F238E27FC236}">
                  <a16:creationId xmlns:a16="http://schemas.microsoft.com/office/drawing/2014/main" id="{BC216163-1C68-4346-B915-F36C94773F9C}"/>
                </a:ext>
              </a:extLst>
            </p:cNvPr>
            <p:cNvSpPr txBox="1"/>
            <p:nvPr/>
          </p:nvSpPr>
          <p:spPr>
            <a:xfrm>
              <a:off x="726344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8</a:t>
              </a:r>
            </a:p>
          </p:txBody>
        </p:sp>
        <p:sp>
          <p:nvSpPr>
            <p:cNvPr id="36" name="Text 15">
              <a:extLst>
                <a:ext uri="{FF2B5EF4-FFF2-40B4-BE49-F238E27FC236}">
                  <a16:creationId xmlns:a16="http://schemas.microsoft.com/office/drawing/2014/main" id="{85F33426-0113-451F-9878-3D3539A7FEF8}"/>
                </a:ext>
              </a:extLst>
            </p:cNvPr>
            <p:cNvSpPr>
              <a:spLocks noChangeArrowheads="1"/>
            </p:cNvSpPr>
            <p:nvPr/>
          </p:nvSpPr>
          <p:spPr bwMode="auto">
            <a:xfrm>
              <a:off x="7655833" y="1753581"/>
              <a:ext cx="158789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38" name="Rectangle 29">
              <a:extLst>
                <a:ext uri="{FF2B5EF4-FFF2-40B4-BE49-F238E27FC236}">
                  <a16:creationId xmlns:a16="http://schemas.microsoft.com/office/drawing/2014/main" id="{7CD2EEFE-F7E2-48E6-AF7E-7CD567AE7FB4}"/>
                </a:ext>
              </a:extLst>
            </p:cNvPr>
            <p:cNvSpPr/>
            <p:nvPr/>
          </p:nvSpPr>
          <p:spPr>
            <a:xfrm>
              <a:off x="7655833" y="2371087"/>
              <a:ext cx="1851021"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0" name="Group 39">
            <a:extLst>
              <a:ext uri="{FF2B5EF4-FFF2-40B4-BE49-F238E27FC236}">
                <a16:creationId xmlns:a16="http://schemas.microsoft.com/office/drawing/2014/main" id="{F4540111-A3D7-46E1-BB04-D8AE88AA1A33}"/>
              </a:ext>
            </a:extLst>
          </p:cNvPr>
          <p:cNvGrpSpPr/>
          <p:nvPr/>
        </p:nvGrpSpPr>
        <p:grpSpPr>
          <a:xfrm>
            <a:off x="2721475" y="3758746"/>
            <a:ext cx="2134269" cy="1580847"/>
            <a:chOff x="2705939" y="1753581"/>
            <a:chExt cx="2134269" cy="1580847"/>
          </a:xfrm>
        </p:grpSpPr>
        <p:sp>
          <p:nvSpPr>
            <p:cNvPr id="43" name="RBContent19">
              <a:extLst>
                <a:ext uri="{FF2B5EF4-FFF2-40B4-BE49-F238E27FC236}">
                  <a16:creationId xmlns:a16="http://schemas.microsoft.com/office/drawing/2014/main" id="{FAD53080-B419-49D1-978E-291949EDC0F0}"/>
                </a:ext>
              </a:extLst>
            </p:cNvPr>
            <p:cNvSpPr txBox="1"/>
            <p:nvPr/>
          </p:nvSpPr>
          <p:spPr>
            <a:xfrm>
              <a:off x="2705939"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6</a:t>
              </a:r>
            </a:p>
          </p:txBody>
        </p:sp>
        <p:sp>
          <p:nvSpPr>
            <p:cNvPr id="44" name="Text 15">
              <a:extLst>
                <a:ext uri="{FF2B5EF4-FFF2-40B4-BE49-F238E27FC236}">
                  <a16:creationId xmlns:a16="http://schemas.microsoft.com/office/drawing/2014/main" id="{B5ED5AC2-1DE9-416F-B0FE-6746A24A1771}"/>
                </a:ext>
              </a:extLst>
            </p:cNvPr>
            <p:cNvSpPr>
              <a:spLocks noChangeArrowheads="1"/>
            </p:cNvSpPr>
            <p:nvPr/>
          </p:nvSpPr>
          <p:spPr bwMode="auto">
            <a:xfrm>
              <a:off x="3098321" y="1753581"/>
              <a:ext cx="17418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5" name="Rectangle 29">
              <a:extLst>
                <a:ext uri="{FF2B5EF4-FFF2-40B4-BE49-F238E27FC236}">
                  <a16:creationId xmlns:a16="http://schemas.microsoft.com/office/drawing/2014/main" id="{A199E010-AB7A-40E1-9BB6-87CAADD57673}"/>
                </a:ext>
              </a:extLst>
            </p:cNvPr>
            <p:cNvSpPr/>
            <p:nvPr/>
          </p:nvSpPr>
          <p:spPr>
            <a:xfrm>
              <a:off x="3098321" y="2371087"/>
              <a:ext cx="1741887"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46" name="Group 45">
            <a:extLst>
              <a:ext uri="{FF2B5EF4-FFF2-40B4-BE49-F238E27FC236}">
                <a16:creationId xmlns:a16="http://schemas.microsoft.com/office/drawing/2014/main" id="{B8393DCC-9A24-4807-A033-6BB833EBBFF7}"/>
              </a:ext>
            </a:extLst>
          </p:cNvPr>
          <p:cNvGrpSpPr/>
          <p:nvPr/>
        </p:nvGrpSpPr>
        <p:grpSpPr>
          <a:xfrm>
            <a:off x="4936453" y="3758746"/>
            <a:ext cx="2243403" cy="1580847"/>
            <a:chOff x="4930127" y="1753581"/>
            <a:chExt cx="2243403" cy="1580847"/>
          </a:xfrm>
        </p:grpSpPr>
        <p:sp>
          <p:nvSpPr>
            <p:cNvPr id="47" name="RBContent19">
              <a:extLst>
                <a:ext uri="{FF2B5EF4-FFF2-40B4-BE49-F238E27FC236}">
                  <a16:creationId xmlns:a16="http://schemas.microsoft.com/office/drawing/2014/main" id="{3975D380-1F33-49DB-B8AB-E7C2F390545F}"/>
                </a:ext>
              </a:extLst>
            </p:cNvPr>
            <p:cNvSpPr txBox="1"/>
            <p:nvPr/>
          </p:nvSpPr>
          <p:spPr>
            <a:xfrm>
              <a:off x="4930127"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kumimoji="0" lang="en-GB" sz="4800" b="1" i="0" u="none" strike="noStrike" kern="0" cap="none" spc="0" normalizeH="0" baseline="0" noProof="0">
                  <a:ln>
                    <a:noFill/>
                  </a:ln>
                  <a:solidFill>
                    <a:srgbClr val="8D8EA7"/>
                  </a:solidFill>
                  <a:effectLst/>
                  <a:uLnTx/>
                  <a:uFillTx/>
                  <a:latin typeface="+mj-lt"/>
                </a:rPr>
                <a:t>7</a:t>
              </a:r>
            </a:p>
          </p:txBody>
        </p:sp>
        <p:sp>
          <p:nvSpPr>
            <p:cNvPr id="48" name="Text 15">
              <a:extLst>
                <a:ext uri="{FF2B5EF4-FFF2-40B4-BE49-F238E27FC236}">
                  <a16:creationId xmlns:a16="http://schemas.microsoft.com/office/drawing/2014/main" id="{6EF1AA1A-1A0C-4F46-B72E-5555C24B3AC0}"/>
                </a:ext>
              </a:extLst>
            </p:cNvPr>
            <p:cNvSpPr>
              <a:spLocks noChangeArrowheads="1"/>
            </p:cNvSpPr>
            <p:nvPr/>
          </p:nvSpPr>
          <p:spPr bwMode="auto">
            <a:xfrm>
              <a:off x="5322512" y="1753581"/>
              <a:ext cx="1721088"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49" name="Rectangle 29">
              <a:extLst>
                <a:ext uri="{FF2B5EF4-FFF2-40B4-BE49-F238E27FC236}">
                  <a16:creationId xmlns:a16="http://schemas.microsoft.com/office/drawing/2014/main" id="{3D333582-F48D-4896-9D3F-E94F33EF7C85}"/>
                </a:ext>
              </a:extLst>
            </p:cNvPr>
            <p:cNvSpPr/>
            <p:nvPr/>
          </p:nvSpPr>
          <p:spPr>
            <a:xfrm>
              <a:off x="5322511" y="2371087"/>
              <a:ext cx="185101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54" name="Group 53">
            <a:extLst>
              <a:ext uri="{FF2B5EF4-FFF2-40B4-BE49-F238E27FC236}">
                <a16:creationId xmlns:a16="http://schemas.microsoft.com/office/drawing/2014/main" id="{C5FFC9F4-FA8D-4F0F-B431-61B103B4E0D1}"/>
              </a:ext>
            </a:extLst>
          </p:cNvPr>
          <p:cNvGrpSpPr/>
          <p:nvPr/>
        </p:nvGrpSpPr>
        <p:grpSpPr>
          <a:xfrm>
            <a:off x="365682" y="3758746"/>
            <a:ext cx="2275084" cy="1580847"/>
            <a:chOff x="351822" y="1753581"/>
            <a:chExt cx="2275084" cy="1580847"/>
          </a:xfrm>
        </p:grpSpPr>
        <p:sp>
          <p:nvSpPr>
            <p:cNvPr id="55" name="RBContent19">
              <a:extLst>
                <a:ext uri="{FF2B5EF4-FFF2-40B4-BE49-F238E27FC236}">
                  <a16:creationId xmlns:a16="http://schemas.microsoft.com/office/drawing/2014/main" id="{29BDA4CA-3850-4EDD-82F3-CE799D0CED8D}"/>
                </a:ext>
              </a:extLst>
            </p:cNvPr>
            <p:cNvSpPr txBox="1"/>
            <p:nvPr/>
          </p:nvSpPr>
          <p:spPr>
            <a:xfrm>
              <a:off x="351822" y="1753581"/>
              <a:ext cx="262451" cy="664797"/>
            </a:xfrm>
            <a:prstGeom prst="rect">
              <a:avLst/>
            </a:prstGeom>
            <a:solidFill>
              <a:schemeClr val="bg1"/>
            </a:solidFill>
            <a:ln w="9525">
              <a:noFill/>
            </a:ln>
          </p:spPr>
          <p:txBody>
            <a:bodyPr vert="horz" wrap="square" lIns="0" tIns="0" rIns="0" bIns="0" rtlCol="0">
              <a:spAutoFit/>
            </a:bodyPr>
            <a:lstStyle/>
            <a:p>
              <a:pPr marL="0" marR="0" lvl="0" indent="0" defTabSz="1043056" eaLnBrk="1" fontAlgn="base" latinLnBrk="0" hangingPunct="1">
                <a:lnSpc>
                  <a:spcPct val="90000"/>
                </a:lnSpc>
                <a:spcBef>
                  <a:spcPts val="400"/>
                </a:spcBef>
                <a:spcAft>
                  <a:spcPct val="0"/>
                </a:spcAft>
                <a:buClr>
                  <a:srgbClr val="000000"/>
                </a:buClr>
                <a:buSzPct val="100000"/>
                <a:buFontTx/>
                <a:buNone/>
                <a:tabLst/>
                <a:defRPr/>
              </a:pPr>
              <a:r>
                <a:rPr lang="en-GB" sz="4800" b="1" kern="0">
                  <a:solidFill>
                    <a:srgbClr val="8D8EA7"/>
                  </a:solidFill>
                  <a:latin typeface="+mj-lt"/>
                </a:rPr>
                <a:t>5</a:t>
              </a:r>
              <a:endParaRPr kumimoji="0" lang="en-GB" sz="4800" b="1" i="0" u="none" strike="noStrike" kern="0" cap="none" spc="0" normalizeH="0" baseline="0" noProof="0">
                <a:ln>
                  <a:noFill/>
                </a:ln>
                <a:solidFill>
                  <a:srgbClr val="8D8EA7"/>
                </a:solidFill>
                <a:effectLst/>
                <a:uLnTx/>
                <a:uFillTx/>
                <a:latin typeface="+mj-lt"/>
              </a:endParaRPr>
            </a:p>
          </p:txBody>
        </p:sp>
        <p:sp>
          <p:nvSpPr>
            <p:cNvPr id="56" name="Text 15">
              <a:extLst>
                <a:ext uri="{FF2B5EF4-FFF2-40B4-BE49-F238E27FC236}">
                  <a16:creationId xmlns:a16="http://schemas.microsoft.com/office/drawing/2014/main" id="{C2A10CF5-B07A-4DC4-8A76-82834F67F862}"/>
                </a:ext>
              </a:extLst>
            </p:cNvPr>
            <p:cNvSpPr>
              <a:spLocks noChangeArrowheads="1"/>
            </p:cNvSpPr>
            <p:nvPr/>
          </p:nvSpPr>
          <p:spPr bwMode="auto">
            <a:xfrm>
              <a:off x="745261" y="1753581"/>
              <a:ext cx="172108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Two-line Header</a:t>
              </a:r>
            </a:p>
          </p:txBody>
        </p:sp>
        <p:sp>
          <p:nvSpPr>
            <p:cNvPr id="57" name="Rectangle 29">
              <a:extLst>
                <a:ext uri="{FF2B5EF4-FFF2-40B4-BE49-F238E27FC236}">
                  <a16:creationId xmlns:a16="http://schemas.microsoft.com/office/drawing/2014/main" id="{D31BA0A9-E5A3-4808-9B2B-EA4461A1FDBA}"/>
                </a:ext>
              </a:extLst>
            </p:cNvPr>
            <p:cNvSpPr/>
            <p:nvPr/>
          </p:nvSpPr>
          <p:spPr>
            <a:xfrm>
              <a:off x="755093" y="2371087"/>
              <a:ext cx="1871813"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6497815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0"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29" name="Rectangle 78">
            <a:extLst>
              <a:ext uri="{FF2B5EF4-FFF2-40B4-BE49-F238E27FC236}">
                <a16:creationId xmlns:a16="http://schemas.microsoft.com/office/drawing/2014/main" id="{5DD25561-0C58-4A52-870B-0FAFD4F38D4F}"/>
              </a:ext>
            </a:extLst>
          </p:cNvPr>
          <p:cNvSpPr/>
          <p:nvPr/>
        </p:nvSpPr>
        <p:spPr>
          <a:xfrm>
            <a:off x="872144" y="343086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0" name="RBContent19">
            <a:extLst>
              <a:ext uri="{FF2B5EF4-FFF2-40B4-BE49-F238E27FC236}">
                <a16:creationId xmlns:a16="http://schemas.microsoft.com/office/drawing/2014/main" id="{8E46B1BE-0BE9-4592-A9CE-F66BDC23C17F}"/>
              </a:ext>
            </a:extLst>
          </p:cNvPr>
          <p:cNvSpPr txBox="1"/>
          <p:nvPr/>
        </p:nvSpPr>
        <p:spPr>
          <a:xfrm>
            <a:off x="365680" y="33601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131" name="Rectangle 79">
            <a:extLst>
              <a:ext uri="{FF2B5EF4-FFF2-40B4-BE49-F238E27FC236}">
                <a16:creationId xmlns:a16="http://schemas.microsoft.com/office/drawing/2014/main" id="{783DA542-6803-4D34-9143-F0D9E575E38F}"/>
              </a:ext>
            </a:extLst>
          </p:cNvPr>
          <p:cNvSpPr>
            <a:spLocks/>
          </p:cNvSpPr>
          <p:nvPr/>
        </p:nvSpPr>
        <p:spPr>
          <a:xfrm>
            <a:off x="872141" y="3725237"/>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33" name="Rectangle 78">
            <a:extLst>
              <a:ext uri="{FF2B5EF4-FFF2-40B4-BE49-F238E27FC236}">
                <a16:creationId xmlns:a16="http://schemas.microsoft.com/office/drawing/2014/main" id="{DF182851-65CE-4F0C-885F-A7AAE563C07B}"/>
              </a:ext>
            </a:extLst>
          </p:cNvPr>
          <p:cNvSpPr/>
          <p:nvPr/>
        </p:nvSpPr>
        <p:spPr>
          <a:xfrm>
            <a:off x="872144" y="4870159"/>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4" name="RBContent19">
            <a:extLst>
              <a:ext uri="{FF2B5EF4-FFF2-40B4-BE49-F238E27FC236}">
                <a16:creationId xmlns:a16="http://schemas.microsoft.com/office/drawing/2014/main" id="{51868CCD-F1A3-4293-B522-BD468643BD88}"/>
              </a:ext>
            </a:extLst>
          </p:cNvPr>
          <p:cNvSpPr txBox="1"/>
          <p:nvPr/>
        </p:nvSpPr>
        <p:spPr>
          <a:xfrm>
            <a:off x="365680" y="4799428"/>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135" name="Rectangle 79">
            <a:extLst>
              <a:ext uri="{FF2B5EF4-FFF2-40B4-BE49-F238E27FC236}">
                <a16:creationId xmlns:a16="http://schemas.microsoft.com/office/drawing/2014/main" id="{F6829B0E-7A09-4CFB-9DEE-4C710EBBBAE7}"/>
              </a:ext>
            </a:extLst>
          </p:cNvPr>
          <p:cNvSpPr>
            <a:spLocks/>
          </p:cNvSpPr>
          <p:nvPr/>
        </p:nvSpPr>
        <p:spPr>
          <a:xfrm>
            <a:off x="872141" y="5164536"/>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0" y="19208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62" name="Rectangle 79">
            <a:extLst>
              <a:ext uri="{FF2B5EF4-FFF2-40B4-BE49-F238E27FC236}">
                <a16:creationId xmlns:a16="http://schemas.microsoft.com/office/drawing/2014/main" id="{13823C49-F45D-4E62-A633-187B39F1F989}"/>
              </a:ext>
            </a:extLst>
          </p:cNvPr>
          <p:cNvSpPr>
            <a:spLocks/>
          </p:cNvSpPr>
          <p:nvPr/>
        </p:nvSpPr>
        <p:spPr>
          <a:xfrm>
            <a:off x="872141" y="2285937"/>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8AB93411-6E1B-41B0-A25C-66655E3A8FFC}"/>
              </a:ext>
            </a:extLst>
          </p:cNvPr>
          <p:cNvSpPr/>
          <p:nvPr/>
        </p:nvSpPr>
        <p:spPr>
          <a:xfrm>
            <a:off x="872144"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8" name="RBContent19">
            <a:extLst>
              <a:ext uri="{FF2B5EF4-FFF2-40B4-BE49-F238E27FC236}">
                <a16:creationId xmlns:a16="http://schemas.microsoft.com/office/drawing/2014/main" id="{55A98B80-9AC2-457B-ABA2-D6CD1D07491A}"/>
              </a:ext>
            </a:extLst>
          </p:cNvPr>
          <p:cNvSpPr txBox="1"/>
          <p:nvPr/>
        </p:nvSpPr>
        <p:spPr>
          <a:xfrm>
            <a:off x="4531482" y="19208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149" name="Rectangle 79">
            <a:extLst>
              <a:ext uri="{FF2B5EF4-FFF2-40B4-BE49-F238E27FC236}">
                <a16:creationId xmlns:a16="http://schemas.microsoft.com/office/drawing/2014/main" id="{44955F0F-947F-477E-AB0A-6C5AC252F33E}"/>
              </a:ext>
            </a:extLst>
          </p:cNvPr>
          <p:cNvSpPr>
            <a:spLocks/>
          </p:cNvSpPr>
          <p:nvPr/>
        </p:nvSpPr>
        <p:spPr>
          <a:xfrm>
            <a:off x="5037943" y="2285948"/>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44" name="Rectangle 78">
            <a:extLst>
              <a:ext uri="{FF2B5EF4-FFF2-40B4-BE49-F238E27FC236}">
                <a16:creationId xmlns:a16="http://schemas.microsoft.com/office/drawing/2014/main" id="{E8C05564-5000-453A-AD53-4845A24CF8F1}"/>
              </a:ext>
            </a:extLst>
          </p:cNvPr>
          <p:cNvSpPr/>
          <p:nvPr/>
        </p:nvSpPr>
        <p:spPr>
          <a:xfrm>
            <a:off x="5037946" y="343085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5" name="RBContent19">
            <a:extLst>
              <a:ext uri="{FF2B5EF4-FFF2-40B4-BE49-F238E27FC236}">
                <a16:creationId xmlns:a16="http://schemas.microsoft.com/office/drawing/2014/main" id="{CABC8FCA-6855-4ADD-A0AA-A3FAC28D0430}"/>
              </a:ext>
            </a:extLst>
          </p:cNvPr>
          <p:cNvSpPr txBox="1"/>
          <p:nvPr/>
        </p:nvSpPr>
        <p:spPr>
          <a:xfrm>
            <a:off x="4531482" y="3360123"/>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5</a:t>
            </a:r>
          </a:p>
        </p:txBody>
      </p:sp>
      <p:sp>
        <p:nvSpPr>
          <p:cNvPr id="146" name="Rectangle 79">
            <a:extLst>
              <a:ext uri="{FF2B5EF4-FFF2-40B4-BE49-F238E27FC236}">
                <a16:creationId xmlns:a16="http://schemas.microsoft.com/office/drawing/2014/main" id="{2DC5FC6C-A036-46B0-9D13-B7B9D946C6B0}"/>
              </a:ext>
            </a:extLst>
          </p:cNvPr>
          <p:cNvSpPr>
            <a:spLocks/>
          </p:cNvSpPr>
          <p:nvPr/>
        </p:nvSpPr>
        <p:spPr>
          <a:xfrm>
            <a:off x="5037943" y="3725242"/>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41" name="Rectangle 78">
            <a:extLst>
              <a:ext uri="{FF2B5EF4-FFF2-40B4-BE49-F238E27FC236}">
                <a16:creationId xmlns:a16="http://schemas.microsoft.com/office/drawing/2014/main" id="{652F5147-0CB5-4623-A0EE-88452BCCF891}"/>
              </a:ext>
            </a:extLst>
          </p:cNvPr>
          <p:cNvSpPr/>
          <p:nvPr/>
        </p:nvSpPr>
        <p:spPr>
          <a:xfrm>
            <a:off x="5037946" y="4870148"/>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2" name="RBContent19">
            <a:extLst>
              <a:ext uri="{FF2B5EF4-FFF2-40B4-BE49-F238E27FC236}">
                <a16:creationId xmlns:a16="http://schemas.microsoft.com/office/drawing/2014/main" id="{D691A870-B345-4F06-A20B-DDB129E0482F}"/>
              </a:ext>
            </a:extLst>
          </p:cNvPr>
          <p:cNvSpPr txBox="1"/>
          <p:nvPr/>
        </p:nvSpPr>
        <p:spPr>
          <a:xfrm>
            <a:off x="4531482" y="4799417"/>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6</a:t>
            </a:r>
          </a:p>
        </p:txBody>
      </p:sp>
      <p:sp>
        <p:nvSpPr>
          <p:cNvPr id="143" name="Rectangle 79">
            <a:extLst>
              <a:ext uri="{FF2B5EF4-FFF2-40B4-BE49-F238E27FC236}">
                <a16:creationId xmlns:a16="http://schemas.microsoft.com/office/drawing/2014/main" id="{C8763944-7F66-4077-9045-DB6718EEEBE7}"/>
              </a:ext>
            </a:extLst>
          </p:cNvPr>
          <p:cNvSpPr>
            <a:spLocks/>
          </p:cNvSpPr>
          <p:nvPr/>
        </p:nvSpPr>
        <p:spPr>
          <a:xfrm>
            <a:off x="5037943" y="5164536"/>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8" name="Rectangle 78">
            <a:extLst>
              <a:ext uri="{FF2B5EF4-FFF2-40B4-BE49-F238E27FC236}">
                <a16:creationId xmlns:a16="http://schemas.microsoft.com/office/drawing/2014/main" id="{02B53C01-45B3-4DB1-BAFF-332B6DE8B138}"/>
              </a:ext>
            </a:extLst>
          </p:cNvPr>
          <p:cNvSpPr/>
          <p:nvPr/>
        </p:nvSpPr>
        <p:spPr>
          <a:xfrm>
            <a:off x="5037946"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29" name="Content Placeholder 14">
            <a:extLst>
              <a:ext uri="{FF2B5EF4-FFF2-40B4-BE49-F238E27FC236}">
                <a16:creationId xmlns:a16="http://schemas.microsoft.com/office/drawing/2014/main" id="{0CA8A783-592A-4057-BCA0-D27E6D0ACC1A}"/>
              </a:ext>
            </a:extLst>
          </p:cNvPr>
          <p:cNvSpPr>
            <a:spLocks noGrp="1"/>
          </p:cNvSpPr>
          <p:nvPr>
            <p:ph sz="quarter" idx="10"/>
          </p:nvPr>
        </p:nvSpPr>
        <p:spPr>
          <a:xfrm>
            <a:off x="365682" y="6028266"/>
            <a:ext cx="11460635" cy="221803"/>
          </a:xfrm>
        </p:spPr>
        <p:txBody>
          <a:bodyPr/>
          <a:lstStyle/>
          <a:p>
            <a:endParaRPr lang="en-GB"/>
          </a:p>
        </p:txBody>
      </p:sp>
      <p:sp>
        <p:nvSpPr>
          <p:cNvPr id="31" name="Rectangle 30">
            <a:extLst>
              <a:ext uri="{FF2B5EF4-FFF2-40B4-BE49-F238E27FC236}">
                <a16:creationId xmlns:a16="http://schemas.microsoft.com/office/drawing/2014/main" id="{D7FF6329-43F1-49E8-9836-5D535C900732}"/>
              </a:ext>
            </a:extLst>
          </p:cNvPr>
          <p:cNvSpPr/>
          <p:nvPr/>
        </p:nvSpPr>
        <p:spPr>
          <a:xfrm>
            <a:off x="9083116" y="1913429"/>
            <a:ext cx="2743201"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16342014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0"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29" name="Rectangle 78">
            <a:extLst>
              <a:ext uri="{FF2B5EF4-FFF2-40B4-BE49-F238E27FC236}">
                <a16:creationId xmlns:a16="http://schemas.microsoft.com/office/drawing/2014/main" id="{5DD25561-0C58-4A52-870B-0FAFD4F38D4F}"/>
              </a:ext>
            </a:extLst>
          </p:cNvPr>
          <p:cNvSpPr/>
          <p:nvPr/>
        </p:nvSpPr>
        <p:spPr>
          <a:xfrm>
            <a:off x="872144" y="343086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0" name="RBContent19">
            <a:extLst>
              <a:ext uri="{FF2B5EF4-FFF2-40B4-BE49-F238E27FC236}">
                <a16:creationId xmlns:a16="http://schemas.microsoft.com/office/drawing/2014/main" id="{8E46B1BE-0BE9-4592-A9CE-F66BDC23C17F}"/>
              </a:ext>
            </a:extLst>
          </p:cNvPr>
          <p:cNvSpPr txBox="1"/>
          <p:nvPr/>
        </p:nvSpPr>
        <p:spPr>
          <a:xfrm>
            <a:off x="365680" y="33601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131" name="Rectangle 79">
            <a:extLst>
              <a:ext uri="{FF2B5EF4-FFF2-40B4-BE49-F238E27FC236}">
                <a16:creationId xmlns:a16="http://schemas.microsoft.com/office/drawing/2014/main" id="{783DA542-6803-4D34-9143-F0D9E575E38F}"/>
              </a:ext>
            </a:extLst>
          </p:cNvPr>
          <p:cNvSpPr>
            <a:spLocks/>
          </p:cNvSpPr>
          <p:nvPr/>
        </p:nvSpPr>
        <p:spPr>
          <a:xfrm>
            <a:off x="872141" y="3725237"/>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33" name="Rectangle 78">
            <a:extLst>
              <a:ext uri="{FF2B5EF4-FFF2-40B4-BE49-F238E27FC236}">
                <a16:creationId xmlns:a16="http://schemas.microsoft.com/office/drawing/2014/main" id="{DF182851-65CE-4F0C-885F-A7AAE563C07B}"/>
              </a:ext>
            </a:extLst>
          </p:cNvPr>
          <p:cNvSpPr/>
          <p:nvPr/>
        </p:nvSpPr>
        <p:spPr>
          <a:xfrm>
            <a:off x="872144" y="4870159"/>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4" name="RBContent19">
            <a:extLst>
              <a:ext uri="{FF2B5EF4-FFF2-40B4-BE49-F238E27FC236}">
                <a16:creationId xmlns:a16="http://schemas.microsoft.com/office/drawing/2014/main" id="{51868CCD-F1A3-4293-B522-BD468643BD88}"/>
              </a:ext>
            </a:extLst>
          </p:cNvPr>
          <p:cNvSpPr txBox="1"/>
          <p:nvPr/>
        </p:nvSpPr>
        <p:spPr>
          <a:xfrm>
            <a:off x="365680" y="4799428"/>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135" name="Rectangle 79">
            <a:extLst>
              <a:ext uri="{FF2B5EF4-FFF2-40B4-BE49-F238E27FC236}">
                <a16:creationId xmlns:a16="http://schemas.microsoft.com/office/drawing/2014/main" id="{F6829B0E-7A09-4CFB-9DEE-4C710EBBBAE7}"/>
              </a:ext>
            </a:extLst>
          </p:cNvPr>
          <p:cNvSpPr>
            <a:spLocks/>
          </p:cNvSpPr>
          <p:nvPr/>
        </p:nvSpPr>
        <p:spPr>
          <a:xfrm>
            <a:off x="872141" y="5164536"/>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0" y="19208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62" name="Rectangle 79">
            <a:extLst>
              <a:ext uri="{FF2B5EF4-FFF2-40B4-BE49-F238E27FC236}">
                <a16:creationId xmlns:a16="http://schemas.microsoft.com/office/drawing/2014/main" id="{13823C49-F45D-4E62-A633-187B39F1F989}"/>
              </a:ext>
            </a:extLst>
          </p:cNvPr>
          <p:cNvSpPr>
            <a:spLocks/>
          </p:cNvSpPr>
          <p:nvPr/>
        </p:nvSpPr>
        <p:spPr>
          <a:xfrm>
            <a:off x="872141" y="2285937"/>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ectangle 26">
            <a:extLst>
              <a:ext uri="{FF2B5EF4-FFF2-40B4-BE49-F238E27FC236}">
                <a16:creationId xmlns:a16="http://schemas.microsoft.com/office/drawing/2014/main" id="{8AB93411-6E1B-41B0-A25C-66655E3A8FFC}"/>
              </a:ext>
            </a:extLst>
          </p:cNvPr>
          <p:cNvSpPr/>
          <p:nvPr/>
        </p:nvSpPr>
        <p:spPr>
          <a:xfrm>
            <a:off x="872144"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8" name="RBContent19">
            <a:extLst>
              <a:ext uri="{FF2B5EF4-FFF2-40B4-BE49-F238E27FC236}">
                <a16:creationId xmlns:a16="http://schemas.microsoft.com/office/drawing/2014/main" id="{55A98B80-9AC2-457B-ABA2-D6CD1D07491A}"/>
              </a:ext>
            </a:extLst>
          </p:cNvPr>
          <p:cNvSpPr txBox="1"/>
          <p:nvPr/>
        </p:nvSpPr>
        <p:spPr>
          <a:xfrm>
            <a:off x="4531482" y="1920829"/>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149" name="Rectangle 79">
            <a:extLst>
              <a:ext uri="{FF2B5EF4-FFF2-40B4-BE49-F238E27FC236}">
                <a16:creationId xmlns:a16="http://schemas.microsoft.com/office/drawing/2014/main" id="{44955F0F-947F-477E-AB0A-6C5AC252F33E}"/>
              </a:ext>
            </a:extLst>
          </p:cNvPr>
          <p:cNvSpPr>
            <a:spLocks/>
          </p:cNvSpPr>
          <p:nvPr/>
        </p:nvSpPr>
        <p:spPr>
          <a:xfrm>
            <a:off x="5037943" y="2285948"/>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44" name="Rectangle 78">
            <a:extLst>
              <a:ext uri="{FF2B5EF4-FFF2-40B4-BE49-F238E27FC236}">
                <a16:creationId xmlns:a16="http://schemas.microsoft.com/office/drawing/2014/main" id="{E8C05564-5000-453A-AD53-4845A24CF8F1}"/>
              </a:ext>
            </a:extLst>
          </p:cNvPr>
          <p:cNvSpPr/>
          <p:nvPr/>
        </p:nvSpPr>
        <p:spPr>
          <a:xfrm>
            <a:off x="5037946" y="343085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5" name="RBContent19">
            <a:extLst>
              <a:ext uri="{FF2B5EF4-FFF2-40B4-BE49-F238E27FC236}">
                <a16:creationId xmlns:a16="http://schemas.microsoft.com/office/drawing/2014/main" id="{CABC8FCA-6855-4ADD-A0AA-A3FAC28D0430}"/>
              </a:ext>
            </a:extLst>
          </p:cNvPr>
          <p:cNvSpPr txBox="1"/>
          <p:nvPr/>
        </p:nvSpPr>
        <p:spPr>
          <a:xfrm>
            <a:off x="4531482" y="3360123"/>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5</a:t>
            </a:r>
          </a:p>
        </p:txBody>
      </p:sp>
      <p:sp>
        <p:nvSpPr>
          <p:cNvPr id="146" name="Rectangle 79">
            <a:extLst>
              <a:ext uri="{FF2B5EF4-FFF2-40B4-BE49-F238E27FC236}">
                <a16:creationId xmlns:a16="http://schemas.microsoft.com/office/drawing/2014/main" id="{2DC5FC6C-A036-46B0-9D13-B7B9D946C6B0}"/>
              </a:ext>
            </a:extLst>
          </p:cNvPr>
          <p:cNvSpPr>
            <a:spLocks/>
          </p:cNvSpPr>
          <p:nvPr/>
        </p:nvSpPr>
        <p:spPr>
          <a:xfrm>
            <a:off x="5037943" y="3725242"/>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41" name="Rectangle 78">
            <a:extLst>
              <a:ext uri="{FF2B5EF4-FFF2-40B4-BE49-F238E27FC236}">
                <a16:creationId xmlns:a16="http://schemas.microsoft.com/office/drawing/2014/main" id="{652F5147-0CB5-4623-A0EE-88452BCCF891}"/>
              </a:ext>
            </a:extLst>
          </p:cNvPr>
          <p:cNvSpPr/>
          <p:nvPr/>
        </p:nvSpPr>
        <p:spPr>
          <a:xfrm>
            <a:off x="5037946" y="4870148"/>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42" name="RBContent19">
            <a:extLst>
              <a:ext uri="{FF2B5EF4-FFF2-40B4-BE49-F238E27FC236}">
                <a16:creationId xmlns:a16="http://schemas.microsoft.com/office/drawing/2014/main" id="{D691A870-B345-4F06-A20B-DDB129E0482F}"/>
              </a:ext>
            </a:extLst>
          </p:cNvPr>
          <p:cNvSpPr txBox="1"/>
          <p:nvPr/>
        </p:nvSpPr>
        <p:spPr>
          <a:xfrm>
            <a:off x="4531482" y="4799417"/>
            <a:ext cx="44712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6</a:t>
            </a:r>
          </a:p>
        </p:txBody>
      </p:sp>
      <p:sp>
        <p:nvSpPr>
          <p:cNvPr id="143" name="Rectangle 79">
            <a:extLst>
              <a:ext uri="{FF2B5EF4-FFF2-40B4-BE49-F238E27FC236}">
                <a16:creationId xmlns:a16="http://schemas.microsoft.com/office/drawing/2014/main" id="{C8763944-7F66-4077-9045-DB6718EEEBE7}"/>
              </a:ext>
            </a:extLst>
          </p:cNvPr>
          <p:cNvSpPr>
            <a:spLocks/>
          </p:cNvSpPr>
          <p:nvPr/>
        </p:nvSpPr>
        <p:spPr>
          <a:xfrm>
            <a:off x="5037943" y="5164536"/>
            <a:ext cx="3600000"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hre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8" name="Rectangle 78">
            <a:extLst>
              <a:ext uri="{FF2B5EF4-FFF2-40B4-BE49-F238E27FC236}">
                <a16:creationId xmlns:a16="http://schemas.microsoft.com/office/drawing/2014/main" id="{02B53C01-45B3-4DB1-BAFF-332B6DE8B138}"/>
              </a:ext>
            </a:extLst>
          </p:cNvPr>
          <p:cNvSpPr/>
          <p:nvPr/>
        </p:nvSpPr>
        <p:spPr>
          <a:xfrm>
            <a:off x="5037946"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29" name="Content Placeholder 14">
            <a:extLst>
              <a:ext uri="{FF2B5EF4-FFF2-40B4-BE49-F238E27FC236}">
                <a16:creationId xmlns:a16="http://schemas.microsoft.com/office/drawing/2014/main" id="{0CA8A783-592A-4057-BCA0-D27E6D0ACC1A}"/>
              </a:ext>
            </a:extLst>
          </p:cNvPr>
          <p:cNvSpPr>
            <a:spLocks noGrp="1"/>
          </p:cNvSpPr>
          <p:nvPr>
            <p:ph sz="quarter" idx="10"/>
          </p:nvPr>
        </p:nvSpPr>
        <p:spPr>
          <a:xfrm>
            <a:off x="365682" y="6028266"/>
            <a:ext cx="11460635" cy="221803"/>
          </a:xfrm>
        </p:spPr>
        <p:txBody>
          <a:bodyPr/>
          <a:lstStyle/>
          <a:p>
            <a:endParaRPr lang="en-GB"/>
          </a:p>
        </p:txBody>
      </p:sp>
      <p:sp>
        <p:nvSpPr>
          <p:cNvPr id="31" name="Rectangle 30">
            <a:extLst>
              <a:ext uri="{FF2B5EF4-FFF2-40B4-BE49-F238E27FC236}">
                <a16:creationId xmlns:a16="http://schemas.microsoft.com/office/drawing/2014/main" id="{D7FF6329-43F1-49E8-9836-5D535C900732}"/>
              </a:ext>
            </a:extLst>
          </p:cNvPr>
          <p:cNvSpPr/>
          <p:nvPr/>
        </p:nvSpPr>
        <p:spPr>
          <a:xfrm>
            <a:off x="9083116" y="1913429"/>
            <a:ext cx="2743201"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26906475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33" name="Content Placeholder 14">
            <a:extLst>
              <a:ext uri="{FF2B5EF4-FFF2-40B4-BE49-F238E27FC236}">
                <a16:creationId xmlns:a16="http://schemas.microsoft.com/office/drawing/2014/main" id="{A0B82B54-C316-4275-9F39-89371F277028}"/>
              </a:ext>
            </a:extLst>
          </p:cNvPr>
          <p:cNvSpPr>
            <a:spLocks noGrp="1"/>
          </p:cNvSpPr>
          <p:nvPr>
            <p:ph sz="quarter" idx="10"/>
          </p:nvPr>
        </p:nvSpPr>
        <p:spPr>
          <a:xfrm>
            <a:off x="365682" y="6028266"/>
            <a:ext cx="11460635" cy="221803"/>
          </a:xfrm>
        </p:spPr>
        <p:txBody>
          <a:bodyPr/>
          <a:lstStyle/>
          <a:p>
            <a:endParaRPr lang="en-GB"/>
          </a:p>
        </p:txBody>
      </p:sp>
      <p:sp>
        <p:nvSpPr>
          <p:cNvPr id="41" name="Rectangle 40">
            <a:extLst>
              <a:ext uri="{FF2B5EF4-FFF2-40B4-BE49-F238E27FC236}">
                <a16:creationId xmlns:a16="http://schemas.microsoft.com/office/drawing/2014/main" id="{8B07ABA8-5762-4578-BACD-CE6F066E06DB}"/>
              </a:ext>
            </a:extLst>
          </p:cNvPr>
          <p:cNvSpPr/>
          <p:nvPr/>
        </p:nvSpPr>
        <p:spPr>
          <a:xfrm>
            <a:off x="9083116" y="1913429"/>
            <a:ext cx="2743201"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grpSp>
        <p:nvGrpSpPr>
          <p:cNvPr id="14" name="Group 13">
            <a:extLst>
              <a:ext uri="{FF2B5EF4-FFF2-40B4-BE49-F238E27FC236}">
                <a16:creationId xmlns:a16="http://schemas.microsoft.com/office/drawing/2014/main" id="{ED79D393-EB16-3547-9C83-280563487E9D}"/>
              </a:ext>
            </a:extLst>
          </p:cNvPr>
          <p:cNvGrpSpPr/>
          <p:nvPr/>
        </p:nvGrpSpPr>
        <p:grpSpPr>
          <a:xfrm>
            <a:off x="365680" y="1920829"/>
            <a:ext cx="4106464" cy="830996"/>
            <a:chOff x="365680" y="1920829"/>
            <a:chExt cx="4106464" cy="830996"/>
          </a:xfrm>
        </p:grpSpPr>
        <p:sp>
          <p:nvSpPr>
            <p:cNvPr id="79" name="Rectangle 78">
              <a:extLst>
                <a:ext uri="{FF2B5EF4-FFF2-40B4-BE49-F238E27FC236}">
                  <a16:creationId xmlns:a16="http://schemas.microsoft.com/office/drawing/2014/main" id="{0B167CCD-B821-4A23-9FA7-556FD079928B}"/>
                </a:ext>
              </a:extLst>
            </p:cNvPr>
            <p:cNvSpPr/>
            <p:nvPr/>
          </p:nvSpPr>
          <p:spPr>
            <a:xfrm>
              <a:off x="872144"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0" y="1920829"/>
              <a:ext cx="367272" cy="830996"/>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62" name="Rectangle 79">
              <a:extLst>
                <a:ext uri="{FF2B5EF4-FFF2-40B4-BE49-F238E27FC236}">
                  <a16:creationId xmlns:a16="http://schemas.microsoft.com/office/drawing/2014/main" id="{13823C49-F45D-4E62-A633-187B39F1F989}"/>
                </a:ext>
              </a:extLst>
            </p:cNvPr>
            <p:cNvSpPr>
              <a:spLocks/>
            </p:cNvSpPr>
            <p:nvPr/>
          </p:nvSpPr>
          <p:spPr>
            <a:xfrm>
              <a:off x="872144" y="2278709"/>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5" name="Group 14">
            <a:extLst>
              <a:ext uri="{FF2B5EF4-FFF2-40B4-BE49-F238E27FC236}">
                <a16:creationId xmlns:a16="http://schemas.microsoft.com/office/drawing/2014/main" id="{7B13F071-5B48-E747-A9F8-F78A6F6E7F0E}"/>
              </a:ext>
            </a:extLst>
          </p:cNvPr>
          <p:cNvGrpSpPr/>
          <p:nvPr/>
        </p:nvGrpSpPr>
        <p:grpSpPr>
          <a:xfrm>
            <a:off x="365680" y="2963763"/>
            <a:ext cx="4106464" cy="830996"/>
            <a:chOff x="365680" y="2963763"/>
            <a:chExt cx="4106464" cy="830996"/>
          </a:xfrm>
        </p:grpSpPr>
        <p:sp>
          <p:nvSpPr>
            <p:cNvPr id="129" name="Rectangle 78">
              <a:extLst>
                <a:ext uri="{FF2B5EF4-FFF2-40B4-BE49-F238E27FC236}">
                  <a16:creationId xmlns:a16="http://schemas.microsoft.com/office/drawing/2014/main" id="{5DD25561-0C58-4A52-870B-0FAFD4F38D4F}"/>
                </a:ext>
              </a:extLst>
            </p:cNvPr>
            <p:cNvSpPr/>
            <p:nvPr/>
          </p:nvSpPr>
          <p:spPr>
            <a:xfrm>
              <a:off x="872144" y="303012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0" name="RBContent19">
              <a:extLst>
                <a:ext uri="{FF2B5EF4-FFF2-40B4-BE49-F238E27FC236}">
                  <a16:creationId xmlns:a16="http://schemas.microsoft.com/office/drawing/2014/main" id="{8E46B1BE-0BE9-4592-A9CE-F66BDC23C17F}"/>
                </a:ext>
              </a:extLst>
            </p:cNvPr>
            <p:cNvSpPr txBox="1"/>
            <p:nvPr/>
          </p:nvSpPr>
          <p:spPr>
            <a:xfrm>
              <a:off x="365680" y="2963763"/>
              <a:ext cx="499559" cy="830996"/>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131" name="Rectangle 79">
              <a:extLst>
                <a:ext uri="{FF2B5EF4-FFF2-40B4-BE49-F238E27FC236}">
                  <a16:creationId xmlns:a16="http://schemas.microsoft.com/office/drawing/2014/main" id="{783DA542-6803-4D34-9143-F0D9E575E38F}"/>
                </a:ext>
              </a:extLst>
            </p:cNvPr>
            <p:cNvSpPr>
              <a:spLocks/>
            </p:cNvSpPr>
            <p:nvPr/>
          </p:nvSpPr>
          <p:spPr>
            <a:xfrm>
              <a:off x="872144" y="3321643"/>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6" name="Group 15">
            <a:extLst>
              <a:ext uri="{FF2B5EF4-FFF2-40B4-BE49-F238E27FC236}">
                <a16:creationId xmlns:a16="http://schemas.microsoft.com/office/drawing/2014/main" id="{E8A0D906-6E25-5343-A7F1-C398AC26C958}"/>
              </a:ext>
            </a:extLst>
          </p:cNvPr>
          <p:cNvGrpSpPr/>
          <p:nvPr/>
        </p:nvGrpSpPr>
        <p:grpSpPr>
          <a:xfrm>
            <a:off x="365680" y="4006697"/>
            <a:ext cx="4106464" cy="830997"/>
            <a:chOff x="365680" y="4006697"/>
            <a:chExt cx="4106464" cy="830997"/>
          </a:xfrm>
        </p:grpSpPr>
        <p:sp>
          <p:nvSpPr>
            <p:cNvPr id="133" name="Rectangle 78">
              <a:extLst>
                <a:ext uri="{FF2B5EF4-FFF2-40B4-BE49-F238E27FC236}">
                  <a16:creationId xmlns:a16="http://schemas.microsoft.com/office/drawing/2014/main" id="{DF182851-65CE-4F0C-885F-A7AAE563C07B}"/>
                </a:ext>
              </a:extLst>
            </p:cNvPr>
            <p:cNvSpPr/>
            <p:nvPr/>
          </p:nvSpPr>
          <p:spPr>
            <a:xfrm>
              <a:off x="872144" y="407305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34" name="RBContent19">
              <a:extLst>
                <a:ext uri="{FF2B5EF4-FFF2-40B4-BE49-F238E27FC236}">
                  <a16:creationId xmlns:a16="http://schemas.microsoft.com/office/drawing/2014/main" id="{51868CCD-F1A3-4293-B522-BD468643BD88}"/>
                </a:ext>
              </a:extLst>
            </p:cNvPr>
            <p:cNvSpPr txBox="1"/>
            <p:nvPr/>
          </p:nvSpPr>
          <p:spPr>
            <a:xfrm>
              <a:off x="365680" y="4006697"/>
              <a:ext cx="461145"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135" name="Rectangle 79">
              <a:extLst>
                <a:ext uri="{FF2B5EF4-FFF2-40B4-BE49-F238E27FC236}">
                  <a16:creationId xmlns:a16="http://schemas.microsoft.com/office/drawing/2014/main" id="{F6829B0E-7A09-4CFB-9DEE-4C710EBBBAE7}"/>
                </a:ext>
              </a:extLst>
            </p:cNvPr>
            <p:cNvSpPr>
              <a:spLocks/>
            </p:cNvSpPr>
            <p:nvPr/>
          </p:nvSpPr>
          <p:spPr>
            <a:xfrm>
              <a:off x="872144" y="4364577"/>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7" name="Group 16">
            <a:extLst>
              <a:ext uri="{FF2B5EF4-FFF2-40B4-BE49-F238E27FC236}">
                <a16:creationId xmlns:a16="http://schemas.microsoft.com/office/drawing/2014/main" id="{8337F988-B08F-314F-8001-91F2D9FEC7DE}"/>
              </a:ext>
            </a:extLst>
          </p:cNvPr>
          <p:cNvGrpSpPr/>
          <p:nvPr/>
        </p:nvGrpSpPr>
        <p:grpSpPr>
          <a:xfrm>
            <a:off x="365680" y="5049632"/>
            <a:ext cx="4106464" cy="830997"/>
            <a:chOff x="365680" y="5049632"/>
            <a:chExt cx="4106464" cy="830997"/>
          </a:xfrm>
        </p:grpSpPr>
        <p:sp>
          <p:nvSpPr>
            <p:cNvPr id="35" name="Rectangle 78">
              <a:extLst>
                <a:ext uri="{FF2B5EF4-FFF2-40B4-BE49-F238E27FC236}">
                  <a16:creationId xmlns:a16="http://schemas.microsoft.com/office/drawing/2014/main" id="{1D35BFE5-9A10-4405-B799-0EA38B155F0A}"/>
                </a:ext>
              </a:extLst>
            </p:cNvPr>
            <p:cNvSpPr/>
            <p:nvPr/>
          </p:nvSpPr>
          <p:spPr>
            <a:xfrm>
              <a:off x="872144" y="5115989"/>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36" name="RBContent19">
              <a:extLst>
                <a:ext uri="{FF2B5EF4-FFF2-40B4-BE49-F238E27FC236}">
                  <a16:creationId xmlns:a16="http://schemas.microsoft.com/office/drawing/2014/main" id="{DD60D97B-44E4-47F0-9341-486561868F6C}"/>
                </a:ext>
              </a:extLst>
            </p:cNvPr>
            <p:cNvSpPr txBox="1"/>
            <p:nvPr/>
          </p:nvSpPr>
          <p:spPr>
            <a:xfrm>
              <a:off x="365680" y="5049632"/>
              <a:ext cx="461145"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37" name="Rectangle 79">
              <a:extLst>
                <a:ext uri="{FF2B5EF4-FFF2-40B4-BE49-F238E27FC236}">
                  <a16:creationId xmlns:a16="http://schemas.microsoft.com/office/drawing/2014/main" id="{5DADAD14-8288-495C-BC27-550C7E97E452}"/>
                </a:ext>
              </a:extLst>
            </p:cNvPr>
            <p:cNvSpPr>
              <a:spLocks/>
            </p:cNvSpPr>
            <p:nvPr/>
          </p:nvSpPr>
          <p:spPr>
            <a:xfrm>
              <a:off x="872144" y="5407512"/>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8" name="Group 17">
            <a:extLst>
              <a:ext uri="{FF2B5EF4-FFF2-40B4-BE49-F238E27FC236}">
                <a16:creationId xmlns:a16="http://schemas.microsoft.com/office/drawing/2014/main" id="{40DC6D7A-E6CC-0641-B2A1-64E222FBA24B}"/>
              </a:ext>
            </a:extLst>
          </p:cNvPr>
          <p:cNvGrpSpPr/>
          <p:nvPr/>
        </p:nvGrpSpPr>
        <p:grpSpPr>
          <a:xfrm>
            <a:off x="4531482" y="1920829"/>
            <a:ext cx="4106464" cy="830996"/>
            <a:chOff x="4531482" y="1920829"/>
            <a:chExt cx="4106464" cy="830996"/>
          </a:xfrm>
        </p:grpSpPr>
        <p:sp>
          <p:nvSpPr>
            <p:cNvPr id="43" name="Rectangle 42">
              <a:extLst>
                <a:ext uri="{FF2B5EF4-FFF2-40B4-BE49-F238E27FC236}">
                  <a16:creationId xmlns:a16="http://schemas.microsoft.com/office/drawing/2014/main" id="{B05C6514-9F31-49C9-ACD6-369011C08287}"/>
                </a:ext>
              </a:extLst>
            </p:cNvPr>
            <p:cNvSpPr/>
            <p:nvPr/>
          </p:nvSpPr>
          <p:spPr>
            <a:xfrm>
              <a:off x="5037946"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44" name="RBContent19">
              <a:extLst>
                <a:ext uri="{FF2B5EF4-FFF2-40B4-BE49-F238E27FC236}">
                  <a16:creationId xmlns:a16="http://schemas.microsoft.com/office/drawing/2014/main" id="{B3AF8EFC-490F-44E3-B4AD-C415027433E6}"/>
                </a:ext>
              </a:extLst>
            </p:cNvPr>
            <p:cNvSpPr txBox="1"/>
            <p:nvPr/>
          </p:nvSpPr>
          <p:spPr>
            <a:xfrm>
              <a:off x="4531482" y="1920829"/>
              <a:ext cx="367272" cy="830996"/>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5</a:t>
              </a:r>
            </a:p>
          </p:txBody>
        </p:sp>
        <p:sp>
          <p:nvSpPr>
            <p:cNvPr id="45" name="Rectangle 79">
              <a:extLst>
                <a:ext uri="{FF2B5EF4-FFF2-40B4-BE49-F238E27FC236}">
                  <a16:creationId xmlns:a16="http://schemas.microsoft.com/office/drawing/2014/main" id="{4C92ECAE-1540-4957-995C-11CC30638D05}"/>
                </a:ext>
              </a:extLst>
            </p:cNvPr>
            <p:cNvSpPr>
              <a:spLocks/>
            </p:cNvSpPr>
            <p:nvPr/>
          </p:nvSpPr>
          <p:spPr>
            <a:xfrm>
              <a:off x="5037946" y="2278709"/>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19" name="Group 18">
            <a:extLst>
              <a:ext uri="{FF2B5EF4-FFF2-40B4-BE49-F238E27FC236}">
                <a16:creationId xmlns:a16="http://schemas.microsoft.com/office/drawing/2014/main" id="{F04EBA47-E062-F64A-8EFA-92263A9363D9}"/>
              </a:ext>
            </a:extLst>
          </p:cNvPr>
          <p:cNvGrpSpPr/>
          <p:nvPr/>
        </p:nvGrpSpPr>
        <p:grpSpPr>
          <a:xfrm>
            <a:off x="4531482" y="2963763"/>
            <a:ext cx="4106464" cy="830996"/>
            <a:chOff x="4531482" y="2963763"/>
            <a:chExt cx="4106464" cy="830996"/>
          </a:xfrm>
        </p:grpSpPr>
        <p:sp>
          <p:nvSpPr>
            <p:cNvPr id="59" name="Rectangle 78">
              <a:extLst>
                <a:ext uri="{FF2B5EF4-FFF2-40B4-BE49-F238E27FC236}">
                  <a16:creationId xmlns:a16="http://schemas.microsoft.com/office/drawing/2014/main" id="{4C420B6A-10FF-40DB-B21B-26238F7D5EFC}"/>
                </a:ext>
              </a:extLst>
            </p:cNvPr>
            <p:cNvSpPr/>
            <p:nvPr/>
          </p:nvSpPr>
          <p:spPr>
            <a:xfrm>
              <a:off x="5037946" y="303012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0" name="RBContent19">
              <a:extLst>
                <a:ext uri="{FF2B5EF4-FFF2-40B4-BE49-F238E27FC236}">
                  <a16:creationId xmlns:a16="http://schemas.microsoft.com/office/drawing/2014/main" id="{6CFAB708-6D50-4AF0-B30A-E1A0272C319B}"/>
                </a:ext>
              </a:extLst>
            </p:cNvPr>
            <p:cNvSpPr txBox="1"/>
            <p:nvPr/>
          </p:nvSpPr>
          <p:spPr>
            <a:xfrm>
              <a:off x="4531482" y="2963763"/>
              <a:ext cx="499559" cy="830996"/>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6</a:t>
              </a:r>
            </a:p>
          </p:txBody>
        </p:sp>
        <p:sp>
          <p:nvSpPr>
            <p:cNvPr id="61" name="Rectangle 79">
              <a:extLst>
                <a:ext uri="{FF2B5EF4-FFF2-40B4-BE49-F238E27FC236}">
                  <a16:creationId xmlns:a16="http://schemas.microsoft.com/office/drawing/2014/main" id="{636F9B1C-F5F4-4AEC-9CF7-AA8F8E039ABD}"/>
                </a:ext>
              </a:extLst>
            </p:cNvPr>
            <p:cNvSpPr>
              <a:spLocks/>
            </p:cNvSpPr>
            <p:nvPr/>
          </p:nvSpPr>
          <p:spPr>
            <a:xfrm>
              <a:off x="5037946" y="3321643"/>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20" name="Group 19">
            <a:extLst>
              <a:ext uri="{FF2B5EF4-FFF2-40B4-BE49-F238E27FC236}">
                <a16:creationId xmlns:a16="http://schemas.microsoft.com/office/drawing/2014/main" id="{303B9E9E-D9D2-CE4F-8EA4-9BFE77C6C110}"/>
              </a:ext>
            </a:extLst>
          </p:cNvPr>
          <p:cNvGrpSpPr/>
          <p:nvPr/>
        </p:nvGrpSpPr>
        <p:grpSpPr>
          <a:xfrm>
            <a:off x="4531482" y="4006697"/>
            <a:ext cx="4106464" cy="830997"/>
            <a:chOff x="4531482" y="4006697"/>
            <a:chExt cx="4106464" cy="830997"/>
          </a:xfrm>
        </p:grpSpPr>
        <p:sp>
          <p:nvSpPr>
            <p:cNvPr id="64" name="Rectangle 78">
              <a:extLst>
                <a:ext uri="{FF2B5EF4-FFF2-40B4-BE49-F238E27FC236}">
                  <a16:creationId xmlns:a16="http://schemas.microsoft.com/office/drawing/2014/main" id="{BCAFC427-83B5-4300-ADCF-232779CF8607}"/>
                </a:ext>
              </a:extLst>
            </p:cNvPr>
            <p:cNvSpPr/>
            <p:nvPr/>
          </p:nvSpPr>
          <p:spPr>
            <a:xfrm>
              <a:off x="5037946" y="407305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5" name="RBContent19">
              <a:extLst>
                <a:ext uri="{FF2B5EF4-FFF2-40B4-BE49-F238E27FC236}">
                  <a16:creationId xmlns:a16="http://schemas.microsoft.com/office/drawing/2014/main" id="{A31320FF-F503-41A2-B3DB-31212DCD66A5}"/>
                </a:ext>
              </a:extLst>
            </p:cNvPr>
            <p:cNvSpPr txBox="1"/>
            <p:nvPr/>
          </p:nvSpPr>
          <p:spPr>
            <a:xfrm>
              <a:off x="4531482" y="4006697"/>
              <a:ext cx="461145"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7</a:t>
              </a:r>
            </a:p>
          </p:txBody>
        </p:sp>
        <p:sp>
          <p:nvSpPr>
            <p:cNvPr id="66" name="Rectangle 79">
              <a:extLst>
                <a:ext uri="{FF2B5EF4-FFF2-40B4-BE49-F238E27FC236}">
                  <a16:creationId xmlns:a16="http://schemas.microsoft.com/office/drawing/2014/main" id="{B9EAD063-C7A0-4DA9-9D10-A19A3623F9AE}"/>
                </a:ext>
              </a:extLst>
            </p:cNvPr>
            <p:cNvSpPr>
              <a:spLocks/>
            </p:cNvSpPr>
            <p:nvPr/>
          </p:nvSpPr>
          <p:spPr>
            <a:xfrm>
              <a:off x="5037946" y="4364577"/>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grpSp>
        <p:nvGrpSpPr>
          <p:cNvPr id="21" name="Group 20">
            <a:extLst>
              <a:ext uri="{FF2B5EF4-FFF2-40B4-BE49-F238E27FC236}">
                <a16:creationId xmlns:a16="http://schemas.microsoft.com/office/drawing/2014/main" id="{A4AE74C2-247F-0341-93D6-3D1DE0BCB71D}"/>
              </a:ext>
            </a:extLst>
          </p:cNvPr>
          <p:cNvGrpSpPr/>
          <p:nvPr/>
        </p:nvGrpSpPr>
        <p:grpSpPr>
          <a:xfrm>
            <a:off x="4531482" y="5049632"/>
            <a:ext cx="4106464" cy="830997"/>
            <a:chOff x="4531482" y="5049632"/>
            <a:chExt cx="4106464" cy="830997"/>
          </a:xfrm>
        </p:grpSpPr>
        <p:sp>
          <p:nvSpPr>
            <p:cNvPr id="68" name="Rectangle 78">
              <a:extLst>
                <a:ext uri="{FF2B5EF4-FFF2-40B4-BE49-F238E27FC236}">
                  <a16:creationId xmlns:a16="http://schemas.microsoft.com/office/drawing/2014/main" id="{F17FD38A-0D45-4B96-BA8C-940F29863606}"/>
                </a:ext>
              </a:extLst>
            </p:cNvPr>
            <p:cNvSpPr/>
            <p:nvPr/>
          </p:nvSpPr>
          <p:spPr>
            <a:xfrm>
              <a:off x="5037946" y="5115989"/>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9" name="RBContent19">
              <a:extLst>
                <a:ext uri="{FF2B5EF4-FFF2-40B4-BE49-F238E27FC236}">
                  <a16:creationId xmlns:a16="http://schemas.microsoft.com/office/drawing/2014/main" id="{BC636C62-1CCD-4988-84C4-0EE4AF4E1072}"/>
                </a:ext>
              </a:extLst>
            </p:cNvPr>
            <p:cNvSpPr txBox="1"/>
            <p:nvPr/>
          </p:nvSpPr>
          <p:spPr>
            <a:xfrm>
              <a:off x="4531482" y="5049632"/>
              <a:ext cx="461145"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8</a:t>
              </a:r>
            </a:p>
          </p:txBody>
        </p:sp>
        <p:sp>
          <p:nvSpPr>
            <p:cNvPr id="70" name="Rectangle 79">
              <a:extLst>
                <a:ext uri="{FF2B5EF4-FFF2-40B4-BE49-F238E27FC236}">
                  <a16:creationId xmlns:a16="http://schemas.microsoft.com/office/drawing/2014/main" id="{A1DDEE81-3B43-4A69-A7C0-10E01E5F2E34}"/>
                </a:ext>
              </a:extLst>
            </p:cNvPr>
            <p:cNvSpPr>
              <a:spLocks/>
            </p:cNvSpPr>
            <p:nvPr/>
          </p:nvSpPr>
          <p:spPr>
            <a:xfrm>
              <a:off x="5037946" y="5407512"/>
              <a:ext cx="360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spTree>
    <p:extLst>
      <p:ext uri="{BB962C8B-B14F-4D97-AF65-F5344CB8AC3E}">
        <p14:creationId xmlns:p14="http://schemas.microsoft.com/office/powerpoint/2010/main" val="30366487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6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33" name="Content Placeholder 14">
            <a:extLst>
              <a:ext uri="{FF2B5EF4-FFF2-40B4-BE49-F238E27FC236}">
                <a16:creationId xmlns:a16="http://schemas.microsoft.com/office/drawing/2014/main" id="{A0B82B54-C316-4275-9F39-89371F277028}"/>
              </a:ext>
            </a:extLst>
          </p:cNvPr>
          <p:cNvSpPr>
            <a:spLocks noGrp="1"/>
          </p:cNvSpPr>
          <p:nvPr>
            <p:ph sz="quarter" idx="10"/>
          </p:nvPr>
        </p:nvSpPr>
        <p:spPr>
          <a:xfrm>
            <a:off x="365682" y="6028266"/>
            <a:ext cx="11460635" cy="221803"/>
          </a:xfrm>
        </p:spPr>
        <p:txBody>
          <a:bodyPr/>
          <a:lstStyle/>
          <a:p>
            <a:endParaRPr lang="en-GB"/>
          </a:p>
        </p:txBody>
      </p:sp>
      <p:sp>
        <p:nvSpPr>
          <p:cNvPr id="41" name="Rectangle 40">
            <a:extLst>
              <a:ext uri="{FF2B5EF4-FFF2-40B4-BE49-F238E27FC236}">
                <a16:creationId xmlns:a16="http://schemas.microsoft.com/office/drawing/2014/main" id="{8B07ABA8-5762-4578-BACD-CE6F066E06DB}"/>
              </a:ext>
            </a:extLst>
          </p:cNvPr>
          <p:cNvSpPr/>
          <p:nvPr/>
        </p:nvSpPr>
        <p:spPr>
          <a:xfrm>
            <a:off x="9083116" y="1913429"/>
            <a:ext cx="2743201"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grpSp>
        <p:nvGrpSpPr>
          <p:cNvPr id="47" name="Group 46">
            <a:extLst>
              <a:ext uri="{FF2B5EF4-FFF2-40B4-BE49-F238E27FC236}">
                <a16:creationId xmlns:a16="http://schemas.microsoft.com/office/drawing/2014/main" id="{4694DCC4-DF0E-4669-885A-D859F98D6A8F}"/>
              </a:ext>
            </a:extLst>
          </p:cNvPr>
          <p:cNvGrpSpPr/>
          <p:nvPr/>
        </p:nvGrpSpPr>
        <p:grpSpPr>
          <a:xfrm>
            <a:off x="365680" y="2590605"/>
            <a:ext cx="4106464" cy="610919"/>
            <a:chOff x="365680" y="2590605"/>
            <a:chExt cx="4106464" cy="610919"/>
          </a:xfrm>
        </p:grpSpPr>
        <p:sp>
          <p:nvSpPr>
            <p:cNvPr id="48" name="Rectangle 79">
              <a:extLst>
                <a:ext uri="{FF2B5EF4-FFF2-40B4-BE49-F238E27FC236}">
                  <a16:creationId xmlns:a16="http://schemas.microsoft.com/office/drawing/2014/main" id="{631BB533-C611-4A88-84FE-55D7B8EC6397}"/>
                </a:ext>
              </a:extLst>
            </p:cNvPr>
            <p:cNvSpPr>
              <a:spLocks/>
            </p:cNvSpPr>
            <p:nvPr/>
          </p:nvSpPr>
          <p:spPr>
            <a:xfrm>
              <a:off x="872144" y="2947917"/>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49" name="Rectangle 78">
              <a:extLst>
                <a:ext uri="{FF2B5EF4-FFF2-40B4-BE49-F238E27FC236}">
                  <a16:creationId xmlns:a16="http://schemas.microsoft.com/office/drawing/2014/main" id="{C4EA483F-092A-438A-BF43-3E49B0012B62}"/>
                </a:ext>
              </a:extLst>
            </p:cNvPr>
            <p:cNvSpPr/>
            <p:nvPr/>
          </p:nvSpPr>
          <p:spPr>
            <a:xfrm>
              <a:off x="872144" y="2664028"/>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50" name="RBContent19">
              <a:extLst>
                <a:ext uri="{FF2B5EF4-FFF2-40B4-BE49-F238E27FC236}">
                  <a16:creationId xmlns:a16="http://schemas.microsoft.com/office/drawing/2014/main" id="{FB4BEBE7-B11D-4BA4-91CC-C5B2E4E6930C}"/>
                </a:ext>
              </a:extLst>
            </p:cNvPr>
            <p:cNvSpPr txBox="1"/>
            <p:nvPr/>
          </p:nvSpPr>
          <p:spPr>
            <a:xfrm>
              <a:off x="365680" y="2590605"/>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2</a:t>
              </a:r>
            </a:p>
          </p:txBody>
        </p:sp>
      </p:grpSp>
      <p:grpSp>
        <p:nvGrpSpPr>
          <p:cNvPr id="51" name="Group 50">
            <a:extLst>
              <a:ext uri="{FF2B5EF4-FFF2-40B4-BE49-F238E27FC236}">
                <a16:creationId xmlns:a16="http://schemas.microsoft.com/office/drawing/2014/main" id="{397429A2-8FFB-4D15-9294-92F4C5A16E44}"/>
              </a:ext>
            </a:extLst>
          </p:cNvPr>
          <p:cNvGrpSpPr/>
          <p:nvPr/>
        </p:nvGrpSpPr>
        <p:grpSpPr>
          <a:xfrm>
            <a:off x="365680" y="3260381"/>
            <a:ext cx="4106464" cy="610919"/>
            <a:chOff x="365680" y="3260381"/>
            <a:chExt cx="4106464" cy="610919"/>
          </a:xfrm>
        </p:grpSpPr>
        <p:sp>
          <p:nvSpPr>
            <p:cNvPr id="52" name="Rectangle 79">
              <a:extLst>
                <a:ext uri="{FF2B5EF4-FFF2-40B4-BE49-F238E27FC236}">
                  <a16:creationId xmlns:a16="http://schemas.microsoft.com/office/drawing/2014/main" id="{E8847013-19AB-4CD6-A3A5-C59897770FFA}"/>
                </a:ext>
              </a:extLst>
            </p:cNvPr>
            <p:cNvSpPr>
              <a:spLocks/>
            </p:cNvSpPr>
            <p:nvPr/>
          </p:nvSpPr>
          <p:spPr>
            <a:xfrm>
              <a:off x="872144" y="3617693"/>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53" name="Rectangle 78">
              <a:extLst>
                <a:ext uri="{FF2B5EF4-FFF2-40B4-BE49-F238E27FC236}">
                  <a16:creationId xmlns:a16="http://schemas.microsoft.com/office/drawing/2014/main" id="{610200CD-10E3-45B6-B72B-DC05F6BDF795}"/>
                </a:ext>
              </a:extLst>
            </p:cNvPr>
            <p:cNvSpPr/>
            <p:nvPr/>
          </p:nvSpPr>
          <p:spPr>
            <a:xfrm>
              <a:off x="872144" y="333380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54" name="RBContent19">
              <a:extLst>
                <a:ext uri="{FF2B5EF4-FFF2-40B4-BE49-F238E27FC236}">
                  <a16:creationId xmlns:a16="http://schemas.microsoft.com/office/drawing/2014/main" id="{8E20A93B-ED4D-4F8E-A886-144FC6F52193}"/>
                </a:ext>
              </a:extLst>
            </p:cNvPr>
            <p:cNvSpPr txBox="1"/>
            <p:nvPr/>
          </p:nvSpPr>
          <p:spPr>
            <a:xfrm>
              <a:off x="365680" y="3260381"/>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3</a:t>
              </a:r>
            </a:p>
          </p:txBody>
        </p:sp>
      </p:grpSp>
      <p:grpSp>
        <p:nvGrpSpPr>
          <p:cNvPr id="55" name="Group 54">
            <a:extLst>
              <a:ext uri="{FF2B5EF4-FFF2-40B4-BE49-F238E27FC236}">
                <a16:creationId xmlns:a16="http://schemas.microsoft.com/office/drawing/2014/main" id="{02554AF2-ED8C-4282-840D-01776033758D}"/>
              </a:ext>
            </a:extLst>
          </p:cNvPr>
          <p:cNvGrpSpPr/>
          <p:nvPr/>
        </p:nvGrpSpPr>
        <p:grpSpPr>
          <a:xfrm>
            <a:off x="365680" y="3930157"/>
            <a:ext cx="4106464" cy="610919"/>
            <a:chOff x="365680" y="3930157"/>
            <a:chExt cx="4106464" cy="610919"/>
          </a:xfrm>
        </p:grpSpPr>
        <p:sp>
          <p:nvSpPr>
            <p:cNvPr id="56" name="Rectangle 79">
              <a:extLst>
                <a:ext uri="{FF2B5EF4-FFF2-40B4-BE49-F238E27FC236}">
                  <a16:creationId xmlns:a16="http://schemas.microsoft.com/office/drawing/2014/main" id="{432C408E-E658-4AFF-9B86-82333D97ABD9}"/>
                </a:ext>
              </a:extLst>
            </p:cNvPr>
            <p:cNvSpPr>
              <a:spLocks/>
            </p:cNvSpPr>
            <p:nvPr/>
          </p:nvSpPr>
          <p:spPr>
            <a:xfrm>
              <a:off x="872144" y="4287469"/>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57" name="Rectangle 78">
              <a:extLst>
                <a:ext uri="{FF2B5EF4-FFF2-40B4-BE49-F238E27FC236}">
                  <a16:creationId xmlns:a16="http://schemas.microsoft.com/office/drawing/2014/main" id="{8FDB5782-9CF0-46AA-9818-FDF5073DDFB4}"/>
                </a:ext>
              </a:extLst>
            </p:cNvPr>
            <p:cNvSpPr/>
            <p:nvPr/>
          </p:nvSpPr>
          <p:spPr>
            <a:xfrm>
              <a:off x="872144" y="400358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58" name="RBContent19">
              <a:extLst>
                <a:ext uri="{FF2B5EF4-FFF2-40B4-BE49-F238E27FC236}">
                  <a16:creationId xmlns:a16="http://schemas.microsoft.com/office/drawing/2014/main" id="{47957E01-F596-4549-BA51-B8E22F2F9325}"/>
                </a:ext>
              </a:extLst>
            </p:cNvPr>
            <p:cNvSpPr txBox="1"/>
            <p:nvPr/>
          </p:nvSpPr>
          <p:spPr>
            <a:xfrm>
              <a:off x="365680" y="3930157"/>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4</a:t>
              </a:r>
            </a:p>
          </p:txBody>
        </p:sp>
      </p:grpSp>
      <p:grpSp>
        <p:nvGrpSpPr>
          <p:cNvPr id="71" name="Group 70">
            <a:extLst>
              <a:ext uri="{FF2B5EF4-FFF2-40B4-BE49-F238E27FC236}">
                <a16:creationId xmlns:a16="http://schemas.microsoft.com/office/drawing/2014/main" id="{6FDF1167-F954-4BFB-9478-17BF61ACF2FC}"/>
              </a:ext>
            </a:extLst>
          </p:cNvPr>
          <p:cNvGrpSpPr/>
          <p:nvPr/>
        </p:nvGrpSpPr>
        <p:grpSpPr>
          <a:xfrm>
            <a:off x="365680" y="4599933"/>
            <a:ext cx="4106464" cy="610919"/>
            <a:chOff x="365680" y="4599933"/>
            <a:chExt cx="4106464" cy="610919"/>
          </a:xfrm>
        </p:grpSpPr>
        <p:sp>
          <p:nvSpPr>
            <p:cNvPr id="72" name="Rectangle 79">
              <a:extLst>
                <a:ext uri="{FF2B5EF4-FFF2-40B4-BE49-F238E27FC236}">
                  <a16:creationId xmlns:a16="http://schemas.microsoft.com/office/drawing/2014/main" id="{15FEAFEA-AC19-4185-9FF9-FA7F453FC786}"/>
                </a:ext>
              </a:extLst>
            </p:cNvPr>
            <p:cNvSpPr>
              <a:spLocks/>
            </p:cNvSpPr>
            <p:nvPr/>
          </p:nvSpPr>
          <p:spPr>
            <a:xfrm>
              <a:off x="872144" y="4957245"/>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73" name="Rectangle 78">
              <a:extLst>
                <a:ext uri="{FF2B5EF4-FFF2-40B4-BE49-F238E27FC236}">
                  <a16:creationId xmlns:a16="http://schemas.microsoft.com/office/drawing/2014/main" id="{0CBAD975-0E86-42DD-9157-87827C281407}"/>
                </a:ext>
              </a:extLst>
            </p:cNvPr>
            <p:cNvSpPr/>
            <p:nvPr/>
          </p:nvSpPr>
          <p:spPr>
            <a:xfrm>
              <a:off x="872144" y="467335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74" name="RBContent19">
              <a:extLst>
                <a:ext uri="{FF2B5EF4-FFF2-40B4-BE49-F238E27FC236}">
                  <a16:creationId xmlns:a16="http://schemas.microsoft.com/office/drawing/2014/main" id="{7E670B1C-2C46-4844-A5AF-FB8175E2F246}"/>
                </a:ext>
              </a:extLst>
            </p:cNvPr>
            <p:cNvSpPr txBox="1"/>
            <p:nvPr/>
          </p:nvSpPr>
          <p:spPr>
            <a:xfrm>
              <a:off x="365680" y="4599933"/>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5</a:t>
              </a:r>
            </a:p>
          </p:txBody>
        </p:sp>
      </p:grpSp>
      <p:grpSp>
        <p:nvGrpSpPr>
          <p:cNvPr id="75" name="Group 74">
            <a:extLst>
              <a:ext uri="{FF2B5EF4-FFF2-40B4-BE49-F238E27FC236}">
                <a16:creationId xmlns:a16="http://schemas.microsoft.com/office/drawing/2014/main" id="{142BE14E-EC1B-4172-B94B-A80C50DAB107}"/>
              </a:ext>
            </a:extLst>
          </p:cNvPr>
          <p:cNvGrpSpPr/>
          <p:nvPr/>
        </p:nvGrpSpPr>
        <p:grpSpPr>
          <a:xfrm>
            <a:off x="365680" y="5269710"/>
            <a:ext cx="4106464" cy="610919"/>
            <a:chOff x="365680" y="5269709"/>
            <a:chExt cx="4106464" cy="610919"/>
          </a:xfrm>
        </p:grpSpPr>
        <p:sp>
          <p:nvSpPr>
            <p:cNvPr id="76" name="Rectangle 79">
              <a:extLst>
                <a:ext uri="{FF2B5EF4-FFF2-40B4-BE49-F238E27FC236}">
                  <a16:creationId xmlns:a16="http://schemas.microsoft.com/office/drawing/2014/main" id="{C4303D7C-C28F-4C23-90A2-19F1EA398D29}"/>
                </a:ext>
              </a:extLst>
            </p:cNvPr>
            <p:cNvSpPr>
              <a:spLocks/>
            </p:cNvSpPr>
            <p:nvPr/>
          </p:nvSpPr>
          <p:spPr>
            <a:xfrm>
              <a:off x="872144" y="5627021"/>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77" name="Rectangle 78">
              <a:extLst>
                <a:ext uri="{FF2B5EF4-FFF2-40B4-BE49-F238E27FC236}">
                  <a16:creationId xmlns:a16="http://schemas.microsoft.com/office/drawing/2014/main" id="{6CD22B2E-5E89-4436-AD27-23F99A0D3103}"/>
                </a:ext>
              </a:extLst>
            </p:cNvPr>
            <p:cNvSpPr/>
            <p:nvPr/>
          </p:nvSpPr>
          <p:spPr>
            <a:xfrm>
              <a:off x="872144" y="5343132"/>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78" name="RBContent19">
              <a:extLst>
                <a:ext uri="{FF2B5EF4-FFF2-40B4-BE49-F238E27FC236}">
                  <a16:creationId xmlns:a16="http://schemas.microsoft.com/office/drawing/2014/main" id="{89BEEC9E-F5DA-4A61-8669-EACA6BCD4B2E}"/>
                </a:ext>
              </a:extLst>
            </p:cNvPr>
            <p:cNvSpPr txBox="1"/>
            <p:nvPr/>
          </p:nvSpPr>
          <p:spPr>
            <a:xfrm>
              <a:off x="365680" y="5269709"/>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6</a:t>
              </a:r>
            </a:p>
          </p:txBody>
        </p:sp>
      </p:grpSp>
      <p:grpSp>
        <p:nvGrpSpPr>
          <p:cNvPr id="80" name="Group 79">
            <a:extLst>
              <a:ext uri="{FF2B5EF4-FFF2-40B4-BE49-F238E27FC236}">
                <a16:creationId xmlns:a16="http://schemas.microsoft.com/office/drawing/2014/main" id="{D80E87B6-4802-4867-8BE8-FE39E2E0E808}"/>
              </a:ext>
            </a:extLst>
          </p:cNvPr>
          <p:cNvGrpSpPr/>
          <p:nvPr/>
        </p:nvGrpSpPr>
        <p:grpSpPr>
          <a:xfrm>
            <a:off x="365680" y="1920829"/>
            <a:ext cx="4106464" cy="610919"/>
            <a:chOff x="365680" y="1920829"/>
            <a:chExt cx="4106464" cy="610919"/>
          </a:xfrm>
        </p:grpSpPr>
        <p:sp>
          <p:nvSpPr>
            <p:cNvPr id="81" name="Rectangle 80">
              <a:extLst>
                <a:ext uri="{FF2B5EF4-FFF2-40B4-BE49-F238E27FC236}">
                  <a16:creationId xmlns:a16="http://schemas.microsoft.com/office/drawing/2014/main" id="{A2DAA64F-AF12-40BA-AB4B-A56BD5EFD4AD}"/>
                </a:ext>
              </a:extLst>
            </p:cNvPr>
            <p:cNvSpPr>
              <a:spLocks/>
            </p:cNvSpPr>
            <p:nvPr/>
          </p:nvSpPr>
          <p:spPr>
            <a:xfrm>
              <a:off x="872144" y="2278141"/>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82" name="RBContent19">
              <a:extLst>
                <a:ext uri="{FF2B5EF4-FFF2-40B4-BE49-F238E27FC236}">
                  <a16:creationId xmlns:a16="http://schemas.microsoft.com/office/drawing/2014/main" id="{9D3A133C-F941-47FC-B377-F44E3437B330}"/>
                </a:ext>
              </a:extLst>
            </p:cNvPr>
            <p:cNvSpPr txBox="1"/>
            <p:nvPr/>
          </p:nvSpPr>
          <p:spPr>
            <a:xfrm>
              <a:off x="365680" y="1920829"/>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a:t>
              </a:r>
            </a:p>
          </p:txBody>
        </p:sp>
        <p:sp>
          <p:nvSpPr>
            <p:cNvPr id="83" name="Rectangle 82">
              <a:extLst>
                <a:ext uri="{FF2B5EF4-FFF2-40B4-BE49-F238E27FC236}">
                  <a16:creationId xmlns:a16="http://schemas.microsoft.com/office/drawing/2014/main" id="{CFF31374-DF47-4E10-BF5C-41481D707772}"/>
                </a:ext>
              </a:extLst>
            </p:cNvPr>
            <p:cNvSpPr/>
            <p:nvPr/>
          </p:nvSpPr>
          <p:spPr>
            <a:xfrm>
              <a:off x="872144"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grpSp>
      <p:grpSp>
        <p:nvGrpSpPr>
          <p:cNvPr id="84" name="Group 83">
            <a:extLst>
              <a:ext uri="{FF2B5EF4-FFF2-40B4-BE49-F238E27FC236}">
                <a16:creationId xmlns:a16="http://schemas.microsoft.com/office/drawing/2014/main" id="{2AEB7944-BE73-403B-9678-BF22AF8C097C}"/>
              </a:ext>
            </a:extLst>
          </p:cNvPr>
          <p:cNvGrpSpPr/>
          <p:nvPr/>
        </p:nvGrpSpPr>
        <p:grpSpPr>
          <a:xfrm>
            <a:off x="4531482" y="2590605"/>
            <a:ext cx="4106464" cy="610919"/>
            <a:chOff x="365680" y="2590605"/>
            <a:chExt cx="4106464" cy="610919"/>
          </a:xfrm>
        </p:grpSpPr>
        <p:sp>
          <p:nvSpPr>
            <p:cNvPr id="86" name="Rectangle 79">
              <a:extLst>
                <a:ext uri="{FF2B5EF4-FFF2-40B4-BE49-F238E27FC236}">
                  <a16:creationId xmlns:a16="http://schemas.microsoft.com/office/drawing/2014/main" id="{46FCD0E7-06F4-4C02-BBB9-1428A08B57F1}"/>
                </a:ext>
              </a:extLst>
            </p:cNvPr>
            <p:cNvSpPr>
              <a:spLocks/>
            </p:cNvSpPr>
            <p:nvPr/>
          </p:nvSpPr>
          <p:spPr>
            <a:xfrm>
              <a:off x="872144" y="2947917"/>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87" name="Rectangle 78">
              <a:extLst>
                <a:ext uri="{FF2B5EF4-FFF2-40B4-BE49-F238E27FC236}">
                  <a16:creationId xmlns:a16="http://schemas.microsoft.com/office/drawing/2014/main" id="{7A1770F2-6E81-47BA-BC70-AA58ADBEABBE}"/>
                </a:ext>
              </a:extLst>
            </p:cNvPr>
            <p:cNvSpPr/>
            <p:nvPr/>
          </p:nvSpPr>
          <p:spPr>
            <a:xfrm>
              <a:off x="872144" y="2664028"/>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88" name="RBContent19">
              <a:extLst>
                <a:ext uri="{FF2B5EF4-FFF2-40B4-BE49-F238E27FC236}">
                  <a16:creationId xmlns:a16="http://schemas.microsoft.com/office/drawing/2014/main" id="{FC162DFF-645A-4857-9CEE-00BD1B471C20}"/>
                </a:ext>
              </a:extLst>
            </p:cNvPr>
            <p:cNvSpPr txBox="1"/>
            <p:nvPr/>
          </p:nvSpPr>
          <p:spPr>
            <a:xfrm>
              <a:off x="365680" y="2590605"/>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8</a:t>
              </a:r>
            </a:p>
          </p:txBody>
        </p:sp>
      </p:grpSp>
      <p:grpSp>
        <p:nvGrpSpPr>
          <p:cNvPr id="89" name="Group 88">
            <a:extLst>
              <a:ext uri="{FF2B5EF4-FFF2-40B4-BE49-F238E27FC236}">
                <a16:creationId xmlns:a16="http://schemas.microsoft.com/office/drawing/2014/main" id="{20BB5C04-67FE-4A28-8531-C5C79D8219B4}"/>
              </a:ext>
            </a:extLst>
          </p:cNvPr>
          <p:cNvGrpSpPr/>
          <p:nvPr/>
        </p:nvGrpSpPr>
        <p:grpSpPr>
          <a:xfrm>
            <a:off x="4531482" y="3260381"/>
            <a:ext cx="4106464" cy="610919"/>
            <a:chOff x="365680" y="3260381"/>
            <a:chExt cx="4106464" cy="610919"/>
          </a:xfrm>
        </p:grpSpPr>
        <p:sp>
          <p:nvSpPr>
            <p:cNvPr id="90" name="Rectangle 79">
              <a:extLst>
                <a:ext uri="{FF2B5EF4-FFF2-40B4-BE49-F238E27FC236}">
                  <a16:creationId xmlns:a16="http://schemas.microsoft.com/office/drawing/2014/main" id="{218AFCD2-ED26-4D7B-BAA8-F86C22C7980E}"/>
                </a:ext>
              </a:extLst>
            </p:cNvPr>
            <p:cNvSpPr>
              <a:spLocks/>
            </p:cNvSpPr>
            <p:nvPr/>
          </p:nvSpPr>
          <p:spPr>
            <a:xfrm>
              <a:off x="872144" y="3617693"/>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91" name="Rectangle 78">
              <a:extLst>
                <a:ext uri="{FF2B5EF4-FFF2-40B4-BE49-F238E27FC236}">
                  <a16:creationId xmlns:a16="http://schemas.microsoft.com/office/drawing/2014/main" id="{02B26F4D-E9D3-4F9E-8911-781D5CA7AD8D}"/>
                </a:ext>
              </a:extLst>
            </p:cNvPr>
            <p:cNvSpPr/>
            <p:nvPr/>
          </p:nvSpPr>
          <p:spPr>
            <a:xfrm>
              <a:off x="872144" y="3333804"/>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92" name="RBContent19">
              <a:extLst>
                <a:ext uri="{FF2B5EF4-FFF2-40B4-BE49-F238E27FC236}">
                  <a16:creationId xmlns:a16="http://schemas.microsoft.com/office/drawing/2014/main" id="{EF480A76-D4B5-4E05-84E9-E2CCEC0D58A6}"/>
                </a:ext>
              </a:extLst>
            </p:cNvPr>
            <p:cNvSpPr txBox="1"/>
            <p:nvPr/>
          </p:nvSpPr>
          <p:spPr>
            <a:xfrm>
              <a:off x="365680" y="3260381"/>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9</a:t>
              </a:r>
            </a:p>
          </p:txBody>
        </p:sp>
      </p:grpSp>
      <p:grpSp>
        <p:nvGrpSpPr>
          <p:cNvPr id="93" name="Group 92">
            <a:extLst>
              <a:ext uri="{FF2B5EF4-FFF2-40B4-BE49-F238E27FC236}">
                <a16:creationId xmlns:a16="http://schemas.microsoft.com/office/drawing/2014/main" id="{26A272D9-29BB-4EBA-B278-535938752ACE}"/>
              </a:ext>
            </a:extLst>
          </p:cNvPr>
          <p:cNvGrpSpPr/>
          <p:nvPr/>
        </p:nvGrpSpPr>
        <p:grpSpPr>
          <a:xfrm>
            <a:off x="4243228" y="3930157"/>
            <a:ext cx="4394718" cy="609398"/>
            <a:chOff x="77426" y="3930157"/>
            <a:chExt cx="4394718" cy="609398"/>
          </a:xfrm>
        </p:grpSpPr>
        <p:sp>
          <p:nvSpPr>
            <p:cNvPr id="94" name="Rectangle 79">
              <a:extLst>
                <a:ext uri="{FF2B5EF4-FFF2-40B4-BE49-F238E27FC236}">
                  <a16:creationId xmlns:a16="http://schemas.microsoft.com/office/drawing/2014/main" id="{C81255B5-BF11-4B6A-84D6-89B094A5B215}"/>
                </a:ext>
              </a:extLst>
            </p:cNvPr>
            <p:cNvSpPr>
              <a:spLocks/>
            </p:cNvSpPr>
            <p:nvPr/>
          </p:nvSpPr>
          <p:spPr>
            <a:xfrm>
              <a:off x="872144" y="4287469"/>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95" name="Rectangle 78">
              <a:extLst>
                <a:ext uri="{FF2B5EF4-FFF2-40B4-BE49-F238E27FC236}">
                  <a16:creationId xmlns:a16="http://schemas.microsoft.com/office/drawing/2014/main" id="{4F40FD8B-A70D-498B-96A8-61E23704636E}"/>
                </a:ext>
              </a:extLst>
            </p:cNvPr>
            <p:cNvSpPr/>
            <p:nvPr/>
          </p:nvSpPr>
          <p:spPr>
            <a:xfrm>
              <a:off x="872144" y="4003580"/>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96" name="RBContent19">
              <a:extLst>
                <a:ext uri="{FF2B5EF4-FFF2-40B4-BE49-F238E27FC236}">
                  <a16:creationId xmlns:a16="http://schemas.microsoft.com/office/drawing/2014/main" id="{47A3EB77-554A-42C2-B65A-9E2BE1BB1F45}"/>
                </a:ext>
              </a:extLst>
            </p:cNvPr>
            <p:cNvSpPr txBox="1"/>
            <p:nvPr/>
          </p:nvSpPr>
          <p:spPr>
            <a:xfrm>
              <a:off x="77426" y="3930157"/>
              <a:ext cx="630862"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0</a:t>
              </a:r>
            </a:p>
          </p:txBody>
        </p:sp>
      </p:grpSp>
      <p:grpSp>
        <p:nvGrpSpPr>
          <p:cNvPr id="97" name="Group 96">
            <a:extLst>
              <a:ext uri="{FF2B5EF4-FFF2-40B4-BE49-F238E27FC236}">
                <a16:creationId xmlns:a16="http://schemas.microsoft.com/office/drawing/2014/main" id="{844C0653-7FFB-401C-9AF6-812F795912A6}"/>
              </a:ext>
            </a:extLst>
          </p:cNvPr>
          <p:cNvGrpSpPr/>
          <p:nvPr/>
        </p:nvGrpSpPr>
        <p:grpSpPr>
          <a:xfrm>
            <a:off x="4243228" y="4599933"/>
            <a:ext cx="4394718" cy="610919"/>
            <a:chOff x="77426" y="4599933"/>
            <a:chExt cx="4394718" cy="610919"/>
          </a:xfrm>
        </p:grpSpPr>
        <p:sp>
          <p:nvSpPr>
            <p:cNvPr id="98" name="Rectangle 79">
              <a:extLst>
                <a:ext uri="{FF2B5EF4-FFF2-40B4-BE49-F238E27FC236}">
                  <a16:creationId xmlns:a16="http://schemas.microsoft.com/office/drawing/2014/main" id="{29E9EE0B-298F-447E-8D48-CCD7B33F814E}"/>
                </a:ext>
              </a:extLst>
            </p:cNvPr>
            <p:cNvSpPr>
              <a:spLocks/>
            </p:cNvSpPr>
            <p:nvPr/>
          </p:nvSpPr>
          <p:spPr>
            <a:xfrm>
              <a:off x="872144" y="4957245"/>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99" name="Rectangle 78">
              <a:extLst>
                <a:ext uri="{FF2B5EF4-FFF2-40B4-BE49-F238E27FC236}">
                  <a16:creationId xmlns:a16="http://schemas.microsoft.com/office/drawing/2014/main" id="{1E0BE9C3-41C9-4262-9CC9-0DD18AF613A2}"/>
                </a:ext>
              </a:extLst>
            </p:cNvPr>
            <p:cNvSpPr/>
            <p:nvPr/>
          </p:nvSpPr>
          <p:spPr>
            <a:xfrm>
              <a:off x="872144" y="467335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00" name="RBContent19">
              <a:extLst>
                <a:ext uri="{FF2B5EF4-FFF2-40B4-BE49-F238E27FC236}">
                  <a16:creationId xmlns:a16="http://schemas.microsoft.com/office/drawing/2014/main" id="{2A6D621F-E0F0-43CF-9A70-3E172B431165}"/>
                </a:ext>
              </a:extLst>
            </p:cNvPr>
            <p:cNvSpPr txBox="1"/>
            <p:nvPr/>
          </p:nvSpPr>
          <p:spPr>
            <a:xfrm>
              <a:off x="77426" y="4599933"/>
              <a:ext cx="630862"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1</a:t>
              </a:r>
            </a:p>
          </p:txBody>
        </p:sp>
      </p:grpSp>
      <p:grpSp>
        <p:nvGrpSpPr>
          <p:cNvPr id="101" name="Group 100">
            <a:extLst>
              <a:ext uri="{FF2B5EF4-FFF2-40B4-BE49-F238E27FC236}">
                <a16:creationId xmlns:a16="http://schemas.microsoft.com/office/drawing/2014/main" id="{7947E3F2-617A-4674-A9E0-FA137F11C456}"/>
              </a:ext>
            </a:extLst>
          </p:cNvPr>
          <p:cNvGrpSpPr/>
          <p:nvPr/>
        </p:nvGrpSpPr>
        <p:grpSpPr>
          <a:xfrm>
            <a:off x="4243228" y="5269710"/>
            <a:ext cx="4394718" cy="610919"/>
            <a:chOff x="77426" y="5269709"/>
            <a:chExt cx="4394718" cy="610919"/>
          </a:xfrm>
        </p:grpSpPr>
        <p:sp>
          <p:nvSpPr>
            <p:cNvPr id="102" name="Rectangle 79">
              <a:extLst>
                <a:ext uri="{FF2B5EF4-FFF2-40B4-BE49-F238E27FC236}">
                  <a16:creationId xmlns:a16="http://schemas.microsoft.com/office/drawing/2014/main" id="{7D634950-6EEB-43A5-A25F-D51EC26E04E2}"/>
                </a:ext>
              </a:extLst>
            </p:cNvPr>
            <p:cNvSpPr>
              <a:spLocks/>
            </p:cNvSpPr>
            <p:nvPr/>
          </p:nvSpPr>
          <p:spPr>
            <a:xfrm>
              <a:off x="872144" y="5627021"/>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103" name="Rectangle 78">
              <a:extLst>
                <a:ext uri="{FF2B5EF4-FFF2-40B4-BE49-F238E27FC236}">
                  <a16:creationId xmlns:a16="http://schemas.microsoft.com/office/drawing/2014/main" id="{9562FB27-977A-41FF-9807-FF17BE2D760D}"/>
                </a:ext>
              </a:extLst>
            </p:cNvPr>
            <p:cNvSpPr/>
            <p:nvPr/>
          </p:nvSpPr>
          <p:spPr>
            <a:xfrm>
              <a:off x="872144" y="5343132"/>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04" name="RBContent19">
              <a:extLst>
                <a:ext uri="{FF2B5EF4-FFF2-40B4-BE49-F238E27FC236}">
                  <a16:creationId xmlns:a16="http://schemas.microsoft.com/office/drawing/2014/main" id="{061FCE02-FEAD-434E-89E7-F81C91C4547F}"/>
                </a:ext>
              </a:extLst>
            </p:cNvPr>
            <p:cNvSpPr txBox="1"/>
            <p:nvPr/>
          </p:nvSpPr>
          <p:spPr>
            <a:xfrm>
              <a:off x="77426" y="5269709"/>
              <a:ext cx="630862"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2</a:t>
              </a:r>
            </a:p>
          </p:txBody>
        </p:sp>
      </p:grpSp>
      <p:grpSp>
        <p:nvGrpSpPr>
          <p:cNvPr id="105" name="Group 104">
            <a:extLst>
              <a:ext uri="{FF2B5EF4-FFF2-40B4-BE49-F238E27FC236}">
                <a16:creationId xmlns:a16="http://schemas.microsoft.com/office/drawing/2014/main" id="{20DAF440-907C-43E0-A8EE-BB6CEC9CB2A3}"/>
              </a:ext>
            </a:extLst>
          </p:cNvPr>
          <p:cNvGrpSpPr/>
          <p:nvPr/>
        </p:nvGrpSpPr>
        <p:grpSpPr>
          <a:xfrm>
            <a:off x="4531482" y="1920829"/>
            <a:ext cx="4106464" cy="610919"/>
            <a:chOff x="365680" y="1920829"/>
            <a:chExt cx="4106464" cy="610919"/>
          </a:xfrm>
        </p:grpSpPr>
        <p:sp>
          <p:nvSpPr>
            <p:cNvPr id="106" name="Rectangle 105">
              <a:extLst>
                <a:ext uri="{FF2B5EF4-FFF2-40B4-BE49-F238E27FC236}">
                  <a16:creationId xmlns:a16="http://schemas.microsoft.com/office/drawing/2014/main" id="{047DF3AC-D2DB-4D9D-AEFF-555B7716CA84}"/>
                </a:ext>
              </a:extLst>
            </p:cNvPr>
            <p:cNvSpPr>
              <a:spLocks/>
            </p:cNvSpPr>
            <p:nvPr/>
          </p:nvSpPr>
          <p:spPr>
            <a:xfrm>
              <a:off x="872144" y="2278141"/>
              <a:ext cx="3600000" cy="222152"/>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107" name="RBContent19">
              <a:extLst>
                <a:ext uri="{FF2B5EF4-FFF2-40B4-BE49-F238E27FC236}">
                  <a16:creationId xmlns:a16="http://schemas.microsoft.com/office/drawing/2014/main" id="{777EECDF-00E9-43EB-8CAB-9A0D8EDAED04}"/>
                </a:ext>
              </a:extLst>
            </p:cNvPr>
            <p:cNvSpPr txBox="1"/>
            <p:nvPr/>
          </p:nvSpPr>
          <p:spPr>
            <a:xfrm>
              <a:off x="365680" y="1920829"/>
              <a:ext cx="342607" cy="610919"/>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7</a:t>
              </a:r>
            </a:p>
          </p:txBody>
        </p:sp>
        <p:sp>
          <p:nvSpPr>
            <p:cNvPr id="108" name="Rectangle 107">
              <a:extLst>
                <a:ext uri="{FF2B5EF4-FFF2-40B4-BE49-F238E27FC236}">
                  <a16:creationId xmlns:a16="http://schemas.microsoft.com/office/drawing/2014/main" id="{7D7F5447-23BB-4992-BA86-1765769D1924}"/>
                </a:ext>
              </a:extLst>
            </p:cNvPr>
            <p:cNvSpPr/>
            <p:nvPr/>
          </p:nvSpPr>
          <p:spPr>
            <a:xfrm>
              <a:off x="872144" y="1987186"/>
              <a:ext cx="360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grpSp>
    </p:spTree>
    <p:extLst>
      <p:ext uri="{BB962C8B-B14F-4D97-AF65-F5344CB8AC3E}">
        <p14:creationId xmlns:p14="http://schemas.microsoft.com/office/powerpoint/2010/main" val="1963362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EB6526-0F7D-0749-8B00-BEEE11FBE712}"/>
              </a:ext>
            </a:extLst>
          </p:cNvPr>
          <p:cNvSpPr>
            <a:spLocks noGrp="1"/>
          </p:cNvSpPr>
          <p:nvPr>
            <p:ph type="sldNum" sz="quarter" idx="4"/>
          </p:nvPr>
        </p:nvSpPr>
        <p:spPr/>
        <p:txBody>
          <a:bodyPr/>
          <a:lstStyle/>
          <a:p>
            <a:fld id="{3D966009-6E5A-4F8C-8CA7-E37AFBF5FB92}" type="slidenum">
              <a:rPr lang="en-US" smtClean="0"/>
              <a:t>7</a:t>
            </a:fld>
            <a:endParaRPr lang="en-US"/>
          </a:p>
        </p:txBody>
      </p:sp>
      <p:sp>
        <p:nvSpPr>
          <p:cNvPr id="3" name="Title 2">
            <a:extLst>
              <a:ext uri="{FF2B5EF4-FFF2-40B4-BE49-F238E27FC236}">
                <a16:creationId xmlns:a16="http://schemas.microsoft.com/office/drawing/2014/main" id="{FF108AFE-699A-0F44-AC51-4030C52D658D}"/>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5913D2E3-4B29-0048-8407-724CB6C7E7D6}"/>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87EEDF96-5241-8140-A5D9-6461F82D7256}"/>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9FC02330-2DD8-E446-8C62-486D2C711CB3}"/>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7FBB3AC8-3698-5845-A15C-4578E9F4B979}"/>
              </a:ext>
            </a:extLst>
          </p:cNvPr>
          <p:cNvSpPr>
            <a:spLocks noGrp="1"/>
          </p:cNvSpPr>
          <p:nvPr>
            <p:ph sz="quarter" idx="14"/>
          </p:nvPr>
        </p:nvSpPr>
        <p:spPr/>
        <p:txBody>
          <a:bodyPr/>
          <a:lstStyle/>
          <a:p>
            <a:endParaRPr lang="en-GB"/>
          </a:p>
        </p:txBody>
      </p:sp>
      <p:grpSp>
        <p:nvGrpSpPr>
          <p:cNvPr id="39" name="Group 38">
            <a:extLst>
              <a:ext uri="{FF2B5EF4-FFF2-40B4-BE49-F238E27FC236}">
                <a16:creationId xmlns:a16="http://schemas.microsoft.com/office/drawing/2014/main" id="{8FAC30C9-47B4-954B-9269-3201631F81BD}"/>
              </a:ext>
            </a:extLst>
          </p:cNvPr>
          <p:cNvGrpSpPr/>
          <p:nvPr/>
        </p:nvGrpSpPr>
        <p:grpSpPr>
          <a:xfrm>
            <a:off x="400210" y="1706760"/>
            <a:ext cx="5659277" cy="720001"/>
            <a:chOff x="400210" y="2173683"/>
            <a:chExt cx="5659277" cy="720001"/>
          </a:xfrm>
        </p:grpSpPr>
        <p:sp>
          <p:nvSpPr>
            <p:cNvPr id="10" name="Rectangle 9">
              <a:extLst>
                <a:ext uri="{FF2B5EF4-FFF2-40B4-BE49-F238E27FC236}">
                  <a16:creationId xmlns:a16="http://schemas.microsoft.com/office/drawing/2014/main" id="{B275FFEA-3BB1-4C45-8327-D0650E98DF8F}"/>
                </a:ext>
              </a:extLst>
            </p:cNvPr>
            <p:cNvSpPr/>
            <p:nvPr/>
          </p:nvSpPr>
          <p:spPr>
            <a:xfrm>
              <a:off x="400210" y="2173684"/>
              <a:ext cx="5659277" cy="720000"/>
            </a:xfrm>
            <a:prstGeom prst="rect">
              <a:avLst/>
            </a:prstGeom>
            <a:solidFill>
              <a:schemeClr val="bg1"/>
            </a:solidFill>
            <a:ln>
              <a:solidFill>
                <a:srgbClr val="8D8EA8"/>
              </a:solidFill>
            </a:ln>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 name="Right Triangle 10">
              <a:extLst>
                <a:ext uri="{FF2B5EF4-FFF2-40B4-BE49-F238E27FC236}">
                  <a16:creationId xmlns:a16="http://schemas.microsoft.com/office/drawing/2014/main" id="{7A4BAAD6-9F26-924F-9383-BD27BC4C8CF1}"/>
                </a:ext>
              </a:extLst>
            </p:cNvPr>
            <p:cNvSpPr/>
            <p:nvPr/>
          </p:nvSpPr>
          <p:spPr>
            <a:xfrm rot="5400000">
              <a:off x="400251" y="2173643"/>
              <a:ext cx="719920" cy="720000"/>
            </a:xfrm>
            <a:prstGeom prst="rtTriangle">
              <a:avLst/>
            </a:prstGeom>
            <a:solidFill>
              <a:srgbClr val="8D8EA8"/>
            </a:solidFill>
            <a:ln>
              <a:noFill/>
            </a:ln>
            <a:effectLst>
              <a:outerShdw blurRad="63500" sx="102000" sy="102000" algn="ctr" rotWithShape="0">
                <a:prstClr val="black">
                  <a:alpha val="40000"/>
                </a:prstClr>
              </a:outerShdw>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1" name="TextBox 20">
              <a:extLst>
                <a:ext uri="{FF2B5EF4-FFF2-40B4-BE49-F238E27FC236}">
                  <a16:creationId xmlns:a16="http://schemas.microsoft.com/office/drawing/2014/main" id="{AFEAAE43-A9BC-9041-8984-948484652BAF}"/>
                </a:ext>
              </a:extLst>
            </p:cNvPr>
            <p:cNvSpPr txBox="1"/>
            <p:nvPr/>
          </p:nvSpPr>
          <p:spPr>
            <a:xfrm>
              <a:off x="400211" y="2173684"/>
              <a:ext cx="533164" cy="400110"/>
            </a:xfrm>
            <a:prstGeom prst="rect">
              <a:avLst/>
            </a:prstGeom>
            <a:noFill/>
          </p:spPr>
          <p:txBody>
            <a:bodyPr wrap="square" rtlCol="0">
              <a:spAutoFit/>
            </a:bodyPr>
            <a:lstStyle/>
            <a:p>
              <a:r>
                <a:rPr lang="en-US" altLang="ko-KR" sz="2000" b="1">
                  <a:solidFill>
                    <a:schemeClr val="bg1"/>
                  </a:solidFill>
                  <a:cs typeface="Arial" pitchFamily="34" charset="0"/>
                </a:rPr>
                <a:t>01</a:t>
              </a:r>
              <a:endParaRPr lang="ko-KR" altLang="en-US" sz="2000" b="1">
                <a:solidFill>
                  <a:schemeClr val="bg1"/>
                </a:solidFill>
                <a:cs typeface="Arial" pitchFamily="34" charset="0"/>
              </a:endParaRPr>
            </a:p>
          </p:txBody>
        </p:sp>
        <p:grpSp>
          <p:nvGrpSpPr>
            <p:cNvPr id="25" name="Group 24">
              <a:extLst>
                <a:ext uri="{FF2B5EF4-FFF2-40B4-BE49-F238E27FC236}">
                  <a16:creationId xmlns:a16="http://schemas.microsoft.com/office/drawing/2014/main" id="{5165E9FB-E6EC-7A43-AAA9-33210068C33E}"/>
                </a:ext>
              </a:extLst>
            </p:cNvPr>
            <p:cNvGrpSpPr/>
            <p:nvPr/>
          </p:nvGrpSpPr>
          <p:grpSpPr>
            <a:xfrm>
              <a:off x="1120211" y="2254326"/>
              <a:ext cx="4392568" cy="546224"/>
              <a:chOff x="3851840" y="1356248"/>
              <a:chExt cx="4392568" cy="546224"/>
            </a:xfrm>
          </p:grpSpPr>
          <p:sp>
            <p:nvSpPr>
              <p:cNvPr id="26" name="TextBox 25">
                <a:extLst>
                  <a:ext uri="{FF2B5EF4-FFF2-40B4-BE49-F238E27FC236}">
                    <a16:creationId xmlns:a16="http://schemas.microsoft.com/office/drawing/2014/main" id="{CC627B6F-44C5-5748-99E5-C8B8A1609CCB}"/>
                  </a:ext>
                </a:extLst>
              </p:cNvPr>
              <p:cNvSpPr txBox="1"/>
              <p:nvPr/>
            </p:nvSpPr>
            <p:spPr>
              <a:xfrm>
                <a:off x="3851840" y="1356248"/>
                <a:ext cx="4392567"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Contents Title</a:t>
                </a:r>
                <a:endParaRPr lang="ko-KR" altLang="en-US" sz="1400" b="1">
                  <a:solidFill>
                    <a:schemeClr val="tx1">
                      <a:lumMod val="75000"/>
                      <a:lumOff val="25000"/>
                    </a:schemeClr>
                  </a:solidFill>
                  <a:cs typeface="Arial" pitchFamily="34" charset="0"/>
                </a:endParaRPr>
              </a:p>
            </p:txBody>
          </p:sp>
          <p:sp>
            <p:nvSpPr>
              <p:cNvPr id="27" name="TextBox 26">
                <a:extLst>
                  <a:ext uri="{FF2B5EF4-FFF2-40B4-BE49-F238E27FC236}">
                    <a16:creationId xmlns:a16="http://schemas.microsoft.com/office/drawing/2014/main" id="{D49A0BC5-6D4D-AF4B-B92E-9429A8EF2B2C}"/>
                  </a:ext>
                </a:extLst>
              </p:cNvPr>
              <p:cNvSpPr txBox="1"/>
              <p:nvPr/>
            </p:nvSpPr>
            <p:spPr>
              <a:xfrm>
                <a:off x="3851840" y="1625473"/>
                <a:ext cx="4392568"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grpSp>
      </p:grpSp>
      <p:grpSp>
        <p:nvGrpSpPr>
          <p:cNvPr id="40" name="Group 39">
            <a:extLst>
              <a:ext uri="{FF2B5EF4-FFF2-40B4-BE49-F238E27FC236}">
                <a16:creationId xmlns:a16="http://schemas.microsoft.com/office/drawing/2014/main" id="{395B0E63-1F1E-5740-82D6-564A9BC7BECB}"/>
              </a:ext>
            </a:extLst>
          </p:cNvPr>
          <p:cNvGrpSpPr/>
          <p:nvPr/>
        </p:nvGrpSpPr>
        <p:grpSpPr>
          <a:xfrm>
            <a:off x="388701" y="2867232"/>
            <a:ext cx="5665031" cy="720000"/>
            <a:chOff x="388701" y="3061783"/>
            <a:chExt cx="5665031" cy="720000"/>
          </a:xfrm>
        </p:grpSpPr>
        <p:grpSp>
          <p:nvGrpSpPr>
            <p:cNvPr id="12" name="Group 11">
              <a:extLst>
                <a:ext uri="{FF2B5EF4-FFF2-40B4-BE49-F238E27FC236}">
                  <a16:creationId xmlns:a16="http://schemas.microsoft.com/office/drawing/2014/main" id="{D85B63A8-AC65-C742-B7D0-D36E533ADEAD}"/>
                </a:ext>
              </a:extLst>
            </p:cNvPr>
            <p:cNvGrpSpPr/>
            <p:nvPr/>
          </p:nvGrpSpPr>
          <p:grpSpPr>
            <a:xfrm>
              <a:off x="394456" y="3061783"/>
              <a:ext cx="5659276" cy="720000"/>
              <a:chOff x="3131840" y="1491630"/>
              <a:chExt cx="5659276" cy="576064"/>
            </a:xfrm>
            <a:effectLst/>
          </p:grpSpPr>
          <p:sp>
            <p:nvSpPr>
              <p:cNvPr id="13" name="Rectangle 12">
                <a:extLst>
                  <a:ext uri="{FF2B5EF4-FFF2-40B4-BE49-F238E27FC236}">
                    <a16:creationId xmlns:a16="http://schemas.microsoft.com/office/drawing/2014/main" id="{417FCDDF-A39C-904E-AB24-0FD680B596A7}"/>
                  </a:ext>
                </a:extLst>
              </p:cNvPr>
              <p:cNvSpPr/>
              <p:nvPr/>
            </p:nvSpPr>
            <p:spPr>
              <a:xfrm>
                <a:off x="3131840" y="1491630"/>
                <a:ext cx="5659276" cy="576064"/>
              </a:xfrm>
              <a:prstGeom prst="rect">
                <a:avLst/>
              </a:prstGeom>
              <a:solidFill>
                <a:schemeClr val="bg1"/>
              </a:solidFill>
              <a:ln>
                <a:solidFill>
                  <a:srgbClr val="8D8EA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Right Triangle 13">
                <a:extLst>
                  <a:ext uri="{FF2B5EF4-FFF2-40B4-BE49-F238E27FC236}">
                    <a16:creationId xmlns:a16="http://schemas.microsoft.com/office/drawing/2014/main" id="{3EE7ECD2-05AE-D54B-8230-ACB01E8148AF}"/>
                  </a:ext>
                </a:extLst>
              </p:cNvPr>
              <p:cNvSpPr/>
              <p:nvPr/>
            </p:nvSpPr>
            <p:spPr>
              <a:xfrm rot="5400000">
                <a:off x="3203840" y="1419630"/>
                <a:ext cx="576000" cy="720000"/>
              </a:xfrm>
              <a:prstGeom prst="rtTriangle">
                <a:avLst/>
              </a:prstGeom>
              <a:solidFill>
                <a:srgbClr val="8D8EA8"/>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2" name="TextBox 21">
              <a:extLst>
                <a:ext uri="{FF2B5EF4-FFF2-40B4-BE49-F238E27FC236}">
                  <a16:creationId xmlns:a16="http://schemas.microsoft.com/office/drawing/2014/main" id="{C2736C90-79C2-0545-A98F-5583C9EB2209}"/>
                </a:ext>
              </a:extLst>
            </p:cNvPr>
            <p:cNvSpPr txBox="1"/>
            <p:nvPr/>
          </p:nvSpPr>
          <p:spPr>
            <a:xfrm>
              <a:off x="388701" y="3061783"/>
              <a:ext cx="533164" cy="400110"/>
            </a:xfrm>
            <a:prstGeom prst="rect">
              <a:avLst/>
            </a:prstGeom>
            <a:noFill/>
          </p:spPr>
          <p:txBody>
            <a:bodyPr wrap="square" rtlCol="0">
              <a:spAutoFit/>
            </a:bodyPr>
            <a:lstStyle/>
            <a:p>
              <a:r>
                <a:rPr lang="en-US" altLang="ko-KR" sz="2000" b="1">
                  <a:solidFill>
                    <a:schemeClr val="bg1"/>
                  </a:solidFill>
                  <a:cs typeface="Arial" pitchFamily="34" charset="0"/>
                </a:rPr>
                <a:t>02</a:t>
              </a:r>
              <a:endParaRPr lang="ko-KR" altLang="en-US" sz="2000" b="1">
                <a:solidFill>
                  <a:schemeClr val="bg1"/>
                </a:solidFill>
                <a:cs typeface="Arial" pitchFamily="34" charset="0"/>
              </a:endParaRPr>
            </a:p>
          </p:txBody>
        </p:sp>
        <p:grpSp>
          <p:nvGrpSpPr>
            <p:cNvPr id="28" name="Group 27">
              <a:extLst>
                <a:ext uri="{FF2B5EF4-FFF2-40B4-BE49-F238E27FC236}">
                  <a16:creationId xmlns:a16="http://schemas.microsoft.com/office/drawing/2014/main" id="{EDF31F4C-AEB6-4A43-8C6B-CE94D7BBE902}"/>
                </a:ext>
              </a:extLst>
            </p:cNvPr>
            <p:cNvGrpSpPr/>
            <p:nvPr/>
          </p:nvGrpSpPr>
          <p:grpSpPr>
            <a:xfrm>
              <a:off x="1120211" y="3148631"/>
              <a:ext cx="4392568" cy="546224"/>
              <a:chOff x="3851840" y="1356248"/>
              <a:chExt cx="4392568" cy="546224"/>
            </a:xfrm>
          </p:grpSpPr>
          <p:sp>
            <p:nvSpPr>
              <p:cNvPr id="29" name="TextBox 28">
                <a:extLst>
                  <a:ext uri="{FF2B5EF4-FFF2-40B4-BE49-F238E27FC236}">
                    <a16:creationId xmlns:a16="http://schemas.microsoft.com/office/drawing/2014/main" id="{46FAB504-D01A-014D-BF14-2AB87B837C4B}"/>
                  </a:ext>
                </a:extLst>
              </p:cNvPr>
              <p:cNvSpPr txBox="1"/>
              <p:nvPr/>
            </p:nvSpPr>
            <p:spPr>
              <a:xfrm>
                <a:off x="3851840" y="1356248"/>
                <a:ext cx="4392567"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Contents Title</a:t>
                </a:r>
                <a:endParaRPr lang="ko-KR" altLang="en-US" sz="1400" b="1">
                  <a:solidFill>
                    <a:schemeClr val="tx1">
                      <a:lumMod val="75000"/>
                      <a:lumOff val="25000"/>
                    </a:schemeClr>
                  </a:solidFill>
                  <a:cs typeface="Arial" pitchFamily="34" charset="0"/>
                </a:endParaRPr>
              </a:p>
            </p:txBody>
          </p:sp>
          <p:sp>
            <p:nvSpPr>
              <p:cNvPr id="30" name="TextBox 29">
                <a:extLst>
                  <a:ext uri="{FF2B5EF4-FFF2-40B4-BE49-F238E27FC236}">
                    <a16:creationId xmlns:a16="http://schemas.microsoft.com/office/drawing/2014/main" id="{2B94CC76-733E-2A48-96B2-32A36190E3D4}"/>
                  </a:ext>
                </a:extLst>
              </p:cNvPr>
              <p:cNvSpPr txBox="1"/>
              <p:nvPr/>
            </p:nvSpPr>
            <p:spPr>
              <a:xfrm>
                <a:off x="3851840" y="1625473"/>
                <a:ext cx="4392568"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grpSp>
      </p:grpSp>
      <p:grpSp>
        <p:nvGrpSpPr>
          <p:cNvPr id="42" name="Group 41">
            <a:extLst>
              <a:ext uri="{FF2B5EF4-FFF2-40B4-BE49-F238E27FC236}">
                <a16:creationId xmlns:a16="http://schemas.microsoft.com/office/drawing/2014/main" id="{928E0190-6BF0-4F4D-BDBC-360DCD875A15}"/>
              </a:ext>
            </a:extLst>
          </p:cNvPr>
          <p:cNvGrpSpPr/>
          <p:nvPr/>
        </p:nvGrpSpPr>
        <p:grpSpPr>
          <a:xfrm>
            <a:off x="377191" y="4027703"/>
            <a:ext cx="5670784" cy="720000"/>
            <a:chOff x="377191" y="3949882"/>
            <a:chExt cx="5670784" cy="720000"/>
          </a:xfrm>
        </p:grpSpPr>
        <p:grpSp>
          <p:nvGrpSpPr>
            <p:cNvPr id="15" name="Group 14">
              <a:extLst>
                <a:ext uri="{FF2B5EF4-FFF2-40B4-BE49-F238E27FC236}">
                  <a16:creationId xmlns:a16="http://schemas.microsoft.com/office/drawing/2014/main" id="{99DF7CD1-296F-474A-9F38-0D84B4E7DB93}"/>
                </a:ext>
              </a:extLst>
            </p:cNvPr>
            <p:cNvGrpSpPr/>
            <p:nvPr/>
          </p:nvGrpSpPr>
          <p:grpSpPr>
            <a:xfrm>
              <a:off x="388700" y="3949882"/>
              <a:ext cx="5659275" cy="720000"/>
              <a:chOff x="3131839" y="1491630"/>
              <a:chExt cx="5659275" cy="576064"/>
            </a:xfrm>
            <a:effectLst/>
          </p:grpSpPr>
          <p:sp>
            <p:nvSpPr>
              <p:cNvPr id="16" name="Rectangle 15">
                <a:extLst>
                  <a:ext uri="{FF2B5EF4-FFF2-40B4-BE49-F238E27FC236}">
                    <a16:creationId xmlns:a16="http://schemas.microsoft.com/office/drawing/2014/main" id="{FCC37AEA-C8A6-A44D-ACDB-287909CE45DE}"/>
                  </a:ext>
                </a:extLst>
              </p:cNvPr>
              <p:cNvSpPr/>
              <p:nvPr/>
            </p:nvSpPr>
            <p:spPr>
              <a:xfrm>
                <a:off x="3131839" y="1491630"/>
                <a:ext cx="5659275" cy="576064"/>
              </a:xfrm>
              <a:prstGeom prst="rect">
                <a:avLst/>
              </a:prstGeom>
              <a:solidFill>
                <a:schemeClr val="bg1"/>
              </a:solidFill>
              <a:ln>
                <a:solidFill>
                  <a:srgbClr val="8D8EA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Right Triangle 16">
                <a:extLst>
                  <a:ext uri="{FF2B5EF4-FFF2-40B4-BE49-F238E27FC236}">
                    <a16:creationId xmlns:a16="http://schemas.microsoft.com/office/drawing/2014/main" id="{FA1A3B71-0D90-B142-84B0-2036724D65DD}"/>
                  </a:ext>
                </a:extLst>
              </p:cNvPr>
              <p:cNvSpPr/>
              <p:nvPr/>
            </p:nvSpPr>
            <p:spPr>
              <a:xfrm rot="5400000">
                <a:off x="3203840" y="1419630"/>
                <a:ext cx="576000" cy="720000"/>
              </a:xfrm>
              <a:prstGeom prst="rtTriangle">
                <a:avLst/>
              </a:prstGeom>
              <a:solidFill>
                <a:srgbClr val="8D8EA8"/>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3" name="TextBox 22">
              <a:extLst>
                <a:ext uri="{FF2B5EF4-FFF2-40B4-BE49-F238E27FC236}">
                  <a16:creationId xmlns:a16="http://schemas.microsoft.com/office/drawing/2014/main" id="{881AE3D4-9352-174E-B683-B08D0A430B7E}"/>
                </a:ext>
              </a:extLst>
            </p:cNvPr>
            <p:cNvSpPr txBox="1"/>
            <p:nvPr/>
          </p:nvSpPr>
          <p:spPr>
            <a:xfrm>
              <a:off x="377191" y="3949882"/>
              <a:ext cx="533164" cy="400110"/>
            </a:xfrm>
            <a:prstGeom prst="rect">
              <a:avLst/>
            </a:prstGeom>
            <a:noFill/>
          </p:spPr>
          <p:txBody>
            <a:bodyPr wrap="square" rtlCol="0">
              <a:spAutoFit/>
            </a:bodyPr>
            <a:lstStyle/>
            <a:p>
              <a:r>
                <a:rPr lang="en-US" altLang="ko-KR" sz="2000" b="1">
                  <a:solidFill>
                    <a:schemeClr val="bg1"/>
                  </a:solidFill>
                  <a:cs typeface="Arial" pitchFamily="34" charset="0"/>
                </a:rPr>
                <a:t>03</a:t>
              </a:r>
              <a:endParaRPr lang="ko-KR" altLang="en-US" sz="2000" b="1">
                <a:solidFill>
                  <a:schemeClr val="bg1"/>
                </a:solidFill>
                <a:cs typeface="Arial" pitchFamily="34" charset="0"/>
              </a:endParaRPr>
            </a:p>
          </p:txBody>
        </p:sp>
        <p:grpSp>
          <p:nvGrpSpPr>
            <p:cNvPr id="31" name="Group 30">
              <a:extLst>
                <a:ext uri="{FF2B5EF4-FFF2-40B4-BE49-F238E27FC236}">
                  <a16:creationId xmlns:a16="http://schemas.microsoft.com/office/drawing/2014/main" id="{964837FD-A397-514F-8945-AE1F2BFC081C}"/>
                </a:ext>
              </a:extLst>
            </p:cNvPr>
            <p:cNvGrpSpPr/>
            <p:nvPr/>
          </p:nvGrpSpPr>
          <p:grpSpPr>
            <a:xfrm>
              <a:off x="1120211" y="4042936"/>
              <a:ext cx="4392568" cy="546224"/>
              <a:chOff x="3851840" y="1356248"/>
              <a:chExt cx="4392568" cy="546224"/>
            </a:xfrm>
          </p:grpSpPr>
          <p:sp>
            <p:nvSpPr>
              <p:cNvPr id="32" name="TextBox 31">
                <a:extLst>
                  <a:ext uri="{FF2B5EF4-FFF2-40B4-BE49-F238E27FC236}">
                    <a16:creationId xmlns:a16="http://schemas.microsoft.com/office/drawing/2014/main" id="{497A9CFB-11DF-8A48-9292-37A7451D2B42}"/>
                  </a:ext>
                </a:extLst>
              </p:cNvPr>
              <p:cNvSpPr txBox="1"/>
              <p:nvPr/>
            </p:nvSpPr>
            <p:spPr>
              <a:xfrm>
                <a:off x="3851840" y="1356248"/>
                <a:ext cx="4392567"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Contents Title</a:t>
                </a:r>
                <a:endParaRPr lang="ko-KR" altLang="en-US" sz="1400" b="1">
                  <a:solidFill>
                    <a:schemeClr val="tx1">
                      <a:lumMod val="75000"/>
                      <a:lumOff val="25000"/>
                    </a:schemeClr>
                  </a:solidFill>
                  <a:cs typeface="Arial" pitchFamily="34" charset="0"/>
                </a:endParaRPr>
              </a:p>
            </p:txBody>
          </p:sp>
          <p:sp>
            <p:nvSpPr>
              <p:cNvPr id="33" name="TextBox 32">
                <a:extLst>
                  <a:ext uri="{FF2B5EF4-FFF2-40B4-BE49-F238E27FC236}">
                    <a16:creationId xmlns:a16="http://schemas.microsoft.com/office/drawing/2014/main" id="{E3220F53-B960-CC43-BB0C-0F7164977058}"/>
                  </a:ext>
                </a:extLst>
              </p:cNvPr>
              <p:cNvSpPr txBox="1"/>
              <p:nvPr/>
            </p:nvSpPr>
            <p:spPr>
              <a:xfrm>
                <a:off x="3851840" y="1625473"/>
                <a:ext cx="4392568"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grpSp>
      </p:grpSp>
      <p:grpSp>
        <p:nvGrpSpPr>
          <p:cNvPr id="43" name="Group 42">
            <a:extLst>
              <a:ext uri="{FF2B5EF4-FFF2-40B4-BE49-F238E27FC236}">
                <a16:creationId xmlns:a16="http://schemas.microsoft.com/office/drawing/2014/main" id="{B7E6C1A9-26AB-F64B-A881-833223A53C16}"/>
              </a:ext>
            </a:extLst>
          </p:cNvPr>
          <p:cNvGrpSpPr/>
          <p:nvPr/>
        </p:nvGrpSpPr>
        <p:grpSpPr>
          <a:xfrm>
            <a:off x="365681" y="5188174"/>
            <a:ext cx="5676539" cy="720000"/>
            <a:chOff x="365681" y="4837980"/>
            <a:chExt cx="5676539" cy="720000"/>
          </a:xfrm>
        </p:grpSpPr>
        <p:grpSp>
          <p:nvGrpSpPr>
            <p:cNvPr id="18" name="Group 17">
              <a:extLst>
                <a:ext uri="{FF2B5EF4-FFF2-40B4-BE49-F238E27FC236}">
                  <a16:creationId xmlns:a16="http://schemas.microsoft.com/office/drawing/2014/main" id="{DD12FFAF-CD1D-D24A-B041-A33017BBCA5B}"/>
                </a:ext>
              </a:extLst>
            </p:cNvPr>
            <p:cNvGrpSpPr/>
            <p:nvPr/>
          </p:nvGrpSpPr>
          <p:grpSpPr>
            <a:xfrm>
              <a:off x="382945" y="4837980"/>
              <a:ext cx="5659275" cy="720000"/>
              <a:chOff x="3131839" y="1491630"/>
              <a:chExt cx="5659275" cy="576064"/>
            </a:xfrm>
            <a:effectLst/>
          </p:grpSpPr>
          <p:sp>
            <p:nvSpPr>
              <p:cNvPr id="19" name="Rectangle 18">
                <a:extLst>
                  <a:ext uri="{FF2B5EF4-FFF2-40B4-BE49-F238E27FC236}">
                    <a16:creationId xmlns:a16="http://schemas.microsoft.com/office/drawing/2014/main" id="{FE234957-8AD6-FC40-8199-D1DBF123780C}"/>
                  </a:ext>
                </a:extLst>
              </p:cNvPr>
              <p:cNvSpPr/>
              <p:nvPr/>
            </p:nvSpPr>
            <p:spPr>
              <a:xfrm>
                <a:off x="3131839" y="1491630"/>
                <a:ext cx="5659275" cy="576064"/>
              </a:xfrm>
              <a:prstGeom prst="rect">
                <a:avLst/>
              </a:prstGeom>
              <a:solidFill>
                <a:schemeClr val="bg1"/>
              </a:solidFill>
              <a:ln>
                <a:solidFill>
                  <a:srgbClr val="8D8EA8"/>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0" name="Right Triangle 19">
                <a:extLst>
                  <a:ext uri="{FF2B5EF4-FFF2-40B4-BE49-F238E27FC236}">
                    <a16:creationId xmlns:a16="http://schemas.microsoft.com/office/drawing/2014/main" id="{B96FA4E4-3CC1-C740-A7A8-F83354ED03B4}"/>
                  </a:ext>
                </a:extLst>
              </p:cNvPr>
              <p:cNvSpPr/>
              <p:nvPr/>
            </p:nvSpPr>
            <p:spPr>
              <a:xfrm rot="5400000">
                <a:off x="3203840" y="1419630"/>
                <a:ext cx="576000" cy="720000"/>
              </a:xfrm>
              <a:prstGeom prst="rtTriangle">
                <a:avLst/>
              </a:prstGeom>
              <a:solidFill>
                <a:srgbClr val="8D8EA8"/>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4" name="TextBox 23">
              <a:extLst>
                <a:ext uri="{FF2B5EF4-FFF2-40B4-BE49-F238E27FC236}">
                  <a16:creationId xmlns:a16="http://schemas.microsoft.com/office/drawing/2014/main" id="{D274C4A2-973D-6D47-A49F-B7CE2587A694}"/>
                </a:ext>
              </a:extLst>
            </p:cNvPr>
            <p:cNvSpPr txBox="1"/>
            <p:nvPr/>
          </p:nvSpPr>
          <p:spPr>
            <a:xfrm>
              <a:off x="365681" y="4837981"/>
              <a:ext cx="533164" cy="400110"/>
            </a:xfrm>
            <a:prstGeom prst="rect">
              <a:avLst/>
            </a:prstGeom>
            <a:noFill/>
          </p:spPr>
          <p:txBody>
            <a:bodyPr wrap="square" rtlCol="0">
              <a:spAutoFit/>
            </a:bodyPr>
            <a:lstStyle/>
            <a:p>
              <a:r>
                <a:rPr lang="en-US" altLang="ko-KR" sz="2000" b="1">
                  <a:solidFill>
                    <a:schemeClr val="bg1"/>
                  </a:solidFill>
                  <a:cs typeface="Arial" pitchFamily="34" charset="0"/>
                </a:rPr>
                <a:t>04</a:t>
              </a:r>
              <a:endParaRPr lang="ko-KR" altLang="en-US" sz="2000" b="1">
                <a:solidFill>
                  <a:schemeClr val="bg1"/>
                </a:solidFill>
                <a:cs typeface="Arial" pitchFamily="34" charset="0"/>
              </a:endParaRPr>
            </a:p>
          </p:txBody>
        </p:sp>
        <p:grpSp>
          <p:nvGrpSpPr>
            <p:cNvPr id="34" name="Group 33">
              <a:extLst>
                <a:ext uri="{FF2B5EF4-FFF2-40B4-BE49-F238E27FC236}">
                  <a16:creationId xmlns:a16="http://schemas.microsoft.com/office/drawing/2014/main" id="{914C2AA7-0B70-7E42-8DC8-1109A6FF3B80}"/>
                </a:ext>
              </a:extLst>
            </p:cNvPr>
            <p:cNvGrpSpPr/>
            <p:nvPr/>
          </p:nvGrpSpPr>
          <p:grpSpPr>
            <a:xfrm>
              <a:off x="1120211" y="4937241"/>
              <a:ext cx="4392568" cy="546224"/>
              <a:chOff x="3851840" y="1356248"/>
              <a:chExt cx="4392568" cy="546224"/>
            </a:xfrm>
          </p:grpSpPr>
          <p:sp>
            <p:nvSpPr>
              <p:cNvPr id="35" name="TextBox 34">
                <a:extLst>
                  <a:ext uri="{FF2B5EF4-FFF2-40B4-BE49-F238E27FC236}">
                    <a16:creationId xmlns:a16="http://schemas.microsoft.com/office/drawing/2014/main" id="{BACF29C9-8005-2041-993E-5318E6636634}"/>
                  </a:ext>
                </a:extLst>
              </p:cNvPr>
              <p:cNvSpPr txBox="1"/>
              <p:nvPr/>
            </p:nvSpPr>
            <p:spPr>
              <a:xfrm>
                <a:off x="3851840" y="1356248"/>
                <a:ext cx="4392567" cy="307777"/>
              </a:xfrm>
              <a:prstGeom prst="rect">
                <a:avLst/>
              </a:prstGeom>
              <a:noFill/>
            </p:spPr>
            <p:txBody>
              <a:bodyPr wrap="square" rtlCol="0">
                <a:spAutoFit/>
              </a:bodyPr>
              <a:lstStyle/>
              <a:p>
                <a:r>
                  <a:rPr lang="en-US" altLang="ko-KR" sz="1400" b="1">
                    <a:solidFill>
                      <a:schemeClr val="tx1">
                        <a:lumMod val="75000"/>
                        <a:lumOff val="25000"/>
                      </a:schemeClr>
                    </a:solidFill>
                    <a:cs typeface="Arial" pitchFamily="34" charset="0"/>
                  </a:rPr>
                  <a:t>Add Contents Title</a:t>
                </a:r>
                <a:endParaRPr lang="ko-KR" altLang="en-US" sz="1400" b="1">
                  <a:solidFill>
                    <a:schemeClr val="tx1">
                      <a:lumMod val="75000"/>
                      <a:lumOff val="25000"/>
                    </a:schemeClr>
                  </a:solidFill>
                  <a:cs typeface="Arial" pitchFamily="34" charset="0"/>
                </a:endParaRPr>
              </a:p>
            </p:txBody>
          </p:sp>
          <p:sp>
            <p:nvSpPr>
              <p:cNvPr id="36" name="TextBox 35">
                <a:extLst>
                  <a:ext uri="{FF2B5EF4-FFF2-40B4-BE49-F238E27FC236}">
                    <a16:creationId xmlns:a16="http://schemas.microsoft.com/office/drawing/2014/main" id="{8310E46B-C32D-474C-BC87-83E4EDA11444}"/>
                  </a:ext>
                </a:extLst>
              </p:cNvPr>
              <p:cNvSpPr txBox="1"/>
              <p:nvPr/>
            </p:nvSpPr>
            <p:spPr>
              <a:xfrm>
                <a:off x="3851840" y="1625473"/>
                <a:ext cx="4392568" cy="276999"/>
              </a:xfrm>
              <a:prstGeom prst="rect">
                <a:avLst/>
              </a:prstGeom>
              <a:noFill/>
            </p:spPr>
            <p:txBody>
              <a:bodyPr wrap="square" rtlCol="0">
                <a:spAutoFit/>
              </a:bodyPr>
              <a:lstStyle/>
              <a:p>
                <a:r>
                  <a:rPr lang="en-US" altLang="ko-KR" sz="1200">
                    <a:solidFill>
                      <a:schemeClr val="tx1">
                        <a:lumMod val="75000"/>
                        <a:lumOff val="25000"/>
                      </a:schemeClr>
                    </a:solidFill>
                    <a:cs typeface="Arial" pitchFamily="34" charset="0"/>
                  </a:rPr>
                  <a:t>You can simply impress your audience and add a unique zing. </a:t>
                </a:r>
                <a:endParaRPr lang="ko-KR" altLang="en-US" sz="1200">
                  <a:solidFill>
                    <a:schemeClr val="tx1">
                      <a:lumMod val="75000"/>
                      <a:lumOff val="25000"/>
                    </a:schemeClr>
                  </a:solidFill>
                  <a:cs typeface="Arial" pitchFamily="34" charset="0"/>
                </a:endParaRPr>
              </a:p>
            </p:txBody>
          </p:sp>
        </p:grpSp>
      </p:grpSp>
    </p:spTree>
    <p:extLst>
      <p:ext uri="{BB962C8B-B14F-4D97-AF65-F5344CB8AC3E}">
        <p14:creationId xmlns:p14="http://schemas.microsoft.com/office/powerpoint/2010/main" val="41405184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60" name="Rectangle 45">
            <a:extLst>
              <a:ext uri="{FF2B5EF4-FFF2-40B4-BE49-F238E27FC236}">
                <a16:creationId xmlns:a16="http://schemas.microsoft.com/office/drawing/2014/main" id="{E5611823-7E33-4C43-A16F-114E158C347D}"/>
              </a:ext>
            </a:extLst>
          </p:cNvPr>
          <p:cNvSpPr/>
          <p:nvPr/>
        </p:nvSpPr>
        <p:spPr>
          <a:xfrm>
            <a:off x="365682" y="1913429"/>
            <a:ext cx="3469928" cy="39672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65" name="Inhaltsplatzhalter 2">
            <a:extLst>
              <a:ext uri="{FF2B5EF4-FFF2-40B4-BE49-F238E27FC236}">
                <a16:creationId xmlns:a16="http://schemas.microsoft.com/office/drawing/2014/main" id="{546DCCB1-7D38-43CD-9228-EE66DDB064C3}"/>
              </a:ext>
            </a:extLst>
          </p:cNvPr>
          <p:cNvSpPr txBox="1">
            <a:spLocks/>
          </p:cNvSpPr>
          <p:nvPr/>
        </p:nvSpPr>
        <p:spPr bwMode="gray">
          <a:xfrm>
            <a:off x="4100611" y="5340629"/>
            <a:ext cx="7725706" cy="540000"/>
          </a:xfrm>
          <a:prstGeom prst="rect">
            <a:avLst/>
          </a:prstGeom>
          <a:solidFill>
            <a:schemeClr val="bg1">
              <a:lumMod val="95000"/>
            </a:schemeClr>
          </a:solidFill>
          <a:ln w="9525" cap="flat" cmpd="sng" algn="ctr">
            <a:noFill/>
            <a:prstDash val="solid"/>
          </a:ln>
          <a:effectLst/>
        </p:spPr>
        <p:txBody>
          <a:bodyPr lIns="288000" tIns="0" rIns="0" bIns="0" rtlCol="0" anchor="ctr"/>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r>
              <a:rPr lang="en-GB" sz="1600">
                <a:solidFill>
                  <a:schemeClr val="tx1"/>
                </a:solidFill>
                <a:latin typeface="+mj-lt"/>
              </a:rPr>
              <a:t>Summary</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923692" y="1913429"/>
            <a:ext cx="46800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130" name="RBContent19">
            <a:extLst>
              <a:ext uri="{FF2B5EF4-FFF2-40B4-BE49-F238E27FC236}">
                <a16:creationId xmlns:a16="http://schemas.microsoft.com/office/drawing/2014/main" id="{8E46B1BE-0BE9-4592-A9CE-F66BDC23C17F}"/>
              </a:ext>
            </a:extLst>
          </p:cNvPr>
          <p:cNvSpPr txBox="1"/>
          <p:nvPr/>
        </p:nvSpPr>
        <p:spPr>
          <a:xfrm>
            <a:off x="3923692" y="2787110"/>
            <a:ext cx="46800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134" name="RBContent19">
            <a:extLst>
              <a:ext uri="{FF2B5EF4-FFF2-40B4-BE49-F238E27FC236}">
                <a16:creationId xmlns:a16="http://schemas.microsoft.com/office/drawing/2014/main" id="{51868CCD-F1A3-4293-B522-BD468643BD88}"/>
              </a:ext>
            </a:extLst>
          </p:cNvPr>
          <p:cNvSpPr txBox="1"/>
          <p:nvPr/>
        </p:nvSpPr>
        <p:spPr>
          <a:xfrm>
            <a:off x="3923692" y="3660791"/>
            <a:ext cx="46800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36" name="RBContent19">
            <a:extLst>
              <a:ext uri="{FF2B5EF4-FFF2-40B4-BE49-F238E27FC236}">
                <a16:creationId xmlns:a16="http://schemas.microsoft.com/office/drawing/2014/main" id="{DD60D97B-44E4-47F0-9341-486561868F6C}"/>
              </a:ext>
            </a:extLst>
          </p:cNvPr>
          <p:cNvSpPr txBox="1"/>
          <p:nvPr/>
        </p:nvSpPr>
        <p:spPr>
          <a:xfrm>
            <a:off x="3923692" y="4534265"/>
            <a:ext cx="468000"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grpSp>
        <p:nvGrpSpPr>
          <p:cNvPr id="66" name="Group 46">
            <a:extLst>
              <a:ext uri="{FF2B5EF4-FFF2-40B4-BE49-F238E27FC236}">
                <a16:creationId xmlns:a16="http://schemas.microsoft.com/office/drawing/2014/main" id="{216169BF-DD5F-4D97-8966-0EA81485A8A4}"/>
              </a:ext>
            </a:extLst>
          </p:cNvPr>
          <p:cNvGrpSpPr>
            <a:grpSpLocks noChangeAspect="1"/>
          </p:cNvGrpSpPr>
          <p:nvPr/>
        </p:nvGrpSpPr>
        <p:grpSpPr>
          <a:xfrm>
            <a:off x="3923692" y="5340629"/>
            <a:ext cx="390153" cy="540000"/>
            <a:chOff x="6710986" y="5739020"/>
            <a:chExt cx="421388" cy="676770"/>
          </a:xfrm>
        </p:grpSpPr>
        <p:sp>
          <p:nvSpPr>
            <p:cNvPr id="67" name="Eingekerbter Richtungspfeil 32">
              <a:extLst>
                <a:ext uri="{FF2B5EF4-FFF2-40B4-BE49-F238E27FC236}">
                  <a16:creationId xmlns:a16="http://schemas.microsoft.com/office/drawing/2014/main" id="{9EB2AB48-FB79-4075-8389-B9D078F3B86B}"/>
                </a:ext>
              </a:extLst>
            </p:cNvPr>
            <p:cNvSpPr/>
            <p:nvPr/>
          </p:nvSpPr>
          <p:spPr>
            <a:xfrm>
              <a:off x="6808162" y="5739020"/>
              <a:ext cx="324212" cy="676770"/>
            </a:xfrm>
            <a:prstGeom prst="chevron">
              <a:avLst>
                <a:gd name="adj" fmla="val 60446"/>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sp>
          <p:nvSpPr>
            <p:cNvPr id="68" name="Eingekerbter Richtungspfeil 32">
              <a:extLst>
                <a:ext uri="{FF2B5EF4-FFF2-40B4-BE49-F238E27FC236}">
                  <a16:creationId xmlns:a16="http://schemas.microsoft.com/office/drawing/2014/main" id="{31287C8F-BF96-4A51-8F35-B9865BB31F55}"/>
                </a:ext>
              </a:extLst>
            </p:cNvPr>
            <p:cNvSpPr/>
            <p:nvPr/>
          </p:nvSpPr>
          <p:spPr>
            <a:xfrm>
              <a:off x="6757389" y="5800998"/>
              <a:ext cx="324212" cy="552814"/>
            </a:xfrm>
            <a:prstGeom prst="chevron">
              <a:avLst/>
            </a:prstGeom>
            <a:solidFill>
              <a:srgbClr val="8D8EA7"/>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sp>
          <p:nvSpPr>
            <p:cNvPr id="69" name="Eingekerbter Richtungspfeil 33">
              <a:extLst>
                <a:ext uri="{FF2B5EF4-FFF2-40B4-BE49-F238E27FC236}">
                  <a16:creationId xmlns:a16="http://schemas.microsoft.com/office/drawing/2014/main" id="{D43537BD-47AA-4FB4-BC38-470D19101697}"/>
                </a:ext>
              </a:extLst>
            </p:cNvPr>
            <p:cNvSpPr/>
            <p:nvPr/>
          </p:nvSpPr>
          <p:spPr>
            <a:xfrm>
              <a:off x="6710986" y="5882736"/>
              <a:ext cx="230477" cy="392987"/>
            </a:xfrm>
            <a:prstGeom prst="chevron">
              <a:avLst/>
            </a:prstGeom>
            <a:solidFill>
              <a:srgbClr val="004149"/>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grpSp>
      <p:sp>
        <p:nvSpPr>
          <p:cNvPr id="73" name="Rectangle 78">
            <a:extLst>
              <a:ext uri="{FF2B5EF4-FFF2-40B4-BE49-F238E27FC236}">
                <a16:creationId xmlns:a16="http://schemas.microsoft.com/office/drawing/2014/main" id="{7826F1E6-19F1-4DB1-ACC3-D5BFDAC2DAD2}"/>
              </a:ext>
            </a:extLst>
          </p:cNvPr>
          <p:cNvSpPr/>
          <p:nvPr/>
        </p:nvSpPr>
        <p:spPr>
          <a:xfrm>
            <a:off x="4488024" y="1972810"/>
            <a:ext cx="7338295"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76" name="Rectangle 78">
            <a:extLst>
              <a:ext uri="{FF2B5EF4-FFF2-40B4-BE49-F238E27FC236}">
                <a16:creationId xmlns:a16="http://schemas.microsoft.com/office/drawing/2014/main" id="{8D1EEC2F-4ABE-4B82-A836-13D461D51A78}"/>
              </a:ext>
            </a:extLst>
          </p:cNvPr>
          <p:cNvSpPr/>
          <p:nvPr/>
        </p:nvSpPr>
        <p:spPr>
          <a:xfrm>
            <a:off x="4488024" y="2846491"/>
            <a:ext cx="7338295"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80" name="Rectangle 78">
            <a:extLst>
              <a:ext uri="{FF2B5EF4-FFF2-40B4-BE49-F238E27FC236}">
                <a16:creationId xmlns:a16="http://schemas.microsoft.com/office/drawing/2014/main" id="{B8AB0228-9443-49A3-BA47-22DBF0D28E20}"/>
              </a:ext>
            </a:extLst>
          </p:cNvPr>
          <p:cNvSpPr/>
          <p:nvPr/>
        </p:nvSpPr>
        <p:spPr>
          <a:xfrm>
            <a:off x="4488024" y="3720172"/>
            <a:ext cx="7338295"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83" name="Rectangle 78">
            <a:extLst>
              <a:ext uri="{FF2B5EF4-FFF2-40B4-BE49-F238E27FC236}">
                <a16:creationId xmlns:a16="http://schemas.microsoft.com/office/drawing/2014/main" id="{2E4DA464-300B-4DB4-979D-27C83399176B}"/>
              </a:ext>
            </a:extLst>
          </p:cNvPr>
          <p:cNvSpPr/>
          <p:nvPr/>
        </p:nvSpPr>
        <p:spPr>
          <a:xfrm>
            <a:off x="4488024" y="4593646"/>
            <a:ext cx="7338295"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31" name="Rectangle 79">
            <a:extLst>
              <a:ext uri="{FF2B5EF4-FFF2-40B4-BE49-F238E27FC236}">
                <a16:creationId xmlns:a16="http://schemas.microsoft.com/office/drawing/2014/main" id="{3D580061-D826-42FB-A73B-B21BB2320924}"/>
              </a:ext>
            </a:extLst>
          </p:cNvPr>
          <p:cNvSpPr>
            <a:spLocks/>
          </p:cNvSpPr>
          <p:nvPr/>
        </p:nvSpPr>
        <p:spPr>
          <a:xfrm>
            <a:off x="4488021" y="2252762"/>
            <a:ext cx="7338295"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ectangle 79">
            <a:extLst>
              <a:ext uri="{FF2B5EF4-FFF2-40B4-BE49-F238E27FC236}">
                <a16:creationId xmlns:a16="http://schemas.microsoft.com/office/drawing/2014/main" id="{3009BC64-07B4-4629-8DE3-62BE7784EE2B}"/>
              </a:ext>
            </a:extLst>
          </p:cNvPr>
          <p:cNvSpPr>
            <a:spLocks/>
          </p:cNvSpPr>
          <p:nvPr/>
        </p:nvSpPr>
        <p:spPr>
          <a:xfrm>
            <a:off x="4488021" y="3137329"/>
            <a:ext cx="7338295"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Rectangle 79">
            <a:extLst>
              <a:ext uri="{FF2B5EF4-FFF2-40B4-BE49-F238E27FC236}">
                <a16:creationId xmlns:a16="http://schemas.microsoft.com/office/drawing/2014/main" id="{203A822C-96ED-4FEE-B9C6-E710E447763C}"/>
              </a:ext>
            </a:extLst>
          </p:cNvPr>
          <p:cNvSpPr>
            <a:spLocks/>
          </p:cNvSpPr>
          <p:nvPr/>
        </p:nvSpPr>
        <p:spPr>
          <a:xfrm>
            <a:off x="4488021" y="4011010"/>
            <a:ext cx="7338295"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4" name="Rectangle 79">
            <a:extLst>
              <a:ext uri="{FF2B5EF4-FFF2-40B4-BE49-F238E27FC236}">
                <a16:creationId xmlns:a16="http://schemas.microsoft.com/office/drawing/2014/main" id="{7AD0326B-7426-4CFC-ABF2-8ED845FCAC71}"/>
              </a:ext>
            </a:extLst>
          </p:cNvPr>
          <p:cNvSpPr>
            <a:spLocks/>
          </p:cNvSpPr>
          <p:nvPr/>
        </p:nvSpPr>
        <p:spPr>
          <a:xfrm>
            <a:off x="4488021" y="4873598"/>
            <a:ext cx="7338295"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Content Placeholder 14">
            <a:extLst>
              <a:ext uri="{FF2B5EF4-FFF2-40B4-BE49-F238E27FC236}">
                <a16:creationId xmlns:a16="http://schemas.microsoft.com/office/drawing/2014/main" id="{6261D15C-F107-49F9-AA7C-5E0E7A674571}"/>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33107404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60" name="Rectangle 45">
            <a:extLst>
              <a:ext uri="{FF2B5EF4-FFF2-40B4-BE49-F238E27FC236}">
                <a16:creationId xmlns:a16="http://schemas.microsoft.com/office/drawing/2014/main" id="{E5611823-7E33-4C43-A16F-114E158C347D}"/>
              </a:ext>
            </a:extLst>
          </p:cNvPr>
          <p:cNvSpPr/>
          <p:nvPr/>
        </p:nvSpPr>
        <p:spPr>
          <a:xfrm>
            <a:off x="365682"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65" name="Inhaltsplatzhalter 2">
            <a:extLst>
              <a:ext uri="{FF2B5EF4-FFF2-40B4-BE49-F238E27FC236}">
                <a16:creationId xmlns:a16="http://schemas.microsoft.com/office/drawing/2014/main" id="{546DCCB1-7D38-43CD-9228-EE66DDB064C3}"/>
              </a:ext>
            </a:extLst>
          </p:cNvPr>
          <p:cNvSpPr txBox="1">
            <a:spLocks/>
          </p:cNvSpPr>
          <p:nvPr/>
        </p:nvSpPr>
        <p:spPr bwMode="gray">
          <a:xfrm>
            <a:off x="4100611" y="5340629"/>
            <a:ext cx="7725706" cy="540000"/>
          </a:xfrm>
          <a:prstGeom prst="rect">
            <a:avLst/>
          </a:prstGeom>
          <a:solidFill>
            <a:schemeClr val="bg1">
              <a:lumMod val="95000"/>
            </a:schemeClr>
          </a:solidFill>
          <a:ln w="9525" cap="flat" cmpd="sng" algn="ctr">
            <a:noFill/>
            <a:prstDash val="solid"/>
          </a:ln>
          <a:effectLst/>
        </p:spPr>
        <p:txBody>
          <a:bodyPr lIns="288000" tIns="0" rIns="0" bIns="0" rtlCol="0" anchor="ctr"/>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r>
              <a:rPr lang="en-GB" sz="1600">
                <a:solidFill>
                  <a:schemeClr val="tx1"/>
                </a:solidFill>
                <a:latin typeface="+mj-lt"/>
              </a:rPr>
              <a:t>Summary</a:t>
            </a:r>
          </a:p>
        </p:txBody>
      </p:sp>
      <p:grpSp>
        <p:nvGrpSpPr>
          <p:cNvPr id="151" name="Group 46">
            <a:extLst>
              <a:ext uri="{FF2B5EF4-FFF2-40B4-BE49-F238E27FC236}">
                <a16:creationId xmlns:a16="http://schemas.microsoft.com/office/drawing/2014/main" id="{47137C44-5ABE-49D0-9420-3B98640D89D8}"/>
              </a:ext>
            </a:extLst>
          </p:cNvPr>
          <p:cNvGrpSpPr>
            <a:grpSpLocks noChangeAspect="1"/>
          </p:cNvGrpSpPr>
          <p:nvPr/>
        </p:nvGrpSpPr>
        <p:grpSpPr>
          <a:xfrm>
            <a:off x="3923692" y="5340629"/>
            <a:ext cx="390153" cy="540000"/>
            <a:chOff x="6710986" y="5739020"/>
            <a:chExt cx="421388" cy="676770"/>
          </a:xfrm>
        </p:grpSpPr>
        <p:sp>
          <p:nvSpPr>
            <p:cNvPr id="164" name="Eingekerbter Richtungspfeil 32">
              <a:extLst>
                <a:ext uri="{FF2B5EF4-FFF2-40B4-BE49-F238E27FC236}">
                  <a16:creationId xmlns:a16="http://schemas.microsoft.com/office/drawing/2014/main" id="{9D494DEF-EBF5-4B64-8639-05B959EF0022}"/>
                </a:ext>
              </a:extLst>
            </p:cNvPr>
            <p:cNvSpPr/>
            <p:nvPr/>
          </p:nvSpPr>
          <p:spPr>
            <a:xfrm>
              <a:off x="6808162" y="5739020"/>
              <a:ext cx="324212" cy="676770"/>
            </a:xfrm>
            <a:prstGeom prst="chevron">
              <a:avLst>
                <a:gd name="adj" fmla="val 60446"/>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sp>
          <p:nvSpPr>
            <p:cNvPr id="165" name="Eingekerbter Richtungspfeil 32">
              <a:extLst>
                <a:ext uri="{FF2B5EF4-FFF2-40B4-BE49-F238E27FC236}">
                  <a16:creationId xmlns:a16="http://schemas.microsoft.com/office/drawing/2014/main" id="{CFD9CD93-F274-4E70-AC5A-8ABF6E51A172}"/>
                </a:ext>
              </a:extLst>
            </p:cNvPr>
            <p:cNvSpPr/>
            <p:nvPr/>
          </p:nvSpPr>
          <p:spPr>
            <a:xfrm>
              <a:off x="6757389" y="5800998"/>
              <a:ext cx="324212" cy="552814"/>
            </a:xfrm>
            <a:prstGeom prst="chevron">
              <a:avLst/>
            </a:prstGeom>
            <a:solidFill>
              <a:srgbClr val="8D8EA7"/>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sp>
          <p:nvSpPr>
            <p:cNvPr id="166" name="Eingekerbter Richtungspfeil 33">
              <a:extLst>
                <a:ext uri="{FF2B5EF4-FFF2-40B4-BE49-F238E27FC236}">
                  <a16:creationId xmlns:a16="http://schemas.microsoft.com/office/drawing/2014/main" id="{EA1DF60A-1F8F-4691-BEEE-3BD2CFB5CED8}"/>
                </a:ext>
              </a:extLst>
            </p:cNvPr>
            <p:cNvSpPr/>
            <p:nvPr/>
          </p:nvSpPr>
          <p:spPr>
            <a:xfrm>
              <a:off x="6710986" y="5882736"/>
              <a:ext cx="230477" cy="392987"/>
            </a:xfrm>
            <a:prstGeom prst="chevron">
              <a:avLst/>
            </a:prstGeom>
            <a:solidFill>
              <a:srgbClr val="004149"/>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en-GB" sz="1500" b="0">
                <a:solidFill>
                  <a:schemeClr val="tx1"/>
                </a:solidFill>
              </a:endParaRPr>
            </a:p>
          </p:txBody>
        </p:sp>
      </p:grpSp>
      <p:sp>
        <p:nvSpPr>
          <p:cNvPr id="147" name="RBContent19">
            <a:extLst>
              <a:ext uri="{FF2B5EF4-FFF2-40B4-BE49-F238E27FC236}">
                <a16:creationId xmlns:a16="http://schemas.microsoft.com/office/drawing/2014/main" id="{EA31B12C-3321-4699-8B0A-7DF5BB2652BC}"/>
              </a:ext>
            </a:extLst>
          </p:cNvPr>
          <p:cNvSpPr txBox="1"/>
          <p:nvPr/>
        </p:nvSpPr>
        <p:spPr>
          <a:xfrm>
            <a:off x="3923692" y="1913429"/>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148" name="RBContent19">
            <a:extLst>
              <a:ext uri="{FF2B5EF4-FFF2-40B4-BE49-F238E27FC236}">
                <a16:creationId xmlns:a16="http://schemas.microsoft.com/office/drawing/2014/main" id="{B53387F3-78AD-4C39-8588-A5E527081D09}"/>
              </a:ext>
            </a:extLst>
          </p:cNvPr>
          <p:cNvSpPr txBox="1"/>
          <p:nvPr/>
        </p:nvSpPr>
        <p:spPr>
          <a:xfrm>
            <a:off x="3923692" y="2787110"/>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149" name="RBContent19">
            <a:extLst>
              <a:ext uri="{FF2B5EF4-FFF2-40B4-BE49-F238E27FC236}">
                <a16:creationId xmlns:a16="http://schemas.microsoft.com/office/drawing/2014/main" id="{77AD688F-4160-471A-ADD3-89DC058BC845}"/>
              </a:ext>
            </a:extLst>
          </p:cNvPr>
          <p:cNvSpPr txBox="1"/>
          <p:nvPr/>
        </p:nvSpPr>
        <p:spPr>
          <a:xfrm>
            <a:off x="3923692" y="3660791"/>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150" name="RBContent19">
            <a:extLst>
              <a:ext uri="{FF2B5EF4-FFF2-40B4-BE49-F238E27FC236}">
                <a16:creationId xmlns:a16="http://schemas.microsoft.com/office/drawing/2014/main" id="{259D3CF4-2830-4BFE-BE86-0C1C3DBE1B20}"/>
              </a:ext>
            </a:extLst>
          </p:cNvPr>
          <p:cNvSpPr txBox="1"/>
          <p:nvPr/>
        </p:nvSpPr>
        <p:spPr>
          <a:xfrm>
            <a:off x="3923692" y="4534265"/>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162" name="Rectangle 79">
            <a:extLst>
              <a:ext uri="{FF2B5EF4-FFF2-40B4-BE49-F238E27FC236}">
                <a16:creationId xmlns:a16="http://schemas.microsoft.com/office/drawing/2014/main" id="{15E2F807-58B2-482B-8E29-DFB63EC05776}"/>
              </a:ext>
            </a:extLst>
          </p:cNvPr>
          <p:cNvSpPr>
            <a:spLocks/>
          </p:cNvSpPr>
          <p:nvPr/>
        </p:nvSpPr>
        <p:spPr>
          <a:xfrm>
            <a:off x="4488022" y="2252762"/>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63" name="Rectangle 78">
            <a:extLst>
              <a:ext uri="{FF2B5EF4-FFF2-40B4-BE49-F238E27FC236}">
                <a16:creationId xmlns:a16="http://schemas.microsoft.com/office/drawing/2014/main" id="{B8FD622E-CF09-4FF8-84EF-DB2F4528CA5B}"/>
              </a:ext>
            </a:extLst>
          </p:cNvPr>
          <p:cNvSpPr/>
          <p:nvPr/>
        </p:nvSpPr>
        <p:spPr>
          <a:xfrm>
            <a:off x="4488023" y="1972809"/>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60" name="Rectangle 79">
            <a:extLst>
              <a:ext uri="{FF2B5EF4-FFF2-40B4-BE49-F238E27FC236}">
                <a16:creationId xmlns:a16="http://schemas.microsoft.com/office/drawing/2014/main" id="{569E8CB6-DF91-425D-9667-780B4BA6F3B4}"/>
              </a:ext>
            </a:extLst>
          </p:cNvPr>
          <p:cNvSpPr>
            <a:spLocks/>
          </p:cNvSpPr>
          <p:nvPr/>
        </p:nvSpPr>
        <p:spPr>
          <a:xfrm>
            <a:off x="4488022" y="3137329"/>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61" name="Rectangle 78">
            <a:extLst>
              <a:ext uri="{FF2B5EF4-FFF2-40B4-BE49-F238E27FC236}">
                <a16:creationId xmlns:a16="http://schemas.microsoft.com/office/drawing/2014/main" id="{6F41ED0B-481A-4654-B040-6A1EA336DD04}"/>
              </a:ext>
            </a:extLst>
          </p:cNvPr>
          <p:cNvSpPr/>
          <p:nvPr/>
        </p:nvSpPr>
        <p:spPr>
          <a:xfrm>
            <a:off x="4488023" y="2846490"/>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58" name="Rectangle 79">
            <a:extLst>
              <a:ext uri="{FF2B5EF4-FFF2-40B4-BE49-F238E27FC236}">
                <a16:creationId xmlns:a16="http://schemas.microsoft.com/office/drawing/2014/main" id="{69A0EE4D-5394-435C-BC7E-E9951605BE93}"/>
              </a:ext>
            </a:extLst>
          </p:cNvPr>
          <p:cNvSpPr>
            <a:spLocks/>
          </p:cNvSpPr>
          <p:nvPr/>
        </p:nvSpPr>
        <p:spPr>
          <a:xfrm>
            <a:off x="4488022" y="4011010"/>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59" name="Rectangle 78">
            <a:extLst>
              <a:ext uri="{FF2B5EF4-FFF2-40B4-BE49-F238E27FC236}">
                <a16:creationId xmlns:a16="http://schemas.microsoft.com/office/drawing/2014/main" id="{A2415844-CF71-4023-8896-67AFF55E16AB}"/>
              </a:ext>
            </a:extLst>
          </p:cNvPr>
          <p:cNvSpPr/>
          <p:nvPr/>
        </p:nvSpPr>
        <p:spPr>
          <a:xfrm>
            <a:off x="4488023" y="3720171"/>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56" name="Rectangle 79">
            <a:extLst>
              <a:ext uri="{FF2B5EF4-FFF2-40B4-BE49-F238E27FC236}">
                <a16:creationId xmlns:a16="http://schemas.microsoft.com/office/drawing/2014/main" id="{72EC7BC9-F192-4D36-80E9-DF48806974A8}"/>
              </a:ext>
            </a:extLst>
          </p:cNvPr>
          <p:cNvSpPr>
            <a:spLocks/>
          </p:cNvSpPr>
          <p:nvPr/>
        </p:nvSpPr>
        <p:spPr>
          <a:xfrm>
            <a:off x="4488022" y="4873598"/>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57" name="Rectangle 78">
            <a:extLst>
              <a:ext uri="{FF2B5EF4-FFF2-40B4-BE49-F238E27FC236}">
                <a16:creationId xmlns:a16="http://schemas.microsoft.com/office/drawing/2014/main" id="{E3750688-D92E-4708-9147-DF5F0D89776E}"/>
              </a:ext>
            </a:extLst>
          </p:cNvPr>
          <p:cNvSpPr/>
          <p:nvPr/>
        </p:nvSpPr>
        <p:spPr>
          <a:xfrm>
            <a:off x="4488023" y="4593645"/>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68" name="RBContent19">
            <a:extLst>
              <a:ext uri="{FF2B5EF4-FFF2-40B4-BE49-F238E27FC236}">
                <a16:creationId xmlns:a16="http://schemas.microsoft.com/office/drawing/2014/main" id="{60A43641-7651-4E26-967D-183D4B1A4CF8}"/>
              </a:ext>
            </a:extLst>
          </p:cNvPr>
          <p:cNvSpPr txBox="1"/>
          <p:nvPr/>
        </p:nvSpPr>
        <p:spPr>
          <a:xfrm>
            <a:off x="8023751" y="1913429"/>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5</a:t>
            </a:r>
          </a:p>
        </p:txBody>
      </p:sp>
      <p:sp>
        <p:nvSpPr>
          <p:cNvPr id="169" name="RBContent19">
            <a:extLst>
              <a:ext uri="{FF2B5EF4-FFF2-40B4-BE49-F238E27FC236}">
                <a16:creationId xmlns:a16="http://schemas.microsoft.com/office/drawing/2014/main" id="{103EB046-9125-49E0-A209-E1E6F652775D}"/>
              </a:ext>
            </a:extLst>
          </p:cNvPr>
          <p:cNvSpPr txBox="1"/>
          <p:nvPr/>
        </p:nvSpPr>
        <p:spPr>
          <a:xfrm>
            <a:off x="8023751" y="2787110"/>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6</a:t>
            </a:r>
          </a:p>
        </p:txBody>
      </p:sp>
      <p:sp>
        <p:nvSpPr>
          <p:cNvPr id="170" name="RBContent19">
            <a:extLst>
              <a:ext uri="{FF2B5EF4-FFF2-40B4-BE49-F238E27FC236}">
                <a16:creationId xmlns:a16="http://schemas.microsoft.com/office/drawing/2014/main" id="{F1FBE28F-4949-4FC5-89A0-8BFFB201FCDE}"/>
              </a:ext>
            </a:extLst>
          </p:cNvPr>
          <p:cNvSpPr txBox="1"/>
          <p:nvPr/>
        </p:nvSpPr>
        <p:spPr>
          <a:xfrm>
            <a:off x="8023751" y="3660791"/>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7</a:t>
            </a:r>
          </a:p>
        </p:txBody>
      </p:sp>
      <p:sp>
        <p:nvSpPr>
          <p:cNvPr id="171" name="RBContent19">
            <a:extLst>
              <a:ext uri="{FF2B5EF4-FFF2-40B4-BE49-F238E27FC236}">
                <a16:creationId xmlns:a16="http://schemas.microsoft.com/office/drawing/2014/main" id="{CB29A96C-B2F2-4571-8023-9E180012D640}"/>
              </a:ext>
            </a:extLst>
          </p:cNvPr>
          <p:cNvSpPr txBox="1"/>
          <p:nvPr/>
        </p:nvSpPr>
        <p:spPr>
          <a:xfrm>
            <a:off x="8023751" y="4534265"/>
            <a:ext cx="39015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8</a:t>
            </a:r>
          </a:p>
        </p:txBody>
      </p:sp>
      <p:sp>
        <p:nvSpPr>
          <p:cNvPr id="183" name="Rectangle 79">
            <a:extLst>
              <a:ext uri="{FF2B5EF4-FFF2-40B4-BE49-F238E27FC236}">
                <a16:creationId xmlns:a16="http://schemas.microsoft.com/office/drawing/2014/main" id="{0ED0B1A6-464E-4CC7-8C20-D2EA9ED58565}"/>
              </a:ext>
            </a:extLst>
          </p:cNvPr>
          <p:cNvSpPr>
            <a:spLocks/>
          </p:cNvSpPr>
          <p:nvPr/>
        </p:nvSpPr>
        <p:spPr>
          <a:xfrm>
            <a:off x="8588081" y="2263648"/>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84" name="Rectangle 78">
            <a:extLst>
              <a:ext uri="{FF2B5EF4-FFF2-40B4-BE49-F238E27FC236}">
                <a16:creationId xmlns:a16="http://schemas.microsoft.com/office/drawing/2014/main" id="{CD797B97-4BCD-4A7D-BF7E-607C589A869E}"/>
              </a:ext>
            </a:extLst>
          </p:cNvPr>
          <p:cNvSpPr/>
          <p:nvPr/>
        </p:nvSpPr>
        <p:spPr>
          <a:xfrm>
            <a:off x="8588082" y="1972810"/>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81" name="Rectangle 79">
            <a:extLst>
              <a:ext uri="{FF2B5EF4-FFF2-40B4-BE49-F238E27FC236}">
                <a16:creationId xmlns:a16="http://schemas.microsoft.com/office/drawing/2014/main" id="{078949CD-4E45-45A7-910E-330A825E9E7C}"/>
              </a:ext>
            </a:extLst>
          </p:cNvPr>
          <p:cNvSpPr>
            <a:spLocks/>
          </p:cNvSpPr>
          <p:nvPr/>
        </p:nvSpPr>
        <p:spPr>
          <a:xfrm>
            <a:off x="8588081" y="3137329"/>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82" name="Rectangle 78">
            <a:extLst>
              <a:ext uri="{FF2B5EF4-FFF2-40B4-BE49-F238E27FC236}">
                <a16:creationId xmlns:a16="http://schemas.microsoft.com/office/drawing/2014/main" id="{B2D90FCD-92AD-4BEB-9D58-37598BE5CFF9}"/>
              </a:ext>
            </a:extLst>
          </p:cNvPr>
          <p:cNvSpPr/>
          <p:nvPr/>
        </p:nvSpPr>
        <p:spPr>
          <a:xfrm>
            <a:off x="8588082" y="2846491"/>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79" name="Rectangle 79">
            <a:extLst>
              <a:ext uri="{FF2B5EF4-FFF2-40B4-BE49-F238E27FC236}">
                <a16:creationId xmlns:a16="http://schemas.microsoft.com/office/drawing/2014/main" id="{831F040C-10AE-4E4D-8732-3F19866AD983}"/>
              </a:ext>
            </a:extLst>
          </p:cNvPr>
          <p:cNvSpPr>
            <a:spLocks/>
          </p:cNvSpPr>
          <p:nvPr/>
        </p:nvSpPr>
        <p:spPr>
          <a:xfrm>
            <a:off x="8588081" y="4011010"/>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80" name="Rectangle 78">
            <a:extLst>
              <a:ext uri="{FF2B5EF4-FFF2-40B4-BE49-F238E27FC236}">
                <a16:creationId xmlns:a16="http://schemas.microsoft.com/office/drawing/2014/main" id="{D8EAD40F-081F-4A5B-80F5-0EC4AF6286F0}"/>
              </a:ext>
            </a:extLst>
          </p:cNvPr>
          <p:cNvSpPr/>
          <p:nvPr/>
        </p:nvSpPr>
        <p:spPr>
          <a:xfrm>
            <a:off x="8588082" y="3720172"/>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177" name="Rectangle 79">
            <a:extLst>
              <a:ext uri="{FF2B5EF4-FFF2-40B4-BE49-F238E27FC236}">
                <a16:creationId xmlns:a16="http://schemas.microsoft.com/office/drawing/2014/main" id="{3A23BFDB-AF37-4CE7-95BD-BAD0444B6055}"/>
              </a:ext>
            </a:extLst>
          </p:cNvPr>
          <p:cNvSpPr>
            <a:spLocks/>
          </p:cNvSpPr>
          <p:nvPr/>
        </p:nvSpPr>
        <p:spPr>
          <a:xfrm>
            <a:off x="8588081" y="4884484"/>
            <a:ext cx="32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78" name="Rectangle 78">
            <a:extLst>
              <a:ext uri="{FF2B5EF4-FFF2-40B4-BE49-F238E27FC236}">
                <a16:creationId xmlns:a16="http://schemas.microsoft.com/office/drawing/2014/main" id="{4156AFD5-053E-4D8D-9534-63B8B57D923E}"/>
              </a:ext>
            </a:extLst>
          </p:cNvPr>
          <p:cNvSpPr/>
          <p:nvPr/>
        </p:nvSpPr>
        <p:spPr>
          <a:xfrm>
            <a:off x="8588082" y="4593646"/>
            <a:ext cx="32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39" name="Content Placeholder 14">
            <a:extLst>
              <a:ext uri="{FF2B5EF4-FFF2-40B4-BE49-F238E27FC236}">
                <a16:creationId xmlns:a16="http://schemas.microsoft.com/office/drawing/2014/main" id="{06071E98-E08B-4F1C-86D5-DFB5E0E1C0A5}"/>
              </a:ext>
            </a:extLst>
          </p:cNvPr>
          <p:cNvSpPr>
            <a:spLocks noGrp="1"/>
          </p:cNvSpPr>
          <p:nvPr>
            <p:ph sz="quarter" idx="10"/>
          </p:nvPr>
        </p:nvSpPr>
        <p:spPr>
          <a:xfrm>
            <a:off x="365682" y="6028266"/>
            <a:ext cx="11460635" cy="221803"/>
          </a:xfrm>
        </p:spPr>
        <p:txBody>
          <a:bodyPr/>
          <a:lstStyle/>
          <a:p>
            <a:endParaRPr lang="en-GB"/>
          </a:p>
        </p:txBody>
      </p:sp>
    </p:spTree>
    <p:extLst>
      <p:ext uri="{BB962C8B-B14F-4D97-AF65-F5344CB8AC3E}">
        <p14:creationId xmlns:p14="http://schemas.microsoft.com/office/powerpoint/2010/main" val="33592447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65682" y="6028266"/>
            <a:ext cx="11460635" cy="221803"/>
          </a:xfrm>
        </p:spPr>
        <p:txBody>
          <a:bodyPr/>
          <a:lstStyle/>
          <a:p>
            <a:endParaRPr lang="en-GB"/>
          </a:p>
        </p:txBody>
      </p:sp>
      <p:sp>
        <p:nvSpPr>
          <p:cNvPr id="18" name="Inhaltsplatzhalter 2">
            <a:extLst>
              <a:ext uri="{FF2B5EF4-FFF2-40B4-BE49-F238E27FC236}">
                <a16:creationId xmlns:a16="http://schemas.microsoft.com/office/drawing/2014/main" id="{FA7FF1AD-AC0C-407E-A630-71E3A9CA0F6E}"/>
              </a:ext>
            </a:extLst>
          </p:cNvPr>
          <p:cNvSpPr txBox="1">
            <a:spLocks/>
          </p:cNvSpPr>
          <p:nvPr/>
        </p:nvSpPr>
        <p:spPr bwMode="gray">
          <a:xfrm>
            <a:off x="363918" y="1913419"/>
            <a:ext cx="3932081" cy="3967201"/>
          </a:xfrm>
          <a:prstGeom prst="rect">
            <a:avLst/>
          </a:prstGeom>
          <a:solidFill>
            <a:schemeClr val="bg1">
              <a:lumMod val="95000"/>
            </a:schemeClr>
          </a:solidFill>
          <a:ln w="9525" cap="flat" cmpd="sng" algn="ctr">
            <a:noFill/>
            <a:prstDash val="solid"/>
          </a:ln>
          <a:effectLst/>
        </p:spPr>
        <p:txBody>
          <a:bodyPr lIns="288000" rtlCol="0" anchor="t"/>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endParaRPr lang="en-GB" sz="1600" b="0">
              <a:solidFill>
                <a:schemeClr val="tx1">
                  <a:lumMod val="85000"/>
                  <a:lumOff val="15000"/>
                </a:schemeClr>
              </a:solidFill>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414033" y="1919786"/>
            <a:ext cx="3600000" cy="276999"/>
          </a:xfrm>
          <a:prstGeom prst="rect">
            <a:avLst/>
          </a:prstGeom>
          <a:noFill/>
          <a:ln w="6350">
            <a:noFill/>
            <a:miter lim="800000"/>
            <a:headEnd/>
            <a:tailEnd/>
          </a:ln>
        </p:spPr>
        <p:txBody>
          <a:bodyPr wrap="square" lIns="0" tIns="0" rIns="0" bIns="0">
            <a:spAutoFit/>
          </a:bodyPr>
          <a:lstStyle/>
          <a:p>
            <a:pPr defTabSz="330200"/>
            <a:r>
              <a:rPr lang="en-GB" b="1">
                <a:ea typeface="PMingLiU" pitchFamily="18" charset="-120"/>
                <a:cs typeface="Arial" panose="020B0604020202020204" pitchFamily="34" charset="0"/>
              </a:rPr>
              <a:t>Single-line header</a:t>
            </a:r>
          </a:p>
        </p:txBody>
      </p:sp>
      <p:sp>
        <p:nvSpPr>
          <p:cNvPr id="4" name="Flussdiagramm: Verbinder 3">
            <a:extLst>
              <a:ext uri="{FF2B5EF4-FFF2-40B4-BE49-F238E27FC236}">
                <a16:creationId xmlns:a16="http://schemas.microsoft.com/office/drawing/2014/main" id="{2C7EB266-1053-4743-8121-00AE09F49EC1}"/>
              </a:ext>
            </a:extLst>
          </p:cNvPr>
          <p:cNvSpPr/>
          <p:nvPr/>
        </p:nvSpPr>
        <p:spPr>
          <a:xfrm>
            <a:off x="4149828" y="2126080"/>
            <a:ext cx="274320" cy="27432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15DBA3C0-2FF4-4FBD-87F8-B1F1D6BF60DE}"/>
              </a:ext>
            </a:extLst>
          </p:cNvPr>
          <p:cNvSpPr/>
          <p:nvPr/>
        </p:nvSpPr>
        <p:spPr>
          <a:xfrm>
            <a:off x="363918" y="2363978"/>
            <a:ext cx="3929362" cy="963341"/>
          </a:xfrm>
          <a:prstGeom prst="rect">
            <a:avLst/>
          </a:prstGeom>
        </p:spPr>
        <p:txBody>
          <a:bodyPr wrap="square" lIns="91440" tIns="0" rIns="9144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Line 2">
            <a:extLst>
              <a:ext uri="{FF2B5EF4-FFF2-40B4-BE49-F238E27FC236}">
                <a16:creationId xmlns:a16="http://schemas.microsoft.com/office/drawing/2014/main" id="{FCD4F1E6-B18B-4800-8015-68CCA18AF1A7}"/>
              </a:ext>
            </a:extLst>
          </p:cNvPr>
          <p:cNvSpPr>
            <a:spLocks noChangeShapeType="1"/>
          </p:cNvSpPr>
          <p:nvPr/>
        </p:nvSpPr>
        <p:spPr bwMode="auto">
          <a:xfrm flipV="1">
            <a:off x="4295999" y="2243636"/>
            <a:ext cx="7530317" cy="21168"/>
          </a:xfrm>
          <a:prstGeom prst="line">
            <a:avLst/>
          </a:prstGeom>
          <a:noFill/>
          <a:ln w="22225">
            <a:solidFill>
              <a:srgbClr val="BBBEC2"/>
            </a:solidFill>
            <a:round/>
            <a:headEnd type="oval" w="lg" len="lg"/>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431795" y="1919786"/>
            <a:ext cx="3345132"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72" name="RBContent19">
            <a:extLst>
              <a:ext uri="{FF2B5EF4-FFF2-40B4-BE49-F238E27FC236}">
                <a16:creationId xmlns:a16="http://schemas.microsoft.com/office/drawing/2014/main" id="{55319E45-D589-4614-9FED-91A85F4DF8F8}"/>
              </a:ext>
            </a:extLst>
          </p:cNvPr>
          <p:cNvSpPr txBox="1"/>
          <p:nvPr/>
        </p:nvSpPr>
        <p:spPr>
          <a:xfrm>
            <a:off x="4431796" y="2311654"/>
            <a:ext cx="385738"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68" name="Rectangle 78">
            <a:extLst>
              <a:ext uri="{FF2B5EF4-FFF2-40B4-BE49-F238E27FC236}">
                <a16:creationId xmlns:a16="http://schemas.microsoft.com/office/drawing/2014/main" id="{67A8B396-74C1-4DF2-AFC6-F8BC690198ED}"/>
              </a:ext>
            </a:extLst>
          </p:cNvPr>
          <p:cNvSpPr/>
          <p:nvPr/>
        </p:nvSpPr>
        <p:spPr>
          <a:xfrm>
            <a:off x="4948486" y="3307114"/>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9" name="RBContent19">
            <a:extLst>
              <a:ext uri="{FF2B5EF4-FFF2-40B4-BE49-F238E27FC236}">
                <a16:creationId xmlns:a16="http://schemas.microsoft.com/office/drawing/2014/main" id="{A111AE16-086D-4259-9C9C-BB37B91DDCE1}"/>
              </a:ext>
            </a:extLst>
          </p:cNvPr>
          <p:cNvSpPr txBox="1"/>
          <p:nvPr/>
        </p:nvSpPr>
        <p:spPr>
          <a:xfrm>
            <a:off x="4431796" y="3244157"/>
            <a:ext cx="385738"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70" name="Rectangle 79">
            <a:extLst>
              <a:ext uri="{FF2B5EF4-FFF2-40B4-BE49-F238E27FC236}">
                <a16:creationId xmlns:a16="http://schemas.microsoft.com/office/drawing/2014/main" id="{02F40279-3C32-486F-9388-752FACC61423}"/>
              </a:ext>
            </a:extLst>
          </p:cNvPr>
          <p:cNvSpPr>
            <a:spLocks/>
          </p:cNvSpPr>
          <p:nvPr/>
        </p:nvSpPr>
        <p:spPr>
          <a:xfrm>
            <a:off x="4948483" y="3589961"/>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5" name="Rectangle 78">
            <a:extLst>
              <a:ext uri="{FF2B5EF4-FFF2-40B4-BE49-F238E27FC236}">
                <a16:creationId xmlns:a16="http://schemas.microsoft.com/office/drawing/2014/main" id="{44318B33-C4F0-4E0B-BC86-0B76054C8AB0}"/>
              </a:ext>
            </a:extLst>
          </p:cNvPr>
          <p:cNvSpPr/>
          <p:nvPr/>
        </p:nvSpPr>
        <p:spPr>
          <a:xfrm>
            <a:off x="4948486" y="4239617"/>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6" name="RBContent19">
            <a:extLst>
              <a:ext uri="{FF2B5EF4-FFF2-40B4-BE49-F238E27FC236}">
                <a16:creationId xmlns:a16="http://schemas.microsoft.com/office/drawing/2014/main" id="{A5FD4348-B233-4803-AAE9-039630F71784}"/>
              </a:ext>
            </a:extLst>
          </p:cNvPr>
          <p:cNvSpPr txBox="1"/>
          <p:nvPr/>
        </p:nvSpPr>
        <p:spPr>
          <a:xfrm>
            <a:off x="4431796" y="4176660"/>
            <a:ext cx="385738"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67" name="Rectangle 79">
            <a:extLst>
              <a:ext uri="{FF2B5EF4-FFF2-40B4-BE49-F238E27FC236}">
                <a16:creationId xmlns:a16="http://schemas.microsoft.com/office/drawing/2014/main" id="{1ABAA385-230D-4080-8E00-88F3A5BA465B}"/>
              </a:ext>
            </a:extLst>
          </p:cNvPr>
          <p:cNvSpPr>
            <a:spLocks/>
          </p:cNvSpPr>
          <p:nvPr/>
        </p:nvSpPr>
        <p:spPr>
          <a:xfrm>
            <a:off x="4948483" y="4522464"/>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2" name="Rectangle 78">
            <a:extLst>
              <a:ext uri="{FF2B5EF4-FFF2-40B4-BE49-F238E27FC236}">
                <a16:creationId xmlns:a16="http://schemas.microsoft.com/office/drawing/2014/main" id="{2D4C98EC-9DE9-4A72-B4B9-48945A9D2192}"/>
              </a:ext>
            </a:extLst>
          </p:cNvPr>
          <p:cNvSpPr/>
          <p:nvPr/>
        </p:nvSpPr>
        <p:spPr>
          <a:xfrm>
            <a:off x="4948488" y="5172120"/>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3" name="RBContent19">
            <a:extLst>
              <a:ext uri="{FF2B5EF4-FFF2-40B4-BE49-F238E27FC236}">
                <a16:creationId xmlns:a16="http://schemas.microsoft.com/office/drawing/2014/main" id="{EFD33DF5-6579-4D60-9665-14F3A88319E1}"/>
              </a:ext>
            </a:extLst>
          </p:cNvPr>
          <p:cNvSpPr txBox="1"/>
          <p:nvPr/>
        </p:nvSpPr>
        <p:spPr>
          <a:xfrm>
            <a:off x="4431795" y="5109163"/>
            <a:ext cx="385738"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64" name="Rectangle 79">
            <a:extLst>
              <a:ext uri="{FF2B5EF4-FFF2-40B4-BE49-F238E27FC236}">
                <a16:creationId xmlns:a16="http://schemas.microsoft.com/office/drawing/2014/main" id="{E6B677D3-EAE0-46EB-BFF2-2B8526D45972}"/>
              </a:ext>
            </a:extLst>
          </p:cNvPr>
          <p:cNvSpPr>
            <a:spLocks/>
          </p:cNvSpPr>
          <p:nvPr/>
        </p:nvSpPr>
        <p:spPr>
          <a:xfrm>
            <a:off x="4948484" y="5454967"/>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9" name="Rectangle 78">
            <a:extLst>
              <a:ext uri="{FF2B5EF4-FFF2-40B4-BE49-F238E27FC236}">
                <a16:creationId xmlns:a16="http://schemas.microsoft.com/office/drawing/2014/main" id="{373022EC-67CD-4A3D-A194-B6C2A7E5F259}"/>
              </a:ext>
            </a:extLst>
          </p:cNvPr>
          <p:cNvSpPr/>
          <p:nvPr/>
        </p:nvSpPr>
        <p:spPr>
          <a:xfrm>
            <a:off x="4956049" y="2350827"/>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31" name="Rectangle 79">
            <a:extLst>
              <a:ext uri="{FF2B5EF4-FFF2-40B4-BE49-F238E27FC236}">
                <a16:creationId xmlns:a16="http://schemas.microsoft.com/office/drawing/2014/main" id="{3CAAB80F-1456-4E11-A390-572D7371A3DF}"/>
              </a:ext>
            </a:extLst>
          </p:cNvPr>
          <p:cNvSpPr>
            <a:spLocks/>
          </p:cNvSpPr>
          <p:nvPr/>
        </p:nvSpPr>
        <p:spPr>
          <a:xfrm>
            <a:off x="4956046" y="2609236"/>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16520095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65682" y="6028266"/>
            <a:ext cx="11460635" cy="221803"/>
          </a:xfrm>
        </p:spPr>
        <p:txBody>
          <a:bodyPr/>
          <a:lstStyle/>
          <a:p>
            <a:endParaRPr lang="en-GB"/>
          </a:p>
        </p:txBody>
      </p:sp>
      <p:sp>
        <p:nvSpPr>
          <p:cNvPr id="18" name="Inhaltsplatzhalter 2">
            <a:extLst>
              <a:ext uri="{FF2B5EF4-FFF2-40B4-BE49-F238E27FC236}">
                <a16:creationId xmlns:a16="http://schemas.microsoft.com/office/drawing/2014/main" id="{FA7FF1AD-AC0C-407E-A630-71E3A9CA0F6E}"/>
              </a:ext>
            </a:extLst>
          </p:cNvPr>
          <p:cNvSpPr txBox="1">
            <a:spLocks/>
          </p:cNvSpPr>
          <p:nvPr/>
        </p:nvSpPr>
        <p:spPr bwMode="gray">
          <a:xfrm>
            <a:off x="363918" y="1913419"/>
            <a:ext cx="3932081" cy="3967201"/>
          </a:xfrm>
          <a:prstGeom prst="rect">
            <a:avLst/>
          </a:prstGeom>
          <a:solidFill>
            <a:schemeClr val="bg1">
              <a:lumMod val="95000"/>
            </a:schemeClr>
          </a:solidFill>
          <a:ln w="9525" cap="flat" cmpd="sng" algn="ctr">
            <a:noFill/>
            <a:prstDash val="solid"/>
          </a:ln>
          <a:effectLst/>
        </p:spPr>
        <p:txBody>
          <a:bodyPr lIns="288000" rtlCol="0" anchor="t"/>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endParaRPr lang="en-GB" sz="1600" b="0">
              <a:solidFill>
                <a:schemeClr val="tx1">
                  <a:lumMod val="85000"/>
                  <a:lumOff val="15000"/>
                </a:schemeClr>
              </a:solidFill>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414033"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 name="Flussdiagramm: Verbinder 3">
            <a:extLst>
              <a:ext uri="{FF2B5EF4-FFF2-40B4-BE49-F238E27FC236}">
                <a16:creationId xmlns:a16="http://schemas.microsoft.com/office/drawing/2014/main" id="{2C7EB266-1053-4743-8121-00AE09F49EC1}"/>
              </a:ext>
            </a:extLst>
          </p:cNvPr>
          <p:cNvSpPr/>
          <p:nvPr/>
        </p:nvSpPr>
        <p:spPr>
          <a:xfrm>
            <a:off x="4149828" y="2126080"/>
            <a:ext cx="274320" cy="27432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Line 2">
            <a:extLst>
              <a:ext uri="{FF2B5EF4-FFF2-40B4-BE49-F238E27FC236}">
                <a16:creationId xmlns:a16="http://schemas.microsoft.com/office/drawing/2014/main" id="{FCD4F1E6-B18B-4800-8015-68CCA18AF1A7}"/>
              </a:ext>
            </a:extLst>
          </p:cNvPr>
          <p:cNvSpPr>
            <a:spLocks noChangeShapeType="1"/>
          </p:cNvSpPr>
          <p:nvPr/>
        </p:nvSpPr>
        <p:spPr bwMode="auto">
          <a:xfrm flipV="1">
            <a:off x="4295999" y="2243636"/>
            <a:ext cx="7530317" cy="21168"/>
          </a:xfrm>
          <a:prstGeom prst="line">
            <a:avLst/>
          </a:prstGeom>
          <a:noFill/>
          <a:ln w="22225">
            <a:solidFill>
              <a:srgbClr val="BBBEC2"/>
            </a:solidFill>
            <a:round/>
            <a:headEnd type="oval" w="lg" len="lg"/>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431795" y="1919786"/>
            <a:ext cx="3345132"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72" name="RBContent19">
            <a:extLst>
              <a:ext uri="{FF2B5EF4-FFF2-40B4-BE49-F238E27FC236}">
                <a16:creationId xmlns:a16="http://schemas.microsoft.com/office/drawing/2014/main" id="{55319E45-D589-4614-9FED-91A85F4DF8F8}"/>
              </a:ext>
            </a:extLst>
          </p:cNvPr>
          <p:cNvSpPr txBox="1"/>
          <p:nvPr/>
        </p:nvSpPr>
        <p:spPr>
          <a:xfrm>
            <a:off x="4431796" y="2311654"/>
            <a:ext cx="461938"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1</a:t>
            </a:r>
          </a:p>
        </p:txBody>
      </p:sp>
      <p:sp>
        <p:nvSpPr>
          <p:cNvPr id="52" name="Rectangle 78">
            <a:extLst>
              <a:ext uri="{FF2B5EF4-FFF2-40B4-BE49-F238E27FC236}">
                <a16:creationId xmlns:a16="http://schemas.microsoft.com/office/drawing/2014/main" id="{24B9816A-54F3-4D8D-8E67-5D057749E8B1}"/>
              </a:ext>
            </a:extLst>
          </p:cNvPr>
          <p:cNvSpPr/>
          <p:nvPr/>
        </p:nvSpPr>
        <p:spPr>
          <a:xfrm>
            <a:off x="4956049" y="2350827"/>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54" name="Rectangle 79">
            <a:extLst>
              <a:ext uri="{FF2B5EF4-FFF2-40B4-BE49-F238E27FC236}">
                <a16:creationId xmlns:a16="http://schemas.microsoft.com/office/drawing/2014/main" id="{AF4CEEED-A970-40CB-B695-A4833EC5B794}"/>
              </a:ext>
            </a:extLst>
          </p:cNvPr>
          <p:cNvSpPr>
            <a:spLocks/>
          </p:cNvSpPr>
          <p:nvPr/>
        </p:nvSpPr>
        <p:spPr>
          <a:xfrm>
            <a:off x="4956046" y="2609236"/>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9" name="Rectangle 78">
            <a:extLst>
              <a:ext uri="{FF2B5EF4-FFF2-40B4-BE49-F238E27FC236}">
                <a16:creationId xmlns:a16="http://schemas.microsoft.com/office/drawing/2014/main" id="{F662EDD4-E7B2-4F93-B57C-98D688B919E1}"/>
              </a:ext>
            </a:extLst>
          </p:cNvPr>
          <p:cNvSpPr/>
          <p:nvPr/>
        </p:nvSpPr>
        <p:spPr>
          <a:xfrm>
            <a:off x="4956048" y="3064761"/>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50" name="RBContent19">
            <a:extLst>
              <a:ext uri="{FF2B5EF4-FFF2-40B4-BE49-F238E27FC236}">
                <a16:creationId xmlns:a16="http://schemas.microsoft.com/office/drawing/2014/main" id="{B1949E56-2835-4724-9708-4196519B5124}"/>
              </a:ext>
            </a:extLst>
          </p:cNvPr>
          <p:cNvSpPr txBox="1"/>
          <p:nvPr/>
        </p:nvSpPr>
        <p:spPr>
          <a:xfrm>
            <a:off x="4427331" y="3016997"/>
            <a:ext cx="466402"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2</a:t>
            </a:r>
          </a:p>
        </p:txBody>
      </p:sp>
      <p:sp>
        <p:nvSpPr>
          <p:cNvPr id="51" name="Rectangle 79">
            <a:extLst>
              <a:ext uri="{FF2B5EF4-FFF2-40B4-BE49-F238E27FC236}">
                <a16:creationId xmlns:a16="http://schemas.microsoft.com/office/drawing/2014/main" id="{3AEC883B-2095-4797-A5D8-9BCD6F6A0F0B}"/>
              </a:ext>
            </a:extLst>
          </p:cNvPr>
          <p:cNvSpPr>
            <a:spLocks/>
          </p:cNvSpPr>
          <p:nvPr/>
        </p:nvSpPr>
        <p:spPr>
          <a:xfrm>
            <a:off x="4956044" y="3319973"/>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6" name="Rectangle 78">
            <a:extLst>
              <a:ext uri="{FF2B5EF4-FFF2-40B4-BE49-F238E27FC236}">
                <a16:creationId xmlns:a16="http://schemas.microsoft.com/office/drawing/2014/main" id="{BCE274E8-41DF-42F7-803A-7B6A121D15C1}"/>
              </a:ext>
            </a:extLst>
          </p:cNvPr>
          <p:cNvSpPr/>
          <p:nvPr/>
        </p:nvSpPr>
        <p:spPr>
          <a:xfrm>
            <a:off x="4956048" y="3778695"/>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47" name="RBContent19">
            <a:extLst>
              <a:ext uri="{FF2B5EF4-FFF2-40B4-BE49-F238E27FC236}">
                <a16:creationId xmlns:a16="http://schemas.microsoft.com/office/drawing/2014/main" id="{96B0DBA5-BCC3-4749-A119-91180D4AB1D7}"/>
              </a:ext>
            </a:extLst>
          </p:cNvPr>
          <p:cNvSpPr txBox="1"/>
          <p:nvPr/>
        </p:nvSpPr>
        <p:spPr>
          <a:xfrm>
            <a:off x="4427331" y="3730931"/>
            <a:ext cx="466402"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3</a:t>
            </a:r>
          </a:p>
        </p:txBody>
      </p:sp>
      <p:sp>
        <p:nvSpPr>
          <p:cNvPr id="48" name="Rectangle 79">
            <a:extLst>
              <a:ext uri="{FF2B5EF4-FFF2-40B4-BE49-F238E27FC236}">
                <a16:creationId xmlns:a16="http://schemas.microsoft.com/office/drawing/2014/main" id="{8383BB17-66D7-47B8-A622-86711E9E02B6}"/>
              </a:ext>
            </a:extLst>
          </p:cNvPr>
          <p:cNvSpPr>
            <a:spLocks/>
          </p:cNvSpPr>
          <p:nvPr/>
        </p:nvSpPr>
        <p:spPr>
          <a:xfrm>
            <a:off x="4956044" y="4033910"/>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3" name="Rectangle 78">
            <a:extLst>
              <a:ext uri="{FF2B5EF4-FFF2-40B4-BE49-F238E27FC236}">
                <a16:creationId xmlns:a16="http://schemas.microsoft.com/office/drawing/2014/main" id="{AE0B59A7-8BDC-41A6-9E67-8CAA786B08DD}"/>
              </a:ext>
            </a:extLst>
          </p:cNvPr>
          <p:cNvSpPr/>
          <p:nvPr/>
        </p:nvSpPr>
        <p:spPr>
          <a:xfrm>
            <a:off x="4956047" y="4492618"/>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44" name="RBContent19">
            <a:extLst>
              <a:ext uri="{FF2B5EF4-FFF2-40B4-BE49-F238E27FC236}">
                <a16:creationId xmlns:a16="http://schemas.microsoft.com/office/drawing/2014/main" id="{186DB828-5006-41CB-9E8F-EA183855897D}"/>
              </a:ext>
            </a:extLst>
          </p:cNvPr>
          <p:cNvSpPr txBox="1"/>
          <p:nvPr/>
        </p:nvSpPr>
        <p:spPr>
          <a:xfrm>
            <a:off x="4427330" y="4444854"/>
            <a:ext cx="46640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4</a:t>
            </a:r>
          </a:p>
        </p:txBody>
      </p:sp>
      <p:sp>
        <p:nvSpPr>
          <p:cNvPr id="45" name="Rectangle 79">
            <a:extLst>
              <a:ext uri="{FF2B5EF4-FFF2-40B4-BE49-F238E27FC236}">
                <a16:creationId xmlns:a16="http://schemas.microsoft.com/office/drawing/2014/main" id="{6049C839-F310-43D0-B977-0E0783FAC5F4}"/>
              </a:ext>
            </a:extLst>
          </p:cNvPr>
          <p:cNvSpPr>
            <a:spLocks/>
          </p:cNvSpPr>
          <p:nvPr/>
        </p:nvSpPr>
        <p:spPr>
          <a:xfrm>
            <a:off x="4956045" y="4757664"/>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0" name="Rectangle 78">
            <a:extLst>
              <a:ext uri="{FF2B5EF4-FFF2-40B4-BE49-F238E27FC236}">
                <a16:creationId xmlns:a16="http://schemas.microsoft.com/office/drawing/2014/main" id="{5A770917-854E-4CF0-AB5F-BB7053ACF755}"/>
              </a:ext>
            </a:extLst>
          </p:cNvPr>
          <p:cNvSpPr/>
          <p:nvPr/>
        </p:nvSpPr>
        <p:spPr>
          <a:xfrm>
            <a:off x="4956047" y="5206562"/>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41" name="RBContent19">
            <a:extLst>
              <a:ext uri="{FF2B5EF4-FFF2-40B4-BE49-F238E27FC236}">
                <a16:creationId xmlns:a16="http://schemas.microsoft.com/office/drawing/2014/main" id="{8B0374DB-923D-4C0E-9BD9-D93215BDAB91}"/>
              </a:ext>
            </a:extLst>
          </p:cNvPr>
          <p:cNvSpPr txBox="1"/>
          <p:nvPr/>
        </p:nvSpPr>
        <p:spPr>
          <a:xfrm>
            <a:off x="4427330" y="5158798"/>
            <a:ext cx="466403" cy="8309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6000" b="1">
                <a:solidFill>
                  <a:srgbClr val="8D8EA7"/>
                </a:solidFill>
                <a:latin typeface="+mj-lt"/>
              </a:rPr>
              <a:t>5</a:t>
            </a:r>
          </a:p>
        </p:txBody>
      </p:sp>
      <p:sp>
        <p:nvSpPr>
          <p:cNvPr id="42" name="Rectangle 79">
            <a:extLst>
              <a:ext uri="{FF2B5EF4-FFF2-40B4-BE49-F238E27FC236}">
                <a16:creationId xmlns:a16="http://schemas.microsoft.com/office/drawing/2014/main" id="{5EC3BB52-12CC-46E0-9CEE-0D128DF7AFAD}"/>
              </a:ext>
            </a:extLst>
          </p:cNvPr>
          <p:cNvSpPr>
            <a:spLocks/>
          </p:cNvSpPr>
          <p:nvPr/>
        </p:nvSpPr>
        <p:spPr>
          <a:xfrm>
            <a:off x="4956045" y="5471608"/>
            <a:ext cx="6840000"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1" name="Rectangle 30">
            <a:extLst>
              <a:ext uri="{FF2B5EF4-FFF2-40B4-BE49-F238E27FC236}">
                <a16:creationId xmlns:a16="http://schemas.microsoft.com/office/drawing/2014/main" id="{B47F7EFD-DB71-4A1B-B996-29DF4DA88C3F}"/>
              </a:ext>
            </a:extLst>
          </p:cNvPr>
          <p:cNvSpPr/>
          <p:nvPr/>
        </p:nvSpPr>
        <p:spPr>
          <a:xfrm>
            <a:off x="363918" y="2363978"/>
            <a:ext cx="3929362" cy="963341"/>
          </a:xfrm>
          <a:prstGeom prst="rect">
            <a:avLst/>
          </a:prstGeom>
        </p:spPr>
        <p:txBody>
          <a:bodyPr wrap="square" lIns="91440" tIns="0" rIns="9144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35673884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DE8F3A03-D4E6-483E-93A9-58D2971AE428}"/>
              </a:ext>
            </a:extLst>
          </p:cNvPr>
          <p:cNvSpPr/>
          <p:nvPr/>
        </p:nvSpPr>
        <p:spPr>
          <a:xfrm>
            <a:off x="4926835" y="2359861"/>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80" name="RBContent19">
            <a:extLst>
              <a:ext uri="{FF2B5EF4-FFF2-40B4-BE49-F238E27FC236}">
                <a16:creationId xmlns:a16="http://schemas.microsoft.com/office/drawing/2014/main" id="{5B15CD4F-8698-4941-BC16-319723C5E517}"/>
              </a:ext>
            </a:extLst>
          </p:cNvPr>
          <p:cNvSpPr txBox="1"/>
          <p:nvPr/>
        </p:nvSpPr>
        <p:spPr>
          <a:xfrm>
            <a:off x="4463437" y="2311654"/>
            <a:ext cx="383092"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1</a:t>
            </a:r>
          </a:p>
        </p:txBody>
      </p:sp>
      <p:sp>
        <p:nvSpPr>
          <p:cNvPr id="81" name="Rectangle 79">
            <a:extLst>
              <a:ext uri="{FF2B5EF4-FFF2-40B4-BE49-F238E27FC236}">
                <a16:creationId xmlns:a16="http://schemas.microsoft.com/office/drawing/2014/main" id="{AF59E540-2319-42E9-983F-A1CB0AE5BB7B}"/>
              </a:ext>
            </a:extLst>
          </p:cNvPr>
          <p:cNvSpPr>
            <a:spLocks/>
          </p:cNvSpPr>
          <p:nvPr/>
        </p:nvSpPr>
        <p:spPr>
          <a:xfrm>
            <a:off x="4926835" y="2590254"/>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76" name="Rectangle 78">
            <a:extLst>
              <a:ext uri="{FF2B5EF4-FFF2-40B4-BE49-F238E27FC236}">
                <a16:creationId xmlns:a16="http://schemas.microsoft.com/office/drawing/2014/main" id="{069EC483-D669-46FE-B20B-C513F5E6A5AD}"/>
              </a:ext>
            </a:extLst>
          </p:cNvPr>
          <p:cNvSpPr/>
          <p:nvPr/>
        </p:nvSpPr>
        <p:spPr>
          <a:xfrm>
            <a:off x="4926835" y="2954534"/>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77" name="RBContent19">
            <a:extLst>
              <a:ext uri="{FF2B5EF4-FFF2-40B4-BE49-F238E27FC236}">
                <a16:creationId xmlns:a16="http://schemas.microsoft.com/office/drawing/2014/main" id="{04295909-1E5F-49F2-8DD1-25E78BFFB423}"/>
              </a:ext>
            </a:extLst>
          </p:cNvPr>
          <p:cNvSpPr txBox="1"/>
          <p:nvPr/>
        </p:nvSpPr>
        <p:spPr>
          <a:xfrm>
            <a:off x="4463437" y="2903568"/>
            <a:ext cx="383092"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2</a:t>
            </a:r>
          </a:p>
        </p:txBody>
      </p:sp>
      <p:sp>
        <p:nvSpPr>
          <p:cNvPr id="78" name="Rectangle 79">
            <a:extLst>
              <a:ext uri="{FF2B5EF4-FFF2-40B4-BE49-F238E27FC236}">
                <a16:creationId xmlns:a16="http://schemas.microsoft.com/office/drawing/2014/main" id="{E2567A3A-1C84-4EA9-9C47-CCF4DB646739}"/>
              </a:ext>
            </a:extLst>
          </p:cNvPr>
          <p:cNvSpPr>
            <a:spLocks/>
          </p:cNvSpPr>
          <p:nvPr/>
        </p:nvSpPr>
        <p:spPr>
          <a:xfrm>
            <a:off x="4926835" y="3188953"/>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71" name="Rectangle 78">
            <a:extLst>
              <a:ext uri="{FF2B5EF4-FFF2-40B4-BE49-F238E27FC236}">
                <a16:creationId xmlns:a16="http://schemas.microsoft.com/office/drawing/2014/main" id="{C290B3F0-7F67-4E16-ABCE-1C25BBC83A7D}"/>
              </a:ext>
            </a:extLst>
          </p:cNvPr>
          <p:cNvSpPr/>
          <p:nvPr/>
        </p:nvSpPr>
        <p:spPr>
          <a:xfrm>
            <a:off x="4926835" y="3549206"/>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73" name="RBContent19">
            <a:extLst>
              <a:ext uri="{FF2B5EF4-FFF2-40B4-BE49-F238E27FC236}">
                <a16:creationId xmlns:a16="http://schemas.microsoft.com/office/drawing/2014/main" id="{1A59B99A-1EF0-4C59-A2BF-11FC3DC4DBA1}"/>
              </a:ext>
            </a:extLst>
          </p:cNvPr>
          <p:cNvSpPr txBox="1"/>
          <p:nvPr/>
        </p:nvSpPr>
        <p:spPr>
          <a:xfrm>
            <a:off x="4463437" y="3495482"/>
            <a:ext cx="383092"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3</a:t>
            </a:r>
          </a:p>
        </p:txBody>
      </p:sp>
      <p:sp>
        <p:nvSpPr>
          <p:cNvPr id="75" name="Rectangle 79">
            <a:extLst>
              <a:ext uri="{FF2B5EF4-FFF2-40B4-BE49-F238E27FC236}">
                <a16:creationId xmlns:a16="http://schemas.microsoft.com/office/drawing/2014/main" id="{004B1AE4-2E08-4FB9-90B2-A18F2AB2E9DC}"/>
              </a:ext>
            </a:extLst>
          </p:cNvPr>
          <p:cNvSpPr>
            <a:spLocks/>
          </p:cNvSpPr>
          <p:nvPr/>
        </p:nvSpPr>
        <p:spPr>
          <a:xfrm>
            <a:off x="4926835" y="3783625"/>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68" name="Rectangle 78">
            <a:extLst>
              <a:ext uri="{FF2B5EF4-FFF2-40B4-BE49-F238E27FC236}">
                <a16:creationId xmlns:a16="http://schemas.microsoft.com/office/drawing/2014/main" id="{F3C589BD-256B-44A2-93CC-37E257641A7D}"/>
              </a:ext>
            </a:extLst>
          </p:cNvPr>
          <p:cNvSpPr/>
          <p:nvPr/>
        </p:nvSpPr>
        <p:spPr>
          <a:xfrm>
            <a:off x="4926835" y="4143878"/>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9" name="RBContent19">
            <a:extLst>
              <a:ext uri="{FF2B5EF4-FFF2-40B4-BE49-F238E27FC236}">
                <a16:creationId xmlns:a16="http://schemas.microsoft.com/office/drawing/2014/main" id="{7077BA15-A4BB-4990-A881-1D0A752A0153}"/>
              </a:ext>
            </a:extLst>
          </p:cNvPr>
          <p:cNvSpPr txBox="1"/>
          <p:nvPr/>
        </p:nvSpPr>
        <p:spPr>
          <a:xfrm>
            <a:off x="4463436" y="4087396"/>
            <a:ext cx="383093"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4</a:t>
            </a:r>
          </a:p>
        </p:txBody>
      </p:sp>
      <p:sp>
        <p:nvSpPr>
          <p:cNvPr id="70" name="Rectangle 79">
            <a:extLst>
              <a:ext uri="{FF2B5EF4-FFF2-40B4-BE49-F238E27FC236}">
                <a16:creationId xmlns:a16="http://schemas.microsoft.com/office/drawing/2014/main" id="{716DB8E0-BE95-4D25-85D8-16035A4D82D8}"/>
              </a:ext>
            </a:extLst>
          </p:cNvPr>
          <p:cNvSpPr>
            <a:spLocks/>
          </p:cNvSpPr>
          <p:nvPr/>
        </p:nvSpPr>
        <p:spPr>
          <a:xfrm>
            <a:off x="4926835" y="4378296"/>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65" name="Rectangle 78">
            <a:extLst>
              <a:ext uri="{FF2B5EF4-FFF2-40B4-BE49-F238E27FC236}">
                <a16:creationId xmlns:a16="http://schemas.microsoft.com/office/drawing/2014/main" id="{D3953F81-18A3-4E4D-8928-CD813A5468D7}"/>
              </a:ext>
            </a:extLst>
          </p:cNvPr>
          <p:cNvSpPr/>
          <p:nvPr/>
        </p:nvSpPr>
        <p:spPr>
          <a:xfrm>
            <a:off x="4926835" y="4738549"/>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6" name="RBContent19">
            <a:extLst>
              <a:ext uri="{FF2B5EF4-FFF2-40B4-BE49-F238E27FC236}">
                <a16:creationId xmlns:a16="http://schemas.microsoft.com/office/drawing/2014/main" id="{4D0EB523-151F-43F1-A275-DAD1F1F5ABF1}"/>
              </a:ext>
            </a:extLst>
          </p:cNvPr>
          <p:cNvSpPr txBox="1"/>
          <p:nvPr/>
        </p:nvSpPr>
        <p:spPr>
          <a:xfrm>
            <a:off x="4463436" y="4679310"/>
            <a:ext cx="383093"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5</a:t>
            </a:r>
          </a:p>
        </p:txBody>
      </p:sp>
      <p:sp>
        <p:nvSpPr>
          <p:cNvPr id="67" name="Rectangle 79">
            <a:extLst>
              <a:ext uri="{FF2B5EF4-FFF2-40B4-BE49-F238E27FC236}">
                <a16:creationId xmlns:a16="http://schemas.microsoft.com/office/drawing/2014/main" id="{3C442121-D91C-4A73-BCFA-A55034C9DF37}"/>
              </a:ext>
            </a:extLst>
          </p:cNvPr>
          <p:cNvSpPr>
            <a:spLocks/>
          </p:cNvSpPr>
          <p:nvPr/>
        </p:nvSpPr>
        <p:spPr>
          <a:xfrm>
            <a:off x="4926835" y="4972966"/>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sp>
        <p:nvSpPr>
          <p:cNvPr id="62" name="Rectangle 78">
            <a:extLst>
              <a:ext uri="{FF2B5EF4-FFF2-40B4-BE49-F238E27FC236}">
                <a16:creationId xmlns:a16="http://schemas.microsoft.com/office/drawing/2014/main" id="{51260983-DDA2-4FD1-9655-1D4157D72C60}"/>
              </a:ext>
            </a:extLst>
          </p:cNvPr>
          <p:cNvSpPr/>
          <p:nvPr/>
        </p:nvSpPr>
        <p:spPr>
          <a:xfrm>
            <a:off x="4926835" y="5319429"/>
            <a:ext cx="684000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Aft>
                <a:spcPct val="0"/>
              </a:spcAft>
              <a:buClr>
                <a:srgbClr val="A2A2A2"/>
              </a:buClr>
              <a:defRPr/>
            </a:pPr>
            <a:r>
              <a:rPr lang="en-GB" b="1" kern="0">
                <a:latin typeface="Arial" panose="020B0604020202020204" pitchFamily="34" charset="0"/>
                <a:cs typeface="Arial" panose="020B0604020202020204" pitchFamily="34" charset="0"/>
              </a:rPr>
              <a:t>One-line header</a:t>
            </a:r>
          </a:p>
        </p:txBody>
      </p:sp>
      <p:sp>
        <p:nvSpPr>
          <p:cNvPr id="63" name="RBContent19">
            <a:extLst>
              <a:ext uri="{FF2B5EF4-FFF2-40B4-BE49-F238E27FC236}">
                <a16:creationId xmlns:a16="http://schemas.microsoft.com/office/drawing/2014/main" id="{C6F27FEF-71A4-4550-9B5D-8362DA58718D}"/>
              </a:ext>
            </a:extLst>
          </p:cNvPr>
          <p:cNvSpPr txBox="1"/>
          <p:nvPr/>
        </p:nvSpPr>
        <p:spPr>
          <a:xfrm>
            <a:off x="4463437" y="5271222"/>
            <a:ext cx="383092" cy="609398"/>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400" b="1">
                <a:solidFill>
                  <a:srgbClr val="8D8EA7"/>
                </a:solidFill>
                <a:latin typeface="+mj-lt"/>
              </a:rPr>
              <a:t>6</a:t>
            </a:r>
          </a:p>
        </p:txBody>
      </p:sp>
      <p:sp>
        <p:nvSpPr>
          <p:cNvPr id="64" name="Rectangle 79">
            <a:extLst>
              <a:ext uri="{FF2B5EF4-FFF2-40B4-BE49-F238E27FC236}">
                <a16:creationId xmlns:a16="http://schemas.microsoft.com/office/drawing/2014/main" id="{F2B4C468-C01B-44FE-87D1-4EA935DDC5DA}"/>
              </a:ext>
            </a:extLst>
          </p:cNvPr>
          <p:cNvSpPr>
            <a:spLocks/>
          </p:cNvSpPr>
          <p:nvPr/>
        </p:nvSpPr>
        <p:spPr>
          <a:xfrm>
            <a:off x="4926835" y="5549822"/>
            <a:ext cx="6840000"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a:t>
            </a:r>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a:xfrm>
            <a:off x="365682" y="6028266"/>
            <a:ext cx="11460635" cy="221803"/>
          </a:xfrm>
        </p:spPr>
        <p:txBody>
          <a:bodyPr/>
          <a:lstStyle/>
          <a:p>
            <a:endParaRPr lang="en-GB"/>
          </a:p>
        </p:txBody>
      </p:sp>
      <p:sp>
        <p:nvSpPr>
          <p:cNvPr id="18" name="Inhaltsplatzhalter 2">
            <a:extLst>
              <a:ext uri="{FF2B5EF4-FFF2-40B4-BE49-F238E27FC236}">
                <a16:creationId xmlns:a16="http://schemas.microsoft.com/office/drawing/2014/main" id="{FA7FF1AD-AC0C-407E-A630-71E3A9CA0F6E}"/>
              </a:ext>
            </a:extLst>
          </p:cNvPr>
          <p:cNvSpPr txBox="1">
            <a:spLocks/>
          </p:cNvSpPr>
          <p:nvPr/>
        </p:nvSpPr>
        <p:spPr bwMode="gray">
          <a:xfrm>
            <a:off x="363918" y="1913419"/>
            <a:ext cx="3932081" cy="3967201"/>
          </a:xfrm>
          <a:prstGeom prst="rect">
            <a:avLst/>
          </a:prstGeom>
          <a:solidFill>
            <a:schemeClr val="bg1">
              <a:lumMod val="95000"/>
            </a:schemeClr>
          </a:solidFill>
          <a:ln w="9525" cap="flat" cmpd="sng" algn="ctr">
            <a:noFill/>
            <a:prstDash val="solid"/>
          </a:ln>
          <a:effectLst/>
        </p:spPr>
        <p:txBody>
          <a:bodyPr lIns="288000" rtlCol="0" anchor="t"/>
          <a:lstStyle>
            <a:defPPr>
              <a:defRPr lang="de-DE"/>
            </a:defPPr>
            <a:lvl1pPr marL="0" marR="0" lvl="0" indent="0" algn="ctr" defTabSz="457200" eaLnBrk="1" fontAlgn="auto" latinLnBrk="0" hangingPunct="1">
              <a:lnSpc>
                <a:spcPct val="100000"/>
              </a:lnSpc>
              <a:spcBef>
                <a:spcPts val="0"/>
              </a:spcBef>
              <a:spcAft>
                <a:spcPts val="0"/>
              </a:spcAft>
              <a:buClrTx/>
              <a:buSzTx/>
              <a:buFontTx/>
              <a:buNone/>
              <a:tabLst/>
              <a:defRPr sz="1400" b="1" kern="0">
                <a:solidFill>
                  <a:srgbClr val="000000"/>
                </a:solidFill>
                <a:latin typeface="VWAG TheSans (Headings)"/>
              </a:defRPr>
            </a:lvl1pPr>
            <a:lvl2pPr marL="0" indent="0" algn="l" defTabSz="1043056" rtl="0" eaLnBrk="1" latinLnBrk="0" hangingPunct="1">
              <a:spcBef>
                <a:spcPts val="2053"/>
              </a:spcBef>
              <a:buFont typeface="Wingdings" pitchFamily="2" charset="2"/>
              <a:buNone/>
              <a:defRPr sz="2300" kern="1200">
                <a:solidFill>
                  <a:schemeClr val="tx1"/>
                </a:solidFill>
                <a:latin typeface="Century Gothic" pitchFamily="34" charset="0"/>
                <a:ea typeface="+mn-ea"/>
                <a:cs typeface="+mn-cs"/>
              </a:defRPr>
            </a:lvl2pPr>
            <a:lvl3pPr marL="202816"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3pPr>
            <a:lvl4pPr marL="407444" indent="-20462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4pPr>
            <a:lvl5pPr marL="610261" indent="-202816"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5pPr>
            <a:lvl6pPr marL="814888" indent="-195573"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6pPr>
            <a:lvl7pPr marL="1021326"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7pPr>
            <a:lvl8pPr marL="1227764"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8pPr>
            <a:lvl9pPr marL="1434202" indent="-206438" algn="l" defTabSz="1043056" rtl="0" eaLnBrk="1" latinLnBrk="0" hangingPunct="1">
              <a:spcBef>
                <a:spcPts val="2053"/>
              </a:spcBef>
              <a:buFont typeface="Wingdings" pitchFamily="2" charset="2"/>
              <a:buChar char="§"/>
              <a:defRPr sz="2100" kern="1200">
                <a:solidFill>
                  <a:schemeClr val="tx1"/>
                </a:solidFill>
                <a:latin typeface="Century Gothic" pitchFamily="34" charset="0"/>
                <a:ea typeface="+mn-ea"/>
                <a:cs typeface="+mn-cs"/>
              </a:defRPr>
            </a:lvl9pPr>
          </a:lstStyle>
          <a:p>
            <a:pPr algn="l">
              <a:spcAft>
                <a:spcPts val="600"/>
              </a:spcAft>
              <a:buClr>
                <a:schemeClr val="accent3"/>
              </a:buClr>
            </a:pPr>
            <a:endParaRPr lang="en-GB" sz="1600" b="0">
              <a:solidFill>
                <a:schemeClr val="tx1">
                  <a:lumMod val="85000"/>
                  <a:lumOff val="15000"/>
                </a:schemeClr>
              </a:solidFill>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414033" y="1919786"/>
            <a:ext cx="3600000"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4" name="Flussdiagramm: Verbinder 3">
            <a:extLst>
              <a:ext uri="{FF2B5EF4-FFF2-40B4-BE49-F238E27FC236}">
                <a16:creationId xmlns:a16="http://schemas.microsoft.com/office/drawing/2014/main" id="{2C7EB266-1053-4743-8121-00AE09F49EC1}"/>
              </a:ext>
            </a:extLst>
          </p:cNvPr>
          <p:cNvSpPr/>
          <p:nvPr/>
        </p:nvSpPr>
        <p:spPr>
          <a:xfrm>
            <a:off x="4149828" y="2126080"/>
            <a:ext cx="274320" cy="274320"/>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Line 2">
            <a:extLst>
              <a:ext uri="{FF2B5EF4-FFF2-40B4-BE49-F238E27FC236}">
                <a16:creationId xmlns:a16="http://schemas.microsoft.com/office/drawing/2014/main" id="{FCD4F1E6-B18B-4800-8015-68CCA18AF1A7}"/>
              </a:ext>
            </a:extLst>
          </p:cNvPr>
          <p:cNvSpPr>
            <a:spLocks noChangeShapeType="1"/>
          </p:cNvSpPr>
          <p:nvPr/>
        </p:nvSpPr>
        <p:spPr bwMode="auto">
          <a:xfrm flipV="1">
            <a:off x="4295999" y="2243636"/>
            <a:ext cx="7530317" cy="21168"/>
          </a:xfrm>
          <a:prstGeom prst="line">
            <a:avLst/>
          </a:prstGeom>
          <a:noFill/>
          <a:ln w="22225">
            <a:solidFill>
              <a:srgbClr val="BBBEC2"/>
            </a:solidFill>
            <a:round/>
            <a:headEnd type="oval" w="lg" len="lg"/>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431795" y="1919786"/>
            <a:ext cx="3345132"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4" name="Rectangle 33">
            <a:extLst>
              <a:ext uri="{FF2B5EF4-FFF2-40B4-BE49-F238E27FC236}">
                <a16:creationId xmlns:a16="http://schemas.microsoft.com/office/drawing/2014/main" id="{F21A714D-9775-46C7-BE40-A924D4BAEB8F}"/>
              </a:ext>
            </a:extLst>
          </p:cNvPr>
          <p:cNvSpPr/>
          <p:nvPr/>
        </p:nvSpPr>
        <p:spPr>
          <a:xfrm>
            <a:off x="363918" y="2363978"/>
            <a:ext cx="3929362" cy="963341"/>
          </a:xfrm>
          <a:prstGeom prst="rect">
            <a:avLst/>
          </a:prstGeom>
        </p:spPr>
        <p:txBody>
          <a:bodyPr wrap="square" lIns="91440" tIns="0" rIns="9144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four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40802944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13429"/>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3014230"/>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4115031"/>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
        <p:nvSpPr>
          <p:cNvPr id="53" name="Content Placeholder 14">
            <a:extLst>
              <a:ext uri="{FF2B5EF4-FFF2-40B4-BE49-F238E27FC236}">
                <a16:creationId xmlns:a16="http://schemas.microsoft.com/office/drawing/2014/main" id="{5F755365-6CF4-4318-96A3-40B9CC623343}"/>
              </a:ext>
            </a:extLst>
          </p:cNvPr>
          <p:cNvSpPr>
            <a:spLocks noGrp="1"/>
          </p:cNvSpPr>
          <p:nvPr>
            <p:ph sz="quarter" idx="10"/>
          </p:nvPr>
        </p:nvSpPr>
        <p:spPr>
          <a:xfrm>
            <a:off x="365682" y="6028266"/>
            <a:ext cx="11460635" cy="221803"/>
          </a:xfrm>
        </p:spPr>
        <p:txBody>
          <a:bodyPr/>
          <a:lstStyle/>
          <a:p>
            <a:endParaRPr lang="en-GB"/>
          </a:p>
        </p:txBody>
      </p:sp>
      <p:sp>
        <p:nvSpPr>
          <p:cNvPr id="39" name="RBContent19">
            <a:extLst>
              <a:ext uri="{FF2B5EF4-FFF2-40B4-BE49-F238E27FC236}">
                <a16:creationId xmlns:a16="http://schemas.microsoft.com/office/drawing/2014/main" id="{68D84025-0BCF-4A0E-9C7E-0BB3730D3A93}"/>
              </a:ext>
            </a:extLst>
          </p:cNvPr>
          <p:cNvSpPr txBox="1"/>
          <p:nvPr/>
        </p:nvSpPr>
        <p:spPr>
          <a:xfrm>
            <a:off x="365682" y="5215832"/>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4</a:t>
            </a:r>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5682" y="2796228"/>
            <a:ext cx="7802205"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a:cxnSpLocks/>
          </p:cNvCxnSpPr>
          <p:nvPr/>
        </p:nvCxnSpPr>
        <p:spPr>
          <a:xfrm>
            <a:off x="365682" y="3897029"/>
            <a:ext cx="7802205" cy="0"/>
          </a:xfrm>
          <a:prstGeom prst="line">
            <a:avLst/>
          </a:prstGeom>
          <a:noFill/>
          <a:ln w="22225" cap="flat" cmpd="sng" algn="ctr">
            <a:solidFill>
              <a:srgbClr val="BBBEC2"/>
            </a:solidFill>
            <a:prstDash val="solid"/>
          </a:ln>
          <a:effectLst/>
        </p:spPr>
      </p:cxnSp>
      <p:cxnSp>
        <p:nvCxnSpPr>
          <p:cNvPr id="41" name="Straight Connector 65">
            <a:extLst>
              <a:ext uri="{FF2B5EF4-FFF2-40B4-BE49-F238E27FC236}">
                <a16:creationId xmlns:a16="http://schemas.microsoft.com/office/drawing/2014/main" id="{BBB12224-4BC2-4845-A930-8B5CE3B84E3C}"/>
              </a:ext>
            </a:extLst>
          </p:cNvPr>
          <p:cNvCxnSpPr>
            <a:cxnSpLocks/>
          </p:cNvCxnSpPr>
          <p:nvPr/>
        </p:nvCxnSpPr>
        <p:spPr>
          <a:xfrm>
            <a:off x="365682" y="4997830"/>
            <a:ext cx="7802205" cy="0"/>
          </a:xfrm>
          <a:prstGeom prst="line">
            <a:avLst/>
          </a:prstGeom>
          <a:noFill/>
          <a:ln w="22225" cap="flat" cmpd="sng" algn="ctr">
            <a:solidFill>
              <a:srgbClr val="BBBEC2"/>
            </a:solidFill>
            <a:prstDash val="solid"/>
          </a:ln>
          <a:effectLst/>
        </p:spPr>
      </p:cxnSp>
      <p:sp>
        <p:nvSpPr>
          <p:cNvPr id="34" name="Rectangle 40">
            <a:extLst>
              <a:ext uri="{FF2B5EF4-FFF2-40B4-BE49-F238E27FC236}">
                <a16:creationId xmlns:a16="http://schemas.microsoft.com/office/drawing/2014/main" id="{02FB55E9-2AB1-40C7-B33B-ECB74B509045}"/>
              </a:ext>
            </a:extLst>
          </p:cNvPr>
          <p:cNvSpPr/>
          <p:nvPr/>
        </p:nvSpPr>
        <p:spPr>
          <a:xfrm>
            <a:off x="1884333" y="1803059"/>
            <a:ext cx="6283554"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ectangle 40">
            <a:extLst>
              <a:ext uri="{FF2B5EF4-FFF2-40B4-BE49-F238E27FC236}">
                <a16:creationId xmlns:a16="http://schemas.microsoft.com/office/drawing/2014/main" id="{1121D20E-2D10-46A6-96F7-FDD6671C0F07}"/>
              </a:ext>
            </a:extLst>
          </p:cNvPr>
          <p:cNvSpPr/>
          <p:nvPr/>
        </p:nvSpPr>
        <p:spPr>
          <a:xfrm>
            <a:off x="1884333" y="2897201"/>
            <a:ext cx="6283554"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6" name="Rectangle 40">
            <a:extLst>
              <a:ext uri="{FF2B5EF4-FFF2-40B4-BE49-F238E27FC236}">
                <a16:creationId xmlns:a16="http://schemas.microsoft.com/office/drawing/2014/main" id="{DED25C06-7B74-4BCC-A6C3-E019C1E588AE}"/>
              </a:ext>
            </a:extLst>
          </p:cNvPr>
          <p:cNvSpPr/>
          <p:nvPr/>
        </p:nvSpPr>
        <p:spPr>
          <a:xfrm>
            <a:off x="1884333" y="3991255"/>
            <a:ext cx="6283554"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40">
            <a:extLst>
              <a:ext uri="{FF2B5EF4-FFF2-40B4-BE49-F238E27FC236}">
                <a16:creationId xmlns:a16="http://schemas.microsoft.com/office/drawing/2014/main" id="{796BCEB1-F6F7-4051-842D-4B865118F33E}"/>
              </a:ext>
            </a:extLst>
          </p:cNvPr>
          <p:cNvSpPr/>
          <p:nvPr/>
        </p:nvSpPr>
        <p:spPr>
          <a:xfrm>
            <a:off x="1884333" y="5085309"/>
            <a:ext cx="6283554" cy="771493"/>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two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 name="Ellipse 3">
            <a:extLst>
              <a:ext uri="{FF2B5EF4-FFF2-40B4-BE49-F238E27FC236}">
                <a16:creationId xmlns:a16="http://schemas.microsoft.com/office/drawing/2014/main" id="{CD3C96DC-DDC5-4ECA-A53E-80B3BBE0F376}"/>
              </a:ext>
            </a:extLst>
          </p:cNvPr>
          <p:cNvSpPr/>
          <p:nvPr/>
        </p:nvSpPr>
        <p:spPr>
          <a:xfrm>
            <a:off x="869292" y="1803059"/>
            <a:ext cx="881462" cy="881462"/>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12" name="Inhaltsplatzhalter 11">
            <a:extLst>
              <a:ext uri="{FF2B5EF4-FFF2-40B4-BE49-F238E27FC236}">
                <a16:creationId xmlns:a16="http://schemas.microsoft.com/office/drawing/2014/main" id="{425ACE1D-148D-4871-AA1A-9E322339C504}"/>
              </a:ext>
            </a:extLst>
          </p:cNvPr>
          <p:cNvSpPr>
            <a:spLocks noGrp="1"/>
          </p:cNvSpPr>
          <p:nvPr>
            <p:ph sz="quarter" idx="14"/>
          </p:nvPr>
        </p:nvSpPr>
        <p:spPr/>
        <p:txBody>
          <a:bodyPr/>
          <a:lstStyle/>
          <a:p>
            <a:endParaRPr lang="en-GB"/>
          </a:p>
        </p:txBody>
      </p:sp>
      <p:sp>
        <p:nvSpPr>
          <p:cNvPr id="43" name="Ellipse 42">
            <a:extLst>
              <a:ext uri="{FF2B5EF4-FFF2-40B4-BE49-F238E27FC236}">
                <a16:creationId xmlns:a16="http://schemas.microsoft.com/office/drawing/2014/main" id="{21905D4E-6260-42CA-8E08-16E4E5CECA56}"/>
              </a:ext>
            </a:extLst>
          </p:cNvPr>
          <p:cNvSpPr/>
          <p:nvPr/>
        </p:nvSpPr>
        <p:spPr>
          <a:xfrm>
            <a:off x="869292" y="5085221"/>
            <a:ext cx="881462" cy="881462"/>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46" name="Ellipse 45">
            <a:extLst>
              <a:ext uri="{FF2B5EF4-FFF2-40B4-BE49-F238E27FC236}">
                <a16:creationId xmlns:a16="http://schemas.microsoft.com/office/drawing/2014/main" id="{3C7A66A9-A08F-45A8-BF8A-0599A72EE700}"/>
              </a:ext>
            </a:extLst>
          </p:cNvPr>
          <p:cNvSpPr/>
          <p:nvPr/>
        </p:nvSpPr>
        <p:spPr>
          <a:xfrm>
            <a:off x="869292" y="3991167"/>
            <a:ext cx="881462" cy="881462"/>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48" name="Ellipse 47">
            <a:extLst>
              <a:ext uri="{FF2B5EF4-FFF2-40B4-BE49-F238E27FC236}">
                <a16:creationId xmlns:a16="http://schemas.microsoft.com/office/drawing/2014/main" id="{62849C70-CA62-49A0-ABCD-07F94FC37258}"/>
              </a:ext>
            </a:extLst>
          </p:cNvPr>
          <p:cNvSpPr/>
          <p:nvPr/>
        </p:nvSpPr>
        <p:spPr>
          <a:xfrm>
            <a:off x="869292" y="2897113"/>
            <a:ext cx="881462" cy="881462"/>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27" name="Rectangle 118">
            <a:extLst>
              <a:ext uri="{FF2B5EF4-FFF2-40B4-BE49-F238E27FC236}">
                <a16:creationId xmlns:a16="http://schemas.microsoft.com/office/drawing/2014/main" id="{0876C129-754E-4C8E-B7BA-7E5F063B114D}"/>
              </a:ext>
            </a:extLst>
          </p:cNvPr>
          <p:cNvSpPr/>
          <p:nvPr/>
        </p:nvSpPr>
        <p:spPr>
          <a:xfrm>
            <a:off x="8358154"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Tree>
    <p:extLst>
      <p:ext uri="{BB962C8B-B14F-4D97-AF65-F5344CB8AC3E}">
        <p14:creationId xmlns:p14="http://schemas.microsoft.com/office/powerpoint/2010/main" val="32077444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4354972-CF88-4E0E-9F6C-00B31C2E3A7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53" name="Content Placeholder 14">
            <a:extLst>
              <a:ext uri="{FF2B5EF4-FFF2-40B4-BE49-F238E27FC236}">
                <a16:creationId xmlns:a16="http://schemas.microsoft.com/office/drawing/2014/main" id="{5F755365-6CF4-4318-96A3-40B9CC623343}"/>
              </a:ext>
            </a:extLst>
          </p:cNvPr>
          <p:cNvSpPr>
            <a:spLocks noGrp="1"/>
          </p:cNvSpPr>
          <p:nvPr>
            <p:ph sz="quarter" idx="10"/>
          </p:nvPr>
        </p:nvSpPr>
        <p:spPr>
          <a:xfrm>
            <a:off x="365682" y="6028266"/>
            <a:ext cx="11460635" cy="221803"/>
          </a:xfrm>
        </p:spPr>
        <p:txBody>
          <a:bodyPr/>
          <a:lstStyle/>
          <a:p>
            <a:endParaRPr lang="en-GB"/>
          </a:p>
        </p:txBody>
      </p:sp>
      <p:cxnSp>
        <p:nvCxnSpPr>
          <p:cNvPr id="64" name="Straight Connector 63">
            <a:extLst>
              <a:ext uri="{FF2B5EF4-FFF2-40B4-BE49-F238E27FC236}">
                <a16:creationId xmlns:a16="http://schemas.microsoft.com/office/drawing/2014/main" id="{97BE7621-5F69-4F6A-AB55-A1789A29F165}"/>
              </a:ext>
            </a:extLst>
          </p:cNvPr>
          <p:cNvCxnSpPr>
            <a:cxnSpLocks/>
          </p:cNvCxnSpPr>
          <p:nvPr/>
        </p:nvCxnSpPr>
        <p:spPr>
          <a:xfrm>
            <a:off x="363450" y="2671809"/>
            <a:ext cx="7804437" cy="0"/>
          </a:xfrm>
          <a:prstGeom prst="line">
            <a:avLst/>
          </a:prstGeom>
          <a:noFill/>
          <a:ln w="22225" cap="flat" cmpd="sng" algn="ctr">
            <a:solidFill>
              <a:srgbClr val="BBBEC2"/>
            </a:solidFill>
            <a:prstDash val="solid"/>
          </a:ln>
          <a:effectLst/>
        </p:spPr>
      </p:cxnSp>
      <p:cxnSp>
        <p:nvCxnSpPr>
          <p:cNvPr id="66" name="Straight Connector 65">
            <a:extLst>
              <a:ext uri="{FF2B5EF4-FFF2-40B4-BE49-F238E27FC236}">
                <a16:creationId xmlns:a16="http://schemas.microsoft.com/office/drawing/2014/main" id="{8FB52CF1-7576-4BB3-8163-53214DD4BD51}"/>
              </a:ext>
            </a:extLst>
          </p:cNvPr>
          <p:cNvCxnSpPr>
            <a:cxnSpLocks/>
          </p:cNvCxnSpPr>
          <p:nvPr/>
        </p:nvCxnSpPr>
        <p:spPr>
          <a:xfrm>
            <a:off x="363450" y="3488623"/>
            <a:ext cx="7804437" cy="0"/>
          </a:xfrm>
          <a:prstGeom prst="line">
            <a:avLst/>
          </a:prstGeom>
          <a:noFill/>
          <a:ln w="22225" cap="flat" cmpd="sng" algn="ctr">
            <a:solidFill>
              <a:srgbClr val="BBBEC2"/>
            </a:solidFill>
            <a:prstDash val="solid"/>
          </a:ln>
          <a:effectLst/>
        </p:spPr>
      </p:cxnSp>
      <p:cxnSp>
        <p:nvCxnSpPr>
          <p:cNvPr id="25" name="Straight Connector 24">
            <a:extLst>
              <a:ext uri="{FF2B5EF4-FFF2-40B4-BE49-F238E27FC236}">
                <a16:creationId xmlns:a16="http://schemas.microsoft.com/office/drawing/2014/main" id="{D0CD7538-EB8C-4767-AB7D-3B144FFC874E}"/>
              </a:ext>
            </a:extLst>
          </p:cNvPr>
          <p:cNvCxnSpPr>
            <a:cxnSpLocks/>
          </p:cNvCxnSpPr>
          <p:nvPr/>
        </p:nvCxnSpPr>
        <p:spPr>
          <a:xfrm>
            <a:off x="363450" y="4305437"/>
            <a:ext cx="7804437" cy="0"/>
          </a:xfrm>
          <a:prstGeom prst="line">
            <a:avLst/>
          </a:prstGeom>
          <a:noFill/>
          <a:ln w="22225" cap="flat" cmpd="sng" algn="ctr">
            <a:solidFill>
              <a:srgbClr val="BBBEC2"/>
            </a:solidFill>
            <a:prstDash val="solid"/>
          </a:ln>
          <a:effectLst/>
        </p:spPr>
      </p:cxnSp>
      <p:cxnSp>
        <p:nvCxnSpPr>
          <p:cNvPr id="32" name="Straight Connector 31">
            <a:extLst>
              <a:ext uri="{FF2B5EF4-FFF2-40B4-BE49-F238E27FC236}">
                <a16:creationId xmlns:a16="http://schemas.microsoft.com/office/drawing/2014/main" id="{C16093BE-8628-4D8F-A94E-A832F00D4497}"/>
              </a:ext>
            </a:extLst>
          </p:cNvPr>
          <p:cNvCxnSpPr>
            <a:cxnSpLocks/>
          </p:cNvCxnSpPr>
          <p:nvPr/>
        </p:nvCxnSpPr>
        <p:spPr>
          <a:xfrm>
            <a:off x="363450" y="5122251"/>
            <a:ext cx="7804437" cy="0"/>
          </a:xfrm>
          <a:prstGeom prst="line">
            <a:avLst/>
          </a:prstGeom>
          <a:noFill/>
          <a:ln w="22225" cap="flat" cmpd="sng" algn="ctr">
            <a:solidFill>
              <a:srgbClr val="BBBEC2"/>
            </a:solidFill>
            <a:prstDash val="solid"/>
          </a:ln>
          <a:effectLst/>
        </p:spPr>
      </p:cxnSp>
      <p:sp>
        <p:nvSpPr>
          <p:cNvPr id="4" name="Inhaltsplatzhalter 3">
            <a:extLst>
              <a:ext uri="{FF2B5EF4-FFF2-40B4-BE49-F238E27FC236}">
                <a16:creationId xmlns:a16="http://schemas.microsoft.com/office/drawing/2014/main" id="{3F1DE40B-9144-4918-95EE-4050009F05FF}"/>
              </a:ext>
            </a:extLst>
          </p:cNvPr>
          <p:cNvSpPr>
            <a:spLocks noGrp="1"/>
          </p:cNvSpPr>
          <p:nvPr>
            <p:ph sz="quarter" idx="14"/>
          </p:nvPr>
        </p:nvSpPr>
        <p:spPr/>
        <p:txBody>
          <a:bodyPr/>
          <a:lstStyle/>
          <a:p>
            <a:endParaRPr lang="en-GB"/>
          </a:p>
        </p:txBody>
      </p:sp>
      <p:sp>
        <p:nvSpPr>
          <p:cNvPr id="34" name="Rectangle 118">
            <a:extLst>
              <a:ext uri="{FF2B5EF4-FFF2-40B4-BE49-F238E27FC236}">
                <a16:creationId xmlns:a16="http://schemas.microsoft.com/office/drawing/2014/main" id="{BD8C0CF8-D484-4A32-A3FE-4EB39ECEE667}"/>
              </a:ext>
            </a:extLst>
          </p:cNvPr>
          <p:cNvSpPr/>
          <p:nvPr/>
        </p:nvSpPr>
        <p:spPr>
          <a:xfrm>
            <a:off x="8356390" y="1913429"/>
            <a:ext cx="3469928" cy="396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47" name="RBContent19">
            <a:extLst>
              <a:ext uri="{FF2B5EF4-FFF2-40B4-BE49-F238E27FC236}">
                <a16:creationId xmlns:a16="http://schemas.microsoft.com/office/drawing/2014/main" id="{344A90BE-139B-4965-8A59-84F0B0461FE3}"/>
              </a:ext>
            </a:extLst>
          </p:cNvPr>
          <p:cNvSpPr txBox="1"/>
          <p:nvPr/>
        </p:nvSpPr>
        <p:spPr>
          <a:xfrm>
            <a:off x="365682" y="2748155"/>
            <a:ext cx="370030" cy="664350"/>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61" name="Rectangle 40">
            <a:extLst>
              <a:ext uri="{FF2B5EF4-FFF2-40B4-BE49-F238E27FC236}">
                <a16:creationId xmlns:a16="http://schemas.microsoft.com/office/drawing/2014/main" id="{0F594B07-0BD7-4AA2-A6E6-D7A929CDE24B}"/>
              </a:ext>
            </a:extLst>
          </p:cNvPr>
          <p:cNvSpPr/>
          <p:nvPr/>
        </p:nvSpPr>
        <p:spPr>
          <a:xfrm>
            <a:off x="1884333" y="2748155"/>
            <a:ext cx="6283554" cy="524246"/>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6" name="Ellipse 35">
            <a:extLst>
              <a:ext uri="{FF2B5EF4-FFF2-40B4-BE49-F238E27FC236}">
                <a16:creationId xmlns:a16="http://schemas.microsoft.com/office/drawing/2014/main" id="{9328827B-CD86-46B1-B5ED-25F97AC95690}"/>
              </a:ext>
            </a:extLst>
          </p:cNvPr>
          <p:cNvSpPr/>
          <p:nvPr/>
        </p:nvSpPr>
        <p:spPr>
          <a:xfrm>
            <a:off x="960050" y="2730243"/>
            <a:ext cx="699946" cy="699946"/>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85" name="RBContent19">
            <a:extLst>
              <a:ext uri="{FF2B5EF4-FFF2-40B4-BE49-F238E27FC236}">
                <a16:creationId xmlns:a16="http://schemas.microsoft.com/office/drawing/2014/main" id="{260D62E5-EE4F-4A43-8F69-ED8B705C215A}"/>
              </a:ext>
            </a:extLst>
          </p:cNvPr>
          <p:cNvSpPr txBox="1"/>
          <p:nvPr/>
        </p:nvSpPr>
        <p:spPr>
          <a:xfrm>
            <a:off x="365682" y="1931228"/>
            <a:ext cx="370030" cy="664350"/>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sp>
        <p:nvSpPr>
          <p:cNvPr id="60" name="Rectangle 40">
            <a:extLst>
              <a:ext uri="{FF2B5EF4-FFF2-40B4-BE49-F238E27FC236}">
                <a16:creationId xmlns:a16="http://schemas.microsoft.com/office/drawing/2014/main" id="{20437787-8268-4060-AF6F-192E378358F0}"/>
              </a:ext>
            </a:extLst>
          </p:cNvPr>
          <p:cNvSpPr/>
          <p:nvPr/>
        </p:nvSpPr>
        <p:spPr>
          <a:xfrm>
            <a:off x="1884333" y="1931228"/>
            <a:ext cx="6283554" cy="524246"/>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7" name="Ellipse 36">
            <a:extLst>
              <a:ext uri="{FF2B5EF4-FFF2-40B4-BE49-F238E27FC236}">
                <a16:creationId xmlns:a16="http://schemas.microsoft.com/office/drawing/2014/main" id="{E1180BEE-693F-4591-BBBB-A3BE63B850A2}"/>
              </a:ext>
            </a:extLst>
          </p:cNvPr>
          <p:cNvSpPr/>
          <p:nvPr/>
        </p:nvSpPr>
        <p:spPr>
          <a:xfrm>
            <a:off x="960049" y="1913429"/>
            <a:ext cx="699946" cy="699946"/>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30" name="RBContent19">
            <a:extLst>
              <a:ext uri="{FF2B5EF4-FFF2-40B4-BE49-F238E27FC236}">
                <a16:creationId xmlns:a16="http://schemas.microsoft.com/office/drawing/2014/main" id="{3D7031D1-4BDE-4CE0-9758-EF3201ACAC24}"/>
              </a:ext>
            </a:extLst>
          </p:cNvPr>
          <p:cNvSpPr txBox="1"/>
          <p:nvPr/>
        </p:nvSpPr>
        <p:spPr>
          <a:xfrm>
            <a:off x="365682" y="4382009"/>
            <a:ext cx="370030" cy="664350"/>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4</a:t>
            </a:r>
          </a:p>
        </p:txBody>
      </p:sp>
      <p:sp>
        <p:nvSpPr>
          <p:cNvPr id="63" name="Rectangle 40">
            <a:extLst>
              <a:ext uri="{FF2B5EF4-FFF2-40B4-BE49-F238E27FC236}">
                <a16:creationId xmlns:a16="http://schemas.microsoft.com/office/drawing/2014/main" id="{F4D4A200-5465-4125-852B-C049FEB3CB98}"/>
              </a:ext>
            </a:extLst>
          </p:cNvPr>
          <p:cNvSpPr/>
          <p:nvPr/>
        </p:nvSpPr>
        <p:spPr>
          <a:xfrm>
            <a:off x="1884333" y="4382009"/>
            <a:ext cx="6283554" cy="524246"/>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38" name="Ellipse 37">
            <a:extLst>
              <a:ext uri="{FF2B5EF4-FFF2-40B4-BE49-F238E27FC236}">
                <a16:creationId xmlns:a16="http://schemas.microsoft.com/office/drawing/2014/main" id="{CAC25096-7898-4A0F-BB01-7C9DD2C34F22}"/>
              </a:ext>
            </a:extLst>
          </p:cNvPr>
          <p:cNvSpPr/>
          <p:nvPr/>
        </p:nvSpPr>
        <p:spPr>
          <a:xfrm>
            <a:off x="960050" y="4363871"/>
            <a:ext cx="699946" cy="699946"/>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57" name="RBContent19">
            <a:extLst>
              <a:ext uri="{FF2B5EF4-FFF2-40B4-BE49-F238E27FC236}">
                <a16:creationId xmlns:a16="http://schemas.microsoft.com/office/drawing/2014/main" id="{20CC4CE2-F651-4611-ABCD-08ADEB9FF142}"/>
              </a:ext>
            </a:extLst>
          </p:cNvPr>
          <p:cNvSpPr txBox="1"/>
          <p:nvPr/>
        </p:nvSpPr>
        <p:spPr>
          <a:xfrm>
            <a:off x="365682" y="3565082"/>
            <a:ext cx="370030" cy="664350"/>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
        <p:nvSpPr>
          <p:cNvPr id="62" name="Rectangle 40">
            <a:extLst>
              <a:ext uri="{FF2B5EF4-FFF2-40B4-BE49-F238E27FC236}">
                <a16:creationId xmlns:a16="http://schemas.microsoft.com/office/drawing/2014/main" id="{4B1E28EA-FC54-4C28-9747-6EFF327A9B22}"/>
              </a:ext>
            </a:extLst>
          </p:cNvPr>
          <p:cNvSpPr/>
          <p:nvPr/>
        </p:nvSpPr>
        <p:spPr>
          <a:xfrm>
            <a:off x="1884333" y="3565082"/>
            <a:ext cx="6283554" cy="524246"/>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40" name="Ellipse 39">
            <a:extLst>
              <a:ext uri="{FF2B5EF4-FFF2-40B4-BE49-F238E27FC236}">
                <a16:creationId xmlns:a16="http://schemas.microsoft.com/office/drawing/2014/main" id="{65EC3529-23BD-448C-A596-6C654ED15702}"/>
              </a:ext>
            </a:extLst>
          </p:cNvPr>
          <p:cNvSpPr/>
          <p:nvPr/>
        </p:nvSpPr>
        <p:spPr>
          <a:xfrm>
            <a:off x="960050" y="3547057"/>
            <a:ext cx="699946" cy="699946"/>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
        <p:nvSpPr>
          <p:cNvPr id="35" name="RBContent19">
            <a:extLst>
              <a:ext uri="{FF2B5EF4-FFF2-40B4-BE49-F238E27FC236}">
                <a16:creationId xmlns:a16="http://schemas.microsoft.com/office/drawing/2014/main" id="{DF3D7BF0-8C76-4B6A-B0C5-294C95BF2439}"/>
              </a:ext>
            </a:extLst>
          </p:cNvPr>
          <p:cNvSpPr txBox="1"/>
          <p:nvPr/>
        </p:nvSpPr>
        <p:spPr>
          <a:xfrm>
            <a:off x="361218" y="5198935"/>
            <a:ext cx="370030" cy="664350"/>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5</a:t>
            </a:r>
          </a:p>
        </p:txBody>
      </p:sp>
      <p:sp>
        <p:nvSpPr>
          <p:cNvPr id="65" name="Rectangle 40">
            <a:extLst>
              <a:ext uri="{FF2B5EF4-FFF2-40B4-BE49-F238E27FC236}">
                <a16:creationId xmlns:a16="http://schemas.microsoft.com/office/drawing/2014/main" id="{143E041E-12A0-4123-910B-2CEA4F2C61A5}"/>
              </a:ext>
            </a:extLst>
          </p:cNvPr>
          <p:cNvSpPr/>
          <p:nvPr/>
        </p:nvSpPr>
        <p:spPr>
          <a:xfrm>
            <a:off x="1884333" y="5198935"/>
            <a:ext cx="6283554" cy="524246"/>
          </a:xfrm>
          <a:prstGeom prst="rect">
            <a:avLst/>
          </a:prstGeom>
        </p:spPr>
        <p:txBody>
          <a:bodyPr wrap="square" lIns="0" tIns="0" rIns="0" bIns="0">
            <a:spAutoFit/>
          </a:bodyPr>
          <a:lstStyle/>
          <a:p>
            <a:pPr marL="0" lvl="1" indent="0">
              <a:spcBef>
                <a:spcPts val="600"/>
              </a:spcBef>
              <a:buClr>
                <a:schemeClr val="tx2"/>
              </a:buClr>
              <a:buNone/>
            </a:pPr>
            <a:r>
              <a:rPr lang="en-GB" b="1"/>
              <a:t>Single-line head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one line </a:t>
            </a:r>
          </a:p>
        </p:txBody>
      </p:sp>
      <p:sp>
        <p:nvSpPr>
          <p:cNvPr id="42" name="Ellipse 41">
            <a:extLst>
              <a:ext uri="{FF2B5EF4-FFF2-40B4-BE49-F238E27FC236}">
                <a16:creationId xmlns:a16="http://schemas.microsoft.com/office/drawing/2014/main" id="{45FBC75C-B296-4CC6-BBE4-770695BFD89B}"/>
              </a:ext>
            </a:extLst>
          </p:cNvPr>
          <p:cNvSpPr/>
          <p:nvPr/>
        </p:nvSpPr>
        <p:spPr>
          <a:xfrm>
            <a:off x="960050" y="5180683"/>
            <a:ext cx="699946" cy="699946"/>
          </a:xfrm>
          <a:prstGeom prst="ellipse">
            <a:avLst/>
          </a:prstGeom>
          <a:solidFill>
            <a:srgbClr val="F2F2F2"/>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GB" sz="1600">
                <a:solidFill>
                  <a:schemeClr val="tx1"/>
                </a:solidFill>
              </a:rPr>
              <a:t>Icon</a:t>
            </a:r>
          </a:p>
        </p:txBody>
      </p:sp>
    </p:spTree>
    <p:extLst>
      <p:ext uri="{BB962C8B-B14F-4D97-AF65-F5344CB8AC3E}">
        <p14:creationId xmlns:p14="http://schemas.microsoft.com/office/powerpoint/2010/main" val="40276553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bLeanShape Left U-Shape 12">
            <a:extLst>
              <a:ext uri="{FF2B5EF4-FFF2-40B4-BE49-F238E27FC236}">
                <a16:creationId xmlns:a16="http://schemas.microsoft.com/office/drawing/2014/main" id="{26E32D5E-341D-40C2-818E-CFEA242B4E67}"/>
              </a:ext>
            </a:extLst>
          </p:cNvPr>
          <p:cNvSpPr/>
          <p:nvPr/>
        </p:nvSpPr>
        <p:spPr>
          <a:xfrm>
            <a:off x="365682" y="2243636"/>
            <a:ext cx="3714533"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31" name="Text 15">
            <a:extLst>
              <a:ext uri="{FF2B5EF4-FFF2-40B4-BE49-F238E27FC236}">
                <a16:creationId xmlns:a16="http://schemas.microsoft.com/office/drawing/2014/main" id="{31F578A5-9792-42D5-8ABD-84A27331D5E4}"/>
              </a:ext>
            </a:extLst>
          </p:cNvPr>
          <p:cNvSpPr>
            <a:spLocks noChangeArrowheads="1"/>
          </p:cNvSpPr>
          <p:nvPr/>
        </p:nvSpPr>
        <p:spPr bwMode="auto">
          <a:xfrm>
            <a:off x="363918" y="1919787"/>
            <a:ext cx="300900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2" name="Text 15">
            <a:extLst>
              <a:ext uri="{FF2B5EF4-FFF2-40B4-BE49-F238E27FC236}">
                <a16:creationId xmlns:a16="http://schemas.microsoft.com/office/drawing/2014/main" id="{BB8EC391-9EA8-476F-BBBB-49FCB0ED4B42}"/>
              </a:ext>
            </a:extLst>
          </p:cNvPr>
          <p:cNvSpPr>
            <a:spLocks noChangeArrowheads="1"/>
          </p:cNvSpPr>
          <p:nvPr/>
        </p:nvSpPr>
        <p:spPr bwMode="auto">
          <a:xfrm>
            <a:off x="4238732" y="1919786"/>
            <a:ext cx="3030339"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3" name="Text 15">
            <a:extLst>
              <a:ext uri="{FF2B5EF4-FFF2-40B4-BE49-F238E27FC236}">
                <a16:creationId xmlns:a16="http://schemas.microsoft.com/office/drawing/2014/main" id="{6AC99035-723D-4010-9934-DD0FED2B35AC}"/>
              </a:ext>
            </a:extLst>
          </p:cNvPr>
          <p:cNvSpPr>
            <a:spLocks noChangeArrowheads="1"/>
          </p:cNvSpPr>
          <p:nvPr/>
        </p:nvSpPr>
        <p:spPr bwMode="auto">
          <a:xfrm>
            <a:off x="8111783" y="1919786"/>
            <a:ext cx="3064615"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5" name="Rectangle 29">
            <a:extLst>
              <a:ext uri="{FF2B5EF4-FFF2-40B4-BE49-F238E27FC236}">
                <a16:creationId xmlns:a16="http://schemas.microsoft.com/office/drawing/2014/main" id="{2C21C14F-1C2A-4D46-B119-EEB4625F5CFE}"/>
              </a:ext>
            </a:extLst>
          </p:cNvPr>
          <p:cNvSpPr/>
          <p:nvPr/>
        </p:nvSpPr>
        <p:spPr>
          <a:xfrm>
            <a:off x="365682" y="2358642"/>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9" name="Rectangle 29">
            <a:extLst>
              <a:ext uri="{FF2B5EF4-FFF2-40B4-BE49-F238E27FC236}">
                <a16:creationId xmlns:a16="http://schemas.microsoft.com/office/drawing/2014/main" id="{5832AAC0-81E0-49D1-99E4-3208233383A1}"/>
              </a:ext>
            </a:extLst>
          </p:cNvPr>
          <p:cNvSpPr/>
          <p:nvPr/>
        </p:nvSpPr>
        <p:spPr>
          <a:xfrm>
            <a:off x="4238733" y="2317240"/>
            <a:ext cx="3617242"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7" name="RbLeanShape Left U-Shape 12">
            <a:extLst>
              <a:ext uri="{FF2B5EF4-FFF2-40B4-BE49-F238E27FC236}">
                <a16:creationId xmlns:a16="http://schemas.microsoft.com/office/drawing/2014/main" id="{AC2D064F-586D-420E-A66F-9004F1EDFE23}"/>
              </a:ext>
            </a:extLst>
          </p:cNvPr>
          <p:cNvSpPr/>
          <p:nvPr/>
        </p:nvSpPr>
        <p:spPr>
          <a:xfrm>
            <a:off x="4238733" y="2243636"/>
            <a:ext cx="3714533"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28" name="RbLeanShape Left U-Shape 12">
            <a:extLst>
              <a:ext uri="{FF2B5EF4-FFF2-40B4-BE49-F238E27FC236}">
                <a16:creationId xmlns:a16="http://schemas.microsoft.com/office/drawing/2014/main" id="{0CA6735F-4F90-46EF-A39C-FD535F9F9BF2}"/>
              </a:ext>
            </a:extLst>
          </p:cNvPr>
          <p:cNvSpPr/>
          <p:nvPr/>
        </p:nvSpPr>
        <p:spPr>
          <a:xfrm>
            <a:off x="8111783" y="2243636"/>
            <a:ext cx="3714533"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30" name="Rectangle 29">
            <a:extLst>
              <a:ext uri="{FF2B5EF4-FFF2-40B4-BE49-F238E27FC236}">
                <a16:creationId xmlns:a16="http://schemas.microsoft.com/office/drawing/2014/main" id="{07B29280-7A1B-4967-9095-6AE1766358C3}"/>
              </a:ext>
            </a:extLst>
          </p:cNvPr>
          <p:cNvSpPr/>
          <p:nvPr/>
        </p:nvSpPr>
        <p:spPr>
          <a:xfrm>
            <a:off x="8111783" y="2317240"/>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0" name="Rechteck 9">
            <a:extLst>
              <a:ext uri="{FF2B5EF4-FFF2-40B4-BE49-F238E27FC236}">
                <a16:creationId xmlns:a16="http://schemas.microsoft.com/office/drawing/2014/main" id="{56A42206-D6C6-40B8-90B5-08A8729F9F51}"/>
              </a:ext>
            </a:extLst>
          </p:cNvPr>
          <p:cNvSpPr/>
          <p:nvPr/>
        </p:nvSpPr>
        <p:spPr>
          <a:xfrm>
            <a:off x="3401978" y="1841768"/>
            <a:ext cx="447797"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hteck 43">
            <a:extLst>
              <a:ext uri="{FF2B5EF4-FFF2-40B4-BE49-F238E27FC236}">
                <a16:creationId xmlns:a16="http://schemas.microsoft.com/office/drawing/2014/main" id="{6731DF62-A5C2-45FE-8AD8-0C30828416B3}"/>
              </a:ext>
            </a:extLst>
          </p:cNvPr>
          <p:cNvSpPr/>
          <p:nvPr/>
        </p:nvSpPr>
        <p:spPr>
          <a:xfrm>
            <a:off x="7298123" y="1878795"/>
            <a:ext cx="447797"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hteck 49">
            <a:extLst>
              <a:ext uri="{FF2B5EF4-FFF2-40B4-BE49-F238E27FC236}">
                <a16:creationId xmlns:a16="http://schemas.microsoft.com/office/drawing/2014/main" id="{6A3FDFD3-9F2D-462A-8061-D2613DE561DE}"/>
              </a:ext>
            </a:extLst>
          </p:cNvPr>
          <p:cNvSpPr/>
          <p:nvPr/>
        </p:nvSpPr>
        <p:spPr>
          <a:xfrm>
            <a:off x="11166565" y="1878795"/>
            <a:ext cx="447797"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BContent19">
            <a:extLst>
              <a:ext uri="{FF2B5EF4-FFF2-40B4-BE49-F238E27FC236}">
                <a16:creationId xmlns:a16="http://schemas.microsoft.com/office/drawing/2014/main" id="{F12AABE9-9DBE-4B96-9163-BEC902113BA7}"/>
              </a:ext>
            </a:extLst>
          </p:cNvPr>
          <p:cNvSpPr txBox="1"/>
          <p:nvPr/>
        </p:nvSpPr>
        <p:spPr>
          <a:xfrm>
            <a:off x="3440862" y="1804834"/>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sp>
        <p:nvSpPr>
          <p:cNvPr id="36" name="RBContent19">
            <a:extLst>
              <a:ext uri="{FF2B5EF4-FFF2-40B4-BE49-F238E27FC236}">
                <a16:creationId xmlns:a16="http://schemas.microsoft.com/office/drawing/2014/main" id="{0AEFD062-D1A5-4965-9CEC-1F1CE66A0DEF}"/>
              </a:ext>
            </a:extLst>
          </p:cNvPr>
          <p:cNvSpPr txBox="1"/>
          <p:nvPr/>
        </p:nvSpPr>
        <p:spPr>
          <a:xfrm>
            <a:off x="7337007" y="1804834"/>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37" name="RBContent19">
            <a:extLst>
              <a:ext uri="{FF2B5EF4-FFF2-40B4-BE49-F238E27FC236}">
                <a16:creationId xmlns:a16="http://schemas.microsoft.com/office/drawing/2014/main" id="{8E06BBAD-0046-414F-A769-4172186ABF23}"/>
              </a:ext>
            </a:extLst>
          </p:cNvPr>
          <p:cNvSpPr txBox="1"/>
          <p:nvPr/>
        </p:nvSpPr>
        <p:spPr>
          <a:xfrm>
            <a:off x="11215281" y="1804834"/>
            <a:ext cx="370030"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Tree>
    <p:extLst>
      <p:ext uri="{BB962C8B-B14F-4D97-AF65-F5344CB8AC3E}">
        <p14:creationId xmlns:p14="http://schemas.microsoft.com/office/powerpoint/2010/main" val="7771501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0" name="RbLeanShape Left U-Shape 12">
            <a:extLst>
              <a:ext uri="{FF2B5EF4-FFF2-40B4-BE49-F238E27FC236}">
                <a16:creationId xmlns:a16="http://schemas.microsoft.com/office/drawing/2014/main" id="{26E32D5E-341D-40C2-818E-CFEA242B4E67}"/>
              </a:ext>
            </a:extLst>
          </p:cNvPr>
          <p:cNvSpPr/>
          <p:nvPr/>
        </p:nvSpPr>
        <p:spPr>
          <a:xfrm>
            <a:off x="365173" y="2243636"/>
            <a:ext cx="2640577"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31" name="Text 15">
            <a:extLst>
              <a:ext uri="{FF2B5EF4-FFF2-40B4-BE49-F238E27FC236}">
                <a16:creationId xmlns:a16="http://schemas.microsoft.com/office/drawing/2014/main" id="{31F578A5-9792-42D5-8ABD-84A27331D5E4}"/>
              </a:ext>
            </a:extLst>
          </p:cNvPr>
          <p:cNvSpPr>
            <a:spLocks noChangeArrowheads="1"/>
          </p:cNvSpPr>
          <p:nvPr/>
        </p:nvSpPr>
        <p:spPr bwMode="auto">
          <a:xfrm>
            <a:off x="363919" y="1950565"/>
            <a:ext cx="2187329" cy="246221"/>
          </a:xfrm>
          <a:prstGeom prst="rect">
            <a:avLst/>
          </a:prstGeom>
          <a:noFill/>
          <a:ln w="6350">
            <a:noFill/>
            <a:miter lim="800000"/>
            <a:headEnd/>
            <a:tailEnd/>
          </a:ln>
        </p:spPr>
        <p:txBody>
          <a:bodyPr wrap="square" lIns="0" tIns="0" rIns="0" bIns="0">
            <a:spAutoFit/>
          </a:bodyPr>
          <a:lstStyle/>
          <a:p>
            <a:pPr defTabSz="330200"/>
            <a:r>
              <a:rPr lang="en-GB" sz="1600" b="1">
                <a:latin typeface="+mj-lt"/>
                <a:ea typeface="PMingLiU" pitchFamily="18" charset="-120"/>
                <a:cs typeface="Arial" panose="020B0604020202020204" pitchFamily="34" charset="0"/>
              </a:rPr>
              <a:t>Single-line header</a:t>
            </a:r>
          </a:p>
        </p:txBody>
      </p:sp>
      <p:sp>
        <p:nvSpPr>
          <p:cNvPr id="35" name="Rectangle 29">
            <a:extLst>
              <a:ext uri="{FF2B5EF4-FFF2-40B4-BE49-F238E27FC236}">
                <a16:creationId xmlns:a16="http://schemas.microsoft.com/office/drawing/2014/main" id="{2C21C14F-1C2A-4D46-B119-EEB4625F5CFE}"/>
              </a:ext>
            </a:extLst>
          </p:cNvPr>
          <p:cNvSpPr/>
          <p:nvPr/>
        </p:nvSpPr>
        <p:spPr>
          <a:xfrm>
            <a:off x="365173" y="2358642"/>
            <a:ext cx="2559158"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10" name="Rechteck 9">
            <a:extLst>
              <a:ext uri="{FF2B5EF4-FFF2-40B4-BE49-F238E27FC236}">
                <a16:creationId xmlns:a16="http://schemas.microsoft.com/office/drawing/2014/main" id="{56A42206-D6C6-40B8-90B5-08A8729F9F51}"/>
              </a:ext>
            </a:extLst>
          </p:cNvPr>
          <p:cNvSpPr/>
          <p:nvPr/>
        </p:nvSpPr>
        <p:spPr>
          <a:xfrm>
            <a:off x="2523607" y="1841768"/>
            <a:ext cx="318329"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BContent19">
            <a:extLst>
              <a:ext uri="{FF2B5EF4-FFF2-40B4-BE49-F238E27FC236}">
                <a16:creationId xmlns:a16="http://schemas.microsoft.com/office/drawing/2014/main" id="{F12AABE9-9DBE-4B96-9163-BEC902113BA7}"/>
              </a:ext>
            </a:extLst>
          </p:cNvPr>
          <p:cNvSpPr txBox="1"/>
          <p:nvPr/>
        </p:nvSpPr>
        <p:spPr>
          <a:xfrm>
            <a:off x="2551247" y="1804834"/>
            <a:ext cx="373083" cy="664797"/>
          </a:xfrm>
          <a:prstGeom prst="rect">
            <a:avLst/>
          </a:prstGeom>
          <a:solidFill>
            <a:schemeClr val="bg1"/>
          </a:solid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sp>
        <p:nvSpPr>
          <p:cNvPr id="46" name="RbLeanShape Left U-Shape 12">
            <a:extLst>
              <a:ext uri="{FF2B5EF4-FFF2-40B4-BE49-F238E27FC236}">
                <a16:creationId xmlns:a16="http://schemas.microsoft.com/office/drawing/2014/main" id="{3924B5D8-B76A-43F0-817F-49D499130A04}"/>
              </a:ext>
            </a:extLst>
          </p:cNvPr>
          <p:cNvSpPr/>
          <p:nvPr/>
        </p:nvSpPr>
        <p:spPr>
          <a:xfrm>
            <a:off x="3305362" y="2243636"/>
            <a:ext cx="2640577"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47" name="Text 15">
            <a:extLst>
              <a:ext uri="{FF2B5EF4-FFF2-40B4-BE49-F238E27FC236}">
                <a16:creationId xmlns:a16="http://schemas.microsoft.com/office/drawing/2014/main" id="{39F8A876-56C6-4C57-8F3A-BE123B48D550}"/>
              </a:ext>
            </a:extLst>
          </p:cNvPr>
          <p:cNvSpPr>
            <a:spLocks noChangeArrowheads="1"/>
          </p:cNvSpPr>
          <p:nvPr/>
        </p:nvSpPr>
        <p:spPr bwMode="auto">
          <a:xfrm>
            <a:off x="3304109" y="1950565"/>
            <a:ext cx="2159686" cy="246221"/>
          </a:xfrm>
          <a:prstGeom prst="rect">
            <a:avLst/>
          </a:prstGeom>
          <a:noFill/>
          <a:ln w="6350">
            <a:noFill/>
            <a:miter lim="800000"/>
            <a:headEnd/>
            <a:tailEnd/>
          </a:ln>
        </p:spPr>
        <p:txBody>
          <a:bodyPr wrap="square" lIns="0" tIns="0" rIns="0" bIns="0">
            <a:spAutoFit/>
          </a:bodyPr>
          <a:lstStyle/>
          <a:p>
            <a:pPr defTabSz="330200"/>
            <a:r>
              <a:rPr lang="en-GB" sz="1600" b="1">
                <a:latin typeface="+mj-lt"/>
                <a:ea typeface="PMingLiU" pitchFamily="18" charset="-120"/>
                <a:cs typeface="Arial" panose="020B0604020202020204" pitchFamily="34" charset="0"/>
              </a:rPr>
              <a:t>Single-line header</a:t>
            </a:r>
          </a:p>
        </p:txBody>
      </p:sp>
      <p:sp>
        <p:nvSpPr>
          <p:cNvPr id="48" name="Rectangle 29">
            <a:extLst>
              <a:ext uri="{FF2B5EF4-FFF2-40B4-BE49-F238E27FC236}">
                <a16:creationId xmlns:a16="http://schemas.microsoft.com/office/drawing/2014/main" id="{DEA69B74-4D6F-4BB2-A452-60181C857C3E}"/>
              </a:ext>
            </a:extLst>
          </p:cNvPr>
          <p:cNvSpPr/>
          <p:nvPr/>
        </p:nvSpPr>
        <p:spPr>
          <a:xfrm>
            <a:off x="3305362" y="2358642"/>
            <a:ext cx="2559158"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9" name="Rechteck 48">
            <a:extLst>
              <a:ext uri="{FF2B5EF4-FFF2-40B4-BE49-F238E27FC236}">
                <a16:creationId xmlns:a16="http://schemas.microsoft.com/office/drawing/2014/main" id="{42D099BF-BBAB-4F34-8493-2CD020645810}"/>
              </a:ext>
            </a:extLst>
          </p:cNvPr>
          <p:cNvSpPr/>
          <p:nvPr/>
        </p:nvSpPr>
        <p:spPr>
          <a:xfrm>
            <a:off x="5463796" y="1841768"/>
            <a:ext cx="318329"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BContent19">
            <a:extLst>
              <a:ext uri="{FF2B5EF4-FFF2-40B4-BE49-F238E27FC236}">
                <a16:creationId xmlns:a16="http://schemas.microsoft.com/office/drawing/2014/main" id="{4D42A525-841F-4940-A369-B7E362E56445}"/>
              </a:ext>
            </a:extLst>
          </p:cNvPr>
          <p:cNvSpPr txBox="1"/>
          <p:nvPr/>
        </p:nvSpPr>
        <p:spPr>
          <a:xfrm>
            <a:off x="5491438" y="1804834"/>
            <a:ext cx="373082" cy="664797"/>
          </a:xfrm>
          <a:prstGeom prst="rect">
            <a:avLst/>
          </a:prstGeom>
          <a:solidFill>
            <a:schemeClr val="bg1"/>
          </a:solid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53" name="RbLeanShape Left U-Shape 12">
            <a:extLst>
              <a:ext uri="{FF2B5EF4-FFF2-40B4-BE49-F238E27FC236}">
                <a16:creationId xmlns:a16="http://schemas.microsoft.com/office/drawing/2014/main" id="{619A73EB-27C1-40E9-9724-FC2EA8D98678}"/>
              </a:ext>
            </a:extLst>
          </p:cNvPr>
          <p:cNvSpPr/>
          <p:nvPr/>
        </p:nvSpPr>
        <p:spPr>
          <a:xfrm>
            <a:off x="9185739" y="2243636"/>
            <a:ext cx="2640577"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54" name="Text 15">
            <a:extLst>
              <a:ext uri="{FF2B5EF4-FFF2-40B4-BE49-F238E27FC236}">
                <a16:creationId xmlns:a16="http://schemas.microsoft.com/office/drawing/2014/main" id="{F5694562-C9EB-4D1B-B80D-5632D29305D9}"/>
              </a:ext>
            </a:extLst>
          </p:cNvPr>
          <p:cNvSpPr>
            <a:spLocks noChangeArrowheads="1"/>
          </p:cNvSpPr>
          <p:nvPr/>
        </p:nvSpPr>
        <p:spPr bwMode="auto">
          <a:xfrm>
            <a:off x="9184486" y="1950565"/>
            <a:ext cx="2132046" cy="246221"/>
          </a:xfrm>
          <a:prstGeom prst="rect">
            <a:avLst/>
          </a:prstGeom>
          <a:noFill/>
          <a:ln w="6350">
            <a:noFill/>
            <a:miter lim="800000"/>
            <a:headEnd/>
            <a:tailEnd/>
          </a:ln>
        </p:spPr>
        <p:txBody>
          <a:bodyPr wrap="square" lIns="0" tIns="0" rIns="0" bIns="0">
            <a:spAutoFit/>
          </a:bodyPr>
          <a:lstStyle/>
          <a:p>
            <a:pPr defTabSz="330200"/>
            <a:r>
              <a:rPr lang="en-GB" sz="1600" b="1">
                <a:latin typeface="+mj-lt"/>
                <a:ea typeface="PMingLiU" pitchFamily="18" charset="-120"/>
                <a:cs typeface="Arial" panose="020B0604020202020204" pitchFamily="34" charset="0"/>
              </a:rPr>
              <a:t>Single-line header</a:t>
            </a:r>
          </a:p>
        </p:txBody>
      </p:sp>
      <p:sp>
        <p:nvSpPr>
          <p:cNvPr id="55" name="Rectangle 29">
            <a:extLst>
              <a:ext uri="{FF2B5EF4-FFF2-40B4-BE49-F238E27FC236}">
                <a16:creationId xmlns:a16="http://schemas.microsoft.com/office/drawing/2014/main" id="{F7C18962-9BF9-47A0-8438-9AC43FE5349A}"/>
              </a:ext>
            </a:extLst>
          </p:cNvPr>
          <p:cNvSpPr/>
          <p:nvPr/>
        </p:nvSpPr>
        <p:spPr>
          <a:xfrm>
            <a:off x="9185739" y="2358642"/>
            <a:ext cx="2559158"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56" name="Rechteck 55">
            <a:extLst>
              <a:ext uri="{FF2B5EF4-FFF2-40B4-BE49-F238E27FC236}">
                <a16:creationId xmlns:a16="http://schemas.microsoft.com/office/drawing/2014/main" id="{00ADCC90-E7D6-48D5-B88D-CA14BB8D3C19}"/>
              </a:ext>
            </a:extLst>
          </p:cNvPr>
          <p:cNvSpPr/>
          <p:nvPr/>
        </p:nvSpPr>
        <p:spPr>
          <a:xfrm>
            <a:off x="11344173" y="1841768"/>
            <a:ext cx="318329"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BContent19">
            <a:extLst>
              <a:ext uri="{FF2B5EF4-FFF2-40B4-BE49-F238E27FC236}">
                <a16:creationId xmlns:a16="http://schemas.microsoft.com/office/drawing/2014/main" id="{1CF6F38F-732D-40E5-84BE-34BD48C32143}"/>
              </a:ext>
            </a:extLst>
          </p:cNvPr>
          <p:cNvSpPr txBox="1"/>
          <p:nvPr/>
        </p:nvSpPr>
        <p:spPr>
          <a:xfrm>
            <a:off x="11371814" y="1804834"/>
            <a:ext cx="373081" cy="664797"/>
          </a:xfrm>
          <a:prstGeom prst="rect">
            <a:avLst/>
          </a:prstGeom>
          <a:solidFill>
            <a:schemeClr val="bg1"/>
          </a:solid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4</a:t>
            </a:r>
          </a:p>
        </p:txBody>
      </p:sp>
      <p:sp>
        <p:nvSpPr>
          <p:cNvPr id="59" name="RbLeanShape Left U-Shape 12">
            <a:extLst>
              <a:ext uri="{FF2B5EF4-FFF2-40B4-BE49-F238E27FC236}">
                <a16:creationId xmlns:a16="http://schemas.microsoft.com/office/drawing/2014/main" id="{A6497ED3-D261-4681-B439-81C14E6F3FAC}"/>
              </a:ext>
            </a:extLst>
          </p:cNvPr>
          <p:cNvSpPr/>
          <p:nvPr/>
        </p:nvSpPr>
        <p:spPr>
          <a:xfrm>
            <a:off x="6245551" y="2243636"/>
            <a:ext cx="2640577" cy="363699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60" name="Text 15">
            <a:extLst>
              <a:ext uri="{FF2B5EF4-FFF2-40B4-BE49-F238E27FC236}">
                <a16:creationId xmlns:a16="http://schemas.microsoft.com/office/drawing/2014/main" id="{EDDB295B-CF9A-444E-9B7F-ABC7A3761757}"/>
              </a:ext>
            </a:extLst>
          </p:cNvPr>
          <p:cNvSpPr>
            <a:spLocks noChangeArrowheads="1"/>
          </p:cNvSpPr>
          <p:nvPr/>
        </p:nvSpPr>
        <p:spPr bwMode="auto">
          <a:xfrm>
            <a:off x="6244297" y="1950565"/>
            <a:ext cx="2159687" cy="246221"/>
          </a:xfrm>
          <a:prstGeom prst="rect">
            <a:avLst/>
          </a:prstGeom>
          <a:noFill/>
          <a:ln w="6350">
            <a:noFill/>
            <a:miter lim="800000"/>
            <a:headEnd/>
            <a:tailEnd/>
          </a:ln>
        </p:spPr>
        <p:txBody>
          <a:bodyPr wrap="square" lIns="0" tIns="0" rIns="0" bIns="0">
            <a:spAutoFit/>
          </a:bodyPr>
          <a:lstStyle/>
          <a:p>
            <a:pPr defTabSz="330200"/>
            <a:r>
              <a:rPr lang="en-GB" sz="1600" b="1">
                <a:latin typeface="+mj-lt"/>
                <a:ea typeface="PMingLiU" pitchFamily="18" charset="-120"/>
                <a:cs typeface="Arial" panose="020B0604020202020204" pitchFamily="34" charset="0"/>
              </a:rPr>
              <a:t>Single-line header</a:t>
            </a:r>
          </a:p>
        </p:txBody>
      </p:sp>
      <p:sp>
        <p:nvSpPr>
          <p:cNvPr id="61" name="Rectangle 29">
            <a:extLst>
              <a:ext uri="{FF2B5EF4-FFF2-40B4-BE49-F238E27FC236}">
                <a16:creationId xmlns:a16="http://schemas.microsoft.com/office/drawing/2014/main" id="{E919DFFC-CE78-4131-9BF7-1470931C08F2}"/>
              </a:ext>
            </a:extLst>
          </p:cNvPr>
          <p:cNvSpPr/>
          <p:nvPr/>
        </p:nvSpPr>
        <p:spPr>
          <a:xfrm>
            <a:off x="6245551" y="2358642"/>
            <a:ext cx="2559158"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2" name="Rechteck 61">
            <a:extLst>
              <a:ext uri="{FF2B5EF4-FFF2-40B4-BE49-F238E27FC236}">
                <a16:creationId xmlns:a16="http://schemas.microsoft.com/office/drawing/2014/main" id="{4972F32E-9ABD-4D66-8C7D-0B5456901580}"/>
              </a:ext>
            </a:extLst>
          </p:cNvPr>
          <p:cNvSpPr/>
          <p:nvPr/>
        </p:nvSpPr>
        <p:spPr>
          <a:xfrm>
            <a:off x="8403985" y="1841768"/>
            <a:ext cx="318329" cy="5168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BContent19">
            <a:extLst>
              <a:ext uri="{FF2B5EF4-FFF2-40B4-BE49-F238E27FC236}">
                <a16:creationId xmlns:a16="http://schemas.microsoft.com/office/drawing/2014/main" id="{84F3E450-6FC8-498E-A03E-144F02CA2814}"/>
              </a:ext>
            </a:extLst>
          </p:cNvPr>
          <p:cNvSpPr txBox="1"/>
          <p:nvPr/>
        </p:nvSpPr>
        <p:spPr>
          <a:xfrm>
            <a:off x="8431625" y="1804834"/>
            <a:ext cx="373081" cy="664797"/>
          </a:xfrm>
          <a:prstGeom prst="rect">
            <a:avLst/>
          </a:prstGeom>
          <a:solidFill>
            <a:schemeClr val="bg1"/>
          </a:solid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Tree>
    <p:extLst>
      <p:ext uri="{BB962C8B-B14F-4D97-AF65-F5344CB8AC3E}">
        <p14:creationId xmlns:p14="http://schemas.microsoft.com/office/powerpoint/2010/main" val="27407617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7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3" name="Rectangle 27">
            <a:extLst>
              <a:ext uri="{FF2B5EF4-FFF2-40B4-BE49-F238E27FC236}">
                <a16:creationId xmlns:a16="http://schemas.microsoft.com/office/drawing/2014/main" id="{E87C77B6-5054-45ED-AA13-B10F13E62838}"/>
              </a:ext>
            </a:extLst>
          </p:cNvPr>
          <p:cNvSpPr/>
          <p:nvPr/>
        </p:nvSpPr>
        <p:spPr>
          <a:xfrm>
            <a:off x="1440906" y="2514600"/>
            <a:ext cx="1828800"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0" b="1">
              <a:solidFill>
                <a:srgbClr val="90D214"/>
              </a:solidFill>
            </a:endParaRPr>
          </a:p>
        </p:txBody>
      </p:sp>
      <p:sp>
        <p:nvSpPr>
          <p:cNvPr id="29" name="RBContent19">
            <a:extLst>
              <a:ext uri="{FF2B5EF4-FFF2-40B4-BE49-F238E27FC236}">
                <a16:creationId xmlns:a16="http://schemas.microsoft.com/office/drawing/2014/main" id="{35E37905-2DA6-41A3-90CF-559994319D5D}"/>
              </a:ext>
            </a:extLst>
          </p:cNvPr>
          <p:cNvSpPr txBox="1"/>
          <p:nvPr/>
        </p:nvSpPr>
        <p:spPr>
          <a:xfrm>
            <a:off x="1440906" y="2681407"/>
            <a:ext cx="681122" cy="1661993"/>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12000" b="1">
                <a:solidFill>
                  <a:schemeClr val="bg1">
                    <a:lumMod val="75000"/>
                  </a:schemeClr>
                </a:solidFill>
                <a:latin typeface="+mj-lt"/>
              </a:rPr>
              <a:t>1</a:t>
            </a:r>
          </a:p>
        </p:txBody>
      </p:sp>
      <p:sp>
        <p:nvSpPr>
          <p:cNvPr id="34" name="Rectangle 79">
            <a:extLst>
              <a:ext uri="{FF2B5EF4-FFF2-40B4-BE49-F238E27FC236}">
                <a16:creationId xmlns:a16="http://schemas.microsoft.com/office/drawing/2014/main" id="{4B8DD27F-A3E5-41AD-85FA-83B4DC75CF0A}"/>
              </a:ext>
            </a:extLst>
          </p:cNvPr>
          <p:cNvSpPr>
            <a:spLocks/>
          </p:cNvSpPr>
          <p:nvPr/>
        </p:nvSpPr>
        <p:spPr>
          <a:xfrm>
            <a:off x="1817608" y="2876511"/>
            <a:ext cx="1452097" cy="1107996"/>
          </a:xfrm>
          <a:prstGeom prst="rect">
            <a:avLst/>
          </a:prstGeom>
        </p:spPr>
        <p:txBody>
          <a:bodyPr vert="horz" wrap="square" lIns="0" tIns="0" rIns="0" bIns="0">
            <a:spAutoFit/>
          </a:bodyPr>
          <a:lstStyle/>
          <a:p>
            <a:pPr marL="0" lvl="3" algn="r" fontAlgn="base">
              <a:lnSpc>
                <a:spcPct val="90000"/>
              </a:lnSpc>
              <a:spcBef>
                <a:spcPts val="181"/>
              </a:spcBef>
              <a:spcAft>
                <a:spcPct val="0"/>
              </a:spcAft>
              <a:buClr>
                <a:srgbClr val="A2A2A2"/>
              </a:buClr>
              <a:buSzPct val="100000"/>
              <a:defRPr/>
            </a:pPr>
            <a:r>
              <a:rPr lang="en-GB" sz="1600"/>
              <a:t>Lorem ipsum dolor sit amet, consetetur </a:t>
            </a:r>
            <a:r>
              <a:rPr lang="en-GB" sz="1600" b="1"/>
              <a:t>sadipscing elitr</a:t>
            </a:r>
          </a:p>
        </p:txBody>
      </p:sp>
      <p:sp>
        <p:nvSpPr>
          <p:cNvPr id="25" name="Rectangle 27">
            <a:extLst>
              <a:ext uri="{FF2B5EF4-FFF2-40B4-BE49-F238E27FC236}">
                <a16:creationId xmlns:a16="http://schemas.microsoft.com/office/drawing/2014/main" id="{EB816EA0-2E0F-4858-B3AB-9B5B588DD4BB}"/>
              </a:ext>
            </a:extLst>
          </p:cNvPr>
          <p:cNvSpPr/>
          <p:nvPr/>
        </p:nvSpPr>
        <p:spPr>
          <a:xfrm>
            <a:off x="3935291" y="2514600"/>
            <a:ext cx="1828800"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0" b="1">
              <a:solidFill>
                <a:srgbClr val="90D214"/>
              </a:solidFill>
            </a:endParaRPr>
          </a:p>
        </p:txBody>
      </p:sp>
      <p:sp>
        <p:nvSpPr>
          <p:cNvPr id="31" name="RBContent19">
            <a:extLst>
              <a:ext uri="{FF2B5EF4-FFF2-40B4-BE49-F238E27FC236}">
                <a16:creationId xmlns:a16="http://schemas.microsoft.com/office/drawing/2014/main" id="{58566683-6EA0-497E-A97E-CE0FCD88991C}"/>
              </a:ext>
            </a:extLst>
          </p:cNvPr>
          <p:cNvSpPr txBox="1"/>
          <p:nvPr/>
        </p:nvSpPr>
        <p:spPr>
          <a:xfrm>
            <a:off x="3935290" y="2681407"/>
            <a:ext cx="681122" cy="1661993"/>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12000" b="1">
                <a:solidFill>
                  <a:schemeClr val="bg1">
                    <a:lumMod val="75000"/>
                  </a:schemeClr>
                </a:solidFill>
                <a:latin typeface="+mj-lt"/>
              </a:rPr>
              <a:t>2</a:t>
            </a:r>
          </a:p>
        </p:txBody>
      </p:sp>
      <p:sp>
        <p:nvSpPr>
          <p:cNvPr id="35" name="Rectangle 79">
            <a:extLst>
              <a:ext uri="{FF2B5EF4-FFF2-40B4-BE49-F238E27FC236}">
                <a16:creationId xmlns:a16="http://schemas.microsoft.com/office/drawing/2014/main" id="{AF40179F-E751-4950-8214-80ED909CC0D7}"/>
              </a:ext>
            </a:extLst>
          </p:cNvPr>
          <p:cNvSpPr>
            <a:spLocks/>
          </p:cNvSpPr>
          <p:nvPr/>
        </p:nvSpPr>
        <p:spPr>
          <a:xfrm>
            <a:off x="4306308" y="2876510"/>
            <a:ext cx="1457783" cy="1107996"/>
          </a:xfrm>
          <a:prstGeom prst="rect">
            <a:avLst/>
          </a:prstGeom>
        </p:spPr>
        <p:txBody>
          <a:bodyPr vert="horz" wrap="square" lIns="0" tIns="0" rIns="0" bIns="0">
            <a:spAutoFit/>
          </a:bodyPr>
          <a:lstStyle/>
          <a:p>
            <a:pPr marL="0" lvl="3" algn="r" fontAlgn="base">
              <a:lnSpc>
                <a:spcPct val="90000"/>
              </a:lnSpc>
              <a:spcBef>
                <a:spcPts val="181"/>
              </a:spcBef>
              <a:spcAft>
                <a:spcPct val="0"/>
              </a:spcAft>
              <a:buClr>
                <a:srgbClr val="A2A2A2"/>
              </a:buClr>
              <a:buSzPct val="100000"/>
              <a:defRPr/>
            </a:pPr>
            <a:r>
              <a:rPr lang="en-GB" sz="1600"/>
              <a:t>Lorem ipsum dolor sit amet, consetetur </a:t>
            </a:r>
            <a:r>
              <a:rPr lang="en-GB" sz="1600" b="1"/>
              <a:t>sadipscing elitr</a:t>
            </a:r>
          </a:p>
        </p:txBody>
      </p:sp>
      <p:sp>
        <p:nvSpPr>
          <p:cNvPr id="24" name="Rectangle 27">
            <a:extLst>
              <a:ext uri="{FF2B5EF4-FFF2-40B4-BE49-F238E27FC236}">
                <a16:creationId xmlns:a16="http://schemas.microsoft.com/office/drawing/2014/main" id="{34683862-9216-4511-8C84-2ACCEC85D10D}"/>
              </a:ext>
            </a:extLst>
          </p:cNvPr>
          <p:cNvSpPr/>
          <p:nvPr/>
        </p:nvSpPr>
        <p:spPr>
          <a:xfrm>
            <a:off x="6429676" y="2514600"/>
            <a:ext cx="1828800"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0" b="1">
              <a:solidFill>
                <a:srgbClr val="90D214"/>
              </a:solidFill>
            </a:endParaRPr>
          </a:p>
        </p:txBody>
      </p:sp>
      <p:sp>
        <p:nvSpPr>
          <p:cNvPr id="32" name="RBContent19">
            <a:extLst>
              <a:ext uri="{FF2B5EF4-FFF2-40B4-BE49-F238E27FC236}">
                <a16:creationId xmlns:a16="http://schemas.microsoft.com/office/drawing/2014/main" id="{235ACDF1-B0EF-461E-9402-CEBC60E38CCB}"/>
              </a:ext>
            </a:extLst>
          </p:cNvPr>
          <p:cNvSpPr txBox="1"/>
          <p:nvPr/>
        </p:nvSpPr>
        <p:spPr>
          <a:xfrm>
            <a:off x="6429675" y="2681406"/>
            <a:ext cx="681122" cy="1661993"/>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12000" b="1">
                <a:solidFill>
                  <a:schemeClr val="bg1">
                    <a:lumMod val="75000"/>
                  </a:schemeClr>
                </a:solidFill>
                <a:latin typeface="+mj-lt"/>
              </a:rPr>
              <a:t>3</a:t>
            </a:r>
          </a:p>
        </p:txBody>
      </p:sp>
      <p:sp>
        <p:nvSpPr>
          <p:cNvPr id="36" name="Rectangle 79">
            <a:extLst>
              <a:ext uri="{FF2B5EF4-FFF2-40B4-BE49-F238E27FC236}">
                <a16:creationId xmlns:a16="http://schemas.microsoft.com/office/drawing/2014/main" id="{E6DB8FC4-EA1F-4191-A5C7-46BE7C93FC32}"/>
              </a:ext>
            </a:extLst>
          </p:cNvPr>
          <p:cNvSpPr>
            <a:spLocks/>
          </p:cNvSpPr>
          <p:nvPr/>
        </p:nvSpPr>
        <p:spPr>
          <a:xfrm>
            <a:off x="6795008" y="2876510"/>
            <a:ext cx="1463465" cy="1107996"/>
          </a:xfrm>
          <a:prstGeom prst="rect">
            <a:avLst/>
          </a:prstGeom>
        </p:spPr>
        <p:txBody>
          <a:bodyPr vert="horz" wrap="square" lIns="0" tIns="0" rIns="0" bIns="0">
            <a:spAutoFit/>
          </a:bodyPr>
          <a:lstStyle/>
          <a:p>
            <a:pPr marL="0" lvl="3" algn="r" fontAlgn="base">
              <a:lnSpc>
                <a:spcPct val="90000"/>
              </a:lnSpc>
              <a:spcBef>
                <a:spcPts val="181"/>
              </a:spcBef>
              <a:spcAft>
                <a:spcPct val="0"/>
              </a:spcAft>
              <a:buClr>
                <a:srgbClr val="A2A2A2"/>
              </a:buClr>
              <a:buSzPct val="100000"/>
              <a:defRPr/>
            </a:pPr>
            <a:r>
              <a:rPr lang="en-GB" sz="1600"/>
              <a:t>Lorem ipsum dolor sit amet, consetetur </a:t>
            </a:r>
            <a:r>
              <a:rPr lang="en-GB" sz="1600" b="1"/>
              <a:t>sadipscing elitr</a:t>
            </a:r>
          </a:p>
        </p:txBody>
      </p:sp>
      <p:sp>
        <p:nvSpPr>
          <p:cNvPr id="26" name="Rectangle 27">
            <a:extLst>
              <a:ext uri="{FF2B5EF4-FFF2-40B4-BE49-F238E27FC236}">
                <a16:creationId xmlns:a16="http://schemas.microsoft.com/office/drawing/2014/main" id="{571DE2CF-C1AE-4ADC-9A87-826EB649F02C}"/>
              </a:ext>
            </a:extLst>
          </p:cNvPr>
          <p:cNvSpPr/>
          <p:nvPr/>
        </p:nvSpPr>
        <p:spPr>
          <a:xfrm>
            <a:off x="8924059" y="2514600"/>
            <a:ext cx="1828800"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0" b="1">
              <a:solidFill>
                <a:srgbClr val="90D214"/>
              </a:solidFill>
            </a:endParaRPr>
          </a:p>
        </p:txBody>
      </p:sp>
      <p:sp>
        <p:nvSpPr>
          <p:cNvPr id="33" name="RBContent19">
            <a:extLst>
              <a:ext uri="{FF2B5EF4-FFF2-40B4-BE49-F238E27FC236}">
                <a16:creationId xmlns:a16="http://schemas.microsoft.com/office/drawing/2014/main" id="{3089FC0E-AD36-4364-BE03-25741B8C344A}"/>
              </a:ext>
            </a:extLst>
          </p:cNvPr>
          <p:cNvSpPr txBox="1"/>
          <p:nvPr/>
        </p:nvSpPr>
        <p:spPr>
          <a:xfrm>
            <a:off x="8924059" y="2682693"/>
            <a:ext cx="681122" cy="1661993"/>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12000" b="1">
                <a:solidFill>
                  <a:schemeClr val="bg1">
                    <a:lumMod val="75000"/>
                  </a:schemeClr>
                </a:solidFill>
                <a:latin typeface="+mj-lt"/>
              </a:rPr>
              <a:t>4</a:t>
            </a:r>
          </a:p>
        </p:txBody>
      </p:sp>
      <p:sp>
        <p:nvSpPr>
          <p:cNvPr id="37" name="Rectangle 79">
            <a:extLst>
              <a:ext uri="{FF2B5EF4-FFF2-40B4-BE49-F238E27FC236}">
                <a16:creationId xmlns:a16="http://schemas.microsoft.com/office/drawing/2014/main" id="{4B4AE7DA-47E6-4868-A7AE-A815359473C2}"/>
              </a:ext>
            </a:extLst>
          </p:cNvPr>
          <p:cNvSpPr>
            <a:spLocks/>
          </p:cNvSpPr>
          <p:nvPr/>
        </p:nvSpPr>
        <p:spPr>
          <a:xfrm>
            <a:off x="9301813" y="2876509"/>
            <a:ext cx="1451042" cy="1107996"/>
          </a:xfrm>
          <a:prstGeom prst="rect">
            <a:avLst/>
          </a:prstGeom>
        </p:spPr>
        <p:txBody>
          <a:bodyPr vert="horz" wrap="square" lIns="0" tIns="0" rIns="0" bIns="0">
            <a:spAutoFit/>
          </a:bodyPr>
          <a:lstStyle/>
          <a:p>
            <a:pPr marL="0" lvl="3" algn="r" fontAlgn="base">
              <a:lnSpc>
                <a:spcPct val="90000"/>
              </a:lnSpc>
              <a:spcBef>
                <a:spcPts val="181"/>
              </a:spcBef>
              <a:spcAft>
                <a:spcPct val="0"/>
              </a:spcAft>
              <a:buClr>
                <a:srgbClr val="A2A2A2"/>
              </a:buClr>
              <a:buSzPct val="100000"/>
              <a:defRPr/>
            </a:pPr>
            <a:r>
              <a:rPr lang="en-GB" sz="1600"/>
              <a:t>Lorem ipsum dolor sit amet, consetetur </a:t>
            </a:r>
            <a:r>
              <a:rPr lang="en-GB" sz="1600" b="1"/>
              <a:t>sadipscing elitr</a:t>
            </a:r>
          </a:p>
        </p:txBody>
      </p:sp>
    </p:spTree>
    <p:extLst>
      <p:ext uri="{BB962C8B-B14F-4D97-AF65-F5344CB8AC3E}">
        <p14:creationId xmlns:p14="http://schemas.microsoft.com/office/powerpoint/2010/main" val="498151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48EAE3-0EC2-5440-AE6E-FA0F837C9A21}"/>
              </a:ext>
            </a:extLst>
          </p:cNvPr>
          <p:cNvSpPr>
            <a:spLocks noGrp="1"/>
          </p:cNvSpPr>
          <p:nvPr>
            <p:ph type="sldNum" sz="quarter" idx="4"/>
          </p:nvPr>
        </p:nvSpPr>
        <p:spPr/>
        <p:txBody>
          <a:bodyPr/>
          <a:lstStyle/>
          <a:p>
            <a:fld id="{3D966009-6E5A-4F8C-8CA7-E37AFBF5FB92}" type="slidenum">
              <a:rPr lang="en-US" smtClean="0"/>
              <a:t>8</a:t>
            </a:fld>
            <a:endParaRPr lang="en-US"/>
          </a:p>
        </p:txBody>
      </p:sp>
      <p:sp>
        <p:nvSpPr>
          <p:cNvPr id="3" name="Title 2">
            <a:extLst>
              <a:ext uri="{FF2B5EF4-FFF2-40B4-BE49-F238E27FC236}">
                <a16:creationId xmlns:a16="http://schemas.microsoft.com/office/drawing/2014/main" id="{CE2A880B-7E49-FF4B-9B0A-E54A6097FA07}"/>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F3EF8CC-C7EA-BF42-954E-A86FF32A31E5}"/>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4098C083-8A05-D94C-8EB4-440F7F44C9CE}"/>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7D3B0555-F77B-664E-BAAA-12CA7A9C9034}"/>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29701C94-8FF0-E249-A5B3-C3A4AA934473}"/>
              </a:ext>
            </a:extLst>
          </p:cNvPr>
          <p:cNvSpPr>
            <a:spLocks noGrp="1"/>
          </p:cNvSpPr>
          <p:nvPr>
            <p:ph sz="quarter" idx="14"/>
          </p:nvPr>
        </p:nvSpPr>
        <p:spPr/>
        <p:txBody>
          <a:bodyPr/>
          <a:lstStyle/>
          <a:p>
            <a:endParaRPr lang="en-GB"/>
          </a:p>
        </p:txBody>
      </p:sp>
      <p:grpSp>
        <p:nvGrpSpPr>
          <p:cNvPr id="19" name="Group 18">
            <a:extLst>
              <a:ext uri="{FF2B5EF4-FFF2-40B4-BE49-F238E27FC236}">
                <a16:creationId xmlns:a16="http://schemas.microsoft.com/office/drawing/2014/main" id="{AB7FEE7F-3EC2-1847-ADD4-3FCF98D9BFD4}"/>
              </a:ext>
            </a:extLst>
          </p:cNvPr>
          <p:cNvGrpSpPr/>
          <p:nvPr/>
        </p:nvGrpSpPr>
        <p:grpSpPr>
          <a:xfrm>
            <a:off x="441643" y="5179289"/>
            <a:ext cx="6546760" cy="923330"/>
            <a:chOff x="441643" y="4859249"/>
            <a:chExt cx="6546760" cy="923330"/>
          </a:xfrm>
        </p:grpSpPr>
        <p:sp>
          <p:nvSpPr>
            <p:cNvPr id="28" name="TextBox 27">
              <a:extLst>
                <a:ext uri="{FF2B5EF4-FFF2-40B4-BE49-F238E27FC236}">
                  <a16:creationId xmlns:a16="http://schemas.microsoft.com/office/drawing/2014/main" id="{806A35ED-4D93-2C41-85C0-1A9AE69C33C7}"/>
                </a:ext>
              </a:extLst>
            </p:cNvPr>
            <p:cNvSpPr txBox="1"/>
            <p:nvPr/>
          </p:nvSpPr>
          <p:spPr>
            <a:xfrm>
              <a:off x="441643" y="4859249"/>
              <a:ext cx="450925" cy="923330"/>
            </a:xfrm>
            <a:prstGeom prst="rect">
              <a:avLst/>
            </a:prstGeom>
            <a:noFill/>
          </p:spPr>
          <p:txBody>
            <a:bodyPr wrap="square" rtlCol="0" anchor="ctr">
              <a:spAutoFit/>
            </a:bodyPr>
            <a:lstStyle/>
            <a:p>
              <a:pPr algn="ctr"/>
              <a:r>
                <a:rPr lang="en-US" altLang="ko-KR" sz="5400" b="1">
                  <a:solidFill>
                    <a:srgbClr val="8D8EA8"/>
                  </a:solidFill>
                  <a:cs typeface="Arial" pitchFamily="34" charset="0"/>
                </a:rPr>
                <a:t>5</a:t>
              </a:r>
              <a:endParaRPr lang="ko-KR" altLang="en-US" sz="5400" b="1">
                <a:solidFill>
                  <a:srgbClr val="8D8EA8"/>
                </a:solidFill>
                <a:cs typeface="Arial" pitchFamily="34" charset="0"/>
              </a:endParaRPr>
            </a:p>
          </p:txBody>
        </p:sp>
        <p:grpSp>
          <p:nvGrpSpPr>
            <p:cNvPr id="11" name="Group 10">
              <a:extLst>
                <a:ext uri="{FF2B5EF4-FFF2-40B4-BE49-F238E27FC236}">
                  <a16:creationId xmlns:a16="http://schemas.microsoft.com/office/drawing/2014/main" id="{466AC529-5C79-464B-A22D-582B52805FB0}"/>
                </a:ext>
              </a:extLst>
            </p:cNvPr>
            <p:cNvGrpSpPr/>
            <p:nvPr/>
          </p:nvGrpSpPr>
          <p:grpSpPr>
            <a:xfrm>
              <a:off x="585526" y="5089280"/>
              <a:ext cx="6402877" cy="487189"/>
              <a:chOff x="585526" y="5089280"/>
              <a:chExt cx="6402877" cy="487189"/>
            </a:xfrm>
          </p:grpSpPr>
          <p:sp>
            <p:nvSpPr>
              <p:cNvPr id="21" name="Rectangle 19">
                <a:extLst>
                  <a:ext uri="{FF2B5EF4-FFF2-40B4-BE49-F238E27FC236}">
                    <a16:creationId xmlns:a16="http://schemas.microsoft.com/office/drawing/2014/main" id="{B64EE992-F824-E54F-AA70-4328DE1E538D}"/>
                  </a:ext>
                </a:extLst>
              </p:cNvPr>
              <p:cNvSpPr/>
              <p:nvPr/>
            </p:nvSpPr>
            <p:spPr>
              <a:xfrm>
                <a:off x="585526" y="5090469"/>
                <a:ext cx="6397828" cy="486000"/>
              </a:xfrm>
              <a:custGeom>
                <a:avLst/>
                <a:gdLst>
                  <a:gd name="connsiteX0" fmla="*/ 0 w 8073774"/>
                  <a:gd name="connsiteY0" fmla="*/ 0 h 648001"/>
                  <a:gd name="connsiteX1" fmla="*/ 324000 w 8073774"/>
                  <a:gd name="connsiteY1" fmla="*/ 0 h 648001"/>
                  <a:gd name="connsiteX2" fmla="*/ 324000 w 8073774"/>
                  <a:gd name="connsiteY2" fmla="*/ 1 h 648001"/>
                  <a:gd name="connsiteX3" fmla="*/ 8073774 w 8073774"/>
                  <a:gd name="connsiteY3" fmla="*/ 1 h 648001"/>
                  <a:gd name="connsiteX4" fmla="*/ 8073774 w 8073774"/>
                  <a:gd name="connsiteY4" fmla="*/ 648001 h 648001"/>
                  <a:gd name="connsiteX5" fmla="*/ 180083 w 8073774"/>
                  <a:gd name="connsiteY5" fmla="*/ 648001 h 648001"/>
                  <a:gd name="connsiteX6" fmla="*/ 180083 w 8073774"/>
                  <a:gd name="connsiteY6" fmla="*/ 288000 h 648001"/>
                  <a:gd name="connsiteX7" fmla="*/ 0 w 8073774"/>
                  <a:gd name="connsiteY7" fmla="*/ 288000 h 648001"/>
                  <a:gd name="connsiteX8" fmla="*/ 0 w 8073774"/>
                  <a:gd name="connsiteY8" fmla="*/ 0 h 648001"/>
                  <a:gd name="connsiteX0" fmla="*/ 0 w 8073774"/>
                  <a:gd name="connsiteY0" fmla="*/ 0 h 648001"/>
                  <a:gd name="connsiteX1" fmla="*/ 324000 w 8073774"/>
                  <a:gd name="connsiteY1" fmla="*/ 0 h 648001"/>
                  <a:gd name="connsiteX2" fmla="*/ 324000 w 8073774"/>
                  <a:gd name="connsiteY2" fmla="*/ 1 h 648001"/>
                  <a:gd name="connsiteX3" fmla="*/ 8073774 w 8073774"/>
                  <a:gd name="connsiteY3" fmla="*/ 1 h 648001"/>
                  <a:gd name="connsiteX4" fmla="*/ 8073774 w 8073774"/>
                  <a:gd name="connsiteY4" fmla="*/ 648001 h 648001"/>
                  <a:gd name="connsiteX5" fmla="*/ 180083 w 8073774"/>
                  <a:gd name="connsiteY5" fmla="*/ 648001 h 648001"/>
                  <a:gd name="connsiteX6" fmla="*/ 180083 w 8073774"/>
                  <a:gd name="connsiteY6" fmla="*/ 288000 h 648001"/>
                  <a:gd name="connsiteX7" fmla="*/ 0 w 8073774"/>
                  <a:gd name="connsiteY7" fmla="*/ 288000 h 648001"/>
                  <a:gd name="connsiteX8" fmla="*/ 0 w 8073774"/>
                  <a:gd name="connsiteY8" fmla="*/ 0 h 64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73774" h="648001">
                    <a:moveTo>
                      <a:pt x="0" y="0"/>
                    </a:moveTo>
                    <a:lnTo>
                      <a:pt x="324000" y="0"/>
                    </a:lnTo>
                    <a:lnTo>
                      <a:pt x="324000" y="1"/>
                    </a:lnTo>
                    <a:lnTo>
                      <a:pt x="8073774" y="1"/>
                    </a:lnTo>
                    <a:lnTo>
                      <a:pt x="8073774" y="648001"/>
                    </a:lnTo>
                    <a:lnTo>
                      <a:pt x="180083" y="648001"/>
                    </a:lnTo>
                    <a:cubicBezTo>
                      <a:pt x="253455" y="535049"/>
                      <a:pt x="266795" y="422095"/>
                      <a:pt x="180083" y="288000"/>
                    </a:cubicBezTo>
                    <a:lnTo>
                      <a:pt x="0" y="288000"/>
                    </a:lnTo>
                    <a:lnTo>
                      <a:pt x="0" y="0"/>
                    </a:lnTo>
                    <a:close/>
                  </a:path>
                </a:pathLst>
              </a:custGeom>
              <a:noFill/>
              <a:ln>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32" name="TextBox 12">
                <a:extLst>
                  <a:ext uri="{FF2B5EF4-FFF2-40B4-BE49-F238E27FC236}">
                    <a16:creationId xmlns:a16="http://schemas.microsoft.com/office/drawing/2014/main" id="{7694159C-7082-D649-80B1-B7E141B1C020}"/>
                  </a:ext>
                </a:extLst>
              </p:cNvPr>
              <p:cNvSpPr txBox="1"/>
              <p:nvPr/>
            </p:nvSpPr>
            <p:spPr bwMode="auto">
              <a:xfrm>
                <a:off x="1041362" y="5191190"/>
                <a:ext cx="4999837" cy="276999"/>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rgbClr val="024049"/>
                    </a:solidFill>
                    <a:cs typeface="Arial" pitchFamily="34" charset="0"/>
                  </a:rPr>
                  <a:t>Lorem ipsum</a:t>
                </a:r>
                <a:endParaRPr lang="ko-KR" altLang="en-US" sz="1200">
                  <a:solidFill>
                    <a:srgbClr val="024049"/>
                  </a:solidFill>
                  <a:cs typeface="Arial" pitchFamily="34" charset="0"/>
                </a:endParaRPr>
              </a:p>
            </p:txBody>
          </p:sp>
          <p:sp>
            <p:nvSpPr>
              <p:cNvPr id="38" name="Rectangle 37">
                <a:extLst>
                  <a:ext uri="{FF2B5EF4-FFF2-40B4-BE49-F238E27FC236}">
                    <a16:creationId xmlns:a16="http://schemas.microsoft.com/office/drawing/2014/main" id="{1D7FFFFB-C3D1-0341-8931-55ADBFEC65DA}"/>
                  </a:ext>
                </a:extLst>
              </p:cNvPr>
              <p:cNvSpPr/>
              <p:nvPr/>
            </p:nvSpPr>
            <p:spPr>
              <a:xfrm>
                <a:off x="6880403" y="5089280"/>
                <a:ext cx="108000" cy="486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grpSp>
        <p:nvGrpSpPr>
          <p:cNvPr id="34" name="Group 16">
            <a:extLst>
              <a:ext uri="{FF2B5EF4-FFF2-40B4-BE49-F238E27FC236}">
                <a16:creationId xmlns:a16="http://schemas.microsoft.com/office/drawing/2014/main" id="{DB6D3A8C-6C8F-1A45-B01F-59FEBA4F8A7B}"/>
              </a:ext>
            </a:extLst>
          </p:cNvPr>
          <p:cNvGrpSpPr/>
          <p:nvPr/>
        </p:nvGrpSpPr>
        <p:grpSpPr>
          <a:xfrm>
            <a:off x="441643" y="1485205"/>
            <a:ext cx="6546760" cy="923330"/>
            <a:chOff x="441643" y="1454725"/>
            <a:chExt cx="6546760" cy="923330"/>
          </a:xfrm>
        </p:grpSpPr>
        <p:sp>
          <p:nvSpPr>
            <p:cNvPr id="39" name="Rectangle 8">
              <a:extLst>
                <a:ext uri="{FF2B5EF4-FFF2-40B4-BE49-F238E27FC236}">
                  <a16:creationId xmlns:a16="http://schemas.microsoft.com/office/drawing/2014/main" id="{A90E1611-30BA-C74B-8222-0ABCA8401D50}"/>
                </a:ext>
              </a:extLst>
            </p:cNvPr>
            <p:cNvSpPr/>
            <p:nvPr/>
          </p:nvSpPr>
          <p:spPr>
            <a:xfrm>
              <a:off x="740878" y="1683471"/>
              <a:ext cx="6242476" cy="486000"/>
            </a:xfrm>
            <a:prstGeom prst="rect">
              <a:avLst/>
            </a:prstGeom>
            <a:noFill/>
            <a:ln>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40" name="Rectangle 9">
              <a:extLst>
                <a:ext uri="{FF2B5EF4-FFF2-40B4-BE49-F238E27FC236}">
                  <a16:creationId xmlns:a16="http://schemas.microsoft.com/office/drawing/2014/main" id="{5A6FD7FA-7FAD-B544-8615-9BE7C64E7C4D}"/>
                </a:ext>
              </a:extLst>
            </p:cNvPr>
            <p:cNvSpPr/>
            <p:nvPr/>
          </p:nvSpPr>
          <p:spPr>
            <a:xfrm>
              <a:off x="6880403" y="1683471"/>
              <a:ext cx="108000" cy="486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TextBox 23">
              <a:extLst>
                <a:ext uri="{FF2B5EF4-FFF2-40B4-BE49-F238E27FC236}">
                  <a16:creationId xmlns:a16="http://schemas.microsoft.com/office/drawing/2014/main" id="{DF242EA7-4379-104A-AC9A-8E2504D3FA85}"/>
                </a:ext>
              </a:extLst>
            </p:cNvPr>
            <p:cNvSpPr txBox="1"/>
            <p:nvPr/>
          </p:nvSpPr>
          <p:spPr>
            <a:xfrm>
              <a:off x="441643" y="1454725"/>
              <a:ext cx="450925" cy="923330"/>
            </a:xfrm>
            <a:prstGeom prst="rect">
              <a:avLst/>
            </a:prstGeom>
            <a:noFill/>
          </p:spPr>
          <p:txBody>
            <a:bodyPr wrap="square" rtlCol="0" anchor="ctr">
              <a:spAutoFit/>
            </a:bodyPr>
            <a:lstStyle/>
            <a:p>
              <a:pPr algn="ctr"/>
              <a:r>
                <a:rPr lang="en-US" altLang="ko-KR" sz="5400" b="1">
                  <a:solidFill>
                    <a:srgbClr val="8D8EA8"/>
                  </a:solidFill>
                  <a:cs typeface="Arial" pitchFamily="34" charset="0"/>
                </a:rPr>
                <a:t>1</a:t>
              </a:r>
              <a:endParaRPr lang="ko-KR" altLang="en-US" sz="5400" b="1">
                <a:solidFill>
                  <a:srgbClr val="8D8EA8"/>
                </a:solidFill>
                <a:cs typeface="Arial" pitchFamily="34" charset="0"/>
              </a:endParaRPr>
            </a:p>
          </p:txBody>
        </p:sp>
        <p:sp>
          <p:nvSpPr>
            <p:cNvPr id="42" name="TextBox 28">
              <a:extLst>
                <a:ext uri="{FF2B5EF4-FFF2-40B4-BE49-F238E27FC236}">
                  <a16:creationId xmlns:a16="http://schemas.microsoft.com/office/drawing/2014/main" id="{CBD27562-D554-0D4C-BC67-5B42162DA804}"/>
                </a:ext>
              </a:extLst>
            </p:cNvPr>
            <p:cNvSpPr txBox="1"/>
            <p:nvPr/>
          </p:nvSpPr>
          <p:spPr bwMode="auto">
            <a:xfrm>
              <a:off x="1028910" y="1784192"/>
              <a:ext cx="4999837" cy="276999"/>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rgbClr val="024049"/>
                  </a:solidFill>
                  <a:cs typeface="Arial" pitchFamily="34" charset="0"/>
                </a:rPr>
                <a:t>Lorem ipsum</a:t>
              </a:r>
              <a:endParaRPr lang="ko-KR" altLang="en-US" sz="1200">
                <a:solidFill>
                  <a:srgbClr val="024049"/>
                </a:solidFill>
                <a:cs typeface="Arial" pitchFamily="34" charset="0"/>
              </a:endParaRPr>
            </a:p>
          </p:txBody>
        </p:sp>
      </p:grpSp>
      <p:grpSp>
        <p:nvGrpSpPr>
          <p:cNvPr id="43" name="Group 15">
            <a:extLst>
              <a:ext uri="{FF2B5EF4-FFF2-40B4-BE49-F238E27FC236}">
                <a16:creationId xmlns:a16="http://schemas.microsoft.com/office/drawing/2014/main" id="{D5CD3D7F-75E5-F74C-862B-9C33B097C98D}"/>
              </a:ext>
            </a:extLst>
          </p:cNvPr>
          <p:cNvGrpSpPr/>
          <p:nvPr/>
        </p:nvGrpSpPr>
        <p:grpSpPr>
          <a:xfrm>
            <a:off x="441643" y="2408726"/>
            <a:ext cx="6546760" cy="923330"/>
            <a:chOff x="441643" y="2626867"/>
            <a:chExt cx="6546760" cy="923330"/>
          </a:xfrm>
        </p:grpSpPr>
        <p:sp>
          <p:nvSpPr>
            <p:cNvPr id="44" name="Isosceles Triangle 1">
              <a:extLst>
                <a:ext uri="{FF2B5EF4-FFF2-40B4-BE49-F238E27FC236}">
                  <a16:creationId xmlns:a16="http://schemas.microsoft.com/office/drawing/2014/main" id="{4F31D3AC-EB84-144D-9931-D976E1BA945A}"/>
                </a:ext>
              </a:extLst>
            </p:cNvPr>
            <p:cNvSpPr/>
            <p:nvPr/>
          </p:nvSpPr>
          <p:spPr>
            <a:xfrm>
              <a:off x="524854" y="2856232"/>
              <a:ext cx="6458500" cy="486000"/>
            </a:xfrm>
            <a:custGeom>
              <a:avLst/>
              <a:gdLst>
                <a:gd name="connsiteX0" fmla="*/ 208160 w 8101851"/>
                <a:gd name="connsiteY0" fmla="*/ 0 h 648000"/>
                <a:gd name="connsiteX1" fmla="*/ 8101851 w 8101851"/>
                <a:gd name="connsiteY1" fmla="*/ 0 h 648000"/>
                <a:gd name="connsiteX2" fmla="*/ 8101851 w 8101851"/>
                <a:gd name="connsiteY2" fmla="*/ 648000 h 648000"/>
                <a:gd name="connsiteX3" fmla="*/ 416319 w 8101851"/>
                <a:gd name="connsiteY3" fmla="*/ 648000 h 648000"/>
                <a:gd name="connsiteX4" fmla="*/ 208160 w 8101851"/>
                <a:gd name="connsiteY4" fmla="*/ 648000 h 648000"/>
                <a:gd name="connsiteX5" fmla="*/ 0 w 8101851"/>
                <a:gd name="connsiteY5" fmla="*/ 648000 h 648000"/>
                <a:gd name="connsiteX6" fmla="*/ 283910 w 8101851"/>
                <a:gd name="connsiteY6" fmla="*/ 314984 h 648000"/>
                <a:gd name="connsiteX7" fmla="*/ 208160 w 8101851"/>
                <a:gd name="connsiteY7" fmla="*/ 0 h 648000"/>
                <a:gd name="connsiteX0" fmla="*/ 208160 w 8101851"/>
                <a:gd name="connsiteY0" fmla="*/ 0 h 648000"/>
                <a:gd name="connsiteX1" fmla="*/ 8101851 w 8101851"/>
                <a:gd name="connsiteY1" fmla="*/ 0 h 648000"/>
                <a:gd name="connsiteX2" fmla="*/ 8101851 w 8101851"/>
                <a:gd name="connsiteY2" fmla="*/ 648000 h 648000"/>
                <a:gd name="connsiteX3" fmla="*/ 416319 w 8101851"/>
                <a:gd name="connsiteY3" fmla="*/ 648000 h 648000"/>
                <a:gd name="connsiteX4" fmla="*/ 208160 w 8101851"/>
                <a:gd name="connsiteY4" fmla="*/ 648000 h 648000"/>
                <a:gd name="connsiteX5" fmla="*/ 0 w 8101851"/>
                <a:gd name="connsiteY5" fmla="*/ 648000 h 648000"/>
                <a:gd name="connsiteX6" fmla="*/ 283910 w 8101851"/>
                <a:gd name="connsiteY6" fmla="*/ 314984 h 648000"/>
                <a:gd name="connsiteX7" fmla="*/ 208160 w 8101851"/>
                <a:gd name="connsiteY7" fmla="*/ 0 h 648000"/>
                <a:gd name="connsiteX0" fmla="*/ 208160 w 8101851"/>
                <a:gd name="connsiteY0" fmla="*/ 0 h 648000"/>
                <a:gd name="connsiteX1" fmla="*/ 8101851 w 8101851"/>
                <a:gd name="connsiteY1" fmla="*/ 0 h 648000"/>
                <a:gd name="connsiteX2" fmla="*/ 8101851 w 8101851"/>
                <a:gd name="connsiteY2" fmla="*/ 648000 h 648000"/>
                <a:gd name="connsiteX3" fmla="*/ 416319 w 8101851"/>
                <a:gd name="connsiteY3" fmla="*/ 648000 h 648000"/>
                <a:gd name="connsiteX4" fmla="*/ 208160 w 8101851"/>
                <a:gd name="connsiteY4" fmla="*/ 648000 h 648000"/>
                <a:gd name="connsiteX5" fmla="*/ 0 w 8101851"/>
                <a:gd name="connsiteY5" fmla="*/ 648000 h 648000"/>
                <a:gd name="connsiteX6" fmla="*/ 283910 w 8101851"/>
                <a:gd name="connsiteY6" fmla="*/ 314984 h 648000"/>
                <a:gd name="connsiteX7" fmla="*/ 208160 w 8101851"/>
                <a:gd name="connsiteY7"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1851" h="648000">
                  <a:moveTo>
                    <a:pt x="208160" y="0"/>
                  </a:moveTo>
                  <a:lnTo>
                    <a:pt x="8101851" y="0"/>
                  </a:lnTo>
                  <a:lnTo>
                    <a:pt x="8101851" y="648000"/>
                  </a:lnTo>
                  <a:lnTo>
                    <a:pt x="416319" y="648000"/>
                  </a:lnTo>
                  <a:lnTo>
                    <a:pt x="208160" y="648000"/>
                  </a:lnTo>
                  <a:lnTo>
                    <a:pt x="0" y="648000"/>
                  </a:lnTo>
                  <a:cubicBezTo>
                    <a:pt x="94637" y="536995"/>
                    <a:pt x="81060" y="391484"/>
                    <a:pt x="283910" y="314984"/>
                  </a:cubicBezTo>
                  <a:cubicBezTo>
                    <a:pt x="478696" y="115099"/>
                    <a:pt x="208160" y="96368"/>
                    <a:pt x="208160" y="0"/>
                  </a:cubicBezTo>
                  <a:close/>
                </a:path>
              </a:pathLst>
            </a:custGeom>
            <a:noFill/>
            <a:ln>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5" name="TextBox 24">
              <a:extLst>
                <a:ext uri="{FF2B5EF4-FFF2-40B4-BE49-F238E27FC236}">
                  <a16:creationId xmlns:a16="http://schemas.microsoft.com/office/drawing/2014/main" id="{E0802E86-952D-AB4C-9A75-372406D76295}"/>
                </a:ext>
              </a:extLst>
            </p:cNvPr>
            <p:cNvSpPr txBox="1"/>
            <p:nvPr/>
          </p:nvSpPr>
          <p:spPr>
            <a:xfrm>
              <a:off x="441643" y="2626867"/>
              <a:ext cx="450925" cy="923330"/>
            </a:xfrm>
            <a:prstGeom prst="rect">
              <a:avLst/>
            </a:prstGeom>
            <a:noFill/>
          </p:spPr>
          <p:txBody>
            <a:bodyPr wrap="square" rtlCol="0" anchor="ctr">
              <a:spAutoFit/>
            </a:bodyPr>
            <a:lstStyle/>
            <a:p>
              <a:pPr algn="ctr"/>
              <a:r>
                <a:rPr lang="en-US" altLang="ko-KR" sz="5400" b="1">
                  <a:solidFill>
                    <a:srgbClr val="8D8EA8"/>
                  </a:solidFill>
                  <a:cs typeface="Arial" pitchFamily="34" charset="0"/>
                </a:rPr>
                <a:t>2</a:t>
              </a:r>
              <a:endParaRPr lang="ko-KR" altLang="en-US" sz="5400" b="1">
                <a:solidFill>
                  <a:srgbClr val="8D8EA8"/>
                </a:solidFill>
                <a:cs typeface="Arial" pitchFamily="34" charset="0"/>
              </a:endParaRPr>
            </a:p>
          </p:txBody>
        </p:sp>
        <p:sp>
          <p:nvSpPr>
            <p:cNvPr id="46" name="Rectangle 34">
              <a:extLst>
                <a:ext uri="{FF2B5EF4-FFF2-40B4-BE49-F238E27FC236}">
                  <a16:creationId xmlns:a16="http://schemas.microsoft.com/office/drawing/2014/main" id="{F72332C5-139E-AE40-A7FC-34245D784DDA}"/>
                </a:ext>
              </a:extLst>
            </p:cNvPr>
            <p:cNvSpPr/>
            <p:nvPr/>
          </p:nvSpPr>
          <p:spPr>
            <a:xfrm>
              <a:off x="6880403" y="2862914"/>
              <a:ext cx="108000" cy="486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7" name="TextBox 12">
              <a:extLst>
                <a:ext uri="{FF2B5EF4-FFF2-40B4-BE49-F238E27FC236}">
                  <a16:creationId xmlns:a16="http://schemas.microsoft.com/office/drawing/2014/main" id="{FBFB7A47-03A4-9345-A405-BC541742F0EA}"/>
                </a:ext>
              </a:extLst>
            </p:cNvPr>
            <p:cNvSpPr txBox="1"/>
            <p:nvPr/>
          </p:nvSpPr>
          <p:spPr bwMode="auto">
            <a:xfrm>
              <a:off x="1028910" y="2956953"/>
              <a:ext cx="4999837" cy="276999"/>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rgbClr val="024049"/>
                  </a:solidFill>
                  <a:cs typeface="Arial" pitchFamily="34" charset="0"/>
                </a:rPr>
                <a:t>Lorem ipsum</a:t>
              </a:r>
              <a:endParaRPr lang="ko-KR" altLang="en-US" sz="1200">
                <a:solidFill>
                  <a:srgbClr val="024049"/>
                </a:solidFill>
                <a:cs typeface="Arial" pitchFamily="34" charset="0"/>
              </a:endParaRPr>
            </a:p>
          </p:txBody>
        </p:sp>
      </p:grpSp>
      <p:grpSp>
        <p:nvGrpSpPr>
          <p:cNvPr id="48" name="Group 13">
            <a:extLst>
              <a:ext uri="{FF2B5EF4-FFF2-40B4-BE49-F238E27FC236}">
                <a16:creationId xmlns:a16="http://schemas.microsoft.com/office/drawing/2014/main" id="{4EADB734-BB7A-734F-B8E3-0148F5F4DB06}"/>
              </a:ext>
            </a:extLst>
          </p:cNvPr>
          <p:cNvGrpSpPr/>
          <p:nvPr/>
        </p:nvGrpSpPr>
        <p:grpSpPr>
          <a:xfrm>
            <a:off x="441643" y="3332247"/>
            <a:ext cx="6546760" cy="923330"/>
            <a:chOff x="441643" y="3370994"/>
            <a:chExt cx="6546760" cy="923330"/>
          </a:xfrm>
        </p:grpSpPr>
        <p:sp>
          <p:nvSpPr>
            <p:cNvPr id="49" name="Rectangle 14">
              <a:extLst>
                <a:ext uri="{FF2B5EF4-FFF2-40B4-BE49-F238E27FC236}">
                  <a16:creationId xmlns:a16="http://schemas.microsoft.com/office/drawing/2014/main" id="{778D7767-8522-454D-B2A8-8E8A99DB6521}"/>
                </a:ext>
              </a:extLst>
            </p:cNvPr>
            <p:cNvSpPr/>
            <p:nvPr/>
          </p:nvSpPr>
          <p:spPr>
            <a:xfrm>
              <a:off x="731576" y="3594628"/>
              <a:ext cx="6251778" cy="486000"/>
            </a:xfrm>
            <a:prstGeom prst="rect">
              <a:avLst/>
            </a:prstGeom>
            <a:noFill/>
            <a:ln>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50" name="TextBox 25">
              <a:extLst>
                <a:ext uri="{FF2B5EF4-FFF2-40B4-BE49-F238E27FC236}">
                  <a16:creationId xmlns:a16="http://schemas.microsoft.com/office/drawing/2014/main" id="{E27DB680-983C-BA45-884B-101054BA24F5}"/>
                </a:ext>
              </a:extLst>
            </p:cNvPr>
            <p:cNvSpPr txBox="1"/>
            <p:nvPr/>
          </p:nvSpPr>
          <p:spPr>
            <a:xfrm>
              <a:off x="441643" y="3370994"/>
              <a:ext cx="450925" cy="923330"/>
            </a:xfrm>
            <a:prstGeom prst="rect">
              <a:avLst/>
            </a:prstGeom>
            <a:noFill/>
          </p:spPr>
          <p:txBody>
            <a:bodyPr wrap="square" rtlCol="0" anchor="ctr">
              <a:spAutoFit/>
            </a:bodyPr>
            <a:lstStyle/>
            <a:p>
              <a:pPr algn="ctr"/>
              <a:r>
                <a:rPr lang="en-US" altLang="ko-KR" sz="5400" b="1">
                  <a:solidFill>
                    <a:srgbClr val="8D8EA8"/>
                  </a:solidFill>
                  <a:cs typeface="Arial" pitchFamily="34" charset="0"/>
                </a:rPr>
                <a:t>3</a:t>
              </a:r>
              <a:endParaRPr lang="ko-KR" altLang="en-US" sz="5400" b="1">
                <a:solidFill>
                  <a:srgbClr val="8D8EA8"/>
                </a:solidFill>
                <a:cs typeface="Arial" pitchFamily="34" charset="0"/>
              </a:endParaRPr>
            </a:p>
          </p:txBody>
        </p:sp>
        <p:sp>
          <p:nvSpPr>
            <p:cNvPr id="51" name="TextBox 12">
              <a:extLst>
                <a:ext uri="{FF2B5EF4-FFF2-40B4-BE49-F238E27FC236}">
                  <a16:creationId xmlns:a16="http://schemas.microsoft.com/office/drawing/2014/main" id="{24633A66-ECC4-0A42-9EA1-2AB72721BC2D}"/>
                </a:ext>
              </a:extLst>
            </p:cNvPr>
            <p:cNvSpPr txBox="1"/>
            <p:nvPr/>
          </p:nvSpPr>
          <p:spPr bwMode="auto">
            <a:xfrm>
              <a:off x="1028910" y="3701699"/>
              <a:ext cx="4999837" cy="276999"/>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rgbClr val="024049"/>
                  </a:solidFill>
                  <a:cs typeface="Arial" pitchFamily="34" charset="0"/>
                </a:rPr>
                <a:t>Lorem ipsum</a:t>
              </a:r>
              <a:endParaRPr lang="ko-KR" altLang="en-US" sz="1200">
                <a:solidFill>
                  <a:srgbClr val="024049"/>
                </a:solidFill>
                <a:cs typeface="Arial" pitchFamily="34" charset="0"/>
              </a:endParaRPr>
            </a:p>
          </p:txBody>
        </p:sp>
        <p:sp>
          <p:nvSpPr>
            <p:cNvPr id="52" name="Rectangle 35">
              <a:extLst>
                <a:ext uri="{FF2B5EF4-FFF2-40B4-BE49-F238E27FC236}">
                  <a16:creationId xmlns:a16="http://schemas.microsoft.com/office/drawing/2014/main" id="{D3DD2F6B-38D3-6D41-AE20-F385A43D2445}"/>
                </a:ext>
              </a:extLst>
            </p:cNvPr>
            <p:cNvSpPr/>
            <p:nvPr/>
          </p:nvSpPr>
          <p:spPr>
            <a:xfrm>
              <a:off x="6880403" y="3591784"/>
              <a:ext cx="108000" cy="486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53" name="Group 12">
            <a:extLst>
              <a:ext uri="{FF2B5EF4-FFF2-40B4-BE49-F238E27FC236}">
                <a16:creationId xmlns:a16="http://schemas.microsoft.com/office/drawing/2014/main" id="{ED6D2FCD-D46A-5540-9832-E679D81C5673}"/>
              </a:ext>
            </a:extLst>
          </p:cNvPr>
          <p:cNvGrpSpPr/>
          <p:nvPr/>
        </p:nvGrpSpPr>
        <p:grpSpPr>
          <a:xfrm>
            <a:off x="441643" y="4255768"/>
            <a:ext cx="6546760" cy="923330"/>
            <a:chOff x="441643" y="4115121"/>
            <a:chExt cx="6546760" cy="923330"/>
          </a:xfrm>
        </p:grpSpPr>
        <p:sp>
          <p:nvSpPr>
            <p:cNvPr id="54" name="Rectangle 17">
              <a:extLst>
                <a:ext uri="{FF2B5EF4-FFF2-40B4-BE49-F238E27FC236}">
                  <a16:creationId xmlns:a16="http://schemas.microsoft.com/office/drawing/2014/main" id="{86FB8920-810E-E949-964E-5AFEAE152C4F}"/>
                </a:ext>
              </a:extLst>
            </p:cNvPr>
            <p:cNvSpPr/>
            <p:nvPr/>
          </p:nvSpPr>
          <p:spPr>
            <a:xfrm>
              <a:off x="752724" y="4345724"/>
              <a:ext cx="6230630" cy="486000"/>
            </a:xfrm>
            <a:prstGeom prst="rect">
              <a:avLst/>
            </a:prstGeom>
            <a:noFill/>
            <a:ln>
              <a:solidFill>
                <a:srgbClr val="8D8E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cs typeface="Arial" pitchFamily="34" charset="0"/>
              </a:endParaRPr>
            </a:p>
          </p:txBody>
        </p:sp>
        <p:sp>
          <p:nvSpPr>
            <p:cNvPr id="55" name="TextBox 26">
              <a:extLst>
                <a:ext uri="{FF2B5EF4-FFF2-40B4-BE49-F238E27FC236}">
                  <a16:creationId xmlns:a16="http://schemas.microsoft.com/office/drawing/2014/main" id="{A5D6D9B9-C110-E94D-BFEE-6C8B25733410}"/>
                </a:ext>
              </a:extLst>
            </p:cNvPr>
            <p:cNvSpPr txBox="1"/>
            <p:nvPr/>
          </p:nvSpPr>
          <p:spPr>
            <a:xfrm>
              <a:off x="441643" y="4115121"/>
              <a:ext cx="450925" cy="923330"/>
            </a:xfrm>
            <a:prstGeom prst="rect">
              <a:avLst/>
            </a:prstGeom>
            <a:noFill/>
          </p:spPr>
          <p:txBody>
            <a:bodyPr wrap="square" rtlCol="0" anchor="ctr">
              <a:spAutoFit/>
            </a:bodyPr>
            <a:lstStyle/>
            <a:p>
              <a:pPr algn="ctr"/>
              <a:r>
                <a:rPr lang="en-US" altLang="ko-KR" sz="5400" b="1">
                  <a:solidFill>
                    <a:srgbClr val="8D8EA8"/>
                  </a:solidFill>
                  <a:cs typeface="Arial" pitchFamily="34" charset="0"/>
                </a:rPr>
                <a:t>4</a:t>
              </a:r>
              <a:endParaRPr lang="ko-KR" altLang="en-US" sz="5400" b="1">
                <a:solidFill>
                  <a:srgbClr val="8D8EA8"/>
                </a:solidFill>
                <a:cs typeface="Arial" pitchFamily="34" charset="0"/>
              </a:endParaRPr>
            </a:p>
          </p:txBody>
        </p:sp>
        <p:sp>
          <p:nvSpPr>
            <p:cNvPr id="56" name="TextBox 12">
              <a:extLst>
                <a:ext uri="{FF2B5EF4-FFF2-40B4-BE49-F238E27FC236}">
                  <a16:creationId xmlns:a16="http://schemas.microsoft.com/office/drawing/2014/main" id="{FE8F90F3-8692-7E49-B819-CD0BF50C5C9E}"/>
                </a:ext>
              </a:extLst>
            </p:cNvPr>
            <p:cNvSpPr txBox="1"/>
            <p:nvPr/>
          </p:nvSpPr>
          <p:spPr bwMode="auto">
            <a:xfrm>
              <a:off x="1028910" y="4446445"/>
              <a:ext cx="4999837" cy="276999"/>
            </a:xfrm>
            <a:prstGeom prst="rect">
              <a:avLst/>
            </a:prstGeom>
            <a:noFill/>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defRPr/>
              </a:pPr>
              <a:r>
                <a:rPr lang="en-US" altLang="ko-KR" sz="1200">
                  <a:solidFill>
                    <a:srgbClr val="024049"/>
                  </a:solidFill>
                  <a:cs typeface="Arial" pitchFamily="34" charset="0"/>
                </a:rPr>
                <a:t>Lorem ipsum</a:t>
              </a:r>
              <a:endParaRPr lang="ko-KR" altLang="en-US" sz="1200">
                <a:solidFill>
                  <a:srgbClr val="024049"/>
                </a:solidFill>
                <a:cs typeface="Arial" pitchFamily="34" charset="0"/>
              </a:endParaRPr>
            </a:p>
          </p:txBody>
        </p:sp>
        <p:sp>
          <p:nvSpPr>
            <p:cNvPr id="57" name="Rectangle 36">
              <a:extLst>
                <a:ext uri="{FF2B5EF4-FFF2-40B4-BE49-F238E27FC236}">
                  <a16:creationId xmlns:a16="http://schemas.microsoft.com/office/drawing/2014/main" id="{6FB163D3-63FF-F34B-8E9A-A2F188C1E707}"/>
                </a:ext>
              </a:extLst>
            </p:cNvPr>
            <p:cNvSpPr/>
            <p:nvPr/>
          </p:nvSpPr>
          <p:spPr>
            <a:xfrm>
              <a:off x="6880403" y="4360410"/>
              <a:ext cx="108000" cy="486000"/>
            </a:xfrm>
            <a:prstGeom prst="rect">
              <a:avLst/>
            </a:prstGeom>
            <a:solidFill>
              <a:srgbClr val="8D8E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7494850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DF4E55-54C1-4CB7-8FC1-7511399B0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62" name="Rectangle 79">
            <a:extLst>
              <a:ext uri="{FF2B5EF4-FFF2-40B4-BE49-F238E27FC236}">
                <a16:creationId xmlns:a16="http://schemas.microsoft.com/office/drawing/2014/main" id="{B68D5F94-5339-465C-9907-33537C549962}"/>
              </a:ext>
            </a:extLst>
          </p:cNvPr>
          <p:cNvSpPr>
            <a:spLocks/>
          </p:cNvSpPr>
          <p:nvPr/>
        </p:nvSpPr>
        <p:spPr>
          <a:xfrm>
            <a:off x="365680" y="2675375"/>
            <a:ext cx="1881477" cy="9376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4" name="Rectangle 79">
            <a:extLst>
              <a:ext uri="{FF2B5EF4-FFF2-40B4-BE49-F238E27FC236}">
                <a16:creationId xmlns:a16="http://schemas.microsoft.com/office/drawing/2014/main" id="{294229E4-E2B0-4306-AC22-4AB89BCF79C2}"/>
              </a:ext>
            </a:extLst>
          </p:cNvPr>
          <p:cNvSpPr>
            <a:spLocks/>
          </p:cNvSpPr>
          <p:nvPr/>
        </p:nvSpPr>
        <p:spPr>
          <a:xfrm>
            <a:off x="9944839" y="2675375"/>
            <a:ext cx="1881477" cy="9376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5" name="Rectangle 79">
            <a:extLst>
              <a:ext uri="{FF2B5EF4-FFF2-40B4-BE49-F238E27FC236}">
                <a16:creationId xmlns:a16="http://schemas.microsoft.com/office/drawing/2014/main" id="{BB1F5CFA-B393-4A1E-A47F-3CEDB3BA08E4}"/>
              </a:ext>
            </a:extLst>
          </p:cNvPr>
          <p:cNvSpPr>
            <a:spLocks/>
          </p:cNvSpPr>
          <p:nvPr/>
        </p:nvSpPr>
        <p:spPr>
          <a:xfrm>
            <a:off x="5155260" y="2675375"/>
            <a:ext cx="1881477" cy="9376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6" name="Rectangle 79">
            <a:extLst>
              <a:ext uri="{FF2B5EF4-FFF2-40B4-BE49-F238E27FC236}">
                <a16:creationId xmlns:a16="http://schemas.microsoft.com/office/drawing/2014/main" id="{CAC81C16-17A7-450A-8AFE-D88FB7634A61}"/>
              </a:ext>
            </a:extLst>
          </p:cNvPr>
          <p:cNvSpPr>
            <a:spLocks/>
          </p:cNvSpPr>
          <p:nvPr/>
        </p:nvSpPr>
        <p:spPr>
          <a:xfrm>
            <a:off x="2760470" y="2675375"/>
            <a:ext cx="1881477" cy="9376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67" name="Rectangle 79">
            <a:extLst>
              <a:ext uri="{FF2B5EF4-FFF2-40B4-BE49-F238E27FC236}">
                <a16:creationId xmlns:a16="http://schemas.microsoft.com/office/drawing/2014/main" id="{C35100B0-FC26-4B3E-B43D-AF62AF29F5A2}"/>
              </a:ext>
            </a:extLst>
          </p:cNvPr>
          <p:cNvSpPr>
            <a:spLocks/>
          </p:cNvSpPr>
          <p:nvPr/>
        </p:nvSpPr>
        <p:spPr>
          <a:xfrm>
            <a:off x="7550050" y="2675375"/>
            <a:ext cx="1881477" cy="9376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cxnSp>
        <p:nvCxnSpPr>
          <p:cNvPr id="9" name="Gerade Verbindung mit Pfeil 8">
            <a:extLst>
              <a:ext uri="{FF2B5EF4-FFF2-40B4-BE49-F238E27FC236}">
                <a16:creationId xmlns:a16="http://schemas.microsoft.com/office/drawing/2014/main" id="{75E94DF0-4A9C-481E-A22C-C5CC375C3FC1}"/>
              </a:ext>
            </a:extLst>
          </p:cNvPr>
          <p:cNvCxnSpPr>
            <a:cxnSpLocks/>
          </p:cNvCxnSpPr>
          <p:nvPr/>
        </p:nvCxnSpPr>
        <p:spPr>
          <a:xfrm>
            <a:off x="1306419" y="4748984"/>
            <a:ext cx="0" cy="255639"/>
          </a:xfrm>
          <a:prstGeom prst="straightConnector1">
            <a:avLst/>
          </a:prstGeom>
          <a:ln w="22225">
            <a:solidFill>
              <a:srgbClr val="BBBEC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212A9BC3-E3FF-429A-A30B-F39352135C0F}"/>
              </a:ext>
            </a:extLst>
          </p:cNvPr>
          <p:cNvCxnSpPr>
            <a:cxnSpLocks/>
          </p:cNvCxnSpPr>
          <p:nvPr/>
        </p:nvCxnSpPr>
        <p:spPr>
          <a:xfrm>
            <a:off x="10885578" y="4748984"/>
            <a:ext cx="0" cy="255639"/>
          </a:xfrm>
          <a:prstGeom prst="straightConnector1">
            <a:avLst/>
          </a:prstGeom>
          <a:ln w="22225">
            <a:solidFill>
              <a:srgbClr val="BBBEC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A4094BB1-7AC4-41B6-AE69-857799A3C603}"/>
              </a:ext>
            </a:extLst>
          </p:cNvPr>
          <p:cNvCxnSpPr>
            <a:cxnSpLocks/>
          </p:cNvCxnSpPr>
          <p:nvPr/>
        </p:nvCxnSpPr>
        <p:spPr>
          <a:xfrm>
            <a:off x="3701209" y="4748984"/>
            <a:ext cx="0" cy="255639"/>
          </a:xfrm>
          <a:prstGeom prst="straightConnector1">
            <a:avLst/>
          </a:prstGeom>
          <a:ln w="22225">
            <a:solidFill>
              <a:srgbClr val="BBBEC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2D2363FE-1017-43C1-A82F-EDC6178B94EC}"/>
              </a:ext>
            </a:extLst>
          </p:cNvPr>
          <p:cNvCxnSpPr>
            <a:cxnSpLocks/>
          </p:cNvCxnSpPr>
          <p:nvPr/>
        </p:nvCxnSpPr>
        <p:spPr>
          <a:xfrm>
            <a:off x="6095999" y="4748984"/>
            <a:ext cx="0" cy="255639"/>
          </a:xfrm>
          <a:prstGeom prst="straightConnector1">
            <a:avLst/>
          </a:prstGeom>
          <a:ln w="22225">
            <a:solidFill>
              <a:srgbClr val="BBBEC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A348769F-6F9E-4095-986A-FECAEE2FE739}"/>
              </a:ext>
            </a:extLst>
          </p:cNvPr>
          <p:cNvCxnSpPr>
            <a:cxnSpLocks/>
          </p:cNvCxnSpPr>
          <p:nvPr/>
        </p:nvCxnSpPr>
        <p:spPr>
          <a:xfrm>
            <a:off x="8490789" y="4748984"/>
            <a:ext cx="0" cy="255639"/>
          </a:xfrm>
          <a:prstGeom prst="straightConnector1">
            <a:avLst/>
          </a:prstGeom>
          <a:ln w="22225">
            <a:solidFill>
              <a:srgbClr val="BBBEC2"/>
            </a:solidFill>
            <a:tailEnd type="triangle" w="lg" len="lg"/>
          </a:ln>
        </p:spPr>
        <p:style>
          <a:lnRef idx="1">
            <a:schemeClr val="accent1"/>
          </a:lnRef>
          <a:fillRef idx="0">
            <a:schemeClr val="accent1"/>
          </a:fillRef>
          <a:effectRef idx="0">
            <a:schemeClr val="accent1"/>
          </a:effectRef>
          <a:fontRef idx="minor">
            <a:schemeClr val="tx1"/>
          </a:fontRef>
        </p:style>
      </p:cxnSp>
      <p:sp>
        <p:nvSpPr>
          <p:cNvPr id="43" name="Rectangle 79">
            <a:extLst>
              <a:ext uri="{FF2B5EF4-FFF2-40B4-BE49-F238E27FC236}">
                <a16:creationId xmlns:a16="http://schemas.microsoft.com/office/drawing/2014/main" id="{5E8F0718-FC41-43A1-849C-16A3CB933B14}"/>
              </a:ext>
            </a:extLst>
          </p:cNvPr>
          <p:cNvSpPr>
            <a:spLocks/>
          </p:cNvSpPr>
          <p:nvPr/>
        </p:nvSpPr>
        <p:spPr>
          <a:xfrm>
            <a:off x="365680" y="5066521"/>
            <a:ext cx="1881476"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wo lines</a:t>
            </a:r>
          </a:p>
        </p:txBody>
      </p:sp>
      <p:sp>
        <p:nvSpPr>
          <p:cNvPr id="46" name="Rectangle 79">
            <a:extLst>
              <a:ext uri="{FF2B5EF4-FFF2-40B4-BE49-F238E27FC236}">
                <a16:creationId xmlns:a16="http://schemas.microsoft.com/office/drawing/2014/main" id="{017C9278-171C-4185-BE47-20F69EB0849E}"/>
              </a:ext>
            </a:extLst>
          </p:cNvPr>
          <p:cNvSpPr>
            <a:spLocks/>
          </p:cNvSpPr>
          <p:nvPr/>
        </p:nvSpPr>
        <p:spPr>
          <a:xfrm>
            <a:off x="9944839" y="5066521"/>
            <a:ext cx="1881476"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wo lines</a:t>
            </a:r>
          </a:p>
        </p:txBody>
      </p:sp>
      <p:sp>
        <p:nvSpPr>
          <p:cNvPr id="47" name="Rectangle 79">
            <a:extLst>
              <a:ext uri="{FF2B5EF4-FFF2-40B4-BE49-F238E27FC236}">
                <a16:creationId xmlns:a16="http://schemas.microsoft.com/office/drawing/2014/main" id="{A3855CA4-DCEE-4184-8E2E-EF8D148CF4EC}"/>
              </a:ext>
            </a:extLst>
          </p:cNvPr>
          <p:cNvSpPr>
            <a:spLocks/>
          </p:cNvSpPr>
          <p:nvPr/>
        </p:nvSpPr>
        <p:spPr>
          <a:xfrm>
            <a:off x="2760470" y="5066521"/>
            <a:ext cx="1881476"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wo lines</a:t>
            </a:r>
          </a:p>
        </p:txBody>
      </p:sp>
      <p:sp>
        <p:nvSpPr>
          <p:cNvPr id="48" name="Rectangle 79">
            <a:extLst>
              <a:ext uri="{FF2B5EF4-FFF2-40B4-BE49-F238E27FC236}">
                <a16:creationId xmlns:a16="http://schemas.microsoft.com/office/drawing/2014/main" id="{2B719BF2-2D40-4E2C-BA0B-80AB01E7CA8D}"/>
              </a:ext>
            </a:extLst>
          </p:cNvPr>
          <p:cNvSpPr>
            <a:spLocks/>
          </p:cNvSpPr>
          <p:nvPr/>
        </p:nvSpPr>
        <p:spPr>
          <a:xfrm>
            <a:off x="5155260" y="5066521"/>
            <a:ext cx="1881476"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wo lines</a:t>
            </a:r>
          </a:p>
        </p:txBody>
      </p:sp>
      <p:sp>
        <p:nvSpPr>
          <p:cNvPr id="49" name="Rectangle 79">
            <a:extLst>
              <a:ext uri="{FF2B5EF4-FFF2-40B4-BE49-F238E27FC236}">
                <a16:creationId xmlns:a16="http://schemas.microsoft.com/office/drawing/2014/main" id="{C74E96DB-8D4B-4967-B1F1-EDE9470A9046}"/>
              </a:ext>
            </a:extLst>
          </p:cNvPr>
          <p:cNvSpPr>
            <a:spLocks/>
          </p:cNvSpPr>
          <p:nvPr/>
        </p:nvSpPr>
        <p:spPr>
          <a:xfrm>
            <a:off x="7550050" y="5066521"/>
            <a:ext cx="1881476" cy="468846"/>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two lines</a:t>
            </a:r>
          </a:p>
        </p:txBody>
      </p:sp>
      <p:sp>
        <p:nvSpPr>
          <p:cNvPr id="50" name="RbLeanShape Left Angle 27">
            <a:extLst>
              <a:ext uri="{FF2B5EF4-FFF2-40B4-BE49-F238E27FC236}">
                <a16:creationId xmlns:a16="http://schemas.microsoft.com/office/drawing/2014/main" id="{94AF39FE-1C55-4F73-AAB4-19B734A7990D}"/>
              </a:ext>
            </a:extLst>
          </p:cNvPr>
          <p:cNvSpPr/>
          <p:nvPr/>
        </p:nvSpPr>
        <p:spPr>
          <a:xfrm>
            <a:off x="376790" y="1913430"/>
            <a:ext cx="1881473" cy="277066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51" name="RbLeanShape Left Angle 27">
            <a:extLst>
              <a:ext uri="{FF2B5EF4-FFF2-40B4-BE49-F238E27FC236}">
                <a16:creationId xmlns:a16="http://schemas.microsoft.com/office/drawing/2014/main" id="{654C43CA-5808-480C-9EF4-3A66D5AE79E1}"/>
              </a:ext>
            </a:extLst>
          </p:cNvPr>
          <p:cNvSpPr/>
          <p:nvPr/>
        </p:nvSpPr>
        <p:spPr>
          <a:xfrm>
            <a:off x="2760473" y="1913430"/>
            <a:ext cx="1881473" cy="277066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52" name="RbLeanShape Left Angle 27">
            <a:extLst>
              <a:ext uri="{FF2B5EF4-FFF2-40B4-BE49-F238E27FC236}">
                <a16:creationId xmlns:a16="http://schemas.microsoft.com/office/drawing/2014/main" id="{70164053-8517-4C88-8E70-84A545919985}"/>
              </a:ext>
            </a:extLst>
          </p:cNvPr>
          <p:cNvSpPr/>
          <p:nvPr/>
        </p:nvSpPr>
        <p:spPr>
          <a:xfrm>
            <a:off x="5155258" y="1913430"/>
            <a:ext cx="1881473" cy="277066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53" name="RbLeanShape Left Angle 27">
            <a:extLst>
              <a:ext uri="{FF2B5EF4-FFF2-40B4-BE49-F238E27FC236}">
                <a16:creationId xmlns:a16="http://schemas.microsoft.com/office/drawing/2014/main" id="{69DC11A5-8393-44B5-8114-E730CA622943}"/>
              </a:ext>
            </a:extLst>
          </p:cNvPr>
          <p:cNvSpPr/>
          <p:nvPr/>
        </p:nvSpPr>
        <p:spPr>
          <a:xfrm>
            <a:off x="7550046" y="1913430"/>
            <a:ext cx="1881473" cy="277066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63" name="RbLeanShape Left Angle 27">
            <a:extLst>
              <a:ext uri="{FF2B5EF4-FFF2-40B4-BE49-F238E27FC236}">
                <a16:creationId xmlns:a16="http://schemas.microsoft.com/office/drawing/2014/main" id="{B9DFCE97-1E5D-42CA-8514-395B2D29FC50}"/>
              </a:ext>
            </a:extLst>
          </p:cNvPr>
          <p:cNvSpPr/>
          <p:nvPr/>
        </p:nvSpPr>
        <p:spPr>
          <a:xfrm>
            <a:off x="9968100" y="1913430"/>
            <a:ext cx="1881473" cy="277066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44" name="RBContent19">
            <a:extLst>
              <a:ext uri="{FF2B5EF4-FFF2-40B4-BE49-F238E27FC236}">
                <a16:creationId xmlns:a16="http://schemas.microsoft.com/office/drawing/2014/main" id="{AB7963DF-81FC-41DB-9E30-7350CE4AC3B7}"/>
              </a:ext>
            </a:extLst>
          </p:cNvPr>
          <p:cNvSpPr txBox="1"/>
          <p:nvPr/>
        </p:nvSpPr>
        <p:spPr>
          <a:xfrm>
            <a:off x="376790" y="2025976"/>
            <a:ext cx="370943"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1</a:t>
            </a:r>
          </a:p>
        </p:txBody>
      </p:sp>
      <p:sp>
        <p:nvSpPr>
          <p:cNvPr id="36" name="Text 15">
            <a:extLst>
              <a:ext uri="{FF2B5EF4-FFF2-40B4-BE49-F238E27FC236}">
                <a16:creationId xmlns:a16="http://schemas.microsoft.com/office/drawing/2014/main" id="{55545156-A33B-4368-8BDD-C5289200D336}"/>
              </a:ext>
            </a:extLst>
          </p:cNvPr>
          <p:cNvSpPr>
            <a:spLocks noChangeArrowheads="1"/>
          </p:cNvSpPr>
          <p:nvPr/>
        </p:nvSpPr>
        <p:spPr bwMode="auto">
          <a:xfrm>
            <a:off x="755618" y="2044790"/>
            <a:ext cx="153392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Zweizeilige</a:t>
            </a:r>
          </a:p>
          <a:p>
            <a:pPr defTabSz="330200"/>
            <a:r>
              <a:rPr lang="en-GB" b="1">
                <a:latin typeface="+mj-lt"/>
                <a:ea typeface="PMingLiU" pitchFamily="18" charset="-120"/>
                <a:cs typeface="Arial" panose="020B0604020202020204" pitchFamily="34" charset="0"/>
              </a:rPr>
              <a:t>Header</a:t>
            </a:r>
          </a:p>
        </p:txBody>
      </p:sp>
      <p:sp>
        <p:nvSpPr>
          <p:cNvPr id="45" name="RBContent19">
            <a:extLst>
              <a:ext uri="{FF2B5EF4-FFF2-40B4-BE49-F238E27FC236}">
                <a16:creationId xmlns:a16="http://schemas.microsoft.com/office/drawing/2014/main" id="{0AC3D335-CE46-4646-B07D-E678C70F887E}"/>
              </a:ext>
            </a:extLst>
          </p:cNvPr>
          <p:cNvSpPr txBox="1"/>
          <p:nvPr/>
        </p:nvSpPr>
        <p:spPr>
          <a:xfrm>
            <a:off x="2757182" y="2025976"/>
            <a:ext cx="370247"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2</a:t>
            </a:r>
          </a:p>
        </p:txBody>
      </p:sp>
      <p:sp>
        <p:nvSpPr>
          <p:cNvPr id="57" name="Text 15">
            <a:extLst>
              <a:ext uri="{FF2B5EF4-FFF2-40B4-BE49-F238E27FC236}">
                <a16:creationId xmlns:a16="http://schemas.microsoft.com/office/drawing/2014/main" id="{1748C0DF-5C02-430C-887B-896DC75F367F}"/>
              </a:ext>
            </a:extLst>
          </p:cNvPr>
          <p:cNvSpPr>
            <a:spLocks noChangeArrowheads="1"/>
          </p:cNvSpPr>
          <p:nvPr/>
        </p:nvSpPr>
        <p:spPr bwMode="auto">
          <a:xfrm>
            <a:off x="3127429" y="2044790"/>
            <a:ext cx="1531047"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Zweizeilige</a:t>
            </a:r>
          </a:p>
          <a:p>
            <a:pPr defTabSz="330200"/>
            <a:r>
              <a:rPr lang="en-GB" b="1">
                <a:latin typeface="+mj-lt"/>
                <a:ea typeface="PMingLiU" pitchFamily="18" charset="-120"/>
                <a:cs typeface="Arial" panose="020B0604020202020204" pitchFamily="34" charset="0"/>
              </a:rPr>
              <a:t>Header</a:t>
            </a:r>
          </a:p>
        </p:txBody>
      </p:sp>
      <p:sp>
        <p:nvSpPr>
          <p:cNvPr id="54" name="RBContent19">
            <a:extLst>
              <a:ext uri="{FF2B5EF4-FFF2-40B4-BE49-F238E27FC236}">
                <a16:creationId xmlns:a16="http://schemas.microsoft.com/office/drawing/2014/main" id="{50F2DAEB-4894-4B80-A86D-C146790C5784}"/>
              </a:ext>
            </a:extLst>
          </p:cNvPr>
          <p:cNvSpPr txBox="1"/>
          <p:nvPr/>
        </p:nvSpPr>
        <p:spPr>
          <a:xfrm>
            <a:off x="5151971" y="2025976"/>
            <a:ext cx="371651"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3</a:t>
            </a:r>
          </a:p>
        </p:txBody>
      </p:sp>
      <p:sp>
        <p:nvSpPr>
          <p:cNvPr id="58" name="Text 15">
            <a:extLst>
              <a:ext uri="{FF2B5EF4-FFF2-40B4-BE49-F238E27FC236}">
                <a16:creationId xmlns:a16="http://schemas.microsoft.com/office/drawing/2014/main" id="{B6395252-9CB1-419C-81DF-B4850C1E26AA}"/>
              </a:ext>
            </a:extLst>
          </p:cNvPr>
          <p:cNvSpPr>
            <a:spLocks noChangeArrowheads="1"/>
          </p:cNvSpPr>
          <p:nvPr/>
        </p:nvSpPr>
        <p:spPr bwMode="auto">
          <a:xfrm>
            <a:off x="5518808" y="2044790"/>
            <a:ext cx="1536854"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Zweizeilige</a:t>
            </a:r>
          </a:p>
          <a:p>
            <a:pPr defTabSz="330200"/>
            <a:r>
              <a:rPr lang="en-GB" b="1">
                <a:latin typeface="+mj-lt"/>
                <a:ea typeface="PMingLiU" pitchFamily="18" charset="-120"/>
                <a:cs typeface="Arial" panose="020B0604020202020204" pitchFamily="34" charset="0"/>
              </a:rPr>
              <a:t>Header</a:t>
            </a:r>
          </a:p>
        </p:txBody>
      </p:sp>
      <p:sp>
        <p:nvSpPr>
          <p:cNvPr id="55" name="RBContent19">
            <a:extLst>
              <a:ext uri="{FF2B5EF4-FFF2-40B4-BE49-F238E27FC236}">
                <a16:creationId xmlns:a16="http://schemas.microsoft.com/office/drawing/2014/main" id="{2D5D9343-1825-4AA7-849A-D943ABD958EF}"/>
              </a:ext>
            </a:extLst>
          </p:cNvPr>
          <p:cNvSpPr txBox="1"/>
          <p:nvPr/>
        </p:nvSpPr>
        <p:spPr>
          <a:xfrm>
            <a:off x="7550038" y="2025976"/>
            <a:ext cx="369393"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4</a:t>
            </a:r>
          </a:p>
        </p:txBody>
      </p:sp>
      <p:sp>
        <p:nvSpPr>
          <p:cNvPr id="59" name="Text 15">
            <a:extLst>
              <a:ext uri="{FF2B5EF4-FFF2-40B4-BE49-F238E27FC236}">
                <a16:creationId xmlns:a16="http://schemas.microsoft.com/office/drawing/2014/main" id="{D8F85DB9-D2E8-439C-B477-ADFC53EB4719}"/>
              </a:ext>
            </a:extLst>
          </p:cNvPr>
          <p:cNvSpPr>
            <a:spLocks noChangeArrowheads="1"/>
          </p:cNvSpPr>
          <p:nvPr/>
        </p:nvSpPr>
        <p:spPr bwMode="auto">
          <a:xfrm>
            <a:off x="7921271" y="2044790"/>
            <a:ext cx="1527515"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Zweizeilige</a:t>
            </a:r>
          </a:p>
          <a:p>
            <a:pPr defTabSz="330200"/>
            <a:r>
              <a:rPr lang="en-GB" b="1">
                <a:latin typeface="+mj-lt"/>
                <a:ea typeface="PMingLiU" pitchFamily="18" charset="-120"/>
                <a:cs typeface="Arial" panose="020B0604020202020204" pitchFamily="34" charset="0"/>
              </a:rPr>
              <a:t>Header</a:t>
            </a:r>
          </a:p>
        </p:txBody>
      </p:sp>
      <p:sp>
        <p:nvSpPr>
          <p:cNvPr id="56" name="RBContent19">
            <a:extLst>
              <a:ext uri="{FF2B5EF4-FFF2-40B4-BE49-F238E27FC236}">
                <a16:creationId xmlns:a16="http://schemas.microsoft.com/office/drawing/2014/main" id="{AFA2737B-25EE-4884-B987-C212105418E5}"/>
              </a:ext>
            </a:extLst>
          </p:cNvPr>
          <p:cNvSpPr txBox="1"/>
          <p:nvPr/>
        </p:nvSpPr>
        <p:spPr>
          <a:xfrm>
            <a:off x="9980800" y="2025976"/>
            <a:ext cx="366388" cy="664797"/>
          </a:xfrm>
          <a:prstGeom prst="rect">
            <a:avLst/>
          </a:prstGeom>
          <a:noFill/>
          <a:ln w="9525">
            <a:noFill/>
          </a:ln>
        </p:spPr>
        <p:txBody>
          <a:bodyPr vert="horz" wrap="square" lIns="0" tIns="0" rIns="0" bIns="0" rtlCol="0">
            <a:spAutoFit/>
          </a:bodyPr>
          <a:lstStyle/>
          <a:p>
            <a:pPr defTabSz="1043056" fontAlgn="base">
              <a:lnSpc>
                <a:spcPct val="90000"/>
              </a:lnSpc>
              <a:spcBef>
                <a:spcPts val="400"/>
              </a:spcBef>
              <a:spcAft>
                <a:spcPct val="0"/>
              </a:spcAft>
              <a:buClr>
                <a:srgbClr val="000000"/>
              </a:buClr>
              <a:buSzPct val="100000"/>
            </a:pPr>
            <a:r>
              <a:rPr lang="en-GB" sz="4800" b="1">
                <a:solidFill>
                  <a:srgbClr val="8D8EA7"/>
                </a:solidFill>
                <a:latin typeface="+mj-lt"/>
              </a:rPr>
              <a:t>5</a:t>
            </a:r>
          </a:p>
        </p:txBody>
      </p:sp>
      <p:sp>
        <p:nvSpPr>
          <p:cNvPr id="60" name="Text 15">
            <a:extLst>
              <a:ext uri="{FF2B5EF4-FFF2-40B4-BE49-F238E27FC236}">
                <a16:creationId xmlns:a16="http://schemas.microsoft.com/office/drawing/2014/main" id="{C21CBF56-366F-40F4-9C2A-D35FBE4F3167}"/>
              </a:ext>
            </a:extLst>
          </p:cNvPr>
          <p:cNvSpPr>
            <a:spLocks noChangeArrowheads="1"/>
          </p:cNvSpPr>
          <p:nvPr/>
        </p:nvSpPr>
        <p:spPr bwMode="auto">
          <a:xfrm>
            <a:off x="10347188" y="2044790"/>
            <a:ext cx="1515089" cy="553998"/>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Zweizeilige</a:t>
            </a:r>
          </a:p>
          <a:p>
            <a:pPr defTabSz="330200"/>
            <a:r>
              <a:rPr lang="en-GB" b="1">
                <a:latin typeface="+mj-lt"/>
                <a:ea typeface="PMingLiU" pitchFamily="18" charset="-120"/>
                <a:cs typeface="Arial" panose="020B0604020202020204" pitchFamily="34" charset="0"/>
              </a:rPr>
              <a:t>Header</a:t>
            </a:r>
          </a:p>
        </p:txBody>
      </p:sp>
    </p:spTree>
    <p:extLst>
      <p:ext uri="{BB962C8B-B14F-4D97-AF65-F5344CB8AC3E}">
        <p14:creationId xmlns:p14="http://schemas.microsoft.com/office/powerpoint/2010/main" val="5813221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id="{D425F4BF-A65E-422B-9C27-CFB3C2A2FF06}"/>
              </a:ext>
            </a:extLst>
          </p:cNvPr>
          <p:cNvSpPr/>
          <p:nvPr/>
        </p:nvSpPr>
        <p:spPr>
          <a:xfrm>
            <a:off x="4321058" y="2244974"/>
            <a:ext cx="3600000" cy="36288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tIns="133200" rtlCol="0" anchor="t"/>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Describing</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text over</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multiple lines</a:t>
            </a:r>
          </a:p>
          <a:p>
            <a:pPr marL="190062" lvl="3" indent="-190062" fontAlgn="base">
              <a:lnSpc>
                <a:spcPct val="90000"/>
              </a:lnSpc>
              <a:spcBef>
                <a:spcPts val="181"/>
              </a:spcBef>
              <a:spcAft>
                <a:spcPct val="0"/>
              </a:spcAft>
              <a:buClr>
                <a:srgbClr val="A2A2A2"/>
              </a:buClr>
              <a:buSzPct val="100000"/>
              <a:buFont typeface="Wingdings"/>
              <a:buChar char="§"/>
              <a:defRPr/>
            </a:pPr>
            <a:r>
              <a:rPr lang="en-GB" sz="1600">
                <a:solidFill>
                  <a:schemeClr val="tx1"/>
                </a:solidFill>
              </a:rPr>
              <a:t>…</a:t>
            </a:r>
          </a:p>
        </p:txBody>
      </p:sp>
      <p:sp>
        <p:nvSpPr>
          <p:cNvPr id="30" name="Rectangle 29">
            <a:extLst>
              <a:ext uri="{FF2B5EF4-FFF2-40B4-BE49-F238E27FC236}">
                <a16:creationId xmlns:a16="http://schemas.microsoft.com/office/drawing/2014/main" id="{15DBA3C0-2FF4-4FBD-87F8-B1F1D6BF60DE}"/>
              </a:ext>
            </a:extLst>
          </p:cNvPr>
          <p:cNvSpPr/>
          <p:nvPr/>
        </p:nvSpPr>
        <p:spPr>
          <a:xfrm>
            <a:off x="414032" y="2328688"/>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4" name="Rectangle 43">
            <a:extLst>
              <a:ext uri="{FF2B5EF4-FFF2-40B4-BE49-F238E27FC236}">
                <a16:creationId xmlns:a16="http://schemas.microsoft.com/office/drawing/2014/main" id="{4604A0BF-FA97-4192-8FBA-2C972BC5CE45}"/>
              </a:ext>
            </a:extLst>
          </p:cNvPr>
          <p:cNvSpPr/>
          <p:nvPr/>
        </p:nvSpPr>
        <p:spPr>
          <a:xfrm>
            <a:off x="8228082" y="2328688"/>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a:t>
            </a:r>
            <a:r>
              <a:rPr lang="en-GB" err="1"/>
              <a:t>sed</a:t>
            </a:r>
            <a:r>
              <a:rPr lang="en-GB"/>
              <a:t>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a:off x="363918" y="2244974"/>
            <a:ext cx="3650115" cy="1"/>
          </a:xfrm>
          <a:prstGeom prst="line">
            <a:avLst/>
          </a:prstGeom>
          <a:ln w="22225">
            <a:solidFill>
              <a:srgbClr val="BBBEC2"/>
            </a:solidFill>
            <a:tailEnd type="triangle" w="lg" len="lg"/>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363918" y="1913371"/>
            <a:ext cx="3650115"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Single-line header</a:t>
            </a: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321058" y="1922702"/>
            <a:ext cx="3600000" cy="276999"/>
          </a:xfrm>
          <a:prstGeom prst="rect">
            <a:avLst/>
          </a:prstGeom>
          <a:noFill/>
          <a:ln w="6350">
            <a:noFill/>
            <a:miter lim="800000"/>
            <a:headEnd/>
            <a:tailEnd/>
          </a:ln>
        </p:spPr>
        <p:txBody>
          <a:bodyPr wrap="square" lIns="0" tIns="0" rIns="0" bIns="0">
            <a:spAutoFit/>
          </a:bodyPr>
          <a:lstStyle/>
          <a:p>
            <a:pPr algn="ctr" defTabSz="330200"/>
            <a:r>
              <a:rPr lang="en-GB" b="1">
                <a:latin typeface="+mj-lt"/>
                <a:ea typeface="PMingLiU" pitchFamily="18" charset="-120"/>
                <a:cs typeface="Arial" panose="020B0604020202020204" pitchFamily="34" charset="0"/>
              </a:rPr>
              <a:t>Results</a:t>
            </a:r>
          </a:p>
        </p:txBody>
      </p:sp>
      <p:sp>
        <p:nvSpPr>
          <p:cNvPr id="42" name="Line 2">
            <a:extLst>
              <a:ext uri="{FF2B5EF4-FFF2-40B4-BE49-F238E27FC236}">
                <a16:creationId xmlns:a16="http://schemas.microsoft.com/office/drawing/2014/main" id="{B9970547-0B2D-47F5-943E-D37CABA419C6}"/>
              </a:ext>
            </a:extLst>
          </p:cNvPr>
          <p:cNvSpPr>
            <a:spLocks noChangeShapeType="1"/>
          </p:cNvSpPr>
          <p:nvPr/>
        </p:nvSpPr>
        <p:spPr bwMode="auto">
          <a:xfrm flipH="1" flipV="1">
            <a:off x="8228082" y="2244974"/>
            <a:ext cx="3598235" cy="1"/>
          </a:xfrm>
          <a:prstGeom prst="line">
            <a:avLst/>
          </a:prstGeom>
          <a:ln w="22225">
            <a:solidFill>
              <a:srgbClr val="BBBEC2"/>
            </a:solidFill>
            <a:tailEnd type="triangle" w="lg" len="lg"/>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228082" y="1913371"/>
            <a:ext cx="3598235" cy="274320"/>
          </a:xfrm>
          <a:prstGeom prst="rect">
            <a:avLst/>
          </a:prstGeom>
          <a:noFill/>
          <a:ln w="6350">
            <a:noFill/>
            <a:miter lim="800000"/>
            <a:headEnd/>
            <a:tailEnd/>
          </a:ln>
        </p:spPr>
        <p:txBody>
          <a:bodyPr wrap="square" lIns="0" tIns="0" rIns="0" bIns="0">
            <a:spAutoFit/>
          </a:bodyPr>
          <a:lstStyle/>
          <a:p>
            <a:pPr algn="r" defTabSz="330200"/>
            <a:r>
              <a:rPr lang="en-GB" b="1">
                <a:latin typeface="+mj-lt"/>
                <a:ea typeface="PMingLiU" pitchFamily="18" charset="-120"/>
                <a:cs typeface="Arial" panose="020B0604020202020204" pitchFamily="34" charset="0"/>
              </a:rPr>
              <a:t>Single-line header</a:t>
            </a:r>
          </a:p>
        </p:txBody>
      </p:sp>
      <p:sp>
        <p:nvSpPr>
          <p:cNvPr id="32" name="Line 2">
            <a:extLst>
              <a:ext uri="{FF2B5EF4-FFF2-40B4-BE49-F238E27FC236}">
                <a16:creationId xmlns:a16="http://schemas.microsoft.com/office/drawing/2014/main" id="{FCD4F1E6-B18B-4800-8015-68CCA18AF1A7}"/>
              </a:ext>
            </a:extLst>
          </p:cNvPr>
          <p:cNvSpPr>
            <a:spLocks noChangeShapeType="1"/>
          </p:cNvSpPr>
          <p:nvPr/>
        </p:nvSpPr>
        <p:spPr bwMode="auto">
          <a:xfrm>
            <a:off x="4321058" y="2244974"/>
            <a:ext cx="3600000" cy="0"/>
          </a:xfrm>
          <a:prstGeom prst="line">
            <a:avLst/>
          </a:prstGeom>
          <a:noFill/>
          <a:ln w="22225">
            <a:solidFill>
              <a:srgbClr val="7F7F7F"/>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14863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bLeanShape Left Angle 27">
            <a:extLst>
              <a:ext uri="{FF2B5EF4-FFF2-40B4-BE49-F238E27FC236}">
                <a16:creationId xmlns:a16="http://schemas.microsoft.com/office/drawing/2014/main" id="{B83B93DE-B537-4998-A6C7-E21DF23BC487}"/>
              </a:ext>
            </a:extLst>
          </p:cNvPr>
          <p:cNvSpPr/>
          <p:nvPr/>
        </p:nvSpPr>
        <p:spPr>
          <a:xfrm>
            <a:off x="365681" y="2253684"/>
            <a:ext cx="5616858" cy="362694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6" name="Rectangle 78">
            <a:extLst>
              <a:ext uri="{FF2B5EF4-FFF2-40B4-BE49-F238E27FC236}">
                <a16:creationId xmlns:a16="http://schemas.microsoft.com/office/drawing/2014/main" id="{48BD0EFB-69A7-41CB-8F34-D400709B3115}"/>
              </a:ext>
            </a:extLst>
          </p:cNvPr>
          <p:cNvSpPr/>
          <p:nvPr/>
        </p:nvSpPr>
        <p:spPr>
          <a:xfrm>
            <a:off x="365681" y="1913371"/>
            <a:ext cx="5616858"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41330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bLeanShape Left Angle 27">
            <a:extLst>
              <a:ext uri="{FF2B5EF4-FFF2-40B4-BE49-F238E27FC236}">
                <a16:creationId xmlns:a16="http://schemas.microsoft.com/office/drawing/2014/main" id="{70DA0F8D-3CBC-4D3C-89D4-B056CAD32D82}"/>
              </a:ext>
            </a:extLst>
          </p:cNvPr>
          <p:cNvSpPr/>
          <p:nvPr/>
        </p:nvSpPr>
        <p:spPr>
          <a:xfrm flipH="1">
            <a:off x="6209462" y="2253684"/>
            <a:ext cx="5616861" cy="362694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8" name="Rectangle 78">
            <a:extLst>
              <a:ext uri="{FF2B5EF4-FFF2-40B4-BE49-F238E27FC236}">
                <a16:creationId xmlns:a16="http://schemas.microsoft.com/office/drawing/2014/main" id="{5D54B4F1-CD1C-48C2-B49A-47C8588344B3}"/>
              </a:ext>
            </a:extLst>
          </p:cNvPr>
          <p:cNvSpPr/>
          <p:nvPr/>
        </p:nvSpPr>
        <p:spPr>
          <a:xfrm>
            <a:off x="6209455" y="1913371"/>
            <a:ext cx="5616861"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5" name="Rectangle 79">
            <a:extLst>
              <a:ext uri="{FF2B5EF4-FFF2-40B4-BE49-F238E27FC236}">
                <a16:creationId xmlns:a16="http://schemas.microsoft.com/office/drawing/2014/main" id="{B9D81F06-19F5-437B-90CE-9E2A363B68C5}"/>
              </a:ext>
            </a:extLst>
          </p:cNvPr>
          <p:cNvSpPr>
            <a:spLocks/>
          </p:cNvSpPr>
          <p:nvPr/>
        </p:nvSpPr>
        <p:spPr>
          <a:xfrm flipH="1">
            <a:off x="625708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143563615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bLeanShape Left Angle 27">
            <a:extLst>
              <a:ext uri="{FF2B5EF4-FFF2-40B4-BE49-F238E27FC236}">
                <a16:creationId xmlns:a16="http://schemas.microsoft.com/office/drawing/2014/main" id="{B83B93DE-B537-4998-A6C7-E21DF23BC487}"/>
              </a:ext>
            </a:extLst>
          </p:cNvPr>
          <p:cNvSpPr/>
          <p:nvPr/>
        </p:nvSpPr>
        <p:spPr>
          <a:xfrm>
            <a:off x="365681" y="2253684"/>
            <a:ext cx="5616858" cy="362694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3</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6" name="Rectangle 78">
            <a:extLst>
              <a:ext uri="{FF2B5EF4-FFF2-40B4-BE49-F238E27FC236}">
                <a16:creationId xmlns:a16="http://schemas.microsoft.com/office/drawing/2014/main" id="{48BD0EFB-69A7-41CB-8F34-D400709B3115}"/>
              </a:ext>
            </a:extLst>
          </p:cNvPr>
          <p:cNvSpPr/>
          <p:nvPr/>
        </p:nvSpPr>
        <p:spPr>
          <a:xfrm>
            <a:off x="847718" y="194493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41330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bLeanShape Left Angle 27">
            <a:extLst>
              <a:ext uri="{FF2B5EF4-FFF2-40B4-BE49-F238E27FC236}">
                <a16:creationId xmlns:a16="http://schemas.microsoft.com/office/drawing/2014/main" id="{70DA0F8D-3CBC-4D3C-89D4-B056CAD32D82}"/>
              </a:ext>
            </a:extLst>
          </p:cNvPr>
          <p:cNvSpPr/>
          <p:nvPr/>
        </p:nvSpPr>
        <p:spPr>
          <a:xfrm flipH="1">
            <a:off x="6209462" y="2253684"/>
            <a:ext cx="5616861" cy="362694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8" name="Rectangle 78">
            <a:extLst>
              <a:ext uri="{FF2B5EF4-FFF2-40B4-BE49-F238E27FC236}">
                <a16:creationId xmlns:a16="http://schemas.microsoft.com/office/drawing/2014/main" id="{5D54B4F1-CD1C-48C2-B49A-47C8588344B3}"/>
              </a:ext>
            </a:extLst>
          </p:cNvPr>
          <p:cNvSpPr/>
          <p:nvPr/>
        </p:nvSpPr>
        <p:spPr>
          <a:xfrm>
            <a:off x="6209456" y="194493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5" name="Rectangle 79">
            <a:extLst>
              <a:ext uri="{FF2B5EF4-FFF2-40B4-BE49-F238E27FC236}">
                <a16:creationId xmlns:a16="http://schemas.microsoft.com/office/drawing/2014/main" id="{B9D81F06-19F5-437B-90CE-9E2A363B68C5}"/>
              </a:ext>
            </a:extLst>
          </p:cNvPr>
          <p:cNvSpPr>
            <a:spLocks/>
          </p:cNvSpPr>
          <p:nvPr/>
        </p:nvSpPr>
        <p:spPr>
          <a:xfrm flipH="1">
            <a:off x="625708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grpSp>
        <p:nvGrpSpPr>
          <p:cNvPr id="10" name="Gruppieren 9">
            <a:extLst>
              <a:ext uri="{FF2B5EF4-FFF2-40B4-BE49-F238E27FC236}">
                <a16:creationId xmlns:a16="http://schemas.microsoft.com/office/drawing/2014/main" id="{AAB722DD-FCE4-443D-8E77-A53ACFA7B457}"/>
              </a:ext>
            </a:extLst>
          </p:cNvPr>
          <p:cNvGrpSpPr/>
          <p:nvPr/>
        </p:nvGrpSpPr>
        <p:grpSpPr>
          <a:xfrm>
            <a:off x="365677" y="1899375"/>
            <a:ext cx="365760" cy="365760"/>
            <a:chOff x="365681" y="1968888"/>
            <a:chExt cx="365760" cy="365760"/>
          </a:xfrm>
        </p:grpSpPr>
        <p:sp>
          <p:nvSpPr>
            <p:cNvPr id="5" name="Rechteck 4">
              <a:extLst>
                <a:ext uri="{FF2B5EF4-FFF2-40B4-BE49-F238E27FC236}">
                  <a16:creationId xmlns:a16="http://schemas.microsoft.com/office/drawing/2014/main" id="{8CD466C9-7A85-454E-970B-866D8281D40E}"/>
                </a:ext>
              </a:extLst>
            </p:cNvPr>
            <p:cNvSpPr/>
            <p:nvPr/>
          </p:nvSpPr>
          <p:spPr>
            <a:xfrm>
              <a:off x="365681" y="1968888"/>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dditionszeichen 8">
              <a:extLst>
                <a:ext uri="{FF2B5EF4-FFF2-40B4-BE49-F238E27FC236}">
                  <a16:creationId xmlns:a16="http://schemas.microsoft.com/office/drawing/2014/main" id="{2C019FA5-1A53-462E-84C3-CDC8361EF630}"/>
                </a:ext>
              </a:extLst>
            </p:cNvPr>
            <p:cNvSpPr/>
            <p:nvPr/>
          </p:nvSpPr>
          <p:spPr>
            <a:xfrm>
              <a:off x="411401" y="201460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 name="Gruppieren 11">
            <a:extLst>
              <a:ext uri="{FF2B5EF4-FFF2-40B4-BE49-F238E27FC236}">
                <a16:creationId xmlns:a16="http://schemas.microsoft.com/office/drawing/2014/main" id="{635740F0-2A89-4F45-9768-7A1E2D353C7E}"/>
              </a:ext>
            </a:extLst>
          </p:cNvPr>
          <p:cNvGrpSpPr/>
          <p:nvPr/>
        </p:nvGrpSpPr>
        <p:grpSpPr>
          <a:xfrm>
            <a:off x="11460557" y="1898309"/>
            <a:ext cx="365760" cy="365760"/>
            <a:chOff x="836245" y="1767694"/>
            <a:chExt cx="365760" cy="365760"/>
          </a:xfrm>
        </p:grpSpPr>
        <p:sp>
          <p:nvSpPr>
            <p:cNvPr id="20" name="Rechteck 19">
              <a:extLst>
                <a:ext uri="{FF2B5EF4-FFF2-40B4-BE49-F238E27FC236}">
                  <a16:creationId xmlns:a16="http://schemas.microsoft.com/office/drawing/2014/main" id="{82DB7E7F-25B1-4AE4-99EB-71D0A8BDE5FE}"/>
                </a:ext>
              </a:extLst>
            </p:cNvPr>
            <p:cNvSpPr/>
            <p:nvPr/>
          </p:nvSpPr>
          <p:spPr>
            <a:xfrm>
              <a:off x="836245" y="1767694"/>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Minuszeichen 10">
              <a:extLst>
                <a:ext uri="{FF2B5EF4-FFF2-40B4-BE49-F238E27FC236}">
                  <a16:creationId xmlns:a16="http://schemas.microsoft.com/office/drawing/2014/main" id="{B95CC010-4A7A-456E-BBE2-CD89B6290321}"/>
                </a:ext>
              </a:extLst>
            </p:cNvPr>
            <p:cNvSpPr/>
            <p:nvPr/>
          </p:nvSpPr>
          <p:spPr>
            <a:xfrm>
              <a:off x="881965" y="1813414"/>
              <a:ext cx="274320" cy="274320"/>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7170495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bLeanShape Left Angle 27">
            <a:extLst>
              <a:ext uri="{FF2B5EF4-FFF2-40B4-BE49-F238E27FC236}">
                <a16:creationId xmlns:a16="http://schemas.microsoft.com/office/drawing/2014/main" id="{B83B93DE-B537-4998-A6C7-E21DF23BC487}"/>
              </a:ext>
            </a:extLst>
          </p:cNvPr>
          <p:cNvSpPr/>
          <p:nvPr/>
        </p:nvSpPr>
        <p:spPr>
          <a:xfrm>
            <a:off x="365680" y="2253684"/>
            <a:ext cx="5616859"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4</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6" name="Rectangle 78">
            <a:extLst>
              <a:ext uri="{FF2B5EF4-FFF2-40B4-BE49-F238E27FC236}">
                <a16:creationId xmlns:a16="http://schemas.microsoft.com/office/drawing/2014/main" id="{48BD0EFB-69A7-41CB-8F34-D400709B3115}"/>
              </a:ext>
            </a:extLst>
          </p:cNvPr>
          <p:cNvSpPr/>
          <p:nvPr/>
        </p:nvSpPr>
        <p:spPr>
          <a:xfrm>
            <a:off x="365681" y="1944935"/>
            <a:ext cx="5616858"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41330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bLeanShape Left Angle 27">
            <a:extLst>
              <a:ext uri="{FF2B5EF4-FFF2-40B4-BE49-F238E27FC236}">
                <a16:creationId xmlns:a16="http://schemas.microsoft.com/office/drawing/2014/main" id="{70DA0F8D-3CBC-4D3C-89D4-B056CAD32D82}"/>
              </a:ext>
            </a:extLst>
          </p:cNvPr>
          <p:cNvSpPr/>
          <p:nvPr/>
        </p:nvSpPr>
        <p:spPr>
          <a:xfrm flipH="1">
            <a:off x="6209461" y="2253684"/>
            <a:ext cx="5616861"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8" name="Rectangle 78">
            <a:extLst>
              <a:ext uri="{FF2B5EF4-FFF2-40B4-BE49-F238E27FC236}">
                <a16:creationId xmlns:a16="http://schemas.microsoft.com/office/drawing/2014/main" id="{5D54B4F1-CD1C-48C2-B49A-47C8588344B3}"/>
              </a:ext>
            </a:extLst>
          </p:cNvPr>
          <p:cNvSpPr/>
          <p:nvPr/>
        </p:nvSpPr>
        <p:spPr>
          <a:xfrm>
            <a:off x="6209455" y="1944935"/>
            <a:ext cx="5616861"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5" name="Rectangle 79">
            <a:extLst>
              <a:ext uri="{FF2B5EF4-FFF2-40B4-BE49-F238E27FC236}">
                <a16:creationId xmlns:a16="http://schemas.microsoft.com/office/drawing/2014/main" id="{B9D81F06-19F5-437B-90CE-9E2A363B68C5}"/>
              </a:ext>
            </a:extLst>
          </p:cNvPr>
          <p:cNvSpPr>
            <a:spLocks/>
          </p:cNvSpPr>
          <p:nvPr/>
        </p:nvSpPr>
        <p:spPr>
          <a:xfrm flipH="1">
            <a:off x="625708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9" name="RbLeanShape Left Angle 27">
            <a:extLst>
              <a:ext uri="{FF2B5EF4-FFF2-40B4-BE49-F238E27FC236}">
                <a16:creationId xmlns:a16="http://schemas.microsoft.com/office/drawing/2014/main" id="{9B9B3D52-147D-490A-8AAC-B986AED9A6B7}"/>
              </a:ext>
            </a:extLst>
          </p:cNvPr>
          <p:cNvSpPr/>
          <p:nvPr/>
        </p:nvSpPr>
        <p:spPr>
          <a:xfrm>
            <a:off x="365678" y="4178363"/>
            <a:ext cx="5616859"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0" name="Rectangle 78">
            <a:extLst>
              <a:ext uri="{FF2B5EF4-FFF2-40B4-BE49-F238E27FC236}">
                <a16:creationId xmlns:a16="http://schemas.microsoft.com/office/drawing/2014/main" id="{9681B682-F2D3-49DB-B6A1-04C782EF09CB}"/>
              </a:ext>
            </a:extLst>
          </p:cNvPr>
          <p:cNvSpPr/>
          <p:nvPr/>
        </p:nvSpPr>
        <p:spPr>
          <a:xfrm>
            <a:off x="365679" y="3869614"/>
            <a:ext cx="5616858"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1" name="Rectangle 79">
            <a:extLst>
              <a:ext uri="{FF2B5EF4-FFF2-40B4-BE49-F238E27FC236}">
                <a16:creationId xmlns:a16="http://schemas.microsoft.com/office/drawing/2014/main" id="{BEC63275-9CDC-4663-A837-07681C04F713}"/>
              </a:ext>
            </a:extLst>
          </p:cNvPr>
          <p:cNvSpPr>
            <a:spLocks/>
          </p:cNvSpPr>
          <p:nvPr/>
        </p:nvSpPr>
        <p:spPr>
          <a:xfrm flipH="1">
            <a:off x="413298" y="4256494"/>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bLeanShape Left Angle 27">
            <a:extLst>
              <a:ext uri="{FF2B5EF4-FFF2-40B4-BE49-F238E27FC236}">
                <a16:creationId xmlns:a16="http://schemas.microsoft.com/office/drawing/2014/main" id="{B9EA3CC2-A437-4490-A8A2-92D8FD92714D}"/>
              </a:ext>
            </a:extLst>
          </p:cNvPr>
          <p:cNvSpPr/>
          <p:nvPr/>
        </p:nvSpPr>
        <p:spPr>
          <a:xfrm flipH="1">
            <a:off x="6209459" y="4178363"/>
            <a:ext cx="5616861"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3" name="Rectangle 78">
            <a:extLst>
              <a:ext uri="{FF2B5EF4-FFF2-40B4-BE49-F238E27FC236}">
                <a16:creationId xmlns:a16="http://schemas.microsoft.com/office/drawing/2014/main" id="{C6008CE3-BE6B-4066-8305-4A4171CE10FD}"/>
              </a:ext>
            </a:extLst>
          </p:cNvPr>
          <p:cNvSpPr/>
          <p:nvPr/>
        </p:nvSpPr>
        <p:spPr>
          <a:xfrm>
            <a:off x="6209453" y="3869614"/>
            <a:ext cx="5616861"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7" name="Rectangle 79">
            <a:extLst>
              <a:ext uri="{FF2B5EF4-FFF2-40B4-BE49-F238E27FC236}">
                <a16:creationId xmlns:a16="http://schemas.microsoft.com/office/drawing/2014/main" id="{54041A56-89BB-4DF0-BF4F-958B7DEB2699}"/>
              </a:ext>
            </a:extLst>
          </p:cNvPr>
          <p:cNvSpPr>
            <a:spLocks/>
          </p:cNvSpPr>
          <p:nvPr/>
        </p:nvSpPr>
        <p:spPr>
          <a:xfrm flipH="1">
            <a:off x="6257078" y="4256494"/>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109208970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bLeanShape Left Angle 27">
            <a:extLst>
              <a:ext uri="{FF2B5EF4-FFF2-40B4-BE49-F238E27FC236}">
                <a16:creationId xmlns:a16="http://schemas.microsoft.com/office/drawing/2014/main" id="{B83B93DE-B537-4998-A6C7-E21DF23BC487}"/>
              </a:ext>
            </a:extLst>
          </p:cNvPr>
          <p:cNvSpPr/>
          <p:nvPr/>
        </p:nvSpPr>
        <p:spPr>
          <a:xfrm>
            <a:off x="365680" y="2253684"/>
            <a:ext cx="5616859"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5</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9" name="Rectangle 79">
            <a:extLst>
              <a:ext uri="{FF2B5EF4-FFF2-40B4-BE49-F238E27FC236}">
                <a16:creationId xmlns:a16="http://schemas.microsoft.com/office/drawing/2014/main" id="{EE13DE7F-AA74-4035-B98E-E472DE115D85}"/>
              </a:ext>
            </a:extLst>
          </p:cNvPr>
          <p:cNvSpPr>
            <a:spLocks/>
          </p:cNvSpPr>
          <p:nvPr/>
        </p:nvSpPr>
        <p:spPr>
          <a:xfrm flipH="1">
            <a:off x="41330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5" name="RbLeanShape Left Angle 27">
            <a:extLst>
              <a:ext uri="{FF2B5EF4-FFF2-40B4-BE49-F238E27FC236}">
                <a16:creationId xmlns:a16="http://schemas.microsoft.com/office/drawing/2014/main" id="{70DA0F8D-3CBC-4D3C-89D4-B056CAD32D82}"/>
              </a:ext>
            </a:extLst>
          </p:cNvPr>
          <p:cNvSpPr/>
          <p:nvPr/>
        </p:nvSpPr>
        <p:spPr>
          <a:xfrm flipH="1">
            <a:off x="6209461" y="2253684"/>
            <a:ext cx="5616861"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45" name="Rectangle 79">
            <a:extLst>
              <a:ext uri="{FF2B5EF4-FFF2-40B4-BE49-F238E27FC236}">
                <a16:creationId xmlns:a16="http://schemas.microsoft.com/office/drawing/2014/main" id="{B9D81F06-19F5-437B-90CE-9E2A363B68C5}"/>
              </a:ext>
            </a:extLst>
          </p:cNvPr>
          <p:cNvSpPr>
            <a:spLocks/>
          </p:cNvSpPr>
          <p:nvPr/>
        </p:nvSpPr>
        <p:spPr>
          <a:xfrm flipH="1">
            <a:off x="6257080" y="2331815"/>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9" name="RbLeanShape Left Angle 27">
            <a:extLst>
              <a:ext uri="{FF2B5EF4-FFF2-40B4-BE49-F238E27FC236}">
                <a16:creationId xmlns:a16="http://schemas.microsoft.com/office/drawing/2014/main" id="{9B9B3D52-147D-490A-8AAC-B986AED9A6B7}"/>
              </a:ext>
            </a:extLst>
          </p:cNvPr>
          <p:cNvSpPr/>
          <p:nvPr/>
        </p:nvSpPr>
        <p:spPr>
          <a:xfrm>
            <a:off x="365678" y="4178363"/>
            <a:ext cx="5616859"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1" name="Rectangle 79">
            <a:extLst>
              <a:ext uri="{FF2B5EF4-FFF2-40B4-BE49-F238E27FC236}">
                <a16:creationId xmlns:a16="http://schemas.microsoft.com/office/drawing/2014/main" id="{BEC63275-9CDC-4663-A837-07681C04F713}"/>
              </a:ext>
            </a:extLst>
          </p:cNvPr>
          <p:cNvSpPr>
            <a:spLocks/>
          </p:cNvSpPr>
          <p:nvPr/>
        </p:nvSpPr>
        <p:spPr>
          <a:xfrm flipH="1">
            <a:off x="413298" y="4256494"/>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2" name="RbLeanShape Left Angle 27">
            <a:extLst>
              <a:ext uri="{FF2B5EF4-FFF2-40B4-BE49-F238E27FC236}">
                <a16:creationId xmlns:a16="http://schemas.microsoft.com/office/drawing/2014/main" id="{B9EA3CC2-A437-4490-A8A2-92D8FD92714D}"/>
              </a:ext>
            </a:extLst>
          </p:cNvPr>
          <p:cNvSpPr/>
          <p:nvPr/>
        </p:nvSpPr>
        <p:spPr>
          <a:xfrm flipH="1">
            <a:off x="6209459" y="4178363"/>
            <a:ext cx="5616861" cy="169881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7" name="Rectangle 79">
            <a:extLst>
              <a:ext uri="{FF2B5EF4-FFF2-40B4-BE49-F238E27FC236}">
                <a16:creationId xmlns:a16="http://schemas.microsoft.com/office/drawing/2014/main" id="{54041A56-89BB-4DF0-BF4F-958B7DEB2699}"/>
              </a:ext>
            </a:extLst>
          </p:cNvPr>
          <p:cNvSpPr>
            <a:spLocks/>
          </p:cNvSpPr>
          <p:nvPr/>
        </p:nvSpPr>
        <p:spPr>
          <a:xfrm flipH="1">
            <a:off x="6257078" y="4256494"/>
            <a:ext cx="3291279" cy="963341"/>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2" name="Rectangle 78">
            <a:extLst>
              <a:ext uri="{FF2B5EF4-FFF2-40B4-BE49-F238E27FC236}">
                <a16:creationId xmlns:a16="http://schemas.microsoft.com/office/drawing/2014/main" id="{85CF62E4-7D4A-42B4-BFF0-D1121905FCA8}"/>
              </a:ext>
            </a:extLst>
          </p:cNvPr>
          <p:cNvSpPr/>
          <p:nvPr/>
        </p:nvSpPr>
        <p:spPr>
          <a:xfrm>
            <a:off x="847718" y="194493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23" name="Rectangle 78">
            <a:extLst>
              <a:ext uri="{FF2B5EF4-FFF2-40B4-BE49-F238E27FC236}">
                <a16:creationId xmlns:a16="http://schemas.microsoft.com/office/drawing/2014/main" id="{802AEA76-6201-4301-AAB5-86B8DC023127}"/>
              </a:ext>
            </a:extLst>
          </p:cNvPr>
          <p:cNvSpPr/>
          <p:nvPr/>
        </p:nvSpPr>
        <p:spPr>
          <a:xfrm>
            <a:off x="6209456" y="194493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grpSp>
        <p:nvGrpSpPr>
          <p:cNvPr id="24" name="Gruppieren 23">
            <a:extLst>
              <a:ext uri="{FF2B5EF4-FFF2-40B4-BE49-F238E27FC236}">
                <a16:creationId xmlns:a16="http://schemas.microsoft.com/office/drawing/2014/main" id="{092BAE4D-B5A4-4D59-BB95-0EE14CB9D4CB}"/>
              </a:ext>
            </a:extLst>
          </p:cNvPr>
          <p:cNvGrpSpPr/>
          <p:nvPr/>
        </p:nvGrpSpPr>
        <p:grpSpPr>
          <a:xfrm>
            <a:off x="365677" y="1899375"/>
            <a:ext cx="365760" cy="365760"/>
            <a:chOff x="365681" y="1968888"/>
            <a:chExt cx="365760" cy="365760"/>
          </a:xfrm>
        </p:grpSpPr>
        <p:sp>
          <p:nvSpPr>
            <p:cNvPr id="25" name="Rechteck 24">
              <a:extLst>
                <a:ext uri="{FF2B5EF4-FFF2-40B4-BE49-F238E27FC236}">
                  <a16:creationId xmlns:a16="http://schemas.microsoft.com/office/drawing/2014/main" id="{72623968-5AE3-40DC-AE72-9F63B01B8621}"/>
                </a:ext>
              </a:extLst>
            </p:cNvPr>
            <p:cNvSpPr/>
            <p:nvPr/>
          </p:nvSpPr>
          <p:spPr>
            <a:xfrm>
              <a:off x="365681" y="1968888"/>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Additionszeichen 25">
              <a:extLst>
                <a:ext uri="{FF2B5EF4-FFF2-40B4-BE49-F238E27FC236}">
                  <a16:creationId xmlns:a16="http://schemas.microsoft.com/office/drawing/2014/main" id="{4FD36F1B-907D-4310-8D43-CAEDD1C2AE34}"/>
                </a:ext>
              </a:extLst>
            </p:cNvPr>
            <p:cNvSpPr/>
            <p:nvPr/>
          </p:nvSpPr>
          <p:spPr>
            <a:xfrm>
              <a:off x="411401" y="201460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7" name="Gruppieren 26">
            <a:extLst>
              <a:ext uri="{FF2B5EF4-FFF2-40B4-BE49-F238E27FC236}">
                <a16:creationId xmlns:a16="http://schemas.microsoft.com/office/drawing/2014/main" id="{077F02CD-E469-41B5-A6E2-F8E9EBC88ED7}"/>
              </a:ext>
            </a:extLst>
          </p:cNvPr>
          <p:cNvGrpSpPr/>
          <p:nvPr/>
        </p:nvGrpSpPr>
        <p:grpSpPr>
          <a:xfrm>
            <a:off x="11460557" y="1898309"/>
            <a:ext cx="365760" cy="365760"/>
            <a:chOff x="836245" y="1767694"/>
            <a:chExt cx="365760" cy="365760"/>
          </a:xfrm>
        </p:grpSpPr>
        <p:sp>
          <p:nvSpPr>
            <p:cNvPr id="28" name="Rechteck 27">
              <a:extLst>
                <a:ext uri="{FF2B5EF4-FFF2-40B4-BE49-F238E27FC236}">
                  <a16:creationId xmlns:a16="http://schemas.microsoft.com/office/drawing/2014/main" id="{50A84029-3B62-404B-81DF-ACB9B635E99D}"/>
                </a:ext>
              </a:extLst>
            </p:cNvPr>
            <p:cNvSpPr/>
            <p:nvPr/>
          </p:nvSpPr>
          <p:spPr>
            <a:xfrm>
              <a:off x="836245" y="1767694"/>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Minuszeichen 33">
              <a:extLst>
                <a:ext uri="{FF2B5EF4-FFF2-40B4-BE49-F238E27FC236}">
                  <a16:creationId xmlns:a16="http://schemas.microsoft.com/office/drawing/2014/main" id="{A51893F3-5DDA-4AC8-8EFA-AABC19B78632}"/>
                </a:ext>
              </a:extLst>
            </p:cNvPr>
            <p:cNvSpPr/>
            <p:nvPr/>
          </p:nvSpPr>
          <p:spPr>
            <a:xfrm>
              <a:off x="881965" y="1813414"/>
              <a:ext cx="274320" cy="274320"/>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0" name="Rectangle 78">
            <a:extLst>
              <a:ext uri="{FF2B5EF4-FFF2-40B4-BE49-F238E27FC236}">
                <a16:creationId xmlns:a16="http://schemas.microsoft.com/office/drawing/2014/main" id="{6B1D55E0-7600-47DF-8E10-8146655F8AA4}"/>
              </a:ext>
            </a:extLst>
          </p:cNvPr>
          <p:cNvSpPr/>
          <p:nvPr/>
        </p:nvSpPr>
        <p:spPr>
          <a:xfrm>
            <a:off x="847718" y="386898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1" name="Rectangle 78">
            <a:extLst>
              <a:ext uri="{FF2B5EF4-FFF2-40B4-BE49-F238E27FC236}">
                <a16:creationId xmlns:a16="http://schemas.microsoft.com/office/drawing/2014/main" id="{68C0C74D-D27C-41D1-BC93-02A108FE6F1A}"/>
              </a:ext>
            </a:extLst>
          </p:cNvPr>
          <p:cNvSpPr/>
          <p:nvPr/>
        </p:nvSpPr>
        <p:spPr>
          <a:xfrm>
            <a:off x="6209456" y="3868985"/>
            <a:ext cx="5134820"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grpSp>
        <p:nvGrpSpPr>
          <p:cNvPr id="42" name="Gruppieren 41">
            <a:extLst>
              <a:ext uri="{FF2B5EF4-FFF2-40B4-BE49-F238E27FC236}">
                <a16:creationId xmlns:a16="http://schemas.microsoft.com/office/drawing/2014/main" id="{8885F59D-7544-430C-A7B2-F9A62C12E3C4}"/>
              </a:ext>
            </a:extLst>
          </p:cNvPr>
          <p:cNvGrpSpPr/>
          <p:nvPr/>
        </p:nvGrpSpPr>
        <p:grpSpPr>
          <a:xfrm>
            <a:off x="365677" y="3823425"/>
            <a:ext cx="365760" cy="365760"/>
            <a:chOff x="365681" y="1968888"/>
            <a:chExt cx="365760" cy="365760"/>
          </a:xfrm>
        </p:grpSpPr>
        <p:sp>
          <p:nvSpPr>
            <p:cNvPr id="43" name="Rechteck 42">
              <a:extLst>
                <a:ext uri="{FF2B5EF4-FFF2-40B4-BE49-F238E27FC236}">
                  <a16:creationId xmlns:a16="http://schemas.microsoft.com/office/drawing/2014/main" id="{F1006302-7C09-4776-89EA-B46DDECFD714}"/>
                </a:ext>
              </a:extLst>
            </p:cNvPr>
            <p:cNvSpPr/>
            <p:nvPr/>
          </p:nvSpPr>
          <p:spPr>
            <a:xfrm>
              <a:off x="365681" y="1968888"/>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Additionszeichen 43">
              <a:extLst>
                <a:ext uri="{FF2B5EF4-FFF2-40B4-BE49-F238E27FC236}">
                  <a16:creationId xmlns:a16="http://schemas.microsoft.com/office/drawing/2014/main" id="{033ED9A4-82D9-46F9-8E87-89C91134748A}"/>
                </a:ext>
              </a:extLst>
            </p:cNvPr>
            <p:cNvSpPr/>
            <p:nvPr/>
          </p:nvSpPr>
          <p:spPr>
            <a:xfrm>
              <a:off x="411401" y="2014608"/>
              <a:ext cx="274320" cy="274320"/>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6" name="Gruppieren 45">
            <a:extLst>
              <a:ext uri="{FF2B5EF4-FFF2-40B4-BE49-F238E27FC236}">
                <a16:creationId xmlns:a16="http://schemas.microsoft.com/office/drawing/2014/main" id="{1219C4C4-D334-4432-8D6E-4B3F4927914C}"/>
              </a:ext>
            </a:extLst>
          </p:cNvPr>
          <p:cNvGrpSpPr/>
          <p:nvPr/>
        </p:nvGrpSpPr>
        <p:grpSpPr>
          <a:xfrm>
            <a:off x="11460557" y="3822359"/>
            <a:ext cx="365760" cy="365760"/>
            <a:chOff x="836245" y="1767694"/>
            <a:chExt cx="365760" cy="365760"/>
          </a:xfrm>
        </p:grpSpPr>
        <p:sp>
          <p:nvSpPr>
            <p:cNvPr id="47" name="Rechteck 46">
              <a:extLst>
                <a:ext uri="{FF2B5EF4-FFF2-40B4-BE49-F238E27FC236}">
                  <a16:creationId xmlns:a16="http://schemas.microsoft.com/office/drawing/2014/main" id="{F6001F85-DACA-4558-9B98-FD5059ED6968}"/>
                </a:ext>
              </a:extLst>
            </p:cNvPr>
            <p:cNvSpPr/>
            <p:nvPr/>
          </p:nvSpPr>
          <p:spPr>
            <a:xfrm>
              <a:off x="836245" y="1767694"/>
              <a:ext cx="365760" cy="365760"/>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Minuszeichen 47">
              <a:extLst>
                <a:ext uri="{FF2B5EF4-FFF2-40B4-BE49-F238E27FC236}">
                  <a16:creationId xmlns:a16="http://schemas.microsoft.com/office/drawing/2014/main" id="{B74A5E1D-872B-41F8-B680-432518A3A089}"/>
                </a:ext>
              </a:extLst>
            </p:cNvPr>
            <p:cNvSpPr/>
            <p:nvPr/>
          </p:nvSpPr>
          <p:spPr>
            <a:xfrm>
              <a:off x="881965" y="1813414"/>
              <a:ext cx="274320" cy="274320"/>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7029431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bLeanShape Left U-Shape 12">
            <a:extLst>
              <a:ext uri="{FF2B5EF4-FFF2-40B4-BE49-F238E27FC236}">
                <a16:creationId xmlns:a16="http://schemas.microsoft.com/office/drawing/2014/main" id="{FBC5B1D2-0EBD-406E-9C2E-E7290FFC8B68}"/>
              </a:ext>
            </a:extLst>
          </p:cNvPr>
          <p:cNvSpPr/>
          <p:nvPr/>
        </p:nvSpPr>
        <p:spPr>
          <a:xfrm>
            <a:off x="777742" y="3052858"/>
            <a:ext cx="348500" cy="2799226"/>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49" name="RbLeanShape Left U-Shape 12">
            <a:extLst>
              <a:ext uri="{FF2B5EF4-FFF2-40B4-BE49-F238E27FC236}">
                <a16:creationId xmlns:a16="http://schemas.microsoft.com/office/drawing/2014/main" id="{86C97B50-51FE-40D4-84EF-93C0E88D3526}"/>
              </a:ext>
            </a:extLst>
          </p:cNvPr>
          <p:cNvSpPr/>
          <p:nvPr/>
        </p:nvSpPr>
        <p:spPr>
          <a:xfrm>
            <a:off x="4345626" y="3078003"/>
            <a:ext cx="348500" cy="2799226"/>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50" name="RbLeanShape Left U-Shape 12">
            <a:extLst>
              <a:ext uri="{FF2B5EF4-FFF2-40B4-BE49-F238E27FC236}">
                <a16:creationId xmlns:a16="http://schemas.microsoft.com/office/drawing/2014/main" id="{47B497B6-BEF8-4A89-8F11-17A174B7153F}"/>
              </a:ext>
            </a:extLst>
          </p:cNvPr>
          <p:cNvSpPr/>
          <p:nvPr/>
        </p:nvSpPr>
        <p:spPr>
          <a:xfrm>
            <a:off x="7931017" y="3100483"/>
            <a:ext cx="348500" cy="2799226"/>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51" name="RbLeanShape Left U-Shape 12">
            <a:extLst>
              <a:ext uri="{FF2B5EF4-FFF2-40B4-BE49-F238E27FC236}">
                <a16:creationId xmlns:a16="http://schemas.microsoft.com/office/drawing/2014/main" id="{E45EB217-65D8-4E7B-8428-2F9B32728945}"/>
              </a:ext>
            </a:extLst>
          </p:cNvPr>
          <p:cNvSpPr/>
          <p:nvPr/>
        </p:nvSpPr>
        <p:spPr>
          <a:xfrm rot="10800000">
            <a:off x="3916957" y="3078884"/>
            <a:ext cx="348500" cy="2799226"/>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52" name="RbLeanShape Left U-Shape 12">
            <a:extLst>
              <a:ext uri="{FF2B5EF4-FFF2-40B4-BE49-F238E27FC236}">
                <a16:creationId xmlns:a16="http://schemas.microsoft.com/office/drawing/2014/main" id="{706CAB96-2BD3-42DD-9EA0-11618DB2E5E9}"/>
              </a:ext>
            </a:extLst>
          </p:cNvPr>
          <p:cNvSpPr/>
          <p:nvPr/>
        </p:nvSpPr>
        <p:spPr>
          <a:xfrm rot="10800000">
            <a:off x="7498357" y="3107459"/>
            <a:ext cx="348500" cy="279225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sp>
        <p:nvSpPr>
          <p:cNvPr id="53" name="RbLeanShape Left U-Shape 12">
            <a:extLst>
              <a:ext uri="{FF2B5EF4-FFF2-40B4-BE49-F238E27FC236}">
                <a16:creationId xmlns:a16="http://schemas.microsoft.com/office/drawing/2014/main" id="{FD511E65-908C-4AEE-A74D-4DBB415E0EFC}"/>
              </a:ext>
            </a:extLst>
          </p:cNvPr>
          <p:cNvSpPr/>
          <p:nvPr/>
        </p:nvSpPr>
        <p:spPr>
          <a:xfrm rot="10800000">
            <a:off x="11070232" y="3069359"/>
            <a:ext cx="348500" cy="2799226"/>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22225" cap="flat" cmpd="sng" algn="ctr">
            <a:solidFill>
              <a:srgbClr val="8D9399">
                <a:lumMod val="60000"/>
                <a:lumOff val="40000"/>
              </a:srgbClr>
            </a:solidFill>
            <a:prstDash val="solid"/>
          </a:ln>
          <a:effectLst/>
        </p:spPr>
        <p:txBody>
          <a:bodyPr lIns="0" tIns="0" rIns="0" bIns="0" rtlCol="0" anchor="ctr"/>
          <a:lstStyle/>
          <a:p>
            <a:pPr marL="0" marR="0" lvl="0" indent="0" defTabSz="914400"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000000"/>
              </a:solidFill>
              <a:effectLst/>
              <a:uLnTx/>
              <a:uFillTx/>
              <a:latin typeface="Arial Narrow"/>
              <a:ea typeface="+mn-ea"/>
              <a:cs typeface="+mn-cs"/>
            </a:endParaRPr>
          </a:p>
        </p:txBody>
      </p:sp>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6</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5" name="Gleichschenkliges Dreieck 4">
            <a:extLst>
              <a:ext uri="{FF2B5EF4-FFF2-40B4-BE49-F238E27FC236}">
                <a16:creationId xmlns:a16="http://schemas.microsoft.com/office/drawing/2014/main" id="{D820088D-6850-413A-8B5C-39CED81ED27E}"/>
              </a:ext>
            </a:extLst>
          </p:cNvPr>
          <p:cNvSpPr/>
          <p:nvPr/>
        </p:nvSpPr>
        <p:spPr>
          <a:xfrm>
            <a:off x="423878" y="1962276"/>
            <a:ext cx="11344241" cy="914400"/>
          </a:xfrm>
          <a:prstGeom prst="triangle">
            <a:avLst/>
          </a:prstGeom>
          <a:noFill/>
          <a:ln w="22225">
            <a:solidFill>
              <a:srgbClr val="BBBEC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2400">
                <a:solidFill>
                  <a:schemeClr val="tx1"/>
                </a:solidFill>
              </a:rPr>
              <a:t>Text</a:t>
            </a:r>
          </a:p>
        </p:txBody>
      </p:sp>
      <p:sp>
        <p:nvSpPr>
          <p:cNvPr id="9" name="Rechteck 8">
            <a:extLst>
              <a:ext uri="{FF2B5EF4-FFF2-40B4-BE49-F238E27FC236}">
                <a16:creationId xmlns:a16="http://schemas.microsoft.com/office/drawing/2014/main" id="{38FE13AE-1BA6-47BC-8407-2FC9929C5A5C}"/>
              </a:ext>
            </a:extLst>
          </p:cNvPr>
          <p:cNvSpPr/>
          <p:nvPr/>
        </p:nvSpPr>
        <p:spPr>
          <a:xfrm>
            <a:off x="365681" y="2759692"/>
            <a:ext cx="412063" cy="2218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hteck 24">
            <a:extLst>
              <a:ext uri="{FF2B5EF4-FFF2-40B4-BE49-F238E27FC236}">
                <a16:creationId xmlns:a16="http://schemas.microsoft.com/office/drawing/2014/main" id="{DE57391B-B4D3-43E5-9419-CFAD10532CA2}"/>
              </a:ext>
            </a:extLst>
          </p:cNvPr>
          <p:cNvSpPr/>
          <p:nvPr/>
        </p:nvSpPr>
        <p:spPr>
          <a:xfrm>
            <a:off x="11414253" y="2759691"/>
            <a:ext cx="412063" cy="2218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29">
            <a:extLst>
              <a:ext uri="{FF2B5EF4-FFF2-40B4-BE49-F238E27FC236}">
                <a16:creationId xmlns:a16="http://schemas.microsoft.com/office/drawing/2014/main" id="{6B932534-B894-4447-9752-4FE2192D2C2D}"/>
              </a:ext>
            </a:extLst>
          </p:cNvPr>
          <p:cNvSpPr/>
          <p:nvPr/>
        </p:nvSpPr>
        <p:spPr>
          <a:xfrm>
            <a:off x="1210772" y="3052858"/>
            <a:ext cx="271546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6" name="Rectangle 29">
            <a:extLst>
              <a:ext uri="{FF2B5EF4-FFF2-40B4-BE49-F238E27FC236}">
                <a16:creationId xmlns:a16="http://schemas.microsoft.com/office/drawing/2014/main" id="{7C5525DF-4F22-4DAC-82CF-D23914FF2476}"/>
              </a:ext>
            </a:extLst>
          </p:cNvPr>
          <p:cNvSpPr/>
          <p:nvPr/>
        </p:nvSpPr>
        <p:spPr>
          <a:xfrm>
            <a:off x="4784451" y="3052858"/>
            <a:ext cx="271546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7" name="Rectangle 29">
            <a:extLst>
              <a:ext uri="{FF2B5EF4-FFF2-40B4-BE49-F238E27FC236}">
                <a16:creationId xmlns:a16="http://schemas.microsoft.com/office/drawing/2014/main" id="{1912BFA8-5221-4866-9F9F-D1868313A767}"/>
              </a:ext>
            </a:extLst>
          </p:cNvPr>
          <p:cNvSpPr/>
          <p:nvPr/>
        </p:nvSpPr>
        <p:spPr>
          <a:xfrm>
            <a:off x="8358131" y="3052858"/>
            <a:ext cx="2715469"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42212743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7</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67" name="TextBox 124">
            <a:extLst>
              <a:ext uri="{FF2B5EF4-FFF2-40B4-BE49-F238E27FC236}">
                <a16:creationId xmlns:a16="http://schemas.microsoft.com/office/drawing/2014/main" id="{ED2682D0-4B7B-4709-A0A1-570EF7008FAC}"/>
              </a:ext>
            </a:extLst>
          </p:cNvPr>
          <p:cNvSpPr txBox="1"/>
          <p:nvPr/>
        </p:nvSpPr>
        <p:spPr>
          <a:xfrm>
            <a:off x="365683" y="3408238"/>
            <a:ext cx="2692800" cy="2492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Clr>
                <a:srgbClr val="000000"/>
              </a:buClr>
              <a:buSzPct val="100000"/>
              <a:defRPr sz="1700">
                <a:solidFill>
                  <a:schemeClr val="accent6"/>
                </a:solidFill>
                <a:latin typeface="+mn-lt"/>
                <a:cs typeface="Arial Narrow" pitchFamily="34" charset="0"/>
              </a:defRPr>
            </a:lvl1pPr>
          </a:lstStyle>
          <a:p>
            <a:pPr marL="0" marR="0" lvl="0" indent="0" defTabSz="914400" eaLnBrk="1" fontAlgn="base" latinLnBrk="0" hangingPunct="1">
              <a:lnSpc>
                <a:spcPct val="90000"/>
              </a:lnSpc>
              <a:spcBef>
                <a:spcPts val="400"/>
              </a:spcBef>
              <a:spcAft>
                <a:spcPct val="0"/>
              </a:spcAft>
              <a:buClr>
                <a:srgbClr val="000000"/>
              </a:buClr>
              <a:buSzPct val="100000"/>
              <a:buFontTx/>
              <a:buNone/>
              <a:tabLst/>
              <a:defRPr/>
            </a:pPr>
            <a:r>
              <a:rPr kumimoji="0" lang="en-GB" sz="1800" b="1" i="0" u="none" strike="noStrike" kern="0" cap="none" spc="0" normalizeH="0" baseline="0">
                <a:ln>
                  <a:noFill/>
                </a:ln>
                <a:solidFill>
                  <a:schemeClr val="tx1"/>
                </a:solidFill>
                <a:effectLst/>
                <a:uLnTx/>
                <a:uFillTx/>
                <a:latin typeface="+mj-lt"/>
              </a:rPr>
              <a:t>Header</a:t>
            </a:r>
          </a:p>
        </p:txBody>
      </p:sp>
      <p:sp>
        <p:nvSpPr>
          <p:cNvPr id="68" name="TextBox 125">
            <a:extLst>
              <a:ext uri="{FF2B5EF4-FFF2-40B4-BE49-F238E27FC236}">
                <a16:creationId xmlns:a16="http://schemas.microsoft.com/office/drawing/2014/main" id="{154C2CE9-9744-4061-8032-64D3CE052460}"/>
              </a:ext>
            </a:extLst>
          </p:cNvPr>
          <p:cNvSpPr txBox="1"/>
          <p:nvPr/>
        </p:nvSpPr>
        <p:spPr>
          <a:xfrm>
            <a:off x="3288769" y="2917228"/>
            <a:ext cx="2692800" cy="2492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Clr>
                <a:srgbClr val="000000"/>
              </a:buClr>
              <a:buSzPct val="100000"/>
              <a:defRPr sz="1700">
                <a:solidFill>
                  <a:schemeClr val="accent6"/>
                </a:solidFill>
                <a:latin typeface="+mn-lt"/>
                <a:cs typeface="Arial Narrow" pitchFamily="34" charset="0"/>
              </a:defRPr>
            </a:lvl1pPr>
          </a:lstStyle>
          <a:p>
            <a:pPr marL="0" marR="0" lvl="0" indent="0" defTabSz="914400" eaLnBrk="1" fontAlgn="base" latinLnBrk="0" hangingPunct="1">
              <a:lnSpc>
                <a:spcPct val="90000"/>
              </a:lnSpc>
              <a:spcBef>
                <a:spcPts val="400"/>
              </a:spcBef>
              <a:spcAft>
                <a:spcPct val="0"/>
              </a:spcAft>
              <a:buClr>
                <a:srgbClr val="000000"/>
              </a:buClr>
              <a:buSzPct val="100000"/>
              <a:buFontTx/>
              <a:buNone/>
              <a:tabLst/>
              <a:defRPr/>
            </a:pPr>
            <a:r>
              <a:rPr kumimoji="0" lang="en-GB" sz="1800" b="1" i="0" u="none" strike="noStrike" kern="0" cap="none" spc="0" normalizeH="0" baseline="0">
                <a:ln>
                  <a:noFill/>
                </a:ln>
                <a:solidFill>
                  <a:schemeClr val="tx1"/>
                </a:solidFill>
                <a:effectLst/>
                <a:uLnTx/>
                <a:uFillTx/>
                <a:latin typeface="+mj-lt"/>
              </a:rPr>
              <a:t>Header</a:t>
            </a:r>
          </a:p>
        </p:txBody>
      </p:sp>
      <p:sp>
        <p:nvSpPr>
          <p:cNvPr id="69" name="Rectangle 126">
            <a:extLst>
              <a:ext uri="{FF2B5EF4-FFF2-40B4-BE49-F238E27FC236}">
                <a16:creationId xmlns:a16="http://schemas.microsoft.com/office/drawing/2014/main" id="{0DCD2813-AF5F-4EB8-BFB4-4DE29CF55E56}"/>
              </a:ext>
            </a:extLst>
          </p:cNvPr>
          <p:cNvSpPr>
            <a:spLocks/>
          </p:cNvSpPr>
          <p:nvPr/>
        </p:nvSpPr>
        <p:spPr>
          <a:xfrm>
            <a:off x="3288770" y="3170793"/>
            <a:ext cx="2691316" cy="2231136"/>
          </a:xfrm>
          <a:prstGeom prst="rect">
            <a:avLst/>
          </a:prstGeom>
          <a:solidFill>
            <a:srgbClr val="F2F2F2"/>
          </a:solidFill>
          <a:ln w="15875" cap="flat" cmpd="sng" algn="ctr">
            <a:noFill/>
            <a:prstDash val="solid"/>
          </a:ln>
          <a:effectLst/>
        </p:spPr>
        <p:txBody>
          <a:bodyPr lIns="91440" tIns="137160" rIns="72000" bIns="72000" rtlCol="0" anchor="t" anchorCtr="0">
            <a:no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1" name="Rectangle 128">
            <a:extLst>
              <a:ext uri="{FF2B5EF4-FFF2-40B4-BE49-F238E27FC236}">
                <a16:creationId xmlns:a16="http://schemas.microsoft.com/office/drawing/2014/main" id="{C8E6503B-A5CE-4BEC-8959-2A01BDAC99FD}"/>
              </a:ext>
            </a:extLst>
          </p:cNvPr>
          <p:cNvSpPr>
            <a:spLocks/>
          </p:cNvSpPr>
          <p:nvPr/>
        </p:nvSpPr>
        <p:spPr>
          <a:xfrm>
            <a:off x="6211858" y="2682463"/>
            <a:ext cx="2691316" cy="2231136"/>
          </a:xfrm>
          <a:prstGeom prst="rect">
            <a:avLst/>
          </a:prstGeom>
          <a:solidFill>
            <a:srgbClr val="F2F2F2"/>
          </a:solidFill>
          <a:ln w="15875" cap="flat" cmpd="sng" algn="ctr">
            <a:noFill/>
            <a:prstDash val="solid"/>
          </a:ln>
          <a:effectLst/>
        </p:spPr>
        <p:txBody>
          <a:bodyPr lIns="91440" tIns="137160" rIns="72000" bIns="72000" rtlCol="0" anchor="t" anchorCtr="0">
            <a:no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72" name="Rectangle 129">
            <a:extLst>
              <a:ext uri="{FF2B5EF4-FFF2-40B4-BE49-F238E27FC236}">
                <a16:creationId xmlns:a16="http://schemas.microsoft.com/office/drawing/2014/main" id="{CE859872-0C11-49D7-BEC8-8E3CD3054852}"/>
              </a:ext>
            </a:extLst>
          </p:cNvPr>
          <p:cNvSpPr>
            <a:spLocks/>
          </p:cNvSpPr>
          <p:nvPr/>
        </p:nvSpPr>
        <p:spPr>
          <a:xfrm>
            <a:off x="9135001" y="2190974"/>
            <a:ext cx="2691316" cy="2231136"/>
          </a:xfrm>
          <a:prstGeom prst="rect">
            <a:avLst/>
          </a:prstGeom>
          <a:solidFill>
            <a:srgbClr val="F2F2F2"/>
          </a:solidFill>
          <a:ln w="15875" cap="flat" cmpd="sng" algn="ctr">
            <a:noFill/>
            <a:prstDash val="solid"/>
          </a:ln>
          <a:effectLst/>
        </p:spPr>
        <p:txBody>
          <a:bodyPr lIns="91440" tIns="137160" rIns="72000" bIns="72000" rtlCol="0" anchor="t" anchorCtr="0">
            <a:no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81" name="Arc 140">
            <a:extLst>
              <a:ext uri="{FF2B5EF4-FFF2-40B4-BE49-F238E27FC236}">
                <a16:creationId xmlns:a16="http://schemas.microsoft.com/office/drawing/2014/main" id="{6119868B-58C5-4F7C-8C3B-34176A128EF8}"/>
              </a:ext>
            </a:extLst>
          </p:cNvPr>
          <p:cNvSpPr/>
          <p:nvPr/>
        </p:nvSpPr>
        <p:spPr>
          <a:xfrm>
            <a:off x="1589644" y="2918480"/>
            <a:ext cx="2064392" cy="1024937"/>
          </a:xfrm>
          <a:prstGeom prst="arc">
            <a:avLst>
              <a:gd name="adj1" fmla="val 11350364"/>
              <a:gd name="adj2" fmla="val 19193462"/>
            </a:avLst>
          </a:prstGeom>
          <a:noFill/>
          <a:ln w="22225" cap="flat" cmpd="sng" algn="ctr">
            <a:solidFill>
              <a:schemeClr val="accent1"/>
            </a:solidFill>
            <a:prstDash val="solid"/>
            <a:headEnd type="oval"/>
            <a:tailEnd type="triangle" w="lg" len="lg"/>
          </a:ln>
          <a:effectLst/>
        </p:spPr>
        <p:txBody>
          <a:bodyPr rtlCol="0" anchor="ct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GB" sz="1300" b="1" i="0" u="none" strike="noStrike" kern="0" cap="none" spc="0" normalizeH="0" baseline="0" noProof="0">
              <a:ln>
                <a:noFill/>
              </a:ln>
              <a:solidFill>
                <a:srgbClr val="000000"/>
              </a:solidFill>
              <a:effectLst/>
              <a:uLnTx/>
              <a:uFillTx/>
              <a:latin typeface="+mj-lt"/>
              <a:ea typeface="+mn-ea"/>
              <a:cs typeface="+mn-cs"/>
            </a:endParaRPr>
          </a:p>
        </p:txBody>
      </p:sp>
      <p:sp>
        <p:nvSpPr>
          <p:cNvPr id="82" name="Rectangle 143">
            <a:extLst>
              <a:ext uri="{FF2B5EF4-FFF2-40B4-BE49-F238E27FC236}">
                <a16:creationId xmlns:a16="http://schemas.microsoft.com/office/drawing/2014/main" id="{7E508A7B-240B-45B5-9EC8-7B956BFF8F04}"/>
              </a:ext>
            </a:extLst>
          </p:cNvPr>
          <p:cNvSpPr>
            <a:spLocks/>
          </p:cNvSpPr>
          <p:nvPr/>
        </p:nvSpPr>
        <p:spPr>
          <a:xfrm>
            <a:off x="365682" y="3662025"/>
            <a:ext cx="2691316" cy="2230555"/>
          </a:xfrm>
          <a:prstGeom prst="rect">
            <a:avLst/>
          </a:prstGeom>
          <a:solidFill>
            <a:srgbClr val="F2F2F2"/>
          </a:solidFill>
          <a:ln w="15875" cap="flat" cmpd="sng" algn="ctr">
            <a:noFill/>
            <a:prstDash val="solid"/>
          </a:ln>
          <a:effectLst/>
        </p:spPr>
        <p:txBody>
          <a:bodyPr lIns="91440" tIns="137160" rIns="36000" bIns="72000" rtlCol="0" anchor="t" anchorCtr="0">
            <a:no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94" name="TextBox 125">
            <a:extLst>
              <a:ext uri="{FF2B5EF4-FFF2-40B4-BE49-F238E27FC236}">
                <a16:creationId xmlns:a16="http://schemas.microsoft.com/office/drawing/2014/main" id="{93C2D564-0EAD-4227-98EF-371656468B14}"/>
              </a:ext>
            </a:extLst>
          </p:cNvPr>
          <p:cNvSpPr txBox="1"/>
          <p:nvPr/>
        </p:nvSpPr>
        <p:spPr>
          <a:xfrm>
            <a:off x="6211857" y="2428901"/>
            <a:ext cx="2692800" cy="2492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Clr>
                <a:srgbClr val="000000"/>
              </a:buClr>
              <a:buSzPct val="100000"/>
              <a:defRPr sz="1700">
                <a:solidFill>
                  <a:schemeClr val="accent6"/>
                </a:solidFill>
                <a:latin typeface="+mn-lt"/>
                <a:cs typeface="Arial Narrow" pitchFamily="34" charset="0"/>
              </a:defRPr>
            </a:lvl1pPr>
          </a:lstStyle>
          <a:p>
            <a:pPr marL="0" marR="0" lvl="0" indent="0" defTabSz="914400" eaLnBrk="1" fontAlgn="base" latinLnBrk="0" hangingPunct="1">
              <a:lnSpc>
                <a:spcPct val="90000"/>
              </a:lnSpc>
              <a:spcBef>
                <a:spcPts val="400"/>
              </a:spcBef>
              <a:spcAft>
                <a:spcPct val="0"/>
              </a:spcAft>
              <a:buClr>
                <a:srgbClr val="000000"/>
              </a:buClr>
              <a:buSzPct val="100000"/>
              <a:buFontTx/>
              <a:buNone/>
              <a:tabLst/>
              <a:defRPr/>
            </a:pPr>
            <a:r>
              <a:rPr kumimoji="0" lang="en-GB" sz="1800" b="1" i="0" u="none" strike="noStrike" kern="0" cap="none" spc="0" normalizeH="0" baseline="0">
                <a:ln>
                  <a:noFill/>
                </a:ln>
                <a:solidFill>
                  <a:schemeClr val="tx1"/>
                </a:solidFill>
                <a:effectLst/>
                <a:uLnTx/>
                <a:uFillTx/>
                <a:latin typeface="+mj-lt"/>
              </a:rPr>
              <a:t>Header</a:t>
            </a:r>
          </a:p>
        </p:txBody>
      </p:sp>
      <p:sp>
        <p:nvSpPr>
          <p:cNvPr id="95" name="Arc 140">
            <a:extLst>
              <a:ext uri="{FF2B5EF4-FFF2-40B4-BE49-F238E27FC236}">
                <a16:creationId xmlns:a16="http://schemas.microsoft.com/office/drawing/2014/main" id="{62315770-8EB2-4756-B773-F6F115A2FAD8}"/>
              </a:ext>
            </a:extLst>
          </p:cNvPr>
          <p:cNvSpPr/>
          <p:nvPr/>
        </p:nvSpPr>
        <p:spPr>
          <a:xfrm>
            <a:off x="4512731" y="2430153"/>
            <a:ext cx="2064392" cy="1024937"/>
          </a:xfrm>
          <a:prstGeom prst="arc">
            <a:avLst>
              <a:gd name="adj1" fmla="val 11350364"/>
              <a:gd name="adj2" fmla="val 19193462"/>
            </a:avLst>
          </a:prstGeom>
          <a:noFill/>
          <a:ln w="22225" cap="flat" cmpd="sng" algn="ctr">
            <a:solidFill>
              <a:schemeClr val="accent1"/>
            </a:solidFill>
            <a:prstDash val="solid"/>
            <a:headEnd type="oval"/>
            <a:tailEnd type="triangle" w="lg" len="lg"/>
          </a:ln>
          <a:effectLst/>
        </p:spPr>
        <p:txBody>
          <a:bodyPr rtlCol="0" anchor="ct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GB" sz="1300" b="1" i="0" u="none" strike="noStrike" kern="0" cap="none" spc="0" normalizeH="0" baseline="0" noProof="0">
              <a:ln>
                <a:noFill/>
              </a:ln>
              <a:solidFill>
                <a:srgbClr val="000000"/>
              </a:solidFill>
              <a:effectLst/>
              <a:uLnTx/>
              <a:uFillTx/>
              <a:latin typeface="+mj-lt"/>
              <a:ea typeface="+mn-ea"/>
              <a:cs typeface="+mn-cs"/>
            </a:endParaRPr>
          </a:p>
        </p:txBody>
      </p:sp>
      <p:sp>
        <p:nvSpPr>
          <p:cNvPr id="97" name="TextBox 125">
            <a:extLst>
              <a:ext uri="{FF2B5EF4-FFF2-40B4-BE49-F238E27FC236}">
                <a16:creationId xmlns:a16="http://schemas.microsoft.com/office/drawing/2014/main" id="{957847CF-9728-4629-B8BB-5CC0A636368E}"/>
              </a:ext>
            </a:extLst>
          </p:cNvPr>
          <p:cNvSpPr txBox="1"/>
          <p:nvPr/>
        </p:nvSpPr>
        <p:spPr>
          <a:xfrm>
            <a:off x="9135000" y="1935878"/>
            <a:ext cx="2692800" cy="249299"/>
          </a:xfrm>
          <a:prstGeom prst="rect">
            <a:avLst/>
          </a:prstGeom>
          <a:noFill/>
          <a:ln w="9525">
            <a:noFill/>
          </a:ln>
        </p:spPr>
        <p:txBody>
          <a:bodyPr vert="horz" wrap="square" lIns="0" tIns="0" rIns="0" bIns="0" rtlCol="0">
            <a:spAutoFit/>
          </a:bodyPr>
          <a:lstStyle>
            <a:defPPr>
              <a:defRPr lang="de-DE"/>
            </a:defPPr>
            <a:lvl1pPr>
              <a:lnSpc>
                <a:spcPct val="90000"/>
              </a:lnSpc>
              <a:spcBef>
                <a:spcPts val="400"/>
              </a:spcBef>
              <a:buClr>
                <a:srgbClr val="000000"/>
              </a:buClr>
              <a:buSzPct val="100000"/>
              <a:defRPr sz="1700">
                <a:solidFill>
                  <a:schemeClr val="accent6"/>
                </a:solidFill>
                <a:latin typeface="+mn-lt"/>
                <a:cs typeface="Arial Narrow" pitchFamily="34" charset="0"/>
              </a:defRPr>
            </a:lvl1pPr>
          </a:lstStyle>
          <a:p>
            <a:pPr marL="0" marR="0" lvl="0" indent="0" defTabSz="914400" eaLnBrk="1" fontAlgn="base" latinLnBrk="0" hangingPunct="1">
              <a:lnSpc>
                <a:spcPct val="90000"/>
              </a:lnSpc>
              <a:spcBef>
                <a:spcPts val="400"/>
              </a:spcBef>
              <a:spcAft>
                <a:spcPct val="0"/>
              </a:spcAft>
              <a:buClr>
                <a:srgbClr val="000000"/>
              </a:buClr>
              <a:buSzPct val="100000"/>
              <a:buFontTx/>
              <a:buNone/>
              <a:tabLst/>
              <a:defRPr/>
            </a:pPr>
            <a:r>
              <a:rPr kumimoji="0" lang="en-GB" sz="1800" b="1" i="0" u="none" strike="noStrike" kern="0" cap="none" spc="0" normalizeH="0" baseline="0">
                <a:ln>
                  <a:noFill/>
                </a:ln>
                <a:solidFill>
                  <a:schemeClr val="tx1"/>
                </a:solidFill>
                <a:effectLst/>
                <a:uLnTx/>
                <a:uFillTx/>
                <a:latin typeface="+mj-lt"/>
              </a:rPr>
              <a:t>Header</a:t>
            </a:r>
          </a:p>
        </p:txBody>
      </p:sp>
      <p:sp>
        <p:nvSpPr>
          <p:cNvPr id="98" name="Arc 140">
            <a:extLst>
              <a:ext uri="{FF2B5EF4-FFF2-40B4-BE49-F238E27FC236}">
                <a16:creationId xmlns:a16="http://schemas.microsoft.com/office/drawing/2014/main" id="{580B7BE8-485E-4DA5-A281-EB22BFC0A3FF}"/>
              </a:ext>
            </a:extLst>
          </p:cNvPr>
          <p:cNvSpPr/>
          <p:nvPr/>
        </p:nvSpPr>
        <p:spPr>
          <a:xfrm>
            <a:off x="7435874" y="1937130"/>
            <a:ext cx="2064392" cy="1024937"/>
          </a:xfrm>
          <a:prstGeom prst="arc">
            <a:avLst>
              <a:gd name="adj1" fmla="val 11350364"/>
              <a:gd name="adj2" fmla="val 19193462"/>
            </a:avLst>
          </a:prstGeom>
          <a:noFill/>
          <a:ln w="22225" cap="flat" cmpd="sng" algn="ctr">
            <a:solidFill>
              <a:schemeClr val="accent1"/>
            </a:solidFill>
            <a:prstDash val="solid"/>
            <a:headEnd type="oval"/>
            <a:tailEnd type="triangle" w="lg" len="lg"/>
          </a:ln>
          <a:effectLst/>
        </p:spPr>
        <p:txBody>
          <a:bodyPr rtlCol="0" anchor="ct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GB" sz="1300" b="1" i="0" u="none" strike="noStrike" kern="0" cap="none" spc="0" normalizeH="0" baseline="0" noProof="0">
              <a:ln>
                <a:noFill/>
              </a:ln>
              <a:solidFill>
                <a:srgbClr val="000000"/>
              </a:solidFill>
              <a:effectLst/>
              <a:uLnTx/>
              <a:uFillTx/>
              <a:latin typeface="+mj-lt"/>
              <a:ea typeface="+mn-ea"/>
              <a:cs typeface="+mn-cs"/>
            </a:endParaRPr>
          </a:p>
        </p:txBody>
      </p:sp>
    </p:spTree>
    <p:extLst>
      <p:ext uri="{BB962C8B-B14F-4D97-AF65-F5344CB8AC3E}">
        <p14:creationId xmlns:p14="http://schemas.microsoft.com/office/powerpoint/2010/main" val="37685499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8</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cxnSp>
        <p:nvCxnSpPr>
          <p:cNvPr id="9" name="Gerade Verbindung mit Pfeil 8">
            <a:extLst>
              <a:ext uri="{FF2B5EF4-FFF2-40B4-BE49-F238E27FC236}">
                <a16:creationId xmlns:a16="http://schemas.microsoft.com/office/drawing/2014/main" id="{C84993D0-F79F-4C0E-B6A4-8844C9EE8C48}"/>
              </a:ext>
            </a:extLst>
          </p:cNvPr>
          <p:cNvCxnSpPr>
            <a:cxnSpLocks/>
          </p:cNvCxnSpPr>
          <p:nvPr/>
        </p:nvCxnSpPr>
        <p:spPr>
          <a:xfrm>
            <a:off x="365680" y="5557238"/>
            <a:ext cx="11460637" cy="0"/>
          </a:xfrm>
          <a:prstGeom prst="straightConnector1">
            <a:avLst/>
          </a:prstGeom>
          <a:ln w="22225">
            <a:solidFill>
              <a:srgbClr val="BBBEC2"/>
            </a:solidFill>
            <a:tailEnd type="triangle"/>
          </a:ln>
        </p:spPr>
        <p:style>
          <a:lnRef idx="1">
            <a:schemeClr val="accent1"/>
          </a:lnRef>
          <a:fillRef idx="0">
            <a:schemeClr val="accent1"/>
          </a:fillRef>
          <a:effectRef idx="0">
            <a:schemeClr val="accent1"/>
          </a:effectRef>
          <a:fontRef idx="minor">
            <a:schemeClr val="tx1"/>
          </a:fontRef>
        </p:style>
      </p:cxnSp>
      <p:sp>
        <p:nvSpPr>
          <p:cNvPr id="24" name="RbLeanShape Left Angle 27">
            <a:extLst>
              <a:ext uri="{FF2B5EF4-FFF2-40B4-BE49-F238E27FC236}">
                <a16:creationId xmlns:a16="http://schemas.microsoft.com/office/drawing/2014/main" id="{F707F123-9C52-4218-8D8D-5BA8633F6349}"/>
              </a:ext>
            </a:extLst>
          </p:cNvPr>
          <p:cNvSpPr/>
          <p:nvPr/>
        </p:nvSpPr>
        <p:spPr>
          <a:xfrm flipH="1">
            <a:off x="365678" y="4729639"/>
            <a:ext cx="2865159" cy="83291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5" name="RbLeanShape Left Angle 27">
            <a:extLst>
              <a:ext uri="{FF2B5EF4-FFF2-40B4-BE49-F238E27FC236}">
                <a16:creationId xmlns:a16="http://schemas.microsoft.com/office/drawing/2014/main" id="{837C1ED0-DDD0-4710-ADB7-C4D892589D7F}"/>
              </a:ext>
            </a:extLst>
          </p:cNvPr>
          <p:cNvSpPr/>
          <p:nvPr/>
        </p:nvSpPr>
        <p:spPr>
          <a:xfrm flipH="1">
            <a:off x="3230837" y="3900790"/>
            <a:ext cx="2865159" cy="83291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6" name="RbLeanShape Left Angle 27">
            <a:extLst>
              <a:ext uri="{FF2B5EF4-FFF2-40B4-BE49-F238E27FC236}">
                <a16:creationId xmlns:a16="http://schemas.microsoft.com/office/drawing/2014/main" id="{EEC1207E-61B3-426C-8944-E87C2881B470}"/>
              </a:ext>
            </a:extLst>
          </p:cNvPr>
          <p:cNvSpPr/>
          <p:nvPr/>
        </p:nvSpPr>
        <p:spPr>
          <a:xfrm flipH="1">
            <a:off x="6095992" y="3074451"/>
            <a:ext cx="2865156" cy="83291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7" name="RbLeanShape Left Angle 27">
            <a:extLst>
              <a:ext uri="{FF2B5EF4-FFF2-40B4-BE49-F238E27FC236}">
                <a16:creationId xmlns:a16="http://schemas.microsoft.com/office/drawing/2014/main" id="{B66DB12E-8471-4252-B6DF-12F6F27BFA81}"/>
              </a:ext>
            </a:extLst>
          </p:cNvPr>
          <p:cNvSpPr/>
          <p:nvPr/>
        </p:nvSpPr>
        <p:spPr>
          <a:xfrm flipH="1">
            <a:off x="8961154" y="2243470"/>
            <a:ext cx="2865159" cy="83291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9" name="Ellipse 28">
            <a:extLst>
              <a:ext uri="{FF2B5EF4-FFF2-40B4-BE49-F238E27FC236}">
                <a16:creationId xmlns:a16="http://schemas.microsoft.com/office/drawing/2014/main" id="{997DB9D8-33E0-43CC-9FC2-AF289AAF01AE}"/>
              </a:ext>
            </a:extLst>
          </p:cNvPr>
          <p:cNvSpPr/>
          <p:nvPr/>
        </p:nvSpPr>
        <p:spPr>
          <a:xfrm>
            <a:off x="4594836" y="5488542"/>
            <a:ext cx="137160" cy="137160"/>
          </a:xfrm>
          <a:prstGeom prst="ellipse">
            <a:avLst/>
          </a:prstGeom>
          <a:solidFill>
            <a:schemeClr val="bg1"/>
          </a:solidFill>
          <a:ln w="22225">
            <a:solidFill>
              <a:srgbClr val="BBBE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Ellipse 30">
            <a:extLst>
              <a:ext uri="{FF2B5EF4-FFF2-40B4-BE49-F238E27FC236}">
                <a16:creationId xmlns:a16="http://schemas.microsoft.com/office/drawing/2014/main" id="{920D0366-E2AD-4987-9B1E-91B786E1975F}"/>
              </a:ext>
            </a:extLst>
          </p:cNvPr>
          <p:cNvSpPr/>
          <p:nvPr/>
        </p:nvSpPr>
        <p:spPr>
          <a:xfrm>
            <a:off x="7459990" y="5488542"/>
            <a:ext cx="137160" cy="137160"/>
          </a:xfrm>
          <a:prstGeom prst="ellipse">
            <a:avLst/>
          </a:prstGeom>
          <a:solidFill>
            <a:schemeClr val="bg1"/>
          </a:solidFill>
          <a:ln w="22225">
            <a:solidFill>
              <a:srgbClr val="BBBE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Ellipse 31">
            <a:extLst>
              <a:ext uri="{FF2B5EF4-FFF2-40B4-BE49-F238E27FC236}">
                <a16:creationId xmlns:a16="http://schemas.microsoft.com/office/drawing/2014/main" id="{CAEBD2E5-D84C-4F13-8B0B-BA94D0BCF3B7}"/>
              </a:ext>
            </a:extLst>
          </p:cNvPr>
          <p:cNvSpPr/>
          <p:nvPr/>
        </p:nvSpPr>
        <p:spPr>
          <a:xfrm>
            <a:off x="10325153" y="5488542"/>
            <a:ext cx="137160" cy="137160"/>
          </a:xfrm>
          <a:prstGeom prst="ellipse">
            <a:avLst/>
          </a:prstGeom>
          <a:solidFill>
            <a:schemeClr val="bg1"/>
          </a:solidFill>
          <a:ln w="22225">
            <a:solidFill>
              <a:srgbClr val="BBBE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Ellipse 11">
            <a:extLst>
              <a:ext uri="{FF2B5EF4-FFF2-40B4-BE49-F238E27FC236}">
                <a16:creationId xmlns:a16="http://schemas.microsoft.com/office/drawing/2014/main" id="{6DFDC363-C864-480E-8272-1BBB02239E4B}"/>
              </a:ext>
            </a:extLst>
          </p:cNvPr>
          <p:cNvSpPr/>
          <p:nvPr/>
        </p:nvSpPr>
        <p:spPr>
          <a:xfrm>
            <a:off x="1729677" y="5488542"/>
            <a:ext cx="137160" cy="137160"/>
          </a:xfrm>
          <a:prstGeom prst="ellipse">
            <a:avLst/>
          </a:prstGeom>
          <a:solidFill>
            <a:schemeClr val="bg1"/>
          </a:solidFill>
          <a:ln w="22225">
            <a:solidFill>
              <a:srgbClr val="BBBE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15">
            <a:extLst>
              <a:ext uri="{FF2B5EF4-FFF2-40B4-BE49-F238E27FC236}">
                <a16:creationId xmlns:a16="http://schemas.microsoft.com/office/drawing/2014/main" id="{F5B0BACD-201A-4EEA-BE62-ABF904F65D55}"/>
              </a:ext>
            </a:extLst>
          </p:cNvPr>
          <p:cNvSpPr>
            <a:spLocks noChangeArrowheads="1"/>
          </p:cNvSpPr>
          <p:nvPr/>
        </p:nvSpPr>
        <p:spPr bwMode="auto">
          <a:xfrm>
            <a:off x="1501751" y="5603149"/>
            <a:ext cx="593012" cy="276999"/>
          </a:xfrm>
          <a:prstGeom prst="rect">
            <a:avLst/>
          </a:prstGeom>
          <a:noFill/>
          <a:ln w="6350">
            <a:noFill/>
            <a:miter lim="800000"/>
            <a:headEnd/>
            <a:tailEnd/>
          </a:ln>
        </p:spPr>
        <p:txBody>
          <a:bodyPr wrap="square" lIns="0" tIns="0" rIns="0" bIns="0">
            <a:spAutoFit/>
          </a:bodyPr>
          <a:lstStyle/>
          <a:p>
            <a:pPr algn="ctr" defTabSz="330200"/>
            <a:r>
              <a:rPr lang="en-GB">
                <a:latin typeface="+mj-lt"/>
                <a:ea typeface="PMingLiU" pitchFamily="18" charset="-120"/>
                <a:cs typeface="Arial" panose="020B0604020202020204" pitchFamily="34" charset="0"/>
              </a:rPr>
              <a:t>Year</a:t>
            </a:r>
          </a:p>
        </p:txBody>
      </p:sp>
      <p:sp>
        <p:nvSpPr>
          <p:cNvPr id="34" name="Text 15">
            <a:extLst>
              <a:ext uri="{FF2B5EF4-FFF2-40B4-BE49-F238E27FC236}">
                <a16:creationId xmlns:a16="http://schemas.microsoft.com/office/drawing/2014/main" id="{41BA1F91-085A-4DC6-9CC0-AC8822784AC3}"/>
              </a:ext>
            </a:extLst>
          </p:cNvPr>
          <p:cNvSpPr>
            <a:spLocks noChangeArrowheads="1"/>
          </p:cNvSpPr>
          <p:nvPr/>
        </p:nvSpPr>
        <p:spPr bwMode="auto">
          <a:xfrm>
            <a:off x="4366910" y="5625702"/>
            <a:ext cx="593012" cy="276999"/>
          </a:xfrm>
          <a:prstGeom prst="rect">
            <a:avLst/>
          </a:prstGeom>
          <a:noFill/>
          <a:ln w="6350">
            <a:noFill/>
            <a:miter lim="800000"/>
            <a:headEnd/>
            <a:tailEnd/>
          </a:ln>
        </p:spPr>
        <p:txBody>
          <a:bodyPr wrap="square" lIns="0" tIns="0" rIns="0" bIns="0">
            <a:spAutoFit/>
          </a:bodyPr>
          <a:lstStyle/>
          <a:p>
            <a:pPr algn="ctr" defTabSz="330200"/>
            <a:r>
              <a:rPr lang="en-GB">
                <a:latin typeface="+mj-lt"/>
                <a:ea typeface="PMingLiU" pitchFamily="18" charset="-120"/>
                <a:cs typeface="Arial" panose="020B0604020202020204" pitchFamily="34" charset="0"/>
              </a:rPr>
              <a:t>Year</a:t>
            </a:r>
          </a:p>
        </p:txBody>
      </p:sp>
      <p:sp>
        <p:nvSpPr>
          <p:cNvPr id="35" name="Text 15">
            <a:extLst>
              <a:ext uri="{FF2B5EF4-FFF2-40B4-BE49-F238E27FC236}">
                <a16:creationId xmlns:a16="http://schemas.microsoft.com/office/drawing/2014/main" id="{78C4E302-0456-4B5F-B83A-0B52D81B2C12}"/>
              </a:ext>
            </a:extLst>
          </p:cNvPr>
          <p:cNvSpPr>
            <a:spLocks noChangeArrowheads="1"/>
          </p:cNvSpPr>
          <p:nvPr/>
        </p:nvSpPr>
        <p:spPr bwMode="auto">
          <a:xfrm>
            <a:off x="7232069" y="5625702"/>
            <a:ext cx="593012" cy="276999"/>
          </a:xfrm>
          <a:prstGeom prst="rect">
            <a:avLst/>
          </a:prstGeom>
          <a:noFill/>
          <a:ln w="6350">
            <a:noFill/>
            <a:miter lim="800000"/>
            <a:headEnd/>
            <a:tailEnd/>
          </a:ln>
        </p:spPr>
        <p:txBody>
          <a:bodyPr wrap="square" lIns="0" tIns="0" rIns="0" bIns="0">
            <a:spAutoFit/>
          </a:bodyPr>
          <a:lstStyle/>
          <a:p>
            <a:pPr algn="ctr" defTabSz="330200"/>
            <a:r>
              <a:rPr lang="en-GB">
                <a:latin typeface="+mj-lt"/>
                <a:ea typeface="PMingLiU" pitchFamily="18" charset="-120"/>
                <a:cs typeface="Arial" panose="020B0604020202020204" pitchFamily="34" charset="0"/>
              </a:rPr>
              <a:t>Year</a:t>
            </a:r>
          </a:p>
        </p:txBody>
      </p:sp>
      <p:sp>
        <p:nvSpPr>
          <p:cNvPr id="36" name="Text 15">
            <a:extLst>
              <a:ext uri="{FF2B5EF4-FFF2-40B4-BE49-F238E27FC236}">
                <a16:creationId xmlns:a16="http://schemas.microsoft.com/office/drawing/2014/main" id="{738A0AD4-0E8A-4D0A-84B7-08286A2A64B7}"/>
              </a:ext>
            </a:extLst>
          </p:cNvPr>
          <p:cNvSpPr>
            <a:spLocks noChangeArrowheads="1"/>
          </p:cNvSpPr>
          <p:nvPr/>
        </p:nvSpPr>
        <p:spPr bwMode="auto">
          <a:xfrm>
            <a:off x="10097218" y="5609356"/>
            <a:ext cx="593012" cy="276999"/>
          </a:xfrm>
          <a:prstGeom prst="rect">
            <a:avLst/>
          </a:prstGeom>
          <a:noFill/>
          <a:ln w="6350">
            <a:noFill/>
            <a:miter lim="800000"/>
            <a:headEnd/>
            <a:tailEnd/>
          </a:ln>
        </p:spPr>
        <p:txBody>
          <a:bodyPr wrap="square" lIns="0" tIns="0" rIns="0" bIns="0">
            <a:spAutoFit/>
          </a:bodyPr>
          <a:lstStyle/>
          <a:p>
            <a:pPr algn="ctr" defTabSz="330200"/>
            <a:r>
              <a:rPr lang="en-GB">
                <a:latin typeface="+mj-lt"/>
                <a:ea typeface="PMingLiU" pitchFamily="18" charset="-120"/>
                <a:cs typeface="Arial" panose="020B0604020202020204" pitchFamily="34" charset="0"/>
              </a:rPr>
              <a:t>Year</a:t>
            </a:r>
          </a:p>
        </p:txBody>
      </p:sp>
      <p:sp>
        <p:nvSpPr>
          <p:cNvPr id="37" name="Rectangle 78">
            <a:extLst>
              <a:ext uri="{FF2B5EF4-FFF2-40B4-BE49-F238E27FC236}">
                <a16:creationId xmlns:a16="http://schemas.microsoft.com/office/drawing/2014/main" id="{F93ECA60-07C3-4803-A169-8D2CBF47C36F}"/>
              </a:ext>
            </a:extLst>
          </p:cNvPr>
          <p:cNvSpPr/>
          <p:nvPr/>
        </p:nvSpPr>
        <p:spPr>
          <a:xfrm>
            <a:off x="8961154" y="1944935"/>
            <a:ext cx="2865159" cy="257173"/>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8" name="Rectangle 78">
            <a:extLst>
              <a:ext uri="{FF2B5EF4-FFF2-40B4-BE49-F238E27FC236}">
                <a16:creationId xmlns:a16="http://schemas.microsoft.com/office/drawing/2014/main" id="{2D1D7400-E6A4-4E43-A692-F63768B3709B}"/>
              </a:ext>
            </a:extLst>
          </p:cNvPr>
          <p:cNvSpPr/>
          <p:nvPr/>
        </p:nvSpPr>
        <p:spPr>
          <a:xfrm>
            <a:off x="6095989" y="2776130"/>
            <a:ext cx="2865159" cy="257173"/>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39" name="Rectangle 78">
            <a:extLst>
              <a:ext uri="{FF2B5EF4-FFF2-40B4-BE49-F238E27FC236}">
                <a16:creationId xmlns:a16="http://schemas.microsoft.com/office/drawing/2014/main" id="{2162D462-4F04-421F-BA59-892480A93820}"/>
              </a:ext>
            </a:extLst>
          </p:cNvPr>
          <p:cNvSpPr/>
          <p:nvPr/>
        </p:nvSpPr>
        <p:spPr>
          <a:xfrm>
            <a:off x="3230841" y="3599666"/>
            <a:ext cx="2865159" cy="257173"/>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0" name="Rectangle 78">
            <a:extLst>
              <a:ext uri="{FF2B5EF4-FFF2-40B4-BE49-F238E27FC236}">
                <a16:creationId xmlns:a16="http://schemas.microsoft.com/office/drawing/2014/main" id="{A7C8E497-1A25-496F-B753-19F7894C40F0}"/>
              </a:ext>
            </a:extLst>
          </p:cNvPr>
          <p:cNvSpPr/>
          <p:nvPr/>
        </p:nvSpPr>
        <p:spPr>
          <a:xfrm>
            <a:off x="365677" y="4423202"/>
            <a:ext cx="2865159" cy="257173"/>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b="1"/>
              <a:t>Single-line header</a:t>
            </a:r>
            <a:endParaRPr lang="en-GB" b="1" kern="0">
              <a:latin typeface="Arial" panose="020B0604020202020204" pitchFamily="34" charset="0"/>
              <a:cs typeface="Arial" panose="020B0604020202020204" pitchFamily="34" charset="0"/>
            </a:endParaRPr>
          </a:p>
        </p:txBody>
      </p:sp>
      <p:sp>
        <p:nvSpPr>
          <p:cNvPr id="41" name="Rectangle 79">
            <a:extLst>
              <a:ext uri="{FF2B5EF4-FFF2-40B4-BE49-F238E27FC236}">
                <a16:creationId xmlns:a16="http://schemas.microsoft.com/office/drawing/2014/main" id="{3A94A3FE-9375-481A-99A3-CB210B53B471}"/>
              </a:ext>
            </a:extLst>
          </p:cNvPr>
          <p:cNvSpPr>
            <a:spLocks/>
          </p:cNvSpPr>
          <p:nvPr/>
        </p:nvSpPr>
        <p:spPr>
          <a:xfrm flipH="1">
            <a:off x="393405" y="4781365"/>
            <a:ext cx="2837431"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2" name="Rectangle 79">
            <a:extLst>
              <a:ext uri="{FF2B5EF4-FFF2-40B4-BE49-F238E27FC236}">
                <a16:creationId xmlns:a16="http://schemas.microsoft.com/office/drawing/2014/main" id="{47518146-A93C-4BC6-8F94-7614922B041F}"/>
              </a:ext>
            </a:extLst>
          </p:cNvPr>
          <p:cNvSpPr>
            <a:spLocks/>
          </p:cNvSpPr>
          <p:nvPr/>
        </p:nvSpPr>
        <p:spPr>
          <a:xfrm flipH="1">
            <a:off x="3278462" y="3956929"/>
            <a:ext cx="2817538"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3" name="Rectangle 79">
            <a:extLst>
              <a:ext uri="{FF2B5EF4-FFF2-40B4-BE49-F238E27FC236}">
                <a16:creationId xmlns:a16="http://schemas.microsoft.com/office/drawing/2014/main" id="{86A0AB1D-A389-4F4D-A27D-B0DC89FDA775}"/>
              </a:ext>
            </a:extLst>
          </p:cNvPr>
          <p:cNvSpPr>
            <a:spLocks/>
          </p:cNvSpPr>
          <p:nvPr/>
        </p:nvSpPr>
        <p:spPr>
          <a:xfrm flipH="1">
            <a:off x="6143609" y="3130755"/>
            <a:ext cx="2817538"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44" name="Rectangle 79">
            <a:extLst>
              <a:ext uri="{FF2B5EF4-FFF2-40B4-BE49-F238E27FC236}">
                <a16:creationId xmlns:a16="http://schemas.microsoft.com/office/drawing/2014/main" id="{54E523A2-75FA-4DDE-AFB1-ACEEFBE64A04}"/>
              </a:ext>
            </a:extLst>
          </p:cNvPr>
          <p:cNvSpPr>
            <a:spLocks/>
          </p:cNvSpPr>
          <p:nvPr/>
        </p:nvSpPr>
        <p:spPr>
          <a:xfrm flipH="1">
            <a:off x="9008756" y="2301353"/>
            <a:ext cx="2817538" cy="716093"/>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Tree>
    <p:extLst>
      <p:ext uri="{BB962C8B-B14F-4D97-AF65-F5344CB8AC3E}">
        <p14:creationId xmlns:p14="http://schemas.microsoft.com/office/powerpoint/2010/main" val="141573833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553979-8696-417F-B07F-46B05F7AC9E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8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grpSp>
        <p:nvGrpSpPr>
          <p:cNvPr id="18" name="Group 28">
            <a:extLst>
              <a:ext uri="{FF2B5EF4-FFF2-40B4-BE49-F238E27FC236}">
                <a16:creationId xmlns:a16="http://schemas.microsoft.com/office/drawing/2014/main" id="{A7FD37A1-7E30-4B49-B328-4ECD55BA2733}"/>
              </a:ext>
            </a:extLst>
          </p:cNvPr>
          <p:cNvGrpSpPr>
            <a:grpSpLocks noChangeAspect="1"/>
          </p:cNvGrpSpPr>
          <p:nvPr/>
        </p:nvGrpSpPr>
        <p:grpSpPr>
          <a:xfrm>
            <a:off x="4396678" y="2218890"/>
            <a:ext cx="3401568" cy="3203155"/>
            <a:chOff x="2347107" y="1737169"/>
            <a:chExt cx="4426497" cy="4168301"/>
          </a:xfrm>
        </p:grpSpPr>
        <p:grpSp>
          <p:nvGrpSpPr>
            <p:cNvPr id="19" name="Group 26">
              <a:extLst>
                <a:ext uri="{FF2B5EF4-FFF2-40B4-BE49-F238E27FC236}">
                  <a16:creationId xmlns:a16="http://schemas.microsoft.com/office/drawing/2014/main" id="{3BFDDFD4-8DAE-4934-A872-D997C31B978A}"/>
                </a:ext>
              </a:extLst>
            </p:cNvPr>
            <p:cNvGrpSpPr/>
            <p:nvPr/>
          </p:nvGrpSpPr>
          <p:grpSpPr>
            <a:xfrm>
              <a:off x="2347107" y="1737169"/>
              <a:ext cx="4426497" cy="4168301"/>
              <a:chOff x="2347107" y="2193210"/>
              <a:chExt cx="4426497" cy="4168301"/>
            </a:xfrm>
          </p:grpSpPr>
          <p:sp>
            <p:nvSpPr>
              <p:cNvPr id="25" name="Oval 10">
                <a:extLst>
                  <a:ext uri="{FF2B5EF4-FFF2-40B4-BE49-F238E27FC236}">
                    <a16:creationId xmlns:a16="http://schemas.microsoft.com/office/drawing/2014/main" id="{6D020AE6-25F5-4E8D-892B-763CF6B189EE}"/>
                  </a:ext>
                </a:extLst>
              </p:cNvPr>
              <p:cNvSpPr/>
              <p:nvPr/>
            </p:nvSpPr>
            <p:spPr>
              <a:xfrm>
                <a:off x="2885423" y="2193210"/>
                <a:ext cx="1625048" cy="1330153"/>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sp>
            <p:nvSpPr>
              <p:cNvPr id="26" name="Oval 10">
                <a:extLst>
                  <a:ext uri="{FF2B5EF4-FFF2-40B4-BE49-F238E27FC236}">
                    <a16:creationId xmlns:a16="http://schemas.microsoft.com/office/drawing/2014/main" id="{EA2B8DB0-6DE4-4CD5-9C7F-1063132C4FA0}"/>
                  </a:ext>
                </a:extLst>
              </p:cNvPr>
              <p:cNvSpPr/>
              <p:nvPr/>
            </p:nvSpPr>
            <p:spPr>
              <a:xfrm rot="18000000" flipV="1">
                <a:off x="4459114" y="4883910"/>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sp>
            <p:nvSpPr>
              <p:cNvPr id="27" name="Oval 10">
                <a:extLst>
                  <a:ext uri="{FF2B5EF4-FFF2-40B4-BE49-F238E27FC236}">
                    <a16:creationId xmlns:a16="http://schemas.microsoft.com/office/drawing/2014/main" id="{C37CCF5E-81EB-4AE5-A102-1B21AFF582E8}"/>
                  </a:ext>
                </a:extLst>
              </p:cNvPr>
              <p:cNvSpPr/>
              <p:nvPr/>
            </p:nvSpPr>
            <p:spPr>
              <a:xfrm flipH="1">
                <a:off x="4604658" y="2193210"/>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sp>
            <p:nvSpPr>
              <p:cNvPr id="29" name="Oval 10">
                <a:extLst>
                  <a:ext uri="{FF2B5EF4-FFF2-40B4-BE49-F238E27FC236}">
                    <a16:creationId xmlns:a16="http://schemas.microsoft.com/office/drawing/2014/main" id="{5328DD22-54D5-437B-93AB-26D332D90F9E}"/>
                  </a:ext>
                </a:extLst>
              </p:cNvPr>
              <p:cNvSpPr/>
              <p:nvPr/>
            </p:nvSpPr>
            <p:spPr>
              <a:xfrm rot="7200000">
                <a:off x="5296003" y="3378966"/>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sp>
            <p:nvSpPr>
              <p:cNvPr id="31" name="Oval 10">
                <a:extLst>
                  <a:ext uri="{FF2B5EF4-FFF2-40B4-BE49-F238E27FC236}">
                    <a16:creationId xmlns:a16="http://schemas.microsoft.com/office/drawing/2014/main" id="{729F338D-F5F5-40D3-B254-87D795D3B208}"/>
                  </a:ext>
                </a:extLst>
              </p:cNvPr>
              <p:cNvSpPr/>
              <p:nvPr/>
            </p:nvSpPr>
            <p:spPr>
              <a:xfrm flipV="1">
                <a:off x="2885423" y="4786266"/>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sp>
            <p:nvSpPr>
              <p:cNvPr id="32" name="Oval 10">
                <a:extLst>
                  <a:ext uri="{FF2B5EF4-FFF2-40B4-BE49-F238E27FC236}">
                    <a16:creationId xmlns:a16="http://schemas.microsoft.com/office/drawing/2014/main" id="{609857C0-51EF-40A3-9F5C-236F81A15DC3}"/>
                  </a:ext>
                </a:extLst>
              </p:cNvPr>
              <p:cNvSpPr/>
              <p:nvPr/>
            </p:nvSpPr>
            <p:spPr>
              <a:xfrm rot="18000000">
                <a:off x="2199660" y="3584104"/>
                <a:ext cx="1625048" cy="1330154"/>
              </a:xfrm>
              <a:custGeom>
                <a:avLst/>
                <a:gdLst/>
                <a:ahLst/>
                <a:cxnLst/>
                <a:rect l="l" t="t" r="r" b="b"/>
                <a:pathLst>
                  <a:path w="1625048" h="1330154">
                    <a:moveTo>
                      <a:pt x="1625048" y="0"/>
                    </a:moveTo>
                    <a:lnTo>
                      <a:pt x="1625048" y="778278"/>
                    </a:lnTo>
                    <a:cubicBezTo>
                      <a:pt x="1224842" y="797234"/>
                      <a:pt x="876193" y="1012505"/>
                      <a:pt x="673127" y="1330154"/>
                    </a:cubicBezTo>
                    <a:lnTo>
                      <a:pt x="0" y="941523"/>
                    </a:lnTo>
                    <a:cubicBezTo>
                      <a:pt x="336920" y="390726"/>
                      <a:pt x="936837" y="19359"/>
                      <a:pt x="1625048" y="0"/>
                    </a:cubicBezTo>
                    <a:close/>
                  </a:path>
                </a:pathLst>
              </a:custGeom>
              <a:solidFill>
                <a:srgbClr val="BBBEC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cs typeface="Arial" pitchFamily="34" charset="0"/>
                </a:endParaRPr>
              </a:p>
            </p:txBody>
          </p:sp>
        </p:grpSp>
        <p:sp>
          <p:nvSpPr>
            <p:cNvPr id="24" name="Oval 23">
              <a:extLst>
                <a:ext uri="{FF2B5EF4-FFF2-40B4-BE49-F238E27FC236}">
                  <a16:creationId xmlns:a16="http://schemas.microsoft.com/office/drawing/2014/main" id="{901EFFEF-9D70-4EA3-A10B-AE28EB0508BC}"/>
                </a:ext>
              </a:extLst>
            </p:cNvPr>
            <p:cNvSpPr/>
            <p:nvPr/>
          </p:nvSpPr>
          <p:spPr>
            <a:xfrm>
              <a:off x="3540579" y="2698034"/>
              <a:ext cx="2039552" cy="20395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ko-KR" b="1">
                  <a:solidFill>
                    <a:schemeClr val="tx1"/>
                  </a:solidFill>
                  <a:cs typeface="Arial" pitchFamily="34" charset="0"/>
                </a:rPr>
                <a:t>Key point</a:t>
              </a:r>
            </a:p>
          </p:txBody>
        </p:sp>
      </p:grpSp>
      <p:sp>
        <p:nvSpPr>
          <p:cNvPr id="22" name="RbLeanShape Left Angle 27">
            <a:extLst>
              <a:ext uri="{FF2B5EF4-FFF2-40B4-BE49-F238E27FC236}">
                <a16:creationId xmlns:a16="http://schemas.microsoft.com/office/drawing/2014/main" id="{0480DD90-B996-4571-802C-23830D42C5DB}"/>
              </a:ext>
            </a:extLst>
          </p:cNvPr>
          <p:cNvSpPr/>
          <p:nvPr/>
        </p:nvSpPr>
        <p:spPr>
          <a:xfrm>
            <a:off x="1716525" y="2202108"/>
            <a:ext cx="3662087" cy="30945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bg1">
                <a:lumMod val="50000"/>
              </a:schemeClr>
            </a:solidFill>
            <a:tailEnd type="oval" w="lg" len="lg"/>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3" name="RbLeanShape Left Angle 27">
            <a:extLst>
              <a:ext uri="{FF2B5EF4-FFF2-40B4-BE49-F238E27FC236}">
                <a16:creationId xmlns:a16="http://schemas.microsoft.com/office/drawing/2014/main" id="{738D4C59-A761-4759-9652-E151BDE95BB1}"/>
              </a:ext>
            </a:extLst>
          </p:cNvPr>
          <p:cNvSpPr/>
          <p:nvPr/>
        </p:nvSpPr>
        <p:spPr>
          <a:xfrm flipH="1">
            <a:off x="6813388" y="2205851"/>
            <a:ext cx="3491891" cy="27463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bg1">
                <a:lumMod val="50000"/>
              </a:schemeClr>
            </a:solidFill>
            <a:tailEnd type="oval" w="lg" len="lg"/>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8" name="RbLeanShape Left Angle 27">
            <a:extLst>
              <a:ext uri="{FF2B5EF4-FFF2-40B4-BE49-F238E27FC236}">
                <a16:creationId xmlns:a16="http://schemas.microsoft.com/office/drawing/2014/main" id="{D645A561-8EBA-4DA7-AC27-08F6BF1FE610}"/>
              </a:ext>
            </a:extLst>
          </p:cNvPr>
          <p:cNvSpPr/>
          <p:nvPr/>
        </p:nvSpPr>
        <p:spPr>
          <a:xfrm flipV="1">
            <a:off x="1716525" y="4958859"/>
            <a:ext cx="3699491" cy="30945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bg1">
                <a:lumMod val="50000"/>
              </a:schemeClr>
            </a:solidFill>
            <a:tailEnd type="oval" w="lg" len="lg"/>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30" name="RbLeanShape Left Angle 27">
            <a:extLst>
              <a:ext uri="{FF2B5EF4-FFF2-40B4-BE49-F238E27FC236}">
                <a16:creationId xmlns:a16="http://schemas.microsoft.com/office/drawing/2014/main" id="{99EC4EAF-A8C4-4B41-9176-28F60B8D68C0}"/>
              </a:ext>
            </a:extLst>
          </p:cNvPr>
          <p:cNvSpPr/>
          <p:nvPr/>
        </p:nvSpPr>
        <p:spPr>
          <a:xfrm flipH="1" flipV="1">
            <a:off x="6813389" y="4958859"/>
            <a:ext cx="3491891" cy="331540"/>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bg1">
                <a:lumMod val="50000"/>
              </a:schemeClr>
            </a:solidFill>
            <a:tailEnd type="oval" w="lg" len="lg"/>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cxnSp>
        <p:nvCxnSpPr>
          <p:cNvPr id="9" name="Gerader Verbinder 8">
            <a:extLst>
              <a:ext uri="{FF2B5EF4-FFF2-40B4-BE49-F238E27FC236}">
                <a16:creationId xmlns:a16="http://schemas.microsoft.com/office/drawing/2014/main" id="{C6DA0727-8AE7-418E-B008-D0FDFA6E68B0}"/>
              </a:ext>
            </a:extLst>
          </p:cNvPr>
          <p:cNvCxnSpPr>
            <a:cxnSpLocks/>
          </p:cNvCxnSpPr>
          <p:nvPr/>
        </p:nvCxnSpPr>
        <p:spPr>
          <a:xfrm>
            <a:off x="1716525" y="3746090"/>
            <a:ext cx="2896965" cy="0"/>
          </a:xfrm>
          <a:prstGeom prst="line">
            <a:avLst/>
          </a:prstGeom>
          <a:ln w="22225">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401152D-38F6-4AF7-9345-BD6B92F0EFFC}"/>
              </a:ext>
            </a:extLst>
          </p:cNvPr>
          <p:cNvCxnSpPr>
            <a:cxnSpLocks/>
          </p:cNvCxnSpPr>
          <p:nvPr/>
        </p:nvCxnSpPr>
        <p:spPr>
          <a:xfrm flipH="1">
            <a:off x="7579377" y="3760838"/>
            <a:ext cx="2725904" cy="0"/>
          </a:xfrm>
          <a:prstGeom prst="line">
            <a:avLst/>
          </a:prstGeom>
          <a:ln w="22225">
            <a:solidFill>
              <a:schemeClr val="bg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35" name="Rectangle 78">
            <a:extLst>
              <a:ext uri="{FF2B5EF4-FFF2-40B4-BE49-F238E27FC236}">
                <a16:creationId xmlns:a16="http://schemas.microsoft.com/office/drawing/2014/main" id="{24CB7571-A9CC-457A-BD07-C455FDE72702}"/>
              </a:ext>
            </a:extLst>
          </p:cNvPr>
          <p:cNvSpPr/>
          <p:nvPr/>
        </p:nvSpPr>
        <p:spPr>
          <a:xfrm>
            <a:off x="1716525" y="1943758"/>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36" name="Rectangle 78">
            <a:extLst>
              <a:ext uri="{FF2B5EF4-FFF2-40B4-BE49-F238E27FC236}">
                <a16:creationId xmlns:a16="http://schemas.microsoft.com/office/drawing/2014/main" id="{69FE2C65-AD83-4926-A15B-A69AA302FE75}"/>
              </a:ext>
            </a:extLst>
          </p:cNvPr>
          <p:cNvSpPr/>
          <p:nvPr/>
        </p:nvSpPr>
        <p:spPr>
          <a:xfrm>
            <a:off x="1716525" y="5007513"/>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37" name="Rectangle 78">
            <a:extLst>
              <a:ext uri="{FF2B5EF4-FFF2-40B4-BE49-F238E27FC236}">
                <a16:creationId xmlns:a16="http://schemas.microsoft.com/office/drawing/2014/main" id="{5DFFD500-E202-401A-98CC-C48759ED586A}"/>
              </a:ext>
            </a:extLst>
          </p:cNvPr>
          <p:cNvSpPr/>
          <p:nvPr/>
        </p:nvSpPr>
        <p:spPr>
          <a:xfrm>
            <a:off x="8240073" y="1953283"/>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39" name="Rectangle 78">
            <a:extLst>
              <a:ext uri="{FF2B5EF4-FFF2-40B4-BE49-F238E27FC236}">
                <a16:creationId xmlns:a16="http://schemas.microsoft.com/office/drawing/2014/main" id="{D94D8927-2C5D-437B-8D30-54A40C23416D}"/>
              </a:ext>
            </a:extLst>
          </p:cNvPr>
          <p:cNvSpPr/>
          <p:nvPr/>
        </p:nvSpPr>
        <p:spPr>
          <a:xfrm>
            <a:off x="8240073" y="5027390"/>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43" name="Rectangle 78">
            <a:extLst>
              <a:ext uri="{FF2B5EF4-FFF2-40B4-BE49-F238E27FC236}">
                <a16:creationId xmlns:a16="http://schemas.microsoft.com/office/drawing/2014/main" id="{8619327B-7CD9-4F9A-971E-8106B2F5C0EF}"/>
              </a:ext>
            </a:extLst>
          </p:cNvPr>
          <p:cNvSpPr/>
          <p:nvPr/>
        </p:nvSpPr>
        <p:spPr>
          <a:xfrm>
            <a:off x="1746699" y="3485744"/>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44" name="Rectangle 78">
            <a:extLst>
              <a:ext uri="{FF2B5EF4-FFF2-40B4-BE49-F238E27FC236}">
                <a16:creationId xmlns:a16="http://schemas.microsoft.com/office/drawing/2014/main" id="{D28C1694-5EE2-43C1-9816-5ED92C1945E6}"/>
              </a:ext>
            </a:extLst>
          </p:cNvPr>
          <p:cNvSpPr/>
          <p:nvPr/>
        </p:nvSpPr>
        <p:spPr>
          <a:xfrm>
            <a:off x="8242985" y="3504150"/>
            <a:ext cx="2048593" cy="24929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fontAlgn="base">
              <a:lnSpc>
                <a:spcPct val="90000"/>
              </a:lnSpc>
              <a:spcBef>
                <a:spcPct val="50000"/>
              </a:spcBef>
              <a:spcAft>
                <a:spcPct val="0"/>
              </a:spcAft>
              <a:buClr>
                <a:srgbClr val="A2A2A2"/>
              </a:buClr>
              <a:defRPr/>
            </a:pPr>
            <a:r>
              <a:rPr lang="en-GB"/>
              <a:t>Topic</a:t>
            </a:r>
            <a:endParaRPr lang="en-GB" kern="0">
              <a:latin typeface="Arial" panose="020B0604020202020204" pitchFamily="34" charset="0"/>
              <a:cs typeface="Arial" panose="020B0604020202020204" pitchFamily="34" charset="0"/>
            </a:endParaRPr>
          </a:p>
        </p:txBody>
      </p:sp>
      <p:sp>
        <p:nvSpPr>
          <p:cNvPr id="46" name="Rectangle 79">
            <a:extLst>
              <a:ext uri="{FF2B5EF4-FFF2-40B4-BE49-F238E27FC236}">
                <a16:creationId xmlns:a16="http://schemas.microsoft.com/office/drawing/2014/main" id="{D41C00AC-7995-4772-AE6F-98A98E924EB1}"/>
              </a:ext>
            </a:extLst>
          </p:cNvPr>
          <p:cNvSpPr>
            <a:spLocks/>
          </p:cNvSpPr>
          <p:nvPr/>
        </p:nvSpPr>
        <p:spPr>
          <a:xfrm flipH="1">
            <a:off x="1746699" y="2293413"/>
            <a:ext cx="2837431"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p:txBody>
      </p:sp>
      <p:sp>
        <p:nvSpPr>
          <p:cNvPr id="47" name="Rectangle 79">
            <a:extLst>
              <a:ext uri="{FF2B5EF4-FFF2-40B4-BE49-F238E27FC236}">
                <a16:creationId xmlns:a16="http://schemas.microsoft.com/office/drawing/2014/main" id="{37BDC443-0B9C-4938-A4B1-F3EBB397AE11}"/>
              </a:ext>
            </a:extLst>
          </p:cNvPr>
          <p:cNvSpPr>
            <a:spLocks/>
          </p:cNvSpPr>
          <p:nvPr/>
        </p:nvSpPr>
        <p:spPr>
          <a:xfrm flipH="1">
            <a:off x="1750260" y="3852626"/>
            <a:ext cx="2837431"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p:txBody>
      </p:sp>
      <p:sp>
        <p:nvSpPr>
          <p:cNvPr id="48" name="Rectangle 79">
            <a:extLst>
              <a:ext uri="{FF2B5EF4-FFF2-40B4-BE49-F238E27FC236}">
                <a16:creationId xmlns:a16="http://schemas.microsoft.com/office/drawing/2014/main" id="{F2F0BEF0-AFB3-40AB-9EB2-4C3E0CDC729D}"/>
              </a:ext>
            </a:extLst>
          </p:cNvPr>
          <p:cNvSpPr>
            <a:spLocks/>
          </p:cNvSpPr>
          <p:nvPr/>
        </p:nvSpPr>
        <p:spPr>
          <a:xfrm flipH="1">
            <a:off x="1716525" y="5403238"/>
            <a:ext cx="2837431" cy="221599"/>
          </a:xfrm>
          <a:prstGeom prst="rect">
            <a:avLst/>
          </a:prstGeom>
        </p:spPr>
        <p:txBody>
          <a:bodyPr vert="horz"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text</a:t>
            </a:r>
          </a:p>
        </p:txBody>
      </p:sp>
      <p:sp>
        <p:nvSpPr>
          <p:cNvPr id="49" name="Rectangle 79">
            <a:extLst>
              <a:ext uri="{FF2B5EF4-FFF2-40B4-BE49-F238E27FC236}">
                <a16:creationId xmlns:a16="http://schemas.microsoft.com/office/drawing/2014/main" id="{E30B81BA-C939-40C9-B282-2A23EF2D92BB}"/>
              </a:ext>
            </a:extLst>
          </p:cNvPr>
          <p:cNvSpPr>
            <a:spLocks/>
          </p:cNvSpPr>
          <p:nvPr/>
        </p:nvSpPr>
        <p:spPr>
          <a:xfrm flipH="1">
            <a:off x="7467848" y="2322447"/>
            <a:ext cx="2837431" cy="221599"/>
          </a:xfrm>
          <a:prstGeom prst="rect">
            <a:avLst/>
          </a:prstGeom>
        </p:spPr>
        <p:txBody>
          <a:bodyPr vert="horz" wrap="square" lIns="0" tIns="0" rIns="0" bIns="0">
            <a:spAutoFit/>
          </a:bodyPr>
          <a:lstStyle/>
          <a:p>
            <a:pPr marL="190062" lvl="3" indent="-190062" algn="r" fontAlgn="base">
              <a:lnSpc>
                <a:spcPct val="90000"/>
              </a:lnSpc>
              <a:spcBef>
                <a:spcPts val="181"/>
              </a:spcBef>
              <a:spcAft>
                <a:spcPct val="0"/>
              </a:spcAft>
              <a:buClr>
                <a:srgbClr val="A2A2A2"/>
              </a:buClr>
              <a:buSzPct val="100000"/>
              <a:buFont typeface="Wingdings"/>
              <a:buChar char="§"/>
              <a:defRPr/>
            </a:pPr>
            <a:r>
              <a:rPr lang="en-GB" sz="1600"/>
              <a:t>Describing text</a:t>
            </a:r>
          </a:p>
        </p:txBody>
      </p:sp>
      <p:sp>
        <p:nvSpPr>
          <p:cNvPr id="50" name="Rectangle 79">
            <a:extLst>
              <a:ext uri="{FF2B5EF4-FFF2-40B4-BE49-F238E27FC236}">
                <a16:creationId xmlns:a16="http://schemas.microsoft.com/office/drawing/2014/main" id="{125FF6B2-6FF0-4F3E-BA55-8E413F379225}"/>
              </a:ext>
            </a:extLst>
          </p:cNvPr>
          <p:cNvSpPr>
            <a:spLocks/>
          </p:cNvSpPr>
          <p:nvPr/>
        </p:nvSpPr>
        <p:spPr>
          <a:xfrm flipH="1">
            <a:off x="7467848" y="3823887"/>
            <a:ext cx="2837431" cy="221599"/>
          </a:xfrm>
          <a:prstGeom prst="rect">
            <a:avLst/>
          </a:prstGeom>
        </p:spPr>
        <p:txBody>
          <a:bodyPr vert="horz" wrap="square" lIns="0" tIns="0" rIns="0" bIns="0">
            <a:spAutoFit/>
          </a:bodyPr>
          <a:lstStyle/>
          <a:p>
            <a:pPr marL="190062" lvl="3" indent="-190062" algn="r" fontAlgn="base">
              <a:lnSpc>
                <a:spcPct val="90000"/>
              </a:lnSpc>
              <a:spcBef>
                <a:spcPts val="181"/>
              </a:spcBef>
              <a:spcAft>
                <a:spcPct val="0"/>
              </a:spcAft>
              <a:buClr>
                <a:srgbClr val="A2A2A2"/>
              </a:buClr>
              <a:buSzPct val="100000"/>
              <a:buFont typeface="Wingdings"/>
              <a:buChar char="§"/>
              <a:defRPr/>
            </a:pPr>
            <a:r>
              <a:rPr lang="en-GB" sz="1600"/>
              <a:t>Describing text</a:t>
            </a:r>
          </a:p>
        </p:txBody>
      </p:sp>
      <p:sp>
        <p:nvSpPr>
          <p:cNvPr id="51" name="Rectangle 79">
            <a:extLst>
              <a:ext uri="{FF2B5EF4-FFF2-40B4-BE49-F238E27FC236}">
                <a16:creationId xmlns:a16="http://schemas.microsoft.com/office/drawing/2014/main" id="{D5313810-F885-41AE-80C6-C525FA0AF227}"/>
              </a:ext>
            </a:extLst>
          </p:cNvPr>
          <p:cNvSpPr>
            <a:spLocks/>
          </p:cNvSpPr>
          <p:nvPr/>
        </p:nvSpPr>
        <p:spPr>
          <a:xfrm flipH="1">
            <a:off x="7467848" y="5403238"/>
            <a:ext cx="2837431" cy="221599"/>
          </a:xfrm>
          <a:prstGeom prst="rect">
            <a:avLst/>
          </a:prstGeom>
        </p:spPr>
        <p:txBody>
          <a:bodyPr vert="horz" wrap="square" lIns="0" tIns="0" rIns="0" bIns="0">
            <a:spAutoFit/>
          </a:bodyPr>
          <a:lstStyle/>
          <a:p>
            <a:pPr marL="190062" lvl="3" indent="-190062" algn="r" fontAlgn="base">
              <a:lnSpc>
                <a:spcPct val="90000"/>
              </a:lnSpc>
              <a:spcBef>
                <a:spcPts val="181"/>
              </a:spcBef>
              <a:spcAft>
                <a:spcPct val="0"/>
              </a:spcAft>
              <a:buClr>
                <a:srgbClr val="A2A2A2"/>
              </a:buClr>
              <a:buSzPct val="100000"/>
              <a:buFont typeface="Wingdings"/>
              <a:buChar char="§"/>
              <a:defRPr/>
            </a:pPr>
            <a:r>
              <a:rPr lang="en-GB" sz="1600"/>
              <a:t>Describing text</a:t>
            </a:r>
          </a:p>
        </p:txBody>
      </p:sp>
    </p:spTree>
    <p:extLst>
      <p:ext uri="{BB962C8B-B14F-4D97-AF65-F5344CB8AC3E}">
        <p14:creationId xmlns:p14="http://schemas.microsoft.com/office/powerpoint/2010/main" val="27880163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9</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a:t>
            </a:r>
            <a:r>
              <a:rPr lang="en-GB" err="1"/>
              <a:t>sed</a:t>
            </a:r>
            <a:r>
              <a:rPr lang="en-GB"/>
              <a:t>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1" name="RBContent58">
            <a:extLst>
              <a:ext uri="{FF2B5EF4-FFF2-40B4-BE49-F238E27FC236}">
                <a16:creationId xmlns:a16="http://schemas.microsoft.com/office/drawing/2014/main" id="{3B7F4A4E-4945-4F07-90FB-0B398650B7CF}"/>
              </a:ext>
            </a:extLst>
          </p:cNvPr>
          <p:cNvSpPr txBox="1">
            <a:spLocks/>
          </p:cNvSpPr>
          <p:nvPr/>
        </p:nvSpPr>
        <p:spPr>
          <a:xfrm>
            <a:off x="365681" y="1919786"/>
            <a:ext cx="103555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Content</a:t>
            </a:r>
            <a:endParaRPr lang="en-GB" b="1">
              <a:sym typeface="+mn-lt"/>
            </a:endParaRPr>
          </a:p>
        </p:txBody>
      </p:sp>
      <p:sp>
        <p:nvSpPr>
          <p:cNvPr id="33" name="RBContent58">
            <a:extLst>
              <a:ext uri="{FF2B5EF4-FFF2-40B4-BE49-F238E27FC236}">
                <a16:creationId xmlns:a16="http://schemas.microsoft.com/office/drawing/2014/main" id="{BC6D706E-BC0D-4D1D-B040-6C9746D49FBC}"/>
              </a:ext>
            </a:extLst>
          </p:cNvPr>
          <p:cNvSpPr txBox="1">
            <a:spLocks/>
          </p:cNvSpPr>
          <p:nvPr/>
        </p:nvSpPr>
        <p:spPr>
          <a:xfrm>
            <a:off x="11197166" y="1919786"/>
            <a:ext cx="630915" cy="249299"/>
          </a:xfrm>
          <a:prstGeom prst="rect">
            <a:avLst/>
          </a:prstGeom>
          <a:noFill/>
          <a:ln w="9525">
            <a:noFill/>
          </a:ln>
        </p:spPr>
        <p:txBody>
          <a:bodyPr vert="horz" wrap="square" lIns="0" tIns="0" rIns="0" bIns="0" rtlCol="0">
            <a:spAutoFit/>
          </a:bodyPr>
          <a:lstStyle/>
          <a:p>
            <a:pPr algn="r">
              <a:lnSpc>
                <a:spcPct val="90000"/>
              </a:lnSpc>
              <a:spcBef>
                <a:spcPts val="400"/>
              </a:spcBef>
              <a:buSzPct val="100000"/>
            </a:pPr>
            <a:r>
              <a:rPr lang="en-GB" b="1">
                <a:sym typeface="+mn-lt"/>
              </a:rPr>
              <a:t>Page</a:t>
            </a:r>
            <a:endParaRPr lang="en-GB" b="1">
              <a:latin typeface="+mn-lt"/>
              <a:sym typeface="+mn-lt"/>
            </a:endParaRPr>
          </a:p>
        </p:txBody>
      </p:sp>
      <p:sp>
        <p:nvSpPr>
          <p:cNvPr id="14" name="RBContent58">
            <a:extLst>
              <a:ext uri="{FF2B5EF4-FFF2-40B4-BE49-F238E27FC236}">
                <a16:creationId xmlns:a16="http://schemas.microsoft.com/office/drawing/2014/main" id="{34A40743-134A-4C22-ACBD-C13043F82EFE}"/>
              </a:ext>
            </a:extLst>
          </p:cNvPr>
          <p:cNvSpPr txBox="1">
            <a:spLocks/>
          </p:cNvSpPr>
          <p:nvPr/>
        </p:nvSpPr>
        <p:spPr>
          <a:xfrm>
            <a:off x="365681" y="2488728"/>
            <a:ext cx="9375085" cy="810478"/>
          </a:xfrm>
          <a:prstGeom prst="rect">
            <a:avLst/>
          </a:prstGeom>
          <a:noFill/>
          <a:ln w="9525">
            <a:noFill/>
          </a:ln>
        </p:spPr>
        <p:txBody>
          <a:bodyPr vert="horz" wrap="square" lIns="0" tIns="0" rIns="0" bIns="0" rtlCol="0">
            <a:spAutoFit/>
          </a:bodyPr>
          <a:lstStyle/>
          <a:p>
            <a:pPr marL="342900" indent="-342900">
              <a:spcAft>
                <a:spcPts val="2000"/>
              </a:spcAft>
              <a:buFontTx/>
              <a:buAutoNum type="arabicPeriod"/>
            </a:pPr>
            <a:r>
              <a:rPr lang="en-GB"/>
              <a:t>One-line header</a:t>
            </a:r>
          </a:p>
          <a:p>
            <a:pPr marL="342900" indent="-342900">
              <a:spcAft>
                <a:spcPts val="2000"/>
              </a:spcAft>
              <a:buFontTx/>
              <a:buAutoNum type="arabicPeriod"/>
            </a:pPr>
            <a:r>
              <a:rPr lang="en-GB"/>
              <a:t>One-line header</a:t>
            </a:r>
          </a:p>
        </p:txBody>
      </p:sp>
      <p:sp>
        <p:nvSpPr>
          <p:cNvPr id="16" name="RBContent58">
            <a:extLst>
              <a:ext uri="{FF2B5EF4-FFF2-40B4-BE49-F238E27FC236}">
                <a16:creationId xmlns:a16="http://schemas.microsoft.com/office/drawing/2014/main" id="{80727A95-4020-440C-AA01-B3A0DE8415E3}"/>
              </a:ext>
            </a:extLst>
          </p:cNvPr>
          <p:cNvSpPr txBox="1">
            <a:spLocks/>
          </p:cNvSpPr>
          <p:nvPr/>
        </p:nvSpPr>
        <p:spPr>
          <a:xfrm>
            <a:off x="11195403" y="2488728"/>
            <a:ext cx="630914" cy="810478"/>
          </a:xfrm>
          <a:prstGeom prst="rect">
            <a:avLst/>
          </a:prstGeom>
          <a:noFill/>
          <a:ln w="9525">
            <a:noFill/>
          </a:ln>
        </p:spPr>
        <p:txBody>
          <a:bodyPr vert="horz" wrap="square" lIns="0" tIns="0" rIns="0" bIns="0" rtlCol="0">
            <a:spAutoFit/>
          </a:bodyPr>
          <a:lstStyle/>
          <a:p>
            <a:pPr algn="r">
              <a:spcAft>
                <a:spcPts val="2000"/>
              </a:spcAft>
            </a:pPr>
            <a:r>
              <a:rPr lang="en-GB"/>
              <a:t>1</a:t>
            </a:r>
          </a:p>
          <a:p>
            <a:pPr algn="r">
              <a:spcAft>
                <a:spcPts val="2000"/>
              </a:spcAft>
            </a:pPr>
            <a:r>
              <a:rPr lang="en-GB"/>
              <a:t>2</a:t>
            </a:r>
          </a:p>
        </p:txBody>
      </p:sp>
    </p:spTree>
    <p:extLst>
      <p:ext uri="{BB962C8B-B14F-4D97-AF65-F5344CB8AC3E}">
        <p14:creationId xmlns:p14="http://schemas.microsoft.com/office/powerpoint/2010/main" val="7957994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7" name="Rectangle 143">
            <a:extLst>
              <a:ext uri="{FF2B5EF4-FFF2-40B4-BE49-F238E27FC236}">
                <a16:creationId xmlns:a16="http://schemas.microsoft.com/office/drawing/2014/main" id="{80505476-33B7-49F6-A4C4-B9E43680B321}"/>
              </a:ext>
            </a:extLst>
          </p:cNvPr>
          <p:cNvSpPr>
            <a:spLocks/>
          </p:cNvSpPr>
          <p:nvPr/>
        </p:nvSpPr>
        <p:spPr>
          <a:xfrm>
            <a:off x="4321058" y="2253160"/>
            <a:ext cx="3600000" cy="3628800"/>
          </a:xfrm>
          <a:prstGeom prst="rect">
            <a:avLst/>
          </a:prstGeom>
          <a:solidFill>
            <a:schemeClr val="bg1"/>
          </a:solidFill>
          <a:ln w="15875" cap="flat" cmpd="sng" algn="ctr">
            <a:noFill/>
            <a:prstDash val="solid"/>
          </a:ln>
          <a:effectLst/>
        </p:spPr>
        <p:txBody>
          <a:bodyPr lIns="91440" tIns="137160" rIns="36000" bIns="72000" rtlCol="0" anchor="t" anchorCtr="0">
            <a:no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2" name="Line 2">
            <a:extLst>
              <a:ext uri="{FF2B5EF4-FFF2-40B4-BE49-F238E27FC236}">
                <a16:creationId xmlns:a16="http://schemas.microsoft.com/office/drawing/2014/main" id="{0135FF37-BB37-4E0C-A6FD-1F9571AFF0C1}"/>
              </a:ext>
            </a:extLst>
          </p:cNvPr>
          <p:cNvSpPr>
            <a:spLocks noChangeShapeType="1"/>
          </p:cNvSpPr>
          <p:nvPr/>
        </p:nvSpPr>
        <p:spPr bwMode="auto">
          <a:xfrm flipV="1">
            <a:off x="363918" y="2262074"/>
            <a:ext cx="11460635" cy="418"/>
          </a:xfrm>
          <a:prstGeom prst="line">
            <a:avLst/>
          </a:prstGeom>
          <a:noFill/>
          <a:ln w="22225">
            <a:solidFill>
              <a:srgbClr val="BBBEC2"/>
            </a:solidFill>
            <a:round/>
            <a:headEnd type="none" w="med" len="med"/>
            <a:tailEnd type="none" w="med" len="med"/>
          </a:ln>
        </p:spPr>
        <p:txBody>
          <a:bodyPr lIns="0" tIns="0" rIns="0" bIns="0" anchor="ctr"/>
          <a:lstStyle/>
          <a:p>
            <a:endParaRPr lang="en-GB">
              <a:highlight>
                <a:srgbClr val="000000"/>
              </a:highlight>
              <a:latin typeface="Arial" panose="020B0604020202020204" pitchFamily="34" charset="0"/>
              <a:cs typeface="Arial" panose="020B0604020202020204" pitchFamily="34" charset="0"/>
            </a:endParaRPr>
          </a:p>
        </p:txBody>
      </p:sp>
      <p:sp>
        <p:nvSpPr>
          <p:cNvPr id="26" name="Rechteck 25">
            <a:extLst>
              <a:ext uri="{FF2B5EF4-FFF2-40B4-BE49-F238E27FC236}">
                <a16:creationId xmlns:a16="http://schemas.microsoft.com/office/drawing/2014/main" id="{12F5A1F0-A13E-4D58-A7D9-AA998FC5F742}"/>
              </a:ext>
            </a:extLst>
          </p:cNvPr>
          <p:cNvSpPr/>
          <p:nvPr/>
        </p:nvSpPr>
        <p:spPr>
          <a:xfrm>
            <a:off x="7741420" y="2131417"/>
            <a:ext cx="334297" cy="248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hteck 4">
            <a:extLst>
              <a:ext uri="{FF2B5EF4-FFF2-40B4-BE49-F238E27FC236}">
                <a16:creationId xmlns:a16="http://schemas.microsoft.com/office/drawing/2014/main" id="{81BA6E73-944E-4961-8BC3-CE98255E6364}"/>
              </a:ext>
            </a:extLst>
          </p:cNvPr>
          <p:cNvSpPr/>
          <p:nvPr/>
        </p:nvSpPr>
        <p:spPr>
          <a:xfrm>
            <a:off x="4152794" y="2131417"/>
            <a:ext cx="334297" cy="248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90</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23" name="Text 15">
            <a:extLst>
              <a:ext uri="{FF2B5EF4-FFF2-40B4-BE49-F238E27FC236}">
                <a16:creationId xmlns:a16="http://schemas.microsoft.com/office/drawing/2014/main" id="{9FBBB096-E1ED-4836-BA9E-A5C370F68B38}"/>
              </a:ext>
            </a:extLst>
          </p:cNvPr>
          <p:cNvSpPr>
            <a:spLocks noChangeArrowheads="1"/>
          </p:cNvSpPr>
          <p:nvPr/>
        </p:nvSpPr>
        <p:spPr bwMode="auto">
          <a:xfrm>
            <a:off x="363918" y="1913371"/>
            <a:ext cx="3650115" cy="276999"/>
          </a:xfrm>
          <a:prstGeom prst="rect">
            <a:avLst/>
          </a:prstGeom>
          <a:noFill/>
          <a:ln w="6350">
            <a:noFill/>
            <a:miter lim="800000"/>
            <a:headEnd/>
            <a:tailEnd/>
          </a:ln>
        </p:spPr>
        <p:txBody>
          <a:bodyPr wrap="square" lIns="0" tIns="0" rIns="0" bIns="0">
            <a:spAutoFit/>
          </a:bodyPr>
          <a:lstStyle/>
          <a:p>
            <a:pPr defTabSz="330200"/>
            <a:r>
              <a:rPr lang="en-GB" b="1">
                <a:latin typeface="+mj-lt"/>
                <a:ea typeface="PMingLiU" pitchFamily="18" charset="-120"/>
                <a:cs typeface="Arial" panose="020B0604020202020204" pitchFamily="34" charset="0"/>
              </a:rPr>
              <a:t>Option 1</a:t>
            </a:r>
          </a:p>
        </p:txBody>
      </p:sp>
      <p:sp>
        <p:nvSpPr>
          <p:cNvPr id="30" name="Rectangle 29">
            <a:extLst>
              <a:ext uri="{FF2B5EF4-FFF2-40B4-BE49-F238E27FC236}">
                <a16:creationId xmlns:a16="http://schemas.microsoft.com/office/drawing/2014/main" id="{15DBA3C0-2FF4-4FBD-87F8-B1F1D6BF60DE}"/>
              </a:ext>
            </a:extLst>
          </p:cNvPr>
          <p:cNvSpPr/>
          <p:nvPr/>
        </p:nvSpPr>
        <p:spPr>
          <a:xfrm>
            <a:off x="414032" y="2336874"/>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33" name="Text 15">
            <a:extLst>
              <a:ext uri="{FF2B5EF4-FFF2-40B4-BE49-F238E27FC236}">
                <a16:creationId xmlns:a16="http://schemas.microsoft.com/office/drawing/2014/main" id="{A61BA34D-5A9A-4466-9EF6-2AC9A7FF86B8}"/>
              </a:ext>
            </a:extLst>
          </p:cNvPr>
          <p:cNvSpPr>
            <a:spLocks noChangeArrowheads="1"/>
          </p:cNvSpPr>
          <p:nvPr/>
        </p:nvSpPr>
        <p:spPr bwMode="auto">
          <a:xfrm>
            <a:off x="4321058" y="1922702"/>
            <a:ext cx="3600000" cy="276999"/>
          </a:xfrm>
          <a:prstGeom prst="rect">
            <a:avLst/>
          </a:prstGeom>
          <a:noFill/>
          <a:ln w="6350">
            <a:noFill/>
            <a:miter lim="800000"/>
            <a:headEnd/>
            <a:tailEnd/>
          </a:ln>
        </p:spPr>
        <p:txBody>
          <a:bodyPr wrap="square" lIns="0" tIns="0" rIns="0" bIns="0">
            <a:spAutoFit/>
          </a:bodyPr>
          <a:lstStyle/>
          <a:p>
            <a:pPr algn="ctr" defTabSz="330200"/>
            <a:r>
              <a:rPr lang="en-GB" b="1">
                <a:latin typeface="+mj-lt"/>
                <a:ea typeface="PMingLiU" pitchFamily="18" charset="-120"/>
                <a:cs typeface="Arial" panose="020B0604020202020204" pitchFamily="34" charset="0"/>
              </a:rPr>
              <a:t>Option 2</a:t>
            </a:r>
          </a:p>
        </p:txBody>
      </p:sp>
      <p:sp>
        <p:nvSpPr>
          <p:cNvPr id="43" name="Text 15">
            <a:extLst>
              <a:ext uri="{FF2B5EF4-FFF2-40B4-BE49-F238E27FC236}">
                <a16:creationId xmlns:a16="http://schemas.microsoft.com/office/drawing/2014/main" id="{85D25423-714C-45A3-B301-B9BE6DAC42E2}"/>
              </a:ext>
            </a:extLst>
          </p:cNvPr>
          <p:cNvSpPr>
            <a:spLocks noChangeArrowheads="1"/>
          </p:cNvSpPr>
          <p:nvPr/>
        </p:nvSpPr>
        <p:spPr bwMode="auto">
          <a:xfrm>
            <a:off x="8228082" y="1913371"/>
            <a:ext cx="3598235" cy="274320"/>
          </a:xfrm>
          <a:prstGeom prst="rect">
            <a:avLst/>
          </a:prstGeom>
          <a:noFill/>
          <a:ln w="6350">
            <a:noFill/>
            <a:miter lim="800000"/>
            <a:headEnd/>
            <a:tailEnd/>
          </a:ln>
        </p:spPr>
        <p:txBody>
          <a:bodyPr wrap="square" lIns="0" tIns="0" rIns="0" bIns="0">
            <a:spAutoFit/>
          </a:bodyPr>
          <a:lstStyle/>
          <a:p>
            <a:pPr algn="r" defTabSz="330200"/>
            <a:r>
              <a:rPr lang="en-GB" b="1">
                <a:latin typeface="+mj-lt"/>
                <a:ea typeface="PMingLiU" pitchFamily="18" charset="-120"/>
                <a:cs typeface="Arial" panose="020B0604020202020204" pitchFamily="34" charset="0"/>
              </a:rPr>
              <a:t>Option 3</a:t>
            </a:r>
          </a:p>
        </p:txBody>
      </p:sp>
      <p:sp>
        <p:nvSpPr>
          <p:cNvPr id="44" name="Rectangle 43">
            <a:extLst>
              <a:ext uri="{FF2B5EF4-FFF2-40B4-BE49-F238E27FC236}">
                <a16:creationId xmlns:a16="http://schemas.microsoft.com/office/drawing/2014/main" id="{4604A0BF-FA97-4192-8FBA-2C972BC5CE45}"/>
              </a:ext>
            </a:extLst>
          </p:cNvPr>
          <p:cNvSpPr/>
          <p:nvPr/>
        </p:nvSpPr>
        <p:spPr>
          <a:xfrm>
            <a:off x="8228082" y="2336874"/>
            <a:ext cx="3600000" cy="963341"/>
          </a:xfrm>
          <a:prstGeom prst="rect">
            <a:avLst/>
          </a:prstGeom>
        </p:spPr>
        <p:txBody>
          <a:bodyPr wrap="square" lIns="0" tIns="0" rIns="0" bIns="0">
            <a:spAutoFit/>
          </a:bodyPr>
          <a:lstStyle/>
          <a:p>
            <a:pPr marL="190062" lvl="3" indent="-190062" fontAlgn="base">
              <a:lnSpc>
                <a:spcPct val="90000"/>
              </a:lnSpc>
              <a:spcBef>
                <a:spcPts val="181"/>
              </a:spcBef>
              <a:spcAft>
                <a:spcPct val="0"/>
              </a:spcAft>
              <a:buClr>
                <a:srgbClr val="A2A2A2"/>
              </a:buClr>
              <a:buSzPct val="100000"/>
              <a:buFont typeface="Wingdings"/>
              <a:buChar char="§"/>
              <a:defRPr/>
            </a:pPr>
            <a:r>
              <a:rPr lang="en-GB" sz="1600"/>
              <a:t>Describing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text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over multiple lines </a:t>
            </a:r>
          </a:p>
          <a:p>
            <a:pPr marL="190062" lvl="3" indent="-190062" fontAlgn="base">
              <a:lnSpc>
                <a:spcPct val="90000"/>
              </a:lnSpc>
              <a:spcBef>
                <a:spcPts val="181"/>
              </a:spcBef>
              <a:spcAft>
                <a:spcPct val="0"/>
              </a:spcAft>
              <a:buClr>
                <a:srgbClr val="A2A2A2"/>
              </a:buClr>
              <a:buSzPct val="100000"/>
              <a:buFont typeface="Wingdings"/>
              <a:buChar char="§"/>
              <a:defRPr/>
            </a:pPr>
            <a:r>
              <a:rPr lang="en-GB" sz="1600"/>
              <a:t>...</a:t>
            </a:r>
          </a:p>
        </p:txBody>
      </p:sp>
      <p:sp>
        <p:nvSpPr>
          <p:cNvPr id="20" name="RbLeanShape Left Angle 27">
            <a:extLst>
              <a:ext uri="{FF2B5EF4-FFF2-40B4-BE49-F238E27FC236}">
                <a16:creationId xmlns:a16="http://schemas.microsoft.com/office/drawing/2014/main" id="{55309D94-D666-455F-B9F7-EB2C1B9F2BA0}"/>
              </a:ext>
            </a:extLst>
          </p:cNvPr>
          <p:cNvSpPr/>
          <p:nvPr/>
        </p:nvSpPr>
        <p:spPr>
          <a:xfrm flipH="1">
            <a:off x="4321053" y="1913370"/>
            <a:ext cx="3598233" cy="3967235"/>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1" name="RbLeanShape Left Angle 27">
            <a:extLst>
              <a:ext uri="{FF2B5EF4-FFF2-40B4-BE49-F238E27FC236}">
                <a16:creationId xmlns:a16="http://schemas.microsoft.com/office/drawing/2014/main" id="{6B41B079-0C78-477A-B7D6-025323F37DB5}"/>
              </a:ext>
            </a:extLst>
          </p:cNvPr>
          <p:cNvSpPr/>
          <p:nvPr/>
        </p:nvSpPr>
        <p:spPr>
          <a:xfrm rot="10800000" flipH="1">
            <a:off x="4309449" y="1903523"/>
            <a:ext cx="3598233" cy="3967235"/>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rgbClr val="BBBEC2"/>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GB"/>
          </a:p>
        </p:txBody>
      </p:sp>
      <p:sp>
        <p:nvSpPr>
          <p:cNvPr id="25" name="Text 15">
            <a:extLst>
              <a:ext uri="{FF2B5EF4-FFF2-40B4-BE49-F238E27FC236}">
                <a16:creationId xmlns:a16="http://schemas.microsoft.com/office/drawing/2014/main" id="{3398DCA5-32D4-4E7D-A14C-361D61719E97}"/>
              </a:ext>
            </a:extLst>
          </p:cNvPr>
          <p:cNvSpPr>
            <a:spLocks noChangeArrowheads="1"/>
          </p:cNvSpPr>
          <p:nvPr/>
        </p:nvSpPr>
        <p:spPr bwMode="auto">
          <a:xfrm>
            <a:off x="5722375" y="5732258"/>
            <a:ext cx="1917290" cy="276999"/>
          </a:xfrm>
          <a:prstGeom prst="rect">
            <a:avLst/>
          </a:prstGeom>
          <a:solidFill>
            <a:schemeClr val="bg1"/>
          </a:solidFill>
          <a:ln w="6350">
            <a:noFill/>
            <a:miter lim="800000"/>
            <a:headEnd/>
            <a:tailEnd/>
          </a:ln>
        </p:spPr>
        <p:txBody>
          <a:bodyPr wrap="square" lIns="0" tIns="0" rIns="0" bIns="0">
            <a:spAutoFit/>
          </a:bodyPr>
          <a:lstStyle/>
          <a:p>
            <a:pPr algn="ctr" defTabSz="330200"/>
            <a:r>
              <a:rPr lang="en-GB" b="1">
                <a:latin typeface="+mj-lt"/>
                <a:ea typeface="PMingLiU" pitchFamily="18" charset="-120"/>
                <a:cs typeface="Arial" panose="020B0604020202020204" pitchFamily="34" charset="0"/>
              </a:rPr>
              <a:t>Preferred option</a:t>
            </a:r>
          </a:p>
        </p:txBody>
      </p:sp>
    </p:spTree>
    <p:extLst>
      <p:ext uri="{BB962C8B-B14F-4D97-AF65-F5344CB8AC3E}">
        <p14:creationId xmlns:p14="http://schemas.microsoft.com/office/powerpoint/2010/main" val="10434479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88F44-9B00-4F63-923A-FD02DAA6EC6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91</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a:t>
            </a:r>
            <a:r>
              <a:rPr lang="en-GB" err="1"/>
              <a:t>sed</a:t>
            </a:r>
            <a:r>
              <a:rPr lang="en-GB"/>
              <a:t>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31" name="RBContent58">
            <a:extLst>
              <a:ext uri="{FF2B5EF4-FFF2-40B4-BE49-F238E27FC236}">
                <a16:creationId xmlns:a16="http://schemas.microsoft.com/office/drawing/2014/main" id="{3B7F4A4E-4945-4F07-90FB-0B398650B7CF}"/>
              </a:ext>
            </a:extLst>
          </p:cNvPr>
          <p:cNvSpPr txBox="1">
            <a:spLocks/>
          </p:cNvSpPr>
          <p:nvPr/>
        </p:nvSpPr>
        <p:spPr>
          <a:xfrm>
            <a:off x="365680" y="1826087"/>
            <a:ext cx="1728000"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One-line header</a:t>
            </a:r>
          </a:p>
        </p:txBody>
      </p:sp>
      <p:cxnSp>
        <p:nvCxnSpPr>
          <p:cNvPr id="21" name="Straight Connector 20">
            <a:extLst>
              <a:ext uri="{FF2B5EF4-FFF2-40B4-BE49-F238E27FC236}">
                <a16:creationId xmlns:a16="http://schemas.microsoft.com/office/drawing/2014/main" id="{14D78879-3421-470B-9E30-F43ADCFCCEA8}"/>
              </a:ext>
            </a:extLst>
          </p:cNvPr>
          <p:cNvCxnSpPr>
            <a:cxnSpLocks/>
          </p:cNvCxnSpPr>
          <p:nvPr/>
        </p:nvCxnSpPr>
        <p:spPr>
          <a:xfrm>
            <a:off x="365682" y="3434138"/>
            <a:ext cx="11462400" cy="0"/>
          </a:xfrm>
          <a:prstGeom prst="line">
            <a:avLst/>
          </a:prstGeom>
          <a:noFill/>
          <a:ln w="22225" cap="flat" cmpd="sng" algn="ctr">
            <a:solidFill>
              <a:srgbClr val="BBBEC2"/>
            </a:solidFill>
            <a:prstDash val="solid"/>
          </a:ln>
          <a:effectLst/>
        </p:spPr>
      </p:cxnSp>
      <p:cxnSp>
        <p:nvCxnSpPr>
          <p:cNvPr id="24" name="Straight Connector 23">
            <a:extLst>
              <a:ext uri="{FF2B5EF4-FFF2-40B4-BE49-F238E27FC236}">
                <a16:creationId xmlns:a16="http://schemas.microsoft.com/office/drawing/2014/main" id="{3D758796-9134-4EC1-B4AD-3F4C3032F16A}"/>
              </a:ext>
            </a:extLst>
          </p:cNvPr>
          <p:cNvCxnSpPr>
            <a:cxnSpLocks/>
          </p:cNvCxnSpPr>
          <p:nvPr/>
        </p:nvCxnSpPr>
        <p:spPr>
          <a:xfrm>
            <a:off x="365682" y="4019539"/>
            <a:ext cx="11462400" cy="0"/>
          </a:xfrm>
          <a:prstGeom prst="line">
            <a:avLst/>
          </a:prstGeom>
          <a:noFill/>
          <a:ln w="22225" cap="flat" cmpd="sng" algn="ctr">
            <a:solidFill>
              <a:srgbClr val="BBBEC2"/>
            </a:solidFill>
            <a:prstDash val="solid"/>
          </a:ln>
          <a:effectLst/>
        </p:spPr>
      </p:cxnSp>
      <p:grpSp>
        <p:nvGrpSpPr>
          <p:cNvPr id="5" name="Group 4">
            <a:extLst>
              <a:ext uri="{FF2B5EF4-FFF2-40B4-BE49-F238E27FC236}">
                <a16:creationId xmlns:a16="http://schemas.microsoft.com/office/drawing/2014/main" id="{8E5E33D4-909E-4147-A554-EB430EA67C2E}"/>
              </a:ext>
            </a:extLst>
          </p:cNvPr>
          <p:cNvGrpSpPr/>
          <p:nvPr/>
        </p:nvGrpSpPr>
        <p:grpSpPr>
          <a:xfrm>
            <a:off x="9761471" y="1826087"/>
            <a:ext cx="2064846" cy="4023497"/>
            <a:chOff x="4277360" y="1826087"/>
            <a:chExt cx="2064846" cy="4023497"/>
          </a:xfrm>
        </p:grpSpPr>
        <p:sp>
          <p:nvSpPr>
            <p:cNvPr id="35" name="Rectangle 34">
              <a:extLst>
                <a:ext uri="{FF2B5EF4-FFF2-40B4-BE49-F238E27FC236}">
                  <a16:creationId xmlns:a16="http://schemas.microsoft.com/office/drawing/2014/main" id="{72211D90-D86F-4F73-B3DA-9AE5AF1E9DA7}"/>
                </a:ext>
              </a:extLst>
            </p:cNvPr>
            <p:cNvSpPr/>
            <p:nvPr/>
          </p:nvSpPr>
          <p:spPr>
            <a:xfrm>
              <a:off x="4277360" y="1826087"/>
              <a:ext cx="2060792"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36" name="RBContent58">
              <a:extLst>
                <a:ext uri="{FF2B5EF4-FFF2-40B4-BE49-F238E27FC236}">
                  <a16:creationId xmlns:a16="http://schemas.microsoft.com/office/drawing/2014/main" id="{992335AF-E88E-4944-BB5F-6A1918904EDA}"/>
                </a:ext>
              </a:extLst>
            </p:cNvPr>
            <p:cNvSpPr txBox="1">
              <a:spLocks/>
            </p:cNvSpPr>
            <p:nvPr/>
          </p:nvSpPr>
          <p:spPr>
            <a:xfrm>
              <a:off x="4281414" y="3602189"/>
              <a:ext cx="206079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solidFill>
                    <a:srgbClr val="8D8EA7"/>
                  </a:solidFill>
                </a:rPr>
                <a:t>One-line header</a:t>
              </a:r>
            </a:p>
          </p:txBody>
        </p:sp>
        <p:sp>
          <p:nvSpPr>
            <p:cNvPr id="37" name="RBContent58">
              <a:extLst>
                <a:ext uri="{FF2B5EF4-FFF2-40B4-BE49-F238E27FC236}">
                  <a16:creationId xmlns:a16="http://schemas.microsoft.com/office/drawing/2014/main" id="{8BCFBAA4-A024-4134-A6BE-FD51A1DD24D4}"/>
                </a:ext>
              </a:extLst>
            </p:cNvPr>
            <p:cNvSpPr txBox="1">
              <a:spLocks/>
            </p:cNvSpPr>
            <p:nvPr/>
          </p:nvSpPr>
          <p:spPr>
            <a:xfrm>
              <a:off x="4277360" y="4187591"/>
              <a:ext cx="2060792" cy="1661993"/>
            </a:xfrm>
            <a:prstGeom prst="rect">
              <a:avLst/>
            </a:prstGeom>
            <a:noFill/>
            <a:ln w="9525">
              <a:noFill/>
            </a:ln>
          </p:spPr>
          <p:txBody>
            <a:bodyPr vert="horz" wrap="square" lIns="0" tIns="0" rIns="0" bIns="0" rtlCol="0">
              <a:spAutoFit/>
            </a:bodyPr>
            <a:lstStyle/>
            <a:p>
              <a:pPr>
                <a:spcAft>
                  <a:spcPts val="2000"/>
                </a:spcAft>
              </a:pPr>
              <a:r>
                <a:rPr lang="en-GB"/>
                <a:t>Lorem ipsum dolor sit amet, consetetur sadipscing elitr, </a:t>
              </a:r>
              <a:r>
                <a:rPr lang="en-GB" err="1"/>
                <a:t>sed</a:t>
              </a:r>
              <a:r>
                <a:rPr lang="en-GB"/>
                <a:t> diam nonumy eirmod tempor invidunt ut labore </a:t>
              </a:r>
            </a:p>
          </p:txBody>
        </p:sp>
      </p:grpSp>
      <p:grpSp>
        <p:nvGrpSpPr>
          <p:cNvPr id="41" name="Group 40">
            <a:extLst>
              <a:ext uri="{FF2B5EF4-FFF2-40B4-BE49-F238E27FC236}">
                <a16:creationId xmlns:a16="http://schemas.microsoft.com/office/drawing/2014/main" id="{923D88B2-98D2-4B1F-BB53-A3573635D691}"/>
              </a:ext>
            </a:extLst>
          </p:cNvPr>
          <p:cNvGrpSpPr/>
          <p:nvPr/>
        </p:nvGrpSpPr>
        <p:grpSpPr>
          <a:xfrm>
            <a:off x="7328311" y="1826087"/>
            <a:ext cx="2064846" cy="4023497"/>
            <a:chOff x="4277360" y="1826087"/>
            <a:chExt cx="2064846" cy="4023497"/>
          </a:xfrm>
        </p:grpSpPr>
        <p:sp>
          <p:nvSpPr>
            <p:cNvPr id="42" name="Rectangle 41">
              <a:extLst>
                <a:ext uri="{FF2B5EF4-FFF2-40B4-BE49-F238E27FC236}">
                  <a16:creationId xmlns:a16="http://schemas.microsoft.com/office/drawing/2014/main" id="{E954D457-EED3-48E9-8D63-CDBC85EE9B25}"/>
                </a:ext>
              </a:extLst>
            </p:cNvPr>
            <p:cNvSpPr/>
            <p:nvPr/>
          </p:nvSpPr>
          <p:spPr>
            <a:xfrm>
              <a:off x="4277360" y="1826087"/>
              <a:ext cx="2060792"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43" name="RBContent58">
              <a:extLst>
                <a:ext uri="{FF2B5EF4-FFF2-40B4-BE49-F238E27FC236}">
                  <a16:creationId xmlns:a16="http://schemas.microsoft.com/office/drawing/2014/main" id="{D47CFE43-77EE-4684-B379-9AA68FED8A5F}"/>
                </a:ext>
              </a:extLst>
            </p:cNvPr>
            <p:cNvSpPr txBox="1">
              <a:spLocks/>
            </p:cNvSpPr>
            <p:nvPr/>
          </p:nvSpPr>
          <p:spPr>
            <a:xfrm>
              <a:off x="4281414" y="3602189"/>
              <a:ext cx="206079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solidFill>
                    <a:srgbClr val="8D8EA7"/>
                  </a:solidFill>
                </a:rPr>
                <a:t>One-line header</a:t>
              </a:r>
            </a:p>
          </p:txBody>
        </p:sp>
        <p:sp>
          <p:nvSpPr>
            <p:cNvPr id="44" name="RBContent58">
              <a:extLst>
                <a:ext uri="{FF2B5EF4-FFF2-40B4-BE49-F238E27FC236}">
                  <a16:creationId xmlns:a16="http://schemas.microsoft.com/office/drawing/2014/main" id="{88E8BDDB-4DB4-4A3F-A73C-55F3CB866911}"/>
                </a:ext>
              </a:extLst>
            </p:cNvPr>
            <p:cNvSpPr txBox="1">
              <a:spLocks/>
            </p:cNvSpPr>
            <p:nvPr/>
          </p:nvSpPr>
          <p:spPr>
            <a:xfrm>
              <a:off x="4277360" y="4187591"/>
              <a:ext cx="2060792" cy="1661993"/>
            </a:xfrm>
            <a:prstGeom prst="rect">
              <a:avLst/>
            </a:prstGeom>
            <a:noFill/>
            <a:ln w="9525">
              <a:noFill/>
            </a:ln>
          </p:spPr>
          <p:txBody>
            <a:bodyPr vert="horz" wrap="square" lIns="0" tIns="0" rIns="0" bIns="0" rtlCol="0">
              <a:spAutoFit/>
            </a:bodyPr>
            <a:lstStyle/>
            <a:p>
              <a:pPr>
                <a:spcAft>
                  <a:spcPts val="2000"/>
                </a:spcAft>
              </a:pPr>
              <a:r>
                <a:rPr lang="en-GB"/>
                <a:t>Lorem ipsum dolor sit amet, consetetur sadipscing elitr, </a:t>
              </a:r>
              <a:r>
                <a:rPr lang="en-GB" err="1"/>
                <a:t>sed</a:t>
              </a:r>
              <a:r>
                <a:rPr lang="en-GB"/>
                <a:t> diam nonumy eirmod tempor invidunt ut labore </a:t>
              </a:r>
            </a:p>
          </p:txBody>
        </p:sp>
      </p:grpSp>
      <p:grpSp>
        <p:nvGrpSpPr>
          <p:cNvPr id="45" name="Group 44">
            <a:extLst>
              <a:ext uri="{FF2B5EF4-FFF2-40B4-BE49-F238E27FC236}">
                <a16:creationId xmlns:a16="http://schemas.microsoft.com/office/drawing/2014/main" id="{96E3D582-3E1D-455C-B17A-4B98A639C6C8}"/>
              </a:ext>
            </a:extLst>
          </p:cNvPr>
          <p:cNvGrpSpPr/>
          <p:nvPr/>
        </p:nvGrpSpPr>
        <p:grpSpPr>
          <a:xfrm>
            <a:off x="4895152" y="1826087"/>
            <a:ext cx="2064846" cy="4023497"/>
            <a:chOff x="4277360" y="1826087"/>
            <a:chExt cx="2064846" cy="4023497"/>
          </a:xfrm>
        </p:grpSpPr>
        <p:sp>
          <p:nvSpPr>
            <p:cNvPr id="46" name="Rectangle 45">
              <a:extLst>
                <a:ext uri="{FF2B5EF4-FFF2-40B4-BE49-F238E27FC236}">
                  <a16:creationId xmlns:a16="http://schemas.microsoft.com/office/drawing/2014/main" id="{9F6F240E-FA06-4B2C-9262-1085B2229624}"/>
                </a:ext>
              </a:extLst>
            </p:cNvPr>
            <p:cNvSpPr/>
            <p:nvPr/>
          </p:nvSpPr>
          <p:spPr>
            <a:xfrm>
              <a:off x="4277360" y="1826087"/>
              <a:ext cx="2060792"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47" name="RBContent58">
              <a:extLst>
                <a:ext uri="{FF2B5EF4-FFF2-40B4-BE49-F238E27FC236}">
                  <a16:creationId xmlns:a16="http://schemas.microsoft.com/office/drawing/2014/main" id="{3D24B0F0-1755-47A5-9288-5AC9C4B1F975}"/>
                </a:ext>
              </a:extLst>
            </p:cNvPr>
            <p:cNvSpPr txBox="1">
              <a:spLocks/>
            </p:cNvSpPr>
            <p:nvPr/>
          </p:nvSpPr>
          <p:spPr>
            <a:xfrm>
              <a:off x="4281414" y="3602189"/>
              <a:ext cx="206079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solidFill>
                    <a:srgbClr val="8D8EA7"/>
                  </a:solidFill>
                </a:rPr>
                <a:t>One-line header</a:t>
              </a:r>
            </a:p>
          </p:txBody>
        </p:sp>
        <p:sp>
          <p:nvSpPr>
            <p:cNvPr id="48" name="RBContent58">
              <a:extLst>
                <a:ext uri="{FF2B5EF4-FFF2-40B4-BE49-F238E27FC236}">
                  <a16:creationId xmlns:a16="http://schemas.microsoft.com/office/drawing/2014/main" id="{1CBD2DC8-1814-45A4-B8C9-BB95FC3E571D}"/>
                </a:ext>
              </a:extLst>
            </p:cNvPr>
            <p:cNvSpPr txBox="1">
              <a:spLocks/>
            </p:cNvSpPr>
            <p:nvPr/>
          </p:nvSpPr>
          <p:spPr>
            <a:xfrm>
              <a:off x="4277360" y="4187591"/>
              <a:ext cx="2060792" cy="1661993"/>
            </a:xfrm>
            <a:prstGeom prst="rect">
              <a:avLst/>
            </a:prstGeom>
            <a:noFill/>
            <a:ln w="9525">
              <a:noFill/>
            </a:ln>
          </p:spPr>
          <p:txBody>
            <a:bodyPr vert="horz" wrap="square" lIns="0" tIns="0" rIns="0" bIns="0" rtlCol="0">
              <a:spAutoFit/>
            </a:bodyPr>
            <a:lstStyle/>
            <a:p>
              <a:pPr>
                <a:spcAft>
                  <a:spcPts val="2000"/>
                </a:spcAft>
              </a:pPr>
              <a:r>
                <a:rPr lang="en-GB"/>
                <a:t>Lorem ipsum dolor sit amet, consetetur sadipscing elitr, </a:t>
              </a:r>
              <a:r>
                <a:rPr lang="en-GB" err="1"/>
                <a:t>sed</a:t>
              </a:r>
              <a:r>
                <a:rPr lang="en-GB"/>
                <a:t> diam nonumy eirmod tempor invidunt ut labore </a:t>
              </a:r>
            </a:p>
          </p:txBody>
        </p:sp>
      </p:grpSp>
      <p:grpSp>
        <p:nvGrpSpPr>
          <p:cNvPr id="9" name="Group 8">
            <a:extLst>
              <a:ext uri="{FF2B5EF4-FFF2-40B4-BE49-F238E27FC236}">
                <a16:creationId xmlns:a16="http://schemas.microsoft.com/office/drawing/2014/main" id="{9A2E602D-C7C4-4F03-8315-F0E15A5DE225}"/>
              </a:ext>
            </a:extLst>
          </p:cNvPr>
          <p:cNvGrpSpPr/>
          <p:nvPr/>
        </p:nvGrpSpPr>
        <p:grpSpPr>
          <a:xfrm>
            <a:off x="2461993" y="1826087"/>
            <a:ext cx="2064846" cy="4023497"/>
            <a:chOff x="2604636" y="1826087"/>
            <a:chExt cx="2064846" cy="4023497"/>
          </a:xfrm>
        </p:grpSpPr>
        <p:sp>
          <p:nvSpPr>
            <p:cNvPr id="50" name="Rectangle 49">
              <a:extLst>
                <a:ext uri="{FF2B5EF4-FFF2-40B4-BE49-F238E27FC236}">
                  <a16:creationId xmlns:a16="http://schemas.microsoft.com/office/drawing/2014/main" id="{708375E2-B9C4-4EE7-A3E1-6398D9C84D79}"/>
                </a:ext>
              </a:extLst>
            </p:cNvPr>
            <p:cNvSpPr/>
            <p:nvPr/>
          </p:nvSpPr>
          <p:spPr>
            <a:xfrm>
              <a:off x="2604636" y="1826087"/>
              <a:ext cx="2060792" cy="14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1"/>
                  </a:solidFill>
                </a:rPr>
                <a:t>[Optional space for an image]</a:t>
              </a:r>
            </a:p>
          </p:txBody>
        </p:sp>
        <p:sp>
          <p:nvSpPr>
            <p:cNvPr id="51" name="RBContent58">
              <a:extLst>
                <a:ext uri="{FF2B5EF4-FFF2-40B4-BE49-F238E27FC236}">
                  <a16:creationId xmlns:a16="http://schemas.microsoft.com/office/drawing/2014/main" id="{BD4CFE33-341F-4D74-8776-8304A9522451}"/>
                </a:ext>
              </a:extLst>
            </p:cNvPr>
            <p:cNvSpPr txBox="1">
              <a:spLocks/>
            </p:cNvSpPr>
            <p:nvPr/>
          </p:nvSpPr>
          <p:spPr>
            <a:xfrm>
              <a:off x="2608690" y="3602189"/>
              <a:ext cx="2060792"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solidFill>
                    <a:srgbClr val="8D8EA7"/>
                  </a:solidFill>
                </a:rPr>
                <a:t>One-line header</a:t>
              </a:r>
            </a:p>
          </p:txBody>
        </p:sp>
        <p:sp>
          <p:nvSpPr>
            <p:cNvPr id="52" name="RBContent58">
              <a:extLst>
                <a:ext uri="{FF2B5EF4-FFF2-40B4-BE49-F238E27FC236}">
                  <a16:creationId xmlns:a16="http://schemas.microsoft.com/office/drawing/2014/main" id="{DE5F9489-0FFD-41CE-AB86-4C480E55DCFD}"/>
                </a:ext>
              </a:extLst>
            </p:cNvPr>
            <p:cNvSpPr txBox="1">
              <a:spLocks/>
            </p:cNvSpPr>
            <p:nvPr/>
          </p:nvSpPr>
          <p:spPr>
            <a:xfrm>
              <a:off x="2604636" y="4187591"/>
              <a:ext cx="2060792" cy="1661993"/>
            </a:xfrm>
            <a:prstGeom prst="rect">
              <a:avLst/>
            </a:prstGeom>
            <a:noFill/>
            <a:ln w="9525">
              <a:noFill/>
            </a:ln>
          </p:spPr>
          <p:txBody>
            <a:bodyPr vert="horz" wrap="square" lIns="0" tIns="0" rIns="0" bIns="0" rtlCol="0">
              <a:spAutoFit/>
            </a:bodyPr>
            <a:lstStyle/>
            <a:p>
              <a:pPr>
                <a:spcAft>
                  <a:spcPts val="2000"/>
                </a:spcAft>
              </a:pPr>
              <a:r>
                <a:rPr lang="en-GB"/>
                <a:t>Lorem ipsum dolor sit amet, consetetur sadipscing elitr, </a:t>
              </a:r>
              <a:r>
                <a:rPr lang="en-GB" err="1"/>
                <a:t>sed</a:t>
              </a:r>
              <a:r>
                <a:rPr lang="en-GB"/>
                <a:t> diam nonumy eirmod tempor invidunt ut labore </a:t>
              </a:r>
            </a:p>
          </p:txBody>
        </p:sp>
      </p:grpSp>
      <p:sp>
        <p:nvSpPr>
          <p:cNvPr id="53" name="RBContent58">
            <a:extLst>
              <a:ext uri="{FF2B5EF4-FFF2-40B4-BE49-F238E27FC236}">
                <a16:creationId xmlns:a16="http://schemas.microsoft.com/office/drawing/2014/main" id="{BA051660-28B8-4ABA-87CB-0AAE7AF3DCD4}"/>
              </a:ext>
            </a:extLst>
          </p:cNvPr>
          <p:cNvSpPr txBox="1">
            <a:spLocks/>
          </p:cNvSpPr>
          <p:nvPr/>
        </p:nvSpPr>
        <p:spPr>
          <a:xfrm>
            <a:off x="365680" y="3602189"/>
            <a:ext cx="1728000"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One-line header</a:t>
            </a:r>
          </a:p>
        </p:txBody>
      </p:sp>
      <p:sp>
        <p:nvSpPr>
          <p:cNvPr id="54" name="RBContent58">
            <a:extLst>
              <a:ext uri="{FF2B5EF4-FFF2-40B4-BE49-F238E27FC236}">
                <a16:creationId xmlns:a16="http://schemas.microsoft.com/office/drawing/2014/main" id="{7FC9D0B1-FEDE-4F67-8856-6A9C1E8D7335}"/>
              </a:ext>
            </a:extLst>
          </p:cNvPr>
          <p:cNvSpPr txBox="1">
            <a:spLocks/>
          </p:cNvSpPr>
          <p:nvPr/>
        </p:nvSpPr>
        <p:spPr>
          <a:xfrm>
            <a:off x="365680" y="4187591"/>
            <a:ext cx="1728000" cy="24929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GB" b="1"/>
              <a:t>One-line header</a:t>
            </a:r>
          </a:p>
        </p:txBody>
      </p:sp>
    </p:spTree>
    <p:extLst>
      <p:ext uri="{BB962C8B-B14F-4D97-AF65-F5344CB8AC3E}">
        <p14:creationId xmlns:p14="http://schemas.microsoft.com/office/powerpoint/2010/main" val="31739054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856ED3C-D2A4-4655-9EB1-50AEEADA88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13" name="Object 12" hidden="1">
                        <a:extLst>
                          <a:ext uri="{FF2B5EF4-FFF2-40B4-BE49-F238E27FC236}">
                            <a16:creationId xmlns:a16="http://schemas.microsoft.com/office/drawing/2014/main" id="{3856ED3C-D2A4-4655-9EB1-50AEEADA88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CBC58F17-159E-4491-9506-8E3FE4F30F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800" b="1">
              <a:latin typeface="Arial" panose="020B0604020202020204" pitchFamily="34" charset="0"/>
              <a:ea typeface="+mj-ea"/>
              <a:cs typeface="+mj-cs"/>
              <a:sym typeface="Arial" panose="020B0604020202020204" pitchFamily="34" charset="0"/>
            </a:endParaRPr>
          </a:p>
        </p:txBody>
      </p:sp>
      <p:sp>
        <p:nvSpPr>
          <p:cNvPr id="2" name="Slide Number Placeholder 1">
            <a:extLst>
              <a:ext uri="{FF2B5EF4-FFF2-40B4-BE49-F238E27FC236}">
                <a16:creationId xmlns:a16="http://schemas.microsoft.com/office/drawing/2014/main" id="{D1F10D06-7410-4023-B61D-17EE9BD434E5}"/>
              </a:ext>
            </a:extLst>
          </p:cNvPr>
          <p:cNvSpPr>
            <a:spLocks noGrp="1"/>
          </p:cNvSpPr>
          <p:nvPr>
            <p:ph type="sldNum" sz="quarter" idx="4"/>
          </p:nvPr>
        </p:nvSpPr>
        <p:spPr/>
        <p:txBody>
          <a:bodyPr/>
          <a:lstStyle/>
          <a:p>
            <a:fld id="{3D966009-6E5A-4F8C-8CA7-E37AFBF5FB92}" type="slidenum">
              <a:rPr lang="en-GB" smtClean="0"/>
              <a:t>92</a:t>
            </a:fld>
            <a:endParaRPr lang="en-GB"/>
          </a:p>
        </p:txBody>
      </p:sp>
      <p:sp>
        <p:nvSpPr>
          <p:cNvPr id="3" name="Title 2">
            <a:extLst>
              <a:ext uri="{FF2B5EF4-FFF2-40B4-BE49-F238E27FC236}">
                <a16:creationId xmlns:a16="http://schemas.microsoft.com/office/drawing/2014/main" id="{4D8D0BA7-29B0-4D30-9E52-254E75AE61D9}"/>
              </a:ext>
            </a:extLst>
          </p:cNvPr>
          <p:cNvSpPr>
            <a:spLocks noGrp="1"/>
          </p:cNvSpPr>
          <p:nvPr>
            <p:ph type="title"/>
          </p:nvPr>
        </p:nvSpPr>
        <p:spPr/>
        <p:txBody>
          <a:bodyPr/>
          <a:lstStyle/>
          <a:p>
            <a:r>
              <a:rPr lang="en-GB"/>
              <a:t>Lorem ipsum dolor sit amet, consetetur sadipscing elitr, sed diam nonumy eirmod tempor invidunt ut labore et</a:t>
            </a:r>
          </a:p>
        </p:txBody>
      </p:sp>
      <p:sp>
        <p:nvSpPr>
          <p:cNvPr id="6" name="Text Placeholder 5">
            <a:extLst>
              <a:ext uri="{FF2B5EF4-FFF2-40B4-BE49-F238E27FC236}">
                <a16:creationId xmlns:a16="http://schemas.microsoft.com/office/drawing/2014/main" id="{83F37CA2-B4A8-45EA-9CAF-03CEBC6B289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AEDD13DA-F5E5-4575-A777-4E7D8047D9E5}"/>
              </a:ext>
            </a:extLst>
          </p:cNvPr>
          <p:cNvSpPr>
            <a:spLocks noGrp="1"/>
          </p:cNvSpPr>
          <p:nvPr>
            <p:ph type="body" sz="quarter" idx="13"/>
          </p:nvPr>
        </p:nvSpPr>
        <p:spPr>
          <a:xfrm>
            <a:off x="365682" y="1300020"/>
            <a:ext cx="11462400" cy="309892"/>
          </a:xfrm>
        </p:spPr>
        <p:txBody>
          <a:bodyPr/>
          <a:lstStyle/>
          <a:p>
            <a:r>
              <a:rPr lang="en-GB"/>
              <a:t>At vero eos et accusam et justo duo dolores et ea rebum. Stet clita kasd gubergren, no sea takimata</a:t>
            </a:r>
          </a:p>
        </p:txBody>
      </p:sp>
      <p:sp>
        <p:nvSpPr>
          <p:cNvPr id="8" name="Content Placeholder 7">
            <a:extLst>
              <a:ext uri="{FF2B5EF4-FFF2-40B4-BE49-F238E27FC236}">
                <a16:creationId xmlns:a16="http://schemas.microsoft.com/office/drawing/2014/main" id="{B7FFD8BF-2199-4BBE-A79B-25EA8306DE36}"/>
              </a:ext>
            </a:extLst>
          </p:cNvPr>
          <p:cNvSpPr>
            <a:spLocks noGrp="1"/>
          </p:cNvSpPr>
          <p:nvPr>
            <p:ph sz="quarter" idx="14"/>
          </p:nvPr>
        </p:nvSpPr>
        <p:spPr/>
        <p:txBody>
          <a:bodyPr/>
          <a:lstStyle/>
          <a:p>
            <a:endParaRPr lang="en-GB"/>
          </a:p>
        </p:txBody>
      </p:sp>
      <p:sp>
        <p:nvSpPr>
          <p:cNvPr id="15" name="Content Placeholder 14">
            <a:extLst>
              <a:ext uri="{FF2B5EF4-FFF2-40B4-BE49-F238E27FC236}">
                <a16:creationId xmlns:a16="http://schemas.microsoft.com/office/drawing/2014/main" id="{82254532-D528-4FEA-B34E-BF8107599C7D}"/>
              </a:ext>
            </a:extLst>
          </p:cNvPr>
          <p:cNvSpPr>
            <a:spLocks noGrp="1"/>
          </p:cNvSpPr>
          <p:nvPr>
            <p:ph sz="quarter" idx="10"/>
          </p:nvPr>
        </p:nvSpPr>
        <p:spPr/>
        <p:txBody>
          <a:bodyPr/>
          <a:lstStyle/>
          <a:p>
            <a:endParaRPr lang="en-GB"/>
          </a:p>
        </p:txBody>
      </p:sp>
      <p:sp>
        <p:nvSpPr>
          <p:cNvPr id="9" name="Rechteck 8">
            <a:extLst>
              <a:ext uri="{FF2B5EF4-FFF2-40B4-BE49-F238E27FC236}">
                <a16:creationId xmlns:a16="http://schemas.microsoft.com/office/drawing/2014/main" id="{57C9B875-E674-48CB-B666-2E7C66C4B119}"/>
              </a:ext>
            </a:extLst>
          </p:cNvPr>
          <p:cNvSpPr/>
          <p:nvPr/>
        </p:nvSpPr>
        <p:spPr>
          <a:xfrm>
            <a:off x="4400557" y="1910312"/>
            <a:ext cx="3367743" cy="4812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ysClr val="windowText" lastClr="000000"/>
                </a:solidFill>
              </a:rPr>
              <a:t>Function</a:t>
            </a:r>
          </a:p>
          <a:p>
            <a:pPr algn="ctr"/>
            <a:r>
              <a:rPr lang="en-GB" sz="1400">
                <a:solidFill>
                  <a:sysClr val="windowText" lastClr="000000"/>
                </a:solidFill>
              </a:rPr>
              <a:t>Text</a:t>
            </a:r>
            <a:endParaRPr lang="en-GB">
              <a:solidFill>
                <a:sysClr val="windowText" lastClr="000000"/>
              </a:solidFill>
            </a:endParaRPr>
          </a:p>
        </p:txBody>
      </p:sp>
      <p:cxnSp>
        <p:nvCxnSpPr>
          <p:cNvPr id="11" name="Gerader Verbinder 10">
            <a:extLst>
              <a:ext uri="{FF2B5EF4-FFF2-40B4-BE49-F238E27FC236}">
                <a16:creationId xmlns:a16="http://schemas.microsoft.com/office/drawing/2014/main" id="{66E61D4D-0F48-47F8-85D7-F9104D40F520}"/>
              </a:ext>
            </a:extLst>
          </p:cNvPr>
          <p:cNvCxnSpPr>
            <a:cxnSpLocks/>
          </p:cNvCxnSpPr>
          <p:nvPr/>
        </p:nvCxnSpPr>
        <p:spPr>
          <a:xfrm>
            <a:off x="6095999" y="2363659"/>
            <a:ext cx="0" cy="23206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003A25C4-7F8E-40B7-9DDE-6DE210DA3660}"/>
              </a:ext>
            </a:extLst>
          </p:cNvPr>
          <p:cNvCxnSpPr>
            <a:cxnSpLocks/>
          </p:cNvCxnSpPr>
          <p:nvPr/>
        </p:nvCxnSpPr>
        <p:spPr>
          <a:xfrm>
            <a:off x="1012723" y="2595720"/>
            <a:ext cx="10255045" cy="31248"/>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sp>
        <p:nvSpPr>
          <p:cNvPr id="36" name="Rechteck 35">
            <a:extLst>
              <a:ext uri="{FF2B5EF4-FFF2-40B4-BE49-F238E27FC236}">
                <a16:creationId xmlns:a16="http://schemas.microsoft.com/office/drawing/2014/main" id="{A957D1E6-C8DF-4A19-8164-5AB28C1037C8}"/>
              </a:ext>
            </a:extLst>
          </p:cNvPr>
          <p:cNvSpPr/>
          <p:nvPr/>
        </p:nvSpPr>
        <p:spPr>
          <a:xfrm>
            <a:off x="365682" y="2736720"/>
            <a:ext cx="1868129" cy="623764"/>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unction</a:t>
            </a:r>
          </a:p>
          <a:p>
            <a:pPr algn="ctr"/>
            <a:r>
              <a:rPr lang="en-GB" sz="1400"/>
              <a:t>Text</a:t>
            </a:r>
            <a:endParaRPr lang="en-GB" sz="1600"/>
          </a:p>
        </p:txBody>
      </p:sp>
      <p:sp>
        <p:nvSpPr>
          <p:cNvPr id="39" name="Rechteck 38">
            <a:extLst>
              <a:ext uri="{FF2B5EF4-FFF2-40B4-BE49-F238E27FC236}">
                <a16:creationId xmlns:a16="http://schemas.microsoft.com/office/drawing/2014/main" id="{EA82798A-3C50-49F4-9540-9046CE540413}"/>
              </a:ext>
            </a:extLst>
          </p:cNvPr>
          <p:cNvSpPr/>
          <p:nvPr/>
        </p:nvSpPr>
        <p:spPr>
          <a:xfrm>
            <a:off x="9958188" y="2736720"/>
            <a:ext cx="1868129" cy="623764"/>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unction</a:t>
            </a:r>
          </a:p>
          <a:p>
            <a:pPr algn="ctr"/>
            <a:r>
              <a:rPr lang="en-GB" sz="1400"/>
              <a:t>Text</a:t>
            </a:r>
            <a:endParaRPr lang="en-GB" sz="1600"/>
          </a:p>
        </p:txBody>
      </p:sp>
      <p:sp>
        <p:nvSpPr>
          <p:cNvPr id="40" name="Rechteck 39">
            <a:extLst>
              <a:ext uri="{FF2B5EF4-FFF2-40B4-BE49-F238E27FC236}">
                <a16:creationId xmlns:a16="http://schemas.microsoft.com/office/drawing/2014/main" id="{E801EE65-B2D1-4E12-A540-D6323898CEB6}"/>
              </a:ext>
            </a:extLst>
          </p:cNvPr>
          <p:cNvSpPr/>
          <p:nvPr/>
        </p:nvSpPr>
        <p:spPr>
          <a:xfrm>
            <a:off x="7560063" y="2736720"/>
            <a:ext cx="1868129" cy="623764"/>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unction</a:t>
            </a:r>
          </a:p>
          <a:p>
            <a:pPr algn="ctr"/>
            <a:r>
              <a:rPr lang="en-GB" sz="1400"/>
              <a:t>Text</a:t>
            </a:r>
            <a:endParaRPr lang="en-GB" sz="1600"/>
          </a:p>
        </p:txBody>
      </p:sp>
      <p:sp>
        <p:nvSpPr>
          <p:cNvPr id="41" name="Rechteck 40">
            <a:extLst>
              <a:ext uri="{FF2B5EF4-FFF2-40B4-BE49-F238E27FC236}">
                <a16:creationId xmlns:a16="http://schemas.microsoft.com/office/drawing/2014/main" id="{2FD792F5-BFC4-4068-B77B-0867EE3E9552}"/>
              </a:ext>
            </a:extLst>
          </p:cNvPr>
          <p:cNvSpPr/>
          <p:nvPr/>
        </p:nvSpPr>
        <p:spPr>
          <a:xfrm>
            <a:off x="2763809" y="2736720"/>
            <a:ext cx="1868129" cy="623764"/>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unction</a:t>
            </a:r>
          </a:p>
          <a:p>
            <a:pPr algn="ctr"/>
            <a:r>
              <a:rPr lang="en-GB" sz="1400"/>
              <a:t>Text</a:t>
            </a:r>
            <a:endParaRPr lang="en-GB" sz="1600"/>
          </a:p>
        </p:txBody>
      </p:sp>
      <p:sp>
        <p:nvSpPr>
          <p:cNvPr id="42" name="Rechteck 41">
            <a:extLst>
              <a:ext uri="{FF2B5EF4-FFF2-40B4-BE49-F238E27FC236}">
                <a16:creationId xmlns:a16="http://schemas.microsoft.com/office/drawing/2014/main" id="{A08DFE55-F6CB-423B-BF7A-EA85C12F930E}"/>
              </a:ext>
            </a:extLst>
          </p:cNvPr>
          <p:cNvSpPr/>
          <p:nvPr/>
        </p:nvSpPr>
        <p:spPr>
          <a:xfrm>
            <a:off x="5161936" y="2736720"/>
            <a:ext cx="1868129" cy="623764"/>
          </a:xfrm>
          <a:prstGeom prst="rect">
            <a:avLst/>
          </a:prstGeom>
          <a:solidFill>
            <a:srgbClr val="BBB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unction</a:t>
            </a:r>
          </a:p>
          <a:p>
            <a:pPr algn="ctr"/>
            <a:r>
              <a:rPr lang="en-GB" sz="1400"/>
              <a:t>Text</a:t>
            </a:r>
            <a:endParaRPr lang="en-GB" sz="1600"/>
          </a:p>
        </p:txBody>
      </p:sp>
      <p:sp>
        <p:nvSpPr>
          <p:cNvPr id="45" name="Rechteck 44">
            <a:extLst>
              <a:ext uri="{FF2B5EF4-FFF2-40B4-BE49-F238E27FC236}">
                <a16:creationId xmlns:a16="http://schemas.microsoft.com/office/drawing/2014/main" id="{BEACF2F6-5ADF-4418-BC16-D24065A1BD68}"/>
              </a:ext>
            </a:extLst>
          </p:cNvPr>
          <p:cNvSpPr/>
          <p:nvPr/>
        </p:nvSpPr>
        <p:spPr>
          <a:xfrm>
            <a:off x="580103" y="3453844"/>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46" name="Rechteck 45">
            <a:extLst>
              <a:ext uri="{FF2B5EF4-FFF2-40B4-BE49-F238E27FC236}">
                <a16:creationId xmlns:a16="http://schemas.microsoft.com/office/drawing/2014/main" id="{E0928AEB-1455-4788-BE0F-3FC896C0639E}"/>
              </a:ext>
            </a:extLst>
          </p:cNvPr>
          <p:cNvSpPr/>
          <p:nvPr/>
        </p:nvSpPr>
        <p:spPr>
          <a:xfrm>
            <a:off x="580103" y="4081288"/>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47" name="Rechteck 46">
            <a:extLst>
              <a:ext uri="{FF2B5EF4-FFF2-40B4-BE49-F238E27FC236}">
                <a16:creationId xmlns:a16="http://schemas.microsoft.com/office/drawing/2014/main" id="{62A9BBC2-9129-4285-B47B-E2978295F20A}"/>
              </a:ext>
            </a:extLst>
          </p:cNvPr>
          <p:cNvSpPr/>
          <p:nvPr/>
        </p:nvSpPr>
        <p:spPr>
          <a:xfrm>
            <a:off x="580103" y="4708732"/>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48" name="Rechteck 47">
            <a:extLst>
              <a:ext uri="{FF2B5EF4-FFF2-40B4-BE49-F238E27FC236}">
                <a16:creationId xmlns:a16="http://schemas.microsoft.com/office/drawing/2014/main" id="{98D481E5-5C5B-4A6E-83FB-F77E3E938B37}"/>
              </a:ext>
            </a:extLst>
          </p:cNvPr>
          <p:cNvSpPr/>
          <p:nvPr/>
        </p:nvSpPr>
        <p:spPr>
          <a:xfrm>
            <a:off x="580103" y="5336176"/>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0" name="Rechteck 49">
            <a:extLst>
              <a:ext uri="{FF2B5EF4-FFF2-40B4-BE49-F238E27FC236}">
                <a16:creationId xmlns:a16="http://schemas.microsoft.com/office/drawing/2014/main" id="{7F4D5843-F5C2-455A-84EA-41FEF235D3BB}"/>
              </a:ext>
            </a:extLst>
          </p:cNvPr>
          <p:cNvSpPr/>
          <p:nvPr/>
        </p:nvSpPr>
        <p:spPr>
          <a:xfrm>
            <a:off x="2978230" y="3455251"/>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1" name="Rechteck 50">
            <a:extLst>
              <a:ext uri="{FF2B5EF4-FFF2-40B4-BE49-F238E27FC236}">
                <a16:creationId xmlns:a16="http://schemas.microsoft.com/office/drawing/2014/main" id="{3FBFBCAA-3865-44D1-AEAE-3A150F993D0B}"/>
              </a:ext>
            </a:extLst>
          </p:cNvPr>
          <p:cNvSpPr/>
          <p:nvPr/>
        </p:nvSpPr>
        <p:spPr>
          <a:xfrm>
            <a:off x="2978230" y="4082695"/>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2" name="Rechteck 51">
            <a:extLst>
              <a:ext uri="{FF2B5EF4-FFF2-40B4-BE49-F238E27FC236}">
                <a16:creationId xmlns:a16="http://schemas.microsoft.com/office/drawing/2014/main" id="{8213ED16-AE24-4B11-8500-DFCC278EEC27}"/>
              </a:ext>
            </a:extLst>
          </p:cNvPr>
          <p:cNvSpPr/>
          <p:nvPr/>
        </p:nvSpPr>
        <p:spPr>
          <a:xfrm>
            <a:off x="2978230" y="4710139"/>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3" name="Rechteck 52">
            <a:extLst>
              <a:ext uri="{FF2B5EF4-FFF2-40B4-BE49-F238E27FC236}">
                <a16:creationId xmlns:a16="http://schemas.microsoft.com/office/drawing/2014/main" id="{A984100B-1F3F-466B-B7A1-E342CFAD5BFD}"/>
              </a:ext>
            </a:extLst>
          </p:cNvPr>
          <p:cNvSpPr/>
          <p:nvPr/>
        </p:nvSpPr>
        <p:spPr>
          <a:xfrm>
            <a:off x="2978230" y="5337583"/>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4" name="Rechteck 53">
            <a:extLst>
              <a:ext uri="{FF2B5EF4-FFF2-40B4-BE49-F238E27FC236}">
                <a16:creationId xmlns:a16="http://schemas.microsoft.com/office/drawing/2014/main" id="{7DD3E029-CB8E-41BF-89ED-FB305F5932E9}"/>
              </a:ext>
            </a:extLst>
          </p:cNvPr>
          <p:cNvSpPr/>
          <p:nvPr/>
        </p:nvSpPr>
        <p:spPr>
          <a:xfrm>
            <a:off x="5376357" y="3453844"/>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5" name="Rechteck 54">
            <a:extLst>
              <a:ext uri="{FF2B5EF4-FFF2-40B4-BE49-F238E27FC236}">
                <a16:creationId xmlns:a16="http://schemas.microsoft.com/office/drawing/2014/main" id="{A4DFE309-2483-4C41-98C9-97FA20F715A0}"/>
              </a:ext>
            </a:extLst>
          </p:cNvPr>
          <p:cNvSpPr/>
          <p:nvPr/>
        </p:nvSpPr>
        <p:spPr>
          <a:xfrm>
            <a:off x="5376357" y="4081288"/>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6" name="Rechteck 55">
            <a:extLst>
              <a:ext uri="{FF2B5EF4-FFF2-40B4-BE49-F238E27FC236}">
                <a16:creationId xmlns:a16="http://schemas.microsoft.com/office/drawing/2014/main" id="{BD483238-F94C-4674-9013-26264A664F68}"/>
              </a:ext>
            </a:extLst>
          </p:cNvPr>
          <p:cNvSpPr/>
          <p:nvPr/>
        </p:nvSpPr>
        <p:spPr>
          <a:xfrm>
            <a:off x="5376357" y="4708732"/>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7" name="Rechteck 56">
            <a:extLst>
              <a:ext uri="{FF2B5EF4-FFF2-40B4-BE49-F238E27FC236}">
                <a16:creationId xmlns:a16="http://schemas.microsoft.com/office/drawing/2014/main" id="{129A2A7F-572E-435A-876E-4DB36A96420C}"/>
              </a:ext>
            </a:extLst>
          </p:cNvPr>
          <p:cNvSpPr/>
          <p:nvPr/>
        </p:nvSpPr>
        <p:spPr>
          <a:xfrm>
            <a:off x="5376357" y="5336176"/>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8" name="Rechteck 57">
            <a:extLst>
              <a:ext uri="{FF2B5EF4-FFF2-40B4-BE49-F238E27FC236}">
                <a16:creationId xmlns:a16="http://schemas.microsoft.com/office/drawing/2014/main" id="{660EDE9D-D546-4149-BBA1-53A1719B7CC3}"/>
              </a:ext>
            </a:extLst>
          </p:cNvPr>
          <p:cNvSpPr/>
          <p:nvPr/>
        </p:nvSpPr>
        <p:spPr>
          <a:xfrm>
            <a:off x="7774484" y="3453844"/>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59" name="Rechteck 58">
            <a:extLst>
              <a:ext uri="{FF2B5EF4-FFF2-40B4-BE49-F238E27FC236}">
                <a16:creationId xmlns:a16="http://schemas.microsoft.com/office/drawing/2014/main" id="{D54AC883-A03C-471A-B124-DE1A8DCF2910}"/>
              </a:ext>
            </a:extLst>
          </p:cNvPr>
          <p:cNvSpPr/>
          <p:nvPr/>
        </p:nvSpPr>
        <p:spPr>
          <a:xfrm>
            <a:off x="7774484" y="4081288"/>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0" name="Rechteck 59">
            <a:extLst>
              <a:ext uri="{FF2B5EF4-FFF2-40B4-BE49-F238E27FC236}">
                <a16:creationId xmlns:a16="http://schemas.microsoft.com/office/drawing/2014/main" id="{78787122-1573-4D27-A531-9846A32E8647}"/>
              </a:ext>
            </a:extLst>
          </p:cNvPr>
          <p:cNvSpPr/>
          <p:nvPr/>
        </p:nvSpPr>
        <p:spPr>
          <a:xfrm>
            <a:off x="7774484" y="4708732"/>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1" name="Rechteck 60">
            <a:extLst>
              <a:ext uri="{FF2B5EF4-FFF2-40B4-BE49-F238E27FC236}">
                <a16:creationId xmlns:a16="http://schemas.microsoft.com/office/drawing/2014/main" id="{28980020-08A7-4480-B75E-FE6B4F280998}"/>
              </a:ext>
            </a:extLst>
          </p:cNvPr>
          <p:cNvSpPr/>
          <p:nvPr/>
        </p:nvSpPr>
        <p:spPr>
          <a:xfrm>
            <a:off x="7774484" y="5336176"/>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2" name="Rechteck 61">
            <a:extLst>
              <a:ext uri="{FF2B5EF4-FFF2-40B4-BE49-F238E27FC236}">
                <a16:creationId xmlns:a16="http://schemas.microsoft.com/office/drawing/2014/main" id="{93C3FBE2-BF7F-499A-9E5A-FDF15918619C}"/>
              </a:ext>
            </a:extLst>
          </p:cNvPr>
          <p:cNvSpPr/>
          <p:nvPr/>
        </p:nvSpPr>
        <p:spPr>
          <a:xfrm>
            <a:off x="10172609" y="3453844"/>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3" name="Rechteck 62">
            <a:extLst>
              <a:ext uri="{FF2B5EF4-FFF2-40B4-BE49-F238E27FC236}">
                <a16:creationId xmlns:a16="http://schemas.microsoft.com/office/drawing/2014/main" id="{B1E7D651-4C68-4970-AE36-1C77BCB486C5}"/>
              </a:ext>
            </a:extLst>
          </p:cNvPr>
          <p:cNvSpPr/>
          <p:nvPr/>
        </p:nvSpPr>
        <p:spPr>
          <a:xfrm>
            <a:off x="10172609" y="4081288"/>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4" name="Rechteck 63">
            <a:extLst>
              <a:ext uri="{FF2B5EF4-FFF2-40B4-BE49-F238E27FC236}">
                <a16:creationId xmlns:a16="http://schemas.microsoft.com/office/drawing/2014/main" id="{35584CEC-3163-4876-A905-06A526F4A98C}"/>
              </a:ext>
            </a:extLst>
          </p:cNvPr>
          <p:cNvSpPr/>
          <p:nvPr/>
        </p:nvSpPr>
        <p:spPr>
          <a:xfrm>
            <a:off x="10172609" y="4708732"/>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sp>
        <p:nvSpPr>
          <p:cNvPr id="65" name="Rechteck 64">
            <a:extLst>
              <a:ext uri="{FF2B5EF4-FFF2-40B4-BE49-F238E27FC236}">
                <a16:creationId xmlns:a16="http://schemas.microsoft.com/office/drawing/2014/main" id="{025B9A40-6B00-4B51-9ECF-5FB1F8E771F0}"/>
              </a:ext>
            </a:extLst>
          </p:cNvPr>
          <p:cNvSpPr/>
          <p:nvPr/>
        </p:nvSpPr>
        <p:spPr>
          <a:xfrm>
            <a:off x="10172609" y="5336176"/>
            <a:ext cx="1653708" cy="53149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solidFill>
                  <a:sysClr val="windowText" lastClr="000000"/>
                </a:solidFill>
              </a:rPr>
              <a:t>Function</a:t>
            </a:r>
          </a:p>
          <a:p>
            <a:r>
              <a:rPr lang="en-GB" sz="1400">
                <a:solidFill>
                  <a:sysClr val="windowText" lastClr="000000"/>
                </a:solidFill>
              </a:rPr>
              <a:t>Text</a:t>
            </a:r>
            <a:endParaRPr lang="en-GB" sz="1600">
              <a:solidFill>
                <a:sysClr val="windowText" lastClr="000000"/>
              </a:solidFill>
            </a:endParaRPr>
          </a:p>
        </p:txBody>
      </p:sp>
      <p:cxnSp>
        <p:nvCxnSpPr>
          <p:cNvPr id="66" name="Gerader Verbinder 65">
            <a:extLst>
              <a:ext uri="{FF2B5EF4-FFF2-40B4-BE49-F238E27FC236}">
                <a16:creationId xmlns:a16="http://schemas.microsoft.com/office/drawing/2014/main" id="{15369753-B168-4EE8-B30A-0954C1E1E1B5}"/>
              </a:ext>
            </a:extLst>
          </p:cNvPr>
          <p:cNvCxnSpPr>
            <a:cxnSpLocks/>
          </p:cNvCxnSpPr>
          <p:nvPr/>
        </p:nvCxnSpPr>
        <p:spPr>
          <a:xfrm>
            <a:off x="1001505" y="2585514"/>
            <a:ext cx="0" cy="15120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591CD326-3ACF-46E8-9C55-64ECC2136F8B}"/>
              </a:ext>
            </a:extLst>
          </p:cNvPr>
          <p:cNvCxnSpPr>
            <a:cxnSpLocks/>
          </p:cNvCxnSpPr>
          <p:nvPr/>
        </p:nvCxnSpPr>
        <p:spPr>
          <a:xfrm>
            <a:off x="3699147" y="2595719"/>
            <a:ext cx="0" cy="141001"/>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4051111D-E1F0-4162-B367-C87D98F24018}"/>
              </a:ext>
            </a:extLst>
          </p:cNvPr>
          <p:cNvCxnSpPr>
            <a:cxnSpLocks/>
          </p:cNvCxnSpPr>
          <p:nvPr/>
        </p:nvCxnSpPr>
        <p:spPr>
          <a:xfrm>
            <a:off x="6096045" y="2595719"/>
            <a:ext cx="0" cy="141001"/>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39330AF7-D5EC-4E80-95F1-8B92668C68F4}"/>
              </a:ext>
            </a:extLst>
          </p:cNvPr>
          <p:cNvCxnSpPr>
            <a:cxnSpLocks/>
          </p:cNvCxnSpPr>
          <p:nvPr/>
        </p:nvCxnSpPr>
        <p:spPr>
          <a:xfrm>
            <a:off x="8494985" y="2612571"/>
            <a:ext cx="0" cy="124149"/>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F77F65EA-B091-4F17-85C8-2CAB0F46CC2B}"/>
              </a:ext>
            </a:extLst>
          </p:cNvPr>
          <p:cNvCxnSpPr>
            <a:cxnSpLocks/>
          </p:cNvCxnSpPr>
          <p:nvPr/>
        </p:nvCxnSpPr>
        <p:spPr>
          <a:xfrm flipH="1">
            <a:off x="11267768" y="2616653"/>
            <a:ext cx="2" cy="116598"/>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BB61A69F-593D-4D6A-8691-59B5A0573FFA}"/>
              </a:ext>
            </a:extLst>
          </p:cNvPr>
          <p:cNvCxnSpPr>
            <a:cxnSpLocks/>
          </p:cNvCxnSpPr>
          <p:nvPr/>
        </p:nvCxnSpPr>
        <p:spPr>
          <a:xfrm>
            <a:off x="462390" y="3360484"/>
            <a:ext cx="0" cy="227831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1C601A2B-8779-4052-A4F7-0E49B8F6BF16}"/>
              </a:ext>
            </a:extLst>
          </p:cNvPr>
          <p:cNvCxnSpPr>
            <a:cxnSpLocks/>
          </p:cNvCxnSpPr>
          <p:nvPr/>
        </p:nvCxnSpPr>
        <p:spPr>
          <a:xfrm>
            <a:off x="462390" y="3725514"/>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1FF15FED-84B0-4AEC-B9D3-5CF0E8388A38}"/>
              </a:ext>
            </a:extLst>
          </p:cNvPr>
          <p:cNvCxnSpPr>
            <a:cxnSpLocks/>
          </p:cNvCxnSpPr>
          <p:nvPr/>
        </p:nvCxnSpPr>
        <p:spPr>
          <a:xfrm>
            <a:off x="462390" y="4356782"/>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10465852-AB9D-4921-9ABF-FA401E032F5A}"/>
              </a:ext>
            </a:extLst>
          </p:cNvPr>
          <p:cNvCxnSpPr>
            <a:cxnSpLocks/>
          </p:cNvCxnSpPr>
          <p:nvPr/>
        </p:nvCxnSpPr>
        <p:spPr>
          <a:xfrm>
            <a:off x="462390" y="4978980"/>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34DC09AA-5421-4987-94D8-75B3DA845FBF}"/>
              </a:ext>
            </a:extLst>
          </p:cNvPr>
          <p:cNvCxnSpPr>
            <a:cxnSpLocks/>
          </p:cNvCxnSpPr>
          <p:nvPr/>
        </p:nvCxnSpPr>
        <p:spPr>
          <a:xfrm>
            <a:off x="459773" y="5628709"/>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171893EC-EACC-4FA4-84CB-357C3CAAAF45}"/>
              </a:ext>
            </a:extLst>
          </p:cNvPr>
          <p:cNvCxnSpPr>
            <a:cxnSpLocks/>
          </p:cNvCxnSpPr>
          <p:nvPr/>
        </p:nvCxnSpPr>
        <p:spPr>
          <a:xfrm>
            <a:off x="2862690" y="3360484"/>
            <a:ext cx="0" cy="227831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9D373975-345E-4783-922A-067E220AA0C8}"/>
              </a:ext>
            </a:extLst>
          </p:cNvPr>
          <p:cNvCxnSpPr>
            <a:cxnSpLocks/>
          </p:cNvCxnSpPr>
          <p:nvPr/>
        </p:nvCxnSpPr>
        <p:spPr>
          <a:xfrm>
            <a:off x="2862690" y="3725514"/>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F2AB6CAD-8FCE-460F-8010-9E272BF59611}"/>
              </a:ext>
            </a:extLst>
          </p:cNvPr>
          <p:cNvCxnSpPr>
            <a:cxnSpLocks/>
          </p:cNvCxnSpPr>
          <p:nvPr/>
        </p:nvCxnSpPr>
        <p:spPr>
          <a:xfrm>
            <a:off x="2862690" y="4356782"/>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4D8A4FFF-504F-4B2A-A924-EA8DF1D26265}"/>
              </a:ext>
            </a:extLst>
          </p:cNvPr>
          <p:cNvCxnSpPr>
            <a:cxnSpLocks/>
          </p:cNvCxnSpPr>
          <p:nvPr/>
        </p:nvCxnSpPr>
        <p:spPr>
          <a:xfrm>
            <a:off x="2862690" y="4978980"/>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A62910E3-0BDE-4C1F-B8F4-881F1C25945D}"/>
              </a:ext>
            </a:extLst>
          </p:cNvPr>
          <p:cNvCxnSpPr>
            <a:cxnSpLocks/>
          </p:cNvCxnSpPr>
          <p:nvPr/>
        </p:nvCxnSpPr>
        <p:spPr>
          <a:xfrm>
            <a:off x="2860073" y="5628709"/>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2FB3DC68-AC64-49C5-9E8B-FC3DF47C8DBD}"/>
              </a:ext>
            </a:extLst>
          </p:cNvPr>
          <p:cNvCxnSpPr>
            <a:cxnSpLocks/>
          </p:cNvCxnSpPr>
          <p:nvPr/>
        </p:nvCxnSpPr>
        <p:spPr>
          <a:xfrm>
            <a:off x="5273574" y="3360484"/>
            <a:ext cx="0" cy="227831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41B2725E-12E9-4E94-8543-12305E6AD044}"/>
              </a:ext>
            </a:extLst>
          </p:cNvPr>
          <p:cNvCxnSpPr>
            <a:cxnSpLocks/>
          </p:cNvCxnSpPr>
          <p:nvPr/>
        </p:nvCxnSpPr>
        <p:spPr>
          <a:xfrm>
            <a:off x="5273574" y="3725514"/>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1283D402-0499-40D7-8275-6B2B378FCF21}"/>
              </a:ext>
            </a:extLst>
          </p:cNvPr>
          <p:cNvCxnSpPr>
            <a:cxnSpLocks/>
          </p:cNvCxnSpPr>
          <p:nvPr/>
        </p:nvCxnSpPr>
        <p:spPr>
          <a:xfrm>
            <a:off x="5273574" y="4356782"/>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BB65FC9F-8D5F-4F6B-B812-2B4F3A9139FA}"/>
              </a:ext>
            </a:extLst>
          </p:cNvPr>
          <p:cNvCxnSpPr>
            <a:cxnSpLocks/>
          </p:cNvCxnSpPr>
          <p:nvPr/>
        </p:nvCxnSpPr>
        <p:spPr>
          <a:xfrm>
            <a:off x="5273574" y="4978980"/>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CBE3DFC-68D5-4D5C-86E2-648EB88C6091}"/>
              </a:ext>
            </a:extLst>
          </p:cNvPr>
          <p:cNvCxnSpPr>
            <a:cxnSpLocks/>
          </p:cNvCxnSpPr>
          <p:nvPr/>
        </p:nvCxnSpPr>
        <p:spPr>
          <a:xfrm>
            <a:off x="5270957" y="5628709"/>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F74F24D6-502A-4A78-9EE3-301FFD0F91DC}"/>
              </a:ext>
            </a:extLst>
          </p:cNvPr>
          <p:cNvCxnSpPr>
            <a:cxnSpLocks/>
          </p:cNvCxnSpPr>
          <p:nvPr/>
        </p:nvCxnSpPr>
        <p:spPr>
          <a:xfrm>
            <a:off x="7660115" y="3360484"/>
            <a:ext cx="0" cy="227831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91F901AC-0283-4BF9-85F3-46B7CEF5A71C}"/>
              </a:ext>
            </a:extLst>
          </p:cNvPr>
          <p:cNvCxnSpPr>
            <a:cxnSpLocks/>
          </p:cNvCxnSpPr>
          <p:nvPr/>
        </p:nvCxnSpPr>
        <p:spPr>
          <a:xfrm>
            <a:off x="7660115" y="3725514"/>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C693F91B-634A-4B6F-B681-199D130AB636}"/>
              </a:ext>
            </a:extLst>
          </p:cNvPr>
          <p:cNvCxnSpPr>
            <a:cxnSpLocks/>
          </p:cNvCxnSpPr>
          <p:nvPr/>
        </p:nvCxnSpPr>
        <p:spPr>
          <a:xfrm>
            <a:off x="7660115" y="4356782"/>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DECAC0CF-DADE-4ED2-B968-F06231340946}"/>
              </a:ext>
            </a:extLst>
          </p:cNvPr>
          <p:cNvCxnSpPr>
            <a:cxnSpLocks/>
          </p:cNvCxnSpPr>
          <p:nvPr/>
        </p:nvCxnSpPr>
        <p:spPr>
          <a:xfrm>
            <a:off x="7660115" y="4978980"/>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907FAB75-6890-4C87-83B9-9A97A6842C00}"/>
              </a:ext>
            </a:extLst>
          </p:cNvPr>
          <p:cNvCxnSpPr>
            <a:cxnSpLocks/>
          </p:cNvCxnSpPr>
          <p:nvPr/>
        </p:nvCxnSpPr>
        <p:spPr>
          <a:xfrm>
            <a:off x="7657498" y="5628709"/>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94445B5-36B3-4664-A2F5-EF5AEA8E8A12}"/>
              </a:ext>
            </a:extLst>
          </p:cNvPr>
          <p:cNvCxnSpPr>
            <a:cxnSpLocks/>
          </p:cNvCxnSpPr>
          <p:nvPr/>
        </p:nvCxnSpPr>
        <p:spPr>
          <a:xfrm>
            <a:off x="10055122" y="3360484"/>
            <a:ext cx="0" cy="2278316"/>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D33F4900-09C9-4218-9F06-DC44EB974F70}"/>
              </a:ext>
            </a:extLst>
          </p:cNvPr>
          <p:cNvCxnSpPr>
            <a:cxnSpLocks/>
          </p:cNvCxnSpPr>
          <p:nvPr/>
        </p:nvCxnSpPr>
        <p:spPr>
          <a:xfrm>
            <a:off x="10055122" y="3725514"/>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9F02C306-8736-4D46-B2E1-BEEE0E9DF3DA}"/>
              </a:ext>
            </a:extLst>
          </p:cNvPr>
          <p:cNvCxnSpPr>
            <a:cxnSpLocks/>
          </p:cNvCxnSpPr>
          <p:nvPr/>
        </p:nvCxnSpPr>
        <p:spPr>
          <a:xfrm>
            <a:off x="10055122" y="4356782"/>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79812210-E2E8-4106-9957-56F82F397552}"/>
              </a:ext>
            </a:extLst>
          </p:cNvPr>
          <p:cNvCxnSpPr>
            <a:cxnSpLocks/>
          </p:cNvCxnSpPr>
          <p:nvPr/>
        </p:nvCxnSpPr>
        <p:spPr>
          <a:xfrm>
            <a:off x="10055122" y="4978980"/>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675724CE-D7CB-4084-991A-8F888FB0EC27}"/>
              </a:ext>
            </a:extLst>
          </p:cNvPr>
          <p:cNvCxnSpPr>
            <a:cxnSpLocks/>
          </p:cNvCxnSpPr>
          <p:nvPr/>
        </p:nvCxnSpPr>
        <p:spPr>
          <a:xfrm>
            <a:off x="10052505" y="5628709"/>
            <a:ext cx="120330" cy="0"/>
          </a:xfrm>
          <a:prstGeom prst="line">
            <a:avLst/>
          </a:prstGeom>
          <a:ln w="22225">
            <a:solidFill>
              <a:srgbClr val="F2F2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56500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F49EF74-1FA2-E34F-907D-A98BF34FF4FE}"/>
              </a:ext>
            </a:extLst>
          </p:cNvPr>
          <p:cNvSpPr>
            <a:spLocks noGrp="1"/>
          </p:cNvSpPr>
          <p:nvPr>
            <p:ph type="subTitle" idx="1"/>
          </p:nvPr>
        </p:nvSpPr>
        <p:spPr/>
        <p:txBody>
          <a:bodyPr/>
          <a:lstStyle/>
          <a:p>
            <a:endParaRPr lang="en-GB"/>
          </a:p>
        </p:txBody>
      </p:sp>
      <p:sp>
        <p:nvSpPr>
          <p:cNvPr id="3" name="Title 2">
            <a:extLst>
              <a:ext uri="{FF2B5EF4-FFF2-40B4-BE49-F238E27FC236}">
                <a16:creationId xmlns:a16="http://schemas.microsoft.com/office/drawing/2014/main" id="{331BA8D1-EE4B-F444-94C1-F2135D953765}"/>
              </a:ext>
            </a:extLst>
          </p:cNvPr>
          <p:cNvSpPr>
            <a:spLocks noGrp="1"/>
          </p:cNvSpPr>
          <p:nvPr>
            <p:ph type="ctrTitle"/>
          </p:nvPr>
        </p:nvSpPr>
        <p:spPr/>
        <p:txBody>
          <a:bodyPr/>
          <a:lstStyle/>
          <a:p>
            <a:r>
              <a:rPr lang="en-GB"/>
              <a:t>Illustration</a:t>
            </a:r>
          </a:p>
        </p:txBody>
      </p:sp>
    </p:spTree>
    <p:extLst>
      <p:ext uri="{BB962C8B-B14F-4D97-AF65-F5344CB8AC3E}">
        <p14:creationId xmlns:p14="http://schemas.microsoft.com/office/powerpoint/2010/main" val="142879002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27C1311E-9454-1245-8200-F78FAC93F74E}"/>
              </a:ext>
            </a:extLst>
          </p:cNvPr>
          <p:cNvGrpSpPr/>
          <p:nvPr/>
        </p:nvGrpSpPr>
        <p:grpSpPr>
          <a:xfrm>
            <a:off x="6637427" y="1802409"/>
            <a:ext cx="4671709" cy="3713154"/>
            <a:chOff x="4911162" y="1844826"/>
            <a:chExt cx="4671709" cy="3713154"/>
          </a:xfrm>
        </p:grpSpPr>
        <p:grpSp>
          <p:nvGrpSpPr>
            <p:cNvPr id="9" name="Group 8">
              <a:extLst>
                <a:ext uri="{FF2B5EF4-FFF2-40B4-BE49-F238E27FC236}">
                  <a16:creationId xmlns:a16="http://schemas.microsoft.com/office/drawing/2014/main" id="{D424D6AE-957A-FD47-A0C5-AEA68FDABE0B}"/>
                </a:ext>
              </a:extLst>
            </p:cNvPr>
            <p:cNvGrpSpPr/>
            <p:nvPr/>
          </p:nvGrpSpPr>
          <p:grpSpPr>
            <a:xfrm>
              <a:off x="4911162" y="2558485"/>
              <a:ext cx="3332582" cy="2999495"/>
              <a:chOff x="3203848" y="1779662"/>
              <a:chExt cx="3332582" cy="2999495"/>
            </a:xfrm>
            <a:solidFill>
              <a:schemeClr val="tx1">
                <a:lumMod val="75000"/>
                <a:lumOff val="25000"/>
              </a:schemeClr>
            </a:solidFill>
          </p:grpSpPr>
          <p:sp>
            <p:nvSpPr>
              <p:cNvPr id="10" name="Rectangle 9">
                <a:extLst>
                  <a:ext uri="{FF2B5EF4-FFF2-40B4-BE49-F238E27FC236}">
                    <a16:creationId xmlns:a16="http://schemas.microsoft.com/office/drawing/2014/main" id="{56E4E715-8340-034E-81D0-E9927221348D}"/>
                  </a:ext>
                </a:extLst>
              </p:cNvPr>
              <p:cNvSpPr/>
              <p:nvPr/>
            </p:nvSpPr>
            <p:spPr>
              <a:xfrm>
                <a:off x="3203848" y="1779662"/>
                <a:ext cx="108000" cy="2773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 name="Block Arc 10">
                <a:extLst>
                  <a:ext uri="{FF2B5EF4-FFF2-40B4-BE49-F238E27FC236}">
                    <a16:creationId xmlns:a16="http://schemas.microsoft.com/office/drawing/2014/main" id="{1D3CB39F-631B-BB42-9605-D6825523DDDE}"/>
                  </a:ext>
                </a:extLst>
              </p:cNvPr>
              <p:cNvSpPr/>
              <p:nvPr/>
            </p:nvSpPr>
            <p:spPr>
              <a:xfrm>
                <a:off x="320384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2" name="Rectangle 11">
                <a:extLst>
                  <a:ext uri="{FF2B5EF4-FFF2-40B4-BE49-F238E27FC236}">
                    <a16:creationId xmlns:a16="http://schemas.microsoft.com/office/drawing/2014/main" id="{1171947C-42A6-6B4C-B4A9-63C9813CE0B8}"/>
                  </a:ext>
                </a:extLst>
              </p:cNvPr>
              <p:cNvSpPr/>
              <p:nvPr/>
            </p:nvSpPr>
            <p:spPr>
              <a:xfrm>
                <a:off x="3425216" y="4671157"/>
                <a:ext cx="29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3" name="Block Arc 12">
                <a:extLst>
                  <a:ext uri="{FF2B5EF4-FFF2-40B4-BE49-F238E27FC236}">
                    <a16:creationId xmlns:a16="http://schemas.microsoft.com/office/drawing/2014/main" id="{05B06B1A-C232-874C-8838-0E09C6C36424}"/>
                  </a:ext>
                </a:extLst>
              </p:cNvPr>
              <p:cNvSpPr/>
              <p:nvPr/>
            </p:nvSpPr>
            <p:spPr>
              <a:xfrm rot="16200000">
                <a:off x="608416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Rectangle 13">
                <a:extLst>
                  <a:ext uri="{FF2B5EF4-FFF2-40B4-BE49-F238E27FC236}">
                    <a16:creationId xmlns:a16="http://schemas.microsoft.com/office/drawing/2014/main" id="{7F69AEDD-A0E9-8340-9362-8A7C380112DD}"/>
                  </a:ext>
                </a:extLst>
              </p:cNvPr>
              <p:cNvSpPr/>
              <p:nvPr/>
            </p:nvSpPr>
            <p:spPr>
              <a:xfrm>
                <a:off x="6428430" y="3989950"/>
                <a:ext cx="108000" cy="57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33" name="Group 32">
              <a:extLst>
                <a:ext uri="{FF2B5EF4-FFF2-40B4-BE49-F238E27FC236}">
                  <a16:creationId xmlns:a16="http://schemas.microsoft.com/office/drawing/2014/main" id="{AFD62B47-5633-C24C-90B7-A5345B43EBE2}"/>
                </a:ext>
              </a:extLst>
            </p:cNvPr>
            <p:cNvGrpSpPr/>
            <p:nvPr/>
          </p:nvGrpSpPr>
          <p:grpSpPr>
            <a:xfrm>
              <a:off x="6824822" y="1844826"/>
              <a:ext cx="2758049" cy="2928608"/>
              <a:chOff x="4848046" y="3681671"/>
              <a:chExt cx="2758049" cy="2928608"/>
            </a:xfrm>
          </p:grpSpPr>
          <p:sp>
            <p:nvSpPr>
              <p:cNvPr id="34" name="Teardrop 30">
                <a:extLst>
                  <a:ext uri="{FF2B5EF4-FFF2-40B4-BE49-F238E27FC236}">
                    <a16:creationId xmlns:a16="http://schemas.microsoft.com/office/drawing/2014/main" id="{D2AEEEF3-0814-B741-974E-9A617DBD2BCE}"/>
                  </a:ext>
                </a:extLst>
              </p:cNvPr>
              <p:cNvSpPr/>
              <p:nvPr/>
            </p:nvSpPr>
            <p:spPr>
              <a:xfrm rot="8100000">
                <a:off x="5417737" y="4225696"/>
                <a:ext cx="1602534" cy="1602536"/>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698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Rounded Rectangle 34">
                <a:extLst>
                  <a:ext uri="{FF2B5EF4-FFF2-40B4-BE49-F238E27FC236}">
                    <a16:creationId xmlns:a16="http://schemas.microsoft.com/office/drawing/2014/main" id="{DB1580D0-BDB2-A44A-B157-AD8FC5DA98BD}"/>
                  </a:ext>
                </a:extLst>
              </p:cNvPr>
              <p:cNvSpPr/>
              <p:nvPr/>
            </p:nvSpPr>
            <p:spPr>
              <a:xfrm>
                <a:off x="5903273" y="6071006"/>
                <a:ext cx="631463"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6" name="Rounded Rectangle 35">
                <a:extLst>
                  <a:ext uri="{FF2B5EF4-FFF2-40B4-BE49-F238E27FC236}">
                    <a16:creationId xmlns:a16="http://schemas.microsoft.com/office/drawing/2014/main" id="{835EDE81-198C-8E44-9E12-239ABD90026C}"/>
                  </a:ext>
                </a:extLst>
              </p:cNvPr>
              <p:cNvSpPr/>
              <p:nvPr/>
            </p:nvSpPr>
            <p:spPr>
              <a:xfrm>
                <a:off x="5929584" y="6274865"/>
                <a:ext cx="578841"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Rounded Rectangle 36">
                <a:extLst>
                  <a:ext uri="{FF2B5EF4-FFF2-40B4-BE49-F238E27FC236}">
                    <a16:creationId xmlns:a16="http://schemas.microsoft.com/office/drawing/2014/main" id="{233D42E1-D302-3046-A4AB-6756A4DF0E2F}"/>
                  </a:ext>
                </a:extLst>
              </p:cNvPr>
              <p:cNvSpPr/>
              <p:nvPr/>
            </p:nvSpPr>
            <p:spPr>
              <a:xfrm>
                <a:off x="5982205" y="6478724"/>
                <a:ext cx="473597"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Rounded Rectangle 37">
                <a:extLst>
                  <a:ext uri="{FF2B5EF4-FFF2-40B4-BE49-F238E27FC236}">
                    <a16:creationId xmlns:a16="http://schemas.microsoft.com/office/drawing/2014/main" id="{F869DF50-E2EE-4C43-8EFA-ABDFD3600C6F}"/>
                  </a:ext>
                </a:extLst>
              </p:cNvPr>
              <p:cNvSpPr/>
              <p:nvPr/>
            </p:nvSpPr>
            <p:spPr>
              <a:xfrm rot="2700000">
                <a:off x="7086448" y="4038815"/>
                <a:ext cx="144000" cy="360000"/>
              </a:xfrm>
              <a:prstGeom prst="roundRect">
                <a:avLst>
                  <a:gd name="adj" fmla="val 5000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9" name="Rounded Rectangle 38">
                <a:extLst>
                  <a:ext uri="{FF2B5EF4-FFF2-40B4-BE49-F238E27FC236}">
                    <a16:creationId xmlns:a16="http://schemas.microsoft.com/office/drawing/2014/main" id="{7B2217EB-CBC2-D145-9D7A-96E2EB0657BB}"/>
                  </a:ext>
                </a:extLst>
              </p:cNvPr>
              <p:cNvSpPr/>
              <p:nvPr/>
            </p:nvSpPr>
            <p:spPr>
              <a:xfrm rot="18900000" flipH="1">
                <a:off x="5218102" y="4038815"/>
                <a:ext cx="144000" cy="360000"/>
              </a:xfrm>
              <a:prstGeom prst="roundRect">
                <a:avLst>
                  <a:gd name="adj" fmla="val 5000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0" name="Rounded Rectangle 39">
                <a:extLst>
                  <a:ext uri="{FF2B5EF4-FFF2-40B4-BE49-F238E27FC236}">
                    <a16:creationId xmlns:a16="http://schemas.microsoft.com/office/drawing/2014/main" id="{F3D29D26-1385-3444-9D5E-E8832C2056E1}"/>
                  </a:ext>
                </a:extLst>
              </p:cNvPr>
              <p:cNvSpPr/>
              <p:nvPr/>
            </p:nvSpPr>
            <p:spPr>
              <a:xfrm>
                <a:off x="6155070" y="3681671"/>
                <a:ext cx="144000" cy="360000"/>
              </a:xfrm>
              <a:prstGeom prst="roundRect">
                <a:avLst>
                  <a:gd name="adj" fmla="val 5000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1" name="Rounded Rectangle 40">
                <a:extLst>
                  <a:ext uri="{FF2B5EF4-FFF2-40B4-BE49-F238E27FC236}">
                    <a16:creationId xmlns:a16="http://schemas.microsoft.com/office/drawing/2014/main" id="{DA8492AA-994B-D744-ABE1-CD3B51D9261F}"/>
                  </a:ext>
                </a:extLst>
              </p:cNvPr>
              <p:cNvSpPr/>
              <p:nvPr/>
            </p:nvSpPr>
            <p:spPr>
              <a:xfrm rot="5400000">
                <a:off x="7354095" y="4745637"/>
                <a:ext cx="144000" cy="360000"/>
              </a:xfrm>
              <a:prstGeom prst="roundRect">
                <a:avLst>
                  <a:gd name="adj" fmla="val 5000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2" name="Rounded Rectangle 41">
                <a:extLst>
                  <a:ext uri="{FF2B5EF4-FFF2-40B4-BE49-F238E27FC236}">
                    <a16:creationId xmlns:a16="http://schemas.microsoft.com/office/drawing/2014/main" id="{576F3E64-757C-8444-B406-CBC63B307466}"/>
                  </a:ext>
                </a:extLst>
              </p:cNvPr>
              <p:cNvSpPr/>
              <p:nvPr/>
            </p:nvSpPr>
            <p:spPr>
              <a:xfrm rot="16200000" flipH="1">
                <a:off x="4956046" y="4745638"/>
                <a:ext cx="144000" cy="360000"/>
              </a:xfrm>
              <a:prstGeom prst="roundRect">
                <a:avLst>
                  <a:gd name="adj" fmla="val 50000"/>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grpSp>
        <p:grpSp>
          <p:nvGrpSpPr>
            <p:cNvPr id="44" name="Group 43">
              <a:extLst>
                <a:ext uri="{FF2B5EF4-FFF2-40B4-BE49-F238E27FC236}">
                  <a16:creationId xmlns:a16="http://schemas.microsoft.com/office/drawing/2014/main" id="{7520095A-3841-AE45-8813-134255B17895}"/>
                </a:ext>
              </a:extLst>
            </p:cNvPr>
            <p:cNvGrpSpPr/>
            <p:nvPr/>
          </p:nvGrpSpPr>
          <p:grpSpPr>
            <a:xfrm>
              <a:off x="7752363" y="2493124"/>
              <a:ext cx="677334" cy="1442553"/>
              <a:chOff x="6777274" y="1831284"/>
              <a:chExt cx="552841" cy="1177414"/>
            </a:xfrm>
          </p:grpSpPr>
          <p:grpSp>
            <p:nvGrpSpPr>
              <p:cNvPr id="45" name="Group 44">
                <a:extLst>
                  <a:ext uri="{FF2B5EF4-FFF2-40B4-BE49-F238E27FC236}">
                    <a16:creationId xmlns:a16="http://schemas.microsoft.com/office/drawing/2014/main" id="{1E7BD72F-152F-7841-B216-3A5B419ABAEC}"/>
                  </a:ext>
                </a:extLst>
              </p:cNvPr>
              <p:cNvGrpSpPr/>
              <p:nvPr/>
            </p:nvGrpSpPr>
            <p:grpSpPr>
              <a:xfrm>
                <a:off x="6939980" y="1831284"/>
                <a:ext cx="385719" cy="718117"/>
                <a:chOff x="6783521" y="1654812"/>
                <a:chExt cx="726841" cy="1353205"/>
              </a:xfrm>
            </p:grpSpPr>
            <p:sp>
              <p:nvSpPr>
                <p:cNvPr id="47" name="Freeform 46">
                  <a:extLst>
                    <a:ext uri="{FF2B5EF4-FFF2-40B4-BE49-F238E27FC236}">
                      <a16:creationId xmlns:a16="http://schemas.microsoft.com/office/drawing/2014/main" id="{F6F0D228-4989-CD46-8A7E-F37271C29690}"/>
                    </a:ext>
                  </a:extLst>
                </p:cNvPr>
                <p:cNvSpPr/>
                <p:nvPr/>
              </p:nvSpPr>
              <p:spPr>
                <a:xfrm>
                  <a:off x="6783521" y="1886618"/>
                  <a:ext cx="726841" cy="1121399"/>
                </a:xfrm>
                <a:custGeom>
                  <a:avLst/>
                  <a:gdLst/>
                  <a:ahLst/>
                  <a:cxnLst/>
                  <a:rect l="l" t="t" r="r" b="b"/>
                  <a:pathLst>
                    <a:path w="726841" h="1121399">
                      <a:moveTo>
                        <a:pt x="236325" y="1049494"/>
                      </a:moveTo>
                      <a:lnTo>
                        <a:pt x="495287" y="1049494"/>
                      </a:lnTo>
                      <a:cubicBezTo>
                        <a:pt x="491080" y="1064561"/>
                        <a:pt x="487966" y="1079199"/>
                        <a:pt x="485273" y="1093187"/>
                      </a:cubicBezTo>
                      <a:lnTo>
                        <a:pt x="245258" y="1092728"/>
                      </a:lnTo>
                      <a:close/>
                      <a:moveTo>
                        <a:pt x="363421" y="203844"/>
                      </a:moveTo>
                      <a:cubicBezTo>
                        <a:pt x="401307" y="203844"/>
                        <a:pt x="432020" y="234557"/>
                        <a:pt x="432020" y="272443"/>
                      </a:cubicBezTo>
                      <a:cubicBezTo>
                        <a:pt x="432020" y="310329"/>
                        <a:pt x="401307" y="341042"/>
                        <a:pt x="363421" y="341042"/>
                      </a:cubicBezTo>
                      <a:cubicBezTo>
                        <a:pt x="325534" y="341042"/>
                        <a:pt x="294821" y="310329"/>
                        <a:pt x="294821" y="272443"/>
                      </a:cubicBezTo>
                      <a:cubicBezTo>
                        <a:pt x="294821" y="234557"/>
                        <a:pt x="325534" y="203844"/>
                        <a:pt x="363421" y="203844"/>
                      </a:cubicBezTo>
                      <a:close/>
                      <a:moveTo>
                        <a:pt x="363421" y="135244"/>
                      </a:moveTo>
                      <a:cubicBezTo>
                        <a:pt x="287648" y="135244"/>
                        <a:pt x="226222" y="196671"/>
                        <a:pt x="226222" y="272443"/>
                      </a:cubicBezTo>
                      <a:cubicBezTo>
                        <a:pt x="226222" y="348216"/>
                        <a:pt x="287648" y="409642"/>
                        <a:pt x="363421" y="409642"/>
                      </a:cubicBezTo>
                      <a:cubicBezTo>
                        <a:pt x="439193" y="409642"/>
                        <a:pt x="500619" y="348216"/>
                        <a:pt x="500619" y="272443"/>
                      </a:cubicBezTo>
                      <a:cubicBezTo>
                        <a:pt x="500619" y="196671"/>
                        <a:pt x="439193" y="135244"/>
                        <a:pt x="363421" y="135244"/>
                      </a:cubicBezTo>
                      <a:close/>
                      <a:moveTo>
                        <a:pt x="196200" y="0"/>
                      </a:moveTo>
                      <a:cubicBezTo>
                        <a:pt x="300307" y="58658"/>
                        <a:pt x="427219" y="59450"/>
                        <a:pt x="531959" y="2129"/>
                      </a:cubicBezTo>
                      <a:cubicBezTo>
                        <a:pt x="645195" y="251105"/>
                        <a:pt x="615578" y="521951"/>
                        <a:pt x="565642" y="749813"/>
                      </a:cubicBezTo>
                      <a:lnTo>
                        <a:pt x="726841" y="904479"/>
                      </a:lnTo>
                      <a:lnTo>
                        <a:pt x="700460" y="1113326"/>
                      </a:lnTo>
                      <a:lnTo>
                        <a:pt x="510728" y="982128"/>
                      </a:lnTo>
                      <a:lnTo>
                        <a:pt x="503274" y="1014651"/>
                      </a:lnTo>
                      <a:lnTo>
                        <a:pt x="228241" y="1014651"/>
                      </a:lnTo>
                      <a:cubicBezTo>
                        <a:pt x="226194" y="1005458"/>
                        <a:pt x="223902" y="996068"/>
                        <a:pt x="221524" y="986461"/>
                      </a:cubicBezTo>
                      <a:lnTo>
                        <a:pt x="26381" y="1121399"/>
                      </a:lnTo>
                      <a:lnTo>
                        <a:pt x="0" y="912552"/>
                      </a:lnTo>
                      <a:lnTo>
                        <a:pt x="162681" y="756465"/>
                      </a:lnTo>
                      <a:lnTo>
                        <a:pt x="163137" y="757906"/>
                      </a:lnTo>
                      <a:lnTo>
                        <a:pt x="165881" y="748957"/>
                      </a:lnTo>
                      <a:cubicBezTo>
                        <a:pt x="117348" y="521774"/>
                        <a:pt x="87568" y="246912"/>
                        <a:pt x="196200"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8" name="Freeform 47">
                  <a:extLst>
                    <a:ext uri="{FF2B5EF4-FFF2-40B4-BE49-F238E27FC236}">
                      <a16:creationId xmlns:a16="http://schemas.microsoft.com/office/drawing/2014/main" id="{189673A3-9600-1B47-A680-522CA24E540F}"/>
                    </a:ext>
                  </a:extLst>
                </p:cNvPr>
                <p:cNvSpPr/>
                <p:nvPr/>
              </p:nvSpPr>
              <p:spPr>
                <a:xfrm>
                  <a:off x="6997804" y="1654812"/>
                  <a:ext cx="298274" cy="244742"/>
                </a:xfrm>
                <a:custGeom>
                  <a:avLst/>
                  <a:gdLst/>
                  <a:ahLst/>
                  <a:cxnLst/>
                  <a:rect l="l" t="t" r="r" b="b"/>
                  <a:pathLst>
                    <a:path w="298274" h="244742">
                      <a:moveTo>
                        <a:pt x="147328" y="0"/>
                      </a:moveTo>
                      <a:cubicBezTo>
                        <a:pt x="212319" y="65590"/>
                        <a:pt x="261867" y="134854"/>
                        <a:pt x="298274" y="206570"/>
                      </a:cubicBezTo>
                      <a:cubicBezTo>
                        <a:pt x="205418" y="258299"/>
                        <a:pt x="92251" y="257374"/>
                        <a:pt x="0" y="204273"/>
                      </a:cubicBezTo>
                      <a:cubicBezTo>
                        <a:pt x="35363" y="132633"/>
                        <a:pt x="83678" y="64016"/>
                        <a:pt x="14732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46" name="Freeform 45">
                <a:extLst>
                  <a:ext uri="{FF2B5EF4-FFF2-40B4-BE49-F238E27FC236}">
                    <a16:creationId xmlns:a16="http://schemas.microsoft.com/office/drawing/2014/main" id="{D78E7B8E-A666-3347-A848-4064E2178A3F}"/>
                  </a:ext>
                </a:extLst>
              </p:cNvPr>
              <p:cNvSpPr/>
              <p:nvPr/>
            </p:nvSpPr>
            <p:spPr>
              <a:xfrm>
                <a:off x="6777274" y="2572267"/>
                <a:ext cx="552841" cy="436431"/>
              </a:xfrm>
              <a:custGeom>
                <a:avLst/>
                <a:gdLst/>
                <a:ahLst/>
                <a:cxnLst/>
                <a:rect l="l" t="t" r="r" b="b"/>
                <a:pathLst>
                  <a:path w="935319" h="738371">
                    <a:moveTo>
                      <a:pt x="570246" y="5904"/>
                    </a:moveTo>
                    <a:cubicBezTo>
                      <a:pt x="462283" y="64891"/>
                      <a:pt x="426421" y="317189"/>
                      <a:pt x="649701" y="474399"/>
                    </a:cubicBezTo>
                    <a:cubicBezTo>
                      <a:pt x="593836" y="327977"/>
                      <a:pt x="630970" y="255746"/>
                      <a:pt x="667057" y="182470"/>
                    </a:cubicBezTo>
                    <a:cubicBezTo>
                      <a:pt x="667659" y="219721"/>
                      <a:pt x="629598" y="299814"/>
                      <a:pt x="723199" y="346469"/>
                    </a:cubicBezTo>
                    <a:cubicBezTo>
                      <a:pt x="679394" y="206128"/>
                      <a:pt x="864427" y="161920"/>
                      <a:pt x="670152" y="6949"/>
                    </a:cubicBezTo>
                    <a:cubicBezTo>
                      <a:pt x="951156" y="47548"/>
                      <a:pt x="868526" y="190548"/>
                      <a:pt x="935319" y="334595"/>
                    </a:cubicBezTo>
                    <a:cubicBezTo>
                      <a:pt x="886447" y="343095"/>
                      <a:pt x="815632" y="212619"/>
                      <a:pt x="831546" y="274410"/>
                    </a:cubicBezTo>
                    <a:cubicBezTo>
                      <a:pt x="915063" y="518579"/>
                      <a:pt x="665249" y="525551"/>
                      <a:pt x="744586" y="738371"/>
                    </a:cubicBezTo>
                    <a:cubicBezTo>
                      <a:pt x="498005" y="724435"/>
                      <a:pt x="570128" y="495242"/>
                      <a:pt x="454164" y="439509"/>
                    </a:cubicBezTo>
                    <a:cubicBezTo>
                      <a:pt x="422689" y="433882"/>
                      <a:pt x="384944" y="459601"/>
                      <a:pt x="454829" y="574141"/>
                    </a:cubicBezTo>
                    <a:cubicBezTo>
                      <a:pt x="47812" y="270832"/>
                      <a:pt x="333584" y="22904"/>
                      <a:pt x="570246" y="5904"/>
                    </a:cubicBezTo>
                    <a:close/>
                    <a:moveTo>
                      <a:pt x="0" y="0"/>
                    </a:moveTo>
                    <a:lnTo>
                      <a:pt x="9284" y="0"/>
                    </a:lnTo>
                    <a:lnTo>
                      <a:pt x="746" y="5904"/>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sp>
        <p:nvSpPr>
          <p:cNvPr id="2" name="Slide Number Placeholder 1">
            <a:extLst>
              <a:ext uri="{FF2B5EF4-FFF2-40B4-BE49-F238E27FC236}">
                <a16:creationId xmlns:a16="http://schemas.microsoft.com/office/drawing/2014/main" id="{A61C850C-D734-AC4A-982A-DFFB1919FD82}"/>
              </a:ext>
            </a:extLst>
          </p:cNvPr>
          <p:cNvSpPr>
            <a:spLocks noGrp="1"/>
          </p:cNvSpPr>
          <p:nvPr>
            <p:ph type="sldNum" sz="quarter" idx="4"/>
          </p:nvPr>
        </p:nvSpPr>
        <p:spPr/>
        <p:txBody>
          <a:bodyPr/>
          <a:lstStyle/>
          <a:p>
            <a:fld id="{3D966009-6E5A-4F8C-8CA7-E37AFBF5FB92}" type="slidenum">
              <a:rPr lang="en-US" smtClean="0"/>
              <a:t>94</a:t>
            </a:fld>
            <a:endParaRPr lang="en-US"/>
          </a:p>
        </p:txBody>
      </p:sp>
      <p:sp>
        <p:nvSpPr>
          <p:cNvPr id="3" name="Title 2">
            <a:extLst>
              <a:ext uri="{FF2B5EF4-FFF2-40B4-BE49-F238E27FC236}">
                <a16:creationId xmlns:a16="http://schemas.microsoft.com/office/drawing/2014/main" id="{36573CEF-8B61-FF42-AADF-69177CEDB714}"/>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56E9BCEA-D6E1-F942-AC27-7A89B12C5451}"/>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1752FD1D-C046-6B46-AE33-503D24C6D113}"/>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4D06858F-FF86-954C-9F9C-10D00BB188D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965751BA-D1F8-FC43-9E14-7CC5A764512A}"/>
              </a:ext>
            </a:extLst>
          </p:cNvPr>
          <p:cNvSpPr>
            <a:spLocks noGrp="1"/>
          </p:cNvSpPr>
          <p:nvPr>
            <p:ph sz="quarter" idx="14"/>
          </p:nvPr>
        </p:nvSpPr>
        <p:spPr/>
        <p:txBody>
          <a:bodyPr/>
          <a:lstStyle/>
          <a:p>
            <a:endParaRPr lang="en-GB"/>
          </a:p>
        </p:txBody>
      </p:sp>
      <p:grpSp>
        <p:nvGrpSpPr>
          <p:cNvPr id="5" name="Group 4">
            <a:extLst>
              <a:ext uri="{FF2B5EF4-FFF2-40B4-BE49-F238E27FC236}">
                <a16:creationId xmlns:a16="http://schemas.microsoft.com/office/drawing/2014/main" id="{A7D322CB-7D2F-0643-A16E-6E54FBE5D273}"/>
              </a:ext>
            </a:extLst>
          </p:cNvPr>
          <p:cNvGrpSpPr/>
          <p:nvPr/>
        </p:nvGrpSpPr>
        <p:grpSpPr>
          <a:xfrm>
            <a:off x="365114" y="2423509"/>
            <a:ext cx="5702758" cy="2880320"/>
            <a:chOff x="1742810" y="2423509"/>
            <a:chExt cx="5702758" cy="2880320"/>
          </a:xfrm>
        </p:grpSpPr>
        <p:sp>
          <p:nvSpPr>
            <p:cNvPr id="15" name="Rectangle 14">
              <a:extLst>
                <a:ext uri="{FF2B5EF4-FFF2-40B4-BE49-F238E27FC236}">
                  <a16:creationId xmlns:a16="http://schemas.microsoft.com/office/drawing/2014/main" id="{E2EDBB02-77DB-C049-91C9-4BBBF32EB84C}"/>
                </a:ext>
              </a:extLst>
            </p:cNvPr>
            <p:cNvSpPr/>
            <p:nvPr/>
          </p:nvSpPr>
          <p:spPr>
            <a:xfrm>
              <a:off x="1742810" y="2423509"/>
              <a:ext cx="5694374" cy="902054"/>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Rectangle 15">
              <a:extLst>
                <a:ext uri="{FF2B5EF4-FFF2-40B4-BE49-F238E27FC236}">
                  <a16:creationId xmlns:a16="http://schemas.microsoft.com/office/drawing/2014/main" id="{9453AD14-AC4D-D444-8456-4664E19B2B4E}"/>
                </a:ext>
              </a:extLst>
            </p:cNvPr>
            <p:cNvSpPr/>
            <p:nvPr/>
          </p:nvSpPr>
          <p:spPr>
            <a:xfrm>
              <a:off x="1848931" y="2532536"/>
              <a:ext cx="540000" cy="68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17" name="Group 16">
              <a:extLst>
                <a:ext uri="{FF2B5EF4-FFF2-40B4-BE49-F238E27FC236}">
                  <a16:creationId xmlns:a16="http://schemas.microsoft.com/office/drawing/2014/main" id="{47D11BA0-2A60-6045-8B11-E0D8FE149F0E}"/>
                </a:ext>
              </a:extLst>
            </p:cNvPr>
            <p:cNvGrpSpPr/>
            <p:nvPr/>
          </p:nvGrpSpPr>
          <p:grpSpPr>
            <a:xfrm>
              <a:off x="2484836" y="2535190"/>
              <a:ext cx="2878588" cy="678692"/>
              <a:chOff x="803640" y="3362835"/>
              <a:chExt cx="2059657" cy="678692"/>
            </a:xfrm>
          </p:grpSpPr>
          <p:sp>
            <p:nvSpPr>
              <p:cNvPr id="18" name="TextBox 17">
                <a:extLst>
                  <a:ext uri="{FF2B5EF4-FFF2-40B4-BE49-F238E27FC236}">
                    <a16:creationId xmlns:a16="http://schemas.microsoft.com/office/drawing/2014/main" id="{EE20635B-6C3C-7149-A49C-FE3A692ECC1C}"/>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a:t>
                </a:r>
                <a:endParaRPr lang="ko-KR" altLang="en-US" sz="1200">
                  <a:solidFill>
                    <a:schemeClr val="bg1"/>
                  </a:solidFill>
                  <a:cs typeface="Arial" pitchFamily="34" charset="0"/>
                </a:endParaRPr>
              </a:p>
            </p:txBody>
          </p:sp>
          <p:sp>
            <p:nvSpPr>
              <p:cNvPr id="19" name="TextBox 18">
                <a:extLst>
                  <a:ext uri="{FF2B5EF4-FFF2-40B4-BE49-F238E27FC236}">
                    <a16:creationId xmlns:a16="http://schemas.microsoft.com/office/drawing/2014/main" id="{95577C03-E315-2943-99DA-05099DB615FF}"/>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sp>
          <p:nvSpPr>
            <p:cNvPr id="20" name="TextBox 19">
              <a:extLst>
                <a:ext uri="{FF2B5EF4-FFF2-40B4-BE49-F238E27FC236}">
                  <a16:creationId xmlns:a16="http://schemas.microsoft.com/office/drawing/2014/main" id="{689B23F4-6F68-4846-9D59-FB47355BA901}"/>
                </a:ext>
              </a:extLst>
            </p:cNvPr>
            <p:cNvSpPr txBox="1"/>
            <p:nvPr/>
          </p:nvSpPr>
          <p:spPr>
            <a:xfrm>
              <a:off x="1886277" y="2674481"/>
              <a:ext cx="470000" cy="400110"/>
            </a:xfrm>
            <a:prstGeom prst="rect">
              <a:avLst/>
            </a:prstGeom>
            <a:noFill/>
          </p:spPr>
          <p:txBody>
            <a:bodyPr wrap="none" rtlCol="0">
              <a:spAutoFit/>
            </a:bodyPr>
            <a:lstStyle/>
            <a:p>
              <a:pPr algn="r"/>
              <a:r>
                <a:rPr lang="en-US" altLang="ko-KR" sz="2000" b="1">
                  <a:solidFill>
                    <a:srgbClr val="8D8EA7"/>
                  </a:solidFill>
                  <a:latin typeface="Arial" pitchFamily="34" charset="0"/>
                  <a:cs typeface="Arial" pitchFamily="34" charset="0"/>
                </a:rPr>
                <a:t>01</a:t>
              </a:r>
              <a:endParaRPr lang="ko-KR" altLang="en-US" sz="2000" b="1">
                <a:solidFill>
                  <a:srgbClr val="8D8EA7"/>
                </a:solidFill>
                <a:latin typeface="Arial" pitchFamily="34" charset="0"/>
                <a:cs typeface="Arial" pitchFamily="34" charset="0"/>
              </a:endParaRPr>
            </a:p>
          </p:txBody>
        </p:sp>
        <p:sp>
          <p:nvSpPr>
            <p:cNvPr id="21" name="Rectangle 20">
              <a:extLst>
                <a:ext uri="{FF2B5EF4-FFF2-40B4-BE49-F238E27FC236}">
                  <a16:creationId xmlns:a16="http://schemas.microsoft.com/office/drawing/2014/main" id="{C55DFAA3-4BAA-624B-89C0-01B0ED184E86}"/>
                </a:ext>
              </a:extLst>
            </p:cNvPr>
            <p:cNvSpPr/>
            <p:nvPr/>
          </p:nvSpPr>
          <p:spPr>
            <a:xfrm>
              <a:off x="1751194" y="3407151"/>
              <a:ext cx="5694374" cy="902054"/>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2" name="Rectangle 21">
              <a:extLst>
                <a:ext uri="{FF2B5EF4-FFF2-40B4-BE49-F238E27FC236}">
                  <a16:creationId xmlns:a16="http://schemas.microsoft.com/office/drawing/2014/main" id="{D1D11F05-C846-6A4B-93B6-865A7EA9FA2E}"/>
                </a:ext>
              </a:extLst>
            </p:cNvPr>
            <p:cNvSpPr/>
            <p:nvPr/>
          </p:nvSpPr>
          <p:spPr>
            <a:xfrm>
              <a:off x="1857315" y="3516178"/>
              <a:ext cx="544693" cy="68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23" name="Group 22">
              <a:extLst>
                <a:ext uri="{FF2B5EF4-FFF2-40B4-BE49-F238E27FC236}">
                  <a16:creationId xmlns:a16="http://schemas.microsoft.com/office/drawing/2014/main" id="{F566FFED-8F73-AB40-A290-246A5121157B}"/>
                </a:ext>
              </a:extLst>
            </p:cNvPr>
            <p:cNvGrpSpPr/>
            <p:nvPr/>
          </p:nvGrpSpPr>
          <p:grpSpPr>
            <a:xfrm>
              <a:off x="2493220" y="3518832"/>
              <a:ext cx="2878588" cy="678692"/>
              <a:chOff x="803640" y="3362835"/>
              <a:chExt cx="2059657" cy="678692"/>
            </a:xfrm>
          </p:grpSpPr>
          <p:sp>
            <p:nvSpPr>
              <p:cNvPr id="24" name="TextBox 23">
                <a:extLst>
                  <a:ext uri="{FF2B5EF4-FFF2-40B4-BE49-F238E27FC236}">
                    <a16:creationId xmlns:a16="http://schemas.microsoft.com/office/drawing/2014/main" id="{4663ABEB-7AC1-E54B-AB28-CC77E570E032}"/>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a:t>
                </a:r>
                <a:endParaRPr lang="ko-KR" altLang="en-US" sz="1200">
                  <a:solidFill>
                    <a:schemeClr val="bg1"/>
                  </a:solidFill>
                  <a:cs typeface="Arial" pitchFamily="34" charset="0"/>
                </a:endParaRPr>
              </a:p>
            </p:txBody>
          </p:sp>
          <p:sp>
            <p:nvSpPr>
              <p:cNvPr id="25" name="TextBox 24">
                <a:extLst>
                  <a:ext uri="{FF2B5EF4-FFF2-40B4-BE49-F238E27FC236}">
                    <a16:creationId xmlns:a16="http://schemas.microsoft.com/office/drawing/2014/main" id="{8F3A633C-3720-D648-A814-2E1F86317242}"/>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sp>
          <p:nvSpPr>
            <p:cNvPr id="26" name="TextBox 25">
              <a:extLst>
                <a:ext uri="{FF2B5EF4-FFF2-40B4-BE49-F238E27FC236}">
                  <a16:creationId xmlns:a16="http://schemas.microsoft.com/office/drawing/2014/main" id="{BBBA4108-549A-7A41-8AC2-0920EBE509F9}"/>
                </a:ext>
              </a:extLst>
            </p:cNvPr>
            <p:cNvSpPr txBox="1"/>
            <p:nvPr/>
          </p:nvSpPr>
          <p:spPr>
            <a:xfrm>
              <a:off x="1894661" y="3658123"/>
              <a:ext cx="470000" cy="400110"/>
            </a:xfrm>
            <a:prstGeom prst="rect">
              <a:avLst/>
            </a:prstGeom>
            <a:noFill/>
          </p:spPr>
          <p:txBody>
            <a:bodyPr wrap="none" rtlCol="0">
              <a:spAutoFit/>
            </a:bodyPr>
            <a:lstStyle/>
            <a:p>
              <a:pPr algn="r"/>
              <a:r>
                <a:rPr lang="en-US" altLang="ko-KR" sz="2000" b="1">
                  <a:solidFill>
                    <a:srgbClr val="8D8EA7"/>
                  </a:solidFill>
                  <a:latin typeface="Arial" pitchFamily="34" charset="0"/>
                  <a:cs typeface="Arial" pitchFamily="34" charset="0"/>
                </a:rPr>
                <a:t>02</a:t>
              </a:r>
              <a:endParaRPr lang="ko-KR" altLang="en-US" sz="2000" b="1">
                <a:solidFill>
                  <a:srgbClr val="8D8EA7"/>
                </a:solidFill>
                <a:latin typeface="Arial" pitchFamily="34" charset="0"/>
                <a:cs typeface="Arial" pitchFamily="34" charset="0"/>
              </a:endParaRPr>
            </a:p>
          </p:txBody>
        </p:sp>
        <p:sp>
          <p:nvSpPr>
            <p:cNvPr id="27" name="Rectangle 26">
              <a:extLst>
                <a:ext uri="{FF2B5EF4-FFF2-40B4-BE49-F238E27FC236}">
                  <a16:creationId xmlns:a16="http://schemas.microsoft.com/office/drawing/2014/main" id="{F756A2DB-3B87-4240-A686-3FBC05D1D291}"/>
                </a:ext>
              </a:extLst>
            </p:cNvPr>
            <p:cNvSpPr/>
            <p:nvPr/>
          </p:nvSpPr>
          <p:spPr>
            <a:xfrm>
              <a:off x="1759577" y="4401775"/>
              <a:ext cx="5681595" cy="902054"/>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8" name="Rectangle 27">
              <a:extLst>
                <a:ext uri="{FF2B5EF4-FFF2-40B4-BE49-F238E27FC236}">
                  <a16:creationId xmlns:a16="http://schemas.microsoft.com/office/drawing/2014/main" id="{864EEF69-A964-6541-BFE9-D7C30A1B1BBF}"/>
                </a:ext>
              </a:extLst>
            </p:cNvPr>
            <p:cNvSpPr/>
            <p:nvPr/>
          </p:nvSpPr>
          <p:spPr>
            <a:xfrm>
              <a:off x="1865699" y="4510802"/>
              <a:ext cx="544693" cy="68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29" name="Group 28">
              <a:extLst>
                <a:ext uri="{FF2B5EF4-FFF2-40B4-BE49-F238E27FC236}">
                  <a16:creationId xmlns:a16="http://schemas.microsoft.com/office/drawing/2014/main" id="{74B851A7-3975-9F47-9CCB-11D07DD2C1C6}"/>
                </a:ext>
              </a:extLst>
            </p:cNvPr>
            <p:cNvGrpSpPr/>
            <p:nvPr/>
          </p:nvGrpSpPr>
          <p:grpSpPr>
            <a:xfrm>
              <a:off x="2501604" y="4513456"/>
              <a:ext cx="2878588" cy="678692"/>
              <a:chOff x="803640" y="3362835"/>
              <a:chExt cx="2059657" cy="678692"/>
            </a:xfrm>
          </p:grpSpPr>
          <p:sp>
            <p:nvSpPr>
              <p:cNvPr id="30" name="TextBox 29">
                <a:extLst>
                  <a:ext uri="{FF2B5EF4-FFF2-40B4-BE49-F238E27FC236}">
                    <a16:creationId xmlns:a16="http://schemas.microsoft.com/office/drawing/2014/main" id="{3020CC4F-BCFA-AC49-B007-9762A0F8D186}"/>
                  </a:ext>
                </a:extLst>
              </p:cNvPr>
              <p:cNvSpPr txBox="1"/>
              <p:nvPr/>
            </p:nvSpPr>
            <p:spPr>
              <a:xfrm>
                <a:off x="803640" y="3579862"/>
                <a:ext cx="2059657" cy="461665"/>
              </a:xfrm>
              <a:prstGeom prst="rect">
                <a:avLst/>
              </a:prstGeom>
              <a:noFill/>
            </p:spPr>
            <p:txBody>
              <a:bodyPr wrap="square" rtlCol="0">
                <a:spAutoFit/>
              </a:bodyPr>
              <a:lstStyle/>
              <a:p>
                <a:r>
                  <a:rPr lang="en-US" altLang="ko-KR" sz="1200">
                    <a:solidFill>
                      <a:schemeClr val="bg1"/>
                    </a:solidFill>
                    <a:cs typeface="Arial" pitchFamily="34" charset="0"/>
                  </a:rPr>
                  <a:t>You can simply impress your audience and add a unique zing.</a:t>
                </a:r>
                <a:endParaRPr lang="ko-KR" altLang="en-US" sz="1200">
                  <a:solidFill>
                    <a:schemeClr val="bg1"/>
                  </a:solidFill>
                  <a:cs typeface="Arial" pitchFamily="34" charset="0"/>
                </a:endParaRPr>
              </a:p>
            </p:txBody>
          </p:sp>
          <p:sp>
            <p:nvSpPr>
              <p:cNvPr id="31" name="TextBox 30">
                <a:extLst>
                  <a:ext uri="{FF2B5EF4-FFF2-40B4-BE49-F238E27FC236}">
                    <a16:creationId xmlns:a16="http://schemas.microsoft.com/office/drawing/2014/main" id="{1C7A0D8A-F84D-9246-A6EF-0B7ED2D542CD}"/>
                  </a:ext>
                </a:extLst>
              </p:cNvPr>
              <p:cNvSpPr txBox="1"/>
              <p:nvPr/>
            </p:nvSpPr>
            <p:spPr>
              <a:xfrm>
                <a:off x="803640" y="3362835"/>
                <a:ext cx="2059657" cy="276999"/>
              </a:xfrm>
              <a:prstGeom prst="rect">
                <a:avLst/>
              </a:prstGeom>
              <a:noFill/>
            </p:spPr>
            <p:txBody>
              <a:bodyPr wrap="square" rtlCol="0">
                <a:spAutoFit/>
              </a:bodyPr>
              <a:lstStyle/>
              <a:p>
                <a:r>
                  <a:rPr lang="en-US" altLang="ko-KR" sz="1200" b="1">
                    <a:solidFill>
                      <a:schemeClr val="bg1"/>
                    </a:solidFill>
                    <a:cs typeface="Arial" pitchFamily="34" charset="0"/>
                  </a:rPr>
                  <a:t>Your Text  Here</a:t>
                </a:r>
                <a:endParaRPr lang="ko-KR" altLang="en-US" sz="1200" b="1">
                  <a:solidFill>
                    <a:schemeClr val="bg1"/>
                  </a:solidFill>
                  <a:cs typeface="Arial" pitchFamily="34" charset="0"/>
                </a:endParaRPr>
              </a:p>
            </p:txBody>
          </p:sp>
        </p:grpSp>
        <p:sp>
          <p:nvSpPr>
            <p:cNvPr id="32" name="TextBox 31">
              <a:extLst>
                <a:ext uri="{FF2B5EF4-FFF2-40B4-BE49-F238E27FC236}">
                  <a16:creationId xmlns:a16="http://schemas.microsoft.com/office/drawing/2014/main" id="{28BB1565-0460-004A-993F-03127043ED68}"/>
                </a:ext>
              </a:extLst>
            </p:cNvPr>
            <p:cNvSpPr txBox="1"/>
            <p:nvPr/>
          </p:nvSpPr>
          <p:spPr>
            <a:xfrm>
              <a:off x="1903045" y="4652747"/>
              <a:ext cx="470000" cy="400110"/>
            </a:xfrm>
            <a:prstGeom prst="rect">
              <a:avLst/>
            </a:prstGeom>
            <a:noFill/>
          </p:spPr>
          <p:txBody>
            <a:bodyPr wrap="none" rtlCol="0">
              <a:spAutoFit/>
            </a:bodyPr>
            <a:lstStyle/>
            <a:p>
              <a:pPr algn="r"/>
              <a:r>
                <a:rPr lang="en-US" altLang="ko-KR" sz="2000" b="1">
                  <a:solidFill>
                    <a:srgbClr val="8D8EA7"/>
                  </a:solidFill>
                  <a:latin typeface="Arial" pitchFamily="34" charset="0"/>
                  <a:cs typeface="Arial" pitchFamily="34" charset="0"/>
                </a:rPr>
                <a:t>03</a:t>
              </a:r>
              <a:endParaRPr lang="ko-KR" altLang="en-US" sz="2000" b="1">
                <a:solidFill>
                  <a:srgbClr val="8D8EA7"/>
                </a:solidFill>
                <a:latin typeface="Arial" pitchFamily="34" charset="0"/>
                <a:cs typeface="Arial" pitchFamily="34" charset="0"/>
              </a:endParaRPr>
            </a:p>
          </p:txBody>
        </p:sp>
      </p:grpSp>
      <p:sp>
        <p:nvSpPr>
          <p:cNvPr id="43" name="TextBox 42">
            <a:extLst>
              <a:ext uri="{FF2B5EF4-FFF2-40B4-BE49-F238E27FC236}">
                <a16:creationId xmlns:a16="http://schemas.microsoft.com/office/drawing/2014/main" id="{890E528B-3708-6449-B196-7F80CA94A0C4}"/>
              </a:ext>
            </a:extLst>
          </p:cNvPr>
          <p:cNvSpPr txBox="1"/>
          <p:nvPr/>
        </p:nvSpPr>
        <p:spPr>
          <a:xfrm>
            <a:off x="6104392" y="5050262"/>
            <a:ext cx="2100677" cy="369332"/>
          </a:xfrm>
          <a:prstGeom prst="rect">
            <a:avLst/>
          </a:prstGeom>
          <a:noFill/>
        </p:spPr>
        <p:txBody>
          <a:bodyPr wrap="square" rtlCol="0">
            <a:spAutoFit/>
          </a:bodyPr>
          <a:lstStyle/>
          <a:p>
            <a:pPr algn="ctr"/>
            <a:r>
              <a:rPr lang="en-US" altLang="ko-KR" b="1">
                <a:solidFill>
                  <a:schemeClr val="tx1">
                    <a:lumMod val="75000"/>
                    <a:lumOff val="25000"/>
                  </a:schemeClr>
                </a:solidFill>
                <a:cs typeface="Arial" pitchFamily="34" charset="0"/>
              </a:rPr>
              <a:t>Your Text  Here</a:t>
            </a:r>
            <a:endParaRPr lang="ko-KR" altLang="en-US" b="1">
              <a:solidFill>
                <a:schemeClr val="tx1">
                  <a:lumMod val="75000"/>
                  <a:lumOff val="25000"/>
                </a:schemeClr>
              </a:solidFill>
              <a:cs typeface="Arial" pitchFamily="34" charset="0"/>
            </a:endParaRPr>
          </a:p>
        </p:txBody>
      </p:sp>
    </p:spTree>
    <p:extLst>
      <p:ext uri="{BB962C8B-B14F-4D97-AF65-F5344CB8AC3E}">
        <p14:creationId xmlns:p14="http://schemas.microsoft.com/office/powerpoint/2010/main" val="17998842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EBA44F-AF1C-BA46-AF45-F5E6D457BD42}"/>
              </a:ext>
            </a:extLst>
          </p:cNvPr>
          <p:cNvGraphicFramePr>
            <a:graphicFrameLocks noChangeAspect="1"/>
          </p:cNvGraphicFramePr>
          <p:nvPr>
            <p:custDataLst>
              <p:tags r:id="rId1"/>
            </p:custDataLst>
            <p:extLst>
              <p:ext uri="{D42A27DB-BD31-4B8C-83A1-F6EECF244321}">
                <p14:modId xmlns:p14="http://schemas.microsoft.com/office/powerpoint/2010/main" val="2047590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ct 4" hidden="1">
                        <a:extLst>
                          <a:ext uri="{FF2B5EF4-FFF2-40B4-BE49-F238E27FC236}">
                            <a16:creationId xmlns:a16="http://schemas.microsoft.com/office/drawing/2014/main" id="{71EBA44F-AF1C-BA46-AF45-F5E6D457BD4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3D39488-287F-164C-A695-E3CDB49A0C90}"/>
              </a:ext>
            </a:extLst>
          </p:cNvPr>
          <p:cNvSpPr>
            <a:spLocks noGrp="1"/>
          </p:cNvSpPr>
          <p:nvPr>
            <p:ph type="sldNum" sz="quarter" idx="4"/>
          </p:nvPr>
        </p:nvSpPr>
        <p:spPr/>
        <p:txBody>
          <a:bodyPr/>
          <a:lstStyle/>
          <a:p>
            <a:fld id="{3D966009-6E5A-4F8C-8CA7-E37AFBF5FB92}" type="slidenum">
              <a:rPr lang="en-US" smtClean="0"/>
              <a:t>95</a:t>
            </a:fld>
            <a:endParaRPr lang="en-US"/>
          </a:p>
        </p:txBody>
      </p:sp>
      <p:sp>
        <p:nvSpPr>
          <p:cNvPr id="3" name="Title 2">
            <a:extLst>
              <a:ext uri="{FF2B5EF4-FFF2-40B4-BE49-F238E27FC236}">
                <a16:creationId xmlns:a16="http://schemas.microsoft.com/office/drawing/2014/main" id="{31CDF4F9-A8EE-2C4F-A0F1-9EBEBB9385F7}"/>
              </a:ext>
            </a:extLst>
          </p:cNvPr>
          <p:cNvSpPr>
            <a:spLocks noGrp="1"/>
          </p:cNvSpPr>
          <p:nvPr>
            <p:ph type="title"/>
          </p:nvPr>
        </p:nvSpPr>
        <p:spPr/>
        <p:txBody>
          <a:bodyPr/>
          <a:lstStyle/>
          <a:p>
            <a:endParaRPr lang="de-DE"/>
          </a:p>
        </p:txBody>
      </p:sp>
      <p:sp>
        <p:nvSpPr>
          <p:cNvPr id="4" name="Content Placeholder 3">
            <a:extLst>
              <a:ext uri="{FF2B5EF4-FFF2-40B4-BE49-F238E27FC236}">
                <a16:creationId xmlns:a16="http://schemas.microsoft.com/office/drawing/2014/main" id="{42E62E84-0186-054E-BB86-0B23225A5E6D}"/>
              </a:ext>
            </a:extLst>
          </p:cNvPr>
          <p:cNvSpPr>
            <a:spLocks noGrp="1"/>
          </p:cNvSpPr>
          <p:nvPr>
            <p:ph sz="quarter" idx="10"/>
          </p:nvPr>
        </p:nvSpPr>
        <p:spPr/>
        <p:txBody>
          <a:bodyPr/>
          <a:lstStyle/>
          <a:p>
            <a:endParaRPr lang="de-DE"/>
          </a:p>
        </p:txBody>
      </p:sp>
      <p:sp>
        <p:nvSpPr>
          <p:cNvPr id="6" name="Text Placeholder 5">
            <a:extLst>
              <a:ext uri="{FF2B5EF4-FFF2-40B4-BE49-F238E27FC236}">
                <a16:creationId xmlns:a16="http://schemas.microsoft.com/office/drawing/2014/main" id="{C961F3D0-4A86-724C-BFAE-7DE9CAB4807E}"/>
              </a:ext>
            </a:extLst>
          </p:cNvPr>
          <p:cNvSpPr>
            <a:spLocks noGrp="1"/>
          </p:cNvSpPr>
          <p:nvPr>
            <p:ph type="body" sz="quarter" idx="12"/>
          </p:nvPr>
        </p:nvSpPr>
        <p:spPr/>
        <p:txBody>
          <a:bodyPr/>
          <a:lstStyle/>
          <a:p>
            <a:endParaRPr lang="de-DE"/>
          </a:p>
        </p:txBody>
      </p:sp>
      <p:sp>
        <p:nvSpPr>
          <p:cNvPr id="7" name="Text Placeholder 6">
            <a:extLst>
              <a:ext uri="{FF2B5EF4-FFF2-40B4-BE49-F238E27FC236}">
                <a16:creationId xmlns:a16="http://schemas.microsoft.com/office/drawing/2014/main" id="{38F0D814-5888-2642-9AD0-8CA85B03E8E2}"/>
              </a:ext>
            </a:extLst>
          </p:cNvPr>
          <p:cNvSpPr>
            <a:spLocks noGrp="1"/>
          </p:cNvSpPr>
          <p:nvPr>
            <p:ph type="body" sz="quarter" idx="13"/>
          </p:nvPr>
        </p:nvSpPr>
        <p:spPr/>
        <p:txBody>
          <a:bodyPr/>
          <a:lstStyle/>
          <a:p>
            <a:endParaRPr lang="de-DE"/>
          </a:p>
        </p:txBody>
      </p:sp>
      <p:sp>
        <p:nvSpPr>
          <p:cNvPr id="8" name="Content Placeholder 7">
            <a:extLst>
              <a:ext uri="{FF2B5EF4-FFF2-40B4-BE49-F238E27FC236}">
                <a16:creationId xmlns:a16="http://schemas.microsoft.com/office/drawing/2014/main" id="{9DD75FB4-CD40-8845-9B35-B0F5A661B64E}"/>
              </a:ext>
            </a:extLst>
          </p:cNvPr>
          <p:cNvSpPr>
            <a:spLocks noGrp="1"/>
          </p:cNvSpPr>
          <p:nvPr>
            <p:ph sz="quarter" idx="14"/>
          </p:nvPr>
        </p:nvSpPr>
        <p:spPr/>
        <p:txBody>
          <a:bodyPr/>
          <a:lstStyle/>
          <a:p>
            <a:endParaRPr lang="de-DE"/>
          </a:p>
        </p:txBody>
      </p:sp>
      <p:grpSp>
        <p:nvGrpSpPr>
          <p:cNvPr id="33" name="Group 32">
            <a:extLst>
              <a:ext uri="{FF2B5EF4-FFF2-40B4-BE49-F238E27FC236}">
                <a16:creationId xmlns:a16="http://schemas.microsoft.com/office/drawing/2014/main" id="{FE2F5DB2-31A3-704F-A11E-853EE7EB25DA}"/>
              </a:ext>
            </a:extLst>
          </p:cNvPr>
          <p:cNvGrpSpPr/>
          <p:nvPr/>
        </p:nvGrpSpPr>
        <p:grpSpPr>
          <a:xfrm>
            <a:off x="1494881" y="1716195"/>
            <a:ext cx="9959588" cy="4298793"/>
            <a:chOff x="866455" y="1772291"/>
            <a:chExt cx="9096999" cy="4411176"/>
          </a:xfrm>
        </p:grpSpPr>
        <p:grpSp>
          <p:nvGrpSpPr>
            <p:cNvPr id="9" name="Group 8">
              <a:extLst>
                <a:ext uri="{FF2B5EF4-FFF2-40B4-BE49-F238E27FC236}">
                  <a16:creationId xmlns:a16="http://schemas.microsoft.com/office/drawing/2014/main" id="{CA751C6A-8BA7-144E-90B0-1FC9ACE93AB8}"/>
                </a:ext>
              </a:extLst>
            </p:cNvPr>
            <p:cNvGrpSpPr/>
            <p:nvPr/>
          </p:nvGrpSpPr>
          <p:grpSpPr>
            <a:xfrm>
              <a:off x="2639618" y="1916832"/>
              <a:ext cx="4971181" cy="4041850"/>
              <a:chOff x="1914525" y="1276351"/>
              <a:chExt cx="5333999" cy="4336841"/>
            </a:xfrm>
          </p:grpSpPr>
          <p:sp>
            <p:nvSpPr>
              <p:cNvPr id="10" name="Freeform 3">
                <a:extLst>
                  <a:ext uri="{FF2B5EF4-FFF2-40B4-BE49-F238E27FC236}">
                    <a16:creationId xmlns:a16="http://schemas.microsoft.com/office/drawing/2014/main" id="{68B42C98-27B7-6F43-882B-88EE88A2B01E}"/>
                  </a:ext>
                </a:extLst>
              </p:cNvPr>
              <p:cNvSpPr/>
              <p:nvPr/>
            </p:nvSpPr>
            <p:spPr>
              <a:xfrm>
                <a:off x="3587126" y="1400175"/>
                <a:ext cx="3661398" cy="3028950"/>
              </a:xfrm>
              <a:custGeom>
                <a:avLst/>
                <a:gdLst>
                  <a:gd name="connsiteX0" fmla="*/ 3695700 w 3695700"/>
                  <a:gd name="connsiteY0" fmla="*/ 0 h 3067050"/>
                  <a:gd name="connsiteX1" fmla="*/ 2667000 w 3695700"/>
                  <a:gd name="connsiteY1" fmla="*/ 733425 h 3067050"/>
                  <a:gd name="connsiteX2" fmla="*/ 2743200 w 3695700"/>
                  <a:gd name="connsiteY2" fmla="*/ 952500 h 3067050"/>
                  <a:gd name="connsiteX3" fmla="*/ 2257425 w 3695700"/>
                  <a:gd name="connsiteY3" fmla="*/ 11334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724150 w 3695700"/>
                  <a:gd name="connsiteY1" fmla="*/ 790575 h 3067050"/>
                  <a:gd name="connsiteX2" fmla="*/ 2743200 w 3695700"/>
                  <a:gd name="connsiteY2" fmla="*/ 952500 h 3067050"/>
                  <a:gd name="connsiteX3" fmla="*/ 2257425 w 3695700"/>
                  <a:gd name="connsiteY3" fmla="*/ 11334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657475 w 3695700"/>
                  <a:gd name="connsiteY1" fmla="*/ 809625 h 3067050"/>
                  <a:gd name="connsiteX2" fmla="*/ 2743200 w 3695700"/>
                  <a:gd name="connsiteY2" fmla="*/ 952500 h 3067050"/>
                  <a:gd name="connsiteX3" fmla="*/ 2257425 w 3695700"/>
                  <a:gd name="connsiteY3" fmla="*/ 11334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657475 w 3695700"/>
                  <a:gd name="connsiteY1" fmla="*/ 809625 h 3067050"/>
                  <a:gd name="connsiteX2" fmla="*/ 2781300 w 3695700"/>
                  <a:gd name="connsiteY2" fmla="*/ 962025 h 3067050"/>
                  <a:gd name="connsiteX3" fmla="*/ 2257425 w 3695700"/>
                  <a:gd name="connsiteY3" fmla="*/ 11334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657475 w 3695700"/>
                  <a:gd name="connsiteY1" fmla="*/ 809625 h 3067050"/>
                  <a:gd name="connsiteX2" fmla="*/ 2781300 w 3695700"/>
                  <a:gd name="connsiteY2" fmla="*/ 962025 h 3067050"/>
                  <a:gd name="connsiteX3" fmla="*/ 2314575 w 3695700"/>
                  <a:gd name="connsiteY3" fmla="*/ 122872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781300 w 3695700"/>
                  <a:gd name="connsiteY2" fmla="*/ 962025 h 3067050"/>
                  <a:gd name="connsiteX3" fmla="*/ 2314575 w 3695700"/>
                  <a:gd name="connsiteY3" fmla="*/ 122872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314575 w 3695700"/>
                  <a:gd name="connsiteY3" fmla="*/ 122872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0480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67075 w 3695700"/>
                  <a:gd name="connsiteY14" fmla="*/ 2809875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657600 w 3695700"/>
                  <a:gd name="connsiteY15" fmla="*/ 2543175 h 3067050"/>
                  <a:gd name="connsiteX16" fmla="*/ 3648075 w 3695700"/>
                  <a:gd name="connsiteY16"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657600 w 3695700"/>
                  <a:gd name="connsiteY15" fmla="*/ 2543175 h 3067050"/>
                  <a:gd name="connsiteX16" fmla="*/ 3562350 w 3695700"/>
                  <a:gd name="connsiteY16" fmla="*/ 252412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657600 w 3695700"/>
                  <a:gd name="connsiteY15" fmla="*/ 25431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543300 w 3695700"/>
                  <a:gd name="connsiteY15"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133475 w 3695700"/>
                  <a:gd name="connsiteY6" fmla="*/ 1419225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543300 w 3695700"/>
                  <a:gd name="connsiteY15"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543300 w 3695700"/>
                  <a:gd name="connsiteY15"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1047750 w 3695700"/>
                  <a:gd name="connsiteY7" fmla="*/ 1409700 h 3067050"/>
                  <a:gd name="connsiteX8" fmla="*/ 304800 w 3695700"/>
                  <a:gd name="connsiteY8" fmla="*/ 1466850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543300 w 3695700"/>
                  <a:gd name="connsiteY15"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04800 w 3695700"/>
                  <a:gd name="connsiteY7" fmla="*/ 1466850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04800 w 3695700"/>
                  <a:gd name="connsiteY7" fmla="*/ 1466850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04800 w 3695700"/>
                  <a:gd name="connsiteY7" fmla="*/ 1466850 h 3067050"/>
                  <a:gd name="connsiteX8" fmla="*/ 381000 w 3695700"/>
                  <a:gd name="connsiteY8" fmla="*/ 1552575 h 3067050"/>
                  <a:gd name="connsiteX9" fmla="*/ 0 w 3695700"/>
                  <a:gd name="connsiteY9" fmla="*/ 2143125 h 3067050"/>
                  <a:gd name="connsiteX10" fmla="*/ 885825 w 3695700"/>
                  <a:gd name="connsiteY10" fmla="*/ 1990725 h 3067050"/>
                  <a:gd name="connsiteX11" fmla="*/ 1190625 w 3695700"/>
                  <a:gd name="connsiteY11" fmla="*/ 2019300 h 3067050"/>
                  <a:gd name="connsiteX12" fmla="*/ 2619375 w 3695700"/>
                  <a:gd name="connsiteY12" fmla="*/ 3067050 h 3067050"/>
                  <a:gd name="connsiteX13" fmla="*/ 3124200 w 3695700"/>
                  <a:gd name="connsiteY13" fmla="*/ 2609850 h 3067050"/>
                  <a:gd name="connsiteX14" fmla="*/ 3219450 w 3695700"/>
                  <a:gd name="connsiteY14" fmla="*/ 2686050 h 3067050"/>
                  <a:gd name="connsiteX15" fmla="*/ 3543300 w 3695700"/>
                  <a:gd name="connsiteY15"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95700 w 3695700"/>
                  <a:gd name="connsiteY0" fmla="*/ 0 h 3067050"/>
                  <a:gd name="connsiteX1" fmla="*/ 2438400 w 3695700"/>
                  <a:gd name="connsiteY1" fmla="*/ 962025 h 3067050"/>
                  <a:gd name="connsiteX2" fmla="*/ 2552700 w 3695700"/>
                  <a:gd name="connsiteY2" fmla="*/ 1085850 h 3067050"/>
                  <a:gd name="connsiteX3" fmla="*/ 2286000 w 3695700"/>
                  <a:gd name="connsiteY3" fmla="*/ 1247775 h 3067050"/>
                  <a:gd name="connsiteX4" fmla="*/ 2352675 w 3695700"/>
                  <a:gd name="connsiteY4" fmla="*/ 1362075 h 3067050"/>
                  <a:gd name="connsiteX5" fmla="*/ 2000250 w 3695700"/>
                  <a:gd name="connsiteY5" fmla="*/ 1590675 h 3067050"/>
                  <a:gd name="connsiteX6" fmla="*/ 1219200 w 3695700"/>
                  <a:gd name="connsiteY6" fmla="*/ 1371600 h 3067050"/>
                  <a:gd name="connsiteX7" fmla="*/ 381000 w 3695700"/>
                  <a:gd name="connsiteY7" fmla="*/ 1552575 h 3067050"/>
                  <a:gd name="connsiteX8" fmla="*/ 0 w 3695700"/>
                  <a:gd name="connsiteY8" fmla="*/ 2143125 h 3067050"/>
                  <a:gd name="connsiteX9" fmla="*/ 885825 w 3695700"/>
                  <a:gd name="connsiteY9" fmla="*/ 1990725 h 3067050"/>
                  <a:gd name="connsiteX10" fmla="*/ 1190625 w 3695700"/>
                  <a:gd name="connsiteY10" fmla="*/ 2019300 h 3067050"/>
                  <a:gd name="connsiteX11" fmla="*/ 2619375 w 3695700"/>
                  <a:gd name="connsiteY11" fmla="*/ 3067050 h 3067050"/>
                  <a:gd name="connsiteX12" fmla="*/ 3124200 w 3695700"/>
                  <a:gd name="connsiteY12" fmla="*/ 2609850 h 3067050"/>
                  <a:gd name="connsiteX13" fmla="*/ 3219450 w 3695700"/>
                  <a:gd name="connsiteY13" fmla="*/ 2686050 h 3067050"/>
                  <a:gd name="connsiteX14" fmla="*/ 3543300 w 3695700"/>
                  <a:gd name="connsiteY14" fmla="*/ 2466975 h 3067050"/>
                  <a:gd name="connsiteX0" fmla="*/ 3648075 w 3648075"/>
                  <a:gd name="connsiteY0" fmla="*/ 0 h 3067050"/>
                  <a:gd name="connsiteX1" fmla="*/ 2390775 w 3648075"/>
                  <a:gd name="connsiteY1" fmla="*/ 962025 h 3067050"/>
                  <a:gd name="connsiteX2" fmla="*/ 2505075 w 3648075"/>
                  <a:gd name="connsiteY2" fmla="*/ 1085850 h 3067050"/>
                  <a:gd name="connsiteX3" fmla="*/ 2238375 w 3648075"/>
                  <a:gd name="connsiteY3" fmla="*/ 1247775 h 3067050"/>
                  <a:gd name="connsiteX4" fmla="*/ 2305050 w 3648075"/>
                  <a:gd name="connsiteY4" fmla="*/ 1362075 h 3067050"/>
                  <a:gd name="connsiteX5" fmla="*/ 1952625 w 3648075"/>
                  <a:gd name="connsiteY5" fmla="*/ 1590675 h 3067050"/>
                  <a:gd name="connsiteX6" fmla="*/ 1171575 w 3648075"/>
                  <a:gd name="connsiteY6" fmla="*/ 1371600 h 3067050"/>
                  <a:gd name="connsiteX7" fmla="*/ 333375 w 3648075"/>
                  <a:gd name="connsiteY7" fmla="*/ 1552575 h 3067050"/>
                  <a:gd name="connsiteX8" fmla="*/ 0 w 3648075"/>
                  <a:gd name="connsiteY8" fmla="*/ 2162175 h 3067050"/>
                  <a:gd name="connsiteX9" fmla="*/ 838200 w 3648075"/>
                  <a:gd name="connsiteY9" fmla="*/ 1990725 h 3067050"/>
                  <a:gd name="connsiteX10" fmla="*/ 1143000 w 3648075"/>
                  <a:gd name="connsiteY10" fmla="*/ 2019300 h 3067050"/>
                  <a:gd name="connsiteX11" fmla="*/ 2571750 w 3648075"/>
                  <a:gd name="connsiteY11" fmla="*/ 3067050 h 3067050"/>
                  <a:gd name="connsiteX12" fmla="*/ 3076575 w 3648075"/>
                  <a:gd name="connsiteY12" fmla="*/ 2609850 h 3067050"/>
                  <a:gd name="connsiteX13" fmla="*/ 3171825 w 3648075"/>
                  <a:gd name="connsiteY13" fmla="*/ 2686050 h 3067050"/>
                  <a:gd name="connsiteX14" fmla="*/ 3495675 w 3648075"/>
                  <a:gd name="connsiteY14" fmla="*/ 2466975 h 3067050"/>
                  <a:gd name="connsiteX0" fmla="*/ 3648075 w 3648075"/>
                  <a:gd name="connsiteY0" fmla="*/ 0 h 3067050"/>
                  <a:gd name="connsiteX1" fmla="*/ 2390775 w 3648075"/>
                  <a:gd name="connsiteY1" fmla="*/ 962025 h 3067050"/>
                  <a:gd name="connsiteX2" fmla="*/ 2505075 w 3648075"/>
                  <a:gd name="connsiteY2" fmla="*/ 1085850 h 3067050"/>
                  <a:gd name="connsiteX3" fmla="*/ 2238375 w 3648075"/>
                  <a:gd name="connsiteY3" fmla="*/ 1247775 h 3067050"/>
                  <a:gd name="connsiteX4" fmla="*/ 2305050 w 3648075"/>
                  <a:gd name="connsiteY4" fmla="*/ 1362075 h 3067050"/>
                  <a:gd name="connsiteX5" fmla="*/ 1952625 w 3648075"/>
                  <a:gd name="connsiteY5" fmla="*/ 1590675 h 3067050"/>
                  <a:gd name="connsiteX6" fmla="*/ 1171575 w 3648075"/>
                  <a:gd name="connsiteY6" fmla="*/ 1371600 h 3067050"/>
                  <a:gd name="connsiteX7" fmla="*/ 333375 w 3648075"/>
                  <a:gd name="connsiteY7" fmla="*/ 1552575 h 3067050"/>
                  <a:gd name="connsiteX8" fmla="*/ 0 w 3648075"/>
                  <a:gd name="connsiteY8" fmla="*/ 2162175 h 3067050"/>
                  <a:gd name="connsiteX9" fmla="*/ 838200 w 3648075"/>
                  <a:gd name="connsiteY9" fmla="*/ 1990725 h 3067050"/>
                  <a:gd name="connsiteX10" fmla="*/ 1143000 w 3648075"/>
                  <a:gd name="connsiteY10" fmla="*/ 2019300 h 3067050"/>
                  <a:gd name="connsiteX11" fmla="*/ 2571750 w 3648075"/>
                  <a:gd name="connsiteY11" fmla="*/ 3067050 h 3067050"/>
                  <a:gd name="connsiteX12" fmla="*/ 3076575 w 3648075"/>
                  <a:gd name="connsiteY12" fmla="*/ 2609850 h 3067050"/>
                  <a:gd name="connsiteX13" fmla="*/ 3171825 w 3648075"/>
                  <a:gd name="connsiteY13" fmla="*/ 2686050 h 3067050"/>
                  <a:gd name="connsiteX14" fmla="*/ 3495675 w 3648075"/>
                  <a:gd name="connsiteY14" fmla="*/ 2466975 h 3067050"/>
                  <a:gd name="connsiteX0" fmla="*/ 3660392 w 3660392"/>
                  <a:gd name="connsiteY0" fmla="*/ 0 h 3067050"/>
                  <a:gd name="connsiteX1" fmla="*/ 2403092 w 3660392"/>
                  <a:gd name="connsiteY1" fmla="*/ 962025 h 3067050"/>
                  <a:gd name="connsiteX2" fmla="*/ 2517392 w 3660392"/>
                  <a:gd name="connsiteY2" fmla="*/ 1085850 h 3067050"/>
                  <a:gd name="connsiteX3" fmla="*/ 2250692 w 3660392"/>
                  <a:gd name="connsiteY3" fmla="*/ 1247775 h 3067050"/>
                  <a:gd name="connsiteX4" fmla="*/ 2317367 w 3660392"/>
                  <a:gd name="connsiteY4" fmla="*/ 1362075 h 3067050"/>
                  <a:gd name="connsiteX5" fmla="*/ 1964942 w 3660392"/>
                  <a:gd name="connsiteY5" fmla="*/ 1590675 h 3067050"/>
                  <a:gd name="connsiteX6" fmla="*/ 1183892 w 3660392"/>
                  <a:gd name="connsiteY6" fmla="*/ 1371600 h 3067050"/>
                  <a:gd name="connsiteX7" fmla="*/ 345692 w 3660392"/>
                  <a:gd name="connsiteY7" fmla="*/ 1552575 h 3067050"/>
                  <a:gd name="connsiteX8" fmla="*/ 12317 w 3660392"/>
                  <a:gd name="connsiteY8" fmla="*/ 2162175 h 3067050"/>
                  <a:gd name="connsiteX9" fmla="*/ 850517 w 3660392"/>
                  <a:gd name="connsiteY9" fmla="*/ 1990725 h 3067050"/>
                  <a:gd name="connsiteX10" fmla="*/ 1155317 w 3660392"/>
                  <a:gd name="connsiteY10" fmla="*/ 2019300 h 3067050"/>
                  <a:gd name="connsiteX11" fmla="*/ 2584067 w 3660392"/>
                  <a:gd name="connsiteY11" fmla="*/ 3067050 h 3067050"/>
                  <a:gd name="connsiteX12" fmla="*/ 3088892 w 3660392"/>
                  <a:gd name="connsiteY12" fmla="*/ 2609850 h 3067050"/>
                  <a:gd name="connsiteX13" fmla="*/ 3184142 w 3660392"/>
                  <a:gd name="connsiteY13" fmla="*/ 2686050 h 3067050"/>
                  <a:gd name="connsiteX14" fmla="*/ 3507992 w 3660392"/>
                  <a:gd name="connsiteY14" fmla="*/ 2466975 h 3067050"/>
                  <a:gd name="connsiteX0" fmla="*/ 3661041 w 3661041"/>
                  <a:gd name="connsiteY0" fmla="*/ 0 h 3067050"/>
                  <a:gd name="connsiteX1" fmla="*/ 2403741 w 3661041"/>
                  <a:gd name="connsiteY1" fmla="*/ 962025 h 3067050"/>
                  <a:gd name="connsiteX2" fmla="*/ 2518041 w 3661041"/>
                  <a:gd name="connsiteY2" fmla="*/ 1085850 h 3067050"/>
                  <a:gd name="connsiteX3" fmla="*/ 2251341 w 3661041"/>
                  <a:gd name="connsiteY3" fmla="*/ 1247775 h 3067050"/>
                  <a:gd name="connsiteX4" fmla="*/ 2318016 w 3661041"/>
                  <a:gd name="connsiteY4" fmla="*/ 1362075 h 3067050"/>
                  <a:gd name="connsiteX5" fmla="*/ 1965591 w 3661041"/>
                  <a:gd name="connsiteY5" fmla="*/ 1590675 h 3067050"/>
                  <a:gd name="connsiteX6" fmla="*/ 1184541 w 3661041"/>
                  <a:gd name="connsiteY6" fmla="*/ 1371600 h 3067050"/>
                  <a:gd name="connsiteX7" fmla="*/ 346341 w 3661041"/>
                  <a:gd name="connsiteY7" fmla="*/ 1552575 h 3067050"/>
                  <a:gd name="connsiteX8" fmla="*/ 12966 w 3661041"/>
                  <a:gd name="connsiteY8" fmla="*/ 2162175 h 3067050"/>
                  <a:gd name="connsiteX9" fmla="*/ 813066 w 3661041"/>
                  <a:gd name="connsiteY9" fmla="*/ 1905000 h 3067050"/>
                  <a:gd name="connsiteX10" fmla="*/ 1155966 w 3661041"/>
                  <a:gd name="connsiteY10" fmla="*/ 2019300 h 3067050"/>
                  <a:gd name="connsiteX11" fmla="*/ 2584716 w 3661041"/>
                  <a:gd name="connsiteY11" fmla="*/ 3067050 h 3067050"/>
                  <a:gd name="connsiteX12" fmla="*/ 3089541 w 3661041"/>
                  <a:gd name="connsiteY12" fmla="*/ 2609850 h 3067050"/>
                  <a:gd name="connsiteX13" fmla="*/ 3184791 w 3661041"/>
                  <a:gd name="connsiteY13" fmla="*/ 2686050 h 3067050"/>
                  <a:gd name="connsiteX14" fmla="*/ 3508641 w 3661041"/>
                  <a:gd name="connsiteY14" fmla="*/ 2466975 h 3067050"/>
                  <a:gd name="connsiteX0" fmla="*/ 3662719 w 3662719"/>
                  <a:gd name="connsiteY0" fmla="*/ 0 h 3067050"/>
                  <a:gd name="connsiteX1" fmla="*/ 2405419 w 3662719"/>
                  <a:gd name="connsiteY1" fmla="*/ 962025 h 3067050"/>
                  <a:gd name="connsiteX2" fmla="*/ 2519719 w 3662719"/>
                  <a:gd name="connsiteY2" fmla="*/ 1085850 h 3067050"/>
                  <a:gd name="connsiteX3" fmla="*/ 2253019 w 3662719"/>
                  <a:gd name="connsiteY3" fmla="*/ 1247775 h 3067050"/>
                  <a:gd name="connsiteX4" fmla="*/ 2319694 w 3662719"/>
                  <a:gd name="connsiteY4" fmla="*/ 1362075 h 3067050"/>
                  <a:gd name="connsiteX5" fmla="*/ 1967269 w 3662719"/>
                  <a:gd name="connsiteY5" fmla="*/ 1590675 h 3067050"/>
                  <a:gd name="connsiteX6" fmla="*/ 1186219 w 3662719"/>
                  <a:gd name="connsiteY6" fmla="*/ 1371600 h 3067050"/>
                  <a:gd name="connsiteX7" fmla="*/ 348019 w 3662719"/>
                  <a:gd name="connsiteY7" fmla="*/ 1552575 h 3067050"/>
                  <a:gd name="connsiteX8" fmla="*/ 14644 w 3662719"/>
                  <a:gd name="connsiteY8" fmla="*/ 2162175 h 3067050"/>
                  <a:gd name="connsiteX9" fmla="*/ 814744 w 3662719"/>
                  <a:gd name="connsiteY9" fmla="*/ 1905000 h 3067050"/>
                  <a:gd name="connsiteX10" fmla="*/ 1157644 w 3662719"/>
                  <a:gd name="connsiteY10" fmla="*/ 2019300 h 3067050"/>
                  <a:gd name="connsiteX11" fmla="*/ 2586394 w 3662719"/>
                  <a:gd name="connsiteY11" fmla="*/ 3067050 h 3067050"/>
                  <a:gd name="connsiteX12" fmla="*/ 3091219 w 3662719"/>
                  <a:gd name="connsiteY12" fmla="*/ 2609850 h 3067050"/>
                  <a:gd name="connsiteX13" fmla="*/ 3186469 w 3662719"/>
                  <a:gd name="connsiteY13" fmla="*/ 2686050 h 3067050"/>
                  <a:gd name="connsiteX14" fmla="*/ 3510319 w 3662719"/>
                  <a:gd name="connsiteY14" fmla="*/ 2466975 h 3067050"/>
                  <a:gd name="connsiteX0" fmla="*/ 3663396 w 3663396"/>
                  <a:gd name="connsiteY0" fmla="*/ 0 h 3067050"/>
                  <a:gd name="connsiteX1" fmla="*/ 2406096 w 3663396"/>
                  <a:gd name="connsiteY1" fmla="*/ 962025 h 3067050"/>
                  <a:gd name="connsiteX2" fmla="*/ 2520396 w 3663396"/>
                  <a:gd name="connsiteY2" fmla="*/ 1085850 h 3067050"/>
                  <a:gd name="connsiteX3" fmla="*/ 2253696 w 3663396"/>
                  <a:gd name="connsiteY3" fmla="*/ 1247775 h 3067050"/>
                  <a:gd name="connsiteX4" fmla="*/ 2320371 w 3663396"/>
                  <a:gd name="connsiteY4" fmla="*/ 1362075 h 3067050"/>
                  <a:gd name="connsiteX5" fmla="*/ 1967946 w 3663396"/>
                  <a:gd name="connsiteY5" fmla="*/ 1590675 h 3067050"/>
                  <a:gd name="connsiteX6" fmla="*/ 1186896 w 3663396"/>
                  <a:gd name="connsiteY6" fmla="*/ 1371600 h 3067050"/>
                  <a:gd name="connsiteX7" fmla="*/ 348696 w 3663396"/>
                  <a:gd name="connsiteY7" fmla="*/ 1552575 h 3067050"/>
                  <a:gd name="connsiteX8" fmla="*/ 15321 w 3663396"/>
                  <a:gd name="connsiteY8" fmla="*/ 2162175 h 3067050"/>
                  <a:gd name="connsiteX9" fmla="*/ 786846 w 3663396"/>
                  <a:gd name="connsiteY9" fmla="*/ 1905000 h 3067050"/>
                  <a:gd name="connsiteX10" fmla="*/ 1158321 w 3663396"/>
                  <a:gd name="connsiteY10" fmla="*/ 2019300 h 3067050"/>
                  <a:gd name="connsiteX11" fmla="*/ 2587071 w 3663396"/>
                  <a:gd name="connsiteY11" fmla="*/ 3067050 h 3067050"/>
                  <a:gd name="connsiteX12" fmla="*/ 3091896 w 3663396"/>
                  <a:gd name="connsiteY12" fmla="*/ 2609850 h 3067050"/>
                  <a:gd name="connsiteX13" fmla="*/ 3187146 w 3663396"/>
                  <a:gd name="connsiteY13" fmla="*/ 2686050 h 3067050"/>
                  <a:gd name="connsiteX14" fmla="*/ 3510996 w 3663396"/>
                  <a:gd name="connsiteY14" fmla="*/ 2466975 h 3067050"/>
                  <a:gd name="connsiteX0" fmla="*/ 3661398 w 3661398"/>
                  <a:gd name="connsiteY0" fmla="*/ 0 h 3067050"/>
                  <a:gd name="connsiteX1" fmla="*/ 2404098 w 3661398"/>
                  <a:gd name="connsiteY1" fmla="*/ 962025 h 3067050"/>
                  <a:gd name="connsiteX2" fmla="*/ 2518398 w 3661398"/>
                  <a:gd name="connsiteY2" fmla="*/ 1085850 h 3067050"/>
                  <a:gd name="connsiteX3" fmla="*/ 2251698 w 3661398"/>
                  <a:gd name="connsiteY3" fmla="*/ 1247775 h 3067050"/>
                  <a:gd name="connsiteX4" fmla="*/ 2318373 w 3661398"/>
                  <a:gd name="connsiteY4" fmla="*/ 1362075 h 3067050"/>
                  <a:gd name="connsiteX5" fmla="*/ 1965948 w 3661398"/>
                  <a:gd name="connsiteY5" fmla="*/ 1590675 h 3067050"/>
                  <a:gd name="connsiteX6" fmla="*/ 1184898 w 3661398"/>
                  <a:gd name="connsiteY6" fmla="*/ 1371600 h 3067050"/>
                  <a:gd name="connsiteX7" fmla="*/ 346698 w 3661398"/>
                  <a:gd name="connsiteY7" fmla="*/ 1552575 h 3067050"/>
                  <a:gd name="connsiteX8" fmla="*/ 13323 w 3661398"/>
                  <a:gd name="connsiteY8" fmla="*/ 2162175 h 3067050"/>
                  <a:gd name="connsiteX9" fmla="*/ 784848 w 3661398"/>
                  <a:gd name="connsiteY9" fmla="*/ 1905000 h 3067050"/>
                  <a:gd name="connsiteX10" fmla="*/ 1156323 w 3661398"/>
                  <a:gd name="connsiteY10" fmla="*/ 2019300 h 3067050"/>
                  <a:gd name="connsiteX11" fmla="*/ 2585073 w 3661398"/>
                  <a:gd name="connsiteY11" fmla="*/ 3067050 h 3067050"/>
                  <a:gd name="connsiteX12" fmla="*/ 3089898 w 3661398"/>
                  <a:gd name="connsiteY12" fmla="*/ 2609850 h 3067050"/>
                  <a:gd name="connsiteX13" fmla="*/ 3185148 w 3661398"/>
                  <a:gd name="connsiteY13" fmla="*/ 2686050 h 3067050"/>
                  <a:gd name="connsiteX14" fmla="*/ 3508998 w 3661398"/>
                  <a:gd name="connsiteY14" fmla="*/ 2466975 h 3067050"/>
                  <a:gd name="connsiteX0" fmla="*/ 3661398 w 3661398"/>
                  <a:gd name="connsiteY0" fmla="*/ 0 h 3067050"/>
                  <a:gd name="connsiteX1" fmla="*/ 2404098 w 3661398"/>
                  <a:gd name="connsiteY1" fmla="*/ 962025 h 3067050"/>
                  <a:gd name="connsiteX2" fmla="*/ 2518398 w 3661398"/>
                  <a:gd name="connsiteY2" fmla="*/ 1085850 h 3067050"/>
                  <a:gd name="connsiteX3" fmla="*/ 2251698 w 3661398"/>
                  <a:gd name="connsiteY3" fmla="*/ 1247775 h 3067050"/>
                  <a:gd name="connsiteX4" fmla="*/ 2318373 w 3661398"/>
                  <a:gd name="connsiteY4" fmla="*/ 1362075 h 3067050"/>
                  <a:gd name="connsiteX5" fmla="*/ 1965948 w 3661398"/>
                  <a:gd name="connsiteY5" fmla="*/ 1590675 h 3067050"/>
                  <a:gd name="connsiteX6" fmla="*/ 1184898 w 3661398"/>
                  <a:gd name="connsiteY6" fmla="*/ 1371600 h 3067050"/>
                  <a:gd name="connsiteX7" fmla="*/ 346698 w 3661398"/>
                  <a:gd name="connsiteY7" fmla="*/ 1552575 h 3067050"/>
                  <a:gd name="connsiteX8" fmla="*/ 13323 w 3661398"/>
                  <a:gd name="connsiteY8" fmla="*/ 2162175 h 3067050"/>
                  <a:gd name="connsiteX9" fmla="*/ 784848 w 3661398"/>
                  <a:gd name="connsiteY9" fmla="*/ 1905000 h 3067050"/>
                  <a:gd name="connsiteX10" fmla="*/ 1156323 w 3661398"/>
                  <a:gd name="connsiteY10" fmla="*/ 2019300 h 3067050"/>
                  <a:gd name="connsiteX11" fmla="*/ 2585073 w 3661398"/>
                  <a:gd name="connsiteY11" fmla="*/ 3067050 h 3067050"/>
                  <a:gd name="connsiteX12" fmla="*/ 3089898 w 3661398"/>
                  <a:gd name="connsiteY12" fmla="*/ 2609850 h 3067050"/>
                  <a:gd name="connsiteX13" fmla="*/ 3185148 w 3661398"/>
                  <a:gd name="connsiteY13" fmla="*/ 2686050 h 3067050"/>
                  <a:gd name="connsiteX14" fmla="*/ 3508998 w 3661398"/>
                  <a:gd name="connsiteY14" fmla="*/ 2466975 h 3067050"/>
                  <a:gd name="connsiteX0" fmla="*/ 3661398 w 3661398"/>
                  <a:gd name="connsiteY0" fmla="*/ 0 h 3028950"/>
                  <a:gd name="connsiteX1" fmla="*/ 2404098 w 3661398"/>
                  <a:gd name="connsiteY1" fmla="*/ 962025 h 3028950"/>
                  <a:gd name="connsiteX2" fmla="*/ 2518398 w 3661398"/>
                  <a:gd name="connsiteY2" fmla="*/ 1085850 h 3028950"/>
                  <a:gd name="connsiteX3" fmla="*/ 2251698 w 3661398"/>
                  <a:gd name="connsiteY3" fmla="*/ 1247775 h 3028950"/>
                  <a:gd name="connsiteX4" fmla="*/ 2318373 w 3661398"/>
                  <a:gd name="connsiteY4" fmla="*/ 1362075 h 3028950"/>
                  <a:gd name="connsiteX5" fmla="*/ 1965948 w 3661398"/>
                  <a:gd name="connsiteY5" fmla="*/ 1590675 h 3028950"/>
                  <a:gd name="connsiteX6" fmla="*/ 1184898 w 3661398"/>
                  <a:gd name="connsiteY6" fmla="*/ 1371600 h 3028950"/>
                  <a:gd name="connsiteX7" fmla="*/ 346698 w 3661398"/>
                  <a:gd name="connsiteY7" fmla="*/ 1552575 h 3028950"/>
                  <a:gd name="connsiteX8" fmla="*/ 13323 w 3661398"/>
                  <a:gd name="connsiteY8" fmla="*/ 2162175 h 3028950"/>
                  <a:gd name="connsiteX9" fmla="*/ 784848 w 3661398"/>
                  <a:gd name="connsiteY9" fmla="*/ 1905000 h 3028950"/>
                  <a:gd name="connsiteX10" fmla="*/ 1156323 w 3661398"/>
                  <a:gd name="connsiteY10" fmla="*/ 2019300 h 3028950"/>
                  <a:gd name="connsiteX11" fmla="*/ 2613648 w 3661398"/>
                  <a:gd name="connsiteY11" fmla="*/ 3028950 h 3028950"/>
                  <a:gd name="connsiteX12" fmla="*/ 3089898 w 3661398"/>
                  <a:gd name="connsiteY12" fmla="*/ 2609850 h 3028950"/>
                  <a:gd name="connsiteX13" fmla="*/ 3185148 w 3661398"/>
                  <a:gd name="connsiteY13" fmla="*/ 2686050 h 3028950"/>
                  <a:gd name="connsiteX14" fmla="*/ 3508998 w 3661398"/>
                  <a:gd name="connsiteY14" fmla="*/ 2466975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61398" h="3028950">
                    <a:moveTo>
                      <a:pt x="3661398" y="0"/>
                    </a:moveTo>
                    <a:lnTo>
                      <a:pt x="2404098" y="962025"/>
                    </a:lnTo>
                    <a:lnTo>
                      <a:pt x="2518398" y="1085850"/>
                    </a:lnTo>
                    <a:lnTo>
                      <a:pt x="2251698" y="1247775"/>
                    </a:lnTo>
                    <a:lnTo>
                      <a:pt x="2318373" y="1362075"/>
                    </a:lnTo>
                    <a:lnTo>
                      <a:pt x="1965948" y="1590675"/>
                    </a:lnTo>
                    <a:cubicBezTo>
                      <a:pt x="1838948" y="1676400"/>
                      <a:pt x="1273798" y="1371600"/>
                      <a:pt x="1184898" y="1371600"/>
                    </a:cubicBezTo>
                    <a:cubicBezTo>
                      <a:pt x="905498" y="1431925"/>
                      <a:pt x="473698" y="1395413"/>
                      <a:pt x="346698" y="1552575"/>
                    </a:cubicBezTo>
                    <a:cubicBezTo>
                      <a:pt x="219698" y="1787525"/>
                      <a:pt x="130798" y="1917700"/>
                      <a:pt x="13323" y="2162175"/>
                    </a:cubicBezTo>
                    <a:cubicBezTo>
                      <a:pt x="-97802" y="2400300"/>
                      <a:pt x="514973" y="2390775"/>
                      <a:pt x="784848" y="1905000"/>
                    </a:cubicBezTo>
                    <a:lnTo>
                      <a:pt x="1156323" y="2019300"/>
                    </a:lnTo>
                    <a:cubicBezTo>
                      <a:pt x="1689723" y="2330450"/>
                      <a:pt x="2137398" y="2679700"/>
                      <a:pt x="2613648" y="3028950"/>
                    </a:cubicBezTo>
                    <a:lnTo>
                      <a:pt x="3089898" y="2609850"/>
                    </a:lnTo>
                    <a:lnTo>
                      <a:pt x="3185148" y="2686050"/>
                    </a:lnTo>
                    <a:lnTo>
                      <a:pt x="3508998" y="2466975"/>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1" name="Freeform 4">
                <a:extLst>
                  <a:ext uri="{FF2B5EF4-FFF2-40B4-BE49-F238E27FC236}">
                    <a16:creationId xmlns:a16="http://schemas.microsoft.com/office/drawing/2014/main" id="{2347A264-5E3F-4949-BBB7-6E6D76B31EB9}"/>
                  </a:ext>
                </a:extLst>
              </p:cNvPr>
              <p:cNvSpPr/>
              <p:nvPr/>
            </p:nvSpPr>
            <p:spPr>
              <a:xfrm>
                <a:off x="1914525" y="1276351"/>
                <a:ext cx="4300729" cy="4336841"/>
              </a:xfrm>
              <a:custGeom>
                <a:avLst/>
                <a:gdLst>
                  <a:gd name="connsiteX0" fmla="*/ 0 w 4276725"/>
                  <a:gd name="connsiteY0" fmla="*/ 0 h 4114800"/>
                  <a:gd name="connsiteX1" fmla="*/ 1028700 w 4276725"/>
                  <a:gd name="connsiteY1" fmla="*/ 866775 h 4114800"/>
                  <a:gd name="connsiteX2" fmla="*/ 952500 w 4276725"/>
                  <a:gd name="connsiteY2" fmla="*/ 990600 h 4114800"/>
                  <a:gd name="connsiteX3" fmla="*/ 1333500 w 4276725"/>
                  <a:gd name="connsiteY3" fmla="*/ 1285875 h 4114800"/>
                  <a:gd name="connsiteX4" fmla="*/ 1247775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952500 w 4276725"/>
                  <a:gd name="connsiteY2" fmla="*/ 990600 h 4114800"/>
                  <a:gd name="connsiteX3" fmla="*/ 1333500 w 4276725"/>
                  <a:gd name="connsiteY3" fmla="*/ 1285875 h 4114800"/>
                  <a:gd name="connsiteX4" fmla="*/ 1247775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33500 w 4276725"/>
                  <a:gd name="connsiteY3" fmla="*/ 1285875 h 4114800"/>
                  <a:gd name="connsiteX4" fmla="*/ 1247775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43025 w 4276725"/>
                  <a:gd name="connsiteY3" fmla="*/ 1323975 h 4114800"/>
                  <a:gd name="connsiteX4" fmla="*/ 1247775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43025 w 4276725"/>
                  <a:gd name="connsiteY3" fmla="*/ 1323975 h 4114800"/>
                  <a:gd name="connsiteX4" fmla="*/ 1247775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43025 w 4276725"/>
                  <a:gd name="connsiteY3" fmla="*/ 1323975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4478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2857500 w 4276725"/>
                  <a:gd name="connsiteY7" fmla="*/ 2219325 h 4114800"/>
                  <a:gd name="connsiteX8" fmla="*/ 4276725 w 4276725"/>
                  <a:gd name="connsiteY8" fmla="*/ 3314700 h 4114800"/>
                  <a:gd name="connsiteX9" fmla="*/ 3952875 w 4276725"/>
                  <a:gd name="connsiteY9" fmla="*/ 3590925 h 4114800"/>
                  <a:gd name="connsiteX10" fmla="*/ 3524250 w 4276725"/>
                  <a:gd name="connsiteY10" fmla="*/ 3914775 h 4114800"/>
                  <a:gd name="connsiteX11" fmla="*/ 3124200 w 4276725"/>
                  <a:gd name="connsiteY11" fmla="*/ 4114800 h 4114800"/>
                  <a:gd name="connsiteX12" fmla="*/ 2514600 w 4276725"/>
                  <a:gd name="connsiteY12" fmla="*/ 4114800 h 4114800"/>
                  <a:gd name="connsiteX13" fmla="*/ 2257425 w 4276725"/>
                  <a:gd name="connsiteY13" fmla="*/ 3695700 h 4114800"/>
                  <a:gd name="connsiteX14" fmla="*/ 1828800 w 4276725"/>
                  <a:gd name="connsiteY14" fmla="*/ 3409950 h 4114800"/>
                  <a:gd name="connsiteX15" fmla="*/ 1476375 w 4276725"/>
                  <a:gd name="connsiteY15" fmla="*/ 3171825 h 4114800"/>
                  <a:gd name="connsiteX16" fmla="*/ 1114425 w 4276725"/>
                  <a:gd name="connsiteY16" fmla="*/ 3019425 h 4114800"/>
                  <a:gd name="connsiteX17" fmla="*/ 933450 w 4276725"/>
                  <a:gd name="connsiteY17" fmla="*/ 2733675 h 4114800"/>
                  <a:gd name="connsiteX18" fmla="*/ 619125 w 4276725"/>
                  <a:gd name="connsiteY18" fmla="*/ 2476500 h 4114800"/>
                  <a:gd name="connsiteX19" fmla="*/ 447675 w 4276725"/>
                  <a:gd name="connsiteY19" fmla="*/ 2571750 h 4114800"/>
                  <a:gd name="connsiteX20" fmla="*/ 152400 w 4276725"/>
                  <a:gd name="connsiteY20" fmla="*/ 2333625 h 4114800"/>
                  <a:gd name="connsiteX21" fmla="*/ 142875 w 4276725"/>
                  <a:gd name="connsiteY21"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857500 w 4276725"/>
                  <a:gd name="connsiteY8" fmla="*/ 2219325 h 4114800"/>
                  <a:gd name="connsiteX9" fmla="*/ 4276725 w 4276725"/>
                  <a:gd name="connsiteY9" fmla="*/ 3314700 h 4114800"/>
                  <a:gd name="connsiteX10" fmla="*/ 3952875 w 4276725"/>
                  <a:gd name="connsiteY10" fmla="*/ 3590925 h 4114800"/>
                  <a:gd name="connsiteX11" fmla="*/ 3524250 w 4276725"/>
                  <a:gd name="connsiteY11" fmla="*/ 3914775 h 4114800"/>
                  <a:gd name="connsiteX12" fmla="*/ 3124200 w 4276725"/>
                  <a:gd name="connsiteY12" fmla="*/ 4114800 h 4114800"/>
                  <a:gd name="connsiteX13" fmla="*/ 2514600 w 4276725"/>
                  <a:gd name="connsiteY13" fmla="*/ 4114800 h 4114800"/>
                  <a:gd name="connsiteX14" fmla="*/ 2257425 w 4276725"/>
                  <a:gd name="connsiteY14" fmla="*/ 3695700 h 4114800"/>
                  <a:gd name="connsiteX15" fmla="*/ 1828800 w 4276725"/>
                  <a:gd name="connsiteY15" fmla="*/ 3409950 h 4114800"/>
                  <a:gd name="connsiteX16" fmla="*/ 1476375 w 4276725"/>
                  <a:gd name="connsiteY16" fmla="*/ 3171825 h 4114800"/>
                  <a:gd name="connsiteX17" fmla="*/ 1114425 w 4276725"/>
                  <a:gd name="connsiteY17" fmla="*/ 3019425 h 4114800"/>
                  <a:gd name="connsiteX18" fmla="*/ 933450 w 4276725"/>
                  <a:gd name="connsiteY18" fmla="*/ 2733675 h 4114800"/>
                  <a:gd name="connsiteX19" fmla="*/ 619125 w 4276725"/>
                  <a:gd name="connsiteY19" fmla="*/ 2476500 h 4114800"/>
                  <a:gd name="connsiteX20" fmla="*/ 447675 w 4276725"/>
                  <a:gd name="connsiteY20" fmla="*/ 2571750 h 4114800"/>
                  <a:gd name="connsiteX21" fmla="*/ 152400 w 4276725"/>
                  <a:gd name="connsiteY21" fmla="*/ 2333625 h 4114800"/>
                  <a:gd name="connsiteX22" fmla="*/ 142875 w 4276725"/>
                  <a:gd name="connsiteY22"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4276725 w 4276725"/>
                  <a:gd name="connsiteY9" fmla="*/ 3314700 h 4114800"/>
                  <a:gd name="connsiteX10" fmla="*/ 3952875 w 4276725"/>
                  <a:gd name="connsiteY10" fmla="*/ 3590925 h 4114800"/>
                  <a:gd name="connsiteX11" fmla="*/ 3524250 w 4276725"/>
                  <a:gd name="connsiteY11" fmla="*/ 3914775 h 4114800"/>
                  <a:gd name="connsiteX12" fmla="*/ 3124200 w 4276725"/>
                  <a:gd name="connsiteY12" fmla="*/ 4114800 h 4114800"/>
                  <a:gd name="connsiteX13" fmla="*/ 2514600 w 4276725"/>
                  <a:gd name="connsiteY13" fmla="*/ 4114800 h 4114800"/>
                  <a:gd name="connsiteX14" fmla="*/ 2257425 w 4276725"/>
                  <a:gd name="connsiteY14" fmla="*/ 3695700 h 4114800"/>
                  <a:gd name="connsiteX15" fmla="*/ 1828800 w 4276725"/>
                  <a:gd name="connsiteY15" fmla="*/ 3409950 h 4114800"/>
                  <a:gd name="connsiteX16" fmla="*/ 1476375 w 4276725"/>
                  <a:gd name="connsiteY16" fmla="*/ 3171825 h 4114800"/>
                  <a:gd name="connsiteX17" fmla="*/ 1114425 w 4276725"/>
                  <a:gd name="connsiteY17" fmla="*/ 3019425 h 4114800"/>
                  <a:gd name="connsiteX18" fmla="*/ 933450 w 4276725"/>
                  <a:gd name="connsiteY18" fmla="*/ 2733675 h 4114800"/>
                  <a:gd name="connsiteX19" fmla="*/ 619125 w 4276725"/>
                  <a:gd name="connsiteY19" fmla="*/ 2476500 h 4114800"/>
                  <a:gd name="connsiteX20" fmla="*/ 447675 w 4276725"/>
                  <a:gd name="connsiteY20" fmla="*/ 2571750 h 4114800"/>
                  <a:gd name="connsiteX21" fmla="*/ 152400 w 4276725"/>
                  <a:gd name="connsiteY21" fmla="*/ 2333625 h 4114800"/>
                  <a:gd name="connsiteX22" fmla="*/ 142875 w 4276725"/>
                  <a:gd name="connsiteY22"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4276725 w 4276725"/>
                  <a:gd name="connsiteY9" fmla="*/ 3314700 h 4114800"/>
                  <a:gd name="connsiteX10" fmla="*/ 3952875 w 4276725"/>
                  <a:gd name="connsiteY10" fmla="*/ 3590925 h 4114800"/>
                  <a:gd name="connsiteX11" fmla="*/ 3524250 w 4276725"/>
                  <a:gd name="connsiteY11" fmla="*/ 3914775 h 4114800"/>
                  <a:gd name="connsiteX12" fmla="*/ 3124200 w 4276725"/>
                  <a:gd name="connsiteY12" fmla="*/ 4114800 h 4114800"/>
                  <a:gd name="connsiteX13" fmla="*/ 2514600 w 4276725"/>
                  <a:gd name="connsiteY13" fmla="*/ 4114800 h 4114800"/>
                  <a:gd name="connsiteX14" fmla="*/ 2257425 w 4276725"/>
                  <a:gd name="connsiteY14" fmla="*/ 3695700 h 4114800"/>
                  <a:gd name="connsiteX15" fmla="*/ 1828800 w 4276725"/>
                  <a:gd name="connsiteY15" fmla="*/ 3409950 h 4114800"/>
                  <a:gd name="connsiteX16" fmla="*/ 1476375 w 4276725"/>
                  <a:gd name="connsiteY16" fmla="*/ 3171825 h 4114800"/>
                  <a:gd name="connsiteX17" fmla="*/ 1114425 w 4276725"/>
                  <a:gd name="connsiteY17" fmla="*/ 3019425 h 4114800"/>
                  <a:gd name="connsiteX18" fmla="*/ 933450 w 4276725"/>
                  <a:gd name="connsiteY18" fmla="*/ 2733675 h 4114800"/>
                  <a:gd name="connsiteX19" fmla="*/ 619125 w 4276725"/>
                  <a:gd name="connsiteY19" fmla="*/ 2476500 h 4114800"/>
                  <a:gd name="connsiteX20" fmla="*/ 447675 w 4276725"/>
                  <a:gd name="connsiteY20" fmla="*/ 2571750 h 4114800"/>
                  <a:gd name="connsiteX21" fmla="*/ 152400 w 4276725"/>
                  <a:gd name="connsiteY21" fmla="*/ 2333625 h 4114800"/>
                  <a:gd name="connsiteX22" fmla="*/ 142875 w 4276725"/>
                  <a:gd name="connsiteY22"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4276725 w 4276725"/>
                  <a:gd name="connsiteY9" fmla="*/ 3314700 h 4114800"/>
                  <a:gd name="connsiteX10" fmla="*/ 3952875 w 4276725"/>
                  <a:gd name="connsiteY10" fmla="*/ 3590925 h 4114800"/>
                  <a:gd name="connsiteX11" fmla="*/ 3524250 w 4276725"/>
                  <a:gd name="connsiteY11" fmla="*/ 3914775 h 4114800"/>
                  <a:gd name="connsiteX12" fmla="*/ 3124200 w 4276725"/>
                  <a:gd name="connsiteY12" fmla="*/ 4114800 h 4114800"/>
                  <a:gd name="connsiteX13" fmla="*/ 2514600 w 4276725"/>
                  <a:gd name="connsiteY13" fmla="*/ 4114800 h 4114800"/>
                  <a:gd name="connsiteX14" fmla="*/ 2257425 w 4276725"/>
                  <a:gd name="connsiteY14" fmla="*/ 3695700 h 4114800"/>
                  <a:gd name="connsiteX15" fmla="*/ 1828800 w 4276725"/>
                  <a:gd name="connsiteY15" fmla="*/ 3409950 h 4114800"/>
                  <a:gd name="connsiteX16" fmla="*/ 1476375 w 4276725"/>
                  <a:gd name="connsiteY16" fmla="*/ 3171825 h 4114800"/>
                  <a:gd name="connsiteX17" fmla="*/ 1114425 w 4276725"/>
                  <a:gd name="connsiteY17" fmla="*/ 3019425 h 4114800"/>
                  <a:gd name="connsiteX18" fmla="*/ 933450 w 4276725"/>
                  <a:gd name="connsiteY18" fmla="*/ 2733675 h 4114800"/>
                  <a:gd name="connsiteX19" fmla="*/ 619125 w 4276725"/>
                  <a:gd name="connsiteY19" fmla="*/ 2476500 h 4114800"/>
                  <a:gd name="connsiteX20" fmla="*/ 447675 w 4276725"/>
                  <a:gd name="connsiteY20" fmla="*/ 2571750 h 4114800"/>
                  <a:gd name="connsiteX21" fmla="*/ 152400 w 4276725"/>
                  <a:gd name="connsiteY21" fmla="*/ 2333625 h 4114800"/>
                  <a:gd name="connsiteX22" fmla="*/ 142875 w 4276725"/>
                  <a:gd name="connsiteY22"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2838450 w 4276725"/>
                  <a:gd name="connsiteY9" fmla="*/ 2228850 h 4114800"/>
                  <a:gd name="connsiteX10" fmla="*/ 4276725 w 4276725"/>
                  <a:gd name="connsiteY10" fmla="*/ 3314700 h 4114800"/>
                  <a:gd name="connsiteX11" fmla="*/ 3952875 w 4276725"/>
                  <a:gd name="connsiteY11" fmla="*/ 3590925 h 4114800"/>
                  <a:gd name="connsiteX12" fmla="*/ 3524250 w 4276725"/>
                  <a:gd name="connsiteY12" fmla="*/ 3914775 h 4114800"/>
                  <a:gd name="connsiteX13" fmla="*/ 3124200 w 4276725"/>
                  <a:gd name="connsiteY13" fmla="*/ 4114800 h 4114800"/>
                  <a:gd name="connsiteX14" fmla="*/ 2514600 w 4276725"/>
                  <a:gd name="connsiteY14" fmla="*/ 4114800 h 4114800"/>
                  <a:gd name="connsiteX15" fmla="*/ 2257425 w 4276725"/>
                  <a:gd name="connsiteY15" fmla="*/ 3695700 h 4114800"/>
                  <a:gd name="connsiteX16" fmla="*/ 1828800 w 4276725"/>
                  <a:gd name="connsiteY16" fmla="*/ 3409950 h 4114800"/>
                  <a:gd name="connsiteX17" fmla="*/ 1476375 w 4276725"/>
                  <a:gd name="connsiteY17" fmla="*/ 3171825 h 4114800"/>
                  <a:gd name="connsiteX18" fmla="*/ 1114425 w 4276725"/>
                  <a:gd name="connsiteY18" fmla="*/ 3019425 h 4114800"/>
                  <a:gd name="connsiteX19" fmla="*/ 933450 w 4276725"/>
                  <a:gd name="connsiteY19" fmla="*/ 2733675 h 4114800"/>
                  <a:gd name="connsiteX20" fmla="*/ 619125 w 4276725"/>
                  <a:gd name="connsiteY20" fmla="*/ 2476500 h 4114800"/>
                  <a:gd name="connsiteX21" fmla="*/ 447675 w 4276725"/>
                  <a:gd name="connsiteY21" fmla="*/ 2571750 h 4114800"/>
                  <a:gd name="connsiteX22" fmla="*/ 152400 w 4276725"/>
                  <a:gd name="connsiteY22" fmla="*/ 2333625 h 4114800"/>
                  <a:gd name="connsiteX23" fmla="*/ 142875 w 4276725"/>
                  <a:gd name="connsiteY23"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2838450 w 4276725"/>
                  <a:gd name="connsiteY9" fmla="*/ 2228850 h 4114800"/>
                  <a:gd name="connsiteX10" fmla="*/ 4276725 w 4276725"/>
                  <a:gd name="connsiteY10" fmla="*/ 3314700 h 4114800"/>
                  <a:gd name="connsiteX11" fmla="*/ 3952875 w 4276725"/>
                  <a:gd name="connsiteY11" fmla="*/ 3590925 h 4114800"/>
                  <a:gd name="connsiteX12" fmla="*/ 3524250 w 4276725"/>
                  <a:gd name="connsiteY12" fmla="*/ 3914775 h 4114800"/>
                  <a:gd name="connsiteX13" fmla="*/ 3124200 w 4276725"/>
                  <a:gd name="connsiteY13" fmla="*/ 4114800 h 4114800"/>
                  <a:gd name="connsiteX14" fmla="*/ 2514600 w 4276725"/>
                  <a:gd name="connsiteY14" fmla="*/ 4114800 h 4114800"/>
                  <a:gd name="connsiteX15" fmla="*/ 2257425 w 4276725"/>
                  <a:gd name="connsiteY15" fmla="*/ 3695700 h 4114800"/>
                  <a:gd name="connsiteX16" fmla="*/ 1828800 w 4276725"/>
                  <a:gd name="connsiteY16" fmla="*/ 3409950 h 4114800"/>
                  <a:gd name="connsiteX17" fmla="*/ 1476375 w 4276725"/>
                  <a:gd name="connsiteY17" fmla="*/ 3171825 h 4114800"/>
                  <a:gd name="connsiteX18" fmla="*/ 1114425 w 4276725"/>
                  <a:gd name="connsiteY18" fmla="*/ 3019425 h 4114800"/>
                  <a:gd name="connsiteX19" fmla="*/ 933450 w 4276725"/>
                  <a:gd name="connsiteY19" fmla="*/ 2733675 h 4114800"/>
                  <a:gd name="connsiteX20" fmla="*/ 619125 w 4276725"/>
                  <a:gd name="connsiteY20" fmla="*/ 2476500 h 4114800"/>
                  <a:gd name="connsiteX21" fmla="*/ 447675 w 4276725"/>
                  <a:gd name="connsiteY21" fmla="*/ 2571750 h 4114800"/>
                  <a:gd name="connsiteX22" fmla="*/ 152400 w 4276725"/>
                  <a:gd name="connsiteY22" fmla="*/ 2333625 h 4114800"/>
                  <a:gd name="connsiteX23" fmla="*/ 142875 w 4276725"/>
                  <a:gd name="connsiteY23"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2838450 w 4276725"/>
                  <a:gd name="connsiteY9" fmla="*/ 2228850 h 4114800"/>
                  <a:gd name="connsiteX10" fmla="*/ 4276725 w 4276725"/>
                  <a:gd name="connsiteY10" fmla="*/ 3314700 h 4114800"/>
                  <a:gd name="connsiteX11" fmla="*/ 3952875 w 4276725"/>
                  <a:gd name="connsiteY11" fmla="*/ 3590925 h 4114800"/>
                  <a:gd name="connsiteX12" fmla="*/ 3524250 w 4276725"/>
                  <a:gd name="connsiteY12" fmla="*/ 3914775 h 4114800"/>
                  <a:gd name="connsiteX13" fmla="*/ 3124200 w 4276725"/>
                  <a:gd name="connsiteY13" fmla="*/ 4114800 h 4114800"/>
                  <a:gd name="connsiteX14" fmla="*/ 2514600 w 4276725"/>
                  <a:gd name="connsiteY14" fmla="*/ 4114800 h 4114800"/>
                  <a:gd name="connsiteX15" fmla="*/ 2257425 w 4276725"/>
                  <a:gd name="connsiteY15" fmla="*/ 3695700 h 4114800"/>
                  <a:gd name="connsiteX16" fmla="*/ 1828800 w 4276725"/>
                  <a:gd name="connsiteY16" fmla="*/ 3409950 h 4114800"/>
                  <a:gd name="connsiteX17" fmla="*/ 1476375 w 4276725"/>
                  <a:gd name="connsiteY17" fmla="*/ 3171825 h 4114800"/>
                  <a:gd name="connsiteX18" fmla="*/ 1114425 w 4276725"/>
                  <a:gd name="connsiteY18" fmla="*/ 3019425 h 4114800"/>
                  <a:gd name="connsiteX19" fmla="*/ 933450 w 4276725"/>
                  <a:gd name="connsiteY19" fmla="*/ 2733675 h 4114800"/>
                  <a:gd name="connsiteX20" fmla="*/ 619125 w 4276725"/>
                  <a:gd name="connsiteY20" fmla="*/ 2476500 h 4114800"/>
                  <a:gd name="connsiteX21" fmla="*/ 447675 w 4276725"/>
                  <a:gd name="connsiteY21" fmla="*/ 2571750 h 4114800"/>
                  <a:gd name="connsiteX22" fmla="*/ 152400 w 4276725"/>
                  <a:gd name="connsiteY22" fmla="*/ 2333625 h 4114800"/>
                  <a:gd name="connsiteX23" fmla="*/ 142875 w 4276725"/>
                  <a:gd name="connsiteY23" fmla="*/ 2305050 h 4114800"/>
                  <a:gd name="connsiteX0" fmla="*/ 0 w 4276725"/>
                  <a:gd name="connsiteY0" fmla="*/ 0 h 4114800"/>
                  <a:gd name="connsiteX1" fmla="*/ 1190625 w 4276725"/>
                  <a:gd name="connsiteY1" fmla="*/ 990600 h 4114800"/>
                  <a:gd name="connsiteX2" fmla="*/ 1095375 w 4276725"/>
                  <a:gd name="connsiteY2" fmla="*/ 1152525 h 4114800"/>
                  <a:gd name="connsiteX3" fmla="*/ 1371600 w 4276725"/>
                  <a:gd name="connsiteY3" fmla="*/ 1390650 h 4114800"/>
                  <a:gd name="connsiteX4" fmla="*/ 1276350 w 4276725"/>
                  <a:gd name="connsiteY4" fmla="*/ 1552575 h 4114800"/>
                  <a:gd name="connsiteX5" fmla="*/ 1590675 w 4276725"/>
                  <a:gd name="connsiteY5" fmla="*/ 1762125 h 4114800"/>
                  <a:gd name="connsiteX6" fmla="*/ 1885950 w 4276725"/>
                  <a:gd name="connsiteY6" fmla="*/ 1743075 h 4114800"/>
                  <a:gd name="connsiteX7" fmla="*/ 1562100 w 4276725"/>
                  <a:gd name="connsiteY7" fmla="*/ 2362200 h 4114800"/>
                  <a:gd name="connsiteX8" fmla="*/ 2524125 w 4276725"/>
                  <a:gd name="connsiteY8" fmla="*/ 2162175 h 4114800"/>
                  <a:gd name="connsiteX9" fmla="*/ 2838450 w 4276725"/>
                  <a:gd name="connsiteY9" fmla="*/ 2228850 h 4114800"/>
                  <a:gd name="connsiteX10" fmla="*/ 4276725 w 4276725"/>
                  <a:gd name="connsiteY10" fmla="*/ 3314700 h 4114800"/>
                  <a:gd name="connsiteX11" fmla="*/ 3952875 w 4276725"/>
                  <a:gd name="connsiteY11" fmla="*/ 3590925 h 4114800"/>
                  <a:gd name="connsiteX12" fmla="*/ 3524250 w 4276725"/>
                  <a:gd name="connsiteY12" fmla="*/ 3914775 h 4114800"/>
                  <a:gd name="connsiteX13" fmla="*/ 3124200 w 4276725"/>
                  <a:gd name="connsiteY13" fmla="*/ 4114800 h 4114800"/>
                  <a:gd name="connsiteX14" fmla="*/ 2514600 w 4276725"/>
                  <a:gd name="connsiteY14" fmla="*/ 4114800 h 4114800"/>
                  <a:gd name="connsiteX15" fmla="*/ 2257425 w 4276725"/>
                  <a:gd name="connsiteY15" fmla="*/ 3695700 h 4114800"/>
                  <a:gd name="connsiteX16" fmla="*/ 1828800 w 4276725"/>
                  <a:gd name="connsiteY16" fmla="*/ 3409950 h 4114800"/>
                  <a:gd name="connsiteX17" fmla="*/ 1476375 w 4276725"/>
                  <a:gd name="connsiteY17" fmla="*/ 3171825 h 4114800"/>
                  <a:gd name="connsiteX18" fmla="*/ 1114425 w 4276725"/>
                  <a:gd name="connsiteY18" fmla="*/ 3019425 h 4114800"/>
                  <a:gd name="connsiteX19" fmla="*/ 933450 w 4276725"/>
                  <a:gd name="connsiteY19" fmla="*/ 2733675 h 4114800"/>
                  <a:gd name="connsiteX20" fmla="*/ 619125 w 4276725"/>
                  <a:gd name="connsiteY20" fmla="*/ 2476500 h 4114800"/>
                  <a:gd name="connsiteX21" fmla="*/ 447675 w 4276725"/>
                  <a:gd name="connsiteY21" fmla="*/ 2571750 h 4114800"/>
                  <a:gd name="connsiteX22" fmla="*/ 152400 w 4276725"/>
                  <a:gd name="connsiteY22" fmla="*/ 2333625 h 4114800"/>
                  <a:gd name="connsiteX23" fmla="*/ 142875 w 4276725"/>
                  <a:gd name="connsiteY23" fmla="*/ 2305050 h 4114800"/>
                  <a:gd name="connsiteX0" fmla="*/ 0 w 4302473"/>
                  <a:gd name="connsiteY0" fmla="*/ 0 h 4114800"/>
                  <a:gd name="connsiteX1" fmla="*/ 1190625 w 4302473"/>
                  <a:gd name="connsiteY1" fmla="*/ 990600 h 4114800"/>
                  <a:gd name="connsiteX2" fmla="*/ 1095375 w 4302473"/>
                  <a:gd name="connsiteY2" fmla="*/ 1152525 h 4114800"/>
                  <a:gd name="connsiteX3" fmla="*/ 1371600 w 4302473"/>
                  <a:gd name="connsiteY3" fmla="*/ 1390650 h 4114800"/>
                  <a:gd name="connsiteX4" fmla="*/ 1276350 w 4302473"/>
                  <a:gd name="connsiteY4" fmla="*/ 1552575 h 4114800"/>
                  <a:gd name="connsiteX5" fmla="*/ 1590675 w 4302473"/>
                  <a:gd name="connsiteY5" fmla="*/ 1762125 h 4114800"/>
                  <a:gd name="connsiteX6" fmla="*/ 1885950 w 4302473"/>
                  <a:gd name="connsiteY6" fmla="*/ 1743075 h 4114800"/>
                  <a:gd name="connsiteX7" fmla="*/ 1562100 w 4302473"/>
                  <a:gd name="connsiteY7" fmla="*/ 2362200 h 4114800"/>
                  <a:gd name="connsiteX8" fmla="*/ 2524125 w 4302473"/>
                  <a:gd name="connsiteY8" fmla="*/ 2162175 h 4114800"/>
                  <a:gd name="connsiteX9" fmla="*/ 2838450 w 4302473"/>
                  <a:gd name="connsiteY9" fmla="*/ 2228850 h 4114800"/>
                  <a:gd name="connsiteX10" fmla="*/ 4276725 w 4302473"/>
                  <a:gd name="connsiteY10" fmla="*/ 3314700 h 4114800"/>
                  <a:gd name="connsiteX11" fmla="*/ 3952875 w 4302473"/>
                  <a:gd name="connsiteY11" fmla="*/ 3590925 h 4114800"/>
                  <a:gd name="connsiteX12" fmla="*/ 3524250 w 4302473"/>
                  <a:gd name="connsiteY12" fmla="*/ 3914775 h 4114800"/>
                  <a:gd name="connsiteX13" fmla="*/ 3124200 w 4302473"/>
                  <a:gd name="connsiteY13" fmla="*/ 4114800 h 4114800"/>
                  <a:gd name="connsiteX14" fmla="*/ 2514600 w 4302473"/>
                  <a:gd name="connsiteY14" fmla="*/ 4114800 h 4114800"/>
                  <a:gd name="connsiteX15" fmla="*/ 2257425 w 4302473"/>
                  <a:gd name="connsiteY15" fmla="*/ 3695700 h 4114800"/>
                  <a:gd name="connsiteX16" fmla="*/ 1828800 w 4302473"/>
                  <a:gd name="connsiteY16" fmla="*/ 3409950 h 4114800"/>
                  <a:gd name="connsiteX17" fmla="*/ 1476375 w 4302473"/>
                  <a:gd name="connsiteY17" fmla="*/ 3171825 h 4114800"/>
                  <a:gd name="connsiteX18" fmla="*/ 1114425 w 4302473"/>
                  <a:gd name="connsiteY18" fmla="*/ 3019425 h 4114800"/>
                  <a:gd name="connsiteX19" fmla="*/ 933450 w 4302473"/>
                  <a:gd name="connsiteY19" fmla="*/ 2733675 h 4114800"/>
                  <a:gd name="connsiteX20" fmla="*/ 619125 w 4302473"/>
                  <a:gd name="connsiteY20" fmla="*/ 2476500 h 4114800"/>
                  <a:gd name="connsiteX21" fmla="*/ 447675 w 4302473"/>
                  <a:gd name="connsiteY21" fmla="*/ 2571750 h 4114800"/>
                  <a:gd name="connsiteX22" fmla="*/ 152400 w 4302473"/>
                  <a:gd name="connsiteY22" fmla="*/ 2333625 h 4114800"/>
                  <a:gd name="connsiteX23" fmla="*/ 142875 w 4302473"/>
                  <a:gd name="connsiteY23" fmla="*/ 2305050 h 4114800"/>
                  <a:gd name="connsiteX0" fmla="*/ 0 w 4315610"/>
                  <a:gd name="connsiteY0" fmla="*/ 0 h 4114800"/>
                  <a:gd name="connsiteX1" fmla="*/ 1190625 w 4315610"/>
                  <a:gd name="connsiteY1" fmla="*/ 990600 h 4114800"/>
                  <a:gd name="connsiteX2" fmla="*/ 1095375 w 4315610"/>
                  <a:gd name="connsiteY2" fmla="*/ 1152525 h 4114800"/>
                  <a:gd name="connsiteX3" fmla="*/ 1371600 w 4315610"/>
                  <a:gd name="connsiteY3" fmla="*/ 1390650 h 4114800"/>
                  <a:gd name="connsiteX4" fmla="*/ 1276350 w 4315610"/>
                  <a:gd name="connsiteY4" fmla="*/ 1552575 h 4114800"/>
                  <a:gd name="connsiteX5" fmla="*/ 1590675 w 4315610"/>
                  <a:gd name="connsiteY5" fmla="*/ 1762125 h 4114800"/>
                  <a:gd name="connsiteX6" fmla="*/ 1885950 w 4315610"/>
                  <a:gd name="connsiteY6" fmla="*/ 1743075 h 4114800"/>
                  <a:gd name="connsiteX7" fmla="*/ 1562100 w 4315610"/>
                  <a:gd name="connsiteY7" fmla="*/ 2362200 h 4114800"/>
                  <a:gd name="connsiteX8" fmla="*/ 2524125 w 4315610"/>
                  <a:gd name="connsiteY8" fmla="*/ 2162175 h 4114800"/>
                  <a:gd name="connsiteX9" fmla="*/ 2838450 w 4315610"/>
                  <a:gd name="connsiteY9" fmla="*/ 2228850 h 4114800"/>
                  <a:gd name="connsiteX10" fmla="*/ 4276725 w 4315610"/>
                  <a:gd name="connsiteY10" fmla="*/ 3314700 h 4114800"/>
                  <a:gd name="connsiteX11" fmla="*/ 3952875 w 4315610"/>
                  <a:gd name="connsiteY11" fmla="*/ 3590925 h 4114800"/>
                  <a:gd name="connsiteX12" fmla="*/ 3524250 w 4315610"/>
                  <a:gd name="connsiteY12" fmla="*/ 3914775 h 4114800"/>
                  <a:gd name="connsiteX13" fmla="*/ 3124200 w 4315610"/>
                  <a:gd name="connsiteY13" fmla="*/ 4114800 h 4114800"/>
                  <a:gd name="connsiteX14" fmla="*/ 2514600 w 4315610"/>
                  <a:gd name="connsiteY14" fmla="*/ 4114800 h 4114800"/>
                  <a:gd name="connsiteX15" fmla="*/ 2257425 w 4315610"/>
                  <a:gd name="connsiteY15" fmla="*/ 3695700 h 4114800"/>
                  <a:gd name="connsiteX16" fmla="*/ 1828800 w 4315610"/>
                  <a:gd name="connsiteY16" fmla="*/ 3409950 h 4114800"/>
                  <a:gd name="connsiteX17" fmla="*/ 1476375 w 4315610"/>
                  <a:gd name="connsiteY17" fmla="*/ 3171825 h 4114800"/>
                  <a:gd name="connsiteX18" fmla="*/ 1114425 w 4315610"/>
                  <a:gd name="connsiteY18" fmla="*/ 3019425 h 4114800"/>
                  <a:gd name="connsiteX19" fmla="*/ 933450 w 4315610"/>
                  <a:gd name="connsiteY19" fmla="*/ 2733675 h 4114800"/>
                  <a:gd name="connsiteX20" fmla="*/ 619125 w 4315610"/>
                  <a:gd name="connsiteY20" fmla="*/ 2476500 h 4114800"/>
                  <a:gd name="connsiteX21" fmla="*/ 447675 w 4315610"/>
                  <a:gd name="connsiteY21" fmla="*/ 2571750 h 4114800"/>
                  <a:gd name="connsiteX22" fmla="*/ 152400 w 4315610"/>
                  <a:gd name="connsiteY22" fmla="*/ 2333625 h 4114800"/>
                  <a:gd name="connsiteX23" fmla="*/ 142875 w 4315610"/>
                  <a:gd name="connsiteY23" fmla="*/ 2305050 h 4114800"/>
                  <a:gd name="connsiteX0" fmla="*/ 0 w 4251400"/>
                  <a:gd name="connsiteY0" fmla="*/ 0 h 4114800"/>
                  <a:gd name="connsiteX1" fmla="*/ 1190625 w 4251400"/>
                  <a:gd name="connsiteY1" fmla="*/ 990600 h 4114800"/>
                  <a:gd name="connsiteX2" fmla="*/ 1095375 w 4251400"/>
                  <a:gd name="connsiteY2" fmla="*/ 1152525 h 4114800"/>
                  <a:gd name="connsiteX3" fmla="*/ 1371600 w 4251400"/>
                  <a:gd name="connsiteY3" fmla="*/ 1390650 h 4114800"/>
                  <a:gd name="connsiteX4" fmla="*/ 1276350 w 4251400"/>
                  <a:gd name="connsiteY4" fmla="*/ 1552575 h 4114800"/>
                  <a:gd name="connsiteX5" fmla="*/ 1590675 w 4251400"/>
                  <a:gd name="connsiteY5" fmla="*/ 1762125 h 4114800"/>
                  <a:gd name="connsiteX6" fmla="*/ 1885950 w 4251400"/>
                  <a:gd name="connsiteY6" fmla="*/ 1743075 h 4114800"/>
                  <a:gd name="connsiteX7" fmla="*/ 1562100 w 4251400"/>
                  <a:gd name="connsiteY7" fmla="*/ 2362200 h 4114800"/>
                  <a:gd name="connsiteX8" fmla="*/ 2524125 w 4251400"/>
                  <a:gd name="connsiteY8" fmla="*/ 2162175 h 4114800"/>
                  <a:gd name="connsiteX9" fmla="*/ 2838450 w 4251400"/>
                  <a:gd name="connsiteY9" fmla="*/ 2228850 h 4114800"/>
                  <a:gd name="connsiteX10" fmla="*/ 4200525 w 4251400"/>
                  <a:gd name="connsiteY10" fmla="*/ 3267075 h 4114800"/>
                  <a:gd name="connsiteX11" fmla="*/ 3952875 w 4251400"/>
                  <a:gd name="connsiteY11" fmla="*/ 3590925 h 4114800"/>
                  <a:gd name="connsiteX12" fmla="*/ 3524250 w 4251400"/>
                  <a:gd name="connsiteY12" fmla="*/ 3914775 h 4114800"/>
                  <a:gd name="connsiteX13" fmla="*/ 3124200 w 4251400"/>
                  <a:gd name="connsiteY13" fmla="*/ 4114800 h 4114800"/>
                  <a:gd name="connsiteX14" fmla="*/ 2514600 w 4251400"/>
                  <a:gd name="connsiteY14" fmla="*/ 4114800 h 4114800"/>
                  <a:gd name="connsiteX15" fmla="*/ 2257425 w 4251400"/>
                  <a:gd name="connsiteY15" fmla="*/ 3695700 h 4114800"/>
                  <a:gd name="connsiteX16" fmla="*/ 1828800 w 4251400"/>
                  <a:gd name="connsiteY16" fmla="*/ 3409950 h 4114800"/>
                  <a:gd name="connsiteX17" fmla="*/ 1476375 w 4251400"/>
                  <a:gd name="connsiteY17" fmla="*/ 3171825 h 4114800"/>
                  <a:gd name="connsiteX18" fmla="*/ 1114425 w 4251400"/>
                  <a:gd name="connsiteY18" fmla="*/ 3019425 h 4114800"/>
                  <a:gd name="connsiteX19" fmla="*/ 933450 w 4251400"/>
                  <a:gd name="connsiteY19" fmla="*/ 2733675 h 4114800"/>
                  <a:gd name="connsiteX20" fmla="*/ 619125 w 4251400"/>
                  <a:gd name="connsiteY20" fmla="*/ 2476500 h 4114800"/>
                  <a:gd name="connsiteX21" fmla="*/ 447675 w 4251400"/>
                  <a:gd name="connsiteY21" fmla="*/ 2571750 h 4114800"/>
                  <a:gd name="connsiteX22" fmla="*/ 152400 w 4251400"/>
                  <a:gd name="connsiteY22" fmla="*/ 2333625 h 4114800"/>
                  <a:gd name="connsiteX23" fmla="*/ 142875 w 4251400"/>
                  <a:gd name="connsiteY23" fmla="*/ 2305050 h 4114800"/>
                  <a:gd name="connsiteX0" fmla="*/ 0 w 4305862"/>
                  <a:gd name="connsiteY0" fmla="*/ 0 h 4114800"/>
                  <a:gd name="connsiteX1" fmla="*/ 1190625 w 4305862"/>
                  <a:gd name="connsiteY1" fmla="*/ 990600 h 4114800"/>
                  <a:gd name="connsiteX2" fmla="*/ 1095375 w 4305862"/>
                  <a:gd name="connsiteY2" fmla="*/ 1152525 h 4114800"/>
                  <a:gd name="connsiteX3" fmla="*/ 1371600 w 4305862"/>
                  <a:gd name="connsiteY3" fmla="*/ 1390650 h 4114800"/>
                  <a:gd name="connsiteX4" fmla="*/ 1276350 w 4305862"/>
                  <a:gd name="connsiteY4" fmla="*/ 1552575 h 4114800"/>
                  <a:gd name="connsiteX5" fmla="*/ 1590675 w 4305862"/>
                  <a:gd name="connsiteY5" fmla="*/ 1762125 h 4114800"/>
                  <a:gd name="connsiteX6" fmla="*/ 1885950 w 4305862"/>
                  <a:gd name="connsiteY6" fmla="*/ 1743075 h 4114800"/>
                  <a:gd name="connsiteX7" fmla="*/ 1562100 w 4305862"/>
                  <a:gd name="connsiteY7" fmla="*/ 2362200 h 4114800"/>
                  <a:gd name="connsiteX8" fmla="*/ 2524125 w 4305862"/>
                  <a:gd name="connsiteY8" fmla="*/ 2162175 h 4114800"/>
                  <a:gd name="connsiteX9" fmla="*/ 2838450 w 4305862"/>
                  <a:gd name="connsiteY9" fmla="*/ 2228850 h 4114800"/>
                  <a:gd name="connsiteX10" fmla="*/ 4200525 w 4305862"/>
                  <a:gd name="connsiteY10" fmla="*/ 3267075 h 4114800"/>
                  <a:gd name="connsiteX11" fmla="*/ 3952875 w 4305862"/>
                  <a:gd name="connsiteY11" fmla="*/ 3590925 h 4114800"/>
                  <a:gd name="connsiteX12" fmla="*/ 3524250 w 4305862"/>
                  <a:gd name="connsiteY12" fmla="*/ 3914775 h 4114800"/>
                  <a:gd name="connsiteX13" fmla="*/ 3124200 w 4305862"/>
                  <a:gd name="connsiteY13" fmla="*/ 4114800 h 4114800"/>
                  <a:gd name="connsiteX14" fmla="*/ 2514600 w 4305862"/>
                  <a:gd name="connsiteY14" fmla="*/ 4114800 h 4114800"/>
                  <a:gd name="connsiteX15" fmla="*/ 2257425 w 4305862"/>
                  <a:gd name="connsiteY15" fmla="*/ 3695700 h 4114800"/>
                  <a:gd name="connsiteX16" fmla="*/ 1828800 w 4305862"/>
                  <a:gd name="connsiteY16" fmla="*/ 3409950 h 4114800"/>
                  <a:gd name="connsiteX17" fmla="*/ 1476375 w 4305862"/>
                  <a:gd name="connsiteY17" fmla="*/ 3171825 h 4114800"/>
                  <a:gd name="connsiteX18" fmla="*/ 1114425 w 4305862"/>
                  <a:gd name="connsiteY18" fmla="*/ 3019425 h 4114800"/>
                  <a:gd name="connsiteX19" fmla="*/ 933450 w 4305862"/>
                  <a:gd name="connsiteY19" fmla="*/ 2733675 h 4114800"/>
                  <a:gd name="connsiteX20" fmla="*/ 619125 w 4305862"/>
                  <a:gd name="connsiteY20" fmla="*/ 2476500 h 4114800"/>
                  <a:gd name="connsiteX21" fmla="*/ 447675 w 4305862"/>
                  <a:gd name="connsiteY21" fmla="*/ 2571750 h 4114800"/>
                  <a:gd name="connsiteX22" fmla="*/ 152400 w 4305862"/>
                  <a:gd name="connsiteY22" fmla="*/ 2333625 h 4114800"/>
                  <a:gd name="connsiteX23" fmla="*/ 142875 w 4305862"/>
                  <a:gd name="connsiteY23" fmla="*/ 2305050 h 4114800"/>
                  <a:gd name="connsiteX0" fmla="*/ 0 w 4296221"/>
                  <a:gd name="connsiteY0" fmla="*/ 0 h 4114800"/>
                  <a:gd name="connsiteX1" fmla="*/ 1190625 w 4296221"/>
                  <a:gd name="connsiteY1" fmla="*/ 990600 h 4114800"/>
                  <a:gd name="connsiteX2" fmla="*/ 1095375 w 4296221"/>
                  <a:gd name="connsiteY2" fmla="*/ 1152525 h 4114800"/>
                  <a:gd name="connsiteX3" fmla="*/ 1371600 w 4296221"/>
                  <a:gd name="connsiteY3" fmla="*/ 1390650 h 4114800"/>
                  <a:gd name="connsiteX4" fmla="*/ 1276350 w 4296221"/>
                  <a:gd name="connsiteY4" fmla="*/ 1552575 h 4114800"/>
                  <a:gd name="connsiteX5" fmla="*/ 1590675 w 4296221"/>
                  <a:gd name="connsiteY5" fmla="*/ 1762125 h 4114800"/>
                  <a:gd name="connsiteX6" fmla="*/ 1885950 w 4296221"/>
                  <a:gd name="connsiteY6" fmla="*/ 1743075 h 4114800"/>
                  <a:gd name="connsiteX7" fmla="*/ 1562100 w 4296221"/>
                  <a:gd name="connsiteY7" fmla="*/ 2362200 h 4114800"/>
                  <a:gd name="connsiteX8" fmla="*/ 2524125 w 4296221"/>
                  <a:gd name="connsiteY8" fmla="*/ 2162175 h 4114800"/>
                  <a:gd name="connsiteX9" fmla="*/ 2838450 w 4296221"/>
                  <a:gd name="connsiteY9" fmla="*/ 2228850 h 4114800"/>
                  <a:gd name="connsiteX10" fmla="*/ 4200525 w 4296221"/>
                  <a:gd name="connsiteY10" fmla="*/ 3267075 h 4114800"/>
                  <a:gd name="connsiteX11" fmla="*/ 3905250 w 4296221"/>
                  <a:gd name="connsiteY11" fmla="*/ 3552825 h 4114800"/>
                  <a:gd name="connsiteX12" fmla="*/ 3524250 w 4296221"/>
                  <a:gd name="connsiteY12" fmla="*/ 3914775 h 4114800"/>
                  <a:gd name="connsiteX13" fmla="*/ 3124200 w 4296221"/>
                  <a:gd name="connsiteY13" fmla="*/ 4114800 h 4114800"/>
                  <a:gd name="connsiteX14" fmla="*/ 2514600 w 4296221"/>
                  <a:gd name="connsiteY14" fmla="*/ 4114800 h 4114800"/>
                  <a:gd name="connsiteX15" fmla="*/ 2257425 w 4296221"/>
                  <a:gd name="connsiteY15" fmla="*/ 3695700 h 4114800"/>
                  <a:gd name="connsiteX16" fmla="*/ 1828800 w 4296221"/>
                  <a:gd name="connsiteY16" fmla="*/ 3409950 h 4114800"/>
                  <a:gd name="connsiteX17" fmla="*/ 1476375 w 4296221"/>
                  <a:gd name="connsiteY17" fmla="*/ 3171825 h 4114800"/>
                  <a:gd name="connsiteX18" fmla="*/ 1114425 w 4296221"/>
                  <a:gd name="connsiteY18" fmla="*/ 3019425 h 4114800"/>
                  <a:gd name="connsiteX19" fmla="*/ 933450 w 4296221"/>
                  <a:gd name="connsiteY19" fmla="*/ 2733675 h 4114800"/>
                  <a:gd name="connsiteX20" fmla="*/ 619125 w 4296221"/>
                  <a:gd name="connsiteY20" fmla="*/ 2476500 h 4114800"/>
                  <a:gd name="connsiteX21" fmla="*/ 447675 w 4296221"/>
                  <a:gd name="connsiteY21" fmla="*/ 2571750 h 4114800"/>
                  <a:gd name="connsiteX22" fmla="*/ 152400 w 4296221"/>
                  <a:gd name="connsiteY22" fmla="*/ 2333625 h 4114800"/>
                  <a:gd name="connsiteX23" fmla="*/ 142875 w 4296221"/>
                  <a:gd name="connsiteY23" fmla="*/ 2305050 h 4114800"/>
                  <a:gd name="connsiteX0" fmla="*/ 0 w 4243525"/>
                  <a:gd name="connsiteY0" fmla="*/ 0 h 4114800"/>
                  <a:gd name="connsiteX1" fmla="*/ 1190625 w 4243525"/>
                  <a:gd name="connsiteY1" fmla="*/ 990600 h 4114800"/>
                  <a:gd name="connsiteX2" fmla="*/ 1095375 w 4243525"/>
                  <a:gd name="connsiteY2" fmla="*/ 1152525 h 4114800"/>
                  <a:gd name="connsiteX3" fmla="*/ 1371600 w 4243525"/>
                  <a:gd name="connsiteY3" fmla="*/ 1390650 h 4114800"/>
                  <a:gd name="connsiteX4" fmla="*/ 1276350 w 4243525"/>
                  <a:gd name="connsiteY4" fmla="*/ 1552575 h 4114800"/>
                  <a:gd name="connsiteX5" fmla="*/ 1590675 w 4243525"/>
                  <a:gd name="connsiteY5" fmla="*/ 1762125 h 4114800"/>
                  <a:gd name="connsiteX6" fmla="*/ 1885950 w 4243525"/>
                  <a:gd name="connsiteY6" fmla="*/ 1743075 h 4114800"/>
                  <a:gd name="connsiteX7" fmla="*/ 1562100 w 4243525"/>
                  <a:gd name="connsiteY7" fmla="*/ 2362200 h 4114800"/>
                  <a:gd name="connsiteX8" fmla="*/ 2524125 w 4243525"/>
                  <a:gd name="connsiteY8" fmla="*/ 2162175 h 4114800"/>
                  <a:gd name="connsiteX9" fmla="*/ 2838450 w 4243525"/>
                  <a:gd name="connsiteY9" fmla="*/ 2228850 h 4114800"/>
                  <a:gd name="connsiteX10" fmla="*/ 4133850 w 4243525"/>
                  <a:gd name="connsiteY10" fmla="*/ 3181350 h 4114800"/>
                  <a:gd name="connsiteX11" fmla="*/ 3905250 w 4243525"/>
                  <a:gd name="connsiteY11" fmla="*/ 3552825 h 4114800"/>
                  <a:gd name="connsiteX12" fmla="*/ 3524250 w 4243525"/>
                  <a:gd name="connsiteY12" fmla="*/ 3914775 h 4114800"/>
                  <a:gd name="connsiteX13" fmla="*/ 3124200 w 4243525"/>
                  <a:gd name="connsiteY13" fmla="*/ 4114800 h 4114800"/>
                  <a:gd name="connsiteX14" fmla="*/ 2514600 w 4243525"/>
                  <a:gd name="connsiteY14" fmla="*/ 4114800 h 4114800"/>
                  <a:gd name="connsiteX15" fmla="*/ 2257425 w 4243525"/>
                  <a:gd name="connsiteY15" fmla="*/ 3695700 h 4114800"/>
                  <a:gd name="connsiteX16" fmla="*/ 1828800 w 4243525"/>
                  <a:gd name="connsiteY16" fmla="*/ 3409950 h 4114800"/>
                  <a:gd name="connsiteX17" fmla="*/ 1476375 w 4243525"/>
                  <a:gd name="connsiteY17" fmla="*/ 3171825 h 4114800"/>
                  <a:gd name="connsiteX18" fmla="*/ 1114425 w 4243525"/>
                  <a:gd name="connsiteY18" fmla="*/ 3019425 h 4114800"/>
                  <a:gd name="connsiteX19" fmla="*/ 933450 w 4243525"/>
                  <a:gd name="connsiteY19" fmla="*/ 2733675 h 4114800"/>
                  <a:gd name="connsiteX20" fmla="*/ 619125 w 4243525"/>
                  <a:gd name="connsiteY20" fmla="*/ 2476500 h 4114800"/>
                  <a:gd name="connsiteX21" fmla="*/ 447675 w 4243525"/>
                  <a:gd name="connsiteY21" fmla="*/ 2571750 h 4114800"/>
                  <a:gd name="connsiteX22" fmla="*/ 152400 w 4243525"/>
                  <a:gd name="connsiteY22" fmla="*/ 2333625 h 4114800"/>
                  <a:gd name="connsiteX23" fmla="*/ 142875 w 4243525"/>
                  <a:gd name="connsiteY23" fmla="*/ 2305050 h 4114800"/>
                  <a:gd name="connsiteX0" fmla="*/ 0 w 4268878"/>
                  <a:gd name="connsiteY0" fmla="*/ 0 h 4114800"/>
                  <a:gd name="connsiteX1" fmla="*/ 1190625 w 4268878"/>
                  <a:gd name="connsiteY1" fmla="*/ 990600 h 4114800"/>
                  <a:gd name="connsiteX2" fmla="*/ 1095375 w 4268878"/>
                  <a:gd name="connsiteY2" fmla="*/ 1152525 h 4114800"/>
                  <a:gd name="connsiteX3" fmla="*/ 1371600 w 4268878"/>
                  <a:gd name="connsiteY3" fmla="*/ 1390650 h 4114800"/>
                  <a:gd name="connsiteX4" fmla="*/ 1276350 w 4268878"/>
                  <a:gd name="connsiteY4" fmla="*/ 1552575 h 4114800"/>
                  <a:gd name="connsiteX5" fmla="*/ 1590675 w 4268878"/>
                  <a:gd name="connsiteY5" fmla="*/ 1762125 h 4114800"/>
                  <a:gd name="connsiteX6" fmla="*/ 1885950 w 4268878"/>
                  <a:gd name="connsiteY6" fmla="*/ 1743075 h 4114800"/>
                  <a:gd name="connsiteX7" fmla="*/ 1562100 w 4268878"/>
                  <a:gd name="connsiteY7" fmla="*/ 2362200 h 4114800"/>
                  <a:gd name="connsiteX8" fmla="*/ 2524125 w 4268878"/>
                  <a:gd name="connsiteY8" fmla="*/ 2162175 h 4114800"/>
                  <a:gd name="connsiteX9" fmla="*/ 2838450 w 4268878"/>
                  <a:gd name="connsiteY9" fmla="*/ 2228850 h 4114800"/>
                  <a:gd name="connsiteX10" fmla="*/ 4133850 w 4268878"/>
                  <a:gd name="connsiteY10" fmla="*/ 3181350 h 4114800"/>
                  <a:gd name="connsiteX11" fmla="*/ 3905250 w 4268878"/>
                  <a:gd name="connsiteY11" fmla="*/ 3552825 h 4114800"/>
                  <a:gd name="connsiteX12" fmla="*/ 3524250 w 4268878"/>
                  <a:gd name="connsiteY12" fmla="*/ 3914775 h 4114800"/>
                  <a:gd name="connsiteX13" fmla="*/ 3124200 w 4268878"/>
                  <a:gd name="connsiteY13" fmla="*/ 4114800 h 4114800"/>
                  <a:gd name="connsiteX14" fmla="*/ 2514600 w 4268878"/>
                  <a:gd name="connsiteY14" fmla="*/ 4114800 h 4114800"/>
                  <a:gd name="connsiteX15" fmla="*/ 2257425 w 4268878"/>
                  <a:gd name="connsiteY15" fmla="*/ 3695700 h 4114800"/>
                  <a:gd name="connsiteX16" fmla="*/ 1828800 w 4268878"/>
                  <a:gd name="connsiteY16" fmla="*/ 3409950 h 4114800"/>
                  <a:gd name="connsiteX17" fmla="*/ 1476375 w 4268878"/>
                  <a:gd name="connsiteY17" fmla="*/ 3171825 h 4114800"/>
                  <a:gd name="connsiteX18" fmla="*/ 1114425 w 4268878"/>
                  <a:gd name="connsiteY18" fmla="*/ 3019425 h 4114800"/>
                  <a:gd name="connsiteX19" fmla="*/ 933450 w 4268878"/>
                  <a:gd name="connsiteY19" fmla="*/ 2733675 h 4114800"/>
                  <a:gd name="connsiteX20" fmla="*/ 619125 w 4268878"/>
                  <a:gd name="connsiteY20" fmla="*/ 2476500 h 4114800"/>
                  <a:gd name="connsiteX21" fmla="*/ 447675 w 4268878"/>
                  <a:gd name="connsiteY21" fmla="*/ 2571750 h 4114800"/>
                  <a:gd name="connsiteX22" fmla="*/ 152400 w 4268878"/>
                  <a:gd name="connsiteY22" fmla="*/ 2333625 h 4114800"/>
                  <a:gd name="connsiteX23" fmla="*/ 142875 w 4268878"/>
                  <a:gd name="connsiteY23" fmla="*/ 2305050 h 4114800"/>
                  <a:gd name="connsiteX0" fmla="*/ 0 w 4268878"/>
                  <a:gd name="connsiteY0" fmla="*/ 0 h 4114800"/>
                  <a:gd name="connsiteX1" fmla="*/ 1190625 w 4268878"/>
                  <a:gd name="connsiteY1" fmla="*/ 990600 h 4114800"/>
                  <a:gd name="connsiteX2" fmla="*/ 1095375 w 4268878"/>
                  <a:gd name="connsiteY2" fmla="*/ 1152525 h 4114800"/>
                  <a:gd name="connsiteX3" fmla="*/ 1371600 w 4268878"/>
                  <a:gd name="connsiteY3" fmla="*/ 1390650 h 4114800"/>
                  <a:gd name="connsiteX4" fmla="*/ 1276350 w 4268878"/>
                  <a:gd name="connsiteY4" fmla="*/ 1552575 h 4114800"/>
                  <a:gd name="connsiteX5" fmla="*/ 1590675 w 4268878"/>
                  <a:gd name="connsiteY5" fmla="*/ 1762125 h 4114800"/>
                  <a:gd name="connsiteX6" fmla="*/ 1885950 w 4268878"/>
                  <a:gd name="connsiteY6" fmla="*/ 1743075 h 4114800"/>
                  <a:gd name="connsiteX7" fmla="*/ 1562100 w 4268878"/>
                  <a:gd name="connsiteY7" fmla="*/ 2362200 h 4114800"/>
                  <a:gd name="connsiteX8" fmla="*/ 2524125 w 4268878"/>
                  <a:gd name="connsiteY8" fmla="*/ 2162175 h 4114800"/>
                  <a:gd name="connsiteX9" fmla="*/ 2838450 w 4268878"/>
                  <a:gd name="connsiteY9" fmla="*/ 2228850 h 4114800"/>
                  <a:gd name="connsiteX10" fmla="*/ 4133850 w 4268878"/>
                  <a:gd name="connsiteY10" fmla="*/ 3181350 h 4114800"/>
                  <a:gd name="connsiteX11" fmla="*/ 3905250 w 4268878"/>
                  <a:gd name="connsiteY11" fmla="*/ 3552825 h 4114800"/>
                  <a:gd name="connsiteX12" fmla="*/ 3524250 w 4268878"/>
                  <a:gd name="connsiteY12" fmla="*/ 3914775 h 4114800"/>
                  <a:gd name="connsiteX13" fmla="*/ 3124200 w 4268878"/>
                  <a:gd name="connsiteY13" fmla="*/ 4114800 h 4114800"/>
                  <a:gd name="connsiteX14" fmla="*/ 2514600 w 4268878"/>
                  <a:gd name="connsiteY14" fmla="*/ 4114800 h 4114800"/>
                  <a:gd name="connsiteX15" fmla="*/ 2257425 w 4268878"/>
                  <a:gd name="connsiteY15" fmla="*/ 3695700 h 4114800"/>
                  <a:gd name="connsiteX16" fmla="*/ 1828800 w 4268878"/>
                  <a:gd name="connsiteY16" fmla="*/ 3409950 h 4114800"/>
                  <a:gd name="connsiteX17" fmla="*/ 1476375 w 4268878"/>
                  <a:gd name="connsiteY17" fmla="*/ 3171825 h 4114800"/>
                  <a:gd name="connsiteX18" fmla="*/ 1114425 w 4268878"/>
                  <a:gd name="connsiteY18" fmla="*/ 3019425 h 4114800"/>
                  <a:gd name="connsiteX19" fmla="*/ 933450 w 4268878"/>
                  <a:gd name="connsiteY19" fmla="*/ 2733675 h 4114800"/>
                  <a:gd name="connsiteX20" fmla="*/ 619125 w 4268878"/>
                  <a:gd name="connsiteY20" fmla="*/ 2476500 h 4114800"/>
                  <a:gd name="connsiteX21" fmla="*/ 447675 w 4268878"/>
                  <a:gd name="connsiteY21" fmla="*/ 2571750 h 4114800"/>
                  <a:gd name="connsiteX22" fmla="*/ 152400 w 4268878"/>
                  <a:gd name="connsiteY22" fmla="*/ 2333625 h 4114800"/>
                  <a:gd name="connsiteX23" fmla="*/ 142875 w 4268878"/>
                  <a:gd name="connsiteY23" fmla="*/ 2305050 h 4114800"/>
                  <a:gd name="connsiteX0" fmla="*/ 0 w 4268878"/>
                  <a:gd name="connsiteY0" fmla="*/ 0 h 4114800"/>
                  <a:gd name="connsiteX1" fmla="*/ 1190625 w 4268878"/>
                  <a:gd name="connsiteY1" fmla="*/ 990600 h 4114800"/>
                  <a:gd name="connsiteX2" fmla="*/ 1095375 w 4268878"/>
                  <a:gd name="connsiteY2" fmla="*/ 1152525 h 4114800"/>
                  <a:gd name="connsiteX3" fmla="*/ 1371600 w 4268878"/>
                  <a:gd name="connsiteY3" fmla="*/ 1390650 h 4114800"/>
                  <a:gd name="connsiteX4" fmla="*/ 1276350 w 4268878"/>
                  <a:gd name="connsiteY4" fmla="*/ 1552575 h 4114800"/>
                  <a:gd name="connsiteX5" fmla="*/ 1590675 w 4268878"/>
                  <a:gd name="connsiteY5" fmla="*/ 1762125 h 4114800"/>
                  <a:gd name="connsiteX6" fmla="*/ 1885950 w 4268878"/>
                  <a:gd name="connsiteY6" fmla="*/ 1743075 h 4114800"/>
                  <a:gd name="connsiteX7" fmla="*/ 1562100 w 4268878"/>
                  <a:gd name="connsiteY7" fmla="*/ 2362200 h 4114800"/>
                  <a:gd name="connsiteX8" fmla="*/ 2524125 w 4268878"/>
                  <a:gd name="connsiteY8" fmla="*/ 2162175 h 4114800"/>
                  <a:gd name="connsiteX9" fmla="*/ 2838450 w 4268878"/>
                  <a:gd name="connsiteY9" fmla="*/ 2228850 h 4114800"/>
                  <a:gd name="connsiteX10" fmla="*/ 4133850 w 4268878"/>
                  <a:gd name="connsiteY10" fmla="*/ 3181350 h 4114800"/>
                  <a:gd name="connsiteX11" fmla="*/ 3905250 w 4268878"/>
                  <a:gd name="connsiteY11" fmla="*/ 3552825 h 4114800"/>
                  <a:gd name="connsiteX12" fmla="*/ 3524250 w 4268878"/>
                  <a:gd name="connsiteY12" fmla="*/ 3886200 h 4114800"/>
                  <a:gd name="connsiteX13" fmla="*/ 3124200 w 4268878"/>
                  <a:gd name="connsiteY13" fmla="*/ 4114800 h 4114800"/>
                  <a:gd name="connsiteX14" fmla="*/ 2514600 w 4268878"/>
                  <a:gd name="connsiteY14" fmla="*/ 4114800 h 4114800"/>
                  <a:gd name="connsiteX15" fmla="*/ 2257425 w 4268878"/>
                  <a:gd name="connsiteY15" fmla="*/ 3695700 h 4114800"/>
                  <a:gd name="connsiteX16" fmla="*/ 1828800 w 4268878"/>
                  <a:gd name="connsiteY16" fmla="*/ 3409950 h 4114800"/>
                  <a:gd name="connsiteX17" fmla="*/ 1476375 w 4268878"/>
                  <a:gd name="connsiteY17" fmla="*/ 3171825 h 4114800"/>
                  <a:gd name="connsiteX18" fmla="*/ 1114425 w 4268878"/>
                  <a:gd name="connsiteY18" fmla="*/ 3019425 h 4114800"/>
                  <a:gd name="connsiteX19" fmla="*/ 933450 w 4268878"/>
                  <a:gd name="connsiteY19" fmla="*/ 2733675 h 4114800"/>
                  <a:gd name="connsiteX20" fmla="*/ 619125 w 4268878"/>
                  <a:gd name="connsiteY20" fmla="*/ 2476500 h 4114800"/>
                  <a:gd name="connsiteX21" fmla="*/ 447675 w 4268878"/>
                  <a:gd name="connsiteY21" fmla="*/ 2571750 h 4114800"/>
                  <a:gd name="connsiteX22" fmla="*/ 152400 w 4268878"/>
                  <a:gd name="connsiteY22" fmla="*/ 2333625 h 4114800"/>
                  <a:gd name="connsiteX23" fmla="*/ 142875 w 4268878"/>
                  <a:gd name="connsiteY23" fmla="*/ 2305050 h 4114800"/>
                  <a:gd name="connsiteX0" fmla="*/ 0 w 4268878"/>
                  <a:gd name="connsiteY0" fmla="*/ 0 h 4114800"/>
                  <a:gd name="connsiteX1" fmla="*/ 1190625 w 4268878"/>
                  <a:gd name="connsiteY1" fmla="*/ 990600 h 4114800"/>
                  <a:gd name="connsiteX2" fmla="*/ 1095375 w 4268878"/>
                  <a:gd name="connsiteY2" fmla="*/ 1152525 h 4114800"/>
                  <a:gd name="connsiteX3" fmla="*/ 1371600 w 4268878"/>
                  <a:gd name="connsiteY3" fmla="*/ 1390650 h 4114800"/>
                  <a:gd name="connsiteX4" fmla="*/ 1276350 w 4268878"/>
                  <a:gd name="connsiteY4" fmla="*/ 1552575 h 4114800"/>
                  <a:gd name="connsiteX5" fmla="*/ 1590675 w 4268878"/>
                  <a:gd name="connsiteY5" fmla="*/ 1762125 h 4114800"/>
                  <a:gd name="connsiteX6" fmla="*/ 1885950 w 4268878"/>
                  <a:gd name="connsiteY6" fmla="*/ 1743075 h 4114800"/>
                  <a:gd name="connsiteX7" fmla="*/ 1562100 w 4268878"/>
                  <a:gd name="connsiteY7" fmla="*/ 2362200 h 4114800"/>
                  <a:gd name="connsiteX8" fmla="*/ 2524125 w 4268878"/>
                  <a:gd name="connsiteY8" fmla="*/ 2162175 h 4114800"/>
                  <a:gd name="connsiteX9" fmla="*/ 2838450 w 4268878"/>
                  <a:gd name="connsiteY9" fmla="*/ 2228850 h 4114800"/>
                  <a:gd name="connsiteX10" fmla="*/ 4133850 w 4268878"/>
                  <a:gd name="connsiteY10" fmla="*/ 3181350 h 4114800"/>
                  <a:gd name="connsiteX11" fmla="*/ 3905250 w 4268878"/>
                  <a:gd name="connsiteY11" fmla="*/ 3552825 h 4114800"/>
                  <a:gd name="connsiteX12" fmla="*/ 3524250 w 4268878"/>
                  <a:gd name="connsiteY12" fmla="*/ 3886200 h 4114800"/>
                  <a:gd name="connsiteX13" fmla="*/ 3124200 w 4268878"/>
                  <a:gd name="connsiteY13" fmla="*/ 4114800 h 4114800"/>
                  <a:gd name="connsiteX14" fmla="*/ 2514600 w 4268878"/>
                  <a:gd name="connsiteY14" fmla="*/ 4114800 h 4114800"/>
                  <a:gd name="connsiteX15" fmla="*/ 2257425 w 4268878"/>
                  <a:gd name="connsiteY15" fmla="*/ 3695700 h 4114800"/>
                  <a:gd name="connsiteX16" fmla="*/ 1828800 w 4268878"/>
                  <a:gd name="connsiteY16" fmla="*/ 3409950 h 4114800"/>
                  <a:gd name="connsiteX17" fmla="*/ 1476375 w 4268878"/>
                  <a:gd name="connsiteY17" fmla="*/ 3171825 h 4114800"/>
                  <a:gd name="connsiteX18" fmla="*/ 1114425 w 4268878"/>
                  <a:gd name="connsiteY18" fmla="*/ 3019425 h 4114800"/>
                  <a:gd name="connsiteX19" fmla="*/ 933450 w 4268878"/>
                  <a:gd name="connsiteY19" fmla="*/ 2733675 h 4114800"/>
                  <a:gd name="connsiteX20" fmla="*/ 619125 w 4268878"/>
                  <a:gd name="connsiteY20" fmla="*/ 2476500 h 4114800"/>
                  <a:gd name="connsiteX21" fmla="*/ 447675 w 4268878"/>
                  <a:gd name="connsiteY21" fmla="*/ 2571750 h 4114800"/>
                  <a:gd name="connsiteX22" fmla="*/ 152400 w 4268878"/>
                  <a:gd name="connsiteY22" fmla="*/ 2333625 h 4114800"/>
                  <a:gd name="connsiteX23" fmla="*/ 142875 w 4268878"/>
                  <a:gd name="connsiteY23" fmla="*/ 2305050 h 4114800"/>
                  <a:gd name="connsiteX0" fmla="*/ 0 w 4256323"/>
                  <a:gd name="connsiteY0" fmla="*/ 0 h 4114800"/>
                  <a:gd name="connsiteX1" fmla="*/ 1190625 w 4256323"/>
                  <a:gd name="connsiteY1" fmla="*/ 990600 h 4114800"/>
                  <a:gd name="connsiteX2" fmla="*/ 1095375 w 4256323"/>
                  <a:gd name="connsiteY2" fmla="*/ 1152525 h 4114800"/>
                  <a:gd name="connsiteX3" fmla="*/ 1371600 w 4256323"/>
                  <a:gd name="connsiteY3" fmla="*/ 1390650 h 4114800"/>
                  <a:gd name="connsiteX4" fmla="*/ 1276350 w 4256323"/>
                  <a:gd name="connsiteY4" fmla="*/ 1552575 h 4114800"/>
                  <a:gd name="connsiteX5" fmla="*/ 1590675 w 4256323"/>
                  <a:gd name="connsiteY5" fmla="*/ 1762125 h 4114800"/>
                  <a:gd name="connsiteX6" fmla="*/ 1885950 w 4256323"/>
                  <a:gd name="connsiteY6" fmla="*/ 1743075 h 4114800"/>
                  <a:gd name="connsiteX7" fmla="*/ 1562100 w 4256323"/>
                  <a:gd name="connsiteY7" fmla="*/ 2362200 h 4114800"/>
                  <a:gd name="connsiteX8" fmla="*/ 2524125 w 4256323"/>
                  <a:gd name="connsiteY8" fmla="*/ 2162175 h 4114800"/>
                  <a:gd name="connsiteX9" fmla="*/ 2838450 w 4256323"/>
                  <a:gd name="connsiteY9" fmla="*/ 2228850 h 4114800"/>
                  <a:gd name="connsiteX10" fmla="*/ 4133850 w 4256323"/>
                  <a:gd name="connsiteY10" fmla="*/ 3181350 h 4114800"/>
                  <a:gd name="connsiteX11" fmla="*/ 3848100 w 4256323"/>
                  <a:gd name="connsiteY11" fmla="*/ 3562350 h 4114800"/>
                  <a:gd name="connsiteX12" fmla="*/ 3524250 w 4256323"/>
                  <a:gd name="connsiteY12" fmla="*/ 3886200 h 4114800"/>
                  <a:gd name="connsiteX13" fmla="*/ 3124200 w 4256323"/>
                  <a:gd name="connsiteY13" fmla="*/ 4114800 h 4114800"/>
                  <a:gd name="connsiteX14" fmla="*/ 2514600 w 4256323"/>
                  <a:gd name="connsiteY14" fmla="*/ 4114800 h 4114800"/>
                  <a:gd name="connsiteX15" fmla="*/ 2257425 w 4256323"/>
                  <a:gd name="connsiteY15" fmla="*/ 3695700 h 4114800"/>
                  <a:gd name="connsiteX16" fmla="*/ 1828800 w 4256323"/>
                  <a:gd name="connsiteY16" fmla="*/ 3409950 h 4114800"/>
                  <a:gd name="connsiteX17" fmla="*/ 1476375 w 4256323"/>
                  <a:gd name="connsiteY17" fmla="*/ 3171825 h 4114800"/>
                  <a:gd name="connsiteX18" fmla="*/ 1114425 w 4256323"/>
                  <a:gd name="connsiteY18" fmla="*/ 3019425 h 4114800"/>
                  <a:gd name="connsiteX19" fmla="*/ 933450 w 4256323"/>
                  <a:gd name="connsiteY19" fmla="*/ 2733675 h 4114800"/>
                  <a:gd name="connsiteX20" fmla="*/ 619125 w 4256323"/>
                  <a:gd name="connsiteY20" fmla="*/ 2476500 h 4114800"/>
                  <a:gd name="connsiteX21" fmla="*/ 447675 w 4256323"/>
                  <a:gd name="connsiteY21" fmla="*/ 2571750 h 4114800"/>
                  <a:gd name="connsiteX22" fmla="*/ 152400 w 4256323"/>
                  <a:gd name="connsiteY22" fmla="*/ 2333625 h 4114800"/>
                  <a:gd name="connsiteX23" fmla="*/ 142875 w 4256323"/>
                  <a:gd name="connsiteY23" fmla="*/ 2305050 h 4114800"/>
                  <a:gd name="connsiteX0" fmla="*/ 0 w 4265214"/>
                  <a:gd name="connsiteY0" fmla="*/ 0 h 4114800"/>
                  <a:gd name="connsiteX1" fmla="*/ 1190625 w 4265214"/>
                  <a:gd name="connsiteY1" fmla="*/ 990600 h 4114800"/>
                  <a:gd name="connsiteX2" fmla="*/ 1095375 w 4265214"/>
                  <a:gd name="connsiteY2" fmla="*/ 1152525 h 4114800"/>
                  <a:gd name="connsiteX3" fmla="*/ 1371600 w 4265214"/>
                  <a:gd name="connsiteY3" fmla="*/ 1390650 h 4114800"/>
                  <a:gd name="connsiteX4" fmla="*/ 1276350 w 4265214"/>
                  <a:gd name="connsiteY4" fmla="*/ 1552575 h 4114800"/>
                  <a:gd name="connsiteX5" fmla="*/ 1590675 w 4265214"/>
                  <a:gd name="connsiteY5" fmla="*/ 1762125 h 4114800"/>
                  <a:gd name="connsiteX6" fmla="*/ 1885950 w 4265214"/>
                  <a:gd name="connsiteY6" fmla="*/ 1743075 h 4114800"/>
                  <a:gd name="connsiteX7" fmla="*/ 1562100 w 4265214"/>
                  <a:gd name="connsiteY7" fmla="*/ 2362200 h 4114800"/>
                  <a:gd name="connsiteX8" fmla="*/ 2524125 w 4265214"/>
                  <a:gd name="connsiteY8" fmla="*/ 2162175 h 4114800"/>
                  <a:gd name="connsiteX9" fmla="*/ 2838450 w 4265214"/>
                  <a:gd name="connsiteY9" fmla="*/ 2228850 h 4114800"/>
                  <a:gd name="connsiteX10" fmla="*/ 4133850 w 4265214"/>
                  <a:gd name="connsiteY10" fmla="*/ 3181350 h 4114800"/>
                  <a:gd name="connsiteX11" fmla="*/ 3848100 w 4265214"/>
                  <a:gd name="connsiteY11" fmla="*/ 3562350 h 4114800"/>
                  <a:gd name="connsiteX12" fmla="*/ 3524250 w 4265214"/>
                  <a:gd name="connsiteY12" fmla="*/ 3886200 h 4114800"/>
                  <a:gd name="connsiteX13" fmla="*/ 3124200 w 4265214"/>
                  <a:gd name="connsiteY13" fmla="*/ 4114800 h 4114800"/>
                  <a:gd name="connsiteX14" fmla="*/ 2514600 w 4265214"/>
                  <a:gd name="connsiteY14" fmla="*/ 4114800 h 4114800"/>
                  <a:gd name="connsiteX15" fmla="*/ 2257425 w 4265214"/>
                  <a:gd name="connsiteY15" fmla="*/ 3695700 h 4114800"/>
                  <a:gd name="connsiteX16" fmla="*/ 1828800 w 4265214"/>
                  <a:gd name="connsiteY16" fmla="*/ 3409950 h 4114800"/>
                  <a:gd name="connsiteX17" fmla="*/ 1476375 w 4265214"/>
                  <a:gd name="connsiteY17" fmla="*/ 3171825 h 4114800"/>
                  <a:gd name="connsiteX18" fmla="*/ 1114425 w 4265214"/>
                  <a:gd name="connsiteY18" fmla="*/ 3019425 h 4114800"/>
                  <a:gd name="connsiteX19" fmla="*/ 933450 w 4265214"/>
                  <a:gd name="connsiteY19" fmla="*/ 2733675 h 4114800"/>
                  <a:gd name="connsiteX20" fmla="*/ 619125 w 4265214"/>
                  <a:gd name="connsiteY20" fmla="*/ 2476500 h 4114800"/>
                  <a:gd name="connsiteX21" fmla="*/ 447675 w 4265214"/>
                  <a:gd name="connsiteY21" fmla="*/ 2571750 h 4114800"/>
                  <a:gd name="connsiteX22" fmla="*/ 152400 w 4265214"/>
                  <a:gd name="connsiteY22" fmla="*/ 2333625 h 4114800"/>
                  <a:gd name="connsiteX23" fmla="*/ 142875 w 4265214"/>
                  <a:gd name="connsiteY23" fmla="*/ 2305050 h 4114800"/>
                  <a:gd name="connsiteX0" fmla="*/ 0 w 4265214"/>
                  <a:gd name="connsiteY0" fmla="*/ 0 h 4114800"/>
                  <a:gd name="connsiteX1" fmla="*/ 1190625 w 4265214"/>
                  <a:gd name="connsiteY1" fmla="*/ 990600 h 4114800"/>
                  <a:gd name="connsiteX2" fmla="*/ 1095375 w 4265214"/>
                  <a:gd name="connsiteY2" fmla="*/ 1152525 h 4114800"/>
                  <a:gd name="connsiteX3" fmla="*/ 1371600 w 4265214"/>
                  <a:gd name="connsiteY3" fmla="*/ 1390650 h 4114800"/>
                  <a:gd name="connsiteX4" fmla="*/ 1276350 w 4265214"/>
                  <a:gd name="connsiteY4" fmla="*/ 1552575 h 4114800"/>
                  <a:gd name="connsiteX5" fmla="*/ 1590675 w 4265214"/>
                  <a:gd name="connsiteY5" fmla="*/ 1762125 h 4114800"/>
                  <a:gd name="connsiteX6" fmla="*/ 1885950 w 4265214"/>
                  <a:gd name="connsiteY6" fmla="*/ 1743075 h 4114800"/>
                  <a:gd name="connsiteX7" fmla="*/ 1562100 w 4265214"/>
                  <a:gd name="connsiteY7" fmla="*/ 2362200 h 4114800"/>
                  <a:gd name="connsiteX8" fmla="*/ 2524125 w 4265214"/>
                  <a:gd name="connsiteY8" fmla="*/ 2162175 h 4114800"/>
                  <a:gd name="connsiteX9" fmla="*/ 2838450 w 4265214"/>
                  <a:gd name="connsiteY9" fmla="*/ 2228850 h 4114800"/>
                  <a:gd name="connsiteX10" fmla="*/ 4133850 w 4265214"/>
                  <a:gd name="connsiteY10" fmla="*/ 3181350 h 4114800"/>
                  <a:gd name="connsiteX11" fmla="*/ 3848100 w 4265214"/>
                  <a:gd name="connsiteY11" fmla="*/ 3562350 h 4114800"/>
                  <a:gd name="connsiteX12" fmla="*/ 3524250 w 4265214"/>
                  <a:gd name="connsiteY12" fmla="*/ 3886200 h 4114800"/>
                  <a:gd name="connsiteX13" fmla="*/ 3124200 w 4265214"/>
                  <a:gd name="connsiteY13" fmla="*/ 4114800 h 4114800"/>
                  <a:gd name="connsiteX14" fmla="*/ 2514600 w 4265214"/>
                  <a:gd name="connsiteY14" fmla="*/ 4114800 h 4114800"/>
                  <a:gd name="connsiteX15" fmla="*/ 2257425 w 4265214"/>
                  <a:gd name="connsiteY15" fmla="*/ 3695700 h 4114800"/>
                  <a:gd name="connsiteX16" fmla="*/ 1828800 w 4265214"/>
                  <a:gd name="connsiteY16" fmla="*/ 3409950 h 4114800"/>
                  <a:gd name="connsiteX17" fmla="*/ 1476375 w 4265214"/>
                  <a:gd name="connsiteY17" fmla="*/ 3171825 h 4114800"/>
                  <a:gd name="connsiteX18" fmla="*/ 1114425 w 4265214"/>
                  <a:gd name="connsiteY18" fmla="*/ 3019425 h 4114800"/>
                  <a:gd name="connsiteX19" fmla="*/ 933450 w 4265214"/>
                  <a:gd name="connsiteY19" fmla="*/ 2733675 h 4114800"/>
                  <a:gd name="connsiteX20" fmla="*/ 619125 w 4265214"/>
                  <a:gd name="connsiteY20" fmla="*/ 2476500 h 4114800"/>
                  <a:gd name="connsiteX21" fmla="*/ 447675 w 4265214"/>
                  <a:gd name="connsiteY21" fmla="*/ 2571750 h 4114800"/>
                  <a:gd name="connsiteX22" fmla="*/ 152400 w 4265214"/>
                  <a:gd name="connsiteY22" fmla="*/ 2333625 h 4114800"/>
                  <a:gd name="connsiteX23" fmla="*/ 142875 w 4265214"/>
                  <a:gd name="connsiteY23" fmla="*/ 2305050 h 4114800"/>
                  <a:gd name="connsiteX0" fmla="*/ 0 w 4265214"/>
                  <a:gd name="connsiteY0" fmla="*/ 0 h 4114800"/>
                  <a:gd name="connsiteX1" fmla="*/ 1190625 w 4265214"/>
                  <a:gd name="connsiteY1" fmla="*/ 990600 h 4114800"/>
                  <a:gd name="connsiteX2" fmla="*/ 1095375 w 4265214"/>
                  <a:gd name="connsiteY2" fmla="*/ 1152525 h 4114800"/>
                  <a:gd name="connsiteX3" fmla="*/ 1371600 w 4265214"/>
                  <a:gd name="connsiteY3" fmla="*/ 1390650 h 4114800"/>
                  <a:gd name="connsiteX4" fmla="*/ 1276350 w 4265214"/>
                  <a:gd name="connsiteY4" fmla="*/ 1552575 h 4114800"/>
                  <a:gd name="connsiteX5" fmla="*/ 1590675 w 4265214"/>
                  <a:gd name="connsiteY5" fmla="*/ 1762125 h 4114800"/>
                  <a:gd name="connsiteX6" fmla="*/ 1885950 w 4265214"/>
                  <a:gd name="connsiteY6" fmla="*/ 1743075 h 4114800"/>
                  <a:gd name="connsiteX7" fmla="*/ 1562100 w 4265214"/>
                  <a:gd name="connsiteY7" fmla="*/ 2362200 h 4114800"/>
                  <a:gd name="connsiteX8" fmla="*/ 2524125 w 4265214"/>
                  <a:gd name="connsiteY8" fmla="*/ 2162175 h 4114800"/>
                  <a:gd name="connsiteX9" fmla="*/ 2838450 w 4265214"/>
                  <a:gd name="connsiteY9" fmla="*/ 2228850 h 4114800"/>
                  <a:gd name="connsiteX10" fmla="*/ 4133850 w 4265214"/>
                  <a:gd name="connsiteY10" fmla="*/ 3181350 h 4114800"/>
                  <a:gd name="connsiteX11" fmla="*/ 3848100 w 4265214"/>
                  <a:gd name="connsiteY11" fmla="*/ 3562350 h 4114800"/>
                  <a:gd name="connsiteX12" fmla="*/ 3438525 w 4265214"/>
                  <a:gd name="connsiteY12" fmla="*/ 3829050 h 4114800"/>
                  <a:gd name="connsiteX13" fmla="*/ 3124200 w 4265214"/>
                  <a:gd name="connsiteY13" fmla="*/ 4114800 h 4114800"/>
                  <a:gd name="connsiteX14" fmla="*/ 2514600 w 4265214"/>
                  <a:gd name="connsiteY14" fmla="*/ 4114800 h 4114800"/>
                  <a:gd name="connsiteX15" fmla="*/ 2257425 w 4265214"/>
                  <a:gd name="connsiteY15" fmla="*/ 3695700 h 4114800"/>
                  <a:gd name="connsiteX16" fmla="*/ 1828800 w 4265214"/>
                  <a:gd name="connsiteY16" fmla="*/ 3409950 h 4114800"/>
                  <a:gd name="connsiteX17" fmla="*/ 1476375 w 4265214"/>
                  <a:gd name="connsiteY17" fmla="*/ 3171825 h 4114800"/>
                  <a:gd name="connsiteX18" fmla="*/ 1114425 w 4265214"/>
                  <a:gd name="connsiteY18" fmla="*/ 3019425 h 4114800"/>
                  <a:gd name="connsiteX19" fmla="*/ 933450 w 4265214"/>
                  <a:gd name="connsiteY19" fmla="*/ 2733675 h 4114800"/>
                  <a:gd name="connsiteX20" fmla="*/ 619125 w 4265214"/>
                  <a:gd name="connsiteY20" fmla="*/ 2476500 h 4114800"/>
                  <a:gd name="connsiteX21" fmla="*/ 447675 w 4265214"/>
                  <a:gd name="connsiteY21" fmla="*/ 2571750 h 4114800"/>
                  <a:gd name="connsiteX22" fmla="*/ 152400 w 4265214"/>
                  <a:gd name="connsiteY22" fmla="*/ 2333625 h 4114800"/>
                  <a:gd name="connsiteX23" fmla="*/ 142875 w 4265214"/>
                  <a:gd name="connsiteY23" fmla="*/ 2305050 h 4114800"/>
                  <a:gd name="connsiteX0" fmla="*/ 0 w 4257100"/>
                  <a:gd name="connsiteY0" fmla="*/ 0 h 4114800"/>
                  <a:gd name="connsiteX1" fmla="*/ 1190625 w 4257100"/>
                  <a:gd name="connsiteY1" fmla="*/ 990600 h 4114800"/>
                  <a:gd name="connsiteX2" fmla="*/ 1095375 w 4257100"/>
                  <a:gd name="connsiteY2" fmla="*/ 1152525 h 4114800"/>
                  <a:gd name="connsiteX3" fmla="*/ 1371600 w 4257100"/>
                  <a:gd name="connsiteY3" fmla="*/ 1390650 h 4114800"/>
                  <a:gd name="connsiteX4" fmla="*/ 1276350 w 4257100"/>
                  <a:gd name="connsiteY4" fmla="*/ 1552575 h 4114800"/>
                  <a:gd name="connsiteX5" fmla="*/ 1590675 w 4257100"/>
                  <a:gd name="connsiteY5" fmla="*/ 1762125 h 4114800"/>
                  <a:gd name="connsiteX6" fmla="*/ 1885950 w 4257100"/>
                  <a:gd name="connsiteY6" fmla="*/ 1743075 h 4114800"/>
                  <a:gd name="connsiteX7" fmla="*/ 1562100 w 4257100"/>
                  <a:gd name="connsiteY7" fmla="*/ 2362200 h 4114800"/>
                  <a:gd name="connsiteX8" fmla="*/ 2524125 w 4257100"/>
                  <a:gd name="connsiteY8" fmla="*/ 2162175 h 4114800"/>
                  <a:gd name="connsiteX9" fmla="*/ 2838450 w 4257100"/>
                  <a:gd name="connsiteY9" fmla="*/ 2228850 h 4114800"/>
                  <a:gd name="connsiteX10" fmla="*/ 4133850 w 4257100"/>
                  <a:gd name="connsiteY10" fmla="*/ 3181350 h 4114800"/>
                  <a:gd name="connsiteX11" fmla="*/ 3810000 w 4257100"/>
                  <a:gd name="connsiteY11" fmla="*/ 3562350 h 4114800"/>
                  <a:gd name="connsiteX12" fmla="*/ 3438525 w 4257100"/>
                  <a:gd name="connsiteY12" fmla="*/ 3829050 h 4114800"/>
                  <a:gd name="connsiteX13" fmla="*/ 3124200 w 4257100"/>
                  <a:gd name="connsiteY13" fmla="*/ 4114800 h 4114800"/>
                  <a:gd name="connsiteX14" fmla="*/ 2514600 w 4257100"/>
                  <a:gd name="connsiteY14" fmla="*/ 4114800 h 4114800"/>
                  <a:gd name="connsiteX15" fmla="*/ 2257425 w 4257100"/>
                  <a:gd name="connsiteY15" fmla="*/ 3695700 h 4114800"/>
                  <a:gd name="connsiteX16" fmla="*/ 1828800 w 4257100"/>
                  <a:gd name="connsiteY16" fmla="*/ 3409950 h 4114800"/>
                  <a:gd name="connsiteX17" fmla="*/ 1476375 w 4257100"/>
                  <a:gd name="connsiteY17" fmla="*/ 3171825 h 4114800"/>
                  <a:gd name="connsiteX18" fmla="*/ 1114425 w 4257100"/>
                  <a:gd name="connsiteY18" fmla="*/ 3019425 h 4114800"/>
                  <a:gd name="connsiteX19" fmla="*/ 933450 w 4257100"/>
                  <a:gd name="connsiteY19" fmla="*/ 2733675 h 4114800"/>
                  <a:gd name="connsiteX20" fmla="*/ 619125 w 4257100"/>
                  <a:gd name="connsiteY20" fmla="*/ 2476500 h 4114800"/>
                  <a:gd name="connsiteX21" fmla="*/ 447675 w 4257100"/>
                  <a:gd name="connsiteY21" fmla="*/ 2571750 h 4114800"/>
                  <a:gd name="connsiteX22" fmla="*/ 152400 w 4257100"/>
                  <a:gd name="connsiteY22" fmla="*/ 2333625 h 4114800"/>
                  <a:gd name="connsiteX23" fmla="*/ 142875 w 4257100"/>
                  <a:gd name="connsiteY23" fmla="*/ 2305050 h 4114800"/>
                  <a:gd name="connsiteX0" fmla="*/ 0 w 4257100"/>
                  <a:gd name="connsiteY0" fmla="*/ 0 h 4114800"/>
                  <a:gd name="connsiteX1" fmla="*/ 1190625 w 4257100"/>
                  <a:gd name="connsiteY1" fmla="*/ 990600 h 4114800"/>
                  <a:gd name="connsiteX2" fmla="*/ 1095375 w 4257100"/>
                  <a:gd name="connsiteY2" fmla="*/ 1152525 h 4114800"/>
                  <a:gd name="connsiteX3" fmla="*/ 1371600 w 4257100"/>
                  <a:gd name="connsiteY3" fmla="*/ 1390650 h 4114800"/>
                  <a:gd name="connsiteX4" fmla="*/ 1276350 w 4257100"/>
                  <a:gd name="connsiteY4" fmla="*/ 1552575 h 4114800"/>
                  <a:gd name="connsiteX5" fmla="*/ 1590675 w 4257100"/>
                  <a:gd name="connsiteY5" fmla="*/ 1762125 h 4114800"/>
                  <a:gd name="connsiteX6" fmla="*/ 1885950 w 4257100"/>
                  <a:gd name="connsiteY6" fmla="*/ 1743075 h 4114800"/>
                  <a:gd name="connsiteX7" fmla="*/ 1562100 w 4257100"/>
                  <a:gd name="connsiteY7" fmla="*/ 2362200 h 4114800"/>
                  <a:gd name="connsiteX8" fmla="*/ 2524125 w 4257100"/>
                  <a:gd name="connsiteY8" fmla="*/ 2162175 h 4114800"/>
                  <a:gd name="connsiteX9" fmla="*/ 2838450 w 4257100"/>
                  <a:gd name="connsiteY9" fmla="*/ 2228850 h 4114800"/>
                  <a:gd name="connsiteX10" fmla="*/ 4133850 w 4257100"/>
                  <a:gd name="connsiteY10" fmla="*/ 3181350 h 4114800"/>
                  <a:gd name="connsiteX11" fmla="*/ 3810000 w 4257100"/>
                  <a:gd name="connsiteY11" fmla="*/ 3562350 h 4114800"/>
                  <a:gd name="connsiteX12" fmla="*/ 3438525 w 4257100"/>
                  <a:gd name="connsiteY12" fmla="*/ 3829050 h 4114800"/>
                  <a:gd name="connsiteX13" fmla="*/ 3124200 w 4257100"/>
                  <a:gd name="connsiteY13" fmla="*/ 4114800 h 4114800"/>
                  <a:gd name="connsiteX14" fmla="*/ 2514600 w 4257100"/>
                  <a:gd name="connsiteY14" fmla="*/ 4114800 h 4114800"/>
                  <a:gd name="connsiteX15" fmla="*/ 2257425 w 4257100"/>
                  <a:gd name="connsiteY15" fmla="*/ 3695700 h 4114800"/>
                  <a:gd name="connsiteX16" fmla="*/ 1828800 w 4257100"/>
                  <a:gd name="connsiteY16" fmla="*/ 3409950 h 4114800"/>
                  <a:gd name="connsiteX17" fmla="*/ 1476375 w 4257100"/>
                  <a:gd name="connsiteY17" fmla="*/ 3171825 h 4114800"/>
                  <a:gd name="connsiteX18" fmla="*/ 1114425 w 4257100"/>
                  <a:gd name="connsiteY18" fmla="*/ 3019425 h 4114800"/>
                  <a:gd name="connsiteX19" fmla="*/ 933450 w 4257100"/>
                  <a:gd name="connsiteY19" fmla="*/ 2733675 h 4114800"/>
                  <a:gd name="connsiteX20" fmla="*/ 619125 w 4257100"/>
                  <a:gd name="connsiteY20" fmla="*/ 2476500 h 4114800"/>
                  <a:gd name="connsiteX21" fmla="*/ 447675 w 4257100"/>
                  <a:gd name="connsiteY21" fmla="*/ 2571750 h 4114800"/>
                  <a:gd name="connsiteX22" fmla="*/ 152400 w 4257100"/>
                  <a:gd name="connsiteY22" fmla="*/ 2333625 h 4114800"/>
                  <a:gd name="connsiteX23" fmla="*/ 142875 w 4257100"/>
                  <a:gd name="connsiteY23" fmla="*/ 2305050 h 4114800"/>
                  <a:gd name="connsiteX0" fmla="*/ 0 w 4257100"/>
                  <a:gd name="connsiteY0" fmla="*/ 0 h 4138481"/>
                  <a:gd name="connsiteX1" fmla="*/ 1190625 w 4257100"/>
                  <a:gd name="connsiteY1" fmla="*/ 990600 h 4138481"/>
                  <a:gd name="connsiteX2" fmla="*/ 1095375 w 4257100"/>
                  <a:gd name="connsiteY2" fmla="*/ 1152525 h 4138481"/>
                  <a:gd name="connsiteX3" fmla="*/ 1371600 w 4257100"/>
                  <a:gd name="connsiteY3" fmla="*/ 1390650 h 4138481"/>
                  <a:gd name="connsiteX4" fmla="*/ 1276350 w 4257100"/>
                  <a:gd name="connsiteY4" fmla="*/ 1552575 h 4138481"/>
                  <a:gd name="connsiteX5" fmla="*/ 1590675 w 4257100"/>
                  <a:gd name="connsiteY5" fmla="*/ 1762125 h 4138481"/>
                  <a:gd name="connsiteX6" fmla="*/ 1885950 w 4257100"/>
                  <a:gd name="connsiteY6" fmla="*/ 1743075 h 4138481"/>
                  <a:gd name="connsiteX7" fmla="*/ 1562100 w 4257100"/>
                  <a:gd name="connsiteY7" fmla="*/ 2362200 h 4138481"/>
                  <a:gd name="connsiteX8" fmla="*/ 2524125 w 4257100"/>
                  <a:gd name="connsiteY8" fmla="*/ 2162175 h 4138481"/>
                  <a:gd name="connsiteX9" fmla="*/ 2838450 w 4257100"/>
                  <a:gd name="connsiteY9" fmla="*/ 2228850 h 4138481"/>
                  <a:gd name="connsiteX10" fmla="*/ 4133850 w 4257100"/>
                  <a:gd name="connsiteY10" fmla="*/ 3181350 h 4138481"/>
                  <a:gd name="connsiteX11" fmla="*/ 3810000 w 4257100"/>
                  <a:gd name="connsiteY11" fmla="*/ 3562350 h 4138481"/>
                  <a:gd name="connsiteX12" fmla="*/ 3438525 w 4257100"/>
                  <a:gd name="connsiteY12" fmla="*/ 3829050 h 4138481"/>
                  <a:gd name="connsiteX13" fmla="*/ 3124200 w 4257100"/>
                  <a:gd name="connsiteY13" fmla="*/ 4114800 h 4138481"/>
                  <a:gd name="connsiteX14" fmla="*/ 2514600 w 4257100"/>
                  <a:gd name="connsiteY14" fmla="*/ 4114800 h 4138481"/>
                  <a:gd name="connsiteX15" fmla="*/ 2257425 w 4257100"/>
                  <a:gd name="connsiteY15" fmla="*/ 3695700 h 4138481"/>
                  <a:gd name="connsiteX16" fmla="*/ 1828800 w 4257100"/>
                  <a:gd name="connsiteY16" fmla="*/ 3409950 h 4138481"/>
                  <a:gd name="connsiteX17" fmla="*/ 1476375 w 4257100"/>
                  <a:gd name="connsiteY17" fmla="*/ 3171825 h 4138481"/>
                  <a:gd name="connsiteX18" fmla="*/ 1114425 w 4257100"/>
                  <a:gd name="connsiteY18" fmla="*/ 3019425 h 4138481"/>
                  <a:gd name="connsiteX19" fmla="*/ 933450 w 4257100"/>
                  <a:gd name="connsiteY19" fmla="*/ 2733675 h 4138481"/>
                  <a:gd name="connsiteX20" fmla="*/ 619125 w 4257100"/>
                  <a:gd name="connsiteY20" fmla="*/ 2476500 h 4138481"/>
                  <a:gd name="connsiteX21" fmla="*/ 447675 w 4257100"/>
                  <a:gd name="connsiteY21" fmla="*/ 2571750 h 4138481"/>
                  <a:gd name="connsiteX22" fmla="*/ 152400 w 4257100"/>
                  <a:gd name="connsiteY22" fmla="*/ 2333625 h 4138481"/>
                  <a:gd name="connsiteX23" fmla="*/ 142875 w 4257100"/>
                  <a:gd name="connsiteY23" fmla="*/ 2305050 h 4138481"/>
                  <a:gd name="connsiteX0" fmla="*/ 0 w 4257100"/>
                  <a:gd name="connsiteY0" fmla="*/ 0 h 4199466"/>
                  <a:gd name="connsiteX1" fmla="*/ 1190625 w 4257100"/>
                  <a:gd name="connsiteY1" fmla="*/ 990600 h 4199466"/>
                  <a:gd name="connsiteX2" fmla="*/ 1095375 w 4257100"/>
                  <a:gd name="connsiteY2" fmla="*/ 1152525 h 4199466"/>
                  <a:gd name="connsiteX3" fmla="*/ 1371600 w 4257100"/>
                  <a:gd name="connsiteY3" fmla="*/ 1390650 h 4199466"/>
                  <a:gd name="connsiteX4" fmla="*/ 1276350 w 4257100"/>
                  <a:gd name="connsiteY4" fmla="*/ 1552575 h 4199466"/>
                  <a:gd name="connsiteX5" fmla="*/ 1590675 w 4257100"/>
                  <a:gd name="connsiteY5" fmla="*/ 1762125 h 4199466"/>
                  <a:gd name="connsiteX6" fmla="*/ 1885950 w 4257100"/>
                  <a:gd name="connsiteY6" fmla="*/ 1743075 h 4199466"/>
                  <a:gd name="connsiteX7" fmla="*/ 1562100 w 4257100"/>
                  <a:gd name="connsiteY7" fmla="*/ 2362200 h 4199466"/>
                  <a:gd name="connsiteX8" fmla="*/ 2524125 w 4257100"/>
                  <a:gd name="connsiteY8" fmla="*/ 2162175 h 4199466"/>
                  <a:gd name="connsiteX9" fmla="*/ 2838450 w 4257100"/>
                  <a:gd name="connsiteY9" fmla="*/ 2228850 h 4199466"/>
                  <a:gd name="connsiteX10" fmla="*/ 4133850 w 4257100"/>
                  <a:gd name="connsiteY10" fmla="*/ 3181350 h 4199466"/>
                  <a:gd name="connsiteX11" fmla="*/ 3810000 w 4257100"/>
                  <a:gd name="connsiteY11" fmla="*/ 3562350 h 4199466"/>
                  <a:gd name="connsiteX12" fmla="*/ 3438525 w 4257100"/>
                  <a:gd name="connsiteY12" fmla="*/ 3829050 h 4199466"/>
                  <a:gd name="connsiteX13" fmla="*/ 3124200 w 4257100"/>
                  <a:gd name="connsiteY13" fmla="*/ 4114800 h 4199466"/>
                  <a:gd name="connsiteX14" fmla="*/ 2514600 w 4257100"/>
                  <a:gd name="connsiteY14" fmla="*/ 4114800 h 4199466"/>
                  <a:gd name="connsiteX15" fmla="*/ 2257425 w 4257100"/>
                  <a:gd name="connsiteY15" fmla="*/ 3695700 h 4199466"/>
                  <a:gd name="connsiteX16" fmla="*/ 1828800 w 4257100"/>
                  <a:gd name="connsiteY16" fmla="*/ 3409950 h 4199466"/>
                  <a:gd name="connsiteX17" fmla="*/ 1476375 w 4257100"/>
                  <a:gd name="connsiteY17" fmla="*/ 3171825 h 4199466"/>
                  <a:gd name="connsiteX18" fmla="*/ 1114425 w 4257100"/>
                  <a:gd name="connsiteY18" fmla="*/ 3019425 h 4199466"/>
                  <a:gd name="connsiteX19" fmla="*/ 933450 w 4257100"/>
                  <a:gd name="connsiteY19" fmla="*/ 2733675 h 4199466"/>
                  <a:gd name="connsiteX20" fmla="*/ 619125 w 4257100"/>
                  <a:gd name="connsiteY20" fmla="*/ 2476500 h 4199466"/>
                  <a:gd name="connsiteX21" fmla="*/ 447675 w 4257100"/>
                  <a:gd name="connsiteY21" fmla="*/ 2571750 h 4199466"/>
                  <a:gd name="connsiteX22" fmla="*/ 152400 w 4257100"/>
                  <a:gd name="connsiteY22" fmla="*/ 2333625 h 4199466"/>
                  <a:gd name="connsiteX23" fmla="*/ 142875 w 4257100"/>
                  <a:gd name="connsiteY23" fmla="*/ 2305050 h 4199466"/>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19125 w 4257100"/>
                  <a:gd name="connsiteY20" fmla="*/ 2476500 h 4250625"/>
                  <a:gd name="connsiteX21" fmla="*/ 447675 w 4257100"/>
                  <a:gd name="connsiteY21" fmla="*/ 2571750 h 4250625"/>
                  <a:gd name="connsiteX22" fmla="*/ 152400 w 4257100"/>
                  <a:gd name="connsiteY22" fmla="*/ 2333625 h 4250625"/>
                  <a:gd name="connsiteX23" fmla="*/ 142875 w 4257100"/>
                  <a:gd name="connsiteY23" fmla="*/ 23050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19125 w 4257100"/>
                  <a:gd name="connsiteY20" fmla="*/ 2476500 h 4250625"/>
                  <a:gd name="connsiteX21" fmla="*/ 581025 w 4257100"/>
                  <a:gd name="connsiteY21" fmla="*/ 2676525 h 4250625"/>
                  <a:gd name="connsiteX22" fmla="*/ 152400 w 4257100"/>
                  <a:gd name="connsiteY22" fmla="*/ 2333625 h 4250625"/>
                  <a:gd name="connsiteX23" fmla="*/ 142875 w 4257100"/>
                  <a:gd name="connsiteY23" fmla="*/ 23050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152400 w 4257100"/>
                  <a:gd name="connsiteY22" fmla="*/ 2333625 h 4250625"/>
                  <a:gd name="connsiteX23" fmla="*/ 142875 w 4257100"/>
                  <a:gd name="connsiteY23" fmla="*/ 23050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142875 w 4257100"/>
                  <a:gd name="connsiteY22" fmla="*/ 23050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476375 w 4257100"/>
                  <a:gd name="connsiteY17" fmla="*/ 31718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28800 w 4257100"/>
                  <a:gd name="connsiteY16" fmla="*/ 3409950 h 4250625"/>
                  <a:gd name="connsiteX17" fmla="*/ 1503045 w 4257100"/>
                  <a:gd name="connsiteY17" fmla="*/ 317563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47850 w 4257100"/>
                  <a:gd name="connsiteY16" fmla="*/ 3406140 h 4250625"/>
                  <a:gd name="connsiteX17" fmla="*/ 1503045 w 4257100"/>
                  <a:gd name="connsiteY17" fmla="*/ 317563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47850 w 4257100"/>
                  <a:gd name="connsiteY16" fmla="*/ 3406140 h 4250625"/>
                  <a:gd name="connsiteX17" fmla="*/ 1491615 w 4257100"/>
                  <a:gd name="connsiteY17" fmla="*/ 317563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47850 w 4257100"/>
                  <a:gd name="connsiteY16" fmla="*/ 3406140 h 4250625"/>
                  <a:gd name="connsiteX17" fmla="*/ 1491615 w 4257100"/>
                  <a:gd name="connsiteY17" fmla="*/ 31337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847850 w 4257100"/>
                  <a:gd name="connsiteY16" fmla="*/ 3406140 h 4250625"/>
                  <a:gd name="connsiteX17" fmla="*/ 1491615 w 4257100"/>
                  <a:gd name="connsiteY17" fmla="*/ 31337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114425 w 4257100"/>
                  <a:gd name="connsiteY18" fmla="*/ 301942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62100 w 4257100"/>
                  <a:gd name="connsiteY7" fmla="*/ 236220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85950 w 4257100"/>
                  <a:gd name="connsiteY6" fmla="*/ 1743075 h 4250625"/>
                  <a:gd name="connsiteX7" fmla="*/ 1584960 w 4257100"/>
                  <a:gd name="connsiteY7" fmla="*/ 241935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524125 w 4257100"/>
                  <a:gd name="connsiteY8" fmla="*/ 216217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493645 w 4257100"/>
                  <a:gd name="connsiteY8" fmla="*/ 215074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493645 w 4257100"/>
                  <a:gd name="connsiteY8" fmla="*/ 215074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493645 w 4257100"/>
                  <a:gd name="connsiteY8" fmla="*/ 215074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257100"/>
                  <a:gd name="connsiteY0" fmla="*/ 0 h 4250625"/>
                  <a:gd name="connsiteX1" fmla="*/ 1190625 w 4257100"/>
                  <a:gd name="connsiteY1" fmla="*/ 990600 h 4250625"/>
                  <a:gd name="connsiteX2" fmla="*/ 1095375 w 4257100"/>
                  <a:gd name="connsiteY2" fmla="*/ 1152525 h 4250625"/>
                  <a:gd name="connsiteX3" fmla="*/ 1371600 w 4257100"/>
                  <a:gd name="connsiteY3" fmla="*/ 1390650 h 4250625"/>
                  <a:gd name="connsiteX4" fmla="*/ 1276350 w 4257100"/>
                  <a:gd name="connsiteY4" fmla="*/ 1552575 h 4250625"/>
                  <a:gd name="connsiteX5" fmla="*/ 1590675 w 4257100"/>
                  <a:gd name="connsiteY5" fmla="*/ 1762125 h 4250625"/>
                  <a:gd name="connsiteX6" fmla="*/ 1863090 w 4257100"/>
                  <a:gd name="connsiteY6" fmla="*/ 1735455 h 4250625"/>
                  <a:gd name="connsiteX7" fmla="*/ 1584960 w 4257100"/>
                  <a:gd name="connsiteY7" fmla="*/ 2419350 h 4250625"/>
                  <a:gd name="connsiteX8" fmla="*/ 2493645 w 4257100"/>
                  <a:gd name="connsiteY8" fmla="*/ 2150745 h 4250625"/>
                  <a:gd name="connsiteX9" fmla="*/ 2838450 w 4257100"/>
                  <a:gd name="connsiteY9" fmla="*/ 2228850 h 4250625"/>
                  <a:gd name="connsiteX10" fmla="*/ 4133850 w 4257100"/>
                  <a:gd name="connsiteY10" fmla="*/ 3181350 h 4250625"/>
                  <a:gd name="connsiteX11" fmla="*/ 3810000 w 4257100"/>
                  <a:gd name="connsiteY11" fmla="*/ 3562350 h 4250625"/>
                  <a:gd name="connsiteX12" fmla="*/ 3438525 w 4257100"/>
                  <a:gd name="connsiteY12" fmla="*/ 3829050 h 4250625"/>
                  <a:gd name="connsiteX13" fmla="*/ 3124200 w 4257100"/>
                  <a:gd name="connsiteY13" fmla="*/ 4114800 h 4250625"/>
                  <a:gd name="connsiteX14" fmla="*/ 2514600 w 4257100"/>
                  <a:gd name="connsiteY14" fmla="*/ 4114800 h 4250625"/>
                  <a:gd name="connsiteX15" fmla="*/ 2257425 w 4257100"/>
                  <a:gd name="connsiteY15" fmla="*/ 3695700 h 4250625"/>
                  <a:gd name="connsiteX16" fmla="*/ 1905000 w 4257100"/>
                  <a:gd name="connsiteY16" fmla="*/ 3421380 h 4250625"/>
                  <a:gd name="connsiteX17" fmla="*/ 1491615 w 4257100"/>
                  <a:gd name="connsiteY17" fmla="*/ 3133725 h 4250625"/>
                  <a:gd name="connsiteX18" fmla="*/ 1099185 w 4257100"/>
                  <a:gd name="connsiteY18" fmla="*/ 3011805 h 4250625"/>
                  <a:gd name="connsiteX19" fmla="*/ 933450 w 4257100"/>
                  <a:gd name="connsiteY19" fmla="*/ 2733675 h 4250625"/>
                  <a:gd name="connsiteX20" fmla="*/ 666750 w 4257100"/>
                  <a:gd name="connsiteY20" fmla="*/ 2543175 h 4250625"/>
                  <a:gd name="connsiteX21" fmla="*/ 581025 w 4257100"/>
                  <a:gd name="connsiteY21" fmla="*/ 2676525 h 4250625"/>
                  <a:gd name="connsiteX22" fmla="*/ 200025 w 4257100"/>
                  <a:gd name="connsiteY22" fmla="*/ 2457450 h 4250625"/>
                  <a:gd name="connsiteX0" fmla="*/ 0 w 4319488"/>
                  <a:gd name="connsiteY0" fmla="*/ 0 h 4250625"/>
                  <a:gd name="connsiteX1" fmla="*/ 1190625 w 4319488"/>
                  <a:gd name="connsiteY1" fmla="*/ 990600 h 4250625"/>
                  <a:gd name="connsiteX2" fmla="*/ 1095375 w 4319488"/>
                  <a:gd name="connsiteY2" fmla="*/ 1152525 h 4250625"/>
                  <a:gd name="connsiteX3" fmla="*/ 1371600 w 4319488"/>
                  <a:gd name="connsiteY3" fmla="*/ 1390650 h 4250625"/>
                  <a:gd name="connsiteX4" fmla="*/ 1276350 w 4319488"/>
                  <a:gd name="connsiteY4" fmla="*/ 1552575 h 4250625"/>
                  <a:gd name="connsiteX5" fmla="*/ 1590675 w 4319488"/>
                  <a:gd name="connsiteY5" fmla="*/ 1762125 h 4250625"/>
                  <a:gd name="connsiteX6" fmla="*/ 1863090 w 4319488"/>
                  <a:gd name="connsiteY6" fmla="*/ 1735455 h 4250625"/>
                  <a:gd name="connsiteX7" fmla="*/ 1584960 w 4319488"/>
                  <a:gd name="connsiteY7" fmla="*/ 2419350 h 4250625"/>
                  <a:gd name="connsiteX8" fmla="*/ 2493645 w 4319488"/>
                  <a:gd name="connsiteY8" fmla="*/ 2150745 h 4250625"/>
                  <a:gd name="connsiteX9" fmla="*/ 2838450 w 4319488"/>
                  <a:gd name="connsiteY9" fmla="*/ 2228850 h 4250625"/>
                  <a:gd name="connsiteX10" fmla="*/ 4210050 w 4319488"/>
                  <a:gd name="connsiteY10" fmla="*/ 3192780 h 4250625"/>
                  <a:gd name="connsiteX11" fmla="*/ 3810000 w 4319488"/>
                  <a:gd name="connsiteY11" fmla="*/ 3562350 h 4250625"/>
                  <a:gd name="connsiteX12" fmla="*/ 3438525 w 4319488"/>
                  <a:gd name="connsiteY12" fmla="*/ 3829050 h 4250625"/>
                  <a:gd name="connsiteX13" fmla="*/ 3124200 w 4319488"/>
                  <a:gd name="connsiteY13" fmla="*/ 4114800 h 4250625"/>
                  <a:gd name="connsiteX14" fmla="*/ 2514600 w 4319488"/>
                  <a:gd name="connsiteY14" fmla="*/ 4114800 h 4250625"/>
                  <a:gd name="connsiteX15" fmla="*/ 2257425 w 4319488"/>
                  <a:gd name="connsiteY15" fmla="*/ 3695700 h 4250625"/>
                  <a:gd name="connsiteX16" fmla="*/ 1905000 w 4319488"/>
                  <a:gd name="connsiteY16" fmla="*/ 3421380 h 4250625"/>
                  <a:gd name="connsiteX17" fmla="*/ 1491615 w 4319488"/>
                  <a:gd name="connsiteY17" fmla="*/ 3133725 h 4250625"/>
                  <a:gd name="connsiteX18" fmla="*/ 1099185 w 4319488"/>
                  <a:gd name="connsiteY18" fmla="*/ 3011805 h 4250625"/>
                  <a:gd name="connsiteX19" fmla="*/ 933450 w 4319488"/>
                  <a:gd name="connsiteY19" fmla="*/ 2733675 h 4250625"/>
                  <a:gd name="connsiteX20" fmla="*/ 666750 w 4319488"/>
                  <a:gd name="connsiteY20" fmla="*/ 2543175 h 4250625"/>
                  <a:gd name="connsiteX21" fmla="*/ 581025 w 4319488"/>
                  <a:gd name="connsiteY21" fmla="*/ 2676525 h 4250625"/>
                  <a:gd name="connsiteX22" fmla="*/ 200025 w 4319488"/>
                  <a:gd name="connsiteY22" fmla="*/ 2457450 h 4250625"/>
                  <a:gd name="connsiteX0" fmla="*/ 0 w 4319488"/>
                  <a:gd name="connsiteY0" fmla="*/ 0 h 4250625"/>
                  <a:gd name="connsiteX1" fmla="*/ 1190625 w 4319488"/>
                  <a:gd name="connsiteY1" fmla="*/ 990600 h 4250625"/>
                  <a:gd name="connsiteX2" fmla="*/ 1095375 w 4319488"/>
                  <a:gd name="connsiteY2" fmla="*/ 1152525 h 4250625"/>
                  <a:gd name="connsiteX3" fmla="*/ 1371600 w 4319488"/>
                  <a:gd name="connsiteY3" fmla="*/ 1390650 h 4250625"/>
                  <a:gd name="connsiteX4" fmla="*/ 1276350 w 4319488"/>
                  <a:gd name="connsiteY4" fmla="*/ 1552575 h 4250625"/>
                  <a:gd name="connsiteX5" fmla="*/ 1590675 w 4319488"/>
                  <a:gd name="connsiteY5" fmla="*/ 1762125 h 4250625"/>
                  <a:gd name="connsiteX6" fmla="*/ 1863090 w 4319488"/>
                  <a:gd name="connsiteY6" fmla="*/ 1735455 h 4250625"/>
                  <a:gd name="connsiteX7" fmla="*/ 1584960 w 4319488"/>
                  <a:gd name="connsiteY7" fmla="*/ 2419350 h 4250625"/>
                  <a:gd name="connsiteX8" fmla="*/ 2493645 w 4319488"/>
                  <a:gd name="connsiteY8" fmla="*/ 2150745 h 4250625"/>
                  <a:gd name="connsiteX9" fmla="*/ 2838450 w 4319488"/>
                  <a:gd name="connsiteY9" fmla="*/ 2228850 h 4250625"/>
                  <a:gd name="connsiteX10" fmla="*/ 4210050 w 4319488"/>
                  <a:gd name="connsiteY10" fmla="*/ 3192780 h 4250625"/>
                  <a:gd name="connsiteX11" fmla="*/ 3810000 w 4319488"/>
                  <a:gd name="connsiteY11" fmla="*/ 3562350 h 4250625"/>
                  <a:gd name="connsiteX12" fmla="*/ 3438525 w 4319488"/>
                  <a:gd name="connsiteY12" fmla="*/ 3829050 h 4250625"/>
                  <a:gd name="connsiteX13" fmla="*/ 3124200 w 4319488"/>
                  <a:gd name="connsiteY13" fmla="*/ 4114800 h 4250625"/>
                  <a:gd name="connsiteX14" fmla="*/ 2514600 w 4319488"/>
                  <a:gd name="connsiteY14" fmla="*/ 4114800 h 4250625"/>
                  <a:gd name="connsiteX15" fmla="*/ 2257425 w 4319488"/>
                  <a:gd name="connsiteY15" fmla="*/ 3695700 h 4250625"/>
                  <a:gd name="connsiteX16" fmla="*/ 1905000 w 4319488"/>
                  <a:gd name="connsiteY16" fmla="*/ 3421380 h 4250625"/>
                  <a:gd name="connsiteX17" fmla="*/ 1491615 w 4319488"/>
                  <a:gd name="connsiteY17" fmla="*/ 3133725 h 4250625"/>
                  <a:gd name="connsiteX18" fmla="*/ 1099185 w 4319488"/>
                  <a:gd name="connsiteY18" fmla="*/ 3011805 h 4250625"/>
                  <a:gd name="connsiteX19" fmla="*/ 933450 w 4319488"/>
                  <a:gd name="connsiteY19" fmla="*/ 2733675 h 4250625"/>
                  <a:gd name="connsiteX20" fmla="*/ 666750 w 4319488"/>
                  <a:gd name="connsiteY20" fmla="*/ 2543175 h 4250625"/>
                  <a:gd name="connsiteX21" fmla="*/ 581025 w 4319488"/>
                  <a:gd name="connsiteY21" fmla="*/ 2676525 h 4250625"/>
                  <a:gd name="connsiteX22" fmla="*/ 200025 w 4319488"/>
                  <a:gd name="connsiteY22" fmla="*/ 2457450 h 4250625"/>
                  <a:gd name="connsiteX0" fmla="*/ 0 w 4274847"/>
                  <a:gd name="connsiteY0" fmla="*/ 0 h 4250625"/>
                  <a:gd name="connsiteX1" fmla="*/ 1190625 w 4274847"/>
                  <a:gd name="connsiteY1" fmla="*/ 990600 h 4250625"/>
                  <a:gd name="connsiteX2" fmla="*/ 1095375 w 4274847"/>
                  <a:gd name="connsiteY2" fmla="*/ 1152525 h 4250625"/>
                  <a:gd name="connsiteX3" fmla="*/ 1371600 w 4274847"/>
                  <a:gd name="connsiteY3" fmla="*/ 1390650 h 4250625"/>
                  <a:gd name="connsiteX4" fmla="*/ 1276350 w 4274847"/>
                  <a:gd name="connsiteY4" fmla="*/ 1552575 h 4250625"/>
                  <a:gd name="connsiteX5" fmla="*/ 1590675 w 4274847"/>
                  <a:gd name="connsiteY5" fmla="*/ 1762125 h 4250625"/>
                  <a:gd name="connsiteX6" fmla="*/ 1863090 w 4274847"/>
                  <a:gd name="connsiteY6" fmla="*/ 1735455 h 4250625"/>
                  <a:gd name="connsiteX7" fmla="*/ 1584960 w 4274847"/>
                  <a:gd name="connsiteY7" fmla="*/ 2419350 h 4250625"/>
                  <a:gd name="connsiteX8" fmla="*/ 2493645 w 4274847"/>
                  <a:gd name="connsiteY8" fmla="*/ 2150745 h 4250625"/>
                  <a:gd name="connsiteX9" fmla="*/ 2838450 w 4274847"/>
                  <a:gd name="connsiteY9" fmla="*/ 2228850 h 4250625"/>
                  <a:gd name="connsiteX10" fmla="*/ 4210050 w 4274847"/>
                  <a:gd name="connsiteY10" fmla="*/ 3192780 h 4250625"/>
                  <a:gd name="connsiteX11" fmla="*/ 3810000 w 4274847"/>
                  <a:gd name="connsiteY11" fmla="*/ 3562350 h 4250625"/>
                  <a:gd name="connsiteX12" fmla="*/ 3438525 w 4274847"/>
                  <a:gd name="connsiteY12" fmla="*/ 3829050 h 4250625"/>
                  <a:gd name="connsiteX13" fmla="*/ 3124200 w 4274847"/>
                  <a:gd name="connsiteY13" fmla="*/ 4114800 h 4250625"/>
                  <a:gd name="connsiteX14" fmla="*/ 2514600 w 4274847"/>
                  <a:gd name="connsiteY14" fmla="*/ 4114800 h 4250625"/>
                  <a:gd name="connsiteX15" fmla="*/ 2257425 w 4274847"/>
                  <a:gd name="connsiteY15" fmla="*/ 3695700 h 4250625"/>
                  <a:gd name="connsiteX16" fmla="*/ 1905000 w 4274847"/>
                  <a:gd name="connsiteY16" fmla="*/ 3421380 h 4250625"/>
                  <a:gd name="connsiteX17" fmla="*/ 1491615 w 4274847"/>
                  <a:gd name="connsiteY17" fmla="*/ 3133725 h 4250625"/>
                  <a:gd name="connsiteX18" fmla="*/ 1099185 w 4274847"/>
                  <a:gd name="connsiteY18" fmla="*/ 3011805 h 4250625"/>
                  <a:gd name="connsiteX19" fmla="*/ 933450 w 4274847"/>
                  <a:gd name="connsiteY19" fmla="*/ 2733675 h 4250625"/>
                  <a:gd name="connsiteX20" fmla="*/ 666750 w 4274847"/>
                  <a:gd name="connsiteY20" fmla="*/ 2543175 h 4250625"/>
                  <a:gd name="connsiteX21" fmla="*/ 581025 w 4274847"/>
                  <a:gd name="connsiteY21" fmla="*/ 2676525 h 4250625"/>
                  <a:gd name="connsiteX22" fmla="*/ 200025 w 4274847"/>
                  <a:gd name="connsiteY22" fmla="*/ 2457450 h 4250625"/>
                  <a:gd name="connsiteX0" fmla="*/ 0 w 4283478"/>
                  <a:gd name="connsiteY0" fmla="*/ 0 h 4250625"/>
                  <a:gd name="connsiteX1" fmla="*/ 1190625 w 4283478"/>
                  <a:gd name="connsiteY1" fmla="*/ 990600 h 4250625"/>
                  <a:gd name="connsiteX2" fmla="*/ 1095375 w 4283478"/>
                  <a:gd name="connsiteY2" fmla="*/ 1152525 h 4250625"/>
                  <a:gd name="connsiteX3" fmla="*/ 1371600 w 4283478"/>
                  <a:gd name="connsiteY3" fmla="*/ 1390650 h 4250625"/>
                  <a:gd name="connsiteX4" fmla="*/ 1276350 w 4283478"/>
                  <a:gd name="connsiteY4" fmla="*/ 1552575 h 4250625"/>
                  <a:gd name="connsiteX5" fmla="*/ 1590675 w 4283478"/>
                  <a:gd name="connsiteY5" fmla="*/ 1762125 h 4250625"/>
                  <a:gd name="connsiteX6" fmla="*/ 1863090 w 4283478"/>
                  <a:gd name="connsiteY6" fmla="*/ 1735455 h 4250625"/>
                  <a:gd name="connsiteX7" fmla="*/ 1584960 w 4283478"/>
                  <a:gd name="connsiteY7" fmla="*/ 2419350 h 4250625"/>
                  <a:gd name="connsiteX8" fmla="*/ 2493645 w 4283478"/>
                  <a:gd name="connsiteY8" fmla="*/ 2150745 h 4250625"/>
                  <a:gd name="connsiteX9" fmla="*/ 2838450 w 4283478"/>
                  <a:gd name="connsiteY9" fmla="*/ 2228850 h 4250625"/>
                  <a:gd name="connsiteX10" fmla="*/ 4210050 w 4283478"/>
                  <a:gd name="connsiteY10" fmla="*/ 3192780 h 4250625"/>
                  <a:gd name="connsiteX11" fmla="*/ 3867150 w 4283478"/>
                  <a:gd name="connsiteY11" fmla="*/ 3558540 h 4250625"/>
                  <a:gd name="connsiteX12" fmla="*/ 3438525 w 4283478"/>
                  <a:gd name="connsiteY12" fmla="*/ 3829050 h 4250625"/>
                  <a:gd name="connsiteX13" fmla="*/ 3124200 w 4283478"/>
                  <a:gd name="connsiteY13" fmla="*/ 4114800 h 4250625"/>
                  <a:gd name="connsiteX14" fmla="*/ 2514600 w 4283478"/>
                  <a:gd name="connsiteY14" fmla="*/ 4114800 h 4250625"/>
                  <a:gd name="connsiteX15" fmla="*/ 2257425 w 4283478"/>
                  <a:gd name="connsiteY15" fmla="*/ 3695700 h 4250625"/>
                  <a:gd name="connsiteX16" fmla="*/ 1905000 w 4283478"/>
                  <a:gd name="connsiteY16" fmla="*/ 3421380 h 4250625"/>
                  <a:gd name="connsiteX17" fmla="*/ 1491615 w 4283478"/>
                  <a:gd name="connsiteY17" fmla="*/ 3133725 h 4250625"/>
                  <a:gd name="connsiteX18" fmla="*/ 1099185 w 4283478"/>
                  <a:gd name="connsiteY18" fmla="*/ 3011805 h 4250625"/>
                  <a:gd name="connsiteX19" fmla="*/ 933450 w 4283478"/>
                  <a:gd name="connsiteY19" fmla="*/ 2733675 h 4250625"/>
                  <a:gd name="connsiteX20" fmla="*/ 666750 w 4283478"/>
                  <a:gd name="connsiteY20" fmla="*/ 2543175 h 4250625"/>
                  <a:gd name="connsiteX21" fmla="*/ 581025 w 4283478"/>
                  <a:gd name="connsiteY21" fmla="*/ 2676525 h 4250625"/>
                  <a:gd name="connsiteX22" fmla="*/ 200025 w 4283478"/>
                  <a:gd name="connsiteY22" fmla="*/ 2457450 h 4250625"/>
                  <a:gd name="connsiteX0" fmla="*/ 0 w 4277041"/>
                  <a:gd name="connsiteY0" fmla="*/ 0 h 4250625"/>
                  <a:gd name="connsiteX1" fmla="*/ 1190625 w 4277041"/>
                  <a:gd name="connsiteY1" fmla="*/ 990600 h 4250625"/>
                  <a:gd name="connsiteX2" fmla="*/ 1095375 w 4277041"/>
                  <a:gd name="connsiteY2" fmla="*/ 1152525 h 4250625"/>
                  <a:gd name="connsiteX3" fmla="*/ 1371600 w 4277041"/>
                  <a:gd name="connsiteY3" fmla="*/ 1390650 h 4250625"/>
                  <a:gd name="connsiteX4" fmla="*/ 1276350 w 4277041"/>
                  <a:gd name="connsiteY4" fmla="*/ 1552575 h 4250625"/>
                  <a:gd name="connsiteX5" fmla="*/ 1590675 w 4277041"/>
                  <a:gd name="connsiteY5" fmla="*/ 1762125 h 4250625"/>
                  <a:gd name="connsiteX6" fmla="*/ 1863090 w 4277041"/>
                  <a:gd name="connsiteY6" fmla="*/ 1735455 h 4250625"/>
                  <a:gd name="connsiteX7" fmla="*/ 1584960 w 4277041"/>
                  <a:gd name="connsiteY7" fmla="*/ 2419350 h 4250625"/>
                  <a:gd name="connsiteX8" fmla="*/ 2493645 w 4277041"/>
                  <a:gd name="connsiteY8" fmla="*/ 2150745 h 4250625"/>
                  <a:gd name="connsiteX9" fmla="*/ 2838450 w 4277041"/>
                  <a:gd name="connsiteY9" fmla="*/ 2228850 h 4250625"/>
                  <a:gd name="connsiteX10" fmla="*/ 4210050 w 4277041"/>
                  <a:gd name="connsiteY10" fmla="*/ 3192780 h 4250625"/>
                  <a:gd name="connsiteX11" fmla="*/ 3867150 w 4277041"/>
                  <a:gd name="connsiteY11" fmla="*/ 3558540 h 4250625"/>
                  <a:gd name="connsiteX12" fmla="*/ 3438525 w 4277041"/>
                  <a:gd name="connsiteY12" fmla="*/ 3829050 h 4250625"/>
                  <a:gd name="connsiteX13" fmla="*/ 3124200 w 4277041"/>
                  <a:gd name="connsiteY13" fmla="*/ 4114800 h 4250625"/>
                  <a:gd name="connsiteX14" fmla="*/ 2514600 w 4277041"/>
                  <a:gd name="connsiteY14" fmla="*/ 4114800 h 4250625"/>
                  <a:gd name="connsiteX15" fmla="*/ 2257425 w 4277041"/>
                  <a:gd name="connsiteY15" fmla="*/ 3695700 h 4250625"/>
                  <a:gd name="connsiteX16" fmla="*/ 1905000 w 4277041"/>
                  <a:gd name="connsiteY16" fmla="*/ 3421380 h 4250625"/>
                  <a:gd name="connsiteX17" fmla="*/ 1491615 w 4277041"/>
                  <a:gd name="connsiteY17" fmla="*/ 3133725 h 4250625"/>
                  <a:gd name="connsiteX18" fmla="*/ 1099185 w 4277041"/>
                  <a:gd name="connsiteY18" fmla="*/ 3011805 h 4250625"/>
                  <a:gd name="connsiteX19" fmla="*/ 933450 w 4277041"/>
                  <a:gd name="connsiteY19" fmla="*/ 2733675 h 4250625"/>
                  <a:gd name="connsiteX20" fmla="*/ 666750 w 4277041"/>
                  <a:gd name="connsiteY20" fmla="*/ 2543175 h 4250625"/>
                  <a:gd name="connsiteX21" fmla="*/ 581025 w 4277041"/>
                  <a:gd name="connsiteY21" fmla="*/ 2676525 h 4250625"/>
                  <a:gd name="connsiteX22" fmla="*/ 200025 w 4277041"/>
                  <a:gd name="connsiteY22" fmla="*/ 2457450 h 4250625"/>
                  <a:gd name="connsiteX0" fmla="*/ 0 w 4248076"/>
                  <a:gd name="connsiteY0" fmla="*/ 0 h 4250625"/>
                  <a:gd name="connsiteX1" fmla="*/ 1190625 w 4248076"/>
                  <a:gd name="connsiteY1" fmla="*/ 990600 h 4250625"/>
                  <a:gd name="connsiteX2" fmla="*/ 1095375 w 4248076"/>
                  <a:gd name="connsiteY2" fmla="*/ 1152525 h 4250625"/>
                  <a:gd name="connsiteX3" fmla="*/ 1371600 w 4248076"/>
                  <a:gd name="connsiteY3" fmla="*/ 1390650 h 4250625"/>
                  <a:gd name="connsiteX4" fmla="*/ 1276350 w 4248076"/>
                  <a:gd name="connsiteY4" fmla="*/ 1552575 h 4250625"/>
                  <a:gd name="connsiteX5" fmla="*/ 1590675 w 4248076"/>
                  <a:gd name="connsiteY5" fmla="*/ 1762125 h 4250625"/>
                  <a:gd name="connsiteX6" fmla="*/ 1863090 w 4248076"/>
                  <a:gd name="connsiteY6" fmla="*/ 1735455 h 4250625"/>
                  <a:gd name="connsiteX7" fmla="*/ 1584960 w 4248076"/>
                  <a:gd name="connsiteY7" fmla="*/ 2419350 h 4250625"/>
                  <a:gd name="connsiteX8" fmla="*/ 2493645 w 4248076"/>
                  <a:gd name="connsiteY8" fmla="*/ 2150745 h 4250625"/>
                  <a:gd name="connsiteX9" fmla="*/ 2838450 w 4248076"/>
                  <a:gd name="connsiteY9" fmla="*/ 2228850 h 4250625"/>
                  <a:gd name="connsiteX10" fmla="*/ 4175760 w 4248076"/>
                  <a:gd name="connsiteY10" fmla="*/ 3162300 h 4250625"/>
                  <a:gd name="connsiteX11" fmla="*/ 3867150 w 4248076"/>
                  <a:gd name="connsiteY11" fmla="*/ 3558540 h 4250625"/>
                  <a:gd name="connsiteX12" fmla="*/ 3438525 w 4248076"/>
                  <a:gd name="connsiteY12" fmla="*/ 3829050 h 4250625"/>
                  <a:gd name="connsiteX13" fmla="*/ 3124200 w 4248076"/>
                  <a:gd name="connsiteY13" fmla="*/ 4114800 h 4250625"/>
                  <a:gd name="connsiteX14" fmla="*/ 2514600 w 4248076"/>
                  <a:gd name="connsiteY14" fmla="*/ 4114800 h 4250625"/>
                  <a:gd name="connsiteX15" fmla="*/ 2257425 w 4248076"/>
                  <a:gd name="connsiteY15" fmla="*/ 3695700 h 4250625"/>
                  <a:gd name="connsiteX16" fmla="*/ 1905000 w 4248076"/>
                  <a:gd name="connsiteY16" fmla="*/ 3421380 h 4250625"/>
                  <a:gd name="connsiteX17" fmla="*/ 1491615 w 4248076"/>
                  <a:gd name="connsiteY17" fmla="*/ 3133725 h 4250625"/>
                  <a:gd name="connsiteX18" fmla="*/ 1099185 w 4248076"/>
                  <a:gd name="connsiteY18" fmla="*/ 3011805 h 4250625"/>
                  <a:gd name="connsiteX19" fmla="*/ 933450 w 4248076"/>
                  <a:gd name="connsiteY19" fmla="*/ 2733675 h 4250625"/>
                  <a:gd name="connsiteX20" fmla="*/ 666750 w 4248076"/>
                  <a:gd name="connsiteY20" fmla="*/ 2543175 h 4250625"/>
                  <a:gd name="connsiteX21" fmla="*/ 581025 w 4248076"/>
                  <a:gd name="connsiteY21" fmla="*/ 2676525 h 4250625"/>
                  <a:gd name="connsiteX22" fmla="*/ 200025 w 4248076"/>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38525 w 4300729"/>
                  <a:gd name="connsiteY12" fmla="*/ 382905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38525 w 4300729"/>
                  <a:gd name="connsiteY12" fmla="*/ 382905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99485 w 4300729"/>
                  <a:gd name="connsiteY12" fmla="*/ 382524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99485 w 4300729"/>
                  <a:gd name="connsiteY12" fmla="*/ 382524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99485 w 4300729"/>
                  <a:gd name="connsiteY12" fmla="*/ 382524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50625"/>
                  <a:gd name="connsiteX1" fmla="*/ 1190625 w 4300729"/>
                  <a:gd name="connsiteY1" fmla="*/ 990600 h 4250625"/>
                  <a:gd name="connsiteX2" fmla="*/ 1095375 w 4300729"/>
                  <a:gd name="connsiteY2" fmla="*/ 1152525 h 4250625"/>
                  <a:gd name="connsiteX3" fmla="*/ 1371600 w 4300729"/>
                  <a:gd name="connsiteY3" fmla="*/ 1390650 h 4250625"/>
                  <a:gd name="connsiteX4" fmla="*/ 1276350 w 4300729"/>
                  <a:gd name="connsiteY4" fmla="*/ 1552575 h 4250625"/>
                  <a:gd name="connsiteX5" fmla="*/ 1590675 w 4300729"/>
                  <a:gd name="connsiteY5" fmla="*/ 1762125 h 4250625"/>
                  <a:gd name="connsiteX6" fmla="*/ 1863090 w 4300729"/>
                  <a:gd name="connsiteY6" fmla="*/ 1735455 h 4250625"/>
                  <a:gd name="connsiteX7" fmla="*/ 1584960 w 4300729"/>
                  <a:gd name="connsiteY7" fmla="*/ 2419350 h 4250625"/>
                  <a:gd name="connsiteX8" fmla="*/ 2493645 w 4300729"/>
                  <a:gd name="connsiteY8" fmla="*/ 2150745 h 4250625"/>
                  <a:gd name="connsiteX9" fmla="*/ 2838450 w 4300729"/>
                  <a:gd name="connsiteY9" fmla="*/ 2228850 h 4250625"/>
                  <a:gd name="connsiteX10" fmla="*/ 4175760 w 4300729"/>
                  <a:gd name="connsiteY10" fmla="*/ 3162300 h 4250625"/>
                  <a:gd name="connsiteX11" fmla="*/ 3867150 w 4300729"/>
                  <a:gd name="connsiteY11" fmla="*/ 3558540 h 4250625"/>
                  <a:gd name="connsiteX12" fmla="*/ 3499485 w 4300729"/>
                  <a:gd name="connsiteY12" fmla="*/ 3825240 h 4250625"/>
                  <a:gd name="connsiteX13" fmla="*/ 3124200 w 4300729"/>
                  <a:gd name="connsiteY13" fmla="*/ 4114800 h 4250625"/>
                  <a:gd name="connsiteX14" fmla="*/ 2514600 w 4300729"/>
                  <a:gd name="connsiteY14" fmla="*/ 4114800 h 4250625"/>
                  <a:gd name="connsiteX15" fmla="*/ 2257425 w 4300729"/>
                  <a:gd name="connsiteY15" fmla="*/ 3695700 h 4250625"/>
                  <a:gd name="connsiteX16" fmla="*/ 1905000 w 4300729"/>
                  <a:gd name="connsiteY16" fmla="*/ 3421380 h 4250625"/>
                  <a:gd name="connsiteX17" fmla="*/ 1491615 w 4300729"/>
                  <a:gd name="connsiteY17" fmla="*/ 3133725 h 4250625"/>
                  <a:gd name="connsiteX18" fmla="*/ 1099185 w 4300729"/>
                  <a:gd name="connsiteY18" fmla="*/ 3011805 h 4250625"/>
                  <a:gd name="connsiteX19" fmla="*/ 933450 w 4300729"/>
                  <a:gd name="connsiteY19" fmla="*/ 2733675 h 4250625"/>
                  <a:gd name="connsiteX20" fmla="*/ 666750 w 4300729"/>
                  <a:gd name="connsiteY20" fmla="*/ 2543175 h 4250625"/>
                  <a:gd name="connsiteX21" fmla="*/ 581025 w 4300729"/>
                  <a:gd name="connsiteY21" fmla="*/ 2676525 h 4250625"/>
                  <a:gd name="connsiteX22" fmla="*/ 200025 w 4300729"/>
                  <a:gd name="connsiteY22" fmla="*/ 2457450 h 4250625"/>
                  <a:gd name="connsiteX0" fmla="*/ 0 w 4300729"/>
                  <a:gd name="connsiteY0" fmla="*/ 0 h 4261033"/>
                  <a:gd name="connsiteX1" fmla="*/ 1190625 w 4300729"/>
                  <a:gd name="connsiteY1" fmla="*/ 990600 h 4261033"/>
                  <a:gd name="connsiteX2" fmla="*/ 1095375 w 4300729"/>
                  <a:gd name="connsiteY2" fmla="*/ 1152525 h 4261033"/>
                  <a:gd name="connsiteX3" fmla="*/ 1371600 w 4300729"/>
                  <a:gd name="connsiteY3" fmla="*/ 1390650 h 4261033"/>
                  <a:gd name="connsiteX4" fmla="*/ 1276350 w 4300729"/>
                  <a:gd name="connsiteY4" fmla="*/ 1552575 h 4261033"/>
                  <a:gd name="connsiteX5" fmla="*/ 1590675 w 4300729"/>
                  <a:gd name="connsiteY5" fmla="*/ 1762125 h 4261033"/>
                  <a:gd name="connsiteX6" fmla="*/ 1863090 w 4300729"/>
                  <a:gd name="connsiteY6" fmla="*/ 1735455 h 4261033"/>
                  <a:gd name="connsiteX7" fmla="*/ 1584960 w 4300729"/>
                  <a:gd name="connsiteY7" fmla="*/ 2419350 h 4261033"/>
                  <a:gd name="connsiteX8" fmla="*/ 2493645 w 4300729"/>
                  <a:gd name="connsiteY8" fmla="*/ 2150745 h 4261033"/>
                  <a:gd name="connsiteX9" fmla="*/ 2838450 w 4300729"/>
                  <a:gd name="connsiteY9" fmla="*/ 2228850 h 4261033"/>
                  <a:gd name="connsiteX10" fmla="*/ 4175760 w 4300729"/>
                  <a:gd name="connsiteY10" fmla="*/ 3162300 h 4261033"/>
                  <a:gd name="connsiteX11" fmla="*/ 3867150 w 4300729"/>
                  <a:gd name="connsiteY11" fmla="*/ 3558540 h 4261033"/>
                  <a:gd name="connsiteX12" fmla="*/ 3499485 w 4300729"/>
                  <a:gd name="connsiteY12" fmla="*/ 3825240 h 4261033"/>
                  <a:gd name="connsiteX13" fmla="*/ 3124200 w 4300729"/>
                  <a:gd name="connsiteY13" fmla="*/ 4114800 h 4261033"/>
                  <a:gd name="connsiteX14" fmla="*/ 2514600 w 4300729"/>
                  <a:gd name="connsiteY14" fmla="*/ 4114800 h 4261033"/>
                  <a:gd name="connsiteX15" fmla="*/ 2257425 w 4300729"/>
                  <a:gd name="connsiteY15" fmla="*/ 3695700 h 4261033"/>
                  <a:gd name="connsiteX16" fmla="*/ 1905000 w 4300729"/>
                  <a:gd name="connsiteY16" fmla="*/ 3421380 h 4261033"/>
                  <a:gd name="connsiteX17" fmla="*/ 1491615 w 4300729"/>
                  <a:gd name="connsiteY17" fmla="*/ 3133725 h 4261033"/>
                  <a:gd name="connsiteX18" fmla="*/ 1099185 w 4300729"/>
                  <a:gd name="connsiteY18" fmla="*/ 3011805 h 4261033"/>
                  <a:gd name="connsiteX19" fmla="*/ 933450 w 4300729"/>
                  <a:gd name="connsiteY19" fmla="*/ 2733675 h 4261033"/>
                  <a:gd name="connsiteX20" fmla="*/ 666750 w 4300729"/>
                  <a:gd name="connsiteY20" fmla="*/ 2543175 h 4261033"/>
                  <a:gd name="connsiteX21" fmla="*/ 581025 w 4300729"/>
                  <a:gd name="connsiteY21" fmla="*/ 2676525 h 4261033"/>
                  <a:gd name="connsiteX22" fmla="*/ 200025 w 4300729"/>
                  <a:gd name="connsiteY22" fmla="*/ 2457450 h 4261033"/>
                  <a:gd name="connsiteX0" fmla="*/ 0 w 4300729"/>
                  <a:gd name="connsiteY0" fmla="*/ 0 h 4314977"/>
                  <a:gd name="connsiteX1" fmla="*/ 1190625 w 4300729"/>
                  <a:gd name="connsiteY1" fmla="*/ 990600 h 4314977"/>
                  <a:gd name="connsiteX2" fmla="*/ 1095375 w 4300729"/>
                  <a:gd name="connsiteY2" fmla="*/ 1152525 h 4314977"/>
                  <a:gd name="connsiteX3" fmla="*/ 1371600 w 4300729"/>
                  <a:gd name="connsiteY3" fmla="*/ 1390650 h 4314977"/>
                  <a:gd name="connsiteX4" fmla="*/ 1276350 w 4300729"/>
                  <a:gd name="connsiteY4" fmla="*/ 1552575 h 4314977"/>
                  <a:gd name="connsiteX5" fmla="*/ 1590675 w 4300729"/>
                  <a:gd name="connsiteY5" fmla="*/ 1762125 h 4314977"/>
                  <a:gd name="connsiteX6" fmla="*/ 1863090 w 4300729"/>
                  <a:gd name="connsiteY6" fmla="*/ 1735455 h 4314977"/>
                  <a:gd name="connsiteX7" fmla="*/ 1584960 w 4300729"/>
                  <a:gd name="connsiteY7" fmla="*/ 2419350 h 4314977"/>
                  <a:gd name="connsiteX8" fmla="*/ 2493645 w 4300729"/>
                  <a:gd name="connsiteY8" fmla="*/ 2150745 h 4314977"/>
                  <a:gd name="connsiteX9" fmla="*/ 2838450 w 4300729"/>
                  <a:gd name="connsiteY9" fmla="*/ 2228850 h 4314977"/>
                  <a:gd name="connsiteX10" fmla="*/ 4175760 w 4300729"/>
                  <a:gd name="connsiteY10" fmla="*/ 3162300 h 4314977"/>
                  <a:gd name="connsiteX11" fmla="*/ 3867150 w 4300729"/>
                  <a:gd name="connsiteY11" fmla="*/ 3558540 h 4314977"/>
                  <a:gd name="connsiteX12" fmla="*/ 3499485 w 4300729"/>
                  <a:gd name="connsiteY12" fmla="*/ 3825240 h 4314977"/>
                  <a:gd name="connsiteX13" fmla="*/ 3124200 w 4300729"/>
                  <a:gd name="connsiteY13" fmla="*/ 4114800 h 4314977"/>
                  <a:gd name="connsiteX14" fmla="*/ 2514600 w 4300729"/>
                  <a:gd name="connsiteY14" fmla="*/ 4114800 h 4314977"/>
                  <a:gd name="connsiteX15" fmla="*/ 2257425 w 4300729"/>
                  <a:gd name="connsiteY15" fmla="*/ 3695700 h 4314977"/>
                  <a:gd name="connsiteX16" fmla="*/ 1905000 w 4300729"/>
                  <a:gd name="connsiteY16" fmla="*/ 3421380 h 4314977"/>
                  <a:gd name="connsiteX17" fmla="*/ 1491615 w 4300729"/>
                  <a:gd name="connsiteY17" fmla="*/ 3133725 h 4314977"/>
                  <a:gd name="connsiteX18" fmla="*/ 1099185 w 4300729"/>
                  <a:gd name="connsiteY18" fmla="*/ 3011805 h 4314977"/>
                  <a:gd name="connsiteX19" fmla="*/ 933450 w 4300729"/>
                  <a:gd name="connsiteY19" fmla="*/ 2733675 h 4314977"/>
                  <a:gd name="connsiteX20" fmla="*/ 666750 w 4300729"/>
                  <a:gd name="connsiteY20" fmla="*/ 2543175 h 4314977"/>
                  <a:gd name="connsiteX21" fmla="*/ 581025 w 4300729"/>
                  <a:gd name="connsiteY21" fmla="*/ 2676525 h 4314977"/>
                  <a:gd name="connsiteX22" fmla="*/ 200025 w 4300729"/>
                  <a:gd name="connsiteY22" fmla="*/ 2457450 h 4314977"/>
                  <a:gd name="connsiteX0" fmla="*/ 0 w 4300729"/>
                  <a:gd name="connsiteY0" fmla="*/ 0 h 4336841"/>
                  <a:gd name="connsiteX1" fmla="*/ 1190625 w 4300729"/>
                  <a:gd name="connsiteY1" fmla="*/ 990600 h 4336841"/>
                  <a:gd name="connsiteX2" fmla="*/ 1095375 w 4300729"/>
                  <a:gd name="connsiteY2" fmla="*/ 1152525 h 4336841"/>
                  <a:gd name="connsiteX3" fmla="*/ 1371600 w 4300729"/>
                  <a:gd name="connsiteY3" fmla="*/ 1390650 h 4336841"/>
                  <a:gd name="connsiteX4" fmla="*/ 1276350 w 4300729"/>
                  <a:gd name="connsiteY4" fmla="*/ 1552575 h 4336841"/>
                  <a:gd name="connsiteX5" fmla="*/ 1590675 w 4300729"/>
                  <a:gd name="connsiteY5" fmla="*/ 1762125 h 4336841"/>
                  <a:gd name="connsiteX6" fmla="*/ 1863090 w 4300729"/>
                  <a:gd name="connsiteY6" fmla="*/ 1735455 h 4336841"/>
                  <a:gd name="connsiteX7" fmla="*/ 1584960 w 4300729"/>
                  <a:gd name="connsiteY7" fmla="*/ 2419350 h 4336841"/>
                  <a:gd name="connsiteX8" fmla="*/ 2493645 w 4300729"/>
                  <a:gd name="connsiteY8" fmla="*/ 2150745 h 4336841"/>
                  <a:gd name="connsiteX9" fmla="*/ 2838450 w 4300729"/>
                  <a:gd name="connsiteY9" fmla="*/ 2228850 h 4336841"/>
                  <a:gd name="connsiteX10" fmla="*/ 4175760 w 4300729"/>
                  <a:gd name="connsiteY10" fmla="*/ 3162300 h 4336841"/>
                  <a:gd name="connsiteX11" fmla="*/ 3867150 w 4300729"/>
                  <a:gd name="connsiteY11" fmla="*/ 3558540 h 4336841"/>
                  <a:gd name="connsiteX12" fmla="*/ 3499485 w 4300729"/>
                  <a:gd name="connsiteY12" fmla="*/ 3825240 h 4336841"/>
                  <a:gd name="connsiteX13" fmla="*/ 3124200 w 4300729"/>
                  <a:gd name="connsiteY13" fmla="*/ 4114800 h 4336841"/>
                  <a:gd name="connsiteX14" fmla="*/ 2514600 w 4300729"/>
                  <a:gd name="connsiteY14" fmla="*/ 4114800 h 4336841"/>
                  <a:gd name="connsiteX15" fmla="*/ 2257425 w 4300729"/>
                  <a:gd name="connsiteY15" fmla="*/ 3695700 h 4336841"/>
                  <a:gd name="connsiteX16" fmla="*/ 1905000 w 4300729"/>
                  <a:gd name="connsiteY16" fmla="*/ 3421380 h 4336841"/>
                  <a:gd name="connsiteX17" fmla="*/ 1491615 w 4300729"/>
                  <a:gd name="connsiteY17" fmla="*/ 3133725 h 4336841"/>
                  <a:gd name="connsiteX18" fmla="*/ 1099185 w 4300729"/>
                  <a:gd name="connsiteY18" fmla="*/ 3011805 h 4336841"/>
                  <a:gd name="connsiteX19" fmla="*/ 933450 w 4300729"/>
                  <a:gd name="connsiteY19" fmla="*/ 2733675 h 4336841"/>
                  <a:gd name="connsiteX20" fmla="*/ 666750 w 4300729"/>
                  <a:gd name="connsiteY20" fmla="*/ 2543175 h 4336841"/>
                  <a:gd name="connsiteX21" fmla="*/ 581025 w 4300729"/>
                  <a:gd name="connsiteY21" fmla="*/ 2676525 h 4336841"/>
                  <a:gd name="connsiteX22" fmla="*/ 200025 w 4300729"/>
                  <a:gd name="connsiteY22" fmla="*/ 2457450 h 4336841"/>
                  <a:gd name="connsiteX0" fmla="*/ 0 w 4300729"/>
                  <a:gd name="connsiteY0" fmla="*/ 0 h 4336841"/>
                  <a:gd name="connsiteX1" fmla="*/ 1190625 w 4300729"/>
                  <a:gd name="connsiteY1" fmla="*/ 990600 h 4336841"/>
                  <a:gd name="connsiteX2" fmla="*/ 1095375 w 4300729"/>
                  <a:gd name="connsiteY2" fmla="*/ 1152525 h 4336841"/>
                  <a:gd name="connsiteX3" fmla="*/ 1371600 w 4300729"/>
                  <a:gd name="connsiteY3" fmla="*/ 1390650 h 4336841"/>
                  <a:gd name="connsiteX4" fmla="*/ 1276350 w 4300729"/>
                  <a:gd name="connsiteY4" fmla="*/ 1552575 h 4336841"/>
                  <a:gd name="connsiteX5" fmla="*/ 1590675 w 4300729"/>
                  <a:gd name="connsiteY5" fmla="*/ 1762125 h 4336841"/>
                  <a:gd name="connsiteX6" fmla="*/ 1863090 w 4300729"/>
                  <a:gd name="connsiteY6" fmla="*/ 1735455 h 4336841"/>
                  <a:gd name="connsiteX7" fmla="*/ 1584960 w 4300729"/>
                  <a:gd name="connsiteY7" fmla="*/ 2419350 h 4336841"/>
                  <a:gd name="connsiteX8" fmla="*/ 2493645 w 4300729"/>
                  <a:gd name="connsiteY8" fmla="*/ 2150745 h 4336841"/>
                  <a:gd name="connsiteX9" fmla="*/ 2838450 w 4300729"/>
                  <a:gd name="connsiteY9" fmla="*/ 2228850 h 4336841"/>
                  <a:gd name="connsiteX10" fmla="*/ 4175760 w 4300729"/>
                  <a:gd name="connsiteY10" fmla="*/ 3162300 h 4336841"/>
                  <a:gd name="connsiteX11" fmla="*/ 3867150 w 4300729"/>
                  <a:gd name="connsiteY11" fmla="*/ 3558540 h 4336841"/>
                  <a:gd name="connsiteX12" fmla="*/ 3499485 w 4300729"/>
                  <a:gd name="connsiteY12" fmla="*/ 3825240 h 4336841"/>
                  <a:gd name="connsiteX13" fmla="*/ 3124200 w 4300729"/>
                  <a:gd name="connsiteY13" fmla="*/ 4114800 h 4336841"/>
                  <a:gd name="connsiteX14" fmla="*/ 2514600 w 4300729"/>
                  <a:gd name="connsiteY14" fmla="*/ 4114800 h 4336841"/>
                  <a:gd name="connsiteX15" fmla="*/ 2257425 w 4300729"/>
                  <a:gd name="connsiteY15" fmla="*/ 3695700 h 4336841"/>
                  <a:gd name="connsiteX16" fmla="*/ 1905000 w 4300729"/>
                  <a:gd name="connsiteY16" fmla="*/ 3421380 h 4336841"/>
                  <a:gd name="connsiteX17" fmla="*/ 1491615 w 4300729"/>
                  <a:gd name="connsiteY17" fmla="*/ 3133725 h 4336841"/>
                  <a:gd name="connsiteX18" fmla="*/ 1099185 w 4300729"/>
                  <a:gd name="connsiteY18" fmla="*/ 3011805 h 4336841"/>
                  <a:gd name="connsiteX19" fmla="*/ 933450 w 4300729"/>
                  <a:gd name="connsiteY19" fmla="*/ 2733675 h 4336841"/>
                  <a:gd name="connsiteX20" fmla="*/ 666750 w 4300729"/>
                  <a:gd name="connsiteY20" fmla="*/ 2543175 h 4336841"/>
                  <a:gd name="connsiteX21" fmla="*/ 581025 w 4300729"/>
                  <a:gd name="connsiteY21" fmla="*/ 2676525 h 4336841"/>
                  <a:gd name="connsiteX22" fmla="*/ 200025 w 4300729"/>
                  <a:gd name="connsiteY22" fmla="*/ 2457450 h 4336841"/>
                  <a:gd name="connsiteX0" fmla="*/ 0 w 4300729"/>
                  <a:gd name="connsiteY0" fmla="*/ 0 h 4336841"/>
                  <a:gd name="connsiteX1" fmla="*/ 1190625 w 4300729"/>
                  <a:gd name="connsiteY1" fmla="*/ 990600 h 4336841"/>
                  <a:gd name="connsiteX2" fmla="*/ 1095375 w 4300729"/>
                  <a:gd name="connsiteY2" fmla="*/ 1152525 h 4336841"/>
                  <a:gd name="connsiteX3" fmla="*/ 1371600 w 4300729"/>
                  <a:gd name="connsiteY3" fmla="*/ 1390650 h 4336841"/>
                  <a:gd name="connsiteX4" fmla="*/ 1276350 w 4300729"/>
                  <a:gd name="connsiteY4" fmla="*/ 1552575 h 4336841"/>
                  <a:gd name="connsiteX5" fmla="*/ 1590675 w 4300729"/>
                  <a:gd name="connsiteY5" fmla="*/ 1762125 h 4336841"/>
                  <a:gd name="connsiteX6" fmla="*/ 1863090 w 4300729"/>
                  <a:gd name="connsiteY6" fmla="*/ 1735455 h 4336841"/>
                  <a:gd name="connsiteX7" fmla="*/ 1584960 w 4300729"/>
                  <a:gd name="connsiteY7" fmla="*/ 2419350 h 4336841"/>
                  <a:gd name="connsiteX8" fmla="*/ 2493645 w 4300729"/>
                  <a:gd name="connsiteY8" fmla="*/ 2150745 h 4336841"/>
                  <a:gd name="connsiteX9" fmla="*/ 2838450 w 4300729"/>
                  <a:gd name="connsiteY9" fmla="*/ 2228850 h 4336841"/>
                  <a:gd name="connsiteX10" fmla="*/ 4175760 w 4300729"/>
                  <a:gd name="connsiteY10" fmla="*/ 3162300 h 4336841"/>
                  <a:gd name="connsiteX11" fmla="*/ 3867150 w 4300729"/>
                  <a:gd name="connsiteY11" fmla="*/ 3558540 h 4336841"/>
                  <a:gd name="connsiteX12" fmla="*/ 3499485 w 4300729"/>
                  <a:gd name="connsiteY12" fmla="*/ 3825240 h 4336841"/>
                  <a:gd name="connsiteX13" fmla="*/ 3124200 w 4300729"/>
                  <a:gd name="connsiteY13" fmla="*/ 4114800 h 4336841"/>
                  <a:gd name="connsiteX14" fmla="*/ 2514600 w 4300729"/>
                  <a:gd name="connsiteY14" fmla="*/ 4114800 h 4336841"/>
                  <a:gd name="connsiteX15" fmla="*/ 2257425 w 4300729"/>
                  <a:gd name="connsiteY15" fmla="*/ 3695700 h 4336841"/>
                  <a:gd name="connsiteX16" fmla="*/ 1905000 w 4300729"/>
                  <a:gd name="connsiteY16" fmla="*/ 3421380 h 4336841"/>
                  <a:gd name="connsiteX17" fmla="*/ 1491615 w 4300729"/>
                  <a:gd name="connsiteY17" fmla="*/ 3133725 h 4336841"/>
                  <a:gd name="connsiteX18" fmla="*/ 1099185 w 4300729"/>
                  <a:gd name="connsiteY18" fmla="*/ 3011805 h 4336841"/>
                  <a:gd name="connsiteX19" fmla="*/ 933450 w 4300729"/>
                  <a:gd name="connsiteY19" fmla="*/ 2733675 h 4336841"/>
                  <a:gd name="connsiteX20" fmla="*/ 666750 w 4300729"/>
                  <a:gd name="connsiteY20" fmla="*/ 2543175 h 4336841"/>
                  <a:gd name="connsiteX21" fmla="*/ 581025 w 4300729"/>
                  <a:gd name="connsiteY21" fmla="*/ 2676525 h 4336841"/>
                  <a:gd name="connsiteX22" fmla="*/ 200025 w 4300729"/>
                  <a:gd name="connsiteY22" fmla="*/ 2457450 h 4336841"/>
                  <a:gd name="connsiteX0" fmla="*/ 0 w 4300729"/>
                  <a:gd name="connsiteY0" fmla="*/ 0 h 4336841"/>
                  <a:gd name="connsiteX1" fmla="*/ 1190625 w 4300729"/>
                  <a:gd name="connsiteY1" fmla="*/ 990600 h 4336841"/>
                  <a:gd name="connsiteX2" fmla="*/ 1095375 w 4300729"/>
                  <a:gd name="connsiteY2" fmla="*/ 1152525 h 4336841"/>
                  <a:gd name="connsiteX3" fmla="*/ 1371600 w 4300729"/>
                  <a:gd name="connsiteY3" fmla="*/ 1390650 h 4336841"/>
                  <a:gd name="connsiteX4" fmla="*/ 1276350 w 4300729"/>
                  <a:gd name="connsiteY4" fmla="*/ 1552575 h 4336841"/>
                  <a:gd name="connsiteX5" fmla="*/ 1590675 w 4300729"/>
                  <a:gd name="connsiteY5" fmla="*/ 1762125 h 4336841"/>
                  <a:gd name="connsiteX6" fmla="*/ 1863090 w 4300729"/>
                  <a:gd name="connsiteY6" fmla="*/ 1735455 h 4336841"/>
                  <a:gd name="connsiteX7" fmla="*/ 1584960 w 4300729"/>
                  <a:gd name="connsiteY7" fmla="*/ 2419350 h 4336841"/>
                  <a:gd name="connsiteX8" fmla="*/ 2493645 w 4300729"/>
                  <a:gd name="connsiteY8" fmla="*/ 2150745 h 4336841"/>
                  <a:gd name="connsiteX9" fmla="*/ 2838450 w 4300729"/>
                  <a:gd name="connsiteY9" fmla="*/ 2228850 h 4336841"/>
                  <a:gd name="connsiteX10" fmla="*/ 4175760 w 4300729"/>
                  <a:gd name="connsiteY10" fmla="*/ 3162300 h 4336841"/>
                  <a:gd name="connsiteX11" fmla="*/ 3867150 w 4300729"/>
                  <a:gd name="connsiteY11" fmla="*/ 3558540 h 4336841"/>
                  <a:gd name="connsiteX12" fmla="*/ 3499485 w 4300729"/>
                  <a:gd name="connsiteY12" fmla="*/ 3825240 h 4336841"/>
                  <a:gd name="connsiteX13" fmla="*/ 3124200 w 4300729"/>
                  <a:gd name="connsiteY13" fmla="*/ 4114800 h 4336841"/>
                  <a:gd name="connsiteX14" fmla="*/ 2514600 w 4300729"/>
                  <a:gd name="connsiteY14" fmla="*/ 4114800 h 4336841"/>
                  <a:gd name="connsiteX15" fmla="*/ 2257425 w 4300729"/>
                  <a:gd name="connsiteY15" fmla="*/ 3695700 h 4336841"/>
                  <a:gd name="connsiteX16" fmla="*/ 1905000 w 4300729"/>
                  <a:gd name="connsiteY16" fmla="*/ 3421380 h 4336841"/>
                  <a:gd name="connsiteX17" fmla="*/ 1491615 w 4300729"/>
                  <a:gd name="connsiteY17" fmla="*/ 3133725 h 4336841"/>
                  <a:gd name="connsiteX18" fmla="*/ 1099185 w 4300729"/>
                  <a:gd name="connsiteY18" fmla="*/ 3011805 h 4336841"/>
                  <a:gd name="connsiteX19" fmla="*/ 933450 w 4300729"/>
                  <a:gd name="connsiteY19" fmla="*/ 2733675 h 4336841"/>
                  <a:gd name="connsiteX20" fmla="*/ 666750 w 4300729"/>
                  <a:gd name="connsiteY20" fmla="*/ 2543175 h 4336841"/>
                  <a:gd name="connsiteX21" fmla="*/ 581025 w 4300729"/>
                  <a:gd name="connsiteY21" fmla="*/ 2676525 h 4336841"/>
                  <a:gd name="connsiteX22" fmla="*/ 200025 w 4300729"/>
                  <a:gd name="connsiteY22" fmla="*/ 2457450 h 433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00729" h="4336841">
                    <a:moveTo>
                      <a:pt x="0" y="0"/>
                    </a:moveTo>
                    <a:lnTo>
                      <a:pt x="1190625" y="990600"/>
                    </a:lnTo>
                    <a:lnTo>
                      <a:pt x="1095375" y="1152525"/>
                    </a:lnTo>
                    <a:lnTo>
                      <a:pt x="1371600" y="1390650"/>
                    </a:lnTo>
                    <a:cubicBezTo>
                      <a:pt x="1343660" y="1424940"/>
                      <a:pt x="1330960" y="1468755"/>
                      <a:pt x="1276350" y="1552575"/>
                    </a:cubicBezTo>
                    <a:lnTo>
                      <a:pt x="1590675" y="1762125"/>
                    </a:lnTo>
                    <a:lnTo>
                      <a:pt x="1863090" y="1735455"/>
                    </a:lnTo>
                    <a:cubicBezTo>
                      <a:pt x="1779905" y="1943100"/>
                      <a:pt x="1500505" y="2352675"/>
                      <a:pt x="1584960" y="2419350"/>
                    </a:cubicBezTo>
                    <a:cubicBezTo>
                      <a:pt x="1848485" y="2598420"/>
                      <a:pt x="2131060" y="2545080"/>
                      <a:pt x="2493645" y="2150745"/>
                    </a:cubicBezTo>
                    <a:cubicBezTo>
                      <a:pt x="2632710" y="2167890"/>
                      <a:pt x="2667000" y="2194560"/>
                      <a:pt x="2838450" y="2228850"/>
                    </a:cubicBezTo>
                    <a:cubicBezTo>
                      <a:pt x="3365500" y="2581275"/>
                      <a:pt x="3705860" y="2830830"/>
                      <a:pt x="4175760" y="3162300"/>
                    </a:cubicBezTo>
                    <a:cubicBezTo>
                      <a:pt x="4492625" y="3402965"/>
                      <a:pt x="4138930" y="3763645"/>
                      <a:pt x="3867150" y="3558540"/>
                    </a:cubicBezTo>
                    <a:cubicBezTo>
                      <a:pt x="4075430" y="3846830"/>
                      <a:pt x="3731260" y="4053205"/>
                      <a:pt x="3499485" y="3825240"/>
                    </a:cubicBezTo>
                    <a:cubicBezTo>
                      <a:pt x="3655695" y="4135755"/>
                      <a:pt x="3339465" y="4251960"/>
                      <a:pt x="3124200" y="4114800"/>
                    </a:cubicBezTo>
                    <a:cubicBezTo>
                      <a:pt x="3195320" y="4331970"/>
                      <a:pt x="2860675" y="4480560"/>
                      <a:pt x="2514600" y="4114800"/>
                    </a:cubicBezTo>
                    <a:cubicBezTo>
                      <a:pt x="2600325" y="3889375"/>
                      <a:pt x="2466975" y="3663950"/>
                      <a:pt x="2257425" y="3695700"/>
                    </a:cubicBezTo>
                    <a:cubicBezTo>
                      <a:pt x="2286000" y="3454400"/>
                      <a:pt x="2052637" y="3331845"/>
                      <a:pt x="1905000" y="3421380"/>
                    </a:cubicBezTo>
                    <a:cubicBezTo>
                      <a:pt x="1963925" y="3231958"/>
                      <a:pt x="1637665" y="3032125"/>
                      <a:pt x="1491615" y="3133725"/>
                    </a:cubicBezTo>
                    <a:cubicBezTo>
                      <a:pt x="1548130" y="2995295"/>
                      <a:pt x="1286510" y="2834005"/>
                      <a:pt x="1099185" y="3011805"/>
                    </a:cubicBezTo>
                    <a:lnTo>
                      <a:pt x="933450" y="2733675"/>
                    </a:lnTo>
                    <a:lnTo>
                      <a:pt x="666750" y="2543175"/>
                    </a:lnTo>
                    <a:lnTo>
                      <a:pt x="581025" y="2676525"/>
                    </a:lnTo>
                    <a:lnTo>
                      <a:pt x="200025" y="2457450"/>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12" name="Freeform 5">
                <a:extLst>
                  <a:ext uri="{FF2B5EF4-FFF2-40B4-BE49-F238E27FC236}">
                    <a16:creationId xmlns:a16="http://schemas.microsoft.com/office/drawing/2014/main" id="{556F110A-1A9A-224E-803C-2741CBC8C4F8}"/>
                  </a:ext>
                </a:extLst>
              </p:cNvPr>
              <p:cNvSpPr/>
              <p:nvPr/>
            </p:nvSpPr>
            <p:spPr>
              <a:xfrm>
                <a:off x="2979453" y="4301052"/>
                <a:ext cx="1379276" cy="1206796"/>
              </a:xfrm>
              <a:custGeom>
                <a:avLst/>
                <a:gdLst>
                  <a:gd name="connsiteX0" fmla="*/ 0 w 1381125"/>
                  <a:gd name="connsiteY0" fmla="*/ 228600 h 1209675"/>
                  <a:gd name="connsiteX1" fmla="*/ 285750 w 1381125"/>
                  <a:gd name="connsiteY1" fmla="*/ 381000 h 1209675"/>
                  <a:gd name="connsiteX2" fmla="*/ 581025 w 1381125"/>
                  <a:gd name="connsiteY2" fmla="*/ 676275 h 1209675"/>
                  <a:gd name="connsiteX3" fmla="*/ 847725 w 1381125"/>
                  <a:gd name="connsiteY3" fmla="*/ 952500 h 1209675"/>
                  <a:gd name="connsiteX4" fmla="*/ 1257300 w 1381125"/>
                  <a:gd name="connsiteY4" fmla="*/ 1209675 h 1209675"/>
                  <a:gd name="connsiteX5" fmla="*/ 1381125 w 1381125"/>
                  <a:gd name="connsiteY5" fmla="*/ 828675 h 1209675"/>
                  <a:gd name="connsiteX6" fmla="*/ 1123950 w 1381125"/>
                  <a:gd name="connsiteY6" fmla="*/ 676275 h 1209675"/>
                  <a:gd name="connsiteX7" fmla="*/ 838200 w 1381125"/>
                  <a:gd name="connsiteY7" fmla="*/ 400050 h 1209675"/>
                  <a:gd name="connsiteX8" fmla="*/ 447675 w 1381125"/>
                  <a:gd name="connsiteY8" fmla="*/ 219075 h 1209675"/>
                  <a:gd name="connsiteX9" fmla="*/ 114300 w 1381125"/>
                  <a:gd name="connsiteY9" fmla="*/ 0 h 1209675"/>
                  <a:gd name="connsiteX10" fmla="*/ 57150 w 1381125"/>
                  <a:gd name="connsiteY10" fmla="*/ 247650 h 1209675"/>
                  <a:gd name="connsiteX0" fmla="*/ 0 w 1381125"/>
                  <a:gd name="connsiteY0" fmla="*/ 228600 h 1209675"/>
                  <a:gd name="connsiteX1" fmla="*/ 285750 w 1381125"/>
                  <a:gd name="connsiteY1" fmla="*/ 381000 h 1209675"/>
                  <a:gd name="connsiteX2" fmla="*/ 581025 w 1381125"/>
                  <a:gd name="connsiteY2" fmla="*/ 676275 h 1209675"/>
                  <a:gd name="connsiteX3" fmla="*/ 847725 w 1381125"/>
                  <a:gd name="connsiteY3" fmla="*/ 952500 h 1209675"/>
                  <a:gd name="connsiteX4" fmla="*/ 1257300 w 1381125"/>
                  <a:gd name="connsiteY4" fmla="*/ 1209675 h 1209675"/>
                  <a:gd name="connsiteX5" fmla="*/ 1381125 w 1381125"/>
                  <a:gd name="connsiteY5" fmla="*/ 828675 h 1209675"/>
                  <a:gd name="connsiteX6" fmla="*/ 1123950 w 1381125"/>
                  <a:gd name="connsiteY6" fmla="*/ 676275 h 1209675"/>
                  <a:gd name="connsiteX7" fmla="*/ 838200 w 1381125"/>
                  <a:gd name="connsiteY7" fmla="*/ 400050 h 1209675"/>
                  <a:gd name="connsiteX8" fmla="*/ 447675 w 1381125"/>
                  <a:gd name="connsiteY8" fmla="*/ 219075 h 1209675"/>
                  <a:gd name="connsiteX9" fmla="*/ 114300 w 1381125"/>
                  <a:gd name="connsiteY9" fmla="*/ 0 h 1209675"/>
                  <a:gd name="connsiteX10" fmla="*/ 7620 w 1381125"/>
                  <a:gd name="connsiteY10" fmla="*/ 224790 h 1209675"/>
                  <a:gd name="connsiteX0" fmla="*/ 0 w 1381125"/>
                  <a:gd name="connsiteY0" fmla="*/ 228600 h 1209675"/>
                  <a:gd name="connsiteX1" fmla="*/ 285750 w 1381125"/>
                  <a:gd name="connsiteY1" fmla="*/ 381000 h 1209675"/>
                  <a:gd name="connsiteX2" fmla="*/ 581025 w 1381125"/>
                  <a:gd name="connsiteY2" fmla="*/ 676275 h 1209675"/>
                  <a:gd name="connsiteX3" fmla="*/ 847725 w 1381125"/>
                  <a:gd name="connsiteY3" fmla="*/ 952500 h 1209675"/>
                  <a:gd name="connsiteX4" fmla="*/ 1257300 w 1381125"/>
                  <a:gd name="connsiteY4" fmla="*/ 1209675 h 1209675"/>
                  <a:gd name="connsiteX5" fmla="*/ 1381125 w 1381125"/>
                  <a:gd name="connsiteY5" fmla="*/ 828675 h 1209675"/>
                  <a:gd name="connsiteX6" fmla="*/ 1123950 w 1381125"/>
                  <a:gd name="connsiteY6" fmla="*/ 676275 h 1209675"/>
                  <a:gd name="connsiteX7" fmla="*/ 838200 w 1381125"/>
                  <a:gd name="connsiteY7" fmla="*/ 400050 h 1209675"/>
                  <a:gd name="connsiteX8" fmla="*/ 447675 w 1381125"/>
                  <a:gd name="connsiteY8" fmla="*/ 219075 h 1209675"/>
                  <a:gd name="connsiteX9" fmla="*/ 114300 w 1381125"/>
                  <a:gd name="connsiteY9" fmla="*/ 0 h 1209675"/>
                  <a:gd name="connsiteX10" fmla="*/ 7620 w 1381125"/>
                  <a:gd name="connsiteY10" fmla="*/ 194310 h 1209675"/>
                  <a:gd name="connsiteX0" fmla="*/ 3810 w 1384935"/>
                  <a:gd name="connsiteY0" fmla="*/ 228600 h 1209675"/>
                  <a:gd name="connsiteX1" fmla="*/ 289560 w 1384935"/>
                  <a:gd name="connsiteY1" fmla="*/ 381000 h 1209675"/>
                  <a:gd name="connsiteX2" fmla="*/ 584835 w 1384935"/>
                  <a:gd name="connsiteY2" fmla="*/ 676275 h 1209675"/>
                  <a:gd name="connsiteX3" fmla="*/ 851535 w 1384935"/>
                  <a:gd name="connsiteY3" fmla="*/ 952500 h 1209675"/>
                  <a:gd name="connsiteX4" fmla="*/ 1261110 w 1384935"/>
                  <a:gd name="connsiteY4" fmla="*/ 1209675 h 1209675"/>
                  <a:gd name="connsiteX5" fmla="*/ 1384935 w 1384935"/>
                  <a:gd name="connsiteY5" fmla="*/ 828675 h 1209675"/>
                  <a:gd name="connsiteX6" fmla="*/ 1127760 w 1384935"/>
                  <a:gd name="connsiteY6" fmla="*/ 676275 h 1209675"/>
                  <a:gd name="connsiteX7" fmla="*/ 842010 w 1384935"/>
                  <a:gd name="connsiteY7" fmla="*/ 400050 h 1209675"/>
                  <a:gd name="connsiteX8" fmla="*/ 451485 w 1384935"/>
                  <a:gd name="connsiteY8" fmla="*/ 219075 h 1209675"/>
                  <a:gd name="connsiteX9" fmla="*/ 118110 w 1384935"/>
                  <a:gd name="connsiteY9" fmla="*/ 0 h 1209675"/>
                  <a:gd name="connsiteX10" fmla="*/ 0 w 1384935"/>
                  <a:gd name="connsiteY10" fmla="*/ 236220 h 1209675"/>
                  <a:gd name="connsiteX0" fmla="*/ 7620 w 1388745"/>
                  <a:gd name="connsiteY0" fmla="*/ 228600 h 1209675"/>
                  <a:gd name="connsiteX1" fmla="*/ 293370 w 1388745"/>
                  <a:gd name="connsiteY1" fmla="*/ 38100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93370 w 1388745"/>
                  <a:gd name="connsiteY1" fmla="*/ 38100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209675"/>
                  <a:gd name="connsiteX1" fmla="*/ 243840 w 1388745"/>
                  <a:gd name="connsiteY1" fmla="*/ 377190 h 1209675"/>
                  <a:gd name="connsiteX2" fmla="*/ 588645 w 1388745"/>
                  <a:gd name="connsiteY2" fmla="*/ 676275 h 1209675"/>
                  <a:gd name="connsiteX3" fmla="*/ 855345 w 1388745"/>
                  <a:gd name="connsiteY3" fmla="*/ 952500 h 1209675"/>
                  <a:gd name="connsiteX4" fmla="*/ 1264920 w 1388745"/>
                  <a:gd name="connsiteY4" fmla="*/ 1209675 h 1209675"/>
                  <a:gd name="connsiteX5" fmla="*/ 1388745 w 1388745"/>
                  <a:gd name="connsiteY5" fmla="*/ 828675 h 1209675"/>
                  <a:gd name="connsiteX6" fmla="*/ 1131570 w 1388745"/>
                  <a:gd name="connsiteY6" fmla="*/ 676275 h 1209675"/>
                  <a:gd name="connsiteX7" fmla="*/ 845820 w 1388745"/>
                  <a:gd name="connsiteY7" fmla="*/ 400050 h 1209675"/>
                  <a:gd name="connsiteX8" fmla="*/ 455295 w 1388745"/>
                  <a:gd name="connsiteY8" fmla="*/ 219075 h 1209675"/>
                  <a:gd name="connsiteX9" fmla="*/ 121920 w 1388745"/>
                  <a:gd name="connsiteY9" fmla="*/ 0 h 1209675"/>
                  <a:gd name="connsiteX10" fmla="*/ 0 w 1388745"/>
                  <a:gd name="connsiteY10" fmla="*/ 201930 h 1209675"/>
                  <a:gd name="connsiteX0" fmla="*/ 7620 w 1388745"/>
                  <a:gd name="connsiteY0" fmla="*/ 228600 h 1106805"/>
                  <a:gd name="connsiteX1" fmla="*/ 243840 w 1388745"/>
                  <a:gd name="connsiteY1" fmla="*/ 377190 h 1106805"/>
                  <a:gd name="connsiteX2" fmla="*/ 588645 w 1388745"/>
                  <a:gd name="connsiteY2" fmla="*/ 676275 h 1106805"/>
                  <a:gd name="connsiteX3" fmla="*/ 855345 w 1388745"/>
                  <a:gd name="connsiteY3" fmla="*/ 952500 h 1106805"/>
                  <a:gd name="connsiteX4" fmla="*/ 1268730 w 1388745"/>
                  <a:gd name="connsiteY4" fmla="*/ 1106805 h 1106805"/>
                  <a:gd name="connsiteX5" fmla="*/ 1388745 w 1388745"/>
                  <a:gd name="connsiteY5" fmla="*/ 828675 h 1106805"/>
                  <a:gd name="connsiteX6" fmla="*/ 1131570 w 1388745"/>
                  <a:gd name="connsiteY6" fmla="*/ 676275 h 1106805"/>
                  <a:gd name="connsiteX7" fmla="*/ 845820 w 1388745"/>
                  <a:gd name="connsiteY7" fmla="*/ 400050 h 1106805"/>
                  <a:gd name="connsiteX8" fmla="*/ 455295 w 1388745"/>
                  <a:gd name="connsiteY8" fmla="*/ 219075 h 1106805"/>
                  <a:gd name="connsiteX9" fmla="*/ 121920 w 1388745"/>
                  <a:gd name="connsiteY9" fmla="*/ 0 h 1106805"/>
                  <a:gd name="connsiteX10" fmla="*/ 0 w 1388745"/>
                  <a:gd name="connsiteY10" fmla="*/ 201930 h 1106805"/>
                  <a:gd name="connsiteX0" fmla="*/ 7620 w 1388745"/>
                  <a:gd name="connsiteY0" fmla="*/ 228600 h 1161688"/>
                  <a:gd name="connsiteX1" fmla="*/ 243840 w 1388745"/>
                  <a:gd name="connsiteY1" fmla="*/ 377190 h 1161688"/>
                  <a:gd name="connsiteX2" fmla="*/ 588645 w 1388745"/>
                  <a:gd name="connsiteY2" fmla="*/ 676275 h 1161688"/>
                  <a:gd name="connsiteX3" fmla="*/ 855345 w 1388745"/>
                  <a:gd name="connsiteY3" fmla="*/ 952500 h 1161688"/>
                  <a:gd name="connsiteX4" fmla="*/ 1268730 w 1388745"/>
                  <a:gd name="connsiteY4" fmla="*/ 1106805 h 1161688"/>
                  <a:gd name="connsiteX5" fmla="*/ 1388745 w 1388745"/>
                  <a:gd name="connsiteY5" fmla="*/ 828675 h 1161688"/>
                  <a:gd name="connsiteX6" fmla="*/ 1131570 w 1388745"/>
                  <a:gd name="connsiteY6" fmla="*/ 676275 h 1161688"/>
                  <a:gd name="connsiteX7" fmla="*/ 845820 w 1388745"/>
                  <a:gd name="connsiteY7" fmla="*/ 400050 h 1161688"/>
                  <a:gd name="connsiteX8" fmla="*/ 455295 w 1388745"/>
                  <a:gd name="connsiteY8" fmla="*/ 219075 h 1161688"/>
                  <a:gd name="connsiteX9" fmla="*/ 121920 w 1388745"/>
                  <a:gd name="connsiteY9" fmla="*/ 0 h 1161688"/>
                  <a:gd name="connsiteX10" fmla="*/ 0 w 1388745"/>
                  <a:gd name="connsiteY10" fmla="*/ 201930 h 1161688"/>
                  <a:gd name="connsiteX0" fmla="*/ 7620 w 1388745"/>
                  <a:gd name="connsiteY0" fmla="*/ 228600 h 1161688"/>
                  <a:gd name="connsiteX1" fmla="*/ 243840 w 1388745"/>
                  <a:gd name="connsiteY1" fmla="*/ 377190 h 1161688"/>
                  <a:gd name="connsiteX2" fmla="*/ 588645 w 1388745"/>
                  <a:gd name="connsiteY2" fmla="*/ 676275 h 1161688"/>
                  <a:gd name="connsiteX3" fmla="*/ 855345 w 1388745"/>
                  <a:gd name="connsiteY3" fmla="*/ 952500 h 1161688"/>
                  <a:gd name="connsiteX4" fmla="*/ 1268730 w 1388745"/>
                  <a:gd name="connsiteY4" fmla="*/ 1106805 h 1161688"/>
                  <a:gd name="connsiteX5" fmla="*/ 1388745 w 1388745"/>
                  <a:gd name="connsiteY5" fmla="*/ 828675 h 1161688"/>
                  <a:gd name="connsiteX6" fmla="*/ 1131570 w 1388745"/>
                  <a:gd name="connsiteY6" fmla="*/ 676275 h 1161688"/>
                  <a:gd name="connsiteX7" fmla="*/ 845820 w 1388745"/>
                  <a:gd name="connsiteY7" fmla="*/ 400050 h 1161688"/>
                  <a:gd name="connsiteX8" fmla="*/ 455295 w 1388745"/>
                  <a:gd name="connsiteY8" fmla="*/ 219075 h 1161688"/>
                  <a:gd name="connsiteX9" fmla="*/ 121920 w 1388745"/>
                  <a:gd name="connsiteY9" fmla="*/ 0 h 1161688"/>
                  <a:gd name="connsiteX10" fmla="*/ 0 w 1388745"/>
                  <a:gd name="connsiteY10" fmla="*/ 201930 h 1161688"/>
                  <a:gd name="connsiteX0" fmla="*/ 7620 w 1397320"/>
                  <a:gd name="connsiteY0" fmla="*/ 228600 h 1161688"/>
                  <a:gd name="connsiteX1" fmla="*/ 243840 w 1397320"/>
                  <a:gd name="connsiteY1" fmla="*/ 377190 h 1161688"/>
                  <a:gd name="connsiteX2" fmla="*/ 588645 w 1397320"/>
                  <a:gd name="connsiteY2" fmla="*/ 676275 h 1161688"/>
                  <a:gd name="connsiteX3" fmla="*/ 855345 w 1397320"/>
                  <a:gd name="connsiteY3" fmla="*/ 952500 h 1161688"/>
                  <a:gd name="connsiteX4" fmla="*/ 1268730 w 1397320"/>
                  <a:gd name="connsiteY4" fmla="*/ 1106805 h 1161688"/>
                  <a:gd name="connsiteX5" fmla="*/ 1388745 w 1397320"/>
                  <a:gd name="connsiteY5" fmla="*/ 828675 h 1161688"/>
                  <a:gd name="connsiteX6" fmla="*/ 1131570 w 1397320"/>
                  <a:gd name="connsiteY6" fmla="*/ 676275 h 1161688"/>
                  <a:gd name="connsiteX7" fmla="*/ 845820 w 1397320"/>
                  <a:gd name="connsiteY7" fmla="*/ 400050 h 1161688"/>
                  <a:gd name="connsiteX8" fmla="*/ 455295 w 1397320"/>
                  <a:gd name="connsiteY8" fmla="*/ 219075 h 1161688"/>
                  <a:gd name="connsiteX9" fmla="*/ 121920 w 1397320"/>
                  <a:gd name="connsiteY9" fmla="*/ 0 h 1161688"/>
                  <a:gd name="connsiteX10" fmla="*/ 0 w 1397320"/>
                  <a:gd name="connsiteY10" fmla="*/ 201930 h 1161688"/>
                  <a:gd name="connsiteX0" fmla="*/ 7620 w 1397320"/>
                  <a:gd name="connsiteY0" fmla="*/ 228600 h 1161688"/>
                  <a:gd name="connsiteX1" fmla="*/ 243840 w 1397320"/>
                  <a:gd name="connsiteY1" fmla="*/ 377190 h 1161688"/>
                  <a:gd name="connsiteX2" fmla="*/ 588645 w 1397320"/>
                  <a:gd name="connsiteY2" fmla="*/ 676275 h 1161688"/>
                  <a:gd name="connsiteX3" fmla="*/ 855345 w 1397320"/>
                  <a:gd name="connsiteY3" fmla="*/ 952500 h 1161688"/>
                  <a:gd name="connsiteX4" fmla="*/ 1268730 w 1397320"/>
                  <a:gd name="connsiteY4" fmla="*/ 1106805 h 1161688"/>
                  <a:gd name="connsiteX5" fmla="*/ 1388745 w 1397320"/>
                  <a:gd name="connsiteY5" fmla="*/ 828675 h 1161688"/>
                  <a:gd name="connsiteX6" fmla="*/ 1131570 w 1397320"/>
                  <a:gd name="connsiteY6" fmla="*/ 676275 h 1161688"/>
                  <a:gd name="connsiteX7" fmla="*/ 845820 w 1397320"/>
                  <a:gd name="connsiteY7" fmla="*/ 400050 h 1161688"/>
                  <a:gd name="connsiteX8" fmla="*/ 455295 w 1397320"/>
                  <a:gd name="connsiteY8" fmla="*/ 219075 h 1161688"/>
                  <a:gd name="connsiteX9" fmla="*/ 121920 w 1397320"/>
                  <a:gd name="connsiteY9" fmla="*/ 0 h 1161688"/>
                  <a:gd name="connsiteX10" fmla="*/ 0 w 1397320"/>
                  <a:gd name="connsiteY10" fmla="*/ 201930 h 1161688"/>
                  <a:gd name="connsiteX0" fmla="*/ 7620 w 1397320"/>
                  <a:gd name="connsiteY0" fmla="*/ 228600 h 1161688"/>
                  <a:gd name="connsiteX1" fmla="*/ 243840 w 1397320"/>
                  <a:gd name="connsiteY1" fmla="*/ 377190 h 1161688"/>
                  <a:gd name="connsiteX2" fmla="*/ 588645 w 1397320"/>
                  <a:gd name="connsiteY2" fmla="*/ 676275 h 1161688"/>
                  <a:gd name="connsiteX3" fmla="*/ 855345 w 1397320"/>
                  <a:gd name="connsiteY3" fmla="*/ 952500 h 1161688"/>
                  <a:gd name="connsiteX4" fmla="*/ 1268730 w 1397320"/>
                  <a:gd name="connsiteY4" fmla="*/ 1106805 h 1161688"/>
                  <a:gd name="connsiteX5" fmla="*/ 1388745 w 1397320"/>
                  <a:gd name="connsiteY5" fmla="*/ 828675 h 1161688"/>
                  <a:gd name="connsiteX6" fmla="*/ 1131570 w 1397320"/>
                  <a:gd name="connsiteY6" fmla="*/ 676275 h 1161688"/>
                  <a:gd name="connsiteX7" fmla="*/ 845820 w 1397320"/>
                  <a:gd name="connsiteY7" fmla="*/ 400050 h 1161688"/>
                  <a:gd name="connsiteX8" fmla="*/ 455295 w 1397320"/>
                  <a:gd name="connsiteY8" fmla="*/ 219075 h 1161688"/>
                  <a:gd name="connsiteX9" fmla="*/ 121920 w 1397320"/>
                  <a:gd name="connsiteY9" fmla="*/ 0 h 1161688"/>
                  <a:gd name="connsiteX10" fmla="*/ 0 w 1397320"/>
                  <a:gd name="connsiteY10" fmla="*/ 201930 h 1161688"/>
                  <a:gd name="connsiteX0" fmla="*/ 7620 w 1376446"/>
                  <a:gd name="connsiteY0" fmla="*/ 228600 h 1161688"/>
                  <a:gd name="connsiteX1" fmla="*/ 243840 w 1376446"/>
                  <a:gd name="connsiteY1" fmla="*/ 377190 h 1161688"/>
                  <a:gd name="connsiteX2" fmla="*/ 588645 w 1376446"/>
                  <a:gd name="connsiteY2" fmla="*/ 676275 h 1161688"/>
                  <a:gd name="connsiteX3" fmla="*/ 855345 w 1376446"/>
                  <a:gd name="connsiteY3" fmla="*/ 952500 h 1161688"/>
                  <a:gd name="connsiteX4" fmla="*/ 1268730 w 1376446"/>
                  <a:gd name="connsiteY4" fmla="*/ 1106805 h 1161688"/>
                  <a:gd name="connsiteX5" fmla="*/ 1365885 w 1376446"/>
                  <a:gd name="connsiteY5" fmla="*/ 859155 h 1161688"/>
                  <a:gd name="connsiteX6" fmla="*/ 1131570 w 1376446"/>
                  <a:gd name="connsiteY6" fmla="*/ 676275 h 1161688"/>
                  <a:gd name="connsiteX7" fmla="*/ 845820 w 1376446"/>
                  <a:gd name="connsiteY7" fmla="*/ 400050 h 1161688"/>
                  <a:gd name="connsiteX8" fmla="*/ 455295 w 1376446"/>
                  <a:gd name="connsiteY8" fmla="*/ 219075 h 1161688"/>
                  <a:gd name="connsiteX9" fmla="*/ 121920 w 1376446"/>
                  <a:gd name="connsiteY9" fmla="*/ 0 h 1161688"/>
                  <a:gd name="connsiteX10" fmla="*/ 0 w 1376446"/>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67627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67627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67627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71818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71818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31570 w 1365973"/>
                  <a:gd name="connsiteY6" fmla="*/ 71818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845820 w 1365973"/>
                  <a:gd name="connsiteY7" fmla="*/ 40005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815340 w 1365973"/>
                  <a:gd name="connsiteY7" fmla="*/ 40767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815340 w 1365973"/>
                  <a:gd name="connsiteY7" fmla="*/ 40767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55295 w 1365973"/>
                  <a:gd name="connsiteY8" fmla="*/ 21907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62000 w 1365973"/>
                  <a:gd name="connsiteY7" fmla="*/ 419100 h 1161688"/>
                  <a:gd name="connsiteX8" fmla="*/ 440055 w 1365973"/>
                  <a:gd name="connsiteY8" fmla="*/ 20383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440055 w 1365973"/>
                  <a:gd name="connsiteY8" fmla="*/ 20383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440055 w 1365973"/>
                  <a:gd name="connsiteY8" fmla="*/ 20383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421005 w 1365973"/>
                  <a:gd name="connsiteY8" fmla="*/ 19621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421005 w 1365973"/>
                  <a:gd name="connsiteY8" fmla="*/ 19621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421005 w 1365973"/>
                  <a:gd name="connsiteY8" fmla="*/ 19621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371475 w 1365973"/>
                  <a:gd name="connsiteY8" fmla="*/ 177165 h 1161688"/>
                  <a:gd name="connsiteX9" fmla="*/ 121920 w 1365973"/>
                  <a:gd name="connsiteY9" fmla="*/ 0 h 1161688"/>
                  <a:gd name="connsiteX10" fmla="*/ 0 w 1365973"/>
                  <a:gd name="connsiteY10" fmla="*/ 201930 h 1161688"/>
                  <a:gd name="connsiteX0" fmla="*/ 7620 w 1365973"/>
                  <a:gd name="connsiteY0" fmla="*/ 228600 h 1161688"/>
                  <a:gd name="connsiteX1" fmla="*/ 243840 w 1365973"/>
                  <a:gd name="connsiteY1" fmla="*/ 377190 h 1161688"/>
                  <a:gd name="connsiteX2" fmla="*/ 588645 w 1365973"/>
                  <a:gd name="connsiteY2" fmla="*/ 676275 h 1161688"/>
                  <a:gd name="connsiteX3" fmla="*/ 855345 w 1365973"/>
                  <a:gd name="connsiteY3" fmla="*/ 952500 h 1161688"/>
                  <a:gd name="connsiteX4" fmla="*/ 1268730 w 1365973"/>
                  <a:gd name="connsiteY4" fmla="*/ 1106805 h 1161688"/>
                  <a:gd name="connsiteX5" fmla="*/ 1365885 w 1365973"/>
                  <a:gd name="connsiteY5" fmla="*/ 859155 h 1161688"/>
                  <a:gd name="connsiteX6" fmla="*/ 1112520 w 1365973"/>
                  <a:gd name="connsiteY6" fmla="*/ 702945 h 1161688"/>
                  <a:gd name="connsiteX7" fmla="*/ 704850 w 1365973"/>
                  <a:gd name="connsiteY7" fmla="*/ 419100 h 1161688"/>
                  <a:gd name="connsiteX8" fmla="*/ 371475 w 1365973"/>
                  <a:gd name="connsiteY8" fmla="*/ 177165 h 1161688"/>
                  <a:gd name="connsiteX9" fmla="*/ 121920 w 1365973"/>
                  <a:gd name="connsiteY9" fmla="*/ 0 h 1161688"/>
                  <a:gd name="connsiteX10" fmla="*/ 0 w 1365973"/>
                  <a:gd name="connsiteY10" fmla="*/ 201930 h 1161688"/>
                  <a:gd name="connsiteX0" fmla="*/ 7620 w 1365973"/>
                  <a:gd name="connsiteY0" fmla="*/ 251322 h 1184410"/>
                  <a:gd name="connsiteX1" fmla="*/ 243840 w 1365973"/>
                  <a:gd name="connsiteY1" fmla="*/ 399912 h 1184410"/>
                  <a:gd name="connsiteX2" fmla="*/ 588645 w 1365973"/>
                  <a:gd name="connsiteY2" fmla="*/ 698997 h 1184410"/>
                  <a:gd name="connsiteX3" fmla="*/ 855345 w 1365973"/>
                  <a:gd name="connsiteY3" fmla="*/ 975222 h 1184410"/>
                  <a:gd name="connsiteX4" fmla="*/ 1268730 w 1365973"/>
                  <a:gd name="connsiteY4" fmla="*/ 1129527 h 1184410"/>
                  <a:gd name="connsiteX5" fmla="*/ 1365885 w 1365973"/>
                  <a:gd name="connsiteY5" fmla="*/ 881877 h 1184410"/>
                  <a:gd name="connsiteX6" fmla="*/ 1112520 w 1365973"/>
                  <a:gd name="connsiteY6" fmla="*/ 725667 h 1184410"/>
                  <a:gd name="connsiteX7" fmla="*/ 704850 w 1365973"/>
                  <a:gd name="connsiteY7" fmla="*/ 441822 h 1184410"/>
                  <a:gd name="connsiteX8" fmla="*/ 371475 w 1365973"/>
                  <a:gd name="connsiteY8" fmla="*/ 199887 h 1184410"/>
                  <a:gd name="connsiteX9" fmla="*/ 121920 w 1365973"/>
                  <a:gd name="connsiteY9" fmla="*/ 22722 h 1184410"/>
                  <a:gd name="connsiteX10" fmla="*/ 0 w 1365973"/>
                  <a:gd name="connsiteY10" fmla="*/ 224652 h 1184410"/>
                  <a:gd name="connsiteX0" fmla="*/ 7620 w 1365973"/>
                  <a:gd name="connsiteY0" fmla="*/ 263643 h 1196731"/>
                  <a:gd name="connsiteX1" fmla="*/ 243840 w 1365973"/>
                  <a:gd name="connsiteY1" fmla="*/ 412233 h 1196731"/>
                  <a:gd name="connsiteX2" fmla="*/ 588645 w 1365973"/>
                  <a:gd name="connsiteY2" fmla="*/ 711318 h 1196731"/>
                  <a:gd name="connsiteX3" fmla="*/ 855345 w 1365973"/>
                  <a:gd name="connsiteY3" fmla="*/ 987543 h 1196731"/>
                  <a:gd name="connsiteX4" fmla="*/ 1268730 w 1365973"/>
                  <a:gd name="connsiteY4" fmla="*/ 1141848 h 1196731"/>
                  <a:gd name="connsiteX5" fmla="*/ 1365885 w 1365973"/>
                  <a:gd name="connsiteY5" fmla="*/ 894198 h 1196731"/>
                  <a:gd name="connsiteX6" fmla="*/ 1112520 w 1365973"/>
                  <a:gd name="connsiteY6" fmla="*/ 737988 h 1196731"/>
                  <a:gd name="connsiteX7" fmla="*/ 704850 w 1365973"/>
                  <a:gd name="connsiteY7" fmla="*/ 454143 h 1196731"/>
                  <a:gd name="connsiteX8" fmla="*/ 371475 w 1365973"/>
                  <a:gd name="connsiteY8" fmla="*/ 212208 h 1196731"/>
                  <a:gd name="connsiteX9" fmla="*/ 121920 w 1365973"/>
                  <a:gd name="connsiteY9" fmla="*/ 35043 h 1196731"/>
                  <a:gd name="connsiteX10" fmla="*/ 0 w 1365973"/>
                  <a:gd name="connsiteY10" fmla="*/ 236973 h 1196731"/>
                  <a:gd name="connsiteX0" fmla="*/ 7620 w 1365973"/>
                  <a:gd name="connsiteY0" fmla="*/ 263643 h 1196731"/>
                  <a:gd name="connsiteX1" fmla="*/ 243840 w 1365973"/>
                  <a:gd name="connsiteY1" fmla="*/ 412233 h 1196731"/>
                  <a:gd name="connsiteX2" fmla="*/ 588645 w 1365973"/>
                  <a:gd name="connsiteY2" fmla="*/ 711318 h 1196731"/>
                  <a:gd name="connsiteX3" fmla="*/ 855345 w 1365973"/>
                  <a:gd name="connsiteY3" fmla="*/ 987543 h 1196731"/>
                  <a:gd name="connsiteX4" fmla="*/ 1268730 w 1365973"/>
                  <a:gd name="connsiteY4" fmla="*/ 1141848 h 1196731"/>
                  <a:gd name="connsiteX5" fmla="*/ 1365885 w 1365973"/>
                  <a:gd name="connsiteY5" fmla="*/ 894198 h 1196731"/>
                  <a:gd name="connsiteX6" fmla="*/ 1112520 w 1365973"/>
                  <a:gd name="connsiteY6" fmla="*/ 737988 h 1196731"/>
                  <a:gd name="connsiteX7" fmla="*/ 704850 w 1365973"/>
                  <a:gd name="connsiteY7" fmla="*/ 454143 h 1196731"/>
                  <a:gd name="connsiteX8" fmla="*/ 352425 w 1365973"/>
                  <a:gd name="connsiteY8" fmla="*/ 212208 h 1196731"/>
                  <a:gd name="connsiteX9" fmla="*/ 121920 w 1365973"/>
                  <a:gd name="connsiteY9" fmla="*/ 35043 h 1196731"/>
                  <a:gd name="connsiteX10" fmla="*/ 0 w 1365973"/>
                  <a:gd name="connsiteY10" fmla="*/ 236973 h 1196731"/>
                  <a:gd name="connsiteX0" fmla="*/ 1639 w 1379042"/>
                  <a:gd name="connsiteY0" fmla="*/ 236973 h 1196731"/>
                  <a:gd name="connsiteX1" fmla="*/ 256909 w 1379042"/>
                  <a:gd name="connsiteY1" fmla="*/ 412233 h 1196731"/>
                  <a:gd name="connsiteX2" fmla="*/ 601714 w 1379042"/>
                  <a:gd name="connsiteY2" fmla="*/ 711318 h 1196731"/>
                  <a:gd name="connsiteX3" fmla="*/ 868414 w 1379042"/>
                  <a:gd name="connsiteY3" fmla="*/ 987543 h 1196731"/>
                  <a:gd name="connsiteX4" fmla="*/ 1281799 w 1379042"/>
                  <a:gd name="connsiteY4" fmla="*/ 1141848 h 1196731"/>
                  <a:gd name="connsiteX5" fmla="*/ 1378954 w 1379042"/>
                  <a:gd name="connsiteY5" fmla="*/ 894198 h 1196731"/>
                  <a:gd name="connsiteX6" fmla="*/ 1125589 w 1379042"/>
                  <a:gd name="connsiteY6" fmla="*/ 737988 h 1196731"/>
                  <a:gd name="connsiteX7" fmla="*/ 717919 w 1379042"/>
                  <a:gd name="connsiteY7" fmla="*/ 454143 h 1196731"/>
                  <a:gd name="connsiteX8" fmla="*/ 365494 w 1379042"/>
                  <a:gd name="connsiteY8" fmla="*/ 212208 h 1196731"/>
                  <a:gd name="connsiteX9" fmla="*/ 134989 w 1379042"/>
                  <a:gd name="connsiteY9" fmla="*/ 35043 h 1196731"/>
                  <a:gd name="connsiteX10" fmla="*/ 13069 w 1379042"/>
                  <a:gd name="connsiteY10" fmla="*/ 236973 h 1196731"/>
                  <a:gd name="connsiteX0" fmla="*/ 1639 w 1379042"/>
                  <a:gd name="connsiteY0" fmla="*/ 236973 h 1196731"/>
                  <a:gd name="connsiteX1" fmla="*/ 256909 w 1379042"/>
                  <a:gd name="connsiteY1" fmla="*/ 412233 h 1196731"/>
                  <a:gd name="connsiteX2" fmla="*/ 601714 w 1379042"/>
                  <a:gd name="connsiteY2" fmla="*/ 711318 h 1196731"/>
                  <a:gd name="connsiteX3" fmla="*/ 868414 w 1379042"/>
                  <a:gd name="connsiteY3" fmla="*/ 987543 h 1196731"/>
                  <a:gd name="connsiteX4" fmla="*/ 1281799 w 1379042"/>
                  <a:gd name="connsiteY4" fmla="*/ 1141848 h 1196731"/>
                  <a:gd name="connsiteX5" fmla="*/ 1378954 w 1379042"/>
                  <a:gd name="connsiteY5" fmla="*/ 894198 h 1196731"/>
                  <a:gd name="connsiteX6" fmla="*/ 1125589 w 1379042"/>
                  <a:gd name="connsiteY6" fmla="*/ 737988 h 1196731"/>
                  <a:gd name="connsiteX7" fmla="*/ 717919 w 1379042"/>
                  <a:gd name="connsiteY7" fmla="*/ 454143 h 1196731"/>
                  <a:gd name="connsiteX8" fmla="*/ 365494 w 1379042"/>
                  <a:gd name="connsiteY8" fmla="*/ 212208 h 1196731"/>
                  <a:gd name="connsiteX9" fmla="*/ 134989 w 1379042"/>
                  <a:gd name="connsiteY9" fmla="*/ 35043 h 1196731"/>
                  <a:gd name="connsiteX10" fmla="*/ 1639 w 1379042"/>
                  <a:gd name="connsiteY10" fmla="*/ 229353 h 1196731"/>
                  <a:gd name="connsiteX0" fmla="*/ 1639 w 1379042"/>
                  <a:gd name="connsiteY0" fmla="*/ 236973 h 1196731"/>
                  <a:gd name="connsiteX1" fmla="*/ 256909 w 1379042"/>
                  <a:gd name="connsiteY1" fmla="*/ 412233 h 1196731"/>
                  <a:gd name="connsiteX2" fmla="*/ 601714 w 1379042"/>
                  <a:gd name="connsiteY2" fmla="*/ 711318 h 1196731"/>
                  <a:gd name="connsiteX3" fmla="*/ 868414 w 1379042"/>
                  <a:gd name="connsiteY3" fmla="*/ 987543 h 1196731"/>
                  <a:gd name="connsiteX4" fmla="*/ 1281799 w 1379042"/>
                  <a:gd name="connsiteY4" fmla="*/ 1141848 h 1196731"/>
                  <a:gd name="connsiteX5" fmla="*/ 1378954 w 1379042"/>
                  <a:gd name="connsiteY5" fmla="*/ 894198 h 1196731"/>
                  <a:gd name="connsiteX6" fmla="*/ 1125589 w 1379042"/>
                  <a:gd name="connsiteY6" fmla="*/ 737988 h 1196731"/>
                  <a:gd name="connsiteX7" fmla="*/ 717919 w 1379042"/>
                  <a:gd name="connsiteY7" fmla="*/ 454143 h 1196731"/>
                  <a:gd name="connsiteX8" fmla="*/ 365494 w 1379042"/>
                  <a:gd name="connsiteY8" fmla="*/ 212208 h 1196731"/>
                  <a:gd name="connsiteX9" fmla="*/ 134989 w 1379042"/>
                  <a:gd name="connsiteY9" fmla="*/ 35043 h 1196731"/>
                  <a:gd name="connsiteX10" fmla="*/ 1639 w 1379042"/>
                  <a:gd name="connsiteY10" fmla="*/ 229353 h 1196731"/>
                  <a:gd name="connsiteX0" fmla="*/ 1639 w 1379042"/>
                  <a:gd name="connsiteY0" fmla="*/ 236973 h 1196731"/>
                  <a:gd name="connsiteX1" fmla="*/ 256909 w 1379042"/>
                  <a:gd name="connsiteY1" fmla="*/ 412233 h 1196731"/>
                  <a:gd name="connsiteX2" fmla="*/ 601714 w 1379042"/>
                  <a:gd name="connsiteY2" fmla="*/ 711318 h 1196731"/>
                  <a:gd name="connsiteX3" fmla="*/ 868414 w 1379042"/>
                  <a:gd name="connsiteY3" fmla="*/ 987543 h 1196731"/>
                  <a:gd name="connsiteX4" fmla="*/ 1281799 w 1379042"/>
                  <a:gd name="connsiteY4" fmla="*/ 1141848 h 1196731"/>
                  <a:gd name="connsiteX5" fmla="*/ 1378954 w 1379042"/>
                  <a:gd name="connsiteY5" fmla="*/ 894198 h 1196731"/>
                  <a:gd name="connsiteX6" fmla="*/ 1125589 w 1379042"/>
                  <a:gd name="connsiteY6" fmla="*/ 737988 h 1196731"/>
                  <a:gd name="connsiteX7" fmla="*/ 717919 w 1379042"/>
                  <a:gd name="connsiteY7" fmla="*/ 454143 h 1196731"/>
                  <a:gd name="connsiteX8" fmla="*/ 365494 w 1379042"/>
                  <a:gd name="connsiteY8" fmla="*/ 212208 h 1196731"/>
                  <a:gd name="connsiteX9" fmla="*/ 134989 w 1379042"/>
                  <a:gd name="connsiteY9" fmla="*/ 35043 h 1196731"/>
                  <a:gd name="connsiteX10" fmla="*/ 1639 w 1379042"/>
                  <a:gd name="connsiteY10" fmla="*/ 229353 h 1196731"/>
                  <a:gd name="connsiteX11" fmla="*/ 1639 w 1379042"/>
                  <a:gd name="connsiteY11" fmla="*/ 236973 h 1196731"/>
                  <a:gd name="connsiteX0" fmla="*/ 2847 w 1380250"/>
                  <a:gd name="connsiteY0" fmla="*/ 236973 h 1196731"/>
                  <a:gd name="connsiteX1" fmla="*/ 258117 w 1380250"/>
                  <a:gd name="connsiteY1" fmla="*/ 412233 h 1196731"/>
                  <a:gd name="connsiteX2" fmla="*/ 602922 w 1380250"/>
                  <a:gd name="connsiteY2" fmla="*/ 711318 h 1196731"/>
                  <a:gd name="connsiteX3" fmla="*/ 869622 w 1380250"/>
                  <a:gd name="connsiteY3" fmla="*/ 987543 h 1196731"/>
                  <a:gd name="connsiteX4" fmla="*/ 1283007 w 1380250"/>
                  <a:gd name="connsiteY4" fmla="*/ 1141848 h 1196731"/>
                  <a:gd name="connsiteX5" fmla="*/ 1380162 w 1380250"/>
                  <a:gd name="connsiteY5" fmla="*/ 894198 h 1196731"/>
                  <a:gd name="connsiteX6" fmla="*/ 1126797 w 1380250"/>
                  <a:gd name="connsiteY6" fmla="*/ 737988 h 1196731"/>
                  <a:gd name="connsiteX7" fmla="*/ 719127 w 1380250"/>
                  <a:gd name="connsiteY7" fmla="*/ 454143 h 1196731"/>
                  <a:gd name="connsiteX8" fmla="*/ 366702 w 1380250"/>
                  <a:gd name="connsiteY8" fmla="*/ 212208 h 1196731"/>
                  <a:gd name="connsiteX9" fmla="*/ 136197 w 1380250"/>
                  <a:gd name="connsiteY9" fmla="*/ 35043 h 1196731"/>
                  <a:gd name="connsiteX10" fmla="*/ 2847 w 1380250"/>
                  <a:gd name="connsiteY10" fmla="*/ 236973 h 1196731"/>
                  <a:gd name="connsiteX0" fmla="*/ 1640 w 1379043"/>
                  <a:gd name="connsiteY0" fmla="*/ 236973 h 1196731"/>
                  <a:gd name="connsiteX1" fmla="*/ 256910 w 1379043"/>
                  <a:gd name="connsiteY1" fmla="*/ 412233 h 1196731"/>
                  <a:gd name="connsiteX2" fmla="*/ 601715 w 1379043"/>
                  <a:gd name="connsiteY2" fmla="*/ 711318 h 1196731"/>
                  <a:gd name="connsiteX3" fmla="*/ 868415 w 1379043"/>
                  <a:gd name="connsiteY3" fmla="*/ 987543 h 1196731"/>
                  <a:gd name="connsiteX4" fmla="*/ 1281800 w 1379043"/>
                  <a:gd name="connsiteY4" fmla="*/ 1141848 h 1196731"/>
                  <a:gd name="connsiteX5" fmla="*/ 1378955 w 1379043"/>
                  <a:gd name="connsiteY5" fmla="*/ 894198 h 1196731"/>
                  <a:gd name="connsiteX6" fmla="*/ 1125590 w 1379043"/>
                  <a:gd name="connsiteY6" fmla="*/ 737988 h 1196731"/>
                  <a:gd name="connsiteX7" fmla="*/ 717920 w 1379043"/>
                  <a:gd name="connsiteY7" fmla="*/ 454143 h 1196731"/>
                  <a:gd name="connsiteX8" fmla="*/ 365495 w 1379043"/>
                  <a:gd name="connsiteY8" fmla="*/ 212208 h 1196731"/>
                  <a:gd name="connsiteX9" fmla="*/ 134990 w 1379043"/>
                  <a:gd name="connsiteY9" fmla="*/ 35043 h 1196731"/>
                  <a:gd name="connsiteX10" fmla="*/ 1640 w 1379043"/>
                  <a:gd name="connsiteY10" fmla="*/ 236973 h 1196731"/>
                  <a:gd name="connsiteX0" fmla="*/ 17 w 1377420"/>
                  <a:gd name="connsiteY0" fmla="*/ 236973 h 1196731"/>
                  <a:gd name="connsiteX1" fmla="*/ 255287 w 1377420"/>
                  <a:gd name="connsiteY1" fmla="*/ 412233 h 1196731"/>
                  <a:gd name="connsiteX2" fmla="*/ 600092 w 1377420"/>
                  <a:gd name="connsiteY2" fmla="*/ 711318 h 1196731"/>
                  <a:gd name="connsiteX3" fmla="*/ 866792 w 1377420"/>
                  <a:gd name="connsiteY3" fmla="*/ 987543 h 1196731"/>
                  <a:gd name="connsiteX4" fmla="*/ 1280177 w 1377420"/>
                  <a:gd name="connsiteY4" fmla="*/ 1141848 h 1196731"/>
                  <a:gd name="connsiteX5" fmla="*/ 1377332 w 1377420"/>
                  <a:gd name="connsiteY5" fmla="*/ 894198 h 1196731"/>
                  <a:gd name="connsiteX6" fmla="*/ 1123967 w 1377420"/>
                  <a:gd name="connsiteY6" fmla="*/ 737988 h 1196731"/>
                  <a:gd name="connsiteX7" fmla="*/ 716297 w 1377420"/>
                  <a:gd name="connsiteY7" fmla="*/ 454143 h 1196731"/>
                  <a:gd name="connsiteX8" fmla="*/ 363872 w 1377420"/>
                  <a:gd name="connsiteY8" fmla="*/ 212208 h 1196731"/>
                  <a:gd name="connsiteX9" fmla="*/ 133367 w 1377420"/>
                  <a:gd name="connsiteY9" fmla="*/ 35043 h 1196731"/>
                  <a:gd name="connsiteX10" fmla="*/ 17 w 1377420"/>
                  <a:gd name="connsiteY10" fmla="*/ 236973 h 1196731"/>
                  <a:gd name="connsiteX0" fmla="*/ 3783 w 1381186"/>
                  <a:gd name="connsiteY0" fmla="*/ 236973 h 1196731"/>
                  <a:gd name="connsiteX1" fmla="*/ 259053 w 1381186"/>
                  <a:gd name="connsiteY1" fmla="*/ 412233 h 1196731"/>
                  <a:gd name="connsiteX2" fmla="*/ 603858 w 1381186"/>
                  <a:gd name="connsiteY2" fmla="*/ 711318 h 1196731"/>
                  <a:gd name="connsiteX3" fmla="*/ 870558 w 1381186"/>
                  <a:gd name="connsiteY3" fmla="*/ 987543 h 1196731"/>
                  <a:gd name="connsiteX4" fmla="*/ 1283943 w 1381186"/>
                  <a:gd name="connsiteY4" fmla="*/ 1141848 h 1196731"/>
                  <a:gd name="connsiteX5" fmla="*/ 1381098 w 1381186"/>
                  <a:gd name="connsiteY5" fmla="*/ 894198 h 1196731"/>
                  <a:gd name="connsiteX6" fmla="*/ 1127733 w 1381186"/>
                  <a:gd name="connsiteY6" fmla="*/ 737988 h 1196731"/>
                  <a:gd name="connsiteX7" fmla="*/ 720063 w 1381186"/>
                  <a:gd name="connsiteY7" fmla="*/ 454143 h 1196731"/>
                  <a:gd name="connsiteX8" fmla="*/ 367638 w 1381186"/>
                  <a:gd name="connsiteY8" fmla="*/ 212208 h 1196731"/>
                  <a:gd name="connsiteX9" fmla="*/ 137133 w 1381186"/>
                  <a:gd name="connsiteY9" fmla="*/ 35043 h 1196731"/>
                  <a:gd name="connsiteX10" fmla="*/ 3783 w 1381186"/>
                  <a:gd name="connsiteY10" fmla="*/ 236973 h 1196731"/>
                  <a:gd name="connsiteX0" fmla="*/ 4467 w 1381870"/>
                  <a:gd name="connsiteY0" fmla="*/ 236973 h 1196731"/>
                  <a:gd name="connsiteX1" fmla="*/ 259737 w 1381870"/>
                  <a:gd name="connsiteY1" fmla="*/ 412233 h 1196731"/>
                  <a:gd name="connsiteX2" fmla="*/ 604542 w 1381870"/>
                  <a:gd name="connsiteY2" fmla="*/ 711318 h 1196731"/>
                  <a:gd name="connsiteX3" fmla="*/ 871242 w 1381870"/>
                  <a:gd name="connsiteY3" fmla="*/ 987543 h 1196731"/>
                  <a:gd name="connsiteX4" fmla="*/ 1284627 w 1381870"/>
                  <a:gd name="connsiteY4" fmla="*/ 1141848 h 1196731"/>
                  <a:gd name="connsiteX5" fmla="*/ 1381782 w 1381870"/>
                  <a:gd name="connsiteY5" fmla="*/ 894198 h 1196731"/>
                  <a:gd name="connsiteX6" fmla="*/ 1128417 w 1381870"/>
                  <a:gd name="connsiteY6" fmla="*/ 737988 h 1196731"/>
                  <a:gd name="connsiteX7" fmla="*/ 720747 w 1381870"/>
                  <a:gd name="connsiteY7" fmla="*/ 454143 h 1196731"/>
                  <a:gd name="connsiteX8" fmla="*/ 368322 w 1381870"/>
                  <a:gd name="connsiteY8" fmla="*/ 212208 h 1196731"/>
                  <a:gd name="connsiteX9" fmla="*/ 137817 w 1381870"/>
                  <a:gd name="connsiteY9" fmla="*/ 35043 h 1196731"/>
                  <a:gd name="connsiteX10" fmla="*/ 4467 w 1381870"/>
                  <a:gd name="connsiteY10" fmla="*/ 236973 h 1196731"/>
                  <a:gd name="connsiteX0" fmla="*/ 4467 w 1381870"/>
                  <a:gd name="connsiteY0" fmla="*/ 217026 h 1176784"/>
                  <a:gd name="connsiteX1" fmla="*/ 259737 w 1381870"/>
                  <a:gd name="connsiteY1" fmla="*/ 392286 h 1176784"/>
                  <a:gd name="connsiteX2" fmla="*/ 604542 w 1381870"/>
                  <a:gd name="connsiteY2" fmla="*/ 691371 h 1176784"/>
                  <a:gd name="connsiteX3" fmla="*/ 871242 w 1381870"/>
                  <a:gd name="connsiteY3" fmla="*/ 967596 h 1176784"/>
                  <a:gd name="connsiteX4" fmla="*/ 1284627 w 1381870"/>
                  <a:gd name="connsiteY4" fmla="*/ 1121901 h 1176784"/>
                  <a:gd name="connsiteX5" fmla="*/ 1381782 w 1381870"/>
                  <a:gd name="connsiteY5" fmla="*/ 874251 h 1176784"/>
                  <a:gd name="connsiteX6" fmla="*/ 1128417 w 1381870"/>
                  <a:gd name="connsiteY6" fmla="*/ 718041 h 1176784"/>
                  <a:gd name="connsiteX7" fmla="*/ 720747 w 1381870"/>
                  <a:gd name="connsiteY7" fmla="*/ 434196 h 1176784"/>
                  <a:gd name="connsiteX8" fmla="*/ 368322 w 1381870"/>
                  <a:gd name="connsiteY8" fmla="*/ 192261 h 1176784"/>
                  <a:gd name="connsiteX9" fmla="*/ 137817 w 1381870"/>
                  <a:gd name="connsiteY9" fmla="*/ 15096 h 1176784"/>
                  <a:gd name="connsiteX10" fmla="*/ 4467 w 1381870"/>
                  <a:gd name="connsiteY10" fmla="*/ 217026 h 1176784"/>
                  <a:gd name="connsiteX0" fmla="*/ 4825 w 1382228"/>
                  <a:gd name="connsiteY0" fmla="*/ 236461 h 1196219"/>
                  <a:gd name="connsiteX1" fmla="*/ 260095 w 1382228"/>
                  <a:gd name="connsiteY1" fmla="*/ 411721 h 1196219"/>
                  <a:gd name="connsiteX2" fmla="*/ 604900 w 1382228"/>
                  <a:gd name="connsiteY2" fmla="*/ 710806 h 1196219"/>
                  <a:gd name="connsiteX3" fmla="*/ 871600 w 1382228"/>
                  <a:gd name="connsiteY3" fmla="*/ 987031 h 1196219"/>
                  <a:gd name="connsiteX4" fmla="*/ 1284985 w 1382228"/>
                  <a:gd name="connsiteY4" fmla="*/ 1141336 h 1196219"/>
                  <a:gd name="connsiteX5" fmla="*/ 1382140 w 1382228"/>
                  <a:gd name="connsiteY5" fmla="*/ 893686 h 1196219"/>
                  <a:gd name="connsiteX6" fmla="*/ 1128775 w 1382228"/>
                  <a:gd name="connsiteY6" fmla="*/ 737476 h 1196219"/>
                  <a:gd name="connsiteX7" fmla="*/ 721105 w 1382228"/>
                  <a:gd name="connsiteY7" fmla="*/ 453631 h 1196219"/>
                  <a:gd name="connsiteX8" fmla="*/ 368680 w 1382228"/>
                  <a:gd name="connsiteY8" fmla="*/ 211696 h 1196219"/>
                  <a:gd name="connsiteX9" fmla="*/ 130555 w 1382228"/>
                  <a:gd name="connsiteY9" fmla="*/ 11671 h 1196219"/>
                  <a:gd name="connsiteX10" fmla="*/ 4825 w 1382228"/>
                  <a:gd name="connsiteY10" fmla="*/ 236461 h 1196219"/>
                  <a:gd name="connsiteX0" fmla="*/ 5218 w 1382621"/>
                  <a:gd name="connsiteY0" fmla="*/ 236461 h 1196219"/>
                  <a:gd name="connsiteX1" fmla="*/ 260488 w 1382621"/>
                  <a:gd name="connsiteY1" fmla="*/ 411721 h 1196219"/>
                  <a:gd name="connsiteX2" fmla="*/ 605293 w 1382621"/>
                  <a:gd name="connsiteY2" fmla="*/ 710806 h 1196219"/>
                  <a:gd name="connsiteX3" fmla="*/ 871993 w 1382621"/>
                  <a:gd name="connsiteY3" fmla="*/ 987031 h 1196219"/>
                  <a:gd name="connsiteX4" fmla="*/ 1285378 w 1382621"/>
                  <a:gd name="connsiteY4" fmla="*/ 1141336 h 1196219"/>
                  <a:gd name="connsiteX5" fmla="*/ 1382533 w 1382621"/>
                  <a:gd name="connsiteY5" fmla="*/ 893686 h 1196219"/>
                  <a:gd name="connsiteX6" fmla="*/ 1129168 w 1382621"/>
                  <a:gd name="connsiteY6" fmla="*/ 737476 h 1196219"/>
                  <a:gd name="connsiteX7" fmla="*/ 721498 w 1382621"/>
                  <a:gd name="connsiteY7" fmla="*/ 453631 h 1196219"/>
                  <a:gd name="connsiteX8" fmla="*/ 369073 w 1382621"/>
                  <a:gd name="connsiteY8" fmla="*/ 211696 h 1196219"/>
                  <a:gd name="connsiteX9" fmla="*/ 130948 w 1382621"/>
                  <a:gd name="connsiteY9" fmla="*/ 11671 h 1196219"/>
                  <a:gd name="connsiteX10" fmla="*/ 5218 w 1382621"/>
                  <a:gd name="connsiteY10" fmla="*/ 236461 h 1196219"/>
                  <a:gd name="connsiteX0" fmla="*/ 5218 w 1382621"/>
                  <a:gd name="connsiteY0" fmla="*/ 244278 h 1204036"/>
                  <a:gd name="connsiteX1" fmla="*/ 260488 w 1382621"/>
                  <a:gd name="connsiteY1" fmla="*/ 419538 h 1204036"/>
                  <a:gd name="connsiteX2" fmla="*/ 605293 w 1382621"/>
                  <a:gd name="connsiteY2" fmla="*/ 718623 h 1204036"/>
                  <a:gd name="connsiteX3" fmla="*/ 871993 w 1382621"/>
                  <a:gd name="connsiteY3" fmla="*/ 994848 h 1204036"/>
                  <a:gd name="connsiteX4" fmla="*/ 1285378 w 1382621"/>
                  <a:gd name="connsiteY4" fmla="*/ 1149153 h 1204036"/>
                  <a:gd name="connsiteX5" fmla="*/ 1382533 w 1382621"/>
                  <a:gd name="connsiteY5" fmla="*/ 901503 h 1204036"/>
                  <a:gd name="connsiteX6" fmla="*/ 1129168 w 1382621"/>
                  <a:gd name="connsiteY6" fmla="*/ 745293 h 1204036"/>
                  <a:gd name="connsiteX7" fmla="*/ 721498 w 1382621"/>
                  <a:gd name="connsiteY7" fmla="*/ 461448 h 1204036"/>
                  <a:gd name="connsiteX8" fmla="*/ 369073 w 1382621"/>
                  <a:gd name="connsiteY8" fmla="*/ 219513 h 1204036"/>
                  <a:gd name="connsiteX9" fmla="*/ 130948 w 1382621"/>
                  <a:gd name="connsiteY9" fmla="*/ 19488 h 1204036"/>
                  <a:gd name="connsiteX10" fmla="*/ 5218 w 1382621"/>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19206 w 1380329"/>
                  <a:gd name="connsiteY7" fmla="*/ 46144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2926 w 1380329"/>
                  <a:gd name="connsiteY0" fmla="*/ 244278 h 1204036"/>
                  <a:gd name="connsiteX1" fmla="*/ 258196 w 1380329"/>
                  <a:gd name="connsiteY1" fmla="*/ 419538 h 1204036"/>
                  <a:gd name="connsiteX2" fmla="*/ 603001 w 1380329"/>
                  <a:gd name="connsiteY2" fmla="*/ 718623 h 1204036"/>
                  <a:gd name="connsiteX3" fmla="*/ 869701 w 1380329"/>
                  <a:gd name="connsiteY3" fmla="*/ 994848 h 1204036"/>
                  <a:gd name="connsiteX4" fmla="*/ 1283086 w 1380329"/>
                  <a:gd name="connsiteY4" fmla="*/ 1149153 h 1204036"/>
                  <a:gd name="connsiteX5" fmla="*/ 1380241 w 1380329"/>
                  <a:gd name="connsiteY5" fmla="*/ 901503 h 1204036"/>
                  <a:gd name="connsiteX6" fmla="*/ 1126876 w 1380329"/>
                  <a:gd name="connsiteY6" fmla="*/ 745293 h 1204036"/>
                  <a:gd name="connsiteX7" fmla="*/ 780166 w 1380329"/>
                  <a:gd name="connsiteY7" fmla="*/ 484308 h 1204036"/>
                  <a:gd name="connsiteX8" fmla="*/ 366781 w 1380329"/>
                  <a:gd name="connsiteY8" fmla="*/ 219513 h 1204036"/>
                  <a:gd name="connsiteX9" fmla="*/ 128656 w 1380329"/>
                  <a:gd name="connsiteY9" fmla="*/ 19488 h 1204036"/>
                  <a:gd name="connsiteX10" fmla="*/ 2926 w 1380329"/>
                  <a:gd name="connsiteY10" fmla="*/ 244278 h 1204036"/>
                  <a:gd name="connsiteX0" fmla="*/ 1873 w 1379276"/>
                  <a:gd name="connsiteY0" fmla="*/ 244278 h 1204036"/>
                  <a:gd name="connsiteX1" fmla="*/ 257143 w 1379276"/>
                  <a:gd name="connsiteY1" fmla="*/ 419538 h 1204036"/>
                  <a:gd name="connsiteX2" fmla="*/ 601948 w 1379276"/>
                  <a:gd name="connsiteY2" fmla="*/ 718623 h 1204036"/>
                  <a:gd name="connsiteX3" fmla="*/ 868648 w 1379276"/>
                  <a:gd name="connsiteY3" fmla="*/ 994848 h 1204036"/>
                  <a:gd name="connsiteX4" fmla="*/ 1282033 w 1379276"/>
                  <a:gd name="connsiteY4" fmla="*/ 1149153 h 1204036"/>
                  <a:gd name="connsiteX5" fmla="*/ 1379188 w 1379276"/>
                  <a:gd name="connsiteY5" fmla="*/ 901503 h 1204036"/>
                  <a:gd name="connsiteX6" fmla="*/ 1125823 w 1379276"/>
                  <a:gd name="connsiteY6" fmla="*/ 745293 h 1204036"/>
                  <a:gd name="connsiteX7" fmla="*/ 779113 w 1379276"/>
                  <a:gd name="connsiteY7" fmla="*/ 484308 h 1204036"/>
                  <a:gd name="connsiteX8" fmla="*/ 365728 w 1379276"/>
                  <a:gd name="connsiteY8" fmla="*/ 219513 h 1204036"/>
                  <a:gd name="connsiteX9" fmla="*/ 127603 w 1379276"/>
                  <a:gd name="connsiteY9" fmla="*/ 19488 h 1204036"/>
                  <a:gd name="connsiteX10" fmla="*/ 1873 w 1379276"/>
                  <a:gd name="connsiteY10" fmla="*/ 244278 h 1204036"/>
                  <a:gd name="connsiteX0" fmla="*/ 1873 w 1379276"/>
                  <a:gd name="connsiteY0" fmla="*/ 244278 h 1204036"/>
                  <a:gd name="connsiteX1" fmla="*/ 257143 w 1379276"/>
                  <a:gd name="connsiteY1" fmla="*/ 419538 h 1204036"/>
                  <a:gd name="connsiteX2" fmla="*/ 601948 w 1379276"/>
                  <a:gd name="connsiteY2" fmla="*/ 718623 h 1204036"/>
                  <a:gd name="connsiteX3" fmla="*/ 910558 w 1379276"/>
                  <a:gd name="connsiteY3" fmla="*/ 994848 h 1204036"/>
                  <a:gd name="connsiteX4" fmla="*/ 1282033 w 1379276"/>
                  <a:gd name="connsiteY4" fmla="*/ 1149153 h 1204036"/>
                  <a:gd name="connsiteX5" fmla="*/ 1379188 w 1379276"/>
                  <a:gd name="connsiteY5" fmla="*/ 901503 h 1204036"/>
                  <a:gd name="connsiteX6" fmla="*/ 1125823 w 1379276"/>
                  <a:gd name="connsiteY6" fmla="*/ 745293 h 1204036"/>
                  <a:gd name="connsiteX7" fmla="*/ 779113 w 1379276"/>
                  <a:gd name="connsiteY7" fmla="*/ 484308 h 1204036"/>
                  <a:gd name="connsiteX8" fmla="*/ 365728 w 1379276"/>
                  <a:gd name="connsiteY8" fmla="*/ 219513 h 1204036"/>
                  <a:gd name="connsiteX9" fmla="*/ 127603 w 1379276"/>
                  <a:gd name="connsiteY9" fmla="*/ 19488 h 1204036"/>
                  <a:gd name="connsiteX10" fmla="*/ 1873 w 1379276"/>
                  <a:gd name="connsiteY10" fmla="*/ 244278 h 1204036"/>
                  <a:gd name="connsiteX0" fmla="*/ 1873 w 1379276"/>
                  <a:gd name="connsiteY0" fmla="*/ 244278 h 1206796"/>
                  <a:gd name="connsiteX1" fmla="*/ 257143 w 1379276"/>
                  <a:gd name="connsiteY1" fmla="*/ 419538 h 1206796"/>
                  <a:gd name="connsiteX2" fmla="*/ 601948 w 1379276"/>
                  <a:gd name="connsiteY2" fmla="*/ 718623 h 1206796"/>
                  <a:gd name="connsiteX3" fmla="*/ 910558 w 1379276"/>
                  <a:gd name="connsiteY3" fmla="*/ 994848 h 1206796"/>
                  <a:gd name="connsiteX4" fmla="*/ 1282033 w 1379276"/>
                  <a:gd name="connsiteY4" fmla="*/ 1149153 h 1206796"/>
                  <a:gd name="connsiteX5" fmla="*/ 1379188 w 1379276"/>
                  <a:gd name="connsiteY5" fmla="*/ 901503 h 1206796"/>
                  <a:gd name="connsiteX6" fmla="*/ 1125823 w 1379276"/>
                  <a:gd name="connsiteY6" fmla="*/ 745293 h 1206796"/>
                  <a:gd name="connsiteX7" fmla="*/ 779113 w 1379276"/>
                  <a:gd name="connsiteY7" fmla="*/ 484308 h 1206796"/>
                  <a:gd name="connsiteX8" fmla="*/ 365728 w 1379276"/>
                  <a:gd name="connsiteY8" fmla="*/ 219513 h 1206796"/>
                  <a:gd name="connsiteX9" fmla="*/ 127603 w 1379276"/>
                  <a:gd name="connsiteY9" fmla="*/ 19488 h 1206796"/>
                  <a:gd name="connsiteX10" fmla="*/ 1873 w 1379276"/>
                  <a:gd name="connsiteY10" fmla="*/ 244278 h 1206796"/>
                  <a:gd name="connsiteX0" fmla="*/ 1873 w 1379276"/>
                  <a:gd name="connsiteY0" fmla="*/ 244278 h 1206796"/>
                  <a:gd name="connsiteX1" fmla="*/ 257143 w 1379276"/>
                  <a:gd name="connsiteY1" fmla="*/ 419538 h 1206796"/>
                  <a:gd name="connsiteX2" fmla="*/ 601948 w 1379276"/>
                  <a:gd name="connsiteY2" fmla="*/ 718623 h 1206796"/>
                  <a:gd name="connsiteX3" fmla="*/ 910558 w 1379276"/>
                  <a:gd name="connsiteY3" fmla="*/ 994848 h 1206796"/>
                  <a:gd name="connsiteX4" fmla="*/ 1282033 w 1379276"/>
                  <a:gd name="connsiteY4" fmla="*/ 1149153 h 1206796"/>
                  <a:gd name="connsiteX5" fmla="*/ 1379188 w 1379276"/>
                  <a:gd name="connsiteY5" fmla="*/ 901503 h 1206796"/>
                  <a:gd name="connsiteX6" fmla="*/ 1125823 w 1379276"/>
                  <a:gd name="connsiteY6" fmla="*/ 745293 h 1206796"/>
                  <a:gd name="connsiteX7" fmla="*/ 779113 w 1379276"/>
                  <a:gd name="connsiteY7" fmla="*/ 484308 h 1206796"/>
                  <a:gd name="connsiteX8" fmla="*/ 365728 w 1379276"/>
                  <a:gd name="connsiteY8" fmla="*/ 219513 h 1206796"/>
                  <a:gd name="connsiteX9" fmla="*/ 127603 w 1379276"/>
                  <a:gd name="connsiteY9" fmla="*/ 19488 h 1206796"/>
                  <a:gd name="connsiteX10" fmla="*/ 1873 w 1379276"/>
                  <a:gd name="connsiteY10" fmla="*/ 244278 h 1206796"/>
                  <a:gd name="connsiteX0" fmla="*/ 1873 w 1379276"/>
                  <a:gd name="connsiteY0" fmla="*/ 244278 h 1206796"/>
                  <a:gd name="connsiteX1" fmla="*/ 257143 w 1379276"/>
                  <a:gd name="connsiteY1" fmla="*/ 419538 h 1206796"/>
                  <a:gd name="connsiteX2" fmla="*/ 601948 w 1379276"/>
                  <a:gd name="connsiteY2" fmla="*/ 718623 h 1206796"/>
                  <a:gd name="connsiteX3" fmla="*/ 910558 w 1379276"/>
                  <a:gd name="connsiteY3" fmla="*/ 994848 h 1206796"/>
                  <a:gd name="connsiteX4" fmla="*/ 1282033 w 1379276"/>
                  <a:gd name="connsiteY4" fmla="*/ 1149153 h 1206796"/>
                  <a:gd name="connsiteX5" fmla="*/ 1379188 w 1379276"/>
                  <a:gd name="connsiteY5" fmla="*/ 901503 h 1206796"/>
                  <a:gd name="connsiteX6" fmla="*/ 1125823 w 1379276"/>
                  <a:gd name="connsiteY6" fmla="*/ 745293 h 1206796"/>
                  <a:gd name="connsiteX7" fmla="*/ 779113 w 1379276"/>
                  <a:gd name="connsiteY7" fmla="*/ 484308 h 1206796"/>
                  <a:gd name="connsiteX8" fmla="*/ 365728 w 1379276"/>
                  <a:gd name="connsiteY8" fmla="*/ 219513 h 1206796"/>
                  <a:gd name="connsiteX9" fmla="*/ 127603 w 1379276"/>
                  <a:gd name="connsiteY9" fmla="*/ 19488 h 1206796"/>
                  <a:gd name="connsiteX10" fmla="*/ 1873 w 1379276"/>
                  <a:gd name="connsiteY10" fmla="*/ 244278 h 1206796"/>
                  <a:gd name="connsiteX0" fmla="*/ 1873 w 1379276"/>
                  <a:gd name="connsiteY0" fmla="*/ 244278 h 1206796"/>
                  <a:gd name="connsiteX1" fmla="*/ 257143 w 1379276"/>
                  <a:gd name="connsiteY1" fmla="*/ 419538 h 1206796"/>
                  <a:gd name="connsiteX2" fmla="*/ 601948 w 1379276"/>
                  <a:gd name="connsiteY2" fmla="*/ 718623 h 1206796"/>
                  <a:gd name="connsiteX3" fmla="*/ 910558 w 1379276"/>
                  <a:gd name="connsiteY3" fmla="*/ 994848 h 1206796"/>
                  <a:gd name="connsiteX4" fmla="*/ 1282033 w 1379276"/>
                  <a:gd name="connsiteY4" fmla="*/ 1149153 h 1206796"/>
                  <a:gd name="connsiteX5" fmla="*/ 1379188 w 1379276"/>
                  <a:gd name="connsiteY5" fmla="*/ 928173 h 1206796"/>
                  <a:gd name="connsiteX6" fmla="*/ 1125823 w 1379276"/>
                  <a:gd name="connsiteY6" fmla="*/ 745293 h 1206796"/>
                  <a:gd name="connsiteX7" fmla="*/ 779113 w 1379276"/>
                  <a:gd name="connsiteY7" fmla="*/ 484308 h 1206796"/>
                  <a:gd name="connsiteX8" fmla="*/ 365728 w 1379276"/>
                  <a:gd name="connsiteY8" fmla="*/ 219513 h 1206796"/>
                  <a:gd name="connsiteX9" fmla="*/ 127603 w 1379276"/>
                  <a:gd name="connsiteY9" fmla="*/ 19488 h 1206796"/>
                  <a:gd name="connsiteX10" fmla="*/ 1873 w 1379276"/>
                  <a:gd name="connsiteY10" fmla="*/ 244278 h 1206796"/>
                  <a:gd name="connsiteX0" fmla="*/ 1873 w 1379276"/>
                  <a:gd name="connsiteY0" fmla="*/ 244278 h 1206796"/>
                  <a:gd name="connsiteX1" fmla="*/ 257143 w 1379276"/>
                  <a:gd name="connsiteY1" fmla="*/ 419538 h 1206796"/>
                  <a:gd name="connsiteX2" fmla="*/ 601948 w 1379276"/>
                  <a:gd name="connsiteY2" fmla="*/ 718623 h 1206796"/>
                  <a:gd name="connsiteX3" fmla="*/ 910558 w 1379276"/>
                  <a:gd name="connsiteY3" fmla="*/ 994848 h 1206796"/>
                  <a:gd name="connsiteX4" fmla="*/ 1282033 w 1379276"/>
                  <a:gd name="connsiteY4" fmla="*/ 1149153 h 1206796"/>
                  <a:gd name="connsiteX5" fmla="*/ 1379188 w 1379276"/>
                  <a:gd name="connsiteY5" fmla="*/ 928173 h 1206796"/>
                  <a:gd name="connsiteX6" fmla="*/ 1125823 w 1379276"/>
                  <a:gd name="connsiteY6" fmla="*/ 745293 h 1206796"/>
                  <a:gd name="connsiteX7" fmla="*/ 779113 w 1379276"/>
                  <a:gd name="connsiteY7" fmla="*/ 484308 h 1206796"/>
                  <a:gd name="connsiteX8" fmla="*/ 365728 w 1379276"/>
                  <a:gd name="connsiteY8" fmla="*/ 219513 h 1206796"/>
                  <a:gd name="connsiteX9" fmla="*/ 127603 w 1379276"/>
                  <a:gd name="connsiteY9" fmla="*/ 19488 h 1206796"/>
                  <a:gd name="connsiteX10" fmla="*/ 1873 w 1379276"/>
                  <a:gd name="connsiteY10" fmla="*/ 244278 h 120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9276" h="1206796">
                    <a:moveTo>
                      <a:pt x="1873" y="244278"/>
                    </a:moveTo>
                    <a:cubicBezTo>
                      <a:pt x="13303" y="348418"/>
                      <a:pt x="78073" y="441128"/>
                      <a:pt x="257143" y="419538"/>
                    </a:cubicBezTo>
                    <a:cubicBezTo>
                      <a:pt x="234918" y="564953"/>
                      <a:pt x="376523" y="782758"/>
                      <a:pt x="601948" y="718623"/>
                    </a:cubicBezTo>
                    <a:cubicBezTo>
                      <a:pt x="530828" y="947858"/>
                      <a:pt x="787368" y="1085653"/>
                      <a:pt x="910558" y="994848"/>
                    </a:cubicBezTo>
                    <a:cubicBezTo>
                      <a:pt x="917543" y="1160583"/>
                      <a:pt x="1065498" y="1284408"/>
                      <a:pt x="1282033" y="1149153"/>
                    </a:cubicBezTo>
                    <a:cubicBezTo>
                      <a:pt x="1352518" y="1094543"/>
                      <a:pt x="1381093" y="1009453"/>
                      <a:pt x="1379188" y="928173"/>
                    </a:cubicBezTo>
                    <a:cubicBezTo>
                      <a:pt x="1381093" y="869753"/>
                      <a:pt x="1291558" y="727513"/>
                      <a:pt x="1125823" y="745293"/>
                    </a:cubicBezTo>
                    <a:cubicBezTo>
                      <a:pt x="1156303" y="513518"/>
                      <a:pt x="939133" y="399853"/>
                      <a:pt x="779113" y="484308"/>
                    </a:cubicBezTo>
                    <a:cubicBezTo>
                      <a:pt x="833088" y="333813"/>
                      <a:pt x="574643" y="57588"/>
                      <a:pt x="365728" y="219513"/>
                    </a:cubicBezTo>
                    <a:cubicBezTo>
                      <a:pt x="414623" y="16948"/>
                      <a:pt x="193008" y="-33217"/>
                      <a:pt x="127603" y="19488"/>
                    </a:cubicBezTo>
                    <a:cubicBezTo>
                      <a:pt x="82201" y="42666"/>
                      <a:pt x="-14637" y="116643"/>
                      <a:pt x="1873" y="244278"/>
                    </a:cubicBezTo>
                    <a:close/>
                  </a:path>
                </a:pathLst>
              </a:cu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grpSp>
        <p:sp>
          <p:nvSpPr>
            <p:cNvPr id="13" name="Oval 12">
              <a:extLst>
                <a:ext uri="{FF2B5EF4-FFF2-40B4-BE49-F238E27FC236}">
                  <a16:creationId xmlns:a16="http://schemas.microsoft.com/office/drawing/2014/main" id="{E501A1C5-2CF8-284D-9D96-9D80011A4ECF}"/>
                </a:ext>
              </a:extLst>
            </p:cNvPr>
            <p:cNvSpPr/>
            <p:nvPr/>
          </p:nvSpPr>
          <p:spPr>
            <a:xfrm>
              <a:off x="5508578" y="3032955"/>
              <a:ext cx="828092" cy="923529"/>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4" name="Oval 13">
              <a:extLst>
                <a:ext uri="{FF2B5EF4-FFF2-40B4-BE49-F238E27FC236}">
                  <a16:creationId xmlns:a16="http://schemas.microsoft.com/office/drawing/2014/main" id="{86675E69-EAA8-CC42-B51F-E6791382E88C}"/>
                </a:ext>
              </a:extLst>
            </p:cNvPr>
            <p:cNvSpPr/>
            <p:nvPr/>
          </p:nvSpPr>
          <p:spPr>
            <a:xfrm>
              <a:off x="2793102" y="3725352"/>
              <a:ext cx="828628" cy="923529"/>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 name="Oval 14">
              <a:extLst>
                <a:ext uri="{FF2B5EF4-FFF2-40B4-BE49-F238E27FC236}">
                  <a16:creationId xmlns:a16="http://schemas.microsoft.com/office/drawing/2014/main" id="{46928AA0-701A-3442-84C5-1CBD66B8F2DE}"/>
                </a:ext>
              </a:extLst>
            </p:cNvPr>
            <p:cNvSpPr/>
            <p:nvPr/>
          </p:nvSpPr>
          <p:spPr>
            <a:xfrm>
              <a:off x="4799856" y="5259938"/>
              <a:ext cx="828092" cy="923529"/>
            </a:xfrm>
            <a:prstGeom prst="ellipse">
              <a:avLst/>
            </a:pr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 name="TextBox 15">
              <a:extLst>
                <a:ext uri="{FF2B5EF4-FFF2-40B4-BE49-F238E27FC236}">
                  <a16:creationId xmlns:a16="http://schemas.microsoft.com/office/drawing/2014/main" id="{C23CEACC-340F-BD4A-A34D-5D5F0FCA8CB9}"/>
                </a:ext>
              </a:extLst>
            </p:cNvPr>
            <p:cNvSpPr txBox="1"/>
            <p:nvPr/>
          </p:nvSpPr>
          <p:spPr>
            <a:xfrm>
              <a:off x="5442456" y="2309884"/>
              <a:ext cx="960339" cy="789557"/>
            </a:xfrm>
            <a:prstGeom prst="rect">
              <a:avLst/>
            </a:prstGeom>
            <a:noFill/>
          </p:spPr>
          <p:txBody>
            <a:bodyPr wrap="square" rtlCol="0">
              <a:spAutoFit/>
            </a:bodyPr>
            <a:lstStyle/>
            <a:p>
              <a:pPr algn="ctr"/>
              <a:r>
                <a:rPr lang="en-US" altLang="ko-KR" sz="4400" b="1">
                  <a:ln w="12700">
                    <a:solidFill>
                      <a:schemeClr val="bg1"/>
                    </a:solidFill>
                  </a:ln>
                  <a:solidFill>
                    <a:srgbClr val="8D8EA7"/>
                  </a:solidFill>
                  <a:latin typeface="Arial" pitchFamily="34" charset="0"/>
                  <a:cs typeface="Arial" pitchFamily="34" charset="0"/>
                </a:rPr>
                <a:t>01</a:t>
              </a:r>
              <a:endParaRPr lang="ko-KR" altLang="en-US" sz="4400" b="1">
                <a:ln w="12700">
                  <a:solidFill>
                    <a:schemeClr val="bg1"/>
                  </a:solidFill>
                </a:ln>
                <a:solidFill>
                  <a:srgbClr val="8D8EA7"/>
                </a:solidFill>
                <a:latin typeface="Arial" pitchFamily="34" charset="0"/>
                <a:cs typeface="Arial" pitchFamily="34" charset="0"/>
              </a:endParaRPr>
            </a:p>
          </p:txBody>
        </p:sp>
        <p:grpSp>
          <p:nvGrpSpPr>
            <p:cNvPr id="17" name="Group 16">
              <a:extLst>
                <a:ext uri="{FF2B5EF4-FFF2-40B4-BE49-F238E27FC236}">
                  <a16:creationId xmlns:a16="http://schemas.microsoft.com/office/drawing/2014/main" id="{EB9326CA-1614-A241-91EB-49D31121D22E}"/>
                </a:ext>
              </a:extLst>
            </p:cNvPr>
            <p:cNvGrpSpPr/>
            <p:nvPr/>
          </p:nvGrpSpPr>
          <p:grpSpPr>
            <a:xfrm>
              <a:off x="3311312" y="1772291"/>
              <a:ext cx="2212122" cy="940227"/>
              <a:chOff x="2551705" y="4283314"/>
              <a:chExt cx="2357003" cy="940227"/>
            </a:xfrm>
          </p:grpSpPr>
          <p:sp>
            <p:nvSpPr>
              <p:cNvPr id="18" name="TextBox 17">
                <a:extLst>
                  <a:ext uri="{FF2B5EF4-FFF2-40B4-BE49-F238E27FC236}">
                    <a16:creationId xmlns:a16="http://schemas.microsoft.com/office/drawing/2014/main" id="{DD0E6623-7400-4B49-937D-9D8744481A7C}"/>
                  </a:ext>
                </a:extLst>
              </p:cNvPr>
              <p:cNvSpPr txBox="1"/>
              <p:nvPr/>
            </p:nvSpPr>
            <p:spPr>
              <a:xfrm>
                <a:off x="2551706" y="4560313"/>
                <a:ext cx="2357002" cy="663228"/>
              </a:xfrm>
              <a:prstGeom prst="rect">
                <a:avLst/>
              </a:prstGeom>
              <a:noFill/>
            </p:spPr>
            <p:txBody>
              <a:bodyPr wrap="square" rtlCol="0">
                <a:spAutoFit/>
              </a:bodyPr>
              <a:lstStyle/>
              <a:p>
                <a:pPr algn="r"/>
                <a:r>
                  <a:rPr lang="en-US" altLang="ko-KR" sz="1200">
                    <a:solidFill>
                      <a:schemeClr val="tx1">
                        <a:lumMod val="75000"/>
                        <a:lumOff val="25000"/>
                      </a:schemeClr>
                    </a:solidFill>
                    <a:latin typeface="Arial" pitchFamily="34" charset="0"/>
                    <a:cs typeface="Arial" pitchFamily="34" charset="0"/>
                  </a:rPr>
                  <a:t>Lorem ipsum dolor sit </a:t>
                </a:r>
                <a:r>
                  <a:rPr lang="en-US" altLang="ko-KR" sz="1200" err="1">
                    <a:solidFill>
                      <a:schemeClr val="tx1">
                        <a:lumMod val="75000"/>
                        <a:lumOff val="25000"/>
                      </a:schemeClr>
                    </a:solidFill>
                    <a:latin typeface="Arial" pitchFamily="34" charset="0"/>
                    <a:cs typeface="Arial" pitchFamily="34" charset="0"/>
                  </a:rPr>
                  <a:t>ame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consetetu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adipscing</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lit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e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diam</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nonumy</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irmo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tempor</a:t>
                </a:r>
                <a:endParaRPr lang="ko-KR" altLang="en-US" sz="1200">
                  <a:solidFill>
                    <a:schemeClr val="tx1">
                      <a:lumMod val="65000"/>
                      <a:lumOff val="35000"/>
                    </a:schemeClr>
                  </a:solidFill>
                  <a:latin typeface="Arial" pitchFamily="34" charset="0"/>
                  <a:cs typeface="Arial" pitchFamily="34" charset="0"/>
                </a:endParaRPr>
              </a:p>
            </p:txBody>
          </p:sp>
          <p:sp>
            <p:nvSpPr>
              <p:cNvPr id="19" name="TextBox 18">
                <a:extLst>
                  <a:ext uri="{FF2B5EF4-FFF2-40B4-BE49-F238E27FC236}">
                    <a16:creationId xmlns:a16="http://schemas.microsoft.com/office/drawing/2014/main" id="{65C0C163-2242-A64D-9C16-D597A93915DD}"/>
                  </a:ext>
                </a:extLst>
              </p:cNvPr>
              <p:cNvSpPr txBox="1"/>
              <p:nvPr/>
            </p:nvSpPr>
            <p:spPr>
              <a:xfrm>
                <a:off x="2551705" y="4283314"/>
                <a:ext cx="2336966" cy="284240"/>
              </a:xfrm>
              <a:prstGeom prst="rect">
                <a:avLst/>
              </a:prstGeom>
              <a:noFill/>
            </p:spPr>
            <p:txBody>
              <a:bodyPr wrap="square" rtlCol="0">
                <a:spAutoFit/>
              </a:bodyPr>
              <a:lstStyle/>
              <a:p>
                <a:pPr algn="r"/>
                <a:r>
                  <a:rPr lang="en-US" altLang="ko-KR" sz="1200" b="1">
                    <a:latin typeface="Arial" pitchFamily="34" charset="0"/>
                    <a:cs typeface="Arial" pitchFamily="34" charset="0"/>
                  </a:rPr>
                  <a:t>Your Text Here</a:t>
                </a:r>
                <a:endParaRPr lang="ko-KR" altLang="en-US" sz="1200" b="1">
                  <a:latin typeface="Arial" pitchFamily="34" charset="0"/>
                  <a:cs typeface="Arial" pitchFamily="34" charset="0"/>
                </a:endParaRPr>
              </a:p>
            </p:txBody>
          </p:sp>
        </p:grpSp>
        <p:grpSp>
          <p:nvGrpSpPr>
            <p:cNvPr id="20" name="Group 19">
              <a:extLst>
                <a:ext uri="{FF2B5EF4-FFF2-40B4-BE49-F238E27FC236}">
                  <a16:creationId xmlns:a16="http://schemas.microsoft.com/office/drawing/2014/main" id="{1A3AA94C-3A67-5A40-BD57-5226574963DE}"/>
                </a:ext>
              </a:extLst>
            </p:cNvPr>
            <p:cNvGrpSpPr/>
            <p:nvPr/>
          </p:nvGrpSpPr>
          <p:grpSpPr>
            <a:xfrm>
              <a:off x="866455" y="4558957"/>
              <a:ext cx="2126423" cy="1508708"/>
              <a:chOff x="2551705" y="4283314"/>
              <a:chExt cx="2357003" cy="1508708"/>
            </a:xfrm>
          </p:grpSpPr>
          <p:sp>
            <p:nvSpPr>
              <p:cNvPr id="21" name="TextBox 20">
                <a:extLst>
                  <a:ext uri="{FF2B5EF4-FFF2-40B4-BE49-F238E27FC236}">
                    <a16:creationId xmlns:a16="http://schemas.microsoft.com/office/drawing/2014/main" id="{961BB307-B727-5B46-8735-5B307AA73EAB}"/>
                  </a:ext>
                </a:extLst>
              </p:cNvPr>
              <p:cNvSpPr txBox="1"/>
              <p:nvPr/>
            </p:nvSpPr>
            <p:spPr>
              <a:xfrm>
                <a:off x="2551706" y="4560313"/>
                <a:ext cx="2357002" cy="1231709"/>
              </a:xfrm>
              <a:prstGeom prst="rect">
                <a:avLst/>
              </a:prstGeom>
              <a:noFill/>
            </p:spPr>
            <p:txBody>
              <a:bodyPr wrap="square" rtlCol="0">
                <a:spAutoFit/>
              </a:bodyPr>
              <a:lstStyle/>
              <a:p>
                <a:pPr algn="r"/>
                <a:r>
                  <a:rPr lang="en-US" altLang="ko-KR" sz="1200">
                    <a:solidFill>
                      <a:schemeClr val="tx1">
                        <a:lumMod val="75000"/>
                        <a:lumOff val="25000"/>
                      </a:schemeClr>
                    </a:solidFill>
                    <a:latin typeface="Arial" pitchFamily="34" charset="0"/>
                    <a:cs typeface="Arial" pitchFamily="34" charset="0"/>
                  </a:rPr>
                  <a:t>Lorem ipsum dolor sit </a:t>
                </a:r>
                <a:r>
                  <a:rPr lang="en-US" altLang="ko-KR" sz="1200" err="1">
                    <a:solidFill>
                      <a:schemeClr val="tx1">
                        <a:lumMod val="75000"/>
                        <a:lumOff val="25000"/>
                      </a:schemeClr>
                    </a:solidFill>
                    <a:latin typeface="Arial" pitchFamily="34" charset="0"/>
                    <a:cs typeface="Arial" pitchFamily="34" charset="0"/>
                  </a:rPr>
                  <a:t>ame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consetetu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adipscing</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lit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e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diam</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nonumy</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irmo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tempo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invidun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u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labore</a:t>
                </a:r>
                <a:r>
                  <a:rPr lang="en-US" altLang="ko-KR" sz="1200">
                    <a:solidFill>
                      <a:schemeClr val="tx1">
                        <a:lumMod val="75000"/>
                        <a:lumOff val="25000"/>
                      </a:schemeClr>
                    </a:solidFill>
                    <a:latin typeface="Arial" pitchFamily="34" charset="0"/>
                    <a:cs typeface="Arial" pitchFamily="34" charset="0"/>
                  </a:rPr>
                  <a:t> et dolore magna </a:t>
                </a:r>
                <a:r>
                  <a:rPr lang="en-US" altLang="ko-KR" sz="1200" err="1">
                    <a:solidFill>
                      <a:schemeClr val="tx1">
                        <a:lumMod val="75000"/>
                        <a:lumOff val="25000"/>
                      </a:schemeClr>
                    </a:solidFill>
                    <a:latin typeface="Arial" pitchFamily="34" charset="0"/>
                    <a:cs typeface="Arial" pitchFamily="34" charset="0"/>
                  </a:rPr>
                  <a:t>aliquyam</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ra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e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diam</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voluptua</a:t>
                </a:r>
                <a:r>
                  <a:rPr lang="en-US" altLang="ko-KR" sz="1200">
                    <a:solidFill>
                      <a:schemeClr val="tx1">
                        <a:lumMod val="75000"/>
                        <a:lumOff val="25000"/>
                      </a:schemeClr>
                    </a:solidFill>
                    <a:latin typeface="Arial" pitchFamily="34" charset="0"/>
                    <a:cs typeface="Arial" pitchFamily="34" charset="0"/>
                  </a:rPr>
                  <a:t>. </a:t>
                </a:r>
                <a:endParaRPr lang="ko-KR" altLang="en-US" sz="1200">
                  <a:solidFill>
                    <a:schemeClr val="tx1">
                      <a:lumMod val="65000"/>
                      <a:lumOff val="35000"/>
                    </a:schemeClr>
                  </a:solidFill>
                  <a:latin typeface="Arial" pitchFamily="34" charset="0"/>
                  <a:cs typeface="Arial" pitchFamily="34" charset="0"/>
                </a:endParaRPr>
              </a:p>
            </p:txBody>
          </p:sp>
          <p:sp>
            <p:nvSpPr>
              <p:cNvPr id="22" name="TextBox 21">
                <a:extLst>
                  <a:ext uri="{FF2B5EF4-FFF2-40B4-BE49-F238E27FC236}">
                    <a16:creationId xmlns:a16="http://schemas.microsoft.com/office/drawing/2014/main" id="{53FBF380-383B-2145-B381-3F5D99CE34C5}"/>
                  </a:ext>
                </a:extLst>
              </p:cNvPr>
              <p:cNvSpPr txBox="1"/>
              <p:nvPr/>
            </p:nvSpPr>
            <p:spPr>
              <a:xfrm>
                <a:off x="2551705" y="4283314"/>
                <a:ext cx="2336966" cy="284240"/>
              </a:xfrm>
              <a:prstGeom prst="rect">
                <a:avLst/>
              </a:prstGeom>
              <a:noFill/>
            </p:spPr>
            <p:txBody>
              <a:bodyPr wrap="square" rtlCol="0">
                <a:spAutoFit/>
              </a:bodyPr>
              <a:lstStyle/>
              <a:p>
                <a:pPr algn="r"/>
                <a:r>
                  <a:rPr lang="en-US" altLang="ko-KR" sz="1200" b="1">
                    <a:latin typeface="Arial" pitchFamily="34" charset="0"/>
                    <a:cs typeface="Arial" pitchFamily="34" charset="0"/>
                  </a:rPr>
                  <a:t>Your Text Here</a:t>
                </a:r>
                <a:endParaRPr lang="ko-KR" altLang="en-US" sz="1200" b="1">
                  <a:latin typeface="Arial" pitchFamily="34" charset="0"/>
                  <a:cs typeface="Arial" pitchFamily="34" charset="0"/>
                </a:endParaRPr>
              </a:p>
            </p:txBody>
          </p:sp>
        </p:grpSp>
        <p:sp>
          <p:nvSpPr>
            <p:cNvPr id="23" name="TextBox 22">
              <a:extLst>
                <a:ext uri="{FF2B5EF4-FFF2-40B4-BE49-F238E27FC236}">
                  <a16:creationId xmlns:a16="http://schemas.microsoft.com/office/drawing/2014/main" id="{FD03EE06-7E92-1E4C-8E00-BCC02B26F874}"/>
                </a:ext>
              </a:extLst>
            </p:cNvPr>
            <p:cNvSpPr txBox="1"/>
            <p:nvPr/>
          </p:nvSpPr>
          <p:spPr>
            <a:xfrm>
              <a:off x="1753793" y="3754680"/>
              <a:ext cx="960339" cy="789557"/>
            </a:xfrm>
            <a:prstGeom prst="rect">
              <a:avLst/>
            </a:prstGeom>
            <a:noFill/>
          </p:spPr>
          <p:txBody>
            <a:bodyPr wrap="square" rtlCol="0">
              <a:spAutoFit/>
            </a:bodyPr>
            <a:lstStyle/>
            <a:p>
              <a:pPr algn="ctr"/>
              <a:r>
                <a:rPr lang="en-US" altLang="ko-KR" sz="4400" b="1">
                  <a:ln w="12700">
                    <a:solidFill>
                      <a:schemeClr val="bg1"/>
                    </a:solidFill>
                  </a:ln>
                  <a:solidFill>
                    <a:srgbClr val="8D8EA7"/>
                  </a:solidFill>
                  <a:latin typeface="Arial" pitchFamily="34" charset="0"/>
                  <a:cs typeface="Arial" pitchFamily="34" charset="0"/>
                </a:rPr>
                <a:t>02</a:t>
              </a:r>
              <a:endParaRPr lang="ko-KR" altLang="en-US" sz="4400" b="1">
                <a:ln w="12700">
                  <a:solidFill>
                    <a:schemeClr val="bg1"/>
                  </a:solidFill>
                </a:ln>
                <a:solidFill>
                  <a:srgbClr val="8D8EA7"/>
                </a:solidFill>
                <a:latin typeface="Arial" pitchFamily="34" charset="0"/>
                <a:cs typeface="Arial" pitchFamily="34" charset="0"/>
              </a:endParaRPr>
            </a:p>
          </p:txBody>
        </p:sp>
        <p:sp>
          <p:nvSpPr>
            <p:cNvPr id="24" name="TextBox 23">
              <a:extLst>
                <a:ext uri="{FF2B5EF4-FFF2-40B4-BE49-F238E27FC236}">
                  <a16:creationId xmlns:a16="http://schemas.microsoft.com/office/drawing/2014/main" id="{2AB8113B-E365-3443-8C2C-2557B0FEE81E}"/>
                </a:ext>
              </a:extLst>
            </p:cNvPr>
            <p:cNvSpPr txBox="1"/>
            <p:nvPr/>
          </p:nvSpPr>
          <p:spPr>
            <a:xfrm>
              <a:off x="6447054" y="5239668"/>
              <a:ext cx="960339" cy="789557"/>
            </a:xfrm>
            <a:prstGeom prst="rect">
              <a:avLst/>
            </a:prstGeom>
            <a:noFill/>
          </p:spPr>
          <p:txBody>
            <a:bodyPr wrap="square" rtlCol="0">
              <a:spAutoFit/>
            </a:bodyPr>
            <a:lstStyle/>
            <a:p>
              <a:pPr algn="ctr"/>
              <a:r>
                <a:rPr lang="en-US" altLang="ko-KR" sz="4400" b="1">
                  <a:ln w="12700">
                    <a:solidFill>
                      <a:schemeClr val="bg1"/>
                    </a:solidFill>
                  </a:ln>
                  <a:solidFill>
                    <a:srgbClr val="8D8EA7"/>
                  </a:solidFill>
                  <a:latin typeface="Arial" pitchFamily="34" charset="0"/>
                  <a:cs typeface="Arial" pitchFamily="34" charset="0"/>
                </a:rPr>
                <a:t>03</a:t>
              </a:r>
              <a:endParaRPr lang="ko-KR" altLang="en-US" sz="4400" b="1">
                <a:ln w="12700">
                  <a:solidFill>
                    <a:schemeClr val="bg1"/>
                  </a:solidFill>
                </a:ln>
                <a:solidFill>
                  <a:srgbClr val="8D8EA7"/>
                </a:solidFill>
                <a:latin typeface="Arial" pitchFamily="34" charset="0"/>
                <a:cs typeface="Arial" pitchFamily="34" charset="0"/>
              </a:endParaRPr>
            </a:p>
          </p:txBody>
        </p:sp>
        <p:grpSp>
          <p:nvGrpSpPr>
            <p:cNvPr id="25" name="Group 24">
              <a:extLst>
                <a:ext uri="{FF2B5EF4-FFF2-40B4-BE49-F238E27FC236}">
                  <a16:creationId xmlns:a16="http://schemas.microsoft.com/office/drawing/2014/main" id="{439CB993-EE13-F14C-A658-01576520A76B}"/>
                </a:ext>
              </a:extLst>
            </p:cNvPr>
            <p:cNvGrpSpPr/>
            <p:nvPr/>
          </p:nvGrpSpPr>
          <p:grpSpPr>
            <a:xfrm>
              <a:off x="7299548" y="5162723"/>
              <a:ext cx="2663906" cy="750733"/>
              <a:chOff x="2551705" y="4283314"/>
              <a:chExt cx="2357003" cy="750733"/>
            </a:xfrm>
          </p:grpSpPr>
          <p:sp>
            <p:nvSpPr>
              <p:cNvPr id="26" name="TextBox 25">
                <a:extLst>
                  <a:ext uri="{FF2B5EF4-FFF2-40B4-BE49-F238E27FC236}">
                    <a16:creationId xmlns:a16="http://schemas.microsoft.com/office/drawing/2014/main" id="{E48AA0F8-2814-FC41-BCE1-AC37F2CDAA91}"/>
                  </a:ext>
                </a:extLst>
              </p:cNvPr>
              <p:cNvSpPr txBox="1"/>
              <p:nvPr/>
            </p:nvSpPr>
            <p:spPr>
              <a:xfrm>
                <a:off x="2551706" y="4560313"/>
                <a:ext cx="2357002" cy="473734"/>
              </a:xfrm>
              <a:prstGeom prst="rect">
                <a:avLst/>
              </a:prstGeom>
              <a:noFill/>
            </p:spPr>
            <p:txBody>
              <a:bodyPr wrap="square" rtlCol="0">
                <a:spAutoFit/>
              </a:bodyPr>
              <a:lstStyle/>
              <a:p>
                <a:pPr algn="r"/>
                <a:r>
                  <a:rPr lang="en-US" altLang="ko-KR" sz="1200">
                    <a:solidFill>
                      <a:schemeClr val="tx1">
                        <a:lumMod val="75000"/>
                        <a:lumOff val="25000"/>
                      </a:schemeClr>
                    </a:solidFill>
                    <a:latin typeface="Arial" pitchFamily="34" charset="0"/>
                    <a:cs typeface="Arial" pitchFamily="34" charset="0"/>
                  </a:rPr>
                  <a:t>Lorem ipsum dolor sit </a:t>
                </a:r>
                <a:r>
                  <a:rPr lang="en-US" altLang="ko-KR" sz="1200" err="1">
                    <a:solidFill>
                      <a:schemeClr val="tx1">
                        <a:lumMod val="75000"/>
                        <a:lumOff val="25000"/>
                      </a:schemeClr>
                    </a:solidFill>
                    <a:latin typeface="Arial" pitchFamily="34" charset="0"/>
                    <a:cs typeface="Arial" pitchFamily="34" charset="0"/>
                  </a:rPr>
                  <a:t>amet</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consetetu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adipscing</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elitr</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sed</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diam</a:t>
                </a:r>
                <a:r>
                  <a:rPr lang="en-US" altLang="ko-KR" sz="1200">
                    <a:solidFill>
                      <a:schemeClr val="tx1">
                        <a:lumMod val="75000"/>
                        <a:lumOff val="25000"/>
                      </a:schemeClr>
                    </a:solidFill>
                    <a:latin typeface="Arial" pitchFamily="34" charset="0"/>
                    <a:cs typeface="Arial" pitchFamily="34" charset="0"/>
                  </a:rPr>
                  <a:t> </a:t>
                </a:r>
                <a:r>
                  <a:rPr lang="en-US" altLang="ko-KR" sz="1200" err="1">
                    <a:solidFill>
                      <a:schemeClr val="tx1">
                        <a:lumMod val="75000"/>
                        <a:lumOff val="25000"/>
                      </a:schemeClr>
                    </a:solidFill>
                    <a:latin typeface="Arial" pitchFamily="34" charset="0"/>
                    <a:cs typeface="Arial" pitchFamily="34" charset="0"/>
                  </a:rPr>
                  <a:t>nonumy</a:t>
                </a:r>
                <a:endParaRPr lang="ko-KR" altLang="en-US" sz="1200">
                  <a:solidFill>
                    <a:schemeClr val="tx1">
                      <a:lumMod val="65000"/>
                      <a:lumOff val="35000"/>
                    </a:schemeClr>
                  </a:solidFill>
                  <a:latin typeface="Arial" pitchFamily="34" charset="0"/>
                  <a:cs typeface="Arial" pitchFamily="34" charset="0"/>
                </a:endParaRPr>
              </a:p>
            </p:txBody>
          </p:sp>
          <p:sp>
            <p:nvSpPr>
              <p:cNvPr id="27" name="TextBox 26">
                <a:extLst>
                  <a:ext uri="{FF2B5EF4-FFF2-40B4-BE49-F238E27FC236}">
                    <a16:creationId xmlns:a16="http://schemas.microsoft.com/office/drawing/2014/main" id="{97EFDDC1-CE4C-AF46-A022-7FC7987F17FF}"/>
                  </a:ext>
                </a:extLst>
              </p:cNvPr>
              <p:cNvSpPr txBox="1"/>
              <p:nvPr/>
            </p:nvSpPr>
            <p:spPr>
              <a:xfrm>
                <a:off x="2551705" y="4283314"/>
                <a:ext cx="2336966" cy="284241"/>
              </a:xfrm>
              <a:prstGeom prst="rect">
                <a:avLst/>
              </a:prstGeom>
              <a:noFill/>
            </p:spPr>
            <p:txBody>
              <a:bodyPr wrap="square" rtlCol="0">
                <a:spAutoFit/>
              </a:bodyPr>
              <a:lstStyle/>
              <a:p>
                <a:r>
                  <a:rPr lang="en-US" altLang="ko-KR" sz="1200" b="1">
                    <a:latin typeface="Arial" pitchFamily="34" charset="0"/>
                    <a:cs typeface="Arial" pitchFamily="34" charset="0"/>
                  </a:rPr>
                  <a:t>Your Text Here</a:t>
                </a:r>
                <a:endParaRPr lang="ko-KR" altLang="en-US" sz="1200" b="1">
                  <a:latin typeface="Arial" pitchFamily="34" charset="0"/>
                  <a:cs typeface="Arial" pitchFamily="34" charset="0"/>
                </a:endParaRPr>
              </a:p>
            </p:txBody>
          </p:sp>
        </p:grpSp>
        <p:sp>
          <p:nvSpPr>
            <p:cNvPr id="28" name="Isosceles Triangle 22">
              <a:extLst>
                <a:ext uri="{FF2B5EF4-FFF2-40B4-BE49-F238E27FC236}">
                  <a16:creationId xmlns:a16="http://schemas.microsoft.com/office/drawing/2014/main" id="{DD6DD8FD-387D-3D4B-81C4-87AA8F0859A0}"/>
                </a:ext>
              </a:extLst>
            </p:cNvPr>
            <p:cNvSpPr/>
            <p:nvPr/>
          </p:nvSpPr>
          <p:spPr>
            <a:xfrm rot="19800000">
              <a:off x="5030275" y="5463418"/>
              <a:ext cx="404325" cy="404257"/>
            </a:xfrm>
            <a:custGeom>
              <a:avLst/>
              <a:gdLst/>
              <a:ahLst/>
              <a:cxnLst/>
              <a:rect l="l" t="t" r="r" b="b"/>
              <a:pathLst>
                <a:path w="3948369" h="3947711">
                  <a:moveTo>
                    <a:pt x="1024184" y="1327019"/>
                  </a:moveTo>
                  <a:cubicBezTo>
                    <a:pt x="953964" y="1286477"/>
                    <a:pt x="864174" y="1310536"/>
                    <a:pt x="823632" y="1380756"/>
                  </a:cubicBezTo>
                  <a:cubicBezTo>
                    <a:pt x="783091" y="1450976"/>
                    <a:pt x="807150" y="1540767"/>
                    <a:pt x="877370" y="1581308"/>
                  </a:cubicBezTo>
                  <a:cubicBezTo>
                    <a:pt x="947590" y="1621850"/>
                    <a:pt x="1037380" y="1597790"/>
                    <a:pt x="1077922" y="1527570"/>
                  </a:cubicBezTo>
                  <a:cubicBezTo>
                    <a:pt x="1118463" y="1457350"/>
                    <a:pt x="1094404" y="1367560"/>
                    <a:pt x="1024184" y="1327019"/>
                  </a:cubicBezTo>
                  <a:close/>
                  <a:moveTo>
                    <a:pt x="3610643" y="2228121"/>
                  </a:moveTo>
                  <a:cubicBezTo>
                    <a:pt x="3600833" y="2220477"/>
                    <a:pt x="3589363" y="2214630"/>
                    <a:pt x="3576595" y="2211209"/>
                  </a:cubicBezTo>
                  <a:cubicBezTo>
                    <a:pt x="3525522" y="2197524"/>
                    <a:pt x="3473024" y="2227833"/>
                    <a:pt x="3459339" y="2278906"/>
                  </a:cubicBezTo>
                  <a:cubicBezTo>
                    <a:pt x="3445654" y="2329979"/>
                    <a:pt x="3475964" y="2382476"/>
                    <a:pt x="3527037" y="2396161"/>
                  </a:cubicBezTo>
                  <a:cubicBezTo>
                    <a:pt x="3578110" y="2409846"/>
                    <a:pt x="3630607" y="2379537"/>
                    <a:pt x="3644292" y="2328464"/>
                  </a:cubicBezTo>
                  <a:cubicBezTo>
                    <a:pt x="3654556" y="2290159"/>
                    <a:pt x="3640073" y="2251053"/>
                    <a:pt x="3610643" y="2228121"/>
                  </a:cubicBezTo>
                  <a:close/>
                  <a:moveTo>
                    <a:pt x="3948369" y="2177025"/>
                  </a:moveTo>
                  <a:lnTo>
                    <a:pt x="3902391" y="2247588"/>
                  </a:lnTo>
                  <a:cubicBezTo>
                    <a:pt x="3840166" y="2207044"/>
                    <a:pt x="3769677" y="2184131"/>
                    <a:pt x="3697935" y="2180296"/>
                  </a:cubicBezTo>
                  <a:cubicBezTo>
                    <a:pt x="3737123" y="2226403"/>
                    <a:pt x="3753617" y="2290363"/>
                    <a:pt x="3736768" y="2353243"/>
                  </a:cubicBezTo>
                  <a:cubicBezTo>
                    <a:pt x="3709398" y="2455390"/>
                    <a:pt x="3604404" y="2516008"/>
                    <a:pt x="3502258" y="2488638"/>
                  </a:cubicBezTo>
                  <a:cubicBezTo>
                    <a:pt x="3400111" y="2461268"/>
                    <a:pt x="3339493" y="2356274"/>
                    <a:pt x="3366863" y="2254127"/>
                  </a:cubicBezTo>
                  <a:cubicBezTo>
                    <a:pt x="3381032" y="2201247"/>
                    <a:pt x="3416004" y="2159497"/>
                    <a:pt x="3460818" y="2135698"/>
                  </a:cubicBezTo>
                  <a:cubicBezTo>
                    <a:pt x="3436032" y="2129730"/>
                    <a:pt x="3409996" y="2129302"/>
                    <a:pt x="3383900" y="2133133"/>
                  </a:cubicBezTo>
                  <a:cubicBezTo>
                    <a:pt x="3331988" y="2140756"/>
                    <a:pt x="3285146" y="2164460"/>
                    <a:pt x="3249703" y="2200200"/>
                  </a:cubicBezTo>
                  <a:cubicBezTo>
                    <a:pt x="3299772" y="2410806"/>
                    <a:pt x="3262997" y="2663063"/>
                    <a:pt x="3111944" y="2983361"/>
                  </a:cubicBezTo>
                  <a:cubicBezTo>
                    <a:pt x="2900481" y="3337269"/>
                    <a:pt x="2604169" y="3479398"/>
                    <a:pt x="2264290" y="3473876"/>
                  </a:cubicBezTo>
                  <a:lnTo>
                    <a:pt x="1854414" y="3947711"/>
                  </a:lnTo>
                  <a:lnTo>
                    <a:pt x="1615515" y="3809782"/>
                  </a:lnTo>
                  <a:lnTo>
                    <a:pt x="1764774" y="3379707"/>
                  </a:lnTo>
                  <a:cubicBezTo>
                    <a:pt x="1587770" y="3319643"/>
                    <a:pt x="1405350" y="3232972"/>
                    <a:pt x="1221865" y="3127037"/>
                  </a:cubicBezTo>
                  <a:cubicBezTo>
                    <a:pt x="1120271" y="3068382"/>
                    <a:pt x="1025311" y="3004264"/>
                    <a:pt x="938291" y="2935309"/>
                  </a:cubicBezTo>
                  <a:lnTo>
                    <a:pt x="509476" y="3157353"/>
                  </a:lnTo>
                  <a:lnTo>
                    <a:pt x="247593" y="2999226"/>
                  </a:lnTo>
                  <a:lnTo>
                    <a:pt x="599626" y="2603610"/>
                  </a:lnTo>
                  <a:cubicBezTo>
                    <a:pt x="384783" y="2338553"/>
                    <a:pt x="289709" y="2193107"/>
                    <a:pt x="174176" y="1843897"/>
                  </a:cubicBezTo>
                  <a:lnTo>
                    <a:pt x="0" y="1381252"/>
                  </a:lnTo>
                  <a:lnTo>
                    <a:pt x="107522" y="1111013"/>
                  </a:lnTo>
                  <a:cubicBezTo>
                    <a:pt x="159316" y="1021302"/>
                    <a:pt x="259400" y="1099908"/>
                    <a:pt x="349113" y="1151702"/>
                  </a:cubicBezTo>
                  <a:lnTo>
                    <a:pt x="486246" y="1217020"/>
                  </a:lnTo>
                  <a:cubicBezTo>
                    <a:pt x="628225" y="1148493"/>
                    <a:pt x="768311" y="1094036"/>
                    <a:pt x="908721" y="1057007"/>
                  </a:cubicBezTo>
                  <a:cubicBezTo>
                    <a:pt x="1011476" y="947354"/>
                    <a:pt x="1021990" y="857768"/>
                    <a:pt x="976491" y="611195"/>
                  </a:cubicBezTo>
                  <a:cubicBezTo>
                    <a:pt x="1335325" y="817429"/>
                    <a:pt x="1326102" y="899150"/>
                    <a:pt x="1389221" y="1007976"/>
                  </a:cubicBezTo>
                  <a:cubicBezTo>
                    <a:pt x="1615807" y="1002289"/>
                    <a:pt x="1836555" y="1044211"/>
                    <a:pt x="2066828" y="1133629"/>
                  </a:cubicBezTo>
                  <a:cubicBezTo>
                    <a:pt x="2047082" y="1203277"/>
                    <a:pt x="2048342" y="1275855"/>
                    <a:pt x="2067080" y="1343672"/>
                  </a:cubicBezTo>
                  <a:cubicBezTo>
                    <a:pt x="2009772" y="1325329"/>
                    <a:pt x="1950048" y="1312156"/>
                    <a:pt x="1888409" y="1302802"/>
                  </a:cubicBezTo>
                  <a:lnTo>
                    <a:pt x="1831983" y="1466454"/>
                  </a:lnTo>
                  <a:cubicBezTo>
                    <a:pt x="2171713" y="1545279"/>
                    <a:pt x="2334158" y="1639067"/>
                    <a:pt x="2533793" y="1871644"/>
                  </a:cubicBezTo>
                  <a:lnTo>
                    <a:pt x="2655130" y="1752801"/>
                  </a:lnTo>
                  <a:cubicBezTo>
                    <a:pt x="2623271" y="1710443"/>
                    <a:pt x="2589631" y="1671169"/>
                    <a:pt x="2553401" y="1635762"/>
                  </a:cubicBezTo>
                  <a:cubicBezTo>
                    <a:pt x="2626342" y="1620812"/>
                    <a:pt x="2694472" y="1585039"/>
                    <a:pt x="2748239" y="1530606"/>
                  </a:cubicBezTo>
                  <a:cubicBezTo>
                    <a:pt x="2959801" y="1699876"/>
                    <a:pt x="3152007" y="1908367"/>
                    <a:pt x="3223775" y="2111154"/>
                  </a:cubicBezTo>
                  <a:cubicBezTo>
                    <a:pt x="3265103" y="2076949"/>
                    <a:pt x="3316077" y="2055387"/>
                    <a:pt x="3371292" y="2047279"/>
                  </a:cubicBezTo>
                  <a:cubicBezTo>
                    <a:pt x="3454199" y="2035105"/>
                    <a:pt x="3536665" y="2054733"/>
                    <a:pt x="3603728" y="2099347"/>
                  </a:cubicBezTo>
                  <a:cubicBezTo>
                    <a:pt x="3679156" y="2088543"/>
                    <a:pt x="3756158" y="2095770"/>
                    <a:pt x="3828792" y="2119628"/>
                  </a:cubicBezTo>
                  <a:cubicBezTo>
                    <a:pt x="3870454" y="2133311"/>
                    <a:pt x="3910678" y="2152466"/>
                    <a:pt x="3948369" y="2177025"/>
                  </a:cubicBezTo>
                  <a:close/>
                  <a:moveTo>
                    <a:pt x="2661401" y="883270"/>
                  </a:moveTo>
                  <a:cubicBezTo>
                    <a:pt x="2838812" y="985699"/>
                    <a:pt x="2899598" y="1212554"/>
                    <a:pt x="2797170" y="1389966"/>
                  </a:cubicBezTo>
                  <a:cubicBezTo>
                    <a:pt x="2694741" y="1567377"/>
                    <a:pt x="2467885" y="1628163"/>
                    <a:pt x="2290474" y="1525735"/>
                  </a:cubicBezTo>
                  <a:cubicBezTo>
                    <a:pt x="2113063" y="1423306"/>
                    <a:pt x="2052277" y="1196450"/>
                    <a:pt x="2154705" y="1019039"/>
                  </a:cubicBezTo>
                  <a:cubicBezTo>
                    <a:pt x="2257134" y="841627"/>
                    <a:pt x="2483990" y="780842"/>
                    <a:pt x="2661401" y="883270"/>
                  </a:cubicBezTo>
                  <a:close/>
                  <a:moveTo>
                    <a:pt x="2494139" y="49756"/>
                  </a:moveTo>
                  <a:cubicBezTo>
                    <a:pt x="2671551" y="152184"/>
                    <a:pt x="2732337" y="379040"/>
                    <a:pt x="2629908" y="556451"/>
                  </a:cubicBezTo>
                  <a:cubicBezTo>
                    <a:pt x="2527480" y="733863"/>
                    <a:pt x="2300624" y="794648"/>
                    <a:pt x="2123212" y="692220"/>
                  </a:cubicBezTo>
                  <a:cubicBezTo>
                    <a:pt x="1945801" y="589791"/>
                    <a:pt x="1885015" y="362936"/>
                    <a:pt x="1987444" y="185524"/>
                  </a:cubicBezTo>
                  <a:cubicBezTo>
                    <a:pt x="2089872" y="8113"/>
                    <a:pt x="2316728" y="-52673"/>
                    <a:pt x="2494139" y="497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9" name="Donut 15">
              <a:extLst>
                <a:ext uri="{FF2B5EF4-FFF2-40B4-BE49-F238E27FC236}">
                  <a16:creationId xmlns:a16="http://schemas.microsoft.com/office/drawing/2014/main" id="{220CBE5F-3AC6-9A47-97CB-BE73192C1FEE}"/>
                </a:ext>
              </a:extLst>
            </p:cNvPr>
            <p:cNvSpPr/>
            <p:nvPr/>
          </p:nvSpPr>
          <p:spPr>
            <a:xfrm>
              <a:off x="5708099" y="3230663"/>
              <a:ext cx="429048" cy="480235"/>
            </a:xfrm>
            <a:custGeom>
              <a:avLst/>
              <a:gdLst/>
              <a:ahLst/>
              <a:cxnLst/>
              <a:rect l="l" t="t" r="r" b="b"/>
              <a:pathLst>
                <a:path w="3821708" h="3795110">
                  <a:moveTo>
                    <a:pt x="1910854" y="903842"/>
                  </a:moveTo>
                  <a:lnTo>
                    <a:pt x="1793831" y="1129420"/>
                  </a:lnTo>
                  <a:lnTo>
                    <a:pt x="1791613" y="1129420"/>
                  </a:lnTo>
                  <a:lnTo>
                    <a:pt x="1791892" y="1133157"/>
                  </a:lnTo>
                  <a:lnTo>
                    <a:pt x="1791613" y="1133695"/>
                  </a:lnTo>
                  <a:lnTo>
                    <a:pt x="1791933" y="1133695"/>
                  </a:lnTo>
                  <a:lnTo>
                    <a:pt x="1833002" y="1683464"/>
                  </a:lnTo>
                  <a:cubicBezTo>
                    <a:pt x="1744939" y="1714584"/>
                    <a:pt x="1682254" y="1798749"/>
                    <a:pt x="1682254" y="1897555"/>
                  </a:cubicBezTo>
                  <a:cubicBezTo>
                    <a:pt x="1682254" y="2023808"/>
                    <a:pt x="1784602" y="2126156"/>
                    <a:pt x="1910855" y="2126156"/>
                  </a:cubicBezTo>
                  <a:cubicBezTo>
                    <a:pt x="1975561" y="2126156"/>
                    <a:pt x="2033988" y="2099273"/>
                    <a:pt x="2075304" y="2055803"/>
                  </a:cubicBezTo>
                  <a:lnTo>
                    <a:pt x="2443125" y="2288080"/>
                  </a:lnTo>
                  <a:lnTo>
                    <a:pt x="2443003" y="2288309"/>
                  </a:lnTo>
                  <a:lnTo>
                    <a:pt x="2443494" y="2288314"/>
                  </a:lnTo>
                  <a:lnTo>
                    <a:pt x="2446061" y="2289935"/>
                  </a:lnTo>
                  <a:lnTo>
                    <a:pt x="2446904" y="2288348"/>
                  </a:lnTo>
                  <a:lnTo>
                    <a:pt x="2652725" y="2290436"/>
                  </a:lnTo>
                  <a:lnTo>
                    <a:pt x="2535900" y="2120971"/>
                  </a:lnTo>
                  <a:lnTo>
                    <a:pt x="2536744" y="2119385"/>
                  </a:lnTo>
                  <a:lnTo>
                    <a:pt x="2533964" y="2118163"/>
                  </a:lnTo>
                  <a:lnTo>
                    <a:pt x="2533686" y="2117759"/>
                  </a:lnTo>
                  <a:lnTo>
                    <a:pt x="2533565" y="2117988"/>
                  </a:lnTo>
                  <a:lnTo>
                    <a:pt x="2134900" y="1942755"/>
                  </a:lnTo>
                  <a:cubicBezTo>
                    <a:pt x="2137918" y="1928156"/>
                    <a:pt x="2139456" y="1913035"/>
                    <a:pt x="2139456" y="1897555"/>
                  </a:cubicBezTo>
                  <a:cubicBezTo>
                    <a:pt x="2139456" y="1798748"/>
                    <a:pt x="2076770" y="1714583"/>
                    <a:pt x="1988706" y="1683463"/>
                  </a:cubicBezTo>
                  <a:lnTo>
                    <a:pt x="2029775" y="1133695"/>
                  </a:lnTo>
                  <a:lnTo>
                    <a:pt x="2030094" y="1133695"/>
                  </a:lnTo>
                  <a:lnTo>
                    <a:pt x="2029815" y="1133157"/>
                  </a:lnTo>
                  <a:lnTo>
                    <a:pt x="2030094" y="1129420"/>
                  </a:lnTo>
                  <a:lnTo>
                    <a:pt x="2027877" y="1129420"/>
                  </a:lnTo>
                  <a:close/>
                  <a:moveTo>
                    <a:pt x="1910854" y="565406"/>
                  </a:moveTo>
                  <a:cubicBezTo>
                    <a:pt x="2646579" y="565406"/>
                    <a:pt x="3243002" y="1161829"/>
                    <a:pt x="3243002" y="1897554"/>
                  </a:cubicBezTo>
                  <a:cubicBezTo>
                    <a:pt x="3243002" y="2633279"/>
                    <a:pt x="2646579" y="3229702"/>
                    <a:pt x="1910854" y="3229702"/>
                  </a:cubicBezTo>
                  <a:cubicBezTo>
                    <a:pt x="1175129" y="3229702"/>
                    <a:pt x="578706" y="2633279"/>
                    <a:pt x="578706" y="1897554"/>
                  </a:cubicBezTo>
                  <a:cubicBezTo>
                    <a:pt x="578706" y="1161829"/>
                    <a:pt x="1175129" y="565406"/>
                    <a:pt x="1910854" y="565406"/>
                  </a:cubicBezTo>
                  <a:close/>
                  <a:moveTo>
                    <a:pt x="1766837" y="367010"/>
                  </a:moveTo>
                  <a:cubicBezTo>
                    <a:pt x="1050362" y="432397"/>
                    <a:pt x="475174" y="981146"/>
                    <a:pt x="377476" y="1681610"/>
                  </a:cubicBezTo>
                  <a:lnTo>
                    <a:pt x="426306" y="1681610"/>
                  </a:lnTo>
                  <a:cubicBezTo>
                    <a:pt x="510474" y="1681610"/>
                    <a:pt x="578706" y="1746088"/>
                    <a:pt x="578706" y="1825626"/>
                  </a:cubicBezTo>
                  <a:cubicBezTo>
                    <a:pt x="578706" y="1905164"/>
                    <a:pt x="510474" y="1969642"/>
                    <a:pt x="426306" y="1969642"/>
                  </a:cubicBezTo>
                  <a:lnTo>
                    <a:pt x="364094" y="1969642"/>
                  </a:lnTo>
                  <a:cubicBezTo>
                    <a:pt x="398055" y="2738400"/>
                    <a:pt x="1003246" y="3359660"/>
                    <a:pt x="1769417" y="3427809"/>
                  </a:cubicBezTo>
                  <a:lnTo>
                    <a:pt x="1769417" y="3382101"/>
                  </a:lnTo>
                  <a:cubicBezTo>
                    <a:pt x="1769417" y="3297933"/>
                    <a:pt x="1833895" y="3229701"/>
                    <a:pt x="1913433" y="3229701"/>
                  </a:cubicBezTo>
                  <a:cubicBezTo>
                    <a:pt x="1992971" y="3229701"/>
                    <a:pt x="2057449" y="3297933"/>
                    <a:pt x="2057449" y="3382101"/>
                  </a:cubicBezTo>
                  <a:lnTo>
                    <a:pt x="2057449" y="3427707"/>
                  </a:lnTo>
                  <a:cubicBezTo>
                    <a:pt x="2804164" y="3358467"/>
                    <a:pt x="3396856" y="2764020"/>
                    <a:pt x="3455018" y="2020616"/>
                  </a:cubicBezTo>
                  <a:lnTo>
                    <a:pt x="3395402" y="2020616"/>
                  </a:lnTo>
                  <a:cubicBezTo>
                    <a:pt x="3311234" y="2020616"/>
                    <a:pt x="3243002" y="1956138"/>
                    <a:pt x="3243002" y="1876600"/>
                  </a:cubicBezTo>
                  <a:cubicBezTo>
                    <a:pt x="3243002" y="1797062"/>
                    <a:pt x="3311234" y="1732584"/>
                    <a:pt x="3395402" y="1732584"/>
                  </a:cubicBezTo>
                  <a:lnTo>
                    <a:pt x="3451747" y="1732584"/>
                  </a:lnTo>
                  <a:cubicBezTo>
                    <a:pt x="3374444" y="1008025"/>
                    <a:pt x="2788738" y="434055"/>
                    <a:pt x="2054869" y="367632"/>
                  </a:cubicBezTo>
                  <a:lnTo>
                    <a:pt x="2054869" y="407296"/>
                  </a:lnTo>
                  <a:cubicBezTo>
                    <a:pt x="2054869" y="491464"/>
                    <a:pt x="1990391" y="559696"/>
                    <a:pt x="1910853" y="559696"/>
                  </a:cubicBezTo>
                  <a:cubicBezTo>
                    <a:pt x="1831315" y="559696"/>
                    <a:pt x="1766837" y="491464"/>
                    <a:pt x="1766837" y="407296"/>
                  </a:cubicBezTo>
                  <a:close/>
                  <a:moveTo>
                    <a:pt x="1910854" y="0"/>
                  </a:moveTo>
                  <a:cubicBezTo>
                    <a:pt x="2966190" y="0"/>
                    <a:pt x="3821708" y="849564"/>
                    <a:pt x="3821708" y="1897555"/>
                  </a:cubicBezTo>
                  <a:cubicBezTo>
                    <a:pt x="3821708" y="2945546"/>
                    <a:pt x="2966190" y="3795110"/>
                    <a:pt x="1910854" y="3795110"/>
                  </a:cubicBezTo>
                  <a:cubicBezTo>
                    <a:pt x="855518" y="3795110"/>
                    <a:pt x="0" y="2945546"/>
                    <a:pt x="0" y="1897555"/>
                  </a:cubicBezTo>
                  <a:cubicBezTo>
                    <a:pt x="0" y="849564"/>
                    <a:pt x="855518" y="0"/>
                    <a:pt x="19108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0" name="Oval 21">
              <a:extLst>
                <a:ext uri="{FF2B5EF4-FFF2-40B4-BE49-F238E27FC236}">
                  <a16:creationId xmlns:a16="http://schemas.microsoft.com/office/drawing/2014/main" id="{104138C5-A996-3F4E-B758-EA1404FC8C3C}"/>
                </a:ext>
              </a:extLst>
            </p:cNvPr>
            <p:cNvSpPr/>
            <p:nvPr/>
          </p:nvSpPr>
          <p:spPr>
            <a:xfrm rot="20700000">
              <a:off x="3008022" y="3964879"/>
              <a:ext cx="398254" cy="349040"/>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Tree>
    <p:extLst>
      <p:ext uri="{BB962C8B-B14F-4D97-AF65-F5344CB8AC3E}">
        <p14:creationId xmlns:p14="http://schemas.microsoft.com/office/powerpoint/2010/main" val="48449666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2F6253-D851-2046-A286-8AE7440DA374}"/>
              </a:ext>
            </a:extLst>
          </p:cNvPr>
          <p:cNvSpPr>
            <a:spLocks noGrp="1"/>
          </p:cNvSpPr>
          <p:nvPr>
            <p:ph type="sldNum" sz="quarter" idx="4"/>
          </p:nvPr>
        </p:nvSpPr>
        <p:spPr/>
        <p:txBody>
          <a:bodyPr/>
          <a:lstStyle/>
          <a:p>
            <a:fld id="{3D966009-6E5A-4F8C-8CA7-E37AFBF5FB92}" type="slidenum">
              <a:rPr lang="en-US" smtClean="0"/>
              <a:t>96</a:t>
            </a:fld>
            <a:endParaRPr lang="en-US"/>
          </a:p>
        </p:txBody>
      </p:sp>
      <p:sp>
        <p:nvSpPr>
          <p:cNvPr id="3" name="Title 2">
            <a:extLst>
              <a:ext uri="{FF2B5EF4-FFF2-40B4-BE49-F238E27FC236}">
                <a16:creationId xmlns:a16="http://schemas.microsoft.com/office/drawing/2014/main" id="{C2C9DAE8-FC21-4F4F-A3C4-1044AED48BC4}"/>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45730AC3-4BE8-7844-805E-8B8A56894D8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9F7A2907-C4D1-4646-AE37-70F9C9A75E28}"/>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DB6F329C-5326-DB4A-8186-540EE967C706}"/>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113ED945-4CAB-4A48-8447-E70522F3FDAE}"/>
              </a:ext>
            </a:extLst>
          </p:cNvPr>
          <p:cNvSpPr>
            <a:spLocks noGrp="1"/>
          </p:cNvSpPr>
          <p:nvPr>
            <p:ph sz="quarter" idx="14"/>
          </p:nvPr>
        </p:nvSpPr>
        <p:spPr/>
        <p:txBody>
          <a:bodyPr/>
          <a:lstStyle/>
          <a:p>
            <a:endParaRPr lang="en-GB"/>
          </a:p>
        </p:txBody>
      </p:sp>
      <p:grpSp>
        <p:nvGrpSpPr>
          <p:cNvPr id="9" name="그룹 28">
            <a:extLst>
              <a:ext uri="{FF2B5EF4-FFF2-40B4-BE49-F238E27FC236}">
                <a16:creationId xmlns:a16="http://schemas.microsoft.com/office/drawing/2014/main" id="{4374A8DD-F999-CB4E-B0A4-5124EB99319D}"/>
              </a:ext>
            </a:extLst>
          </p:cNvPr>
          <p:cNvGrpSpPr>
            <a:grpSpLocks noChangeAspect="1"/>
          </p:cNvGrpSpPr>
          <p:nvPr/>
        </p:nvGrpSpPr>
        <p:grpSpPr>
          <a:xfrm>
            <a:off x="1874216" y="4889305"/>
            <a:ext cx="836344" cy="720000"/>
            <a:chOff x="7521194" y="5284915"/>
            <a:chExt cx="1137987" cy="979683"/>
          </a:xfrm>
        </p:grpSpPr>
        <p:grpSp>
          <p:nvGrpSpPr>
            <p:cNvPr id="10" name="Group 7">
              <a:extLst>
                <a:ext uri="{FF2B5EF4-FFF2-40B4-BE49-F238E27FC236}">
                  <a16:creationId xmlns:a16="http://schemas.microsoft.com/office/drawing/2014/main" id="{F4D22EEF-EE0F-0A43-A6B5-99D8D156C4A2}"/>
                </a:ext>
              </a:extLst>
            </p:cNvPr>
            <p:cNvGrpSpPr/>
            <p:nvPr/>
          </p:nvGrpSpPr>
          <p:grpSpPr>
            <a:xfrm>
              <a:off x="7521194" y="5284915"/>
              <a:ext cx="1137987" cy="979683"/>
              <a:chOff x="5580112" y="4160675"/>
              <a:chExt cx="2016224" cy="1735751"/>
            </a:xfrm>
          </p:grpSpPr>
          <p:sp>
            <p:nvSpPr>
              <p:cNvPr id="12" name="Trapezoid 1">
                <a:extLst>
                  <a:ext uri="{FF2B5EF4-FFF2-40B4-BE49-F238E27FC236}">
                    <a16:creationId xmlns:a16="http://schemas.microsoft.com/office/drawing/2014/main" id="{12B547C2-11DB-5248-BEB3-1A5F5FC54DC9}"/>
                  </a:ext>
                </a:extLst>
              </p:cNvPr>
              <p:cNvSpPr/>
              <p:nvPr/>
            </p:nvSpPr>
            <p:spPr>
              <a:xfrm rot="10800000">
                <a:off x="5796136" y="4653136"/>
                <a:ext cx="1584176" cy="1243290"/>
              </a:xfrm>
              <a:custGeom>
                <a:avLst/>
                <a:gdLst>
                  <a:gd name="connsiteX0" fmla="*/ 0 w 1584176"/>
                  <a:gd name="connsiteY0" fmla="*/ 1216152 h 1216152"/>
                  <a:gd name="connsiteX1" fmla="*/ 304038 w 1584176"/>
                  <a:gd name="connsiteY1" fmla="*/ 0 h 1216152"/>
                  <a:gd name="connsiteX2" fmla="*/ 1280138 w 1584176"/>
                  <a:gd name="connsiteY2" fmla="*/ 0 h 1216152"/>
                  <a:gd name="connsiteX3" fmla="*/ 1584176 w 1584176"/>
                  <a:gd name="connsiteY3" fmla="*/ 1216152 h 1216152"/>
                  <a:gd name="connsiteX4" fmla="*/ 0 w 1584176"/>
                  <a:gd name="connsiteY4" fmla="*/ 1216152 h 1216152"/>
                  <a:gd name="connsiteX0" fmla="*/ 0 w 1584176"/>
                  <a:gd name="connsiteY0" fmla="*/ 1235792 h 1235792"/>
                  <a:gd name="connsiteX1" fmla="*/ 304038 w 1584176"/>
                  <a:gd name="connsiteY1" fmla="*/ 19640 h 1235792"/>
                  <a:gd name="connsiteX2" fmla="*/ 1280138 w 1584176"/>
                  <a:gd name="connsiteY2" fmla="*/ 19640 h 1235792"/>
                  <a:gd name="connsiteX3" fmla="*/ 1584176 w 1584176"/>
                  <a:gd name="connsiteY3" fmla="*/ 1235792 h 1235792"/>
                  <a:gd name="connsiteX4" fmla="*/ 0 w 1584176"/>
                  <a:gd name="connsiteY4" fmla="*/ 1235792 h 1235792"/>
                  <a:gd name="connsiteX0" fmla="*/ 0 w 1584176"/>
                  <a:gd name="connsiteY0" fmla="*/ 1243290 h 1243290"/>
                  <a:gd name="connsiteX1" fmla="*/ 304038 w 1584176"/>
                  <a:gd name="connsiteY1" fmla="*/ 27138 h 1243290"/>
                  <a:gd name="connsiteX2" fmla="*/ 1280138 w 1584176"/>
                  <a:gd name="connsiteY2" fmla="*/ 27138 h 1243290"/>
                  <a:gd name="connsiteX3" fmla="*/ 1584176 w 1584176"/>
                  <a:gd name="connsiteY3" fmla="*/ 1243290 h 1243290"/>
                  <a:gd name="connsiteX4" fmla="*/ 0 w 1584176"/>
                  <a:gd name="connsiteY4" fmla="*/ 1243290 h 1243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176" h="1243290">
                    <a:moveTo>
                      <a:pt x="0" y="1243290"/>
                    </a:moveTo>
                    <a:lnTo>
                      <a:pt x="304038" y="27138"/>
                    </a:lnTo>
                    <a:cubicBezTo>
                      <a:pt x="629405" y="-57"/>
                      <a:pt x="941174" y="-17053"/>
                      <a:pt x="1280138" y="27138"/>
                    </a:cubicBezTo>
                    <a:lnTo>
                      <a:pt x="1584176" y="1243290"/>
                    </a:lnTo>
                    <a:lnTo>
                      <a:pt x="0" y="1243290"/>
                    </a:lnTo>
                    <a:close/>
                  </a:path>
                </a:pathLst>
              </a:cu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3" name="Trapezoid 6">
                <a:extLst>
                  <a:ext uri="{FF2B5EF4-FFF2-40B4-BE49-F238E27FC236}">
                    <a16:creationId xmlns:a16="http://schemas.microsoft.com/office/drawing/2014/main" id="{09F47BC1-128D-5449-B643-BCEB567B67FA}"/>
                  </a:ext>
                </a:extLst>
              </p:cNvPr>
              <p:cNvSpPr/>
              <p:nvPr/>
            </p:nvSpPr>
            <p:spPr>
              <a:xfrm rot="10800000">
                <a:off x="5580112" y="4312147"/>
                <a:ext cx="2016224" cy="471979"/>
              </a:xfrm>
              <a:custGeom>
                <a:avLst/>
                <a:gdLst>
                  <a:gd name="connsiteX0" fmla="*/ 0 w 2016224"/>
                  <a:gd name="connsiteY0" fmla="*/ 360040 h 360040"/>
                  <a:gd name="connsiteX1" fmla="*/ 128109 w 2016224"/>
                  <a:gd name="connsiteY1" fmla="*/ 0 h 360040"/>
                  <a:gd name="connsiteX2" fmla="*/ 1888115 w 2016224"/>
                  <a:gd name="connsiteY2" fmla="*/ 0 h 360040"/>
                  <a:gd name="connsiteX3" fmla="*/ 2016224 w 2016224"/>
                  <a:gd name="connsiteY3" fmla="*/ 360040 h 360040"/>
                  <a:gd name="connsiteX4" fmla="*/ 0 w 2016224"/>
                  <a:gd name="connsiteY4" fmla="*/ 360040 h 360040"/>
                  <a:gd name="connsiteX0" fmla="*/ 0 w 2016224"/>
                  <a:gd name="connsiteY0" fmla="*/ 431046 h 431046"/>
                  <a:gd name="connsiteX1" fmla="*/ 128109 w 2016224"/>
                  <a:gd name="connsiteY1" fmla="*/ 71006 h 431046"/>
                  <a:gd name="connsiteX2" fmla="*/ 1888115 w 2016224"/>
                  <a:gd name="connsiteY2" fmla="*/ 71006 h 431046"/>
                  <a:gd name="connsiteX3" fmla="*/ 2016224 w 2016224"/>
                  <a:gd name="connsiteY3" fmla="*/ 431046 h 431046"/>
                  <a:gd name="connsiteX4" fmla="*/ 0 w 2016224"/>
                  <a:gd name="connsiteY4" fmla="*/ 431046 h 431046"/>
                  <a:gd name="connsiteX0" fmla="*/ 0 w 2016224"/>
                  <a:gd name="connsiteY0" fmla="*/ 458241 h 458241"/>
                  <a:gd name="connsiteX1" fmla="*/ 128109 w 2016224"/>
                  <a:gd name="connsiteY1" fmla="*/ 98201 h 458241"/>
                  <a:gd name="connsiteX2" fmla="*/ 1888115 w 2016224"/>
                  <a:gd name="connsiteY2" fmla="*/ 98201 h 458241"/>
                  <a:gd name="connsiteX3" fmla="*/ 2016224 w 2016224"/>
                  <a:gd name="connsiteY3" fmla="*/ 458241 h 458241"/>
                  <a:gd name="connsiteX4" fmla="*/ 0 w 2016224"/>
                  <a:gd name="connsiteY4" fmla="*/ 458241 h 458241"/>
                  <a:gd name="connsiteX0" fmla="*/ 0 w 2016224"/>
                  <a:gd name="connsiteY0" fmla="*/ 465296 h 465296"/>
                  <a:gd name="connsiteX1" fmla="*/ 128109 w 2016224"/>
                  <a:gd name="connsiteY1" fmla="*/ 105256 h 465296"/>
                  <a:gd name="connsiteX2" fmla="*/ 1888115 w 2016224"/>
                  <a:gd name="connsiteY2" fmla="*/ 105256 h 465296"/>
                  <a:gd name="connsiteX3" fmla="*/ 2016224 w 2016224"/>
                  <a:gd name="connsiteY3" fmla="*/ 465296 h 465296"/>
                  <a:gd name="connsiteX4" fmla="*/ 0 w 2016224"/>
                  <a:gd name="connsiteY4" fmla="*/ 465296 h 465296"/>
                  <a:gd name="connsiteX0" fmla="*/ 0 w 2016224"/>
                  <a:gd name="connsiteY0" fmla="*/ 471979 h 471979"/>
                  <a:gd name="connsiteX1" fmla="*/ 128109 w 2016224"/>
                  <a:gd name="connsiteY1" fmla="*/ 111939 h 471979"/>
                  <a:gd name="connsiteX2" fmla="*/ 1888115 w 2016224"/>
                  <a:gd name="connsiteY2" fmla="*/ 111939 h 471979"/>
                  <a:gd name="connsiteX3" fmla="*/ 2016224 w 2016224"/>
                  <a:gd name="connsiteY3" fmla="*/ 471979 h 471979"/>
                  <a:gd name="connsiteX4" fmla="*/ 0 w 2016224"/>
                  <a:gd name="connsiteY4" fmla="*/ 471979 h 47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224" h="471979">
                    <a:moveTo>
                      <a:pt x="0" y="471979"/>
                    </a:moveTo>
                    <a:lnTo>
                      <a:pt x="128109" y="111939"/>
                    </a:lnTo>
                    <a:cubicBezTo>
                      <a:pt x="572010" y="-7034"/>
                      <a:pt x="1260655" y="-64822"/>
                      <a:pt x="1888115" y="111939"/>
                    </a:cubicBezTo>
                    <a:lnTo>
                      <a:pt x="2016224" y="471979"/>
                    </a:lnTo>
                    <a:lnTo>
                      <a:pt x="0" y="471979"/>
                    </a:lnTo>
                    <a:close/>
                  </a:path>
                </a:pathLst>
              </a:cu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Oval 5">
                <a:extLst>
                  <a:ext uri="{FF2B5EF4-FFF2-40B4-BE49-F238E27FC236}">
                    <a16:creationId xmlns:a16="http://schemas.microsoft.com/office/drawing/2014/main" id="{5D8B3C71-F0DF-8645-98FF-5535CD4CB0CA}"/>
                  </a:ext>
                </a:extLst>
              </p:cNvPr>
              <p:cNvSpPr/>
              <p:nvPr/>
            </p:nvSpPr>
            <p:spPr>
              <a:xfrm>
                <a:off x="5580223" y="4160675"/>
                <a:ext cx="2016000" cy="302944"/>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11" name="Chord 23">
              <a:extLst>
                <a:ext uri="{FF2B5EF4-FFF2-40B4-BE49-F238E27FC236}">
                  <a16:creationId xmlns:a16="http://schemas.microsoft.com/office/drawing/2014/main" id="{D241FC72-149D-594E-A67E-7D30AC073012}"/>
                </a:ext>
              </a:extLst>
            </p:cNvPr>
            <p:cNvSpPr/>
            <p:nvPr/>
          </p:nvSpPr>
          <p:spPr>
            <a:xfrm>
              <a:off x="7788585" y="5306768"/>
              <a:ext cx="578589" cy="141955"/>
            </a:xfrm>
            <a:custGeom>
              <a:avLst/>
              <a:gdLst>
                <a:gd name="connsiteX0" fmla="*/ 115433 w 914400"/>
                <a:gd name="connsiteY0" fmla="*/ 153510 h 914400"/>
                <a:gd name="connsiteX1" fmla="*/ 462323 w 914400"/>
                <a:gd name="connsiteY1" fmla="*/ 28 h 914400"/>
                <a:gd name="connsiteX2" fmla="*/ 805686 w 914400"/>
                <a:gd name="connsiteY2" fmla="*/ 161244 h 914400"/>
                <a:gd name="connsiteX3" fmla="*/ 115433 w 914400"/>
                <a:gd name="connsiteY3" fmla="*/ 153510 h 914400"/>
                <a:gd name="connsiteX0" fmla="*/ 0 w 723591"/>
                <a:gd name="connsiteY0" fmla="*/ 177315 h 177532"/>
                <a:gd name="connsiteX1" fmla="*/ 380228 w 723591"/>
                <a:gd name="connsiteY1" fmla="*/ 21 h 177532"/>
                <a:gd name="connsiteX2" fmla="*/ 723591 w 723591"/>
                <a:gd name="connsiteY2" fmla="*/ 161237 h 177532"/>
                <a:gd name="connsiteX3" fmla="*/ 0 w 723591"/>
                <a:gd name="connsiteY3" fmla="*/ 177315 h 177532"/>
                <a:gd name="connsiteX0" fmla="*/ 0 w 759310"/>
                <a:gd name="connsiteY0" fmla="*/ 177315 h 185049"/>
                <a:gd name="connsiteX1" fmla="*/ 380228 w 759310"/>
                <a:gd name="connsiteY1" fmla="*/ 21 h 185049"/>
                <a:gd name="connsiteX2" fmla="*/ 759310 w 759310"/>
                <a:gd name="connsiteY2" fmla="*/ 185049 h 185049"/>
                <a:gd name="connsiteX3" fmla="*/ 0 w 759310"/>
                <a:gd name="connsiteY3" fmla="*/ 177315 h 185049"/>
                <a:gd name="connsiteX0" fmla="*/ 0 w 759310"/>
                <a:gd name="connsiteY0" fmla="*/ 177315 h 188144"/>
                <a:gd name="connsiteX1" fmla="*/ 380228 w 759310"/>
                <a:gd name="connsiteY1" fmla="*/ 21 h 188144"/>
                <a:gd name="connsiteX2" fmla="*/ 759310 w 759310"/>
                <a:gd name="connsiteY2" fmla="*/ 185049 h 188144"/>
                <a:gd name="connsiteX3" fmla="*/ 0 w 759310"/>
                <a:gd name="connsiteY3" fmla="*/ 177315 h 188144"/>
                <a:gd name="connsiteX0" fmla="*/ 0 w 759310"/>
                <a:gd name="connsiteY0" fmla="*/ 177315 h 191233"/>
                <a:gd name="connsiteX1" fmla="*/ 380228 w 759310"/>
                <a:gd name="connsiteY1" fmla="*/ 21 h 191233"/>
                <a:gd name="connsiteX2" fmla="*/ 759310 w 759310"/>
                <a:gd name="connsiteY2" fmla="*/ 185049 h 191233"/>
                <a:gd name="connsiteX3" fmla="*/ 0 w 759310"/>
                <a:gd name="connsiteY3" fmla="*/ 177315 h 191233"/>
                <a:gd name="connsiteX0" fmla="*/ 0 w 759310"/>
                <a:gd name="connsiteY0" fmla="*/ 177315 h 187572"/>
                <a:gd name="connsiteX1" fmla="*/ 380228 w 759310"/>
                <a:gd name="connsiteY1" fmla="*/ 21 h 187572"/>
                <a:gd name="connsiteX2" fmla="*/ 759310 w 759310"/>
                <a:gd name="connsiteY2" fmla="*/ 177905 h 187572"/>
                <a:gd name="connsiteX3" fmla="*/ 0 w 759310"/>
                <a:gd name="connsiteY3" fmla="*/ 177315 h 187572"/>
                <a:gd name="connsiteX0" fmla="*/ 0 w 768835"/>
                <a:gd name="connsiteY0" fmla="*/ 177315 h 188632"/>
                <a:gd name="connsiteX1" fmla="*/ 380228 w 768835"/>
                <a:gd name="connsiteY1" fmla="*/ 21 h 188632"/>
                <a:gd name="connsiteX2" fmla="*/ 768835 w 768835"/>
                <a:gd name="connsiteY2" fmla="*/ 180287 h 188632"/>
                <a:gd name="connsiteX3" fmla="*/ 0 w 768835"/>
                <a:gd name="connsiteY3" fmla="*/ 177315 h 188632"/>
              </a:gdLst>
              <a:ahLst/>
              <a:cxnLst>
                <a:cxn ang="0">
                  <a:pos x="connsiteX0" y="connsiteY0"/>
                </a:cxn>
                <a:cxn ang="0">
                  <a:pos x="connsiteX1" y="connsiteY1"/>
                </a:cxn>
                <a:cxn ang="0">
                  <a:pos x="connsiteX2" y="connsiteY2"/>
                </a:cxn>
                <a:cxn ang="0">
                  <a:pos x="connsiteX3" y="connsiteY3"/>
                </a:cxn>
              </a:cxnLst>
              <a:rect l="l" t="t" r="r" b="b"/>
              <a:pathLst>
                <a:path w="768835" h="188632">
                  <a:moveTo>
                    <a:pt x="0" y="177315"/>
                  </a:moveTo>
                  <a:cubicBezTo>
                    <a:pt x="87950" y="78338"/>
                    <a:pt x="247828" y="-1462"/>
                    <a:pt x="380228" y="21"/>
                  </a:cubicBezTo>
                  <a:cubicBezTo>
                    <a:pt x="512627" y="1505"/>
                    <a:pt x="683125" y="79364"/>
                    <a:pt x="768835" y="180287"/>
                  </a:cubicBezTo>
                  <a:cubicBezTo>
                    <a:pt x="513351" y="189616"/>
                    <a:pt x="257866" y="194180"/>
                    <a:pt x="0" y="17731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15" name="그룹 41">
            <a:extLst>
              <a:ext uri="{FF2B5EF4-FFF2-40B4-BE49-F238E27FC236}">
                <a16:creationId xmlns:a16="http://schemas.microsoft.com/office/drawing/2014/main" id="{9E308F2F-77C8-914F-8C18-FE38B1FD0661}"/>
              </a:ext>
            </a:extLst>
          </p:cNvPr>
          <p:cNvGrpSpPr>
            <a:grpSpLocks noChangeAspect="1"/>
          </p:cNvGrpSpPr>
          <p:nvPr/>
        </p:nvGrpSpPr>
        <p:grpSpPr>
          <a:xfrm>
            <a:off x="4205420" y="4781305"/>
            <a:ext cx="961795" cy="828000"/>
            <a:chOff x="7521194" y="5284915"/>
            <a:chExt cx="1137987" cy="979683"/>
          </a:xfrm>
        </p:grpSpPr>
        <p:grpSp>
          <p:nvGrpSpPr>
            <p:cNvPr id="16" name="Group 7">
              <a:extLst>
                <a:ext uri="{FF2B5EF4-FFF2-40B4-BE49-F238E27FC236}">
                  <a16:creationId xmlns:a16="http://schemas.microsoft.com/office/drawing/2014/main" id="{7FC51493-E14A-8447-8019-279C6317D004}"/>
                </a:ext>
              </a:extLst>
            </p:cNvPr>
            <p:cNvGrpSpPr/>
            <p:nvPr/>
          </p:nvGrpSpPr>
          <p:grpSpPr>
            <a:xfrm>
              <a:off x="7521194" y="5284915"/>
              <a:ext cx="1137987" cy="979683"/>
              <a:chOff x="5580112" y="4160675"/>
              <a:chExt cx="2016224" cy="1735751"/>
            </a:xfrm>
          </p:grpSpPr>
          <p:sp>
            <p:nvSpPr>
              <p:cNvPr id="18" name="Trapezoid 1">
                <a:extLst>
                  <a:ext uri="{FF2B5EF4-FFF2-40B4-BE49-F238E27FC236}">
                    <a16:creationId xmlns:a16="http://schemas.microsoft.com/office/drawing/2014/main" id="{E05E924D-D4E3-F244-9588-33DF507C3D2A}"/>
                  </a:ext>
                </a:extLst>
              </p:cNvPr>
              <p:cNvSpPr/>
              <p:nvPr/>
            </p:nvSpPr>
            <p:spPr>
              <a:xfrm rot="10800000">
                <a:off x="5796136" y="4653136"/>
                <a:ext cx="1584176" cy="1243290"/>
              </a:xfrm>
              <a:custGeom>
                <a:avLst/>
                <a:gdLst>
                  <a:gd name="connsiteX0" fmla="*/ 0 w 1584176"/>
                  <a:gd name="connsiteY0" fmla="*/ 1216152 h 1216152"/>
                  <a:gd name="connsiteX1" fmla="*/ 304038 w 1584176"/>
                  <a:gd name="connsiteY1" fmla="*/ 0 h 1216152"/>
                  <a:gd name="connsiteX2" fmla="*/ 1280138 w 1584176"/>
                  <a:gd name="connsiteY2" fmla="*/ 0 h 1216152"/>
                  <a:gd name="connsiteX3" fmla="*/ 1584176 w 1584176"/>
                  <a:gd name="connsiteY3" fmla="*/ 1216152 h 1216152"/>
                  <a:gd name="connsiteX4" fmla="*/ 0 w 1584176"/>
                  <a:gd name="connsiteY4" fmla="*/ 1216152 h 1216152"/>
                  <a:gd name="connsiteX0" fmla="*/ 0 w 1584176"/>
                  <a:gd name="connsiteY0" fmla="*/ 1235792 h 1235792"/>
                  <a:gd name="connsiteX1" fmla="*/ 304038 w 1584176"/>
                  <a:gd name="connsiteY1" fmla="*/ 19640 h 1235792"/>
                  <a:gd name="connsiteX2" fmla="*/ 1280138 w 1584176"/>
                  <a:gd name="connsiteY2" fmla="*/ 19640 h 1235792"/>
                  <a:gd name="connsiteX3" fmla="*/ 1584176 w 1584176"/>
                  <a:gd name="connsiteY3" fmla="*/ 1235792 h 1235792"/>
                  <a:gd name="connsiteX4" fmla="*/ 0 w 1584176"/>
                  <a:gd name="connsiteY4" fmla="*/ 1235792 h 1235792"/>
                  <a:gd name="connsiteX0" fmla="*/ 0 w 1584176"/>
                  <a:gd name="connsiteY0" fmla="*/ 1243290 h 1243290"/>
                  <a:gd name="connsiteX1" fmla="*/ 304038 w 1584176"/>
                  <a:gd name="connsiteY1" fmla="*/ 27138 h 1243290"/>
                  <a:gd name="connsiteX2" fmla="*/ 1280138 w 1584176"/>
                  <a:gd name="connsiteY2" fmla="*/ 27138 h 1243290"/>
                  <a:gd name="connsiteX3" fmla="*/ 1584176 w 1584176"/>
                  <a:gd name="connsiteY3" fmla="*/ 1243290 h 1243290"/>
                  <a:gd name="connsiteX4" fmla="*/ 0 w 1584176"/>
                  <a:gd name="connsiteY4" fmla="*/ 1243290 h 1243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176" h="1243290">
                    <a:moveTo>
                      <a:pt x="0" y="1243290"/>
                    </a:moveTo>
                    <a:lnTo>
                      <a:pt x="304038" y="27138"/>
                    </a:lnTo>
                    <a:cubicBezTo>
                      <a:pt x="629405" y="-57"/>
                      <a:pt x="941174" y="-17053"/>
                      <a:pt x="1280138" y="27138"/>
                    </a:cubicBezTo>
                    <a:lnTo>
                      <a:pt x="1584176" y="1243290"/>
                    </a:lnTo>
                    <a:lnTo>
                      <a:pt x="0" y="1243290"/>
                    </a:lnTo>
                    <a:close/>
                  </a:path>
                </a:pathLst>
              </a:cu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9" name="Trapezoid 6">
                <a:extLst>
                  <a:ext uri="{FF2B5EF4-FFF2-40B4-BE49-F238E27FC236}">
                    <a16:creationId xmlns:a16="http://schemas.microsoft.com/office/drawing/2014/main" id="{24FBBAD7-4EBF-FA4D-A241-EFABF7AD4E4E}"/>
                  </a:ext>
                </a:extLst>
              </p:cNvPr>
              <p:cNvSpPr/>
              <p:nvPr/>
            </p:nvSpPr>
            <p:spPr>
              <a:xfrm rot="10800000">
                <a:off x="5580112" y="4312147"/>
                <a:ext cx="2016224" cy="471979"/>
              </a:xfrm>
              <a:custGeom>
                <a:avLst/>
                <a:gdLst>
                  <a:gd name="connsiteX0" fmla="*/ 0 w 2016224"/>
                  <a:gd name="connsiteY0" fmla="*/ 360040 h 360040"/>
                  <a:gd name="connsiteX1" fmla="*/ 128109 w 2016224"/>
                  <a:gd name="connsiteY1" fmla="*/ 0 h 360040"/>
                  <a:gd name="connsiteX2" fmla="*/ 1888115 w 2016224"/>
                  <a:gd name="connsiteY2" fmla="*/ 0 h 360040"/>
                  <a:gd name="connsiteX3" fmla="*/ 2016224 w 2016224"/>
                  <a:gd name="connsiteY3" fmla="*/ 360040 h 360040"/>
                  <a:gd name="connsiteX4" fmla="*/ 0 w 2016224"/>
                  <a:gd name="connsiteY4" fmla="*/ 360040 h 360040"/>
                  <a:gd name="connsiteX0" fmla="*/ 0 w 2016224"/>
                  <a:gd name="connsiteY0" fmla="*/ 431046 h 431046"/>
                  <a:gd name="connsiteX1" fmla="*/ 128109 w 2016224"/>
                  <a:gd name="connsiteY1" fmla="*/ 71006 h 431046"/>
                  <a:gd name="connsiteX2" fmla="*/ 1888115 w 2016224"/>
                  <a:gd name="connsiteY2" fmla="*/ 71006 h 431046"/>
                  <a:gd name="connsiteX3" fmla="*/ 2016224 w 2016224"/>
                  <a:gd name="connsiteY3" fmla="*/ 431046 h 431046"/>
                  <a:gd name="connsiteX4" fmla="*/ 0 w 2016224"/>
                  <a:gd name="connsiteY4" fmla="*/ 431046 h 431046"/>
                  <a:gd name="connsiteX0" fmla="*/ 0 w 2016224"/>
                  <a:gd name="connsiteY0" fmla="*/ 458241 h 458241"/>
                  <a:gd name="connsiteX1" fmla="*/ 128109 w 2016224"/>
                  <a:gd name="connsiteY1" fmla="*/ 98201 h 458241"/>
                  <a:gd name="connsiteX2" fmla="*/ 1888115 w 2016224"/>
                  <a:gd name="connsiteY2" fmla="*/ 98201 h 458241"/>
                  <a:gd name="connsiteX3" fmla="*/ 2016224 w 2016224"/>
                  <a:gd name="connsiteY3" fmla="*/ 458241 h 458241"/>
                  <a:gd name="connsiteX4" fmla="*/ 0 w 2016224"/>
                  <a:gd name="connsiteY4" fmla="*/ 458241 h 458241"/>
                  <a:gd name="connsiteX0" fmla="*/ 0 w 2016224"/>
                  <a:gd name="connsiteY0" fmla="*/ 465296 h 465296"/>
                  <a:gd name="connsiteX1" fmla="*/ 128109 w 2016224"/>
                  <a:gd name="connsiteY1" fmla="*/ 105256 h 465296"/>
                  <a:gd name="connsiteX2" fmla="*/ 1888115 w 2016224"/>
                  <a:gd name="connsiteY2" fmla="*/ 105256 h 465296"/>
                  <a:gd name="connsiteX3" fmla="*/ 2016224 w 2016224"/>
                  <a:gd name="connsiteY3" fmla="*/ 465296 h 465296"/>
                  <a:gd name="connsiteX4" fmla="*/ 0 w 2016224"/>
                  <a:gd name="connsiteY4" fmla="*/ 465296 h 465296"/>
                  <a:gd name="connsiteX0" fmla="*/ 0 w 2016224"/>
                  <a:gd name="connsiteY0" fmla="*/ 471979 h 471979"/>
                  <a:gd name="connsiteX1" fmla="*/ 128109 w 2016224"/>
                  <a:gd name="connsiteY1" fmla="*/ 111939 h 471979"/>
                  <a:gd name="connsiteX2" fmla="*/ 1888115 w 2016224"/>
                  <a:gd name="connsiteY2" fmla="*/ 111939 h 471979"/>
                  <a:gd name="connsiteX3" fmla="*/ 2016224 w 2016224"/>
                  <a:gd name="connsiteY3" fmla="*/ 471979 h 471979"/>
                  <a:gd name="connsiteX4" fmla="*/ 0 w 2016224"/>
                  <a:gd name="connsiteY4" fmla="*/ 471979 h 47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224" h="471979">
                    <a:moveTo>
                      <a:pt x="0" y="471979"/>
                    </a:moveTo>
                    <a:lnTo>
                      <a:pt x="128109" y="111939"/>
                    </a:lnTo>
                    <a:cubicBezTo>
                      <a:pt x="572010" y="-7034"/>
                      <a:pt x="1260655" y="-64822"/>
                      <a:pt x="1888115" y="111939"/>
                    </a:cubicBezTo>
                    <a:lnTo>
                      <a:pt x="2016224" y="471979"/>
                    </a:lnTo>
                    <a:lnTo>
                      <a:pt x="0" y="471979"/>
                    </a:lnTo>
                    <a:close/>
                  </a:path>
                </a:pathLst>
              </a:cu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0" name="Oval 5">
                <a:extLst>
                  <a:ext uri="{FF2B5EF4-FFF2-40B4-BE49-F238E27FC236}">
                    <a16:creationId xmlns:a16="http://schemas.microsoft.com/office/drawing/2014/main" id="{41546969-DDEF-BF4E-B5C9-2368EDEF0F36}"/>
                  </a:ext>
                </a:extLst>
              </p:cNvPr>
              <p:cNvSpPr/>
              <p:nvPr/>
            </p:nvSpPr>
            <p:spPr>
              <a:xfrm>
                <a:off x="5580223" y="4160675"/>
                <a:ext cx="2016000" cy="30294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17" name="Chord 23">
              <a:extLst>
                <a:ext uri="{FF2B5EF4-FFF2-40B4-BE49-F238E27FC236}">
                  <a16:creationId xmlns:a16="http://schemas.microsoft.com/office/drawing/2014/main" id="{CECB3939-39CE-D24A-8055-BC7B0C5A3431}"/>
                </a:ext>
              </a:extLst>
            </p:cNvPr>
            <p:cNvSpPr/>
            <p:nvPr/>
          </p:nvSpPr>
          <p:spPr>
            <a:xfrm>
              <a:off x="7788585" y="5306768"/>
              <a:ext cx="578589" cy="141955"/>
            </a:xfrm>
            <a:custGeom>
              <a:avLst/>
              <a:gdLst>
                <a:gd name="connsiteX0" fmla="*/ 115433 w 914400"/>
                <a:gd name="connsiteY0" fmla="*/ 153510 h 914400"/>
                <a:gd name="connsiteX1" fmla="*/ 462323 w 914400"/>
                <a:gd name="connsiteY1" fmla="*/ 28 h 914400"/>
                <a:gd name="connsiteX2" fmla="*/ 805686 w 914400"/>
                <a:gd name="connsiteY2" fmla="*/ 161244 h 914400"/>
                <a:gd name="connsiteX3" fmla="*/ 115433 w 914400"/>
                <a:gd name="connsiteY3" fmla="*/ 153510 h 914400"/>
                <a:gd name="connsiteX0" fmla="*/ 0 w 723591"/>
                <a:gd name="connsiteY0" fmla="*/ 177315 h 177532"/>
                <a:gd name="connsiteX1" fmla="*/ 380228 w 723591"/>
                <a:gd name="connsiteY1" fmla="*/ 21 h 177532"/>
                <a:gd name="connsiteX2" fmla="*/ 723591 w 723591"/>
                <a:gd name="connsiteY2" fmla="*/ 161237 h 177532"/>
                <a:gd name="connsiteX3" fmla="*/ 0 w 723591"/>
                <a:gd name="connsiteY3" fmla="*/ 177315 h 177532"/>
                <a:gd name="connsiteX0" fmla="*/ 0 w 759310"/>
                <a:gd name="connsiteY0" fmla="*/ 177315 h 185049"/>
                <a:gd name="connsiteX1" fmla="*/ 380228 w 759310"/>
                <a:gd name="connsiteY1" fmla="*/ 21 h 185049"/>
                <a:gd name="connsiteX2" fmla="*/ 759310 w 759310"/>
                <a:gd name="connsiteY2" fmla="*/ 185049 h 185049"/>
                <a:gd name="connsiteX3" fmla="*/ 0 w 759310"/>
                <a:gd name="connsiteY3" fmla="*/ 177315 h 185049"/>
                <a:gd name="connsiteX0" fmla="*/ 0 w 759310"/>
                <a:gd name="connsiteY0" fmla="*/ 177315 h 188144"/>
                <a:gd name="connsiteX1" fmla="*/ 380228 w 759310"/>
                <a:gd name="connsiteY1" fmla="*/ 21 h 188144"/>
                <a:gd name="connsiteX2" fmla="*/ 759310 w 759310"/>
                <a:gd name="connsiteY2" fmla="*/ 185049 h 188144"/>
                <a:gd name="connsiteX3" fmla="*/ 0 w 759310"/>
                <a:gd name="connsiteY3" fmla="*/ 177315 h 188144"/>
                <a:gd name="connsiteX0" fmla="*/ 0 w 759310"/>
                <a:gd name="connsiteY0" fmla="*/ 177315 h 191233"/>
                <a:gd name="connsiteX1" fmla="*/ 380228 w 759310"/>
                <a:gd name="connsiteY1" fmla="*/ 21 h 191233"/>
                <a:gd name="connsiteX2" fmla="*/ 759310 w 759310"/>
                <a:gd name="connsiteY2" fmla="*/ 185049 h 191233"/>
                <a:gd name="connsiteX3" fmla="*/ 0 w 759310"/>
                <a:gd name="connsiteY3" fmla="*/ 177315 h 191233"/>
                <a:gd name="connsiteX0" fmla="*/ 0 w 759310"/>
                <a:gd name="connsiteY0" fmla="*/ 177315 h 187572"/>
                <a:gd name="connsiteX1" fmla="*/ 380228 w 759310"/>
                <a:gd name="connsiteY1" fmla="*/ 21 h 187572"/>
                <a:gd name="connsiteX2" fmla="*/ 759310 w 759310"/>
                <a:gd name="connsiteY2" fmla="*/ 177905 h 187572"/>
                <a:gd name="connsiteX3" fmla="*/ 0 w 759310"/>
                <a:gd name="connsiteY3" fmla="*/ 177315 h 187572"/>
                <a:gd name="connsiteX0" fmla="*/ 0 w 768835"/>
                <a:gd name="connsiteY0" fmla="*/ 177315 h 188632"/>
                <a:gd name="connsiteX1" fmla="*/ 380228 w 768835"/>
                <a:gd name="connsiteY1" fmla="*/ 21 h 188632"/>
                <a:gd name="connsiteX2" fmla="*/ 768835 w 768835"/>
                <a:gd name="connsiteY2" fmla="*/ 180287 h 188632"/>
                <a:gd name="connsiteX3" fmla="*/ 0 w 768835"/>
                <a:gd name="connsiteY3" fmla="*/ 177315 h 188632"/>
              </a:gdLst>
              <a:ahLst/>
              <a:cxnLst>
                <a:cxn ang="0">
                  <a:pos x="connsiteX0" y="connsiteY0"/>
                </a:cxn>
                <a:cxn ang="0">
                  <a:pos x="connsiteX1" y="connsiteY1"/>
                </a:cxn>
                <a:cxn ang="0">
                  <a:pos x="connsiteX2" y="connsiteY2"/>
                </a:cxn>
                <a:cxn ang="0">
                  <a:pos x="connsiteX3" y="connsiteY3"/>
                </a:cxn>
              </a:cxnLst>
              <a:rect l="l" t="t" r="r" b="b"/>
              <a:pathLst>
                <a:path w="768835" h="188632">
                  <a:moveTo>
                    <a:pt x="0" y="177315"/>
                  </a:moveTo>
                  <a:cubicBezTo>
                    <a:pt x="87950" y="78338"/>
                    <a:pt x="247828" y="-1462"/>
                    <a:pt x="380228" y="21"/>
                  </a:cubicBezTo>
                  <a:cubicBezTo>
                    <a:pt x="512627" y="1505"/>
                    <a:pt x="683125" y="79364"/>
                    <a:pt x="768835" y="180287"/>
                  </a:cubicBezTo>
                  <a:cubicBezTo>
                    <a:pt x="513351" y="189616"/>
                    <a:pt x="257866" y="194180"/>
                    <a:pt x="0" y="17731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1" name="그룹 52">
            <a:extLst>
              <a:ext uri="{FF2B5EF4-FFF2-40B4-BE49-F238E27FC236}">
                <a16:creationId xmlns:a16="http://schemas.microsoft.com/office/drawing/2014/main" id="{C6A71C4B-2EA3-6844-9718-9ED6F17FEE1E}"/>
              </a:ext>
            </a:extLst>
          </p:cNvPr>
          <p:cNvGrpSpPr>
            <a:grpSpLocks noChangeAspect="1"/>
          </p:cNvGrpSpPr>
          <p:nvPr/>
        </p:nvGrpSpPr>
        <p:grpSpPr>
          <a:xfrm>
            <a:off x="6662075" y="4673305"/>
            <a:ext cx="1087246" cy="936000"/>
            <a:chOff x="7521194" y="5284915"/>
            <a:chExt cx="1137987" cy="979683"/>
          </a:xfrm>
        </p:grpSpPr>
        <p:grpSp>
          <p:nvGrpSpPr>
            <p:cNvPr id="22" name="Group 7">
              <a:extLst>
                <a:ext uri="{FF2B5EF4-FFF2-40B4-BE49-F238E27FC236}">
                  <a16:creationId xmlns:a16="http://schemas.microsoft.com/office/drawing/2014/main" id="{8BCB0D04-A9C3-4442-A009-575B60E27EB6}"/>
                </a:ext>
              </a:extLst>
            </p:cNvPr>
            <p:cNvGrpSpPr/>
            <p:nvPr/>
          </p:nvGrpSpPr>
          <p:grpSpPr>
            <a:xfrm>
              <a:off x="7521194" y="5284915"/>
              <a:ext cx="1137987" cy="979683"/>
              <a:chOff x="5580112" y="4160675"/>
              <a:chExt cx="2016224" cy="1735751"/>
            </a:xfrm>
          </p:grpSpPr>
          <p:sp>
            <p:nvSpPr>
              <p:cNvPr id="24" name="Trapezoid 1">
                <a:extLst>
                  <a:ext uri="{FF2B5EF4-FFF2-40B4-BE49-F238E27FC236}">
                    <a16:creationId xmlns:a16="http://schemas.microsoft.com/office/drawing/2014/main" id="{84776DD9-8A97-0245-BB6C-0383729FE7F2}"/>
                  </a:ext>
                </a:extLst>
              </p:cNvPr>
              <p:cNvSpPr/>
              <p:nvPr/>
            </p:nvSpPr>
            <p:spPr>
              <a:xfrm rot="10800000">
                <a:off x="5796136" y="4653136"/>
                <a:ext cx="1584176" cy="1243290"/>
              </a:xfrm>
              <a:custGeom>
                <a:avLst/>
                <a:gdLst>
                  <a:gd name="connsiteX0" fmla="*/ 0 w 1584176"/>
                  <a:gd name="connsiteY0" fmla="*/ 1216152 h 1216152"/>
                  <a:gd name="connsiteX1" fmla="*/ 304038 w 1584176"/>
                  <a:gd name="connsiteY1" fmla="*/ 0 h 1216152"/>
                  <a:gd name="connsiteX2" fmla="*/ 1280138 w 1584176"/>
                  <a:gd name="connsiteY2" fmla="*/ 0 h 1216152"/>
                  <a:gd name="connsiteX3" fmla="*/ 1584176 w 1584176"/>
                  <a:gd name="connsiteY3" fmla="*/ 1216152 h 1216152"/>
                  <a:gd name="connsiteX4" fmla="*/ 0 w 1584176"/>
                  <a:gd name="connsiteY4" fmla="*/ 1216152 h 1216152"/>
                  <a:gd name="connsiteX0" fmla="*/ 0 w 1584176"/>
                  <a:gd name="connsiteY0" fmla="*/ 1235792 h 1235792"/>
                  <a:gd name="connsiteX1" fmla="*/ 304038 w 1584176"/>
                  <a:gd name="connsiteY1" fmla="*/ 19640 h 1235792"/>
                  <a:gd name="connsiteX2" fmla="*/ 1280138 w 1584176"/>
                  <a:gd name="connsiteY2" fmla="*/ 19640 h 1235792"/>
                  <a:gd name="connsiteX3" fmla="*/ 1584176 w 1584176"/>
                  <a:gd name="connsiteY3" fmla="*/ 1235792 h 1235792"/>
                  <a:gd name="connsiteX4" fmla="*/ 0 w 1584176"/>
                  <a:gd name="connsiteY4" fmla="*/ 1235792 h 1235792"/>
                  <a:gd name="connsiteX0" fmla="*/ 0 w 1584176"/>
                  <a:gd name="connsiteY0" fmla="*/ 1243290 h 1243290"/>
                  <a:gd name="connsiteX1" fmla="*/ 304038 w 1584176"/>
                  <a:gd name="connsiteY1" fmla="*/ 27138 h 1243290"/>
                  <a:gd name="connsiteX2" fmla="*/ 1280138 w 1584176"/>
                  <a:gd name="connsiteY2" fmla="*/ 27138 h 1243290"/>
                  <a:gd name="connsiteX3" fmla="*/ 1584176 w 1584176"/>
                  <a:gd name="connsiteY3" fmla="*/ 1243290 h 1243290"/>
                  <a:gd name="connsiteX4" fmla="*/ 0 w 1584176"/>
                  <a:gd name="connsiteY4" fmla="*/ 1243290 h 1243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176" h="1243290">
                    <a:moveTo>
                      <a:pt x="0" y="1243290"/>
                    </a:moveTo>
                    <a:lnTo>
                      <a:pt x="304038" y="27138"/>
                    </a:lnTo>
                    <a:cubicBezTo>
                      <a:pt x="629405" y="-57"/>
                      <a:pt x="941174" y="-17053"/>
                      <a:pt x="1280138" y="27138"/>
                    </a:cubicBezTo>
                    <a:lnTo>
                      <a:pt x="1584176" y="1243290"/>
                    </a:lnTo>
                    <a:lnTo>
                      <a:pt x="0" y="1243290"/>
                    </a:lnTo>
                    <a:close/>
                  </a:path>
                </a:pathLst>
              </a:cu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5" name="Trapezoid 6">
                <a:extLst>
                  <a:ext uri="{FF2B5EF4-FFF2-40B4-BE49-F238E27FC236}">
                    <a16:creationId xmlns:a16="http://schemas.microsoft.com/office/drawing/2014/main" id="{8B475FAC-F98D-0748-B3FC-AB56B043490F}"/>
                  </a:ext>
                </a:extLst>
              </p:cNvPr>
              <p:cNvSpPr/>
              <p:nvPr/>
            </p:nvSpPr>
            <p:spPr>
              <a:xfrm rot="10800000">
                <a:off x="5580112" y="4312147"/>
                <a:ext cx="2016224" cy="471979"/>
              </a:xfrm>
              <a:custGeom>
                <a:avLst/>
                <a:gdLst>
                  <a:gd name="connsiteX0" fmla="*/ 0 w 2016224"/>
                  <a:gd name="connsiteY0" fmla="*/ 360040 h 360040"/>
                  <a:gd name="connsiteX1" fmla="*/ 128109 w 2016224"/>
                  <a:gd name="connsiteY1" fmla="*/ 0 h 360040"/>
                  <a:gd name="connsiteX2" fmla="*/ 1888115 w 2016224"/>
                  <a:gd name="connsiteY2" fmla="*/ 0 h 360040"/>
                  <a:gd name="connsiteX3" fmla="*/ 2016224 w 2016224"/>
                  <a:gd name="connsiteY3" fmla="*/ 360040 h 360040"/>
                  <a:gd name="connsiteX4" fmla="*/ 0 w 2016224"/>
                  <a:gd name="connsiteY4" fmla="*/ 360040 h 360040"/>
                  <a:gd name="connsiteX0" fmla="*/ 0 w 2016224"/>
                  <a:gd name="connsiteY0" fmla="*/ 431046 h 431046"/>
                  <a:gd name="connsiteX1" fmla="*/ 128109 w 2016224"/>
                  <a:gd name="connsiteY1" fmla="*/ 71006 h 431046"/>
                  <a:gd name="connsiteX2" fmla="*/ 1888115 w 2016224"/>
                  <a:gd name="connsiteY2" fmla="*/ 71006 h 431046"/>
                  <a:gd name="connsiteX3" fmla="*/ 2016224 w 2016224"/>
                  <a:gd name="connsiteY3" fmla="*/ 431046 h 431046"/>
                  <a:gd name="connsiteX4" fmla="*/ 0 w 2016224"/>
                  <a:gd name="connsiteY4" fmla="*/ 431046 h 431046"/>
                  <a:gd name="connsiteX0" fmla="*/ 0 w 2016224"/>
                  <a:gd name="connsiteY0" fmla="*/ 458241 h 458241"/>
                  <a:gd name="connsiteX1" fmla="*/ 128109 w 2016224"/>
                  <a:gd name="connsiteY1" fmla="*/ 98201 h 458241"/>
                  <a:gd name="connsiteX2" fmla="*/ 1888115 w 2016224"/>
                  <a:gd name="connsiteY2" fmla="*/ 98201 h 458241"/>
                  <a:gd name="connsiteX3" fmla="*/ 2016224 w 2016224"/>
                  <a:gd name="connsiteY3" fmla="*/ 458241 h 458241"/>
                  <a:gd name="connsiteX4" fmla="*/ 0 w 2016224"/>
                  <a:gd name="connsiteY4" fmla="*/ 458241 h 458241"/>
                  <a:gd name="connsiteX0" fmla="*/ 0 w 2016224"/>
                  <a:gd name="connsiteY0" fmla="*/ 465296 h 465296"/>
                  <a:gd name="connsiteX1" fmla="*/ 128109 w 2016224"/>
                  <a:gd name="connsiteY1" fmla="*/ 105256 h 465296"/>
                  <a:gd name="connsiteX2" fmla="*/ 1888115 w 2016224"/>
                  <a:gd name="connsiteY2" fmla="*/ 105256 h 465296"/>
                  <a:gd name="connsiteX3" fmla="*/ 2016224 w 2016224"/>
                  <a:gd name="connsiteY3" fmla="*/ 465296 h 465296"/>
                  <a:gd name="connsiteX4" fmla="*/ 0 w 2016224"/>
                  <a:gd name="connsiteY4" fmla="*/ 465296 h 465296"/>
                  <a:gd name="connsiteX0" fmla="*/ 0 w 2016224"/>
                  <a:gd name="connsiteY0" fmla="*/ 471979 h 471979"/>
                  <a:gd name="connsiteX1" fmla="*/ 128109 w 2016224"/>
                  <a:gd name="connsiteY1" fmla="*/ 111939 h 471979"/>
                  <a:gd name="connsiteX2" fmla="*/ 1888115 w 2016224"/>
                  <a:gd name="connsiteY2" fmla="*/ 111939 h 471979"/>
                  <a:gd name="connsiteX3" fmla="*/ 2016224 w 2016224"/>
                  <a:gd name="connsiteY3" fmla="*/ 471979 h 471979"/>
                  <a:gd name="connsiteX4" fmla="*/ 0 w 2016224"/>
                  <a:gd name="connsiteY4" fmla="*/ 471979 h 47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224" h="471979">
                    <a:moveTo>
                      <a:pt x="0" y="471979"/>
                    </a:moveTo>
                    <a:lnTo>
                      <a:pt x="128109" y="111939"/>
                    </a:lnTo>
                    <a:cubicBezTo>
                      <a:pt x="572010" y="-7034"/>
                      <a:pt x="1260655" y="-64822"/>
                      <a:pt x="1888115" y="111939"/>
                    </a:cubicBezTo>
                    <a:lnTo>
                      <a:pt x="2016224" y="471979"/>
                    </a:lnTo>
                    <a:lnTo>
                      <a:pt x="0" y="471979"/>
                    </a:lnTo>
                    <a:close/>
                  </a:path>
                </a:pathLst>
              </a:custGeom>
              <a:solidFill>
                <a:schemeClr val="accent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26" name="Oval 5">
                <a:extLst>
                  <a:ext uri="{FF2B5EF4-FFF2-40B4-BE49-F238E27FC236}">
                    <a16:creationId xmlns:a16="http://schemas.microsoft.com/office/drawing/2014/main" id="{ED0BAA0D-6572-BF46-BA89-AE1350372706}"/>
                  </a:ext>
                </a:extLst>
              </p:cNvPr>
              <p:cNvSpPr/>
              <p:nvPr/>
            </p:nvSpPr>
            <p:spPr>
              <a:xfrm>
                <a:off x="5580223" y="4160675"/>
                <a:ext cx="2016000" cy="30294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3" name="Chord 23">
              <a:extLst>
                <a:ext uri="{FF2B5EF4-FFF2-40B4-BE49-F238E27FC236}">
                  <a16:creationId xmlns:a16="http://schemas.microsoft.com/office/drawing/2014/main" id="{7144892A-01F9-934E-8D12-213E5857FF4E}"/>
                </a:ext>
              </a:extLst>
            </p:cNvPr>
            <p:cNvSpPr/>
            <p:nvPr/>
          </p:nvSpPr>
          <p:spPr>
            <a:xfrm>
              <a:off x="7788585" y="5306768"/>
              <a:ext cx="578589" cy="141955"/>
            </a:xfrm>
            <a:custGeom>
              <a:avLst/>
              <a:gdLst>
                <a:gd name="connsiteX0" fmla="*/ 115433 w 914400"/>
                <a:gd name="connsiteY0" fmla="*/ 153510 h 914400"/>
                <a:gd name="connsiteX1" fmla="*/ 462323 w 914400"/>
                <a:gd name="connsiteY1" fmla="*/ 28 h 914400"/>
                <a:gd name="connsiteX2" fmla="*/ 805686 w 914400"/>
                <a:gd name="connsiteY2" fmla="*/ 161244 h 914400"/>
                <a:gd name="connsiteX3" fmla="*/ 115433 w 914400"/>
                <a:gd name="connsiteY3" fmla="*/ 153510 h 914400"/>
                <a:gd name="connsiteX0" fmla="*/ 0 w 723591"/>
                <a:gd name="connsiteY0" fmla="*/ 177315 h 177532"/>
                <a:gd name="connsiteX1" fmla="*/ 380228 w 723591"/>
                <a:gd name="connsiteY1" fmla="*/ 21 h 177532"/>
                <a:gd name="connsiteX2" fmla="*/ 723591 w 723591"/>
                <a:gd name="connsiteY2" fmla="*/ 161237 h 177532"/>
                <a:gd name="connsiteX3" fmla="*/ 0 w 723591"/>
                <a:gd name="connsiteY3" fmla="*/ 177315 h 177532"/>
                <a:gd name="connsiteX0" fmla="*/ 0 w 759310"/>
                <a:gd name="connsiteY0" fmla="*/ 177315 h 185049"/>
                <a:gd name="connsiteX1" fmla="*/ 380228 w 759310"/>
                <a:gd name="connsiteY1" fmla="*/ 21 h 185049"/>
                <a:gd name="connsiteX2" fmla="*/ 759310 w 759310"/>
                <a:gd name="connsiteY2" fmla="*/ 185049 h 185049"/>
                <a:gd name="connsiteX3" fmla="*/ 0 w 759310"/>
                <a:gd name="connsiteY3" fmla="*/ 177315 h 185049"/>
                <a:gd name="connsiteX0" fmla="*/ 0 w 759310"/>
                <a:gd name="connsiteY0" fmla="*/ 177315 h 188144"/>
                <a:gd name="connsiteX1" fmla="*/ 380228 w 759310"/>
                <a:gd name="connsiteY1" fmla="*/ 21 h 188144"/>
                <a:gd name="connsiteX2" fmla="*/ 759310 w 759310"/>
                <a:gd name="connsiteY2" fmla="*/ 185049 h 188144"/>
                <a:gd name="connsiteX3" fmla="*/ 0 w 759310"/>
                <a:gd name="connsiteY3" fmla="*/ 177315 h 188144"/>
                <a:gd name="connsiteX0" fmla="*/ 0 w 759310"/>
                <a:gd name="connsiteY0" fmla="*/ 177315 h 191233"/>
                <a:gd name="connsiteX1" fmla="*/ 380228 w 759310"/>
                <a:gd name="connsiteY1" fmla="*/ 21 h 191233"/>
                <a:gd name="connsiteX2" fmla="*/ 759310 w 759310"/>
                <a:gd name="connsiteY2" fmla="*/ 185049 h 191233"/>
                <a:gd name="connsiteX3" fmla="*/ 0 w 759310"/>
                <a:gd name="connsiteY3" fmla="*/ 177315 h 191233"/>
                <a:gd name="connsiteX0" fmla="*/ 0 w 759310"/>
                <a:gd name="connsiteY0" fmla="*/ 177315 h 187572"/>
                <a:gd name="connsiteX1" fmla="*/ 380228 w 759310"/>
                <a:gd name="connsiteY1" fmla="*/ 21 h 187572"/>
                <a:gd name="connsiteX2" fmla="*/ 759310 w 759310"/>
                <a:gd name="connsiteY2" fmla="*/ 177905 h 187572"/>
                <a:gd name="connsiteX3" fmla="*/ 0 w 759310"/>
                <a:gd name="connsiteY3" fmla="*/ 177315 h 187572"/>
                <a:gd name="connsiteX0" fmla="*/ 0 w 768835"/>
                <a:gd name="connsiteY0" fmla="*/ 177315 h 188632"/>
                <a:gd name="connsiteX1" fmla="*/ 380228 w 768835"/>
                <a:gd name="connsiteY1" fmla="*/ 21 h 188632"/>
                <a:gd name="connsiteX2" fmla="*/ 768835 w 768835"/>
                <a:gd name="connsiteY2" fmla="*/ 180287 h 188632"/>
                <a:gd name="connsiteX3" fmla="*/ 0 w 768835"/>
                <a:gd name="connsiteY3" fmla="*/ 177315 h 188632"/>
              </a:gdLst>
              <a:ahLst/>
              <a:cxnLst>
                <a:cxn ang="0">
                  <a:pos x="connsiteX0" y="connsiteY0"/>
                </a:cxn>
                <a:cxn ang="0">
                  <a:pos x="connsiteX1" y="connsiteY1"/>
                </a:cxn>
                <a:cxn ang="0">
                  <a:pos x="connsiteX2" y="connsiteY2"/>
                </a:cxn>
                <a:cxn ang="0">
                  <a:pos x="connsiteX3" y="connsiteY3"/>
                </a:cxn>
              </a:cxnLst>
              <a:rect l="l" t="t" r="r" b="b"/>
              <a:pathLst>
                <a:path w="768835" h="188632">
                  <a:moveTo>
                    <a:pt x="0" y="177315"/>
                  </a:moveTo>
                  <a:cubicBezTo>
                    <a:pt x="87950" y="78338"/>
                    <a:pt x="247828" y="-1462"/>
                    <a:pt x="380228" y="21"/>
                  </a:cubicBezTo>
                  <a:cubicBezTo>
                    <a:pt x="512627" y="1505"/>
                    <a:pt x="683125" y="79364"/>
                    <a:pt x="768835" y="180287"/>
                  </a:cubicBezTo>
                  <a:cubicBezTo>
                    <a:pt x="513351" y="189616"/>
                    <a:pt x="257866" y="194180"/>
                    <a:pt x="0" y="17731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27" name="그룹 58">
            <a:extLst>
              <a:ext uri="{FF2B5EF4-FFF2-40B4-BE49-F238E27FC236}">
                <a16:creationId xmlns:a16="http://schemas.microsoft.com/office/drawing/2014/main" id="{E799B1F0-64BC-8B4C-9889-37A5BE21810B}"/>
              </a:ext>
            </a:extLst>
          </p:cNvPr>
          <p:cNvGrpSpPr>
            <a:grpSpLocks noChangeAspect="1"/>
          </p:cNvGrpSpPr>
          <p:nvPr/>
        </p:nvGrpSpPr>
        <p:grpSpPr>
          <a:xfrm>
            <a:off x="9244182" y="4565305"/>
            <a:ext cx="1212698" cy="1044000"/>
            <a:chOff x="7521194" y="5284915"/>
            <a:chExt cx="1137987" cy="979683"/>
          </a:xfrm>
        </p:grpSpPr>
        <p:grpSp>
          <p:nvGrpSpPr>
            <p:cNvPr id="28" name="Group 7">
              <a:extLst>
                <a:ext uri="{FF2B5EF4-FFF2-40B4-BE49-F238E27FC236}">
                  <a16:creationId xmlns:a16="http://schemas.microsoft.com/office/drawing/2014/main" id="{70F9779F-4D9C-A240-8836-9CB8788DCFF7}"/>
                </a:ext>
              </a:extLst>
            </p:cNvPr>
            <p:cNvGrpSpPr/>
            <p:nvPr/>
          </p:nvGrpSpPr>
          <p:grpSpPr>
            <a:xfrm>
              <a:off x="7521194" y="5284915"/>
              <a:ext cx="1137987" cy="979683"/>
              <a:chOff x="5580112" y="4160675"/>
              <a:chExt cx="2016224" cy="1735751"/>
            </a:xfrm>
          </p:grpSpPr>
          <p:sp>
            <p:nvSpPr>
              <p:cNvPr id="30" name="Trapezoid 1">
                <a:extLst>
                  <a:ext uri="{FF2B5EF4-FFF2-40B4-BE49-F238E27FC236}">
                    <a16:creationId xmlns:a16="http://schemas.microsoft.com/office/drawing/2014/main" id="{28781FEF-8BA9-244C-9CEB-703C091AA838}"/>
                  </a:ext>
                </a:extLst>
              </p:cNvPr>
              <p:cNvSpPr/>
              <p:nvPr/>
            </p:nvSpPr>
            <p:spPr>
              <a:xfrm rot="10800000">
                <a:off x="5796136" y="4653136"/>
                <a:ext cx="1584176" cy="1243290"/>
              </a:xfrm>
              <a:custGeom>
                <a:avLst/>
                <a:gdLst>
                  <a:gd name="connsiteX0" fmla="*/ 0 w 1584176"/>
                  <a:gd name="connsiteY0" fmla="*/ 1216152 h 1216152"/>
                  <a:gd name="connsiteX1" fmla="*/ 304038 w 1584176"/>
                  <a:gd name="connsiteY1" fmla="*/ 0 h 1216152"/>
                  <a:gd name="connsiteX2" fmla="*/ 1280138 w 1584176"/>
                  <a:gd name="connsiteY2" fmla="*/ 0 h 1216152"/>
                  <a:gd name="connsiteX3" fmla="*/ 1584176 w 1584176"/>
                  <a:gd name="connsiteY3" fmla="*/ 1216152 h 1216152"/>
                  <a:gd name="connsiteX4" fmla="*/ 0 w 1584176"/>
                  <a:gd name="connsiteY4" fmla="*/ 1216152 h 1216152"/>
                  <a:gd name="connsiteX0" fmla="*/ 0 w 1584176"/>
                  <a:gd name="connsiteY0" fmla="*/ 1235792 h 1235792"/>
                  <a:gd name="connsiteX1" fmla="*/ 304038 w 1584176"/>
                  <a:gd name="connsiteY1" fmla="*/ 19640 h 1235792"/>
                  <a:gd name="connsiteX2" fmla="*/ 1280138 w 1584176"/>
                  <a:gd name="connsiteY2" fmla="*/ 19640 h 1235792"/>
                  <a:gd name="connsiteX3" fmla="*/ 1584176 w 1584176"/>
                  <a:gd name="connsiteY3" fmla="*/ 1235792 h 1235792"/>
                  <a:gd name="connsiteX4" fmla="*/ 0 w 1584176"/>
                  <a:gd name="connsiteY4" fmla="*/ 1235792 h 1235792"/>
                  <a:gd name="connsiteX0" fmla="*/ 0 w 1584176"/>
                  <a:gd name="connsiteY0" fmla="*/ 1243290 h 1243290"/>
                  <a:gd name="connsiteX1" fmla="*/ 304038 w 1584176"/>
                  <a:gd name="connsiteY1" fmla="*/ 27138 h 1243290"/>
                  <a:gd name="connsiteX2" fmla="*/ 1280138 w 1584176"/>
                  <a:gd name="connsiteY2" fmla="*/ 27138 h 1243290"/>
                  <a:gd name="connsiteX3" fmla="*/ 1584176 w 1584176"/>
                  <a:gd name="connsiteY3" fmla="*/ 1243290 h 1243290"/>
                  <a:gd name="connsiteX4" fmla="*/ 0 w 1584176"/>
                  <a:gd name="connsiteY4" fmla="*/ 1243290 h 1243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176" h="1243290">
                    <a:moveTo>
                      <a:pt x="0" y="1243290"/>
                    </a:moveTo>
                    <a:lnTo>
                      <a:pt x="304038" y="27138"/>
                    </a:lnTo>
                    <a:cubicBezTo>
                      <a:pt x="629405" y="-57"/>
                      <a:pt x="941174" y="-17053"/>
                      <a:pt x="1280138" y="27138"/>
                    </a:cubicBezTo>
                    <a:lnTo>
                      <a:pt x="1584176" y="1243290"/>
                    </a:lnTo>
                    <a:lnTo>
                      <a:pt x="0" y="1243290"/>
                    </a:lnTo>
                    <a:close/>
                  </a:path>
                </a:pathLst>
              </a:custGeom>
              <a:solidFill>
                <a:schemeClr val="accent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1" name="Trapezoid 6">
                <a:extLst>
                  <a:ext uri="{FF2B5EF4-FFF2-40B4-BE49-F238E27FC236}">
                    <a16:creationId xmlns:a16="http://schemas.microsoft.com/office/drawing/2014/main" id="{579E9054-1C8D-994E-A270-922BB3CE5E48}"/>
                  </a:ext>
                </a:extLst>
              </p:cNvPr>
              <p:cNvSpPr/>
              <p:nvPr/>
            </p:nvSpPr>
            <p:spPr>
              <a:xfrm rot="10800000">
                <a:off x="5580112" y="4312147"/>
                <a:ext cx="2016224" cy="471979"/>
              </a:xfrm>
              <a:custGeom>
                <a:avLst/>
                <a:gdLst>
                  <a:gd name="connsiteX0" fmla="*/ 0 w 2016224"/>
                  <a:gd name="connsiteY0" fmla="*/ 360040 h 360040"/>
                  <a:gd name="connsiteX1" fmla="*/ 128109 w 2016224"/>
                  <a:gd name="connsiteY1" fmla="*/ 0 h 360040"/>
                  <a:gd name="connsiteX2" fmla="*/ 1888115 w 2016224"/>
                  <a:gd name="connsiteY2" fmla="*/ 0 h 360040"/>
                  <a:gd name="connsiteX3" fmla="*/ 2016224 w 2016224"/>
                  <a:gd name="connsiteY3" fmla="*/ 360040 h 360040"/>
                  <a:gd name="connsiteX4" fmla="*/ 0 w 2016224"/>
                  <a:gd name="connsiteY4" fmla="*/ 360040 h 360040"/>
                  <a:gd name="connsiteX0" fmla="*/ 0 w 2016224"/>
                  <a:gd name="connsiteY0" fmla="*/ 431046 h 431046"/>
                  <a:gd name="connsiteX1" fmla="*/ 128109 w 2016224"/>
                  <a:gd name="connsiteY1" fmla="*/ 71006 h 431046"/>
                  <a:gd name="connsiteX2" fmla="*/ 1888115 w 2016224"/>
                  <a:gd name="connsiteY2" fmla="*/ 71006 h 431046"/>
                  <a:gd name="connsiteX3" fmla="*/ 2016224 w 2016224"/>
                  <a:gd name="connsiteY3" fmla="*/ 431046 h 431046"/>
                  <a:gd name="connsiteX4" fmla="*/ 0 w 2016224"/>
                  <a:gd name="connsiteY4" fmla="*/ 431046 h 431046"/>
                  <a:gd name="connsiteX0" fmla="*/ 0 w 2016224"/>
                  <a:gd name="connsiteY0" fmla="*/ 458241 h 458241"/>
                  <a:gd name="connsiteX1" fmla="*/ 128109 w 2016224"/>
                  <a:gd name="connsiteY1" fmla="*/ 98201 h 458241"/>
                  <a:gd name="connsiteX2" fmla="*/ 1888115 w 2016224"/>
                  <a:gd name="connsiteY2" fmla="*/ 98201 h 458241"/>
                  <a:gd name="connsiteX3" fmla="*/ 2016224 w 2016224"/>
                  <a:gd name="connsiteY3" fmla="*/ 458241 h 458241"/>
                  <a:gd name="connsiteX4" fmla="*/ 0 w 2016224"/>
                  <a:gd name="connsiteY4" fmla="*/ 458241 h 458241"/>
                  <a:gd name="connsiteX0" fmla="*/ 0 w 2016224"/>
                  <a:gd name="connsiteY0" fmla="*/ 465296 h 465296"/>
                  <a:gd name="connsiteX1" fmla="*/ 128109 w 2016224"/>
                  <a:gd name="connsiteY1" fmla="*/ 105256 h 465296"/>
                  <a:gd name="connsiteX2" fmla="*/ 1888115 w 2016224"/>
                  <a:gd name="connsiteY2" fmla="*/ 105256 h 465296"/>
                  <a:gd name="connsiteX3" fmla="*/ 2016224 w 2016224"/>
                  <a:gd name="connsiteY3" fmla="*/ 465296 h 465296"/>
                  <a:gd name="connsiteX4" fmla="*/ 0 w 2016224"/>
                  <a:gd name="connsiteY4" fmla="*/ 465296 h 465296"/>
                  <a:gd name="connsiteX0" fmla="*/ 0 w 2016224"/>
                  <a:gd name="connsiteY0" fmla="*/ 471979 h 471979"/>
                  <a:gd name="connsiteX1" fmla="*/ 128109 w 2016224"/>
                  <a:gd name="connsiteY1" fmla="*/ 111939 h 471979"/>
                  <a:gd name="connsiteX2" fmla="*/ 1888115 w 2016224"/>
                  <a:gd name="connsiteY2" fmla="*/ 111939 h 471979"/>
                  <a:gd name="connsiteX3" fmla="*/ 2016224 w 2016224"/>
                  <a:gd name="connsiteY3" fmla="*/ 471979 h 471979"/>
                  <a:gd name="connsiteX4" fmla="*/ 0 w 2016224"/>
                  <a:gd name="connsiteY4" fmla="*/ 471979 h 47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6224" h="471979">
                    <a:moveTo>
                      <a:pt x="0" y="471979"/>
                    </a:moveTo>
                    <a:lnTo>
                      <a:pt x="128109" y="111939"/>
                    </a:lnTo>
                    <a:cubicBezTo>
                      <a:pt x="572010" y="-7034"/>
                      <a:pt x="1260655" y="-64822"/>
                      <a:pt x="1888115" y="111939"/>
                    </a:cubicBezTo>
                    <a:lnTo>
                      <a:pt x="2016224" y="471979"/>
                    </a:lnTo>
                    <a:lnTo>
                      <a:pt x="0" y="471979"/>
                    </a:lnTo>
                    <a:close/>
                  </a:path>
                </a:pathLst>
              </a:custGeom>
              <a:solidFill>
                <a:schemeClr val="accent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2" name="Oval 5">
                <a:extLst>
                  <a:ext uri="{FF2B5EF4-FFF2-40B4-BE49-F238E27FC236}">
                    <a16:creationId xmlns:a16="http://schemas.microsoft.com/office/drawing/2014/main" id="{31B9631B-4F7A-A346-B08B-CDDBC8488A51}"/>
                  </a:ext>
                </a:extLst>
              </p:cNvPr>
              <p:cNvSpPr/>
              <p:nvPr/>
            </p:nvSpPr>
            <p:spPr>
              <a:xfrm>
                <a:off x="5580223" y="4160675"/>
                <a:ext cx="2016000" cy="302944"/>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29" name="Chord 23">
              <a:extLst>
                <a:ext uri="{FF2B5EF4-FFF2-40B4-BE49-F238E27FC236}">
                  <a16:creationId xmlns:a16="http://schemas.microsoft.com/office/drawing/2014/main" id="{573C50AC-0678-CE4F-9A0D-05ED12C4F1BD}"/>
                </a:ext>
              </a:extLst>
            </p:cNvPr>
            <p:cNvSpPr/>
            <p:nvPr/>
          </p:nvSpPr>
          <p:spPr>
            <a:xfrm>
              <a:off x="7788585" y="5306768"/>
              <a:ext cx="578589" cy="141955"/>
            </a:xfrm>
            <a:custGeom>
              <a:avLst/>
              <a:gdLst>
                <a:gd name="connsiteX0" fmla="*/ 115433 w 914400"/>
                <a:gd name="connsiteY0" fmla="*/ 153510 h 914400"/>
                <a:gd name="connsiteX1" fmla="*/ 462323 w 914400"/>
                <a:gd name="connsiteY1" fmla="*/ 28 h 914400"/>
                <a:gd name="connsiteX2" fmla="*/ 805686 w 914400"/>
                <a:gd name="connsiteY2" fmla="*/ 161244 h 914400"/>
                <a:gd name="connsiteX3" fmla="*/ 115433 w 914400"/>
                <a:gd name="connsiteY3" fmla="*/ 153510 h 914400"/>
                <a:gd name="connsiteX0" fmla="*/ 0 w 723591"/>
                <a:gd name="connsiteY0" fmla="*/ 177315 h 177532"/>
                <a:gd name="connsiteX1" fmla="*/ 380228 w 723591"/>
                <a:gd name="connsiteY1" fmla="*/ 21 h 177532"/>
                <a:gd name="connsiteX2" fmla="*/ 723591 w 723591"/>
                <a:gd name="connsiteY2" fmla="*/ 161237 h 177532"/>
                <a:gd name="connsiteX3" fmla="*/ 0 w 723591"/>
                <a:gd name="connsiteY3" fmla="*/ 177315 h 177532"/>
                <a:gd name="connsiteX0" fmla="*/ 0 w 759310"/>
                <a:gd name="connsiteY0" fmla="*/ 177315 h 185049"/>
                <a:gd name="connsiteX1" fmla="*/ 380228 w 759310"/>
                <a:gd name="connsiteY1" fmla="*/ 21 h 185049"/>
                <a:gd name="connsiteX2" fmla="*/ 759310 w 759310"/>
                <a:gd name="connsiteY2" fmla="*/ 185049 h 185049"/>
                <a:gd name="connsiteX3" fmla="*/ 0 w 759310"/>
                <a:gd name="connsiteY3" fmla="*/ 177315 h 185049"/>
                <a:gd name="connsiteX0" fmla="*/ 0 w 759310"/>
                <a:gd name="connsiteY0" fmla="*/ 177315 h 188144"/>
                <a:gd name="connsiteX1" fmla="*/ 380228 w 759310"/>
                <a:gd name="connsiteY1" fmla="*/ 21 h 188144"/>
                <a:gd name="connsiteX2" fmla="*/ 759310 w 759310"/>
                <a:gd name="connsiteY2" fmla="*/ 185049 h 188144"/>
                <a:gd name="connsiteX3" fmla="*/ 0 w 759310"/>
                <a:gd name="connsiteY3" fmla="*/ 177315 h 188144"/>
                <a:gd name="connsiteX0" fmla="*/ 0 w 759310"/>
                <a:gd name="connsiteY0" fmla="*/ 177315 h 191233"/>
                <a:gd name="connsiteX1" fmla="*/ 380228 w 759310"/>
                <a:gd name="connsiteY1" fmla="*/ 21 h 191233"/>
                <a:gd name="connsiteX2" fmla="*/ 759310 w 759310"/>
                <a:gd name="connsiteY2" fmla="*/ 185049 h 191233"/>
                <a:gd name="connsiteX3" fmla="*/ 0 w 759310"/>
                <a:gd name="connsiteY3" fmla="*/ 177315 h 191233"/>
                <a:gd name="connsiteX0" fmla="*/ 0 w 759310"/>
                <a:gd name="connsiteY0" fmla="*/ 177315 h 187572"/>
                <a:gd name="connsiteX1" fmla="*/ 380228 w 759310"/>
                <a:gd name="connsiteY1" fmla="*/ 21 h 187572"/>
                <a:gd name="connsiteX2" fmla="*/ 759310 w 759310"/>
                <a:gd name="connsiteY2" fmla="*/ 177905 h 187572"/>
                <a:gd name="connsiteX3" fmla="*/ 0 w 759310"/>
                <a:gd name="connsiteY3" fmla="*/ 177315 h 187572"/>
                <a:gd name="connsiteX0" fmla="*/ 0 w 768835"/>
                <a:gd name="connsiteY0" fmla="*/ 177315 h 188632"/>
                <a:gd name="connsiteX1" fmla="*/ 380228 w 768835"/>
                <a:gd name="connsiteY1" fmla="*/ 21 h 188632"/>
                <a:gd name="connsiteX2" fmla="*/ 768835 w 768835"/>
                <a:gd name="connsiteY2" fmla="*/ 180287 h 188632"/>
                <a:gd name="connsiteX3" fmla="*/ 0 w 768835"/>
                <a:gd name="connsiteY3" fmla="*/ 177315 h 188632"/>
              </a:gdLst>
              <a:ahLst/>
              <a:cxnLst>
                <a:cxn ang="0">
                  <a:pos x="connsiteX0" y="connsiteY0"/>
                </a:cxn>
                <a:cxn ang="0">
                  <a:pos x="connsiteX1" y="connsiteY1"/>
                </a:cxn>
                <a:cxn ang="0">
                  <a:pos x="connsiteX2" y="connsiteY2"/>
                </a:cxn>
                <a:cxn ang="0">
                  <a:pos x="connsiteX3" y="connsiteY3"/>
                </a:cxn>
              </a:cxnLst>
              <a:rect l="l" t="t" r="r" b="b"/>
              <a:pathLst>
                <a:path w="768835" h="188632">
                  <a:moveTo>
                    <a:pt x="0" y="177315"/>
                  </a:moveTo>
                  <a:cubicBezTo>
                    <a:pt x="87950" y="78338"/>
                    <a:pt x="247828" y="-1462"/>
                    <a:pt x="380228" y="21"/>
                  </a:cubicBezTo>
                  <a:cubicBezTo>
                    <a:pt x="512627" y="1505"/>
                    <a:pt x="683125" y="79364"/>
                    <a:pt x="768835" y="180287"/>
                  </a:cubicBezTo>
                  <a:cubicBezTo>
                    <a:pt x="513351" y="189616"/>
                    <a:pt x="257866" y="194180"/>
                    <a:pt x="0" y="177315"/>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grpSp>
        <p:nvGrpSpPr>
          <p:cNvPr id="33" name="그룹 6">
            <a:extLst>
              <a:ext uri="{FF2B5EF4-FFF2-40B4-BE49-F238E27FC236}">
                <a16:creationId xmlns:a16="http://schemas.microsoft.com/office/drawing/2014/main" id="{809F0026-0C0D-2245-AACD-D953DC0B8676}"/>
              </a:ext>
            </a:extLst>
          </p:cNvPr>
          <p:cNvGrpSpPr/>
          <p:nvPr/>
        </p:nvGrpSpPr>
        <p:grpSpPr>
          <a:xfrm>
            <a:off x="9071935" y="2028873"/>
            <a:ext cx="2103432" cy="2605205"/>
            <a:chOff x="8680049" y="1633020"/>
            <a:chExt cx="2103432" cy="2605205"/>
          </a:xfrm>
        </p:grpSpPr>
        <p:sp>
          <p:nvSpPr>
            <p:cNvPr id="34" name="Rectangle 21">
              <a:extLst>
                <a:ext uri="{FF2B5EF4-FFF2-40B4-BE49-F238E27FC236}">
                  <a16:creationId xmlns:a16="http://schemas.microsoft.com/office/drawing/2014/main" id="{9ABB854F-535E-2445-B76D-C4639071A862}"/>
                </a:ext>
              </a:extLst>
            </p:cNvPr>
            <p:cNvSpPr/>
            <p:nvPr/>
          </p:nvSpPr>
          <p:spPr>
            <a:xfrm rot="3027132">
              <a:off x="9023723" y="1756534"/>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자유형: 도형 84">
              <a:extLst>
                <a:ext uri="{FF2B5EF4-FFF2-40B4-BE49-F238E27FC236}">
                  <a16:creationId xmlns:a16="http://schemas.microsoft.com/office/drawing/2014/main" id="{F68ECB58-4DA3-724B-99EC-753613DB9034}"/>
                </a:ext>
              </a:extLst>
            </p:cNvPr>
            <p:cNvSpPr>
              <a:spLocks/>
            </p:cNvSpPr>
            <p:nvPr/>
          </p:nvSpPr>
          <p:spPr bwMode="auto">
            <a:xfrm>
              <a:off x="9204199" y="2143683"/>
              <a:ext cx="1295643" cy="2094542"/>
            </a:xfrm>
            <a:custGeom>
              <a:avLst/>
              <a:gdLst>
                <a:gd name="connsiteX0" fmla="*/ 1361456 w 1362600"/>
                <a:gd name="connsiteY0" fmla="*/ 1033789 h 2396328"/>
                <a:gd name="connsiteX1" fmla="*/ 1362600 w 1362600"/>
                <a:gd name="connsiteY1" fmla="*/ 1034469 h 2396328"/>
                <a:gd name="connsiteX2" fmla="*/ 1360043 w 1362600"/>
                <a:gd name="connsiteY2" fmla="*/ 1035347 h 2396328"/>
                <a:gd name="connsiteX3" fmla="*/ 250633 w 1362600"/>
                <a:gd name="connsiteY3" fmla="*/ 0 h 2396328"/>
                <a:gd name="connsiteX4" fmla="*/ 246998 w 1362600"/>
                <a:gd name="connsiteY4" fmla="*/ 10764 h 2396328"/>
                <a:gd name="connsiteX5" fmla="*/ 245288 w 1362600"/>
                <a:gd name="connsiteY5" fmla="*/ 17940 h 2396328"/>
                <a:gd name="connsiteX6" fmla="*/ 243363 w 1362600"/>
                <a:gd name="connsiteY6" fmla="*/ 22649 h 2396328"/>
                <a:gd name="connsiteX7" fmla="*/ 243363 w 1362600"/>
                <a:gd name="connsiteY7" fmla="*/ 25340 h 2396328"/>
                <a:gd name="connsiteX8" fmla="*/ 245288 w 1362600"/>
                <a:gd name="connsiteY8" fmla="*/ 26686 h 2396328"/>
                <a:gd name="connsiteX9" fmla="*/ 245288 w 1362600"/>
                <a:gd name="connsiteY9" fmla="*/ 28031 h 2396328"/>
                <a:gd name="connsiteX10" fmla="*/ 246998 w 1362600"/>
                <a:gd name="connsiteY10" fmla="*/ 28031 h 2396328"/>
                <a:gd name="connsiteX11" fmla="*/ 246998 w 1362600"/>
                <a:gd name="connsiteY11" fmla="*/ 30050 h 2396328"/>
                <a:gd name="connsiteX12" fmla="*/ 245288 w 1362600"/>
                <a:gd name="connsiteY12" fmla="*/ 34086 h 2396328"/>
                <a:gd name="connsiteX13" fmla="*/ 243363 w 1362600"/>
                <a:gd name="connsiteY13" fmla="*/ 40141 h 2396328"/>
                <a:gd name="connsiteX14" fmla="*/ 240797 w 1362600"/>
                <a:gd name="connsiteY14" fmla="*/ 49559 h 2396328"/>
                <a:gd name="connsiteX15" fmla="*/ 235452 w 1362600"/>
                <a:gd name="connsiteY15" fmla="*/ 62790 h 2396328"/>
                <a:gd name="connsiteX16" fmla="*/ 227326 w 1362600"/>
                <a:gd name="connsiteY16" fmla="*/ 81627 h 2396328"/>
                <a:gd name="connsiteX17" fmla="*/ 219415 w 1362600"/>
                <a:gd name="connsiteY17" fmla="*/ 104276 h 2396328"/>
                <a:gd name="connsiteX18" fmla="*/ 206799 w 1362600"/>
                <a:gd name="connsiteY18" fmla="*/ 133653 h 2396328"/>
                <a:gd name="connsiteX19" fmla="*/ 191831 w 1362600"/>
                <a:gd name="connsiteY19" fmla="*/ 169084 h 2396328"/>
                <a:gd name="connsiteX20" fmla="*/ 173870 w 1362600"/>
                <a:gd name="connsiteY20" fmla="*/ 224474 h 2396328"/>
                <a:gd name="connsiteX21" fmla="*/ 161468 w 1362600"/>
                <a:gd name="connsiteY21" fmla="*/ 283900 h 2396328"/>
                <a:gd name="connsiteX22" fmla="*/ 151632 w 1362600"/>
                <a:gd name="connsiteY22" fmla="*/ 344896 h 2396328"/>
                <a:gd name="connsiteX23" fmla="*/ 138375 w 1362600"/>
                <a:gd name="connsiteY23" fmla="*/ 409704 h 2396328"/>
                <a:gd name="connsiteX24" fmla="*/ 136451 w 1362600"/>
                <a:gd name="connsiteY24" fmla="*/ 423607 h 2396328"/>
                <a:gd name="connsiteX25" fmla="*/ 133885 w 1362600"/>
                <a:gd name="connsiteY25" fmla="*/ 444462 h 2396328"/>
                <a:gd name="connsiteX26" fmla="*/ 131960 w 1362600"/>
                <a:gd name="connsiteY26" fmla="*/ 466439 h 2396328"/>
                <a:gd name="connsiteX27" fmla="*/ 130250 w 1362600"/>
                <a:gd name="connsiteY27" fmla="*/ 490433 h 2396328"/>
                <a:gd name="connsiteX28" fmla="*/ 130250 w 1362600"/>
                <a:gd name="connsiteY28" fmla="*/ 515101 h 2396328"/>
                <a:gd name="connsiteX29" fmla="*/ 133885 w 1362600"/>
                <a:gd name="connsiteY29" fmla="*/ 537301 h 2396328"/>
                <a:gd name="connsiteX30" fmla="*/ 138375 w 1362600"/>
                <a:gd name="connsiteY30" fmla="*/ 556587 h 2396328"/>
                <a:gd name="connsiteX31" fmla="*/ 146286 w 1362600"/>
                <a:gd name="connsiteY31" fmla="*/ 570042 h 2396328"/>
                <a:gd name="connsiteX32" fmla="*/ 189052 w 1362600"/>
                <a:gd name="connsiteY32" fmla="*/ 567351 h 2396328"/>
                <a:gd name="connsiteX33" fmla="*/ 230961 w 1362600"/>
                <a:gd name="connsiteY33" fmla="*/ 556587 h 2396328"/>
                <a:gd name="connsiteX34" fmla="*/ 270947 w 1362600"/>
                <a:gd name="connsiteY34" fmla="*/ 539320 h 2396328"/>
                <a:gd name="connsiteX35" fmla="*/ 312001 w 1362600"/>
                <a:gd name="connsiteY35" fmla="*/ 515101 h 2396328"/>
                <a:gd name="connsiteX36" fmla="*/ 349420 w 1362600"/>
                <a:gd name="connsiteY36" fmla="*/ 487070 h 2396328"/>
                <a:gd name="connsiteX37" fmla="*/ 385985 w 1362600"/>
                <a:gd name="connsiteY37" fmla="*/ 452984 h 2396328"/>
                <a:gd name="connsiteX38" fmla="*/ 420624 w 1362600"/>
                <a:gd name="connsiteY38" fmla="*/ 416880 h 2396328"/>
                <a:gd name="connsiteX39" fmla="*/ 452698 w 1362600"/>
                <a:gd name="connsiteY39" fmla="*/ 378981 h 2396328"/>
                <a:gd name="connsiteX40" fmla="*/ 483917 w 1362600"/>
                <a:gd name="connsiteY40" fmla="*/ 338841 h 2396328"/>
                <a:gd name="connsiteX41" fmla="*/ 510645 w 1362600"/>
                <a:gd name="connsiteY41" fmla="*/ 297355 h 2396328"/>
                <a:gd name="connsiteX42" fmla="*/ 535662 w 1362600"/>
                <a:gd name="connsiteY42" fmla="*/ 257214 h 2396328"/>
                <a:gd name="connsiteX43" fmla="*/ 556190 w 1362600"/>
                <a:gd name="connsiteY43" fmla="*/ 218419 h 2396328"/>
                <a:gd name="connsiteX44" fmla="*/ 566026 w 1362600"/>
                <a:gd name="connsiteY44" fmla="*/ 218419 h 2396328"/>
                <a:gd name="connsiteX45" fmla="*/ 566026 w 1362600"/>
                <a:gd name="connsiteY45" fmla="*/ 222455 h 2396328"/>
                <a:gd name="connsiteX46" fmla="*/ 549989 w 1362600"/>
                <a:gd name="connsiteY46" fmla="*/ 261251 h 2396328"/>
                <a:gd name="connsiteX47" fmla="*/ 532027 w 1362600"/>
                <a:gd name="connsiteY47" fmla="*/ 301391 h 2396328"/>
                <a:gd name="connsiteX48" fmla="*/ 512569 w 1362600"/>
                <a:gd name="connsiteY48" fmla="*/ 340186 h 2396328"/>
                <a:gd name="connsiteX49" fmla="*/ 492897 w 1362600"/>
                <a:gd name="connsiteY49" fmla="*/ 377636 h 2396328"/>
                <a:gd name="connsiteX50" fmla="*/ 472370 w 1362600"/>
                <a:gd name="connsiteY50" fmla="*/ 414189 h 2396328"/>
                <a:gd name="connsiteX51" fmla="*/ 449277 w 1362600"/>
                <a:gd name="connsiteY51" fmla="*/ 448274 h 2396328"/>
                <a:gd name="connsiteX52" fmla="*/ 425115 w 1362600"/>
                <a:gd name="connsiteY52" fmla="*/ 481015 h 2396328"/>
                <a:gd name="connsiteX53" fmla="*/ 395821 w 1362600"/>
                <a:gd name="connsiteY53" fmla="*/ 511064 h 2396328"/>
                <a:gd name="connsiteX54" fmla="*/ 365458 w 1362600"/>
                <a:gd name="connsiteY54" fmla="*/ 540665 h 2396328"/>
                <a:gd name="connsiteX55" fmla="*/ 329749 w 1362600"/>
                <a:gd name="connsiteY55" fmla="*/ 564660 h 2396328"/>
                <a:gd name="connsiteX56" fmla="*/ 288908 w 1362600"/>
                <a:gd name="connsiteY56" fmla="*/ 586636 h 2396328"/>
                <a:gd name="connsiteX57" fmla="*/ 243363 w 1362600"/>
                <a:gd name="connsiteY57" fmla="*/ 606146 h 2396328"/>
                <a:gd name="connsiteX58" fmla="*/ 195252 w 1362600"/>
                <a:gd name="connsiteY58" fmla="*/ 620722 h 2396328"/>
                <a:gd name="connsiteX59" fmla="*/ 138375 w 1362600"/>
                <a:gd name="connsiteY59" fmla="*/ 630813 h 2396328"/>
                <a:gd name="connsiteX60" fmla="*/ 140086 w 1362600"/>
                <a:gd name="connsiteY60" fmla="*/ 701003 h 2396328"/>
                <a:gd name="connsiteX61" fmla="*/ 147997 w 1362600"/>
                <a:gd name="connsiteY61" fmla="*/ 767830 h 2396328"/>
                <a:gd name="connsiteX62" fmla="*/ 161468 w 1362600"/>
                <a:gd name="connsiteY62" fmla="*/ 831292 h 2396328"/>
                <a:gd name="connsiteX63" fmla="*/ 179216 w 1362600"/>
                <a:gd name="connsiteY63" fmla="*/ 891391 h 2396328"/>
                <a:gd name="connsiteX64" fmla="*/ 201453 w 1362600"/>
                <a:gd name="connsiteY64" fmla="*/ 948799 h 2396328"/>
                <a:gd name="connsiteX65" fmla="*/ 225616 w 1362600"/>
                <a:gd name="connsiteY65" fmla="*/ 1003740 h 2396328"/>
                <a:gd name="connsiteX66" fmla="*/ 253199 w 1362600"/>
                <a:gd name="connsiteY66" fmla="*/ 1055766 h 2396328"/>
                <a:gd name="connsiteX67" fmla="*/ 280783 w 1362600"/>
                <a:gd name="connsiteY67" fmla="*/ 1106446 h 2396328"/>
                <a:gd name="connsiteX68" fmla="*/ 288908 w 1362600"/>
                <a:gd name="connsiteY68" fmla="*/ 1118556 h 2396328"/>
                <a:gd name="connsiteX69" fmla="*/ 295964 w 1362600"/>
                <a:gd name="connsiteY69" fmla="*/ 1133356 h 2396328"/>
                <a:gd name="connsiteX70" fmla="*/ 305800 w 1362600"/>
                <a:gd name="connsiteY70" fmla="*/ 1149278 h 2396328"/>
                <a:gd name="connsiteX71" fmla="*/ 314781 w 1362600"/>
                <a:gd name="connsiteY71" fmla="*/ 1166097 h 2396328"/>
                <a:gd name="connsiteX72" fmla="*/ 326327 w 1362600"/>
                <a:gd name="connsiteY72" fmla="*/ 1182018 h 2396328"/>
                <a:gd name="connsiteX73" fmla="*/ 339585 w 1362600"/>
                <a:gd name="connsiteY73" fmla="*/ 1195473 h 2396328"/>
                <a:gd name="connsiteX74" fmla="*/ 355622 w 1362600"/>
                <a:gd name="connsiteY74" fmla="*/ 1207358 h 2396328"/>
                <a:gd name="connsiteX75" fmla="*/ 373583 w 1362600"/>
                <a:gd name="connsiteY75" fmla="*/ 1216104 h 2396328"/>
                <a:gd name="connsiteX76" fmla="*/ 394965 w 1362600"/>
                <a:gd name="connsiteY76" fmla="*/ 1219468 h 2396328"/>
                <a:gd name="connsiteX77" fmla="*/ 417203 w 1362600"/>
                <a:gd name="connsiteY77" fmla="*/ 1218795 h 2396328"/>
                <a:gd name="connsiteX78" fmla="*/ 457188 w 1362600"/>
                <a:gd name="connsiteY78" fmla="*/ 1208704 h 2396328"/>
                <a:gd name="connsiteX79" fmla="*/ 492897 w 1362600"/>
                <a:gd name="connsiteY79" fmla="*/ 1192109 h 2396328"/>
                <a:gd name="connsiteX80" fmla="*/ 527537 w 1362600"/>
                <a:gd name="connsiteY80" fmla="*/ 1171254 h 2396328"/>
                <a:gd name="connsiteX81" fmla="*/ 556190 w 1362600"/>
                <a:gd name="connsiteY81" fmla="*/ 1146587 h 2396328"/>
                <a:gd name="connsiteX82" fmla="*/ 583773 w 1362600"/>
                <a:gd name="connsiteY82" fmla="*/ 1119901 h 2396328"/>
                <a:gd name="connsiteX83" fmla="*/ 609646 w 1362600"/>
                <a:gd name="connsiteY83" fmla="*/ 1091870 h 2396328"/>
                <a:gd name="connsiteX84" fmla="*/ 632739 w 1362600"/>
                <a:gd name="connsiteY84" fmla="*/ 1065184 h 2396328"/>
                <a:gd name="connsiteX85" fmla="*/ 652411 w 1362600"/>
                <a:gd name="connsiteY85" fmla="*/ 1039620 h 2396328"/>
                <a:gd name="connsiteX86" fmla="*/ 696031 w 1362600"/>
                <a:gd name="connsiteY86" fmla="*/ 981539 h 2396328"/>
                <a:gd name="connsiteX87" fmla="*/ 737941 w 1362600"/>
                <a:gd name="connsiteY87" fmla="*/ 916059 h 2396328"/>
                <a:gd name="connsiteX88" fmla="*/ 779851 w 1362600"/>
                <a:gd name="connsiteY88" fmla="*/ 844523 h 2396328"/>
                <a:gd name="connsiteX89" fmla="*/ 818981 w 1362600"/>
                <a:gd name="connsiteY89" fmla="*/ 766484 h 2396328"/>
                <a:gd name="connsiteX90" fmla="*/ 854690 w 1362600"/>
                <a:gd name="connsiteY90" fmla="*/ 684185 h 2396328"/>
                <a:gd name="connsiteX91" fmla="*/ 886764 w 1362600"/>
                <a:gd name="connsiteY91" fmla="*/ 596728 h 2396328"/>
                <a:gd name="connsiteX92" fmla="*/ 916058 w 1362600"/>
                <a:gd name="connsiteY92" fmla="*/ 505234 h 2396328"/>
                <a:gd name="connsiteX93" fmla="*/ 937440 w 1362600"/>
                <a:gd name="connsiteY93" fmla="*/ 410376 h 2396328"/>
                <a:gd name="connsiteX94" fmla="*/ 953477 w 1362600"/>
                <a:gd name="connsiteY94" fmla="*/ 313276 h 2396328"/>
                <a:gd name="connsiteX95" fmla="*/ 963313 w 1362600"/>
                <a:gd name="connsiteY95" fmla="*/ 213934 h 2396328"/>
                <a:gd name="connsiteX96" fmla="*/ 971224 w 1362600"/>
                <a:gd name="connsiteY96" fmla="*/ 218419 h 2396328"/>
                <a:gd name="connsiteX97" fmla="*/ 977639 w 1362600"/>
                <a:gd name="connsiteY97" fmla="*/ 229856 h 2396328"/>
                <a:gd name="connsiteX98" fmla="*/ 982985 w 1362600"/>
                <a:gd name="connsiteY98" fmla="*/ 246674 h 2396328"/>
                <a:gd name="connsiteX99" fmla="*/ 985551 w 1362600"/>
                <a:gd name="connsiteY99" fmla="*/ 268651 h 2396328"/>
                <a:gd name="connsiteX100" fmla="*/ 987261 w 1362600"/>
                <a:gd name="connsiteY100" fmla="*/ 293991 h 2396328"/>
                <a:gd name="connsiteX101" fmla="*/ 987261 w 1362600"/>
                <a:gd name="connsiteY101" fmla="*/ 323368 h 2396328"/>
                <a:gd name="connsiteX102" fmla="*/ 987261 w 1362600"/>
                <a:gd name="connsiteY102" fmla="*/ 354763 h 2396328"/>
                <a:gd name="connsiteX103" fmla="*/ 985551 w 1362600"/>
                <a:gd name="connsiteY103" fmla="*/ 388848 h 2396328"/>
                <a:gd name="connsiteX104" fmla="*/ 982985 w 1362600"/>
                <a:gd name="connsiteY104" fmla="*/ 423607 h 2396328"/>
                <a:gd name="connsiteX105" fmla="*/ 979350 w 1362600"/>
                <a:gd name="connsiteY105" fmla="*/ 459038 h 2396328"/>
                <a:gd name="connsiteX106" fmla="*/ 974004 w 1362600"/>
                <a:gd name="connsiteY106" fmla="*/ 494470 h 2396328"/>
                <a:gd name="connsiteX107" fmla="*/ 971224 w 1362600"/>
                <a:gd name="connsiteY107" fmla="*/ 528556 h 2396328"/>
                <a:gd name="connsiteX108" fmla="*/ 965879 w 1362600"/>
                <a:gd name="connsiteY108" fmla="*/ 559951 h 2396328"/>
                <a:gd name="connsiteX109" fmla="*/ 961602 w 1362600"/>
                <a:gd name="connsiteY109" fmla="*/ 589327 h 2396328"/>
                <a:gd name="connsiteX110" fmla="*/ 956257 w 1362600"/>
                <a:gd name="connsiteY110" fmla="*/ 614667 h 2396328"/>
                <a:gd name="connsiteX111" fmla="*/ 951766 w 1362600"/>
                <a:gd name="connsiteY111" fmla="*/ 635523 h 2396328"/>
                <a:gd name="connsiteX112" fmla="*/ 948131 w 1362600"/>
                <a:gd name="connsiteY112" fmla="*/ 652117 h 2396328"/>
                <a:gd name="connsiteX113" fmla="*/ 883984 w 1362600"/>
                <a:gd name="connsiteY113" fmla="*/ 841832 h 2396328"/>
                <a:gd name="connsiteX114" fmla="*/ 935730 w 1362600"/>
                <a:gd name="connsiteY114" fmla="*/ 838020 h 2396328"/>
                <a:gd name="connsiteX115" fmla="*/ 983840 w 1362600"/>
                <a:gd name="connsiteY115" fmla="*/ 828601 h 2396328"/>
                <a:gd name="connsiteX116" fmla="*/ 1029171 w 1362600"/>
                <a:gd name="connsiteY116" fmla="*/ 815146 h 2396328"/>
                <a:gd name="connsiteX117" fmla="*/ 1072792 w 1362600"/>
                <a:gd name="connsiteY117" fmla="*/ 797879 h 2396328"/>
                <a:gd name="connsiteX118" fmla="*/ 1112135 w 1362600"/>
                <a:gd name="connsiteY118" fmla="*/ 778369 h 2396328"/>
                <a:gd name="connsiteX119" fmla="*/ 1147630 w 1362600"/>
                <a:gd name="connsiteY119" fmla="*/ 757066 h 2396328"/>
                <a:gd name="connsiteX120" fmla="*/ 1181629 w 1362600"/>
                <a:gd name="connsiteY120" fmla="*/ 735089 h 2396328"/>
                <a:gd name="connsiteX121" fmla="*/ 1212847 w 1362600"/>
                <a:gd name="connsiteY121" fmla="*/ 714234 h 2396328"/>
                <a:gd name="connsiteX122" fmla="*/ 1215413 w 1362600"/>
                <a:gd name="connsiteY122" fmla="*/ 724325 h 2396328"/>
                <a:gd name="connsiteX123" fmla="*/ 1186974 w 1362600"/>
                <a:gd name="connsiteY123" fmla="*/ 757066 h 2396328"/>
                <a:gd name="connsiteX124" fmla="*/ 1152121 w 1362600"/>
                <a:gd name="connsiteY124" fmla="*/ 788461 h 2396328"/>
                <a:gd name="connsiteX125" fmla="*/ 1110211 w 1362600"/>
                <a:gd name="connsiteY125" fmla="*/ 816492 h 2396328"/>
                <a:gd name="connsiteX126" fmla="*/ 1063169 w 1362600"/>
                <a:gd name="connsiteY126" fmla="*/ 841832 h 2396328"/>
                <a:gd name="connsiteX127" fmla="*/ 1013134 w 1362600"/>
                <a:gd name="connsiteY127" fmla="*/ 864705 h 2396328"/>
                <a:gd name="connsiteX128" fmla="*/ 959678 w 1362600"/>
                <a:gd name="connsiteY128" fmla="*/ 884664 h 2396328"/>
                <a:gd name="connsiteX129" fmla="*/ 904511 w 1362600"/>
                <a:gd name="connsiteY129" fmla="*/ 900137 h 2396328"/>
                <a:gd name="connsiteX130" fmla="*/ 848275 w 1362600"/>
                <a:gd name="connsiteY130" fmla="*/ 911349 h 2396328"/>
                <a:gd name="connsiteX131" fmla="*/ 836728 w 1362600"/>
                <a:gd name="connsiteY131" fmla="*/ 938259 h 2396328"/>
                <a:gd name="connsiteX132" fmla="*/ 820692 w 1362600"/>
                <a:gd name="connsiteY132" fmla="*/ 969654 h 2396328"/>
                <a:gd name="connsiteX133" fmla="*/ 802944 w 1362600"/>
                <a:gd name="connsiteY133" fmla="*/ 1002395 h 2396328"/>
                <a:gd name="connsiteX134" fmla="*/ 779851 w 1362600"/>
                <a:gd name="connsiteY134" fmla="*/ 1037826 h 2396328"/>
                <a:gd name="connsiteX135" fmla="*/ 755689 w 1362600"/>
                <a:gd name="connsiteY135" fmla="*/ 1075051 h 2396328"/>
                <a:gd name="connsiteX136" fmla="*/ 729816 w 1362600"/>
                <a:gd name="connsiteY136" fmla="*/ 1111828 h 2396328"/>
                <a:gd name="connsiteX137" fmla="*/ 702232 w 1362600"/>
                <a:gd name="connsiteY137" fmla="*/ 1146587 h 2396328"/>
                <a:gd name="connsiteX138" fmla="*/ 674649 w 1362600"/>
                <a:gd name="connsiteY138" fmla="*/ 1180673 h 2396328"/>
                <a:gd name="connsiteX139" fmla="*/ 648776 w 1362600"/>
                <a:gd name="connsiteY139" fmla="*/ 1212068 h 2396328"/>
                <a:gd name="connsiteX140" fmla="*/ 621192 w 1362600"/>
                <a:gd name="connsiteY140" fmla="*/ 1240099 h 2396328"/>
                <a:gd name="connsiteX141" fmla="*/ 597030 w 1362600"/>
                <a:gd name="connsiteY141" fmla="*/ 1264990 h 2396328"/>
                <a:gd name="connsiteX142" fmla="*/ 573937 w 1362600"/>
                <a:gd name="connsiteY142" fmla="*/ 1282930 h 2396328"/>
                <a:gd name="connsiteX143" fmla="*/ 577572 w 1362600"/>
                <a:gd name="connsiteY143" fmla="*/ 1296385 h 2396328"/>
                <a:gd name="connsiteX144" fmla="*/ 583773 w 1362600"/>
                <a:gd name="connsiteY144" fmla="*/ 1299076 h 2396328"/>
                <a:gd name="connsiteX145" fmla="*/ 622903 w 1362600"/>
                <a:gd name="connsiteY145" fmla="*/ 1290331 h 2396328"/>
                <a:gd name="connsiteX146" fmla="*/ 662247 w 1362600"/>
                <a:gd name="connsiteY146" fmla="*/ 1286294 h 2396328"/>
                <a:gd name="connsiteX147" fmla="*/ 693158 w 1362600"/>
                <a:gd name="connsiteY147" fmla="*/ 1286294 h 2396328"/>
                <a:gd name="connsiteX148" fmla="*/ 732224 w 1362600"/>
                <a:gd name="connsiteY148" fmla="*/ 1400104 h 2396328"/>
                <a:gd name="connsiteX149" fmla="*/ 700522 w 1362600"/>
                <a:gd name="connsiteY149" fmla="*/ 1404474 h 2396328"/>
                <a:gd name="connsiteX150" fmla="*/ 664813 w 1362600"/>
                <a:gd name="connsiteY150" fmla="*/ 1410528 h 2396328"/>
                <a:gd name="connsiteX151" fmla="*/ 631028 w 1362600"/>
                <a:gd name="connsiteY151" fmla="*/ 1419274 h 2396328"/>
                <a:gd name="connsiteX152" fmla="*/ 603445 w 1362600"/>
                <a:gd name="connsiteY152" fmla="*/ 1427347 h 2396328"/>
                <a:gd name="connsiteX153" fmla="*/ 582062 w 1362600"/>
                <a:gd name="connsiteY153" fmla="*/ 1438559 h 2396328"/>
                <a:gd name="connsiteX154" fmla="*/ 566026 w 1362600"/>
                <a:gd name="connsiteY154" fmla="*/ 1452014 h 2396328"/>
                <a:gd name="connsiteX155" fmla="*/ 540153 w 1362600"/>
                <a:gd name="connsiteY155" fmla="*/ 1490810 h 2396328"/>
                <a:gd name="connsiteX156" fmla="*/ 522191 w 1362600"/>
                <a:gd name="connsiteY156" fmla="*/ 1532968 h 2396328"/>
                <a:gd name="connsiteX157" fmla="*/ 508079 w 1362600"/>
                <a:gd name="connsiteY157" fmla="*/ 1576921 h 2396328"/>
                <a:gd name="connsiteX158" fmla="*/ 499954 w 1362600"/>
                <a:gd name="connsiteY158" fmla="*/ 1621771 h 2396328"/>
                <a:gd name="connsiteX159" fmla="*/ 496532 w 1362600"/>
                <a:gd name="connsiteY159" fmla="*/ 1669088 h 2396328"/>
                <a:gd name="connsiteX160" fmla="*/ 494608 w 1362600"/>
                <a:gd name="connsiteY160" fmla="*/ 1716629 h 2396328"/>
                <a:gd name="connsiteX161" fmla="*/ 496532 w 1362600"/>
                <a:gd name="connsiteY161" fmla="*/ 1764169 h 2396328"/>
                <a:gd name="connsiteX162" fmla="*/ 499954 w 1362600"/>
                <a:gd name="connsiteY162" fmla="*/ 1812832 h 2396328"/>
                <a:gd name="connsiteX163" fmla="*/ 504444 w 1362600"/>
                <a:gd name="connsiteY163" fmla="*/ 1861045 h 2396328"/>
                <a:gd name="connsiteX164" fmla="*/ 509790 w 1362600"/>
                <a:gd name="connsiteY164" fmla="*/ 1908362 h 2396328"/>
                <a:gd name="connsiteX165" fmla="*/ 510645 w 1362600"/>
                <a:gd name="connsiteY165" fmla="*/ 1977879 h 2396328"/>
                <a:gd name="connsiteX166" fmla="*/ 506154 w 1362600"/>
                <a:gd name="connsiteY166" fmla="*/ 2047396 h 2396328"/>
                <a:gd name="connsiteX167" fmla="*/ 498243 w 1362600"/>
                <a:gd name="connsiteY167" fmla="*/ 2114223 h 2396328"/>
                <a:gd name="connsiteX168" fmla="*/ 488407 w 1362600"/>
                <a:gd name="connsiteY168" fmla="*/ 2179703 h 2396328"/>
                <a:gd name="connsiteX169" fmla="*/ 476433 w 1362600"/>
                <a:gd name="connsiteY169" fmla="*/ 2396328 h 2396328"/>
                <a:gd name="connsiteX170" fmla="*/ 117848 w 1362600"/>
                <a:gd name="connsiteY170" fmla="*/ 2396328 h 2396328"/>
                <a:gd name="connsiteX171" fmla="*/ 158902 w 1362600"/>
                <a:gd name="connsiteY171" fmla="*/ 2308198 h 2396328"/>
                <a:gd name="connsiteX172" fmla="*/ 209579 w 1362600"/>
                <a:gd name="connsiteY172" fmla="*/ 2208407 h 2396328"/>
                <a:gd name="connsiteX173" fmla="*/ 227326 w 1362600"/>
                <a:gd name="connsiteY173" fmla="*/ 2172303 h 2396328"/>
                <a:gd name="connsiteX174" fmla="*/ 242508 w 1362600"/>
                <a:gd name="connsiteY174" fmla="*/ 2132162 h 2396328"/>
                <a:gd name="connsiteX175" fmla="*/ 256834 w 1362600"/>
                <a:gd name="connsiteY175" fmla="*/ 2087537 h 2396328"/>
                <a:gd name="connsiteX176" fmla="*/ 270091 w 1362600"/>
                <a:gd name="connsiteY176" fmla="*/ 2039996 h 2396328"/>
                <a:gd name="connsiteX177" fmla="*/ 280783 w 1362600"/>
                <a:gd name="connsiteY177" fmla="*/ 1988643 h 2396328"/>
                <a:gd name="connsiteX178" fmla="*/ 288908 w 1362600"/>
                <a:gd name="connsiteY178" fmla="*/ 1936393 h 2396328"/>
                <a:gd name="connsiteX179" fmla="*/ 296820 w 1362600"/>
                <a:gd name="connsiteY179" fmla="*/ 1881676 h 2396328"/>
                <a:gd name="connsiteX180" fmla="*/ 302165 w 1362600"/>
                <a:gd name="connsiteY180" fmla="*/ 1826286 h 2396328"/>
                <a:gd name="connsiteX181" fmla="*/ 306656 w 1362600"/>
                <a:gd name="connsiteY181" fmla="*/ 1768654 h 2396328"/>
                <a:gd name="connsiteX182" fmla="*/ 306656 w 1362600"/>
                <a:gd name="connsiteY182" fmla="*/ 1711919 h 2396328"/>
                <a:gd name="connsiteX183" fmla="*/ 306656 w 1362600"/>
                <a:gd name="connsiteY183" fmla="*/ 1655857 h 2396328"/>
                <a:gd name="connsiteX184" fmla="*/ 302165 w 1362600"/>
                <a:gd name="connsiteY184" fmla="*/ 1599570 h 2396328"/>
                <a:gd name="connsiteX185" fmla="*/ 295964 w 1362600"/>
                <a:gd name="connsiteY185" fmla="*/ 1545526 h 2396328"/>
                <a:gd name="connsiteX186" fmla="*/ 288053 w 1362600"/>
                <a:gd name="connsiteY186" fmla="*/ 1492828 h 2396328"/>
                <a:gd name="connsiteX187" fmla="*/ 276292 w 1362600"/>
                <a:gd name="connsiteY187" fmla="*/ 1441923 h 2396328"/>
                <a:gd name="connsiteX188" fmla="*/ 260255 w 1362600"/>
                <a:gd name="connsiteY188" fmla="*/ 1394607 h 2396328"/>
                <a:gd name="connsiteX189" fmla="*/ 242508 w 1362600"/>
                <a:gd name="connsiteY189" fmla="*/ 1349757 h 2396328"/>
                <a:gd name="connsiteX190" fmla="*/ 221125 w 1362600"/>
                <a:gd name="connsiteY190" fmla="*/ 1309616 h 2396328"/>
                <a:gd name="connsiteX191" fmla="*/ 197177 w 1362600"/>
                <a:gd name="connsiteY191" fmla="*/ 1274185 h 2396328"/>
                <a:gd name="connsiteX192" fmla="*/ 169380 w 1362600"/>
                <a:gd name="connsiteY192" fmla="*/ 1242790 h 2396328"/>
                <a:gd name="connsiteX193" fmla="*/ 138375 w 1362600"/>
                <a:gd name="connsiteY193" fmla="*/ 1217450 h 2396328"/>
                <a:gd name="connsiteX194" fmla="*/ 102666 w 1362600"/>
                <a:gd name="connsiteY194" fmla="*/ 1198164 h 2396328"/>
                <a:gd name="connsiteX195" fmla="*/ 72303 w 1362600"/>
                <a:gd name="connsiteY195" fmla="*/ 1186727 h 2396328"/>
                <a:gd name="connsiteX196" fmla="*/ 38519 w 1362600"/>
                <a:gd name="connsiteY196" fmla="*/ 1182018 h 2396328"/>
                <a:gd name="connsiteX197" fmla="*/ 3665 w 1362600"/>
                <a:gd name="connsiteY197" fmla="*/ 1182018 h 2396328"/>
                <a:gd name="connsiteX198" fmla="*/ 0 w 1362600"/>
                <a:gd name="connsiteY198" fmla="*/ 1182357 h 2396328"/>
                <a:gd name="connsiteX199" fmla="*/ 0 w 1362600"/>
                <a:gd name="connsiteY199" fmla="*/ 971189 h 2396328"/>
                <a:gd name="connsiteX200" fmla="*/ 120414 w 1362600"/>
                <a:gd name="connsiteY200" fmla="*/ 1033789 h 2396328"/>
                <a:gd name="connsiteX201" fmla="*/ 128539 w 1362600"/>
                <a:gd name="connsiteY201" fmla="*/ 1029080 h 2396328"/>
                <a:gd name="connsiteX202" fmla="*/ 108012 w 1362600"/>
                <a:gd name="connsiteY202" fmla="*/ 971672 h 2396328"/>
                <a:gd name="connsiteX203" fmla="*/ 91975 w 1362600"/>
                <a:gd name="connsiteY203" fmla="*/ 910004 h 2396328"/>
                <a:gd name="connsiteX204" fmla="*/ 78504 w 1362600"/>
                <a:gd name="connsiteY204" fmla="*/ 843178 h 2396328"/>
                <a:gd name="connsiteX205" fmla="*/ 72303 w 1362600"/>
                <a:gd name="connsiteY205" fmla="*/ 775006 h 2396328"/>
                <a:gd name="connsiteX206" fmla="*/ 66957 w 1362600"/>
                <a:gd name="connsiteY206" fmla="*/ 703694 h 2396328"/>
                <a:gd name="connsiteX207" fmla="*/ 66957 w 1362600"/>
                <a:gd name="connsiteY207" fmla="*/ 630813 h 2396328"/>
                <a:gd name="connsiteX208" fmla="*/ 70592 w 1362600"/>
                <a:gd name="connsiteY208" fmla="*/ 557260 h 2396328"/>
                <a:gd name="connsiteX209" fmla="*/ 78504 w 1362600"/>
                <a:gd name="connsiteY209" fmla="*/ 484379 h 2396328"/>
                <a:gd name="connsiteX210" fmla="*/ 90264 w 1362600"/>
                <a:gd name="connsiteY210" fmla="*/ 411722 h 2396328"/>
                <a:gd name="connsiteX211" fmla="*/ 102666 w 1362600"/>
                <a:gd name="connsiteY211" fmla="*/ 341532 h 2396328"/>
                <a:gd name="connsiteX212" fmla="*/ 120414 w 1362600"/>
                <a:gd name="connsiteY212" fmla="*/ 273360 h 2396328"/>
                <a:gd name="connsiteX213" fmla="*/ 141796 w 1362600"/>
                <a:gd name="connsiteY213" fmla="*/ 209225 h 2396328"/>
                <a:gd name="connsiteX214" fmla="*/ 164034 w 1362600"/>
                <a:gd name="connsiteY214" fmla="*/ 148453 h 2396328"/>
                <a:gd name="connsiteX215" fmla="*/ 189907 w 1362600"/>
                <a:gd name="connsiteY215" fmla="*/ 93512 h 2396328"/>
                <a:gd name="connsiteX216" fmla="*/ 217490 w 1362600"/>
                <a:gd name="connsiteY216" fmla="*/ 43504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72303 w 1362600"/>
                <a:gd name="connsiteY195" fmla="*/ 1186727 h 2396328"/>
                <a:gd name="connsiteX196" fmla="*/ 38519 w 1362600"/>
                <a:gd name="connsiteY196" fmla="*/ 1182018 h 2396328"/>
                <a:gd name="connsiteX197" fmla="*/ 3665 w 1362600"/>
                <a:gd name="connsiteY197" fmla="*/ 1182018 h 2396328"/>
                <a:gd name="connsiteX198" fmla="*/ 0 w 1362600"/>
                <a:gd name="connsiteY198" fmla="*/ 1182357 h 2396328"/>
                <a:gd name="connsiteX199" fmla="*/ 0 w 1362600"/>
                <a:gd name="connsiteY199" fmla="*/ 971189 h 2396328"/>
                <a:gd name="connsiteX200" fmla="*/ 120414 w 1362600"/>
                <a:gd name="connsiteY200" fmla="*/ 1033789 h 2396328"/>
                <a:gd name="connsiteX201" fmla="*/ 128539 w 1362600"/>
                <a:gd name="connsiteY201" fmla="*/ 1029080 h 2396328"/>
                <a:gd name="connsiteX202" fmla="*/ 108012 w 1362600"/>
                <a:gd name="connsiteY202" fmla="*/ 971672 h 2396328"/>
                <a:gd name="connsiteX203" fmla="*/ 91975 w 1362600"/>
                <a:gd name="connsiteY203" fmla="*/ 910004 h 2396328"/>
                <a:gd name="connsiteX204" fmla="*/ 78504 w 1362600"/>
                <a:gd name="connsiteY204" fmla="*/ 843178 h 2396328"/>
                <a:gd name="connsiteX205" fmla="*/ 72303 w 1362600"/>
                <a:gd name="connsiteY205" fmla="*/ 775006 h 2396328"/>
                <a:gd name="connsiteX206" fmla="*/ 66957 w 1362600"/>
                <a:gd name="connsiteY206" fmla="*/ 703694 h 2396328"/>
                <a:gd name="connsiteX207" fmla="*/ 66957 w 1362600"/>
                <a:gd name="connsiteY207" fmla="*/ 630813 h 2396328"/>
                <a:gd name="connsiteX208" fmla="*/ 70592 w 1362600"/>
                <a:gd name="connsiteY208" fmla="*/ 557260 h 2396328"/>
                <a:gd name="connsiteX209" fmla="*/ 78504 w 1362600"/>
                <a:gd name="connsiteY209" fmla="*/ 484379 h 2396328"/>
                <a:gd name="connsiteX210" fmla="*/ 90264 w 1362600"/>
                <a:gd name="connsiteY210" fmla="*/ 411722 h 2396328"/>
                <a:gd name="connsiteX211" fmla="*/ 102666 w 1362600"/>
                <a:gd name="connsiteY211" fmla="*/ 341532 h 2396328"/>
                <a:gd name="connsiteX212" fmla="*/ 120414 w 1362600"/>
                <a:gd name="connsiteY212" fmla="*/ 273360 h 2396328"/>
                <a:gd name="connsiteX213" fmla="*/ 141796 w 1362600"/>
                <a:gd name="connsiteY213" fmla="*/ 209225 h 2396328"/>
                <a:gd name="connsiteX214" fmla="*/ 164034 w 1362600"/>
                <a:gd name="connsiteY214" fmla="*/ 148453 h 2396328"/>
                <a:gd name="connsiteX215" fmla="*/ 189907 w 1362600"/>
                <a:gd name="connsiteY215" fmla="*/ 93512 h 2396328"/>
                <a:gd name="connsiteX216" fmla="*/ 217490 w 1362600"/>
                <a:gd name="connsiteY216" fmla="*/ 43504 h 2396328"/>
                <a:gd name="connsiteX217" fmla="*/ 250633 w 1362600"/>
                <a:gd name="connsiteY217"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8519 w 1362600"/>
                <a:gd name="connsiteY195" fmla="*/ 1182018 h 2396328"/>
                <a:gd name="connsiteX196" fmla="*/ 3665 w 1362600"/>
                <a:gd name="connsiteY196" fmla="*/ 1182018 h 2396328"/>
                <a:gd name="connsiteX197" fmla="*/ 0 w 1362600"/>
                <a:gd name="connsiteY197" fmla="*/ 1182357 h 2396328"/>
                <a:gd name="connsiteX198" fmla="*/ 0 w 1362600"/>
                <a:gd name="connsiteY198" fmla="*/ 971189 h 2396328"/>
                <a:gd name="connsiteX199" fmla="*/ 120414 w 1362600"/>
                <a:gd name="connsiteY199" fmla="*/ 1033789 h 2396328"/>
                <a:gd name="connsiteX200" fmla="*/ 128539 w 1362600"/>
                <a:gd name="connsiteY200" fmla="*/ 1029080 h 2396328"/>
                <a:gd name="connsiteX201" fmla="*/ 108012 w 1362600"/>
                <a:gd name="connsiteY201" fmla="*/ 971672 h 2396328"/>
                <a:gd name="connsiteX202" fmla="*/ 91975 w 1362600"/>
                <a:gd name="connsiteY202" fmla="*/ 910004 h 2396328"/>
                <a:gd name="connsiteX203" fmla="*/ 78504 w 1362600"/>
                <a:gd name="connsiteY203" fmla="*/ 843178 h 2396328"/>
                <a:gd name="connsiteX204" fmla="*/ 72303 w 1362600"/>
                <a:gd name="connsiteY204" fmla="*/ 775006 h 2396328"/>
                <a:gd name="connsiteX205" fmla="*/ 66957 w 1362600"/>
                <a:gd name="connsiteY205" fmla="*/ 703694 h 2396328"/>
                <a:gd name="connsiteX206" fmla="*/ 66957 w 1362600"/>
                <a:gd name="connsiteY206" fmla="*/ 630813 h 2396328"/>
                <a:gd name="connsiteX207" fmla="*/ 70592 w 1362600"/>
                <a:gd name="connsiteY207" fmla="*/ 557260 h 2396328"/>
                <a:gd name="connsiteX208" fmla="*/ 78504 w 1362600"/>
                <a:gd name="connsiteY208" fmla="*/ 484379 h 2396328"/>
                <a:gd name="connsiteX209" fmla="*/ 90264 w 1362600"/>
                <a:gd name="connsiteY209" fmla="*/ 411722 h 2396328"/>
                <a:gd name="connsiteX210" fmla="*/ 102666 w 1362600"/>
                <a:gd name="connsiteY210" fmla="*/ 341532 h 2396328"/>
                <a:gd name="connsiteX211" fmla="*/ 120414 w 1362600"/>
                <a:gd name="connsiteY211" fmla="*/ 273360 h 2396328"/>
                <a:gd name="connsiteX212" fmla="*/ 141796 w 1362600"/>
                <a:gd name="connsiteY212" fmla="*/ 209225 h 2396328"/>
                <a:gd name="connsiteX213" fmla="*/ 164034 w 1362600"/>
                <a:gd name="connsiteY213" fmla="*/ 148453 h 2396328"/>
                <a:gd name="connsiteX214" fmla="*/ 189907 w 1362600"/>
                <a:gd name="connsiteY214" fmla="*/ 93512 h 2396328"/>
                <a:gd name="connsiteX215" fmla="*/ 217490 w 1362600"/>
                <a:gd name="connsiteY215" fmla="*/ 43504 h 2396328"/>
                <a:gd name="connsiteX216" fmla="*/ 250633 w 1362600"/>
                <a:gd name="connsiteY216"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665 w 1362600"/>
                <a:gd name="connsiteY195" fmla="*/ 1182018 h 2396328"/>
                <a:gd name="connsiteX196" fmla="*/ 0 w 1362600"/>
                <a:gd name="connsiteY196" fmla="*/ 1182357 h 2396328"/>
                <a:gd name="connsiteX197" fmla="*/ 0 w 1362600"/>
                <a:gd name="connsiteY197" fmla="*/ 971189 h 2396328"/>
                <a:gd name="connsiteX198" fmla="*/ 120414 w 1362600"/>
                <a:gd name="connsiteY198" fmla="*/ 1033789 h 2396328"/>
                <a:gd name="connsiteX199" fmla="*/ 128539 w 1362600"/>
                <a:gd name="connsiteY199" fmla="*/ 1029080 h 2396328"/>
                <a:gd name="connsiteX200" fmla="*/ 108012 w 1362600"/>
                <a:gd name="connsiteY200" fmla="*/ 971672 h 2396328"/>
                <a:gd name="connsiteX201" fmla="*/ 91975 w 1362600"/>
                <a:gd name="connsiteY201" fmla="*/ 910004 h 2396328"/>
                <a:gd name="connsiteX202" fmla="*/ 78504 w 1362600"/>
                <a:gd name="connsiteY202" fmla="*/ 843178 h 2396328"/>
                <a:gd name="connsiteX203" fmla="*/ 72303 w 1362600"/>
                <a:gd name="connsiteY203" fmla="*/ 775006 h 2396328"/>
                <a:gd name="connsiteX204" fmla="*/ 66957 w 1362600"/>
                <a:gd name="connsiteY204" fmla="*/ 703694 h 2396328"/>
                <a:gd name="connsiteX205" fmla="*/ 66957 w 1362600"/>
                <a:gd name="connsiteY205" fmla="*/ 630813 h 2396328"/>
                <a:gd name="connsiteX206" fmla="*/ 70592 w 1362600"/>
                <a:gd name="connsiteY206" fmla="*/ 557260 h 2396328"/>
                <a:gd name="connsiteX207" fmla="*/ 78504 w 1362600"/>
                <a:gd name="connsiteY207" fmla="*/ 484379 h 2396328"/>
                <a:gd name="connsiteX208" fmla="*/ 90264 w 1362600"/>
                <a:gd name="connsiteY208" fmla="*/ 411722 h 2396328"/>
                <a:gd name="connsiteX209" fmla="*/ 102666 w 1362600"/>
                <a:gd name="connsiteY209" fmla="*/ 341532 h 2396328"/>
                <a:gd name="connsiteX210" fmla="*/ 120414 w 1362600"/>
                <a:gd name="connsiteY210" fmla="*/ 273360 h 2396328"/>
                <a:gd name="connsiteX211" fmla="*/ 141796 w 1362600"/>
                <a:gd name="connsiteY211" fmla="*/ 209225 h 2396328"/>
                <a:gd name="connsiteX212" fmla="*/ 164034 w 1362600"/>
                <a:gd name="connsiteY212" fmla="*/ 148453 h 2396328"/>
                <a:gd name="connsiteX213" fmla="*/ 189907 w 1362600"/>
                <a:gd name="connsiteY213" fmla="*/ 93512 h 2396328"/>
                <a:gd name="connsiteX214" fmla="*/ 217490 w 1362600"/>
                <a:gd name="connsiteY214" fmla="*/ 43504 h 2396328"/>
                <a:gd name="connsiteX215" fmla="*/ 250633 w 1362600"/>
                <a:gd name="connsiteY215"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665 w 1362600"/>
                <a:gd name="connsiteY195" fmla="*/ 1182018 h 2396328"/>
                <a:gd name="connsiteX196" fmla="*/ 0 w 1362600"/>
                <a:gd name="connsiteY196" fmla="*/ 971189 h 2396328"/>
                <a:gd name="connsiteX197" fmla="*/ 120414 w 1362600"/>
                <a:gd name="connsiteY197" fmla="*/ 1033789 h 2396328"/>
                <a:gd name="connsiteX198" fmla="*/ 128539 w 1362600"/>
                <a:gd name="connsiteY198" fmla="*/ 1029080 h 2396328"/>
                <a:gd name="connsiteX199" fmla="*/ 108012 w 1362600"/>
                <a:gd name="connsiteY199" fmla="*/ 971672 h 2396328"/>
                <a:gd name="connsiteX200" fmla="*/ 91975 w 1362600"/>
                <a:gd name="connsiteY200" fmla="*/ 910004 h 2396328"/>
                <a:gd name="connsiteX201" fmla="*/ 78504 w 1362600"/>
                <a:gd name="connsiteY201" fmla="*/ 843178 h 2396328"/>
                <a:gd name="connsiteX202" fmla="*/ 72303 w 1362600"/>
                <a:gd name="connsiteY202" fmla="*/ 775006 h 2396328"/>
                <a:gd name="connsiteX203" fmla="*/ 66957 w 1362600"/>
                <a:gd name="connsiteY203" fmla="*/ 703694 h 2396328"/>
                <a:gd name="connsiteX204" fmla="*/ 66957 w 1362600"/>
                <a:gd name="connsiteY204" fmla="*/ 630813 h 2396328"/>
                <a:gd name="connsiteX205" fmla="*/ 70592 w 1362600"/>
                <a:gd name="connsiteY205" fmla="*/ 557260 h 2396328"/>
                <a:gd name="connsiteX206" fmla="*/ 78504 w 1362600"/>
                <a:gd name="connsiteY206" fmla="*/ 484379 h 2396328"/>
                <a:gd name="connsiteX207" fmla="*/ 90264 w 1362600"/>
                <a:gd name="connsiteY207" fmla="*/ 411722 h 2396328"/>
                <a:gd name="connsiteX208" fmla="*/ 102666 w 1362600"/>
                <a:gd name="connsiteY208" fmla="*/ 341532 h 2396328"/>
                <a:gd name="connsiteX209" fmla="*/ 120414 w 1362600"/>
                <a:gd name="connsiteY209" fmla="*/ 273360 h 2396328"/>
                <a:gd name="connsiteX210" fmla="*/ 141796 w 1362600"/>
                <a:gd name="connsiteY210" fmla="*/ 209225 h 2396328"/>
                <a:gd name="connsiteX211" fmla="*/ 164034 w 1362600"/>
                <a:gd name="connsiteY211" fmla="*/ 148453 h 2396328"/>
                <a:gd name="connsiteX212" fmla="*/ 189907 w 1362600"/>
                <a:gd name="connsiteY212" fmla="*/ 93512 h 2396328"/>
                <a:gd name="connsiteX213" fmla="*/ 217490 w 1362600"/>
                <a:gd name="connsiteY213" fmla="*/ 43504 h 2396328"/>
                <a:gd name="connsiteX214" fmla="*/ 250633 w 1362600"/>
                <a:gd name="connsiteY214"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0 w 1362600"/>
                <a:gd name="connsiteY195" fmla="*/ 971189 h 2396328"/>
                <a:gd name="connsiteX196" fmla="*/ 120414 w 1362600"/>
                <a:gd name="connsiteY196" fmla="*/ 1033789 h 2396328"/>
                <a:gd name="connsiteX197" fmla="*/ 128539 w 1362600"/>
                <a:gd name="connsiteY197" fmla="*/ 1029080 h 2396328"/>
                <a:gd name="connsiteX198" fmla="*/ 108012 w 1362600"/>
                <a:gd name="connsiteY198" fmla="*/ 971672 h 2396328"/>
                <a:gd name="connsiteX199" fmla="*/ 91975 w 1362600"/>
                <a:gd name="connsiteY199" fmla="*/ 910004 h 2396328"/>
                <a:gd name="connsiteX200" fmla="*/ 78504 w 1362600"/>
                <a:gd name="connsiteY200" fmla="*/ 843178 h 2396328"/>
                <a:gd name="connsiteX201" fmla="*/ 72303 w 1362600"/>
                <a:gd name="connsiteY201" fmla="*/ 775006 h 2396328"/>
                <a:gd name="connsiteX202" fmla="*/ 66957 w 1362600"/>
                <a:gd name="connsiteY202" fmla="*/ 703694 h 2396328"/>
                <a:gd name="connsiteX203" fmla="*/ 66957 w 1362600"/>
                <a:gd name="connsiteY203" fmla="*/ 630813 h 2396328"/>
                <a:gd name="connsiteX204" fmla="*/ 70592 w 1362600"/>
                <a:gd name="connsiteY204" fmla="*/ 557260 h 2396328"/>
                <a:gd name="connsiteX205" fmla="*/ 78504 w 1362600"/>
                <a:gd name="connsiteY205" fmla="*/ 484379 h 2396328"/>
                <a:gd name="connsiteX206" fmla="*/ 90264 w 1362600"/>
                <a:gd name="connsiteY206" fmla="*/ 411722 h 2396328"/>
                <a:gd name="connsiteX207" fmla="*/ 102666 w 1362600"/>
                <a:gd name="connsiteY207" fmla="*/ 341532 h 2396328"/>
                <a:gd name="connsiteX208" fmla="*/ 120414 w 1362600"/>
                <a:gd name="connsiteY208" fmla="*/ 273360 h 2396328"/>
                <a:gd name="connsiteX209" fmla="*/ 141796 w 1362600"/>
                <a:gd name="connsiteY209" fmla="*/ 209225 h 2396328"/>
                <a:gd name="connsiteX210" fmla="*/ 164034 w 1362600"/>
                <a:gd name="connsiteY210" fmla="*/ 148453 h 2396328"/>
                <a:gd name="connsiteX211" fmla="*/ 189907 w 1362600"/>
                <a:gd name="connsiteY211" fmla="*/ 93512 h 2396328"/>
                <a:gd name="connsiteX212" fmla="*/ 217490 w 1362600"/>
                <a:gd name="connsiteY212" fmla="*/ 43504 h 2396328"/>
                <a:gd name="connsiteX213" fmla="*/ 250633 w 1362600"/>
                <a:gd name="connsiteY213"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71418 w 1295643"/>
                <a:gd name="connsiteY194" fmla="*/ 1217450 h 2396328"/>
                <a:gd name="connsiteX195" fmla="*/ 53457 w 1295643"/>
                <a:gd name="connsiteY195" fmla="*/ 1033789 h 2396328"/>
                <a:gd name="connsiteX196" fmla="*/ 61582 w 1295643"/>
                <a:gd name="connsiteY196" fmla="*/ 1029080 h 2396328"/>
                <a:gd name="connsiteX197" fmla="*/ 41055 w 1295643"/>
                <a:gd name="connsiteY197" fmla="*/ 971672 h 2396328"/>
                <a:gd name="connsiteX198" fmla="*/ 25018 w 1295643"/>
                <a:gd name="connsiteY198" fmla="*/ 910004 h 2396328"/>
                <a:gd name="connsiteX199" fmla="*/ 11547 w 1295643"/>
                <a:gd name="connsiteY199" fmla="*/ 843178 h 2396328"/>
                <a:gd name="connsiteX200" fmla="*/ 5346 w 1295643"/>
                <a:gd name="connsiteY200" fmla="*/ 775006 h 2396328"/>
                <a:gd name="connsiteX201" fmla="*/ 0 w 1295643"/>
                <a:gd name="connsiteY201" fmla="*/ 703694 h 2396328"/>
                <a:gd name="connsiteX202" fmla="*/ 0 w 1295643"/>
                <a:gd name="connsiteY202" fmla="*/ 630813 h 2396328"/>
                <a:gd name="connsiteX203" fmla="*/ 3635 w 1295643"/>
                <a:gd name="connsiteY203" fmla="*/ 557260 h 2396328"/>
                <a:gd name="connsiteX204" fmla="*/ 11547 w 1295643"/>
                <a:gd name="connsiteY204" fmla="*/ 484379 h 2396328"/>
                <a:gd name="connsiteX205" fmla="*/ 23307 w 1295643"/>
                <a:gd name="connsiteY205" fmla="*/ 411722 h 2396328"/>
                <a:gd name="connsiteX206" fmla="*/ 35709 w 1295643"/>
                <a:gd name="connsiteY206" fmla="*/ 341532 h 2396328"/>
                <a:gd name="connsiteX207" fmla="*/ 53457 w 1295643"/>
                <a:gd name="connsiteY207" fmla="*/ 273360 h 2396328"/>
                <a:gd name="connsiteX208" fmla="*/ 74839 w 1295643"/>
                <a:gd name="connsiteY208" fmla="*/ 209225 h 2396328"/>
                <a:gd name="connsiteX209" fmla="*/ 97077 w 1295643"/>
                <a:gd name="connsiteY209" fmla="*/ 148453 h 2396328"/>
                <a:gd name="connsiteX210" fmla="*/ 122950 w 1295643"/>
                <a:gd name="connsiteY210" fmla="*/ 93512 h 2396328"/>
                <a:gd name="connsiteX211" fmla="*/ 150533 w 1295643"/>
                <a:gd name="connsiteY211" fmla="*/ 43504 h 2396328"/>
                <a:gd name="connsiteX212" fmla="*/ 183676 w 1295643"/>
                <a:gd name="connsiteY212"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71418 w 1295643"/>
                <a:gd name="connsiteY194" fmla="*/ 1217450 h 2396328"/>
                <a:gd name="connsiteX195" fmla="*/ 53457 w 1295643"/>
                <a:gd name="connsiteY195" fmla="*/ 1033789 h 2396328"/>
                <a:gd name="connsiteX196" fmla="*/ 41055 w 1295643"/>
                <a:gd name="connsiteY196" fmla="*/ 971672 h 2396328"/>
                <a:gd name="connsiteX197" fmla="*/ 25018 w 1295643"/>
                <a:gd name="connsiteY197" fmla="*/ 910004 h 2396328"/>
                <a:gd name="connsiteX198" fmla="*/ 11547 w 1295643"/>
                <a:gd name="connsiteY198" fmla="*/ 843178 h 2396328"/>
                <a:gd name="connsiteX199" fmla="*/ 5346 w 1295643"/>
                <a:gd name="connsiteY199" fmla="*/ 775006 h 2396328"/>
                <a:gd name="connsiteX200" fmla="*/ 0 w 1295643"/>
                <a:gd name="connsiteY200" fmla="*/ 703694 h 2396328"/>
                <a:gd name="connsiteX201" fmla="*/ 0 w 1295643"/>
                <a:gd name="connsiteY201" fmla="*/ 630813 h 2396328"/>
                <a:gd name="connsiteX202" fmla="*/ 3635 w 1295643"/>
                <a:gd name="connsiteY202" fmla="*/ 557260 h 2396328"/>
                <a:gd name="connsiteX203" fmla="*/ 11547 w 1295643"/>
                <a:gd name="connsiteY203" fmla="*/ 484379 h 2396328"/>
                <a:gd name="connsiteX204" fmla="*/ 23307 w 1295643"/>
                <a:gd name="connsiteY204" fmla="*/ 411722 h 2396328"/>
                <a:gd name="connsiteX205" fmla="*/ 35709 w 1295643"/>
                <a:gd name="connsiteY205" fmla="*/ 341532 h 2396328"/>
                <a:gd name="connsiteX206" fmla="*/ 53457 w 1295643"/>
                <a:gd name="connsiteY206" fmla="*/ 273360 h 2396328"/>
                <a:gd name="connsiteX207" fmla="*/ 74839 w 1295643"/>
                <a:gd name="connsiteY207" fmla="*/ 209225 h 2396328"/>
                <a:gd name="connsiteX208" fmla="*/ 97077 w 1295643"/>
                <a:gd name="connsiteY208" fmla="*/ 148453 h 2396328"/>
                <a:gd name="connsiteX209" fmla="*/ 122950 w 1295643"/>
                <a:gd name="connsiteY209" fmla="*/ 93512 h 2396328"/>
                <a:gd name="connsiteX210" fmla="*/ 150533 w 1295643"/>
                <a:gd name="connsiteY210" fmla="*/ 43504 h 2396328"/>
                <a:gd name="connsiteX211" fmla="*/ 183676 w 1295643"/>
                <a:gd name="connsiteY211"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53457 w 1295643"/>
                <a:gd name="connsiteY194" fmla="*/ 1033789 h 2396328"/>
                <a:gd name="connsiteX195" fmla="*/ 41055 w 1295643"/>
                <a:gd name="connsiteY195" fmla="*/ 971672 h 2396328"/>
                <a:gd name="connsiteX196" fmla="*/ 25018 w 1295643"/>
                <a:gd name="connsiteY196" fmla="*/ 910004 h 2396328"/>
                <a:gd name="connsiteX197" fmla="*/ 11547 w 1295643"/>
                <a:gd name="connsiteY197" fmla="*/ 843178 h 2396328"/>
                <a:gd name="connsiteX198" fmla="*/ 5346 w 1295643"/>
                <a:gd name="connsiteY198" fmla="*/ 775006 h 2396328"/>
                <a:gd name="connsiteX199" fmla="*/ 0 w 1295643"/>
                <a:gd name="connsiteY199" fmla="*/ 703694 h 2396328"/>
                <a:gd name="connsiteX200" fmla="*/ 0 w 1295643"/>
                <a:gd name="connsiteY200" fmla="*/ 630813 h 2396328"/>
                <a:gd name="connsiteX201" fmla="*/ 3635 w 1295643"/>
                <a:gd name="connsiteY201" fmla="*/ 557260 h 2396328"/>
                <a:gd name="connsiteX202" fmla="*/ 11547 w 1295643"/>
                <a:gd name="connsiteY202" fmla="*/ 484379 h 2396328"/>
                <a:gd name="connsiteX203" fmla="*/ 23307 w 1295643"/>
                <a:gd name="connsiteY203" fmla="*/ 411722 h 2396328"/>
                <a:gd name="connsiteX204" fmla="*/ 35709 w 1295643"/>
                <a:gd name="connsiteY204" fmla="*/ 341532 h 2396328"/>
                <a:gd name="connsiteX205" fmla="*/ 53457 w 1295643"/>
                <a:gd name="connsiteY205" fmla="*/ 273360 h 2396328"/>
                <a:gd name="connsiteX206" fmla="*/ 74839 w 1295643"/>
                <a:gd name="connsiteY206" fmla="*/ 209225 h 2396328"/>
                <a:gd name="connsiteX207" fmla="*/ 97077 w 1295643"/>
                <a:gd name="connsiteY207" fmla="*/ 148453 h 2396328"/>
                <a:gd name="connsiteX208" fmla="*/ 122950 w 1295643"/>
                <a:gd name="connsiteY208" fmla="*/ 93512 h 2396328"/>
                <a:gd name="connsiteX209" fmla="*/ 150533 w 1295643"/>
                <a:gd name="connsiteY209" fmla="*/ 43504 h 2396328"/>
                <a:gd name="connsiteX210" fmla="*/ 183676 w 1295643"/>
                <a:gd name="connsiteY210"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65267 w 1295643"/>
                <a:gd name="connsiteY148" fmla="*/ 1400104 h 2396328"/>
                <a:gd name="connsiteX149" fmla="*/ 633565 w 1295643"/>
                <a:gd name="connsiteY149" fmla="*/ 1404474 h 2396328"/>
                <a:gd name="connsiteX150" fmla="*/ 597856 w 1295643"/>
                <a:gd name="connsiteY150" fmla="*/ 1410528 h 2396328"/>
                <a:gd name="connsiteX151" fmla="*/ 564071 w 1295643"/>
                <a:gd name="connsiteY151" fmla="*/ 1419274 h 2396328"/>
                <a:gd name="connsiteX152" fmla="*/ 536488 w 1295643"/>
                <a:gd name="connsiteY152" fmla="*/ 1427347 h 2396328"/>
                <a:gd name="connsiteX153" fmla="*/ 515105 w 1295643"/>
                <a:gd name="connsiteY153" fmla="*/ 1438559 h 2396328"/>
                <a:gd name="connsiteX154" fmla="*/ 499069 w 1295643"/>
                <a:gd name="connsiteY154" fmla="*/ 1452014 h 2396328"/>
                <a:gd name="connsiteX155" fmla="*/ 473196 w 1295643"/>
                <a:gd name="connsiteY155" fmla="*/ 1490810 h 2396328"/>
                <a:gd name="connsiteX156" fmla="*/ 455234 w 1295643"/>
                <a:gd name="connsiteY156" fmla="*/ 1532968 h 2396328"/>
                <a:gd name="connsiteX157" fmla="*/ 441122 w 1295643"/>
                <a:gd name="connsiteY157" fmla="*/ 1576921 h 2396328"/>
                <a:gd name="connsiteX158" fmla="*/ 432997 w 1295643"/>
                <a:gd name="connsiteY158" fmla="*/ 1621771 h 2396328"/>
                <a:gd name="connsiteX159" fmla="*/ 429575 w 1295643"/>
                <a:gd name="connsiteY159" fmla="*/ 1669088 h 2396328"/>
                <a:gd name="connsiteX160" fmla="*/ 427651 w 1295643"/>
                <a:gd name="connsiteY160" fmla="*/ 1716629 h 2396328"/>
                <a:gd name="connsiteX161" fmla="*/ 429575 w 1295643"/>
                <a:gd name="connsiteY161" fmla="*/ 1764169 h 2396328"/>
                <a:gd name="connsiteX162" fmla="*/ 432997 w 1295643"/>
                <a:gd name="connsiteY162" fmla="*/ 1812832 h 2396328"/>
                <a:gd name="connsiteX163" fmla="*/ 437487 w 1295643"/>
                <a:gd name="connsiteY163" fmla="*/ 1861045 h 2396328"/>
                <a:gd name="connsiteX164" fmla="*/ 442833 w 1295643"/>
                <a:gd name="connsiteY164" fmla="*/ 1908362 h 2396328"/>
                <a:gd name="connsiteX165" fmla="*/ 443688 w 1295643"/>
                <a:gd name="connsiteY165" fmla="*/ 1977879 h 2396328"/>
                <a:gd name="connsiteX166" fmla="*/ 439197 w 1295643"/>
                <a:gd name="connsiteY166" fmla="*/ 2047396 h 2396328"/>
                <a:gd name="connsiteX167" fmla="*/ 431286 w 1295643"/>
                <a:gd name="connsiteY167" fmla="*/ 2114223 h 2396328"/>
                <a:gd name="connsiteX168" fmla="*/ 421450 w 1295643"/>
                <a:gd name="connsiteY168" fmla="*/ 2179703 h 2396328"/>
                <a:gd name="connsiteX169" fmla="*/ 409476 w 1295643"/>
                <a:gd name="connsiteY169" fmla="*/ 2396328 h 2396328"/>
                <a:gd name="connsiteX170" fmla="*/ 50891 w 1295643"/>
                <a:gd name="connsiteY170" fmla="*/ 2396328 h 2396328"/>
                <a:gd name="connsiteX171" fmla="*/ 91945 w 1295643"/>
                <a:gd name="connsiteY171" fmla="*/ 2308198 h 2396328"/>
                <a:gd name="connsiteX172" fmla="*/ 142622 w 1295643"/>
                <a:gd name="connsiteY172" fmla="*/ 2208407 h 2396328"/>
                <a:gd name="connsiteX173" fmla="*/ 160369 w 1295643"/>
                <a:gd name="connsiteY173" fmla="*/ 2172303 h 2396328"/>
                <a:gd name="connsiteX174" fmla="*/ 175551 w 1295643"/>
                <a:gd name="connsiteY174" fmla="*/ 2132162 h 2396328"/>
                <a:gd name="connsiteX175" fmla="*/ 189877 w 1295643"/>
                <a:gd name="connsiteY175" fmla="*/ 2087537 h 2396328"/>
                <a:gd name="connsiteX176" fmla="*/ 203134 w 1295643"/>
                <a:gd name="connsiteY176" fmla="*/ 2039996 h 2396328"/>
                <a:gd name="connsiteX177" fmla="*/ 213826 w 1295643"/>
                <a:gd name="connsiteY177" fmla="*/ 1988643 h 2396328"/>
                <a:gd name="connsiteX178" fmla="*/ 221951 w 1295643"/>
                <a:gd name="connsiteY178" fmla="*/ 1936393 h 2396328"/>
                <a:gd name="connsiteX179" fmla="*/ 229863 w 1295643"/>
                <a:gd name="connsiteY179" fmla="*/ 1881676 h 2396328"/>
                <a:gd name="connsiteX180" fmla="*/ 235208 w 1295643"/>
                <a:gd name="connsiteY180" fmla="*/ 1826286 h 2396328"/>
                <a:gd name="connsiteX181" fmla="*/ 239699 w 1295643"/>
                <a:gd name="connsiteY181" fmla="*/ 1768654 h 2396328"/>
                <a:gd name="connsiteX182" fmla="*/ 239699 w 1295643"/>
                <a:gd name="connsiteY182" fmla="*/ 1711919 h 2396328"/>
                <a:gd name="connsiteX183" fmla="*/ 239699 w 1295643"/>
                <a:gd name="connsiteY183" fmla="*/ 1655857 h 2396328"/>
                <a:gd name="connsiteX184" fmla="*/ 235208 w 1295643"/>
                <a:gd name="connsiteY184" fmla="*/ 1599570 h 2396328"/>
                <a:gd name="connsiteX185" fmla="*/ 229007 w 1295643"/>
                <a:gd name="connsiteY185" fmla="*/ 1545526 h 2396328"/>
                <a:gd name="connsiteX186" fmla="*/ 221096 w 1295643"/>
                <a:gd name="connsiteY186" fmla="*/ 1492828 h 2396328"/>
                <a:gd name="connsiteX187" fmla="*/ 209335 w 1295643"/>
                <a:gd name="connsiteY187" fmla="*/ 1441923 h 2396328"/>
                <a:gd name="connsiteX188" fmla="*/ 193298 w 1295643"/>
                <a:gd name="connsiteY188" fmla="*/ 1394607 h 2396328"/>
                <a:gd name="connsiteX189" fmla="*/ 175551 w 1295643"/>
                <a:gd name="connsiteY189" fmla="*/ 1349757 h 2396328"/>
                <a:gd name="connsiteX190" fmla="*/ 154168 w 1295643"/>
                <a:gd name="connsiteY190" fmla="*/ 1309616 h 2396328"/>
                <a:gd name="connsiteX191" fmla="*/ 130220 w 1295643"/>
                <a:gd name="connsiteY191" fmla="*/ 1274185 h 2396328"/>
                <a:gd name="connsiteX192" fmla="*/ 53457 w 1295643"/>
                <a:gd name="connsiteY192" fmla="*/ 1033789 h 2396328"/>
                <a:gd name="connsiteX193" fmla="*/ 41055 w 1295643"/>
                <a:gd name="connsiteY193" fmla="*/ 971672 h 2396328"/>
                <a:gd name="connsiteX194" fmla="*/ 25018 w 1295643"/>
                <a:gd name="connsiteY194" fmla="*/ 910004 h 2396328"/>
                <a:gd name="connsiteX195" fmla="*/ 11547 w 1295643"/>
                <a:gd name="connsiteY195" fmla="*/ 843178 h 2396328"/>
                <a:gd name="connsiteX196" fmla="*/ 5346 w 1295643"/>
                <a:gd name="connsiteY196" fmla="*/ 775006 h 2396328"/>
                <a:gd name="connsiteX197" fmla="*/ 0 w 1295643"/>
                <a:gd name="connsiteY197" fmla="*/ 703694 h 2396328"/>
                <a:gd name="connsiteX198" fmla="*/ 0 w 1295643"/>
                <a:gd name="connsiteY198" fmla="*/ 630813 h 2396328"/>
                <a:gd name="connsiteX199" fmla="*/ 3635 w 1295643"/>
                <a:gd name="connsiteY199" fmla="*/ 557260 h 2396328"/>
                <a:gd name="connsiteX200" fmla="*/ 11547 w 1295643"/>
                <a:gd name="connsiteY200" fmla="*/ 484379 h 2396328"/>
                <a:gd name="connsiteX201" fmla="*/ 23307 w 1295643"/>
                <a:gd name="connsiteY201" fmla="*/ 411722 h 2396328"/>
                <a:gd name="connsiteX202" fmla="*/ 35709 w 1295643"/>
                <a:gd name="connsiteY202" fmla="*/ 341532 h 2396328"/>
                <a:gd name="connsiteX203" fmla="*/ 53457 w 1295643"/>
                <a:gd name="connsiteY203" fmla="*/ 273360 h 2396328"/>
                <a:gd name="connsiteX204" fmla="*/ 74839 w 1295643"/>
                <a:gd name="connsiteY204" fmla="*/ 209225 h 2396328"/>
                <a:gd name="connsiteX205" fmla="*/ 97077 w 1295643"/>
                <a:gd name="connsiteY205" fmla="*/ 148453 h 2396328"/>
                <a:gd name="connsiteX206" fmla="*/ 122950 w 1295643"/>
                <a:gd name="connsiteY206" fmla="*/ 93512 h 2396328"/>
                <a:gd name="connsiteX207" fmla="*/ 150533 w 1295643"/>
                <a:gd name="connsiteY207" fmla="*/ 43504 h 2396328"/>
                <a:gd name="connsiteX208" fmla="*/ 183676 w 1295643"/>
                <a:gd name="connsiteY208"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97856 w 1295643"/>
                <a:gd name="connsiteY149" fmla="*/ 1410528 h 2396328"/>
                <a:gd name="connsiteX150" fmla="*/ 564071 w 1295643"/>
                <a:gd name="connsiteY150" fmla="*/ 1419274 h 2396328"/>
                <a:gd name="connsiteX151" fmla="*/ 536488 w 1295643"/>
                <a:gd name="connsiteY151" fmla="*/ 1427347 h 2396328"/>
                <a:gd name="connsiteX152" fmla="*/ 515105 w 1295643"/>
                <a:gd name="connsiteY152" fmla="*/ 1438559 h 2396328"/>
                <a:gd name="connsiteX153" fmla="*/ 499069 w 1295643"/>
                <a:gd name="connsiteY153" fmla="*/ 1452014 h 2396328"/>
                <a:gd name="connsiteX154" fmla="*/ 473196 w 1295643"/>
                <a:gd name="connsiteY154" fmla="*/ 1490810 h 2396328"/>
                <a:gd name="connsiteX155" fmla="*/ 455234 w 1295643"/>
                <a:gd name="connsiteY155" fmla="*/ 1532968 h 2396328"/>
                <a:gd name="connsiteX156" fmla="*/ 441122 w 1295643"/>
                <a:gd name="connsiteY156" fmla="*/ 1576921 h 2396328"/>
                <a:gd name="connsiteX157" fmla="*/ 432997 w 1295643"/>
                <a:gd name="connsiteY157" fmla="*/ 1621771 h 2396328"/>
                <a:gd name="connsiteX158" fmla="*/ 429575 w 1295643"/>
                <a:gd name="connsiteY158" fmla="*/ 1669088 h 2396328"/>
                <a:gd name="connsiteX159" fmla="*/ 427651 w 1295643"/>
                <a:gd name="connsiteY159" fmla="*/ 1716629 h 2396328"/>
                <a:gd name="connsiteX160" fmla="*/ 429575 w 1295643"/>
                <a:gd name="connsiteY160" fmla="*/ 1764169 h 2396328"/>
                <a:gd name="connsiteX161" fmla="*/ 432997 w 1295643"/>
                <a:gd name="connsiteY161" fmla="*/ 1812832 h 2396328"/>
                <a:gd name="connsiteX162" fmla="*/ 437487 w 1295643"/>
                <a:gd name="connsiteY162" fmla="*/ 1861045 h 2396328"/>
                <a:gd name="connsiteX163" fmla="*/ 442833 w 1295643"/>
                <a:gd name="connsiteY163" fmla="*/ 1908362 h 2396328"/>
                <a:gd name="connsiteX164" fmla="*/ 443688 w 1295643"/>
                <a:gd name="connsiteY164" fmla="*/ 1977879 h 2396328"/>
                <a:gd name="connsiteX165" fmla="*/ 439197 w 1295643"/>
                <a:gd name="connsiteY165" fmla="*/ 2047396 h 2396328"/>
                <a:gd name="connsiteX166" fmla="*/ 431286 w 1295643"/>
                <a:gd name="connsiteY166" fmla="*/ 2114223 h 2396328"/>
                <a:gd name="connsiteX167" fmla="*/ 421450 w 1295643"/>
                <a:gd name="connsiteY167" fmla="*/ 2179703 h 2396328"/>
                <a:gd name="connsiteX168" fmla="*/ 409476 w 1295643"/>
                <a:gd name="connsiteY168" fmla="*/ 2396328 h 2396328"/>
                <a:gd name="connsiteX169" fmla="*/ 50891 w 1295643"/>
                <a:gd name="connsiteY169" fmla="*/ 2396328 h 2396328"/>
                <a:gd name="connsiteX170" fmla="*/ 91945 w 1295643"/>
                <a:gd name="connsiteY170" fmla="*/ 2308198 h 2396328"/>
                <a:gd name="connsiteX171" fmla="*/ 142622 w 1295643"/>
                <a:gd name="connsiteY171" fmla="*/ 2208407 h 2396328"/>
                <a:gd name="connsiteX172" fmla="*/ 160369 w 1295643"/>
                <a:gd name="connsiteY172" fmla="*/ 2172303 h 2396328"/>
                <a:gd name="connsiteX173" fmla="*/ 175551 w 1295643"/>
                <a:gd name="connsiteY173" fmla="*/ 2132162 h 2396328"/>
                <a:gd name="connsiteX174" fmla="*/ 189877 w 1295643"/>
                <a:gd name="connsiteY174" fmla="*/ 2087537 h 2396328"/>
                <a:gd name="connsiteX175" fmla="*/ 203134 w 1295643"/>
                <a:gd name="connsiteY175" fmla="*/ 2039996 h 2396328"/>
                <a:gd name="connsiteX176" fmla="*/ 213826 w 1295643"/>
                <a:gd name="connsiteY176" fmla="*/ 1988643 h 2396328"/>
                <a:gd name="connsiteX177" fmla="*/ 221951 w 1295643"/>
                <a:gd name="connsiteY177" fmla="*/ 1936393 h 2396328"/>
                <a:gd name="connsiteX178" fmla="*/ 229863 w 1295643"/>
                <a:gd name="connsiteY178" fmla="*/ 1881676 h 2396328"/>
                <a:gd name="connsiteX179" fmla="*/ 235208 w 1295643"/>
                <a:gd name="connsiteY179" fmla="*/ 1826286 h 2396328"/>
                <a:gd name="connsiteX180" fmla="*/ 239699 w 1295643"/>
                <a:gd name="connsiteY180" fmla="*/ 1768654 h 2396328"/>
                <a:gd name="connsiteX181" fmla="*/ 239699 w 1295643"/>
                <a:gd name="connsiteY181" fmla="*/ 1711919 h 2396328"/>
                <a:gd name="connsiteX182" fmla="*/ 239699 w 1295643"/>
                <a:gd name="connsiteY182" fmla="*/ 1655857 h 2396328"/>
                <a:gd name="connsiteX183" fmla="*/ 235208 w 1295643"/>
                <a:gd name="connsiteY183" fmla="*/ 1599570 h 2396328"/>
                <a:gd name="connsiteX184" fmla="*/ 229007 w 1295643"/>
                <a:gd name="connsiteY184" fmla="*/ 1545526 h 2396328"/>
                <a:gd name="connsiteX185" fmla="*/ 221096 w 1295643"/>
                <a:gd name="connsiteY185" fmla="*/ 1492828 h 2396328"/>
                <a:gd name="connsiteX186" fmla="*/ 209335 w 1295643"/>
                <a:gd name="connsiteY186" fmla="*/ 1441923 h 2396328"/>
                <a:gd name="connsiteX187" fmla="*/ 193298 w 1295643"/>
                <a:gd name="connsiteY187" fmla="*/ 1394607 h 2396328"/>
                <a:gd name="connsiteX188" fmla="*/ 175551 w 1295643"/>
                <a:gd name="connsiteY188" fmla="*/ 1349757 h 2396328"/>
                <a:gd name="connsiteX189" fmla="*/ 154168 w 1295643"/>
                <a:gd name="connsiteY189" fmla="*/ 1309616 h 2396328"/>
                <a:gd name="connsiteX190" fmla="*/ 130220 w 1295643"/>
                <a:gd name="connsiteY190" fmla="*/ 1274185 h 2396328"/>
                <a:gd name="connsiteX191" fmla="*/ 53457 w 1295643"/>
                <a:gd name="connsiteY191" fmla="*/ 1033789 h 2396328"/>
                <a:gd name="connsiteX192" fmla="*/ 41055 w 1295643"/>
                <a:gd name="connsiteY192" fmla="*/ 971672 h 2396328"/>
                <a:gd name="connsiteX193" fmla="*/ 25018 w 1295643"/>
                <a:gd name="connsiteY193" fmla="*/ 910004 h 2396328"/>
                <a:gd name="connsiteX194" fmla="*/ 11547 w 1295643"/>
                <a:gd name="connsiteY194" fmla="*/ 843178 h 2396328"/>
                <a:gd name="connsiteX195" fmla="*/ 5346 w 1295643"/>
                <a:gd name="connsiteY195" fmla="*/ 775006 h 2396328"/>
                <a:gd name="connsiteX196" fmla="*/ 0 w 1295643"/>
                <a:gd name="connsiteY196" fmla="*/ 703694 h 2396328"/>
                <a:gd name="connsiteX197" fmla="*/ 0 w 1295643"/>
                <a:gd name="connsiteY197" fmla="*/ 630813 h 2396328"/>
                <a:gd name="connsiteX198" fmla="*/ 3635 w 1295643"/>
                <a:gd name="connsiteY198" fmla="*/ 557260 h 2396328"/>
                <a:gd name="connsiteX199" fmla="*/ 11547 w 1295643"/>
                <a:gd name="connsiteY199" fmla="*/ 484379 h 2396328"/>
                <a:gd name="connsiteX200" fmla="*/ 23307 w 1295643"/>
                <a:gd name="connsiteY200" fmla="*/ 411722 h 2396328"/>
                <a:gd name="connsiteX201" fmla="*/ 35709 w 1295643"/>
                <a:gd name="connsiteY201" fmla="*/ 341532 h 2396328"/>
                <a:gd name="connsiteX202" fmla="*/ 53457 w 1295643"/>
                <a:gd name="connsiteY202" fmla="*/ 273360 h 2396328"/>
                <a:gd name="connsiteX203" fmla="*/ 74839 w 1295643"/>
                <a:gd name="connsiteY203" fmla="*/ 209225 h 2396328"/>
                <a:gd name="connsiteX204" fmla="*/ 97077 w 1295643"/>
                <a:gd name="connsiteY204" fmla="*/ 148453 h 2396328"/>
                <a:gd name="connsiteX205" fmla="*/ 122950 w 1295643"/>
                <a:gd name="connsiteY205" fmla="*/ 93512 h 2396328"/>
                <a:gd name="connsiteX206" fmla="*/ 150533 w 1295643"/>
                <a:gd name="connsiteY206" fmla="*/ 43504 h 2396328"/>
                <a:gd name="connsiteX207" fmla="*/ 183676 w 1295643"/>
                <a:gd name="connsiteY207"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97856 w 1295643"/>
                <a:gd name="connsiteY149" fmla="*/ 1410528 h 2396328"/>
                <a:gd name="connsiteX150" fmla="*/ 536488 w 1295643"/>
                <a:gd name="connsiteY150" fmla="*/ 1427347 h 2396328"/>
                <a:gd name="connsiteX151" fmla="*/ 515105 w 1295643"/>
                <a:gd name="connsiteY151" fmla="*/ 1438559 h 2396328"/>
                <a:gd name="connsiteX152" fmla="*/ 499069 w 1295643"/>
                <a:gd name="connsiteY152" fmla="*/ 1452014 h 2396328"/>
                <a:gd name="connsiteX153" fmla="*/ 473196 w 1295643"/>
                <a:gd name="connsiteY153" fmla="*/ 1490810 h 2396328"/>
                <a:gd name="connsiteX154" fmla="*/ 455234 w 1295643"/>
                <a:gd name="connsiteY154" fmla="*/ 1532968 h 2396328"/>
                <a:gd name="connsiteX155" fmla="*/ 441122 w 1295643"/>
                <a:gd name="connsiteY155" fmla="*/ 1576921 h 2396328"/>
                <a:gd name="connsiteX156" fmla="*/ 432997 w 1295643"/>
                <a:gd name="connsiteY156" fmla="*/ 1621771 h 2396328"/>
                <a:gd name="connsiteX157" fmla="*/ 429575 w 1295643"/>
                <a:gd name="connsiteY157" fmla="*/ 1669088 h 2396328"/>
                <a:gd name="connsiteX158" fmla="*/ 427651 w 1295643"/>
                <a:gd name="connsiteY158" fmla="*/ 1716629 h 2396328"/>
                <a:gd name="connsiteX159" fmla="*/ 429575 w 1295643"/>
                <a:gd name="connsiteY159" fmla="*/ 1764169 h 2396328"/>
                <a:gd name="connsiteX160" fmla="*/ 432997 w 1295643"/>
                <a:gd name="connsiteY160" fmla="*/ 1812832 h 2396328"/>
                <a:gd name="connsiteX161" fmla="*/ 437487 w 1295643"/>
                <a:gd name="connsiteY161" fmla="*/ 1861045 h 2396328"/>
                <a:gd name="connsiteX162" fmla="*/ 442833 w 1295643"/>
                <a:gd name="connsiteY162" fmla="*/ 1908362 h 2396328"/>
                <a:gd name="connsiteX163" fmla="*/ 443688 w 1295643"/>
                <a:gd name="connsiteY163" fmla="*/ 1977879 h 2396328"/>
                <a:gd name="connsiteX164" fmla="*/ 439197 w 1295643"/>
                <a:gd name="connsiteY164" fmla="*/ 2047396 h 2396328"/>
                <a:gd name="connsiteX165" fmla="*/ 431286 w 1295643"/>
                <a:gd name="connsiteY165" fmla="*/ 2114223 h 2396328"/>
                <a:gd name="connsiteX166" fmla="*/ 421450 w 1295643"/>
                <a:gd name="connsiteY166" fmla="*/ 2179703 h 2396328"/>
                <a:gd name="connsiteX167" fmla="*/ 409476 w 1295643"/>
                <a:gd name="connsiteY167" fmla="*/ 2396328 h 2396328"/>
                <a:gd name="connsiteX168" fmla="*/ 50891 w 1295643"/>
                <a:gd name="connsiteY168" fmla="*/ 2396328 h 2396328"/>
                <a:gd name="connsiteX169" fmla="*/ 91945 w 1295643"/>
                <a:gd name="connsiteY169" fmla="*/ 2308198 h 2396328"/>
                <a:gd name="connsiteX170" fmla="*/ 142622 w 1295643"/>
                <a:gd name="connsiteY170" fmla="*/ 2208407 h 2396328"/>
                <a:gd name="connsiteX171" fmla="*/ 160369 w 1295643"/>
                <a:gd name="connsiteY171" fmla="*/ 2172303 h 2396328"/>
                <a:gd name="connsiteX172" fmla="*/ 175551 w 1295643"/>
                <a:gd name="connsiteY172" fmla="*/ 2132162 h 2396328"/>
                <a:gd name="connsiteX173" fmla="*/ 189877 w 1295643"/>
                <a:gd name="connsiteY173" fmla="*/ 2087537 h 2396328"/>
                <a:gd name="connsiteX174" fmla="*/ 203134 w 1295643"/>
                <a:gd name="connsiteY174" fmla="*/ 2039996 h 2396328"/>
                <a:gd name="connsiteX175" fmla="*/ 213826 w 1295643"/>
                <a:gd name="connsiteY175" fmla="*/ 1988643 h 2396328"/>
                <a:gd name="connsiteX176" fmla="*/ 221951 w 1295643"/>
                <a:gd name="connsiteY176" fmla="*/ 1936393 h 2396328"/>
                <a:gd name="connsiteX177" fmla="*/ 229863 w 1295643"/>
                <a:gd name="connsiteY177" fmla="*/ 1881676 h 2396328"/>
                <a:gd name="connsiteX178" fmla="*/ 235208 w 1295643"/>
                <a:gd name="connsiteY178" fmla="*/ 1826286 h 2396328"/>
                <a:gd name="connsiteX179" fmla="*/ 239699 w 1295643"/>
                <a:gd name="connsiteY179" fmla="*/ 1768654 h 2396328"/>
                <a:gd name="connsiteX180" fmla="*/ 239699 w 1295643"/>
                <a:gd name="connsiteY180" fmla="*/ 1711919 h 2396328"/>
                <a:gd name="connsiteX181" fmla="*/ 239699 w 1295643"/>
                <a:gd name="connsiteY181" fmla="*/ 1655857 h 2396328"/>
                <a:gd name="connsiteX182" fmla="*/ 235208 w 1295643"/>
                <a:gd name="connsiteY182" fmla="*/ 1599570 h 2396328"/>
                <a:gd name="connsiteX183" fmla="*/ 229007 w 1295643"/>
                <a:gd name="connsiteY183" fmla="*/ 1545526 h 2396328"/>
                <a:gd name="connsiteX184" fmla="*/ 221096 w 1295643"/>
                <a:gd name="connsiteY184" fmla="*/ 1492828 h 2396328"/>
                <a:gd name="connsiteX185" fmla="*/ 209335 w 1295643"/>
                <a:gd name="connsiteY185" fmla="*/ 1441923 h 2396328"/>
                <a:gd name="connsiteX186" fmla="*/ 193298 w 1295643"/>
                <a:gd name="connsiteY186" fmla="*/ 1394607 h 2396328"/>
                <a:gd name="connsiteX187" fmla="*/ 175551 w 1295643"/>
                <a:gd name="connsiteY187" fmla="*/ 1349757 h 2396328"/>
                <a:gd name="connsiteX188" fmla="*/ 154168 w 1295643"/>
                <a:gd name="connsiteY188" fmla="*/ 1309616 h 2396328"/>
                <a:gd name="connsiteX189" fmla="*/ 130220 w 1295643"/>
                <a:gd name="connsiteY189" fmla="*/ 1274185 h 2396328"/>
                <a:gd name="connsiteX190" fmla="*/ 53457 w 1295643"/>
                <a:gd name="connsiteY190" fmla="*/ 1033789 h 2396328"/>
                <a:gd name="connsiteX191" fmla="*/ 41055 w 1295643"/>
                <a:gd name="connsiteY191" fmla="*/ 971672 h 2396328"/>
                <a:gd name="connsiteX192" fmla="*/ 25018 w 1295643"/>
                <a:gd name="connsiteY192" fmla="*/ 910004 h 2396328"/>
                <a:gd name="connsiteX193" fmla="*/ 11547 w 1295643"/>
                <a:gd name="connsiteY193" fmla="*/ 843178 h 2396328"/>
                <a:gd name="connsiteX194" fmla="*/ 5346 w 1295643"/>
                <a:gd name="connsiteY194" fmla="*/ 775006 h 2396328"/>
                <a:gd name="connsiteX195" fmla="*/ 0 w 1295643"/>
                <a:gd name="connsiteY195" fmla="*/ 703694 h 2396328"/>
                <a:gd name="connsiteX196" fmla="*/ 0 w 1295643"/>
                <a:gd name="connsiteY196" fmla="*/ 630813 h 2396328"/>
                <a:gd name="connsiteX197" fmla="*/ 3635 w 1295643"/>
                <a:gd name="connsiteY197" fmla="*/ 557260 h 2396328"/>
                <a:gd name="connsiteX198" fmla="*/ 11547 w 1295643"/>
                <a:gd name="connsiteY198" fmla="*/ 484379 h 2396328"/>
                <a:gd name="connsiteX199" fmla="*/ 23307 w 1295643"/>
                <a:gd name="connsiteY199" fmla="*/ 411722 h 2396328"/>
                <a:gd name="connsiteX200" fmla="*/ 35709 w 1295643"/>
                <a:gd name="connsiteY200" fmla="*/ 341532 h 2396328"/>
                <a:gd name="connsiteX201" fmla="*/ 53457 w 1295643"/>
                <a:gd name="connsiteY201" fmla="*/ 273360 h 2396328"/>
                <a:gd name="connsiteX202" fmla="*/ 74839 w 1295643"/>
                <a:gd name="connsiteY202" fmla="*/ 209225 h 2396328"/>
                <a:gd name="connsiteX203" fmla="*/ 97077 w 1295643"/>
                <a:gd name="connsiteY203" fmla="*/ 148453 h 2396328"/>
                <a:gd name="connsiteX204" fmla="*/ 122950 w 1295643"/>
                <a:gd name="connsiteY204" fmla="*/ 93512 h 2396328"/>
                <a:gd name="connsiteX205" fmla="*/ 150533 w 1295643"/>
                <a:gd name="connsiteY205" fmla="*/ 43504 h 2396328"/>
                <a:gd name="connsiteX206" fmla="*/ 183676 w 1295643"/>
                <a:gd name="connsiteY20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36488 w 1295643"/>
                <a:gd name="connsiteY149" fmla="*/ 1427347 h 2396328"/>
                <a:gd name="connsiteX150" fmla="*/ 515105 w 1295643"/>
                <a:gd name="connsiteY150" fmla="*/ 1438559 h 2396328"/>
                <a:gd name="connsiteX151" fmla="*/ 499069 w 1295643"/>
                <a:gd name="connsiteY151" fmla="*/ 1452014 h 2396328"/>
                <a:gd name="connsiteX152" fmla="*/ 473196 w 1295643"/>
                <a:gd name="connsiteY152" fmla="*/ 1490810 h 2396328"/>
                <a:gd name="connsiteX153" fmla="*/ 455234 w 1295643"/>
                <a:gd name="connsiteY153" fmla="*/ 1532968 h 2396328"/>
                <a:gd name="connsiteX154" fmla="*/ 441122 w 1295643"/>
                <a:gd name="connsiteY154" fmla="*/ 1576921 h 2396328"/>
                <a:gd name="connsiteX155" fmla="*/ 432997 w 1295643"/>
                <a:gd name="connsiteY155" fmla="*/ 1621771 h 2396328"/>
                <a:gd name="connsiteX156" fmla="*/ 429575 w 1295643"/>
                <a:gd name="connsiteY156" fmla="*/ 1669088 h 2396328"/>
                <a:gd name="connsiteX157" fmla="*/ 427651 w 1295643"/>
                <a:gd name="connsiteY157" fmla="*/ 1716629 h 2396328"/>
                <a:gd name="connsiteX158" fmla="*/ 429575 w 1295643"/>
                <a:gd name="connsiteY158" fmla="*/ 1764169 h 2396328"/>
                <a:gd name="connsiteX159" fmla="*/ 432997 w 1295643"/>
                <a:gd name="connsiteY159" fmla="*/ 1812832 h 2396328"/>
                <a:gd name="connsiteX160" fmla="*/ 437487 w 1295643"/>
                <a:gd name="connsiteY160" fmla="*/ 1861045 h 2396328"/>
                <a:gd name="connsiteX161" fmla="*/ 442833 w 1295643"/>
                <a:gd name="connsiteY161" fmla="*/ 1908362 h 2396328"/>
                <a:gd name="connsiteX162" fmla="*/ 443688 w 1295643"/>
                <a:gd name="connsiteY162" fmla="*/ 1977879 h 2396328"/>
                <a:gd name="connsiteX163" fmla="*/ 439197 w 1295643"/>
                <a:gd name="connsiteY163" fmla="*/ 2047396 h 2396328"/>
                <a:gd name="connsiteX164" fmla="*/ 431286 w 1295643"/>
                <a:gd name="connsiteY164" fmla="*/ 2114223 h 2396328"/>
                <a:gd name="connsiteX165" fmla="*/ 421450 w 1295643"/>
                <a:gd name="connsiteY165" fmla="*/ 2179703 h 2396328"/>
                <a:gd name="connsiteX166" fmla="*/ 409476 w 1295643"/>
                <a:gd name="connsiteY166" fmla="*/ 2396328 h 2396328"/>
                <a:gd name="connsiteX167" fmla="*/ 50891 w 1295643"/>
                <a:gd name="connsiteY167" fmla="*/ 2396328 h 2396328"/>
                <a:gd name="connsiteX168" fmla="*/ 91945 w 1295643"/>
                <a:gd name="connsiteY168" fmla="*/ 2308198 h 2396328"/>
                <a:gd name="connsiteX169" fmla="*/ 142622 w 1295643"/>
                <a:gd name="connsiteY169" fmla="*/ 2208407 h 2396328"/>
                <a:gd name="connsiteX170" fmla="*/ 160369 w 1295643"/>
                <a:gd name="connsiteY170" fmla="*/ 2172303 h 2396328"/>
                <a:gd name="connsiteX171" fmla="*/ 175551 w 1295643"/>
                <a:gd name="connsiteY171" fmla="*/ 2132162 h 2396328"/>
                <a:gd name="connsiteX172" fmla="*/ 189877 w 1295643"/>
                <a:gd name="connsiteY172" fmla="*/ 2087537 h 2396328"/>
                <a:gd name="connsiteX173" fmla="*/ 203134 w 1295643"/>
                <a:gd name="connsiteY173" fmla="*/ 2039996 h 2396328"/>
                <a:gd name="connsiteX174" fmla="*/ 213826 w 1295643"/>
                <a:gd name="connsiteY174" fmla="*/ 1988643 h 2396328"/>
                <a:gd name="connsiteX175" fmla="*/ 221951 w 1295643"/>
                <a:gd name="connsiteY175" fmla="*/ 1936393 h 2396328"/>
                <a:gd name="connsiteX176" fmla="*/ 229863 w 1295643"/>
                <a:gd name="connsiteY176" fmla="*/ 1881676 h 2396328"/>
                <a:gd name="connsiteX177" fmla="*/ 235208 w 1295643"/>
                <a:gd name="connsiteY177" fmla="*/ 1826286 h 2396328"/>
                <a:gd name="connsiteX178" fmla="*/ 239699 w 1295643"/>
                <a:gd name="connsiteY178" fmla="*/ 1768654 h 2396328"/>
                <a:gd name="connsiteX179" fmla="*/ 239699 w 1295643"/>
                <a:gd name="connsiteY179" fmla="*/ 1711919 h 2396328"/>
                <a:gd name="connsiteX180" fmla="*/ 239699 w 1295643"/>
                <a:gd name="connsiteY180" fmla="*/ 1655857 h 2396328"/>
                <a:gd name="connsiteX181" fmla="*/ 235208 w 1295643"/>
                <a:gd name="connsiteY181" fmla="*/ 1599570 h 2396328"/>
                <a:gd name="connsiteX182" fmla="*/ 229007 w 1295643"/>
                <a:gd name="connsiteY182" fmla="*/ 1545526 h 2396328"/>
                <a:gd name="connsiteX183" fmla="*/ 221096 w 1295643"/>
                <a:gd name="connsiteY183" fmla="*/ 1492828 h 2396328"/>
                <a:gd name="connsiteX184" fmla="*/ 209335 w 1295643"/>
                <a:gd name="connsiteY184" fmla="*/ 1441923 h 2396328"/>
                <a:gd name="connsiteX185" fmla="*/ 193298 w 1295643"/>
                <a:gd name="connsiteY185" fmla="*/ 1394607 h 2396328"/>
                <a:gd name="connsiteX186" fmla="*/ 175551 w 1295643"/>
                <a:gd name="connsiteY186" fmla="*/ 1349757 h 2396328"/>
                <a:gd name="connsiteX187" fmla="*/ 154168 w 1295643"/>
                <a:gd name="connsiteY187" fmla="*/ 1309616 h 2396328"/>
                <a:gd name="connsiteX188" fmla="*/ 130220 w 1295643"/>
                <a:gd name="connsiteY188" fmla="*/ 1274185 h 2396328"/>
                <a:gd name="connsiteX189" fmla="*/ 53457 w 1295643"/>
                <a:gd name="connsiteY189" fmla="*/ 1033789 h 2396328"/>
                <a:gd name="connsiteX190" fmla="*/ 41055 w 1295643"/>
                <a:gd name="connsiteY190" fmla="*/ 971672 h 2396328"/>
                <a:gd name="connsiteX191" fmla="*/ 25018 w 1295643"/>
                <a:gd name="connsiteY191" fmla="*/ 910004 h 2396328"/>
                <a:gd name="connsiteX192" fmla="*/ 11547 w 1295643"/>
                <a:gd name="connsiteY192" fmla="*/ 843178 h 2396328"/>
                <a:gd name="connsiteX193" fmla="*/ 5346 w 1295643"/>
                <a:gd name="connsiteY193" fmla="*/ 775006 h 2396328"/>
                <a:gd name="connsiteX194" fmla="*/ 0 w 1295643"/>
                <a:gd name="connsiteY194" fmla="*/ 703694 h 2396328"/>
                <a:gd name="connsiteX195" fmla="*/ 0 w 1295643"/>
                <a:gd name="connsiteY195" fmla="*/ 630813 h 2396328"/>
                <a:gd name="connsiteX196" fmla="*/ 3635 w 1295643"/>
                <a:gd name="connsiteY196" fmla="*/ 557260 h 2396328"/>
                <a:gd name="connsiteX197" fmla="*/ 11547 w 1295643"/>
                <a:gd name="connsiteY197" fmla="*/ 484379 h 2396328"/>
                <a:gd name="connsiteX198" fmla="*/ 23307 w 1295643"/>
                <a:gd name="connsiteY198" fmla="*/ 411722 h 2396328"/>
                <a:gd name="connsiteX199" fmla="*/ 35709 w 1295643"/>
                <a:gd name="connsiteY199" fmla="*/ 341532 h 2396328"/>
                <a:gd name="connsiteX200" fmla="*/ 53457 w 1295643"/>
                <a:gd name="connsiteY200" fmla="*/ 273360 h 2396328"/>
                <a:gd name="connsiteX201" fmla="*/ 74839 w 1295643"/>
                <a:gd name="connsiteY201" fmla="*/ 209225 h 2396328"/>
                <a:gd name="connsiteX202" fmla="*/ 97077 w 1295643"/>
                <a:gd name="connsiteY202" fmla="*/ 148453 h 2396328"/>
                <a:gd name="connsiteX203" fmla="*/ 122950 w 1295643"/>
                <a:gd name="connsiteY203" fmla="*/ 93512 h 2396328"/>
                <a:gd name="connsiteX204" fmla="*/ 150533 w 1295643"/>
                <a:gd name="connsiteY204" fmla="*/ 43504 h 2396328"/>
                <a:gd name="connsiteX205" fmla="*/ 183676 w 1295643"/>
                <a:gd name="connsiteY205"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536488 w 1295643"/>
                <a:gd name="connsiteY148" fmla="*/ 1427347 h 2396328"/>
                <a:gd name="connsiteX149" fmla="*/ 515105 w 1295643"/>
                <a:gd name="connsiteY149" fmla="*/ 1438559 h 2396328"/>
                <a:gd name="connsiteX150" fmla="*/ 499069 w 1295643"/>
                <a:gd name="connsiteY150" fmla="*/ 1452014 h 2396328"/>
                <a:gd name="connsiteX151" fmla="*/ 473196 w 1295643"/>
                <a:gd name="connsiteY151" fmla="*/ 1490810 h 2396328"/>
                <a:gd name="connsiteX152" fmla="*/ 455234 w 1295643"/>
                <a:gd name="connsiteY152" fmla="*/ 1532968 h 2396328"/>
                <a:gd name="connsiteX153" fmla="*/ 441122 w 1295643"/>
                <a:gd name="connsiteY153" fmla="*/ 1576921 h 2396328"/>
                <a:gd name="connsiteX154" fmla="*/ 432997 w 1295643"/>
                <a:gd name="connsiteY154" fmla="*/ 1621771 h 2396328"/>
                <a:gd name="connsiteX155" fmla="*/ 429575 w 1295643"/>
                <a:gd name="connsiteY155" fmla="*/ 1669088 h 2396328"/>
                <a:gd name="connsiteX156" fmla="*/ 427651 w 1295643"/>
                <a:gd name="connsiteY156" fmla="*/ 1716629 h 2396328"/>
                <a:gd name="connsiteX157" fmla="*/ 429575 w 1295643"/>
                <a:gd name="connsiteY157" fmla="*/ 1764169 h 2396328"/>
                <a:gd name="connsiteX158" fmla="*/ 432997 w 1295643"/>
                <a:gd name="connsiteY158" fmla="*/ 1812832 h 2396328"/>
                <a:gd name="connsiteX159" fmla="*/ 437487 w 1295643"/>
                <a:gd name="connsiteY159" fmla="*/ 1861045 h 2396328"/>
                <a:gd name="connsiteX160" fmla="*/ 442833 w 1295643"/>
                <a:gd name="connsiteY160" fmla="*/ 1908362 h 2396328"/>
                <a:gd name="connsiteX161" fmla="*/ 443688 w 1295643"/>
                <a:gd name="connsiteY161" fmla="*/ 1977879 h 2396328"/>
                <a:gd name="connsiteX162" fmla="*/ 439197 w 1295643"/>
                <a:gd name="connsiteY162" fmla="*/ 2047396 h 2396328"/>
                <a:gd name="connsiteX163" fmla="*/ 431286 w 1295643"/>
                <a:gd name="connsiteY163" fmla="*/ 2114223 h 2396328"/>
                <a:gd name="connsiteX164" fmla="*/ 421450 w 1295643"/>
                <a:gd name="connsiteY164" fmla="*/ 2179703 h 2396328"/>
                <a:gd name="connsiteX165" fmla="*/ 409476 w 1295643"/>
                <a:gd name="connsiteY165" fmla="*/ 2396328 h 2396328"/>
                <a:gd name="connsiteX166" fmla="*/ 50891 w 1295643"/>
                <a:gd name="connsiteY166" fmla="*/ 2396328 h 2396328"/>
                <a:gd name="connsiteX167" fmla="*/ 91945 w 1295643"/>
                <a:gd name="connsiteY167" fmla="*/ 2308198 h 2396328"/>
                <a:gd name="connsiteX168" fmla="*/ 142622 w 1295643"/>
                <a:gd name="connsiteY168" fmla="*/ 2208407 h 2396328"/>
                <a:gd name="connsiteX169" fmla="*/ 160369 w 1295643"/>
                <a:gd name="connsiteY169" fmla="*/ 2172303 h 2396328"/>
                <a:gd name="connsiteX170" fmla="*/ 175551 w 1295643"/>
                <a:gd name="connsiteY170" fmla="*/ 2132162 h 2396328"/>
                <a:gd name="connsiteX171" fmla="*/ 189877 w 1295643"/>
                <a:gd name="connsiteY171" fmla="*/ 2087537 h 2396328"/>
                <a:gd name="connsiteX172" fmla="*/ 203134 w 1295643"/>
                <a:gd name="connsiteY172" fmla="*/ 2039996 h 2396328"/>
                <a:gd name="connsiteX173" fmla="*/ 213826 w 1295643"/>
                <a:gd name="connsiteY173" fmla="*/ 1988643 h 2396328"/>
                <a:gd name="connsiteX174" fmla="*/ 221951 w 1295643"/>
                <a:gd name="connsiteY174" fmla="*/ 1936393 h 2396328"/>
                <a:gd name="connsiteX175" fmla="*/ 229863 w 1295643"/>
                <a:gd name="connsiteY175" fmla="*/ 1881676 h 2396328"/>
                <a:gd name="connsiteX176" fmla="*/ 235208 w 1295643"/>
                <a:gd name="connsiteY176" fmla="*/ 1826286 h 2396328"/>
                <a:gd name="connsiteX177" fmla="*/ 239699 w 1295643"/>
                <a:gd name="connsiteY177" fmla="*/ 1768654 h 2396328"/>
                <a:gd name="connsiteX178" fmla="*/ 239699 w 1295643"/>
                <a:gd name="connsiteY178" fmla="*/ 1711919 h 2396328"/>
                <a:gd name="connsiteX179" fmla="*/ 239699 w 1295643"/>
                <a:gd name="connsiteY179" fmla="*/ 1655857 h 2396328"/>
                <a:gd name="connsiteX180" fmla="*/ 235208 w 1295643"/>
                <a:gd name="connsiteY180" fmla="*/ 1599570 h 2396328"/>
                <a:gd name="connsiteX181" fmla="*/ 229007 w 1295643"/>
                <a:gd name="connsiteY181" fmla="*/ 1545526 h 2396328"/>
                <a:gd name="connsiteX182" fmla="*/ 221096 w 1295643"/>
                <a:gd name="connsiteY182" fmla="*/ 1492828 h 2396328"/>
                <a:gd name="connsiteX183" fmla="*/ 209335 w 1295643"/>
                <a:gd name="connsiteY183" fmla="*/ 1441923 h 2396328"/>
                <a:gd name="connsiteX184" fmla="*/ 193298 w 1295643"/>
                <a:gd name="connsiteY184" fmla="*/ 1394607 h 2396328"/>
                <a:gd name="connsiteX185" fmla="*/ 175551 w 1295643"/>
                <a:gd name="connsiteY185" fmla="*/ 1349757 h 2396328"/>
                <a:gd name="connsiteX186" fmla="*/ 154168 w 1295643"/>
                <a:gd name="connsiteY186" fmla="*/ 1309616 h 2396328"/>
                <a:gd name="connsiteX187" fmla="*/ 130220 w 1295643"/>
                <a:gd name="connsiteY187" fmla="*/ 1274185 h 2396328"/>
                <a:gd name="connsiteX188" fmla="*/ 53457 w 1295643"/>
                <a:gd name="connsiteY188" fmla="*/ 1033789 h 2396328"/>
                <a:gd name="connsiteX189" fmla="*/ 41055 w 1295643"/>
                <a:gd name="connsiteY189" fmla="*/ 971672 h 2396328"/>
                <a:gd name="connsiteX190" fmla="*/ 25018 w 1295643"/>
                <a:gd name="connsiteY190" fmla="*/ 910004 h 2396328"/>
                <a:gd name="connsiteX191" fmla="*/ 11547 w 1295643"/>
                <a:gd name="connsiteY191" fmla="*/ 843178 h 2396328"/>
                <a:gd name="connsiteX192" fmla="*/ 5346 w 1295643"/>
                <a:gd name="connsiteY192" fmla="*/ 775006 h 2396328"/>
                <a:gd name="connsiteX193" fmla="*/ 0 w 1295643"/>
                <a:gd name="connsiteY193" fmla="*/ 703694 h 2396328"/>
                <a:gd name="connsiteX194" fmla="*/ 0 w 1295643"/>
                <a:gd name="connsiteY194" fmla="*/ 630813 h 2396328"/>
                <a:gd name="connsiteX195" fmla="*/ 3635 w 1295643"/>
                <a:gd name="connsiteY195" fmla="*/ 557260 h 2396328"/>
                <a:gd name="connsiteX196" fmla="*/ 11547 w 1295643"/>
                <a:gd name="connsiteY196" fmla="*/ 484379 h 2396328"/>
                <a:gd name="connsiteX197" fmla="*/ 23307 w 1295643"/>
                <a:gd name="connsiteY197" fmla="*/ 411722 h 2396328"/>
                <a:gd name="connsiteX198" fmla="*/ 35709 w 1295643"/>
                <a:gd name="connsiteY198" fmla="*/ 341532 h 2396328"/>
                <a:gd name="connsiteX199" fmla="*/ 53457 w 1295643"/>
                <a:gd name="connsiteY199" fmla="*/ 273360 h 2396328"/>
                <a:gd name="connsiteX200" fmla="*/ 74839 w 1295643"/>
                <a:gd name="connsiteY200" fmla="*/ 209225 h 2396328"/>
                <a:gd name="connsiteX201" fmla="*/ 97077 w 1295643"/>
                <a:gd name="connsiteY201" fmla="*/ 148453 h 2396328"/>
                <a:gd name="connsiteX202" fmla="*/ 122950 w 1295643"/>
                <a:gd name="connsiteY202" fmla="*/ 93512 h 2396328"/>
                <a:gd name="connsiteX203" fmla="*/ 150533 w 1295643"/>
                <a:gd name="connsiteY203" fmla="*/ 43504 h 2396328"/>
                <a:gd name="connsiteX204" fmla="*/ 183676 w 1295643"/>
                <a:gd name="connsiteY204"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36488 w 1295643"/>
                <a:gd name="connsiteY147" fmla="*/ 1427347 h 2396328"/>
                <a:gd name="connsiteX148" fmla="*/ 515105 w 1295643"/>
                <a:gd name="connsiteY148" fmla="*/ 1438559 h 2396328"/>
                <a:gd name="connsiteX149" fmla="*/ 499069 w 1295643"/>
                <a:gd name="connsiteY149" fmla="*/ 1452014 h 2396328"/>
                <a:gd name="connsiteX150" fmla="*/ 473196 w 1295643"/>
                <a:gd name="connsiteY150" fmla="*/ 1490810 h 2396328"/>
                <a:gd name="connsiteX151" fmla="*/ 455234 w 1295643"/>
                <a:gd name="connsiteY151" fmla="*/ 1532968 h 2396328"/>
                <a:gd name="connsiteX152" fmla="*/ 441122 w 1295643"/>
                <a:gd name="connsiteY152" fmla="*/ 1576921 h 2396328"/>
                <a:gd name="connsiteX153" fmla="*/ 432997 w 1295643"/>
                <a:gd name="connsiteY153" fmla="*/ 1621771 h 2396328"/>
                <a:gd name="connsiteX154" fmla="*/ 429575 w 1295643"/>
                <a:gd name="connsiteY154" fmla="*/ 1669088 h 2396328"/>
                <a:gd name="connsiteX155" fmla="*/ 427651 w 1295643"/>
                <a:gd name="connsiteY155" fmla="*/ 1716629 h 2396328"/>
                <a:gd name="connsiteX156" fmla="*/ 429575 w 1295643"/>
                <a:gd name="connsiteY156" fmla="*/ 1764169 h 2396328"/>
                <a:gd name="connsiteX157" fmla="*/ 432997 w 1295643"/>
                <a:gd name="connsiteY157" fmla="*/ 1812832 h 2396328"/>
                <a:gd name="connsiteX158" fmla="*/ 437487 w 1295643"/>
                <a:gd name="connsiteY158" fmla="*/ 1861045 h 2396328"/>
                <a:gd name="connsiteX159" fmla="*/ 442833 w 1295643"/>
                <a:gd name="connsiteY159" fmla="*/ 1908362 h 2396328"/>
                <a:gd name="connsiteX160" fmla="*/ 443688 w 1295643"/>
                <a:gd name="connsiteY160" fmla="*/ 1977879 h 2396328"/>
                <a:gd name="connsiteX161" fmla="*/ 439197 w 1295643"/>
                <a:gd name="connsiteY161" fmla="*/ 2047396 h 2396328"/>
                <a:gd name="connsiteX162" fmla="*/ 431286 w 1295643"/>
                <a:gd name="connsiteY162" fmla="*/ 2114223 h 2396328"/>
                <a:gd name="connsiteX163" fmla="*/ 421450 w 1295643"/>
                <a:gd name="connsiteY163" fmla="*/ 2179703 h 2396328"/>
                <a:gd name="connsiteX164" fmla="*/ 409476 w 1295643"/>
                <a:gd name="connsiteY164" fmla="*/ 2396328 h 2396328"/>
                <a:gd name="connsiteX165" fmla="*/ 50891 w 1295643"/>
                <a:gd name="connsiteY165" fmla="*/ 2396328 h 2396328"/>
                <a:gd name="connsiteX166" fmla="*/ 91945 w 1295643"/>
                <a:gd name="connsiteY166" fmla="*/ 2308198 h 2396328"/>
                <a:gd name="connsiteX167" fmla="*/ 142622 w 1295643"/>
                <a:gd name="connsiteY167" fmla="*/ 2208407 h 2396328"/>
                <a:gd name="connsiteX168" fmla="*/ 160369 w 1295643"/>
                <a:gd name="connsiteY168" fmla="*/ 2172303 h 2396328"/>
                <a:gd name="connsiteX169" fmla="*/ 175551 w 1295643"/>
                <a:gd name="connsiteY169" fmla="*/ 2132162 h 2396328"/>
                <a:gd name="connsiteX170" fmla="*/ 189877 w 1295643"/>
                <a:gd name="connsiteY170" fmla="*/ 2087537 h 2396328"/>
                <a:gd name="connsiteX171" fmla="*/ 203134 w 1295643"/>
                <a:gd name="connsiteY171" fmla="*/ 2039996 h 2396328"/>
                <a:gd name="connsiteX172" fmla="*/ 213826 w 1295643"/>
                <a:gd name="connsiteY172" fmla="*/ 1988643 h 2396328"/>
                <a:gd name="connsiteX173" fmla="*/ 221951 w 1295643"/>
                <a:gd name="connsiteY173" fmla="*/ 1936393 h 2396328"/>
                <a:gd name="connsiteX174" fmla="*/ 229863 w 1295643"/>
                <a:gd name="connsiteY174" fmla="*/ 1881676 h 2396328"/>
                <a:gd name="connsiteX175" fmla="*/ 235208 w 1295643"/>
                <a:gd name="connsiteY175" fmla="*/ 1826286 h 2396328"/>
                <a:gd name="connsiteX176" fmla="*/ 239699 w 1295643"/>
                <a:gd name="connsiteY176" fmla="*/ 1768654 h 2396328"/>
                <a:gd name="connsiteX177" fmla="*/ 239699 w 1295643"/>
                <a:gd name="connsiteY177" fmla="*/ 1711919 h 2396328"/>
                <a:gd name="connsiteX178" fmla="*/ 239699 w 1295643"/>
                <a:gd name="connsiteY178" fmla="*/ 1655857 h 2396328"/>
                <a:gd name="connsiteX179" fmla="*/ 235208 w 1295643"/>
                <a:gd name="connsiteY179" fmla="*/ 1599570 h 2396328"/>
                <a:gd name="connsiteX180" fmla="*/ 229007 w 1295643"/>
                <a:gd name="connsiteY180" fmla="*/ 1545526 h 2396328"/>
                <a:gd name="connsiteX181" fmla="*/ 221096 w 1295643"/>
                <a:gd name="connsiteY181" fmla="*/ 1492828 h 2396328"/>
                <a:gd name="connsiteX182" fmla="*/ 209335 w 1295643"/>
                <a:gd name="connsiteY182" fmla="*/ 1441923 h 2396328"/>
                <a:gd name="connsiteX183" fmla="*/ 193298 w 1295643"/>
                <a:gd name="connsiteY183" fmla="*/ 1394607 h 2396328"/>
                <a:gd name="connsiteX184" fmla="*/ 175551 w 1295643"/>
                <a:gd name="connsiteY184" fmla="*/ 1349757 h 2396328"/>
                <a:gd name="connsiteX185" fmla="*/ 154168 w 1295643"/>
                <a:gd name="connsiteY185" fmla="*/ 1309616 h 2396328"/>
                <a:gd name="connsiteX186" fmla="*/ 130220 w 1295643"/>
                <a:gd name="connsiteY186" fmla="*/ 1274185 h 2396328"/>
                <a:gd name="connsiteX187" fmla="*/ 53457 w 1295643"/>
                <a:gd name="connsiteY187" fmla="*/ 1033789 h 2396328"/>
                <a:gd name="connsiteX188" fmla="*/ 41055 w 1295643"/>
                <a:gd name="connsiteY188" fmla="*/ 971672 h 2396328"/>
                <a:gd name="connsiteX189" fmla="*/ 25018 w 1295643"/>
                <a:gd name="connsiteY189" fmla="*/ 910004 h 2396328"/>
                <a:gd name="connsiteX190" fmla="*/ 11547 w 1295643"/>
                <a:gd name="connsiteY190" fmla="*/ 843178 h 2396328"/>
                <a:gd name="connsiteX191" fmla="*/ 5346 w 1295643"/>
                <a:gd name="connsiteY191" fmla="*/ 775006 h 2396328"/>
                <a:gd name="connsiteX192" fmla="*/ 0 w 1295643"/>
                <a:gd name="connsiteY192" fmla="*/ 703694 h 2396328"/>
                <a:gd name="connsiteX193" fmla="*/ 0 w 1295643"/>
                <a:gd name="connsiteY193" fmla="*/ 630813 h 2396328"/>
                <a:gd name="connsiteX194" fmla="*/ 3635 w 1295643"/>
                <a:gd name="connsiteY194" fmla="*/ 557260 h 2396328"/>
                <a:gd name="connsiteX195" fmla="*/ 11547 w 1295643"/>
                <a:gd name="connsiteY195" fmla="*/ 484379 h 2396328"/>
                <a:gd name="connsiteX196" fmla="*/ 23307 w 1295643"/>
                <a:gd name="connsiteY196" fmla="*/ 411722 h 2396328"/>
                <a:gd name="connsiteX197" fmla="*/ 35709 w 1295643"/>
                <a:gd name="connsiteY197" fmla="*/ 341532 h 2396328"/>
                <a:gd name="connsiteX198" fmla="*/ 53457 w 1295643"/>
                <a:gd name="connsiteY198" fmla="*/ 273360 h 2396328"/>
                <a:gd name="connsiteX199" fmla="*/ 74839 w 1295643"/>
                <a:gd name="connsiteY199" fmla="*/ 209225 h 2396328"/>
                <a:gd name="connsiteX200" fmla="*/ 97077 w 1295643"/>
                <a:gd name="connsiteY200" fmla="*/ 148453 h 2396328"/>
                <a:gd name="connsiteX201" fmla="*/ 122950 w 1295643"/>
                <a:gd name="connsiteY201" fmla="*/ 93512 h 2396328"/>
                <a:gd name="connsiteX202" fmla="*/ 150533 w 1295643"/>
                <a:gd name="connsiteY202" fmla="*/ 43504 h 2396328"/>
                <a:gd name="connsiteX203" fmla="*/ 183676 w 1295643"/>
                <a:gd name="connsiteY203"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36488 w 1295643"/>
                <a:gd name="connsiteY146" fmla="*/ 1427347 h 2396328"/>
                <a:gd name="connsiteX147" fmla="*/ 515105 w 1295643"/>
                <a:gd name="connsiteY147" fmla="*/ 1438559 h 2396328"/>
                <a:gd name="connsiteX148" fmla="*/ 499069 w 1295643"/>
                <a:gd name="connsiteY148" fmla="*/ 1452014 h 2396328"/>
                <a:gd name="connsiteX149" fmla="*/ 473196 w 1295643"/>
                <a:gd name="connsiteY149" fmla="*/ 1490810 h 2396328"/>
                <a:gd name="connsiteX150" fmla="*/ 455234 w 1295643"/>
                <a:gd name="connsiteY150" fmla="*/ 1532968 h 2396328"/>
                <a:gd name="connsiteX151" fmla="*/ 441122 w 1295643"/>
                <a:gd name="connsiteY151" fmla="*/ 1576921 h 2396328"/>
                <a:gd name="connsiteX152" fmla="*/ 432997 w 1295643"/>
                <a:gd name="connsiteY152" fmla="*/ 1621771 h 2396328"/>
                <a:gd name="connsiteX153" fmla="*/ 429575 w 1295643"/>
                <a:gd name="connsiteY153" fmla="*/ 1669088 h 2396328"/>
                <a:gd name="connsiteX154" fmla="*/ 427651 w 1295643"/>
                <a:gd name="connsiteY154" fmla="*/ 1716629 h 2396328"/>
                <a:gd name="connsiteX155" fmla="*/ 429575 w 1295643"/>
                <a:gd name="connsiteY155" fmla="*/ 1764169 h 2396328"/>
                <a:gd name="connsiteX156" fmla="*/ 432997 w 1295643"/>
                <a:gd name="connsiteY156" fmla="*/ 1812832 h 2396328"/>
                <a:gd name="connsiteX157" fmla="*/ 437487 w 1295643"/>
                <a:gd name="connsiteY157" fmla="*/ 1861045 h 2396328"/>
                <a:gd name="connsiteX158" fmla="*/ 442833 w 1295643"/>
                <a:gd name="connsiteY158" fmla="*/ 1908362 h 2396328"/>
                <a:gd name="connsiteX159" fmla="*/ 443688 w 1295643"/>
                <a:gd name="connsiteY159" fmla="*/ 1977879 h 2396328"/>
                <a:gd name="connsiteX160" fmla="*/ 439197 w 1295643"/>
                <a:gd name="connsiteY160" fmla="*/ 2047396 h 2396328"/>
                <a:gd name="connsiteX161" fmla="*/ 431286 w 1295643"/>
                <a:gd name="connsiteY161" fmla="*/ 2114223 h 2396328"/>
                <a:gd name="connsiteX162" fmla="*/ 421450 w 1295643"/>
                <a:gd name="connsiteY162" fmla="*/ 2179703 h 2396328"/>
                <a:gd name="connsiteX163" fmla="*/ 409476 w 1295643"/>
                <a:gd name="connsiteY163" fmla="*/ 2396328 h 2396328"/>
                <a:gd name="connsiteX164" fmla="*/ 50891 w 1295643"/>
                <a:gd name="connsiteY164" fmla="*/ 2396328 h 2396328"/>
                <a:gd name="connsiteX165" fmla="*/ 91945 w 1295643"/>
                <a:gd name="connsiteY165" fmla="*/ 2308198 h 2396328"/>
                <a:gd name="connsiteX166" fmla="*/ 142622 w 1295643"/>
                <a:gd name="connsiteY166" fmla="*/ 2208407 h 2396328"/>
                <a:gd name="connsiteX167" fmla="*/ 160369 w 1295643"/>
                <a:gd name="connsiteY167" fmla="*/ 2172303 h 2396328"/>
                <a:gd name="connsiteX168" fmla="*/ 175551 w 1295643"/>
                <a:gd name="connsiteY168" fmla="*/ 2132162 h 2396328"/>
                <a:gd name="connsiteX169" fmla="*/ 189877 w 1295643"/>
                <a:gd name="connsiteY169" fmla="*/ 2087537 h 2396328"/>
                <a:gd name="connsiteX170" fmla="*/ 203134 w 1295643"/>
                <a:gd name="connsiteY170" fmla="*/ 2039996 h 2396328"/>
                <a:gd name="connsiteX171" fmla="*/ 213826 w 1295643"/>
                <a:gd name="connsiteY171" fmla="*/ 1988643 h 2396328"/>
                <a:gd name="connsiteX172" fmla="*/ 221951 w 1295643"/>
                <a:gd name="connsiteY172" fmla="*/ 1936393 h 2396328"/>
                <a:gd name="connsiteX173" fmla="*/ 229863 w 1295643"/>
                <a:gd name="connsiteY173" fmla="*/ 1881676 h 2396328"/>
                <a:gd name="connsiteX174" fmla="*/ 235208 w 1295643"/>
                <a:gd name="connsiteY174" fmla="*/ 1826286 h 2396328"/>
                <a:gd name="connsiteX175" fmla="*/ 239699 w 1295643"/>
                <a:gd name="connsiteY175" fmla="*/ 1768654 h 2396328"/>
                <a:gd name="connsiteX176" fmla="*/ 239699 w 1295643"/>
                <a:gd name="connsiteY176" fmla="*/ 1711919 h 2396328"/>
                <a:gd name="connsiteX177" fmla="*/ 239699 w 1295643"/>
                <a:gd name="connsiteY177" fmla="*/ 1655857 h 2396328"/>
                <a:gd name="connsiteX178" fmla="*/ 235208 w 1295643"/>
                <a:gd name="connsiteY178" fmla="*/ 1599570 h 2396328"/>
                <a:gd name="connsiteX179" fmla="*/ 229007 w 1295643"/>
                <a:gd name="connsiteY179" fmla="*/ 1545526 h 2396328"/>
                <a:gd name="connsiteX180" fmla="*/ 221096 w 1295643"/>
                <a:gd name="connsiteY180" fmla="*/ 1492828 h 2396328"/>
                <a:gd name="connsiteX181" fmla="*/ 209335 w 1295643"/>
                <a:gd name="connsiteY181" fmla="*/ 1441923 h 2396328"/>
                <a:gd name="connsiteX182" fmla="*/ 193298 w 1295643"/>
                <a:gd name="connsiteY182" fmla="*/ 1394607 h 2396328"/>
                <a:gd name="connsiteX183" fmla="*/ 175551 w 1295643"/>
                <a:gd name="connsiteY183" fmla="*/ 1349757 h 2396328"/>
                <a:gd name="connsiteX184" fmla="*/ 154168 w 1295643"/>
                <a:gd name="connsiteY184" fmla="*/ 1309616 h 2396328"/>
                <a:gd name="connsiteX185" fmla="*/ 130220 w 1295643"/>
                <a:gd name="connsiteY185" fmla="*/ 1274185 h 2396328"/>
                <a:gd name="connsiteX186" fmla="*/ 53457 w 1295643"/>
                <a:gd name="connsiteY186" fmla="*/ 1033789 h 2396328"/>
                <a:gd name="connsiteX187" fmla="*/ 41055 w 1295643"/>
                <a:gd name="connsiteY187" fmla="*/ 971672 h 2396328"/>
                <a:gd name="connsiteX188" fmla="*/ 25018 w 1295643"/>
                <a:gd name="connsiteY188" fmla="*/ 910004 h 2396328"/>
                <a:gd name="connsiteX189" fmla="*/ 11547 w 1295643"/>
                <a:gd name="connsiteY189" fmla="*/ 843178 h 2396328"/>
                <a:gd name="connsiteX190" fmla="*/ 5346 w 1295643"/>
                <a:gd name="connsiteY190" fmla="*/ 775006 h 2396328"/>
                <a:gd name="connsiteX191" fmla="*/ 0 w 1295643"/>
                <a:gd name="connsiteY191" fmla="*/ 703694 h 2396328"/>
                <a:gd name="connsiteX192" fmla="*/ 0 w 1295643"/>
                <a:gd name="connsiteY192" fmla="*/ 630813 h 2396328"/>
                <a:gd name="connsiteX193" fmla="*/ 3635 w 1295643"/>
                <a:gd name="connsiteY193" fmla="*/ 557260 h 2396328"/>
                <a:gd name="connsiteX194" fmla="*/ 11547 w 1295643"/>
                <a:gd name="connsiteY194" fmla="*/ 484379 h 2396328"/>
                <a:gd name="connsiteX195" fmla="*/ 23307 w 1295643"/>
                <a:gd name="connsiteY195" fmla="*/ 411722 h 2396328"/>
                <a:gd name="connsiteX196" fmla="*/ 35709 w 1295643"/>
                <a:gd name="connsiteY196" fmla="*/ 341532 h 2396328"/>
                <a:gd name="connsiteX197" fmla="*/ 53457 w 1295643"/>
                <a:gd name="connsiteY197" fmla="*/ 273360 h 2396328"/>
                <a:gd name="connsiteX198" fmla="*/ 74839 w 1295643"/>
                <a:gd name="connsiteY198" fmla="*/ 209225 h 2396328"/>
                <a:gd name="connsiteX199" fmla="*/ 97077 w 1295643"/>
                <a:gd name="connsiteY199" fmla="*/ 148453 h 2396328"/>
                <a:gd name="connsiteX200" fmla="*/ 122950 w 1295643"/>
                <a:gd name="connsiteY200" fmla="*/ 93512 h 2396328"/>
                <a:gd name="connsiteX201" fmla="*/ 150533 w 1295643"/>
                <a:gd name="connsiteY201" fmla="*/ 43504 h 2396328"/>
                <a:gd name="connsiteX202" fmla="*/ 183676 w 1295643"/>
                <a:gd name="connsiteY202"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36488 w 1295643"/>
                <a:gd name="connsiteY145" fmla="*/ 1427347 h 2396328"/>
                <a:gd name="connsiteX146" fmla="*/ 515105 w 1295643"/>
                <a:gd name="connsiteY146" fmla="*/ 1438559 h 2396328"/>
                <a:gd name="connsiteX147" fmla="*/ 499069 w 1295643"/>
                <a:gd name="connsiteY147" fmla="*/ 1452014 h 2396328"/>
                <a:gd name="connsiteX148" fmla="*/ 473196 w 1295643"/>
                <a:gd name="connsiteY148" fmla="*/ 1490810 h 2396328"/>
                <a:gd name="connsiteX149" fmla="*/ 455234 w 1295643"/>
                <a:gd name="connsiteY149" fmla="*/ 1532968 h 2396328"/>
                <a:gd name="connsiteX150" fmla="*/ 441122 w 1295643"/>
                <a:gd name="connsiteY150" fmla="*/ 1576921 h 2396328"/>
                <a:gd name="connsiteX151" fmla="*/ 432997 w 1295643"/>
                <a:gd name="connsiteY151" fmla="*/ 1621771 h 2396328"/>
                <a:gd name="connsiteX152" fmla="*/ 429575 w 1295643"/>
                <a:gd name="connsiteY152" fmla="*/ 1669088 h 2396328"/>
                <a:gd name="connsiteX153" fmla="*/ 427651 w 1295643"/>
                <a:gd name="connsiteY153" fmla="*/ 1716629 h 2396328"/>
                <a:gd name="connsiteX154" fmla="*/ 429575 w 1295643"/>
                <a:gd name="connsiteY154" fmla="*/ 1764169 h 2396328"/>
                <a:gd name="connsiteX155" fmla="*/ 432997 w 1295643"/>
                <a:gd name="connsiteY155" fmla="*/ 1812832 h 2396328"/>
                <a:gd name="connsiteX156" fmla="*/ 437487 w 1295643"/>
                <a:gd name="connsiteY156" fmla="*/ 1861045 h 2396328"/>
                <a:gd name="connsiteX157" fmla="*/ 442833 w 1295643"/>
                <a:gd name="connsiteY157" fmla="*/ 1908362 h 2396328"/>
                <a:gd name="connsiteX158" fmla="*/ 443688 w 1295643"/>
                <a:gd name="connsiteY158" fmla="*/ 1977879 h 2396328"/>
                <a:gd name="connsiteX159" fmla="*/ 439197 w 1295643"/>
                <a:gd name="connsiteY159" fmla="*/ 2047396 h 2396328"/>
                <a:gd name="connsiteX160" fmla="*/ 431286 w 1295643"/>
                <a:gd name="connsiteY160" fmla="*/ 2114223 h 2396328"/>
                <a:gd name="connsiteX161" fmla="*/ 421450 w 1295643"/>
                <a:gd name="connsiteY161" fmla="*/ 2179703 h 2396328"/>
                <a:gd name="connsiteX162" fmla="*/ 409476 w 1295643"/>
                <a:gd name="connsiteY162" fmla="*/ 2396328 h 2396328"/>
                <a:gd name="connsiteX163" fmla="*/ 50891 w 1295643"/>
                <a:gd name="connsiteY163" fmla="*/ 2396328 h 2396328"/>
                <a:gd name="connsiteX164" fmla="*/ 91945 w 1295643"/>
                <a:gd name="connsiteY164" fmla="*/ 2308198 h 2396328"/>
                <a:gd name="connsiteX165" fmla="*/ 142622 w 1295643"/>
                <a:gd name="connsiteY165" fmla="*/ 2208407 h 2396328"/>
                <a:gd name="connsiteX166" fmla="*/ 160369 w 1295643"/>
                <a:gd name="connsiteY166" fmla="*/ 2172303 h 2396328"/>
                <a:gd name="connsiteX167" fmla="*/ 175551 w 1295643"/>
                <a:gd name="connsiteY167" fmla="*/ 2132162 h 2396328"/>
                <a:gd name="connsiteX168" fmla="*/ 189877 w 1295643"/>
                <a:gd name="connsiteY168" fmla="*/ 2087537 h 2396328"/>
                <a:gd name="connsiteX169" fmla="*/ 203134 w 1295643"/>
                <a:gd name="connsiteY169" fmla="*/ 2039996 h 2396328"/>
                <a:gd name="connsiteX170" fmla="*/ 213826 w 1295643"/>
                <a:gd name="connsiteY170" fmla="*/ 1988643 h 2396328"/>
                <a:gd name="connsiteX171" fmla="*/ 221951 w 1295643"/>
                <a:gd name="connsiteY171" fmla="*/ 1936393 h 2396328"/>
                <a:gd name="connsiteX172" fmla="*/ 229863 w 1295643"/>
                <a:gd name="connsiteY172" fmla="*/ 1881676 h 2396328"/>
                <a:gd name="connsiteX173" fmla="*/ 235208 w 1295643"/>
                <a:gd name="connsiteY173" fmla="*/ 1826286 h 2396328"/>
                <a:gd name="connsiteX174" fmla="*/ 239699 w 1295643"/>
                <a:gd name="connsiteY174" fmla="*/ 1768654 h 2396328"/>
                <a:gd name="connsiteX175" fmla="*/ 239699 w 1295643"/>
                <a:gd name="connsiteY175" fmla="*/ 1711919 h 2396328"/>
                <a:gd name="connsiteX176" fmla="*/ 239699 w 1295643"/>
                <a:gd name="connsiteY176" fmla="*/ 1655857 h 2396328"/>
                <a:gd name="connsiteX177" fmla="*/ 235208 w 1295643"/>
                <a:gd name="connsiteY177" fmla="*/ 1599570 h 2396328"/>
                <a:gd name="connsiteX178" fmla="*/ 229007 w 1295643"/>
                <a:gd name="connsiteY178" fmla="*/ 1545526 h 2396328"/>
                <a:gd name="connsiteX179" fmla="*/ 221096 w 1295643"/>
                <a:gd name="connsiteY179" fmla="*/ 1492828 h 2396328"/>
                <a:gd name="connsiteX180" fmla="*/ 209335 w 1295643"/>
                <a:gd name="connsiteY180" fmla="*/ 1441923 h 2396328"/>
                <a:gd name="connsiteX181" fmla="*/ 193298 w 1295643"/>
                <a:gd name="connsiteY181" fmla="*/ 1394607 h 2396328"/>
                <a:gd name="connsiteX182" fmla="*/ 175551 w 1295643"/>
                <a:gd name="connsiteY182" fmla="*/ 1349757 h 2396328"/>
                <a:gd name="connsiteX183" fmla="*/ 154168 w 1295643"/>
                <a:gd name="connsiteY183" fmla="*/ 1309616 h 2396328"/>
                <a:gd name="connsiteX184" fmla="*/ 130220 w 1295643"/>
                <a:gd name="connsiteY184" fmla="*/ 1274185 h 2396328"/>
                <a:gd name="connsiteX185" fmla="*/ 53457 w 1295643"/>
                <a:gd name="connsiteY185" fmla="*/ 1033789 h 2396328"/>
                <a:gd name="connsiteX186" fmla="*/ 41055 w 1295643"/>
                <a:gd name="connsiteY186" fmla="*/ 971672 h 2396328"/>
                <a:gd name="connsiteX187" fmla="*/ 25018 w 1295643"/>
                <a:gd name="connsiteY187" fmla="*/ 910004 h 2396328"/>
                <a:gd name="connsiteX188" fmla="*/ 11547 w 1295643"/>
                <a:gd name="connsiteY188" fmla="*/ 843178 h 2396328"/>
                <a:gd name="connsiteX189" fmla="*/ 5346 w 1295643"/>
                <a:gd name="connsiteY189" fmla="*/ 775006 h 2396328"/>
                <a:gd name="connsiteX190" fmla="*/ 0 w 1295643"/>
                <a:gd name="connsiteY190" fmla="*/ 703694 h 2396328"/>
                <a:gd name="connsiteX191" fmla="*/ 0 w 1295643"/>
                <a:gd name="connsiteY191" fmla="*/ 630813 h 2396328"/>
                <a:gd name="connsiteX192" fmla="*/ 3635 w 1295643"/>
                <a:gd name="connsiteY192" fmla="*/ 557260 h 2396328"/>
                <a:gd name="connsiteX193" fmla="*/ 11547 w 1295643"/>
                <a:gd name="connsiteY193" fmla="*/ 484379 h 2396328"/>
                <a:gd name="connsiteX194" fmla="*/ 23307 w 1295643"/>
                <a:gd name="connsiteY194" fmla="*/ 411722 h 2396328"/>
                <a:gd name="connsiteX195" fmla="*/ 35709 w 1295643"/>
                <a:gd name="connsiteY195" fmla="*/ 341532 h 2396328"/>
                <a:gd name="connsiteX196" fmla="*/ 53457 w 1295643"/>
                <a:gd name="connsiteY196" fmla="*/ 273360 h 2396328"/>
                <a:gd name="connsiteX197" fmla="*/ 74839 w 1295643"/>
                <a:gd name="connsiteY197" fmla="*/ 209225 h 2396328"/>
                <a:gd name="connsiteX198" fmla="*/ 97077 w 1295643"/>
                <a:gd name="connsiteY198" fmla="*/ 148453 h 2396328"/>
                <a:gd name="connsiteX199" fmla="*/ 122950 w 1295643"/>
                <a:gd name="connsiteY199" fmla="*/ 93512 h 2396328"/>
                <a:gd name="connsiteX200" fmla="*/ 150533 w 1295643"/>
                <a:gd name="connsiteY200" fmla="*/ 43504 h 2396328"/>
                <a:gd name="connsiteX201" fmla="*/ 183676 w 1295643"/>
                <a:gd name="connsiteY201"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5105 w 1295643"/>
                <a:gd name="connsiteY145" fmla="*/ 1438559 h 2396328"/>
                <a:gd name="connsiteX146" fmla="*/ 499069 w 1295643"/>
                <a:gd name="connsiteY146" fmla="*/ 1452014 h 2396328"/>
                <a:gd name="connsiteX147" fmla="*/ 473196 w 1295643"/>
                <a:gd name="connsiteY147" fmla="*/ 1490810 h 2396328"/>
                <a:gd name="connsiteX148" fmla="*/ 455234 w 1295643"/>
                <a:gd name="connsiteY148" fmla="*/ 1532968 h 2396328"/>
                <a:gd name="connsiteX149" fmla="*/ 441122 w 1295643"/>
                <a:gd name="connsiteY149" fmla="*/ 1576921 h 2396328"/>
                <a:gd name="connsiteX150" fmla="*/ 432997 w 1295643"/>
                <a:gd name="connsiteY150" fmla="*/ 1621771 h 2396328"/>
                <a:gd name="connsiteX151" fmla="*/ 429575 w 1295643"/>
                <a:gd name="connsiteY151" fmla="*/ 1669088 h 2396328"/>
                <a:gd name="connsiteX152" fmla="*/ 427651 w 1295643"/>
                <a:gd name="connsiteY152" fmla="*/ 1716629 h 2396328"/>
                <a:gd name="connsiteX153" fmla="*/ 429575 w 1295643"/>
                <a:gd name="connsiteY153" fmla="*/ 1764169 h 2396328"/>
                <a:gd name="connsiteX154" fmla="*/ 432997 w 1295643"/>
                <a:gd name="connsiteY154" fmla="*/ 1812832 h 2396328"/>
                <a:gd name="connsiteX155" fmla="*/ 437487 w 1295643"/>
                <a:gd name="connsiteY155" fmla="*/ 1861045 h 2396328"/>
                <a:gd name="connsiteX156" fmla="*/ 442833 w 1295643"/>
                <a:gd name="connsiteY156" fmla="*/ 1908362 h 2396328"/>
                <a:gd name="connsiteX157" fmla="*/ 443688 w 1295643"/>
                <a:gd name="connsiteY157" fmla="*/ 1977879 h 2396328"/>
                <a:gd name="connsiteX158" fmla="*/ 439197 w 1295643"/>
                <a:gd name="connsiteY158" fmla="*/ 2047396 h 2396328"/>
                <a:gd name="connsiteX159" fmla="*/ 431286 w 1295643"/>
                <a:gd name="connsiteY159" fmla="*/ 2114223 h 2396328"/>
                <a:gd name="connsiteX160" fmla="*/ 421450 w 1295643"/>
                <a:gd name="connsiteY160" fmla="*/ 2179703 h 2396328"/>
                <a:gd name="connsiteX161" fmla="*/ 409476 w 1295643"/>
                <a:gd name="connsiteY161" fmla="*/ 2396328 h 2396328"/>
                <a:gd name="connsiteX162" fmla="*/ 50891 w 1295643"/>
                <a:gd name="connsiteY162" fmla="*/ 2396328 h 2396328"/>
                <a:gd name="connsiteX163" fmla="*/ 91945 w 1295643"/>
                <a:gd name="connsiteY163" fmla="*/ 2308198 h 2396328"/>
                <a:gd name="connsiteX164" fmla="*/ 142622 w 1295643"/>
                <a:gd name="connsiteY164" fmla="*/ 2208407 h 2396328"/>
                <a:gd name="connsiteX165" fmla="*/ 160369 w 1295643"/>
                <a:gd name="connsiteY165" fmla="*/ 2172303 h 2396328"/>
                <a:gd name="connsiteX166" fmla="*/ 175551 w 1295643"/>
                <a:gd name="connsiteY166" fmla="*/ 2132162 h 2396328"/>
                <a:gd name="connsiteX167" fmla="*/ 189877 w 1295643"/>
                <a:gd name="connsiteY167" fmla="*/ 2087537 h 2396328"/>
                <a:gd name="connsiteX168" fmla="*/ 203134 w 1295643"/>
                <a:gd name="connsiteY168" fmla="*/ 2039996 h 2396328"/>
                <a:gd name="connsiteX169" fmla="*/ 213826 w 1295643"/>
                <a:gd name="connsiteY169" fmla="*/ 1988643 h 2396328"/>
                <a:gd name="connsiteX170" fmla="*/ 221951 w 1295643"/>
                <a:gd name="connsiteY170" fmla="*/ 1936393 h 2396328"/>
                <a:gd name="connsiteX171" fmla="*/ 229863 w 1295643"/>
                <a:gd name="connsiteY171" fmla="*/ 1881676 h 2396328"/>
                <a:gd name="connsiteX172" fmla="*/ 235208 w 1295643"/>
                <a:gd name="connsiteY172" fmla="*/ 1826286 h 2396328"/>
                <a:gd name="connsiteX173" fmla="*/ 239699 w 1295643"/>
                <a:gd name="connsiteY173" fmla="*/ 1768654 h 2396328"/>
                <a:gd name="connsiteX174" fmla="*/ 239699 w 1295643"/>
                <a:gd name="connsiteY174" fmla="*/ 1711919 h 2396328"/>
                <a:gd name="connsiteX175" fmla="*/ 239699 w 1295643"/>
                <a:gd name="connsiteY175" fmla="*/ 1655857 h 2396328"/>
                <a:gd name="connsiteX176" fmla="*/ 235208 w 1295643"/>
                <a:gd name="connsiteY176" fmla="*/ 1599570 h 2396328"/>
                <a:gd name="connsiteX177" fmla="*/ 229007 w 1295643"/>
                <a:gd name="connsiteY177" fmla="*/ 1545526 h 2396328"/>
                <a:gd name="connsiteX178" fmla="*/ 221096 w 1295643"/>
                <a:gd name="connsiteY178" fmla="*/ 1492828 h 2396328"/>
                <a:gd name="connsiteX179" fmla="*/ 209335 w 1295643"/>
                <a:gd name="connsiteY179" fmla="*/ 1441923 h 2396328"/>
                <a:gd name="connsiteX180" fmla="*/ 193298 w 1295643"/>
                <a:gd name="connsiteY180" fmla="*/ 1394607 h 2396328"/>
                <a:gd name="connsiteX181" fmla="*/ 175551 w 1295643"/>
                <a:gd name="connsiteY181" fmla="*/ 1349757 h 2396328"/>
                <a:gd name="connsiteX182" fmla="*/ 154168 w 1295643"/>
                <a:gd name="connsiteY182" fmla="*/ 1309616 h 2396328"/>
                <a:gd name="connsiteX183" fmla="*/ 130220 w 1295643"/>
                <a:gd name="connsiteY183" fmla="*/ 1274185 h 2396328"/>
                <a:gd name="connsiteX184" fmla="*/ 53457 w 1295643"/>
                <a:gd name="connsiteY184" fmla="*/ 1033789 h 2396328"/>
                <a:gd name="connsiteX185" fmla="*/ 41055 w 1295643"/>
                <a:gd name="connsiteY185" fmla="*/ 971672 h 2396328"/>
                <a:gd name="connsiteX186" fmla="*/ 25018 w 1295643"/>
                <a:gd name="connsiteY186" fmla="*/ 910004 h 2396328"/>
                <a:gd name="connsiteX187" fmla="*/ 11547 w 1295643"/>
                <a:gd name="connsiteY187" fmla="*/ 843178 h 2396328"/>
                <a:gd name="connsiteX188" fmla="*/ 5346 w 1295643"/>
                <a:gd name="connsiteY188" fmla="*/ 775006 h 2396328"/>
                <a:gd name="connsiteX189" fmla="*/ 0 w 1295643"/>
                <a:gd name="connsiteY189" fmla="*/ 703694 h 2396328"/>
                <a:gd name="connsiteX190" fmla="*/ 0 w 1295643"/>
                <a:gd name="connsiteY190" fmla="*/ 630813 h 2396328"/>
                <a:gd name="connsiteX191" fmla="*/ 3635 w 1295643"/>
                <a:gd name="connsiteY191" fmla="*/ 557260 h 2396328"/>
                <a:gd name="connsiteX192" fmla="*/ 11547 w 1295643"/>
                <a:gd name="connsiteY192" fmla="*/ 484379 h 2396328"/>
                <a:gd name="connsiteX193" fmla="*/ 23307 w 1295643"/>
                <a:gd name="connsiteY193" fmla="*/ 411722 h 2396328"/>
                <a:gd name="connsiteX194" fmla="*/ 35709 w 1295643"/>
                <a:gd name="connsiteY194" fmla="*/ 341532 h 2396328"/>
                <a:gd name="connsiteX195" fmla="*/ 53457 w 1295643"/>
                <a:gd name="connsiteY195" fmla="*/ 273360 h 2396328"/>
                <a:gd name="connsiteX196" fmla="*/ 74839 w 1295643"/>
                <a:gd name="connsiteY196" fmla="*/ 209225 h 2396328"/>
                <a:gd name="connsiteX197" fmla="*/ 97077 w 1295643"/>
                <a:gd name="connsiteY197" fmla="*/ 148453 h 2396328"/>
                <a:gd name="connsiteX198" fmla="*/ 122950 w 1295643"/>
                <a:gd name="connsiteY198" fmla="*/ 93512 h 2396328"/>
                <a:gd name="connsiteX199" fmla="*/ 150533 w 1295643"/>
                <a:gd name="connsiteY199" fmla="*/ 43504 h 2396328"/>
                <a:gd name="connsiteX200" fmla="*/ 183676 w 1295643"/>
                <a:gd name="connsiteY200"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499069 w 1295643"/>
                <a:gd name="connsiteY145" fmla="*/ 1452014 h 2396328"/>
                <a:gd name="connsiteX146" fmla="*/ 473196 w 1295643"/>
                <a:gd name="connsiteY146" fmla="*/ 1490810 h 2396328"/>
                <a:gd name="connsiteX147" fmla="*/ 455234 w 1295643"/>
                <a:gd name="connsiteY147" fmla="*/ 1532968 h 2396328"/>
                <a:gd name="connsiteX148" fmla="*/ 441122 w 1295643"/>
                <a:gd name="connsiteY148" fmla="*/ 1576921 h 2396328"/>
                <a:gd name="connsiteX149" fmla="*/ 432997 w 1295643"/>
                <a:gd name="connsiteY149" fmla="*/ 1621771 h 2396328"/>
                <a:gd name="connsiteX150" fmla="*/ 429575 w 1295643"/>
                <a:gd name="connsiteY150" fmla="*/ 1669088 h 2396328"/>
                <a:gd name="connsiteX151" fmla="*/ 427651 w 1295643"/>
                <a:gd name="connsiteY151" fmla="*/ 1716629 h 2396328"/>
                <a:gd name="connsiteX152" fmla="*/ 429575 w 1295643"/>
                <a:gd name="connsiteY152" fmla="*/ 1764169 h 2396328"/>
                <a:gd name="connsiteX153" fmla="*/ 432997 w 1295643"/>
                <a:gd name="connsiteY153" fmla="*/ 1812832 h 2396328"/>
                <a:gd name="connsiteX154" fmla="*/ 437487 w 1295643"/>
                <a:gd name="connsiteY154" fmla="*/ 1861045 h 2396328"/>
                <a:gd name="connsiteX155" fmla="*/ 442833 w 1295643"/>
                <a:gd name="connsiteY155" fmla="*/ 1908362 h 2396328"/>
                <a:gd name="connsiteX156" fmla="*/ 443688 w 1295643"/>
                <a:gd name="connsiteY156" fmla="*/ 1977879 h 2396328"/>
                <a:gd name="connsiteX157" fmla="*/ 439197 w 1295643"/>
                <a:gd name="connsiteY157" fmla="*/ 2047396 h 2396328"/>
                <a:gd name="connsiteX158" fmla="*/ 431286 w 1295643"/>
                <a:gd name="connsiteY158" fmla="*/ 2114223 h 2396328"/>
                <a:gd name="connsiteX159" fmla="*/ 421450 w 1295643"/>
                <a:gd name="connsiteY159" fmla="*/ 2179703 h 2396328"/>
                <a:gd name="connsiteX160" fmla="*/ 409476 w 1295643"/>
                <a:gd name="connsiteY160" fmla="*/ 2396328 h 2396328"/>
                <a:gd name="connsiteX161" fmla="*/ 50891 w 1295643"/>
                <a:gd name="connsiteY161" fmla="*/ 2396328 h 2396328"/>
                <a:gd name="connsiteX162" fmla="*/ 91945 w 1295643"/>
                <a:gd name="connsiteY162" fmla="*/ 2308198 h 2396328"/>
                <a:gd name="connsiteX163" fmla="*/ 142622 w 1295643"/>
                <a:gd name="connsiteY163" fmla="*/ 2208407 h 2396328"/>
                <a:gd name="connsiteX164" fmla="*/ 160369 w 1295643"/>
                <a:gd name="connsiteY164" fmla="*/ 2172303 h 2396328"/>
                <a:gd name="connsiteX165" fmla="*/ 175551 w 1295643"/>
                <a:gd name="connsiteY165" fmla="*/ 2132162 h 2396328"/>
                <a:gd name="connsiteX166" fmla="*/ 189877 w 1295643"/>
                <a:gd name="connsiteY166" fmla="*/ 2087537 h 2396328"/>
                <a:gd name="connsiteX167" fmla="*/ 203134 w 1295643"/>
                <a:gd name="connsiteY167" fmla="*/ 2039996 h 2396328"/>
                <a:gd name="connsiteX168" fmla="*/ 213826 w 1295643"/>
                <a:gd name="connsiteY168" fmla="*/ 1988643 h 2396328"/>
                <a:gd name="connsiteX169" fmla="*/ 221951 w 1295643"/>
                <a:gd name="connsiteY169" fmla="*/ 1936393 h 2396328"/>
                <a:gd name="connsiteX170" fmla="*/ 229863 w 1295643"/>
                <a:gd name="connsiteY170" fmla="*/ 1881676 h 2396328"/>
                <a:gd name="connsiteX171" fmla="*/ 235208 w 1295643"/>
                <a:gd name="connsiteY171" fmla="*/ 1826286 h 2396328"/>
                <a:gd name="connsiteX172" fmla="*/ 239699 w 1295643"/>
                <a:gd name="connsiteY172" fmla="*/ 1768654 h 2396328"/>
                <a:gd name="connsiteX173" fmla="*/ 239699 w 1295643"/>
                <a:gd name="connsiteY173" fmla="*/ 1711919 h 2396328"/>
                <a:gd name="connsiteX174" fmla="*/ 239699 w 1295643"/>
                <a:gd name="connsiteY174" fmla="*/ 1655857 h 2396328"/>
                <a:gd name="connsiteX175" fmla="*/ 235208 w 1295643"/>
                <a:gd name="connsiteY175" fmla="*/ 1599570 h 2396328"/>
                <a:gd name="connsiteX176" fmla="*/ 229007 w 1295643"/>
                <a:gd name="connsiteY176" fmla="*/ 1545526 h 2396328"/>
                <a:gd name="connsiteX177" fmla="*/ 221096 w 1295643"/>
                <a:gd name="connsiteY177" fmla="*/ 1492828 h 2396328"/>
                <a:gd name="connsiteX178" fmla="*/ 209335 w 1295643"/>
                <a:gd name="connsiteY178" fmla="*/ 1441923 h 2396328"/>
                <a:gd name="connsiteX179" fmla="*/ 193298 w 1295643"/>
                <a:gd name="connsiteY179" fmla="*/ 1394607 h 2396328"/>
                <a:gd name="connsiteX180" fmla="*/ 175551 w 1295643"/>
                <a:gd name="connsiteY180" fmla="*/ 1349757 h 2396328"/>
                <a:gd name="connsiteX181" fmla="*/ 154168 w 1295643"/>
                <a:gd name="connsiteY181" fmla="*/ 1309616 h 2396328"/>
                <a:gd name="connsiteX182" fmla="*/ 130220 w 1295643"/>
                <a:gd name="connsiteY182" fmla="*/ 1274185 h 2396328"/>
                <a:gd name="connsiteX183" fmla="*/ 53457 w 1295643"/>
                <a:gd name="connsiteY183" fmla="*/ 1033789 h 2396328"/>
                <a:gd name="connsiteX184" fmla="*/ 41055 w 1295643"/>
                <a:gd name="connsiteY184" fmla="*/ 971672 h 2396328"/>
                <a:gd name="connsiteX185" fmla="*/ 25018 w 1295643"/>
                <a:gd name="connsiteY185" fmla="*/ 910004 h 2396328"/>
                <a:gd name="connsiteX186" fmla="*/ 11547 w 1295643"/>
                <a:gd name="connsiteY186" fmla="*/ 843178 h 2396328"/>
                <a:gd name="connsiteX187" fmla="*/ 5346 w 1295643"/>
                <a:gd name="connsiteY187" fmla="*/ 775006 h 2396328"/>
                <a:gd name="connsiteX188" fmla="*/ 0 w 1295643"/>
                <a:gd name="connsiteY188" fmla="*/ 703694 h 2396328"/>
                <a:gd name="connsiteX189" fmla="*/ 0 w 1295643"/>
                <a:gd name="connsiteY189" fmla="*/ 630813 h 2396328"/>
                <a:gd name="connsiteX190" fmla="*/ 3635 w 1295643"/>
                <a:gd name="connsiteY190" fmla="*/ 557260 h 2396328"/>
                <a:gd name="connsiteX191" fmla="*/ 11547 w 1295643"/>
                <a:gd name="connsiteY191" fmla="*/ 484379 h 2396328"/>
                <a:gd name="connsiteX192" fmla="*/ 23307 w 1295643"/>
                <a:gd name="connsiteY192" fmla="*/ 411722 h 2396328"/>
                <a:gd name="connsiteX193" fmla="*/ 35709 w 1295643"/>
                <a:gd name="connsiteY193" fmla="*/ 341532 h 2396328"/>
                <a:gd name="connsiteX194" fmla="*/ 53457 w 1295643"/>
                <a:gd name="connsiteY194" fmla="*/ 273360 h 2396328"/>
                <a:gd name="connsiteX195" fmla="*/ 74839 w 1295643"/>
                <a:gd name="connsiteY195" fmla="*/ 209225 h 2396328"/>
                <a:gd name="connsiteX196" fmla="*/ 97077 w 1295643"/>
                <a:gd name="connsiteY196" fmla="*/ 148453 h 2396328"/>
                <a:gd name="connsiteX197" fmla="*/ 122950 w 1295643"/>
                <a:gd name="connsiteY197" fmla="*/ 93512 h 2396328"/>
                <a:gd name="connsiteX198" fmla="*/ 150533 w 1295643"/>
                <a:gd name="connsiteY198" fmla="*/ 43504 h 2396328"/>
                <a:gd name="connsiteX199" fmla="*/ 183676 w 1295643"/>
                <a:gd name="connsiteY19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499069 w 1295643"/>
                <a:gd name="connsiteY144" fmla="*/ 1452014 h 2396328"/>
                <a:gd name="connsiteX145" fmla="*/ 473196 w 1295643"/>
                <a:gd name="connsiteY145" fmla="*/ 1490810 h 2396328"/>
                <a:gd name="connsiteX146" fmla="*/ 455234 w 1295643"/>
                <a:gd name="connsiteY146" fmla="*/ 1532968 h 2396328"/>
                <a:gd name="connsiteX147" fmla="*/ 441122 w 1295643"/>
                <a:gd name="connsiteY147" fmla="*/ 1576921 h 2396328"/>
                <a:gd name="connsiteX148" fmla="*/ 432997 w 1295643"/>
                <a:gd name="connsiteY148" fmla="*/ 1621771 h 2396328"/>
                <a:gd name="connsiteX149" fmla="*/ 429575 w 1295643"/>
                <a:gd name="connsiteY149" fmla="*/ 1669088 h 2396328"/>
                <a:gd name="connsiteX150" fmla="*/ 427651 w 1295643"/>
                <a:gd name="connsiteY150" fmla="*/ 1716629 h 2396328"/>
                <a:gd name="connsiteX151" fmla="*/ 429575 w 1295643"/>
                <a:gd name="connsiteY151" fmla="*/ 1764169 h 2396328"/>
                <a:gd name="connsiteX152" fmla="*/ 432997 w 1295643"/>
                <a:gd name="connsiteY152" fmla="*/ 1812832 h 2396328"/>
                <a:gd name="connsiteX153" fmla="*/ 437487 w 1295643"/>
                <a:gd name="connsiteY153" fmla="*/ 1861045 h 2396328"/>
                <a:gd name="connsiteX154" fmla="*/ 442833 w 1295643"/>
                <a:gd name="connsiteY154" fmla="*/ 1908362 h 2396328"/>
                <a:gd name="connsiteX155" fmla="*/ 443688 w 1295643"/>
                <a:gd name="connsiteY155" fmla="*/ 1977879 h 2396328"/>
                <a:gd name="connsiteX156" fmla="*/ 439197 w 1295643"/>
                <a:gd name="connsiteY156" fmla="*/ 2047396 h 2396328"/>
                <a:gd name="connsiteX157" fmla="*/ 431286 w 1295643"/>
                <a:gd name="connsiteY157" fmla="*/ 2114223 h 2396328"/>
                <a:gd name="connsiteX158" fmla="*/ 421450 w 1295643"/>
                <a:gd name="connsiteY158" fmla="*/ 2179703 h 2396328"/>
                <a:gd name="connsiteX159" fmla="*/ 409476 w 1295643"/>
                <a:gd name="connsiteY159" fmla="*/ 2396328 h 2396328"/>
                <a:gd name="connsiteX160" fmla="*/ 50891 w 1295643"/>
                <a:gd name="connsiteY160" fmla="*/ 2396328 h 2396328"/>
                <a:gd name="connsiteX161" fmla="*/ 91945 w 1295643"/>
                <a:gd name="connsiteY161" fmla="*/ 2308198 h 2396328"/>
                <a:gd name="connsiteX162" fmla="*/ 142622 w 1295643"/>
                <a:gd name="connsiteY162" fmla="*/ 2208407 h 2396328"/>
                <a:gd name="connsiteX163" fmla="*/ 160369 w 1295643"/>
                <a:gd name="connsiteY163" fmla="*/ 2172303 h 2396328"/>
                <a:gd name="connsiteX164" fmla="*/ 175551 w 1295643"/>
                <a:gd name="connsiteY164" fmla="*/ 2132162 h 2396328"/>
                <a:gd name="connsiteX165" fmla="*/ 189877 w 1295643"/>
                <a:gd name="connsiteY165" fmla="*/ 2087537 h 2396328"/>
                <a:gd name="connsiteX166" fmla="*/ 203134 w 1295643"/>
                <a:gd name="connsiteY166" fmla="*/ 2039996 h 2396328"/>
                <a:gd name="connsiteX167" fmla="*/ 213826 w 1295643"/>
                <a:gd name="connsiteY167" fmla="*/ 1988643 h 2396328"/>
                <a:gd name="connsiteX168" fmla="*/ 221951 w 1295643"/>
                <a:gd name="connsiteY168" fmla="*/ 1936393 h 2396328"/>
                <a:gd name="connsiteX169" fmla="*/ 229863 w 1295643"/>
                <a:gd name="connsiteY169" fmla="*/ 1881676 h 2396328"/>
                <a:gd name="connsiteX170" fmla="*/ 235208 w 1295643"/>
                <a:gd name="connsiteY170" fmla="*/ 1826286 h 2396328"/>
                <a:gd name="connsiteX171" fmla="*/ 239699 w 1295643"/>
                <a:gd name="connsiteY171" fmla="*/ 1768654 h 2396328"/>
                <a:gd name="connsiteX172" fmla="*/ 239699 w 1295643"/>
                <a:gd name="connsiteY172" fmla="*/ 1711919 h 2396328"/>
                <a:gd name="connsiteX173" fmla="*/ 239699 w 1295643"/>
                <a:gd name="connsiteY173" fmla="*/ 1655857 h 2396328"/>
                <a:gd name="connsiteX174" fmla="*/ 235208 w 1295643"/>
                <a:gd name="connsiteY174" fmla="*/ 1599570 h 2396328"/>
                <a:gd name="connsiteX175" fmla="*/ 229007 w 1295643"/>
                <a:gd name="connsiteY175" fmla="*/ 1545526 h 2396328"/>
                <a:gd name="connsiteX176" fmla="*/ 221096 w 1295643"/>
                <a:gd name="connsiteY176" fmla="*/ 1492828 h 2396328"/>
                <a:gd name="connsiteX177" fmla="*/ 209335 w 1295643"/>
                <a:gd name="connsiteY177" fmla="*/ 1441923 h 2396328"/>
                <a:gd name="connsiteX178" fmla="*/ 193298 w 1295643"/>
                <a:gd name="connsiteY178" fmla="*/ 1394607 h 2396328"/>
                <a:gd name="connsiteX179" fmla="*/ 175551 w 1295643"/>
                <a:gd name="connsiteY179" fmla="*/ 1349757 h 2396328"/>
                <a:gd name="connsiteX180" fmla="*/ 154168 w 1295643"/>
                <a:gd name="connsiteY180" fmla="*/ 1309616 h 2396328"/>
                <a:gd name="connsiteX181" fmla="*/ 130220 w 1295643"/>
                <a:gd name="connsiteY181" fmla="*/ 1274185 h 2396328"/>
                <a:gd name="connsiteX182" fmla="*/ 53457 w 1295643"/>
                <a:gd name="connsiteY182" fmla="*/ 1033789 h 2396328"/>
                <a:gd name="connsiteX183" fmla="*/ 41055 w 1295643"/>
                <a:gd name="connsiteY183" fmla="*/ 971672 h 2396328"/>
                <a:gd name="connsiteX184" fmla="*/ 25018 w 1295643"/>
                <a:gd name="connsiteY184" fmla="*/ 910004 h 2396328"/>
                <a:gd name="connsiteX185" fmla="*/ 11547 w 1295643"/>
                <a:gd name="connsiteY185" fmla="*/ 843178 h 2396328"/>
                <a:gd name="connsiteX186" fmla="*/ 5346 w 1295643"/>
                <a:gd name="connsiteY186" fmla="*/ 775006 h 2396328"/>
                <a:gd name="connsiteX187" fmla="*/ 0 w 1295643"/>
                <a:gd name="connsiteY187" fmla="*/ 703694 h 2396328"/>
                <a:gd name="connsiteX188" fmla="*/ 0 w 1295643"/>
                <a:gd name="connsiteY188" fmla="*/ 630813 h 2396328"/>
                <a:gd name="connsiteX189" fmla="*/ 3635 w 1295643"/>
                <a:gd name="connsiteY189" fmla="*/ 557260 h 2396328"/>
                <a:gd name="connsiteX190" fmla="*/ 11547 w 1295643"/>
                <a:gd name="connsiteY190" fmla="*/ 484379 h 2396328"/>
                <a:gd name="connsiteX191" fmla="*/ 23307 w 1295643"/>
                <a:gd name="connsiteY191" fmla="*/ 411722 h 2396328"/>
                <a:gd name="connsiteX192" fmla="*/ 35709 w 1295643"/>
                <a:gd name="connsiteY192" fmla="*/ 341532 h 2396328"/>
                <a:gd name="connsiteX193" fmla="*/ 53457 w 1295643"/>
                <a:gd name="connsiteY193" fmla="*/ 273360 h 2396328"/>
                <a:gd name="connsiteX194" fmla="*/ 74839 w 1295643"/>
                <a:gd name="connsiteY194" fmla="*/ 209225 h 2396328"/>
                <a:gd name="connsiteX195" fmla="*/ 97077 w 1295643"/>
                <a:gd name="connsiteY195" fmla="*/ 148453 h 2396328"/>
                <a:gd name="connsiteX196" fmla="*/ 122950 w 1295643"/>
                <a:gd name="connsiteY196" fmla="*/ 93512 h 2396328"/>
                <a:gd name="connsiteX197" fmla="*/ 150533 w 1295643"/>
                <a:gd name="connsiteY197" fmla="*/ 43504 h 2396328"/>
                <a:gd name="connsiteX198" fmla="*/ 183676 w 1295643"/>
                <a:gd name="connsiteY198"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99069 w 1295643"/>
                <a:gd name="connsiteY143" fmla="*/ 1452014 h 2396328"/>
                <a:gd name="connsiteX144" fmla="*/ 473196 w 1295643"/>
                <a:gd name="connsiteY144" fmla="*/ 1490810 h 2396328"/>
                <a:gd name="connsiteX145" fmla="*/ 455234 w 1295643"/>
                <a:gd name="connsiteY145" fmla="*/ 1532968 h 2396328"/>
                <a:gd name="connsiteX146" fmla="*/ 441122 w 1295643"/>
                <a:gd name="connsiteY146" fmla="*/ 1576921 h 2396328"/>
                <a:gd name="connsiteX147" fmla="*/ 432997 w 1295643"/>
                <a:gd name="connsiteY147" fmla="*/ 1621771 h 2396328"/>
                <a:gd name="connsiteX148" fmla="*/ 429575 w 1295643"/>
                <a:gd name="connsiteY148" fmla="*/ 1669088 h 2396328"/>
                <a:gd name="connsiteX149" fmla="*/ 427651 w 1295643"/>
                <a:gd name="connsiteY149" fmla="*/ 1716629 h 2396328"/>
                <a:gd name="connsiteX150" fmla="*/ 429575 w 1295643"/>
                <a:gd name="connsiteY150" fmla="*/ 1764169 h 2396328"/>
                <a:gd name="connsiteX151" fmla="*/ 432997 w 1295643"/>
                <a:gd name="connsiteY151" fmla="*/ 1812832 h 2396328"/>
                <a:gd name="connsiteX152" fmla="*/ 437487 w 1295643"/>
                <a:gd name="connsiteY152" fmla="*/ 1861045 h 2396328"/>
                <a:gd name="connsiteX153" fmla="*/ 442833 w 1295643"/>
                <a:gd name="connsiteY153" fmla="*/ 1908362 h 2396328"/>
                <a:gd name="connsiteX154" fmla="*/ 443688 w 1295643"/>
                <a:gd name="connsiteY154" fmla="*/ 1977879 h 2396328"/>
                <a:gd name="connsiteX155" fmla="*/ 439197 w 1295643"/>
                <a:gd name="connsiteY155" fmla="*/ 2047396 h 2396328"/>
                <a:gd name="connsiteX156" fmla="*/ 431286 w 1295643"/>
                <a:gd name="connsiteY156" fmla="*/ 2114223 h 2396328"/>
                <a:gd name="connsiteX157" fmla="*/ 421450 w 1295643"/>
                <a:gd name="connsiteY157" fmla="*/ 2179703 h 2396328"/>
                <a:gd name="connsiteX158" fmla="*/ 409476 w 1295643"/>
                <a:gd name="connsiteY158" fmla="*/ 2396328 h 2396328"/>
                <a:gd name="connsiteX159" fmla="*/ 50891 w 1295643"/>
                <a:gd name="connsiteY159" fmla="*/ 2396328 h 2396328"/>
                <a:gd name="connsiteX160" fmla="*/ 91945 w 1295643"/>
                <a:gd name="connsiteY160" fmla="*/ 2308198 h 2396328"/>
                <a:gd name="connsiteX161" fmla="*/ 142622 w 1295643"/>
                <a:gd name="connsiteY161" fmla="*/ 2208407 h 2396328"/>
                <a:gd name="connsiteX162" fmla="*/ 160369 w 1295643"/>
                <a:gd name="connsiteY162" fmla="*/ 2172303 h 2396328"/>
                <a:gd name="connsiteX163" fmla="*/ 175551 w 1295643"/>
                <a:gd name="connsiteY163" fmla="*/ 2132162 h 2396328"/>
                <a:gd name="connsiteX164" fmla="*/ 189877 w 1295643"/>
                <a:gd name="connsiteY164" fmla="*/ 2087537 h 2396328"/>
                <a:gd name="connsiteX165" fmla="*/ 203134 w 1295643"/>
                <a:gd name="connsiteY165" fmla="*/ 2039996 h 2396328"/>
                <a:gd name="connsiteX166" fmla="*/ 213826 w 1295643"/>
                <a:gd name="connsiteY166" fmla="*/ 1988643 h 2396328"/>
                <a:gd name="connsiteX167" fmla="*/ 221951 w 1295643"/>
                <a:gd name="connsiteY167" fmla="*/ 1936393 h 2396328"/>
                <a:gd name="connsiteX168" fmla="*/ 229863 w 1295643"/>
                <a:gd name="connsiteY168" fmla="*/ 1881676 h 2396328"/>
                <a:gd name="connsiteX169" fmla="*/ 235208 w 1295643"/>
                <a:gd name="connsiteY169" fmla="*/ 1826286 h 2396328"/>
                <a:gd name="connsiteX170" fmla="*/ 239699 w 1295643"/>
                <a:gd name="connsiteY170" fmla="*/ 1768654 h 2396328"/>
                <a:gd name="connsiteX171" fmla="*/ 239699 w 1295643"/>
                <a:gd name="connsiteY171" fmla="*/ 1711919 h 2396328"/>
                <a:gd name="connsiteX172" fmla="*/ 239699 w 1295643"/>
                <a:gd name="connsiteY172" fmla="*/ 1655857 h 2396328"/>
                <a:gd name="connsiteX173" fmla="*/ 235208 w 1295643"/>
                <a:gd name="connsiteY173" fmla="*/ 1599570 h 2396328"/>
                <a:gd name="connsiteX174" fmla="*/ 229007 w 1295643"/>
                <a:gd name="connsiteY174" fmla="*/ 1545526 h 2396328"/>
                <a:gd name="connsiteX175" fmla="*/ 221096 w 1295643"/>
                <a:gd name="connsiteY175" fmla="*/ 1492828 h 2396328"/>
                <a:gd name="connsiteX176" fmla="*/ 209335 w 1295643"/>
                <a:gd name="connsiteY176" fmla="*/ 1441923 h 2396328"/>
                <a:gd name="connsiteX177" fmla="*/ 193298 w 1295643"/>
                <a:gd name="connsiteY177" fmla="*/ 1394607 h 2396328"/>
                <a:gd name="connsiteX178" fmla="*/ 175551 w 1295643"/>
                <a:gd name="connsiteY178" fmla="*/ 1349757 h 2396328"/>
                <a:gd name="connsiteX179" fmla="*/ 154168 w 1295643"/>
                <a:gd name="connsiteY179" fmla="*/ 1309616 h 2396328"/>
                <a:gd name="connsiteX180" fmla="*/ 130220 w 1295643"/>
                <a:gd name="connsiteY180" fmla="*/ 1274185 h 2396328"/>
                <a:gd name="connsiteX181" fmla="*/ 53457 w 1295643"/>
                <a:gd name="connsiteY181" fmla="*/ 1033789 h 2396328"/>
                <a:gd name="connsiteX182" fmla="*/ 41055 w 1295643"/>
                <a:gd name="connsiteY182" fmla="*/ 971672 h 2396328"/>
                <a:gd name="connsiteX183" fmla="*/ 25018 w 1295643"/>
                <a:gd name="connsiteY183" fmla="*/ 910004 h 2396328"/>
                <a:gd name="connsiteX184" fmla="*/ 11547 w 1295643"/>
                <a:gd name="connsiteY184" fmla="*/ 843178 h 2396328"/>
                <a:gd name="connsiteX185" fmla="*/ 5346 w 1295643"/>
                <a:gd name="connsiteY185" fmla="*/ 775006 h 2396328"/>
                <a:gd name="connsiteX186" fmla="*/ 0 w 1295643"/>
                <a:gd name="connsiteY186" fmla="*/ 703694 h 2396328"/>
                <a:gd name="connsiteX187" fmla="*/ 0 w 1295643"/>
                <a:gd name="connsiteY187" fmla="*/ 630813 h 2396328"/>
                <a:gd name="connsiteX188" fmla="*/ 3635 w 1295643"/>
                <a:gd name="connsiteY188" fmla="*/ 557260 h 2396328"/>
                <a:gd name="connsiteX189" fmla="*/ 11547 w 1295643"/>
                <a:gd name="connsiteY189" fmla="*/ 484379 h 2396328"/>
                <a:gd name="connsiteX190" fmla="*/ 23307 w 1295643"/>
                <a:gd name="connsiteY190" fmla="*/ 411722 h 2396328"/>
                <a:gd name="connsiteX191" fmla="*/ 35709 w 1295643"/>
                <a:gd name="connsiteY191" fmla="*/ 341532 h 2396328"/>
                <a:gd name="connsiteX192" fmla="*/ 53457 w 1295643"/>
                <a:gd name="connsiteY192" fmla="*/ 273360 h 2396328"/>
                <a:gd name="connsiteX193" fmla="*/ 74839 w 1295643"/>
                <a:gd name="connsiteY193" fmla="*/ 209225 h 2396328"/>
                <a:gd name="connsiteX194" fmla="*/ 97077 w 1295643"/>
                <a:gd name="connsiteY194" fmla="*/ 148453 h 2396328"/>
                <a:gd name="connsiteX195" fmla="*/ 122950 w 1295643"/>
                <a:gd name="connsiteY195" fmla="*/ 93512 h 2396328"/>
                <a:gd name="connsiteX196" fmla="*/ 150533 w 1295643"/>
                <a:gd name="connsiteY196" fmla="*/ 43504 h 2396328"/>
                <a:gd name="connsiteX197" fmla="*/ 183676 w 1295643"/>
                <a:gd name="connsiteY197"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62532 w 1295643"/>
                <a:gd name="connsiteY143" fmla="*/ 1477481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95643" h="2396328">
                  <a:moveTo>
                    <a:pt x="1294499" y="1033789"/>
                  </a:moveTo>
                  <a:lnTo>
                    <a:pt x="1295643" y="1034469"/>
                  </a:lnTo>
                  <a:lnTo>
                    <a:pt x="1293086" y="1035347"/>
                  </a:lnTo>
                  <a:lnTo>
                    <a:pt x="1294499" y="1033789"/>
                  </a:lnTo>
                  <a:close/>
                  <a:moveTo>
                    <a:pt x="183676" y="0"/>
                  </a:moveTo>
                  <a:cubicBezTo>
                    <a:pt x="182393" y="3588"/>
                    <a:pt x="181324" y="7176"/>
                    <a:pt x="180041" y="10764"/>
                  </a:cubicBezTo>
                  <a:cubicBezTo>
                    <a:pt x="179400" y="13231"/>
                    <a:pt x="178972" y="15473"/>
                    <a:pt x="178331" y="17940"/>
                  </a:cubicBezTo>
                  <a:lnTo>
                    <a:pt x="176406" y="22649"/>
                  </a:lnTo>
                  <a:lnTo>
                    <a:pt x="176406" y="25340"/>
                  </a:lnTo>
                  <a:lnTo>
                    <a:pt x="178331" y="26686"/>
                  </a:lnTo>
                  <a:lnTo>
                    <a:pt x="178331" y="28031"/>
                  </a:lnTo>
                  <a:lnTo>
                    <a:pt x="180041" y="28031"/>
                  </a:lnTo>
                  <a:lnTo>
                    <a:pt x="180041" y="30050"/>
                  </a:lnTo>
                  <a:cubicBezTo>
                    <a:pt x="179400" y="31395"/>
                    <a:pt x="178972" y="32741"/>
                    <a:pt x="178331" y="34086"/>
                  </a:cubicBezTo>
                  <a:lnTo>
                    <a:pt x="176406" y="40141"/>
                  </a:lnTo>
                  <a:lnTo>
                    <a:pt x="173840" y="49559"/>
                  </a:lnTo>
                  <a:cubicBezTo>
                    <a:pt x="172130" y="54044"/>
                    <a:pt x="170205" y="58305"/>
                    <a:pt x="168495" y="62790"/>
                  </a:cubicBezTo>
                  <a:cubicBezTo>
                    <a:pt x="165715" y="69069"/>
                    <a:pt x="163149" y="75348"/>
                    <a:pt x="160369" y="81627"/>
                  </a:cubicBezTo>
                  <a:cubicBezTo>
                    <a:pt x="157803" y="89251"/>
                    <a:pt x="155024" y="96652"/>
                    <a:pt x="152458" y="104276"/>
                  </a:cubicBezTo>
                  <a:cubicBezTo>
                    <a:pt x="148181" y="114143"/>
                    <a:pt x="144119" y="123786"/>
                    <a:pt x="139842" y="133653"/>
                  </a:cubicBezTo>
                  <a:cubicBezTo>
                    <a:pt x="134924" y="145538"/>
                    <a:pt x="129792" y="157199"/>
                    <a:pt x="124874" y="169084"/>
                  </a:cubicBezTo>
                  <a:cubicBezTo>
                    <a:pt x="118887" y="187473"/>
                    <a:pt x="112900" y="206085"/>
                    <a:pt x="106913" y="224474"/>
                  </a:cubicBezTo>
                  <a:cubicBezTo>
                    <a:pt x="102850" y="244208"/>
                    <a:pt x="98574" y="264166"/>
                    <a:pt x="94511" y="283900"/>
                  </a:cubicBezTo>
                  <a:cubicBezTo>
                    <a:pt x="91304" y="304306"/>
                    <a:pt x="87883" y="324489"/>
                    <a:pt x="84675" y="344896"/>
                  </a:cubicBezTo>
                  <a:cubicBezTo>
                    <a:pt x="80185" y="366423"/>
                    <a:pt x="75908" y="388176"/>
                    <a:pt x="71418" y="409704"/>
                  </a:cubicBezTo>
                  <a:cubicBezTo>
                    <a:pt x="70777" y="414413"/>
                    <a:pt x="70135" y="418898"/>
                    <a:pt x="69494" y="423607"/>
                  </a:cubicBezTo>
                  <a:lnTo>
                    <a:pt x="66928" y="444462"/>
                  </a:lnTo>
                  <a:cubicBezTo>
                    <a:pt x="66286" y="451862"/>
                    <a:pt x="65645" y="459038"/>
                    <a:pt x="65003" y="466439"/>
                  </a:cubicBezTo>
                  <a:cubicBezTo>
                    <a:pt x="64362" y="474512"/>
                    <a:pt x="63934" y="482360"/>
                    <a:pt x="63293" y="490433"/>
                  </a:cubicBezTo>
                  <a:lnTo>
                    <a:pt x="63293" y="515101"/>
                  </a:lnTo>
                  <a:cubicBezTo>
                    <a:pt x="64576" y="522501"/>
                    <a:pt x="65645" y="529901"/>
                    <a:pt x="66928" y="537301"/>
                  </a:cubicBezTo>
                  <a:cubicBezTo>
                    <a:pt x="68424" y="543805"/>
                    <a:pt x="69921" y="550084"/>
                    <a:pt x="71418" y="556587"/>
                  </a:cubicBezTo>
                  <a:cubicBezTo>
                    <a:pt x="73984" y="561072"/>
                    <a:pt x="76764" y="565557"/>
                    <a:pt x="79329" y="570042"/>
                  </a:cubicBezTo>
                  <a:lnTo>
                    <a:pt x="122095" y="567351"/>
                  </a:lnTo>
                  <a:lnTo>
                    <a:pt x="164004" y="556587"/>
                  </a:lnTo>
                  <a:lnTo>
                    <a:pt x="203990" y="539320"/>
                  </a:lnTo>
                  <a:lnTo>
                    <a:pt x="245044" y="515101"/>
                  </a:lnTo>
                  <a:lnTo>
                    <a:pt x="282463" y="487070"/>
                  </a:lnTo>
                  <a:lnTo>
                    <a:pt x="319028" y="452984"/>
                  </a:lnTo>
                  <a:lnTo>
                    <a:pt x="353667" y="416880"/>
                  </a:lnTo>
                  <a:lnTo>
                    <a:pt x="385741" y="378981"/>
                  </a:lnTo>
                  <a:lnTo>
                    <a:pt x="416960" y="338841"/>
                  </a:lnTo>
                  <a:lnTo>
                    <a:pt x="443688" y="297355"/>
                  </a:lnTo>
                  <a:lnTo>
                    <a:pt x="468705" y="257214"/>
                  </a:lnTo>
                  <a:cubicBezTo>
                    <a:pt x="475548" y="244208"/>
                    <a:pt x="482390" y="231425"/>
                    <a:pt x="489233" y="218419"/>
                  </a:cubicBezTo>
                  <a:lnTo>
                    <a:pt x="499069" y="218419"/>
                  </a:lnTo>
                  <a:lnTo>
                    <a:pt x="499069" y="222455"/>
                  </a:lnTo>
                  <a:cubicBezTo>
                    <a:pt x="493723" y="235462"/>
                    <a:pt x="488377" y="248244"/>
                    <a:pt x="483032" y="261251"/>
                  </a:cubicBezTo>
                  <a:cubicBezTo>
                    <a:pt x="477045" y="274706"/>
                    <a:pt x="471057" y="287936"/>
                    <a:pt x="465070" y="301391"/>
                  </a:cubicBezTo>
                  <a:cubicBezTo>
                    <a:pt x="458656" y="314398"/>
                    <a:pt x="452027" y="327180"/>
                    <a:pt x="445612" y="340186"/>
                  </a:cubicBezTo>
                  <a:lnTo>
                    <a:pt x="425940" y="377636"/>
                  </a:lnTo>
                  <a:cubicBezTo>
                    <a:pt x="419098" y="389745"/>
                    <a:pt x="412255" y="402079"/>
                    <a:pt x="405413" y="414189"/>
                  </a:cubicBezTo>
                  <a:lnTo>
                    <a:pt x="382320" y="448274"/>
                  </a:lnTo>
                  <a:lnTo>
                    <a:pt x="358158" y="481015"/>
                  </a:lnTo>
                  <a:lnTo>
                    <a:pt x="328864" y="511064"/>
                  </a:lnTo>
                  <a:lnTo>
                    <a:pt x="298501" y="540665"/>
                  </a:lnTo>
                  <a:lnTo>
                    <a:pt x="262792" y="564660"/>
                  </a:lnTo>
                  <a:lnTo>
                    <a:pt x="221951" y="586636"/>
                  </a:lnTo>
                  <a:lnTo>
                    <a:pt x="176406" y="606146"/>
                  </a:lnTo>
                  <a:lnTo>
                    <a:pt x="128295" y="620722"/>
                  </a:lnTo>
                  <a:lnTo>
                    <a:pt x="71418" y="630813"/>
                  </a:lnTo>
                  <a:cubicBezTo>
                    <a:pt x="72059" y="654135"/>
                    <a:pt x="72487" y="677682"/>
                    <a:pt x="73129" y="701003"/>
                  </a:cubicBezTo>
                  <a:cubicBezTo>
                    <a:pt x="75695" y="723204"/>
                    <a:pt x="78474" y="745629"/>
                    <a:pt x="81040" y="767830"/>
                  </a:cubicBezTo>
                  <a:cubicBezTo>
                    <a:pt x="85530" y="788909"/>
                    <a:pt x="90021" y="810213"/>
                    <a:pt x="94511" y="831292"/>
                  </a:cubicBezTo>
                  <a:cubicBezTo>
                    <a:pt x="100498" y="851250"/>
                    <a:pt x="106271" y="871433"/>
                    <a:pt x="112259" y="891391"/>
                  </a:cubicBezTo>
                  <a:cubicBezTo>
                    <a:pt x="119743" y="910452"/>
                    <a:pt x="127013" y="929738"/>
                    <a:pt x="134496" y="948799"/>
                  </a:cubicBezTo>
                  <a:cubicBezTo>
                    <a:pt x="142622" y="967187"/>
                    <a:pt x="150533" y="985352"/>
                    <a:pt x="158659" y="1003740"/>
                  </a:cubicBezTo>
                  <a:lnTo>
                    <a:pt x="186242" y="1055766"/>
                  </a:lnTo>
                  <a:lnTo>
                    <a:pt x="213826" y="1106446"/>
                  </a:lnTo>
                  <a:cubicBezTo>
                    <a:pt x="216605" y="1110483"/>
                    <a:pt x="219171" y="1114519"/>
                    <a:pt x="221951" y="1118556"/>
                  </a:cubicBezTo>
                  <a:lnTo>
                    <a:pt x="229007" y="1133356"/>
                  </a:lnTo>
                  <a:cubicBezTo>
                    <a:pt x="232215" y="1138738"/>
                    <a:pt x="235636" y="1143896"/>
                    <a:pt x="238843" y="1149278"/>
                  </a:cubicBezTo>
                  <a:lnTo>
                    <a:pt x="247824" y="1166097"/>
                  </a:lnTo>
                  <a:cubicBezTo>
                    <a:pt x="251673" y="1171479"/>
                    <a:pt x="255522" y="1176636"/>
                    <a:pt x="259370" y="1182018"/>
                  </a:cubicBezTo>
                  <a:cubicBezTo>
                    <a:pt x="263861" y="1186503"/>
                    <a:pt x="268137" y="1190988"/>
                    <a:pt x="272628" y="1195473"/>
                  </a:cubicBezTo>
                  <a:cubicBezTo>
                    <a:pt x="277973" y="1199510"/>
                    <a:pt x="283319" y="1203322"/>
                    <a:pt x="288665" y="1207358"/>
                  </a:cubicBezTo>
                  <a:lnTo>
                    <a:pt x="306626" y="1216104"/>
                  </a:lnTo>
                  <a:lnTo>
                    <a:pt x="328008" y="1219468"/>
                  </a:lnTo>
                  <a:lnTo>
                    <a:pt x="350246" y="1218795"/>
                  </a:lnTo>
                  <a:lnTo>
                    <a:pt x="390231" y="1208704"/>
                  </a:lnTo>
                  <a:lnTo>
                    <a:pt x="425940" y="1192109"/>
                  </a:lnTo>
                  <a:lnTo>
                    <a:pt x="460580" y="1171254"/>
                  </a:lnTo>
                  <a:lnTo>
                    <a:pt x="489233" y="1146587"/>
                  </a:lnTo>
                  <a:lnTo>
                    <a:pt x="516816" y="1119901"/>
                  </a:lnTo>
                  <a:cubicBezTo>
                    <a:pt x="525369" y="1110483"/>
                    <a:pt x="534136" y="1101288"/>
                    <a:pt x="542689" y="1091870"/>
                  </a:cubicBezTo>
                  <a:lnTo>
                    <a:pt x="565782" y="1065184"/>
                  </a:lnTo>
                  <a:cubicBezTo>
                    <a:pt x="572411" y="1056663"/>
                    <a:pt x="578825" y="1048141"/>
                    <a:pt x="585454" y="1039620"/>
                  </a:cubicBezTo>
                  <a:lnTo>
                    <a:pt x="629074" y="981539"/>
                  </a:lnTo>
                  <a:lnTo>
                    <a:pt x="670984" y="916059"/>
                  </a:lnTo>
                  <a:lnTo>
                    <a:pt x="712894" y="844523"/>
                  </a:lnTo>
                  <a:lnTo>
                    <a:pt x="752024" y="766484"/>
                  </a:lnTo>
                  <a:cubicBezTo>
                    <a:pt x="763998" y="739126"/>
                    <a:pt x="775759" y="711543"/>
                    <a:pt x="787733" y="684185"/>
                  </a:cubicBezTo>
                  <a:lnTo>
                    <a:pt x="819807" y="596728"/>
                  </a:lnTo>
                  <a:cubicBezTo>
                    <a:pt x="829643" y="566230"/>
                    <a:pt x="839265" y="535732"/>
                    <a:pt x="849101" y="505234"/>
                  </a:cubicBezTo>
                  <a:cubicBezTo>
                    <a:pt x="856157" y="473615"/>
                    <a:pt x="863427" y="441996"/>
                    <a:pt x="870483" y="410376"/>
                  </a:cubicBezTo>
                  <a:cubicBezTo>
                    <a:pt x="875829" y="378084"/>
                    <a:pt x="881174" y="345568"/>
                    <a:pt x="886520" y="313276"/>
                  </a:cubicBezTo>
                  <a:cubicBezTo>
                    <a:pt x="889727" y="280088"/>
                    <a:pt x="893149" y="247123"/>
                    <a:pt x="896356" y="213934"/>
                  </a:cubicBezTo>
                  <a:cubicBezTo>
                    <a:pt x="898922" y="215504"/>
                    <a:pt x="901702" y="216849"/>
                    <a:pt x="904267" y="218419"/>
                  </a:cubicBezTo>
                  <a:lnTo>
                    <a:pt x="910682" y="229856"/>
                  </a:lnTo>
                  <a:cubicBezTo>
                    <a:pt x="912393" y="235462"/>
                    <a:pt x="914317" y="241068"/>
                    <a:pt x="916028" y="246674"/>
                  </a:cubicBezTo>
                  <a:cubicBezTo>
                    <a:pt x="916883" y="254075"/>
                    <a:pt x="917739" y="261251"/>
                    <a:pt x="918594" y="268651"/>
                  </a:cubicBezTo>
                  <a:cubicBezTo>
                    <a:pt x="919235" y="277172"/>
                    <a:pt x="919663" y="285469"/>
                    <a:pt x="920304" y="293991"/>
                  </a:cubicBezTo>
                  <a:lnTo>
                    <a:pt x="920304" y="323368"/>
                  </a:lnTo>
                  <a:lnTo>
                    <a:pt x="920304" y="354763"/>
                  </a:lnTo>
                  <a:cubicBezTo>
                    <a:pt x="919663" y="366199"/>
                    <a:pt x="919235" y="377412"/>
                    <a:pt x="918594" y="388848"/>
                  </a:cubicBezTo>
                  <a:cubicBezTo>
                    <a:pt x="917739" y="400509"/>
                    <a:pt x="916883" y="411946"/>
                    <a:pt x="916028" y="423607"/>
                  </a:cubicBezTo>
                  <a:cubicBezTo>
                    <a:pt x="914745" y="435492"/>
                    <a:pt x="913676" y="447153"/>
                    <a:pt x="912393" y="459038"/>
                  </a:cubicBezTo>
                  <a:cubicBezTo>
                    <a:pt x="910682" y="470924"/>
                    <a:pt x="908758" y="482585"/>
                    <a:pt x="907047" y="494470"/>
                  </a:cubicBezTo>
                  <a:cubicBezTo>
                    <a:pt x="906192" y="505907"/>
                    <a:pt x="905123" y="517119"/>
                    <a:pt x="904267" y="528556"/>
                  </a:cubicBezTo>
                  <a:cubicBezTo>
                    <a:pt x="902557" y="539095"/>
                    <a:pt x="900633" y="549411"/>
                    <a:pt x="898922" y="559951"/>
                  </a:cubicBezTo>
                  <a:cubicBezTo>
                    <a:pt x="897425" y="569818"/>
                    <a:pt x="896142" y="579460"/>
                    <a:pt x="894645" y="589327"/>
                  </a:cubicBezTo>
                  <a:cubicBezTo>
                    <a:pt x="892935" y="597849"/>
                    <a:pt x="891010" y="606146"/>
                    <a:pt x="889300" y="614667"/>
                  </a:cubicBezTo>
                  <a:lnTo>
                    <a:pt x="884809" y="635523"/>
                  </a:lnTo>
                  <a:cubicBezTo>
                    <a:pt x="883527" y="641129"/>
                    <a:pt x="882457" y="646511"/>
                    <a:pt x="881174" y="652117"/>
                  </a:cubicBezTo>
                  <a:lnTo>
                    <a:pt x="817027" y="841832"/>
                  </a:lnTo>
                  <a:lnTo>
                    <a:pt x="868773" y="838020"/>
                  </a:lnTo>
                  <a:lnTo>
                    <a:pt x="916883" y="828601"/>
                  </a:lnTo>
                  <a:lnTo>
                    <a:pt x="962214" y="815146"/>
                  </a:lnTo>
                  <a:lnTo>
                    <a:pt x="1005835" y="797879"/>
                  </a:lnTo>
                  <a:lnTo>
                    <a:pt x="1045178" y="778369"/>
                  </a:lnTo>
                  <a:lnTo>
                    <a:pt x="1080673" y="757066"/>
                  </a:lnTo>
                  <a:lnTo>
                    <a:pt x="1114672" y="735089"/>
                  </a:lnTo>
                  <a:lnTo>
                    <a:pt x="1145890" y="714234"/>
                  </a:lnTo>
                  <a:lnTo>
                    <a:pt x="1148456" y="724325"/>
                  </a:lnTo>
                  <a:cubicBezTo>
                    <a:pt x="1139048" y="735314"/>
                    <a:pt x="1129426" y="746078"/>
                    <a:pt x="1120017" y="757066"/>
                  </a:cubicBezTo>
                  <a:cubicBezTo>
                    <a:pt x="1108471" y="767606"/>
                    <a:pt x="1096710" y="777921"/>
                    <a:pt x="1085164" y="788461"/>
                  </a:cubicBezTo>
                  <a:lnTo>
                    <a:pt x="1043254" y="816492"/>
                  </a:lnTo>
                  <a:lnTo>
                    <a:pt x="996212" y="841832"/>
                  </a:lnTo>
                  <a:lnTo>
                    <a:pt x="946177" y="864705"/>
                  </a:lnTo>
                  <a:lnTo>
                    <a:pt x="892721" y="884664"/>
                  </a:lnTo>
                  <a:lnTo>
                    <a:pt x="837554" y="900137"/>
                  </a:lnTo>
                  <a:lnTo>
                    <a:pt x="781318" y="911349"/>
                  </a:lnTo>
                  <a:lnTo>
                    <a:pt x="769771" y="938259"/>
                  </a:lnTo>
                  <a:cubicBezTo>
                    <a:pt x="764426" y="948799"/>
                    <a:pt x="759080" y="959114"/>
                    <a:pt x="753735" y="969654"/>
                  </a:cubicBezTo>
                  <a:lnTo>
                    <a:pt x="735987" y="1002395"/>
                  </a:lnTo>
                  <a:lnTo>
                    <a:pt x="712894" y="1037826"/>
                  </a:lnTo>
                  <a:cubicBezTo>
                    <a:pt x="704769" y="1050160"/>
                    <a:pt x="696857" y="1062718"/>
                    <a:pt x="688732" y="1075051"/>
                  </a:cubicBezTo>
                  <a:cubicBezTo>
                    <a:pt x="680179" y="1087385"/>
                    <a:pt x="671412" y="1099494"/>
                    <a:pt x="662859" y="1111828"/>
                  </a:cubicBezTo>
                  <a:lnTo>
                    <a:pt x="635275" y="1146587"/>
                  </a:lnTo>
                  <a:lnTo>
                    <a:pt x="607692" y="1180673"/>
                  </a:lnTo>
                  <a:cubicBezTo>
                    <a:pt x="599139" y="1191212"/>
                    <a:pt x="590372" y="1201528"/>
                    <a:pt x="581819" y="1212068"/>
                  </a:cubicBezTo>
                  <a:lnTo>
                    <a:pt x="554235" y="1240099"/>
                  </a:lnTo>
                  <a:lnTo>
                    <a:pt x="530073" y="1264990"/>
                  </a:lnTo>
                  <a:cubicBezTo>
                    <a:pt x="463128" y="1316270"/>
                    <a:pt x="473494" y="1362219"/>
                    <a:pt x="462532" y="1477481"/>
                  </a:cubicBezTo>
                  <a:cubicBezTo>
                    <a:pt x="456545" y="1491608"/>
                    <a:pt x="461221" y="1518841"/>
                    <a:pt x="455234" y="1532968"/>
                  </a:cubicBezTo>
                  <a:cubicBezTo>
                    <a:pt x="450530" y="1547545"/>
                    <a:pt x="445826" y="1562345"/>
                    <a:pt x="441122" y="1576921"/>
                  </a:cubicBezTo>
                  <a:cubicBezTo>
                    <a:pt x="438342" y="1591946"/>
                    <a:pt x="435776" y="1606746"/>
                    <a:pt x="432997" y="1621771"/>
                  </a:cubicBezTo>
                  <a:cubicBezTo>
                    <a:pt x="431927" y="1637469"/>
                    <a:pt x="430645" y="1653390"/>
                    <a:pt x="429575" y="1669088"/>
                  </a:cubicBezTo>
                  <a:cubicBezTo>
                    <a:pt x="428934" y="1685009"/>
                    <a:pt x="428292" y="1700707"/>
                    <a:pt x="427651" y="1716629"/>
                  </a:cubicBezTo>
                  <a:cubicBezTo>
                    <a:pt x="428292" y="1732550"/>
                    <a:pt x="428934" y="1748248"/>
                    <a:pt x="429575" y="1764169"/>
                  </a:cubicBezTo>
                  <a:cubicBezTo>
                    <a:pt x="430645" y="1780315"/>
                    <a:pt x="431927" y="1796686"/>
                    <a:pt x="432997" y="1812832"/>
                  </a:cubicBezTo>
                  <a:cubicBezTo>
                    <a:pt x="434493" y="1828977"/>
                    <a:pt x="435990" y="1844899"/>
                    <a:pt x="437487" y="1861045"/>
                  </a:cubicBezTo>
                  <a:cubicBezTo>
                    <a:pt x="439197" y="1876743"/>
                    <a:pt x="441122" y="1892664"/>
                    <a:pt x="442833" y="1908362"/>
                  </a:cubicBezTo>
                  <a:cubicBezTo>
                    <a:pt x="443046" y="1931459"/>
                    <a:pt x="443474" y="1954781"/>
                    <a:pt x="443688" y="1977879"/>
                  </a:cubicBezTo>
                  <a:cubicBezTo>
                    <a:pt x="442191" y="2000977"/>
                    <a:pt x="440694" y="2024299"/>
                    <a:pt x="439197" y="2047396"/>
                  </a:cubicBezTo>
                  <a:cubicBezTo>
                    <a:pt x="436632" y="2069597"/>
                    <a:pt x="433852" y="2092022"/>
                    <a:pt x="431286" y="2114223"/>
                  </a:cubicBezTo>
                  <a:cubicBezTo>
                    <a:pt x="428079" y="2135975"/>
                    <a:pt x="424657" y="2157951"/>
                    <a:pt x="421450" y="2179703"/>
                  </a:cubicBezTo>
                  <a:cubicBezTo>
                    <a:pt x="414821" y="2253930"/>
                    <a:pt x="416104" y="2322102"/>
                    <a:pt x="409476" y="2396328"/>
                  </a:cubicBezTo>
                  <a:lnTo>
                    <a:pt x="50891" y="2396328"/>
                  </a:lnTo>
                  <a:lnTo>
                    <a:pt x="91945" y="2308198"/>
                  </a:lnTo>
                  <a:lnTo>
                    <a:pt x="142622" y="2208407"/>
                  </a:lnTo>
                  <a:cubicBezTo>
                    <a:pt x="148609" y="2196298"/>
                    <a:pt x="154382" y="2184413"/>
                    <a:pt x="160369" y="2172303"/>
                  </a:cubicBezTo>
                  <a:cubicBezTo>
                    <a:pt x="165501" y="2158848"/>
                    <a:pt x="170419" y="2145617"/>
                    <a:pt x="175551" y="2132162"/>
                  </a:cubicBezTo>
                  <a:cubicBezTo>
                    <a:pt x="180255" y="2117362"/>
                    <a:pt x="185173" y="2102337"/>
                    <a:pt x="189877" y="2087537"/>
                  </a:cubicBezTo>
                  <a:cubicBezTo>
                    <a:pt x="194368" y="2071615"/>
                    <a:pt x="198644" y="2055918"/>
                    <a:pt x="203134" y="2039996"/>
                  </a:cubicBezTo>
                  <a:cubicBezTo>
                    <a:pt x="206769" y="2022953"/>
                    <a:pt x="210191" y="2005686"/>
                    <a:pt x="213826" y="1988643"/>
                  </a:cubicBezTo>
                  <a:cubicBezTo>
                    <a:pt x="216605" y="1971152"/>
                    <a:pt x="219171" y="1953884"/>
                    <a:pt x="221951" y="1936393"/>
                  </a:cubicBezTo>
                  <a:cubicBezTo>
                    <a:pt x="224517" y="1918229"/>
                    <a:pt x="227297" y="1899840"/>
                    <a:pt x="229863" y="1881676"/>
                  </a:cubicBezTo>
                  <a:cubicBezTo>
                    <a:pt x="231573" y="1863288"/>
                    <a:pt x="233498" y="1844675"/>
                    <a:pt x="235208" y="1826286"/>
                  </a:cubicBezTo>
                  <a:cubicBezTo>
                    <a:pt x="236705" y="1807001"/>
                    <a:pt x="238202" y="1787940"/>
                    <a:pt x="239699" y="1768654"/>
                  </a:cubicBezTo>
                  <a:lnTo>
                    <a:pt x="239699" y="1711919"/>
                  </a:lnTo>
                  <a:lnTo>
                    <a:pt x="239699" y="1655857"/>
                  </a:lnTo>
                  <a:cubicBezTo>
                    <a:pt x="238202" y="1637020"/>
                    <a:pt x="236705" y="1618407"/>
                    <a:pt x="235208" y="1599570"/>
                  </a:cubicBezTo>
                  <a:cubicBezTo>
                    <a:pt x="233070" y="1581630"/>
                    <a:pt x="231145" y="1563466"/>
                    <a:pt x="229007" y="1545526"/>
                  </a:cubicBezTo>
                  <a:cubicBezTo>
                    <a:pt x="226441" y="1528035"/>
                    <a:pt x="223662" y="1510319"/>
                    <a:pt x="221096" y="1492828"/>
                  </a:cubicBezTo>
                  <a:cubicBezTo>
                    <a:pt x="217247" y="1475785"/>
                    <a:pt x="213184" y="1458966"/>
                    <a:pt x="209335" y="1441923"/>
                  </a:cubicBezTo>
                  <a:cubicBezTo>
                    <a:pt x="203990" y="1426226"/>
                    <a:pt x="198644" y="1410304"/>
                    <a:pt x="193298" y="1394607"/>
                  </a:cubicBezTo>
                  <a:cubicBezTo>
                    <a:pt x="187311" y="1379582"/>
                    <a:pt x="181538" y="1364781"/>
                    <a:pt x="175551" y="1349757"/>
                  </a:cubicBezTo>
                  <a:cubicBezTo>
                    <a:pt x="168495" y="1336302"/>
                    <a:pt x="161225" y="1323071"/>
                    <a:pt x="154168" y="1309616"/>
                  </a:cubicBezTo>
                  <a:cubicBezTo>
                    <a:pt x="146257" y="1297731"/>
                    <a:pt x="138131" y="1286070"/>
                    <a:pt x="130220" y="1274185"/>
                  </a:cubicBezTo>
                  <a:cubicBezTo>
                    <a:pt x="100105" y="1196223"/>
                    <a:pt x="62986" y="1132194"/>
                    <a:pt x="53457" y="1033789"/>
                  </a:cubicBezTo>
                  <a:cubicBezTo>
                    <a:pt x="48397" y="992826"/>
                    <a:pt x="45795" y="992303"/>
                    <a:pt x="41055" y="971672"/>
                  </a:cubicBezTo>
                  <a:cubicBezTo>
                    <a:pt x="35709" y="951041"/>
                    <a:pt x="30364" y="930635"/>
                    <a:pt x="25018" y="910004"/>
                  </a:cubicBezTo>
                  <a:cubicBezTo>
                    <a:pt x="20528" y="887803"/>
                    <a:pt x="16037" y="865378"/>
                    <a:pt x="11547" y="843178"/>
                  </a:cubicBezTo>
                  <a:cubicBezTo>
                    <a:pt x="9409" y="820528"/>
                    <a:pt x="7484" y="797655"/>
                    <a:pt x="5346" y="775006"/>
                  </a:cubicBezTo>
                  <a:cubicBezTo>
                    <a:pt x="3635" y="751235"/>
                    <a:pt x="1711" y="727465"/>
                    <a:pt x="0" y="703694"/>
                  </a:cubicBezTo>
                  <a:lnTo>
                    <a:pt x="0" y="630813"/>
                  </a:lnTo>
                  <a:cubicBezTo>
                    <a:pt x="1283" y="606370"/>
                    <a:pt x="2352" y="581703"/>
                    <a:pt x="3635" y="557260"/>
                  </a:cubicBezTo>
                  <a:cubicBezTo>
                    <a:pt x="6201" y="533041"/>
                    <a:pt x="8981" y="508598"/>
                    <a:pt x="11547" y="484379"/>
                  </a:cubicBezTo>
                  <a:cubicBezTo>
                    <a:pt x="15396" y="460160"/>
                    <a:pt x="19458" y="435941"/>
                    <a:pt x="23307" y="411722"/>
                  </a:cubicBezTo>
                  <a:cubicBezTo>
                    <a:pt x="27370" y="388400"/>
                    <a:pt x="31647" y="364854"/>
                    <a:pt x="35709" y="341532"/>
                  </a:cubicBezTo>
                  <a:cubicBezTo>
                    <a:pt x="41696" y="318883"/>
                    <a:pt x="47470" y="296009"/>
                    <a:pt x="53457" y="273360"/>
                  </a:cubicBezTo>
                  <a:cubicBezTo>
                    <a:pt x="60513" y="252056"/>
                    <a:pt x="67783" y="230528"/>
                    <a:pt x="74839" y="209225"/>
                  </a:cubicBezTo>
                  <a:cubicBezTo>
                    <a:pt x="82323" y="189042"/>
                    <a:pt x="89593" y="168636"/>
                    <a:pt x="97077" y="148453"/>
                  </a:cubicBezTo>
                  <a:cubicBezTo>
                    <a:pt x="105630" y="130065"/>
                    <a:pt x="114397" y="111901"/>
                    <a:pt x="122950" y="93512"/>
                  </a:cubicBezTo>
                  <a:lnTo>
                    <a:pt x="150533" y="43504"/>
                  </a:lnTo>
                  <a:lnTo>
                    <a:pt x="183676" y="0"/>
                  </a:ln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ko-KR" altLang="en-US" sz="1800"/>
            </a:p>
          </p:txBody>
        </p:sp>
        <p:sp>
          <p:nvSpPr>
            <p:cNvPr id="36" name="Rectangle 21">
              <a:extLst>
                <a:ext uri="{FF2B5EF4-FFF2-40B4-BE49-F238E27FC236}">
                  <a16:creationId xmlns:a16="http://schemas.microsoft.com/office/drawing/2014/main" id="{C8341C74-D82A-7E49-A153-D8A357942CE8}"/>
                </a:ext>
              </a:extLst>
            </p:cNvPr>
            <p:cNvSpPr/>
            <p:nvPr/>
          </p:nvSpPr>
          <p:spPr>
            <a:xfrm rot="1162019">
              <a:off x="8691200" y="2145617"/>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7" name="Rectangle 21">
              <a:extLst>
                <a:ext uri="{FF2B5EF4-FFF2-40B4-BE49-F238E27FC236}">
                  <a16:creationId xmlns:a16="http://schemas.microsoft.com/office/drawing/2014/main" id="{55B9FFEA-271F-D640-B3B5-CFDF9D6F8659}"/>
                </a:ext>
              </a:extLst>
            </p:cNvPr>
            <p:cNvSpPr/>
            <p:nvPr/>
          </p:nvSpPr>
          <p:spPr>
            <a:xfrm rot="18900000">
              <a:off x="9593699" y="2001115"/>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8" name="Rectangle 21">
              <a:extLst>
                <a:ext uri="{FF2B5EF4-FFF2-40B4-BE49-F238E27FC236}">
                  <a16:creationId xmlns:a16="http://schemas.microsoft.com/office/drawing/2014/main" id="{935E5B4D-691D-6543-8542-823DE8B87B6C}"/>
                </a:ext>
              </a:extLst>
            </p:cNvPr>
            <p:cNvSpPr/>
            <p:nvPr/>
          </p:nvSpPr>
          <p:spPr>
            <a:xfrm rot="900000">
              <a:off x="10221811" y="2638321"/>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9" name="Rectangle 21">
              <a:extLst>
                <a:ext uri="{FF2B5EF4-FFF2-40B4-BE49-F238E27FC236}">
                  <a16:creationId xmlns:a16="http://schemas.microsoft.com/office/drawing/2014/main" id="{B22AF034-FB01-5644-B71A-9A22E20D70BB}"/>
                </a:ext>
              </a:extLst>
            </p:cNvPr>
            <p:cNvSpPr/>
            <p:nvPr/>
          </p:nvSpPr>
          <p:spPr>
            <a:xfrm rot="1490152">
              <a:off x="8680049" y="2811127"/>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Rectangle 21">
              <a:extLst>
                <a:ext uri="{FF2B5EF4-FFF2-40B4-BE49-F238E27FC236}">
                  <a16:creationId xmlns:a16="http://schemas.microsoft.com/office/drawing/2014/main" id="{645ED8FE-F340-B344-87C1-AF804A1A05FE}"/>
                </a:ext>
              </a:extLst>
            </p:cNvPr>
            <p:cNvSpPr/>
            <p:nvPr/>
          </p:nvSpPr>
          <p:spPr>
            <a:xfrm rot="900000">
              <a:off x="9373665" y="2618648"/>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1" name="Rectangle 21">
              <a:extLst>
                <a:ext uri="{FF2B5EF4-FFF2-40B4-BE49-F238E27FC236}">
                  <a16:creationId xmlns:a16="http://schemas.microsoft.com/office/drawing/2014/main" id="{B9812200-728E-9447-9B90-6F0CE305107E}"/>
                </a:ext>
              </a:extLst>
            </p:cNvPr>
            <p:cNvSpPr/>
            <p:nvPr/>
          </p:nvSpPr>
          <p:spPr>
            <a:xfrm rot="900000">
              <a:off x="10096074" y="2130327"/>
              <a:ext cx="561670" cy="314642"/>
            </a:xfrm>
            <a:custGeom>
              <a:avLst/>
              <a:gdLst/>
              <a:ahLst/>
              <a:cxnLst/>
              <a:rect l="l" t="t" r="r" b="b"/>
              <a:pathLst>
                <a:path w="4560938" h="2554996">
                  <a:moveTo>
                    <a:pt x="2315585" y="1351978"/>
                  </a:moveTo>
                  <a:lnTo>
                    <a:pt x="2315585" y="1608128"/>
                  </a:lnTo>
                  <a:cubicBezTo>
                    <a:pt x="2332000" y="1604085"/>
                    <a:pt x="2347685" y="1596777"/>
                    <a:pt x="2361832" y="1586519"/>
                  </a:cubicBezTo>
                  <a:cubicBezTo>
                    <a:pt x="2403345" y="1556419"/>
                    <a:pt x="2424829" y="1505846"/>
                    <a:pt x="2417675" y="1455070"/>
                  </a:cubicBezTo>
                  <a:cubicBezTo>
                    <a:pt x="2409025" y="1388817"/>
                    <a:pt x="2368208" y="1366470"/>
                    <a:pt x="2315585" y="1351978"/>
                  </a:cubicBezTo>
                  <a:close/>
                  <a:moveTo>
                    <a:pt x="3612086" y="989467"/>
                  </a:moveTo>
                  <a:cubicBezTo>
                    <a:pt x="3453010" y="989467"/>
                    <a:pt x="3324054" y="1118423"/>
                    <a:pt x="3324054" y="1277499"/>
                  </a:cubicBezTo>
                  <a:cubicBezTo>
                    <a:pt x="3324054" y="1436575"/>
                    <a:pt x="3453010" y="1565531"/>
                    <a:pt x="3612086" y="1565531"/>
                  </a:cubicBezTo>
                  <a:cubicBezTo>
                    <a:pt x="3771162" y="1565531"/>
                    <a:pt x="3900118" y="1436575"/>
                    <a:pt x="3900118" y="1277499"/>
                  </a:cubicBezTo>
                  <a:cubicBezTo>
                    <a:pt x="3900118" y="1118423"/>
                    <a:pt x="3771162" y="989467"/>
                    <a:pt x="3612086" y="989467"/>
                  </a:cubicBezTo>
                  <a:close/>
                  <a:moveTo>
                    <a:pt x="948854" y="989467"/>
                  </a:moveTo>
                  <a:cubicBezTo>
                    <a:pt x="789778" y="989467"/>
                    <a:pt x="660822" y="1118423"/>
                    <a:pt x="660822" y="1277499"/>
                  </a:cubicBezTo>
                  <a:cubicBezTo>
                    <a:pt x="660822" y="1436575"/>
                    <a:pt x="789778" y="1565531"/>
                    <a:pt x="948854" y="1565531"/>
                  </a:cubicBezTo>
                  <a:cubicBezTo>
                    <a:pt x="1107930" y="1565531"/>
                    <a:pt x="1236886" y="1436575"/>
                    <a:pt x="1236886" y="1277499"/>
                  </a:cubicBezTo>
                  <a:cubicBezTo>
                    <a:pt x="1236886" y="1118423"/>
                    <a:pt x="1107930" y="989467"/>
                    <a:pt x="948854" y="989467"/>
                  </a:cubicBezTo>
                  <a:close/>
                  <a:moveTo>
                    <a:pt x="2247651" y="946230"/>
                  </a:moveTo>
                  <a:cubicBezTo>
                    <a:pt x="2230469" y="950266"/>
                    <a:pt x="2214012" y="957763"/>
                    <a:pt x="2199233" y="968479"/>
                  </a:cubicBezTo>
                  <a:cubicBezTo>
                    <a:pt x="2157721" y="998579"/>
                    <a:pt x="2136236" y="1049152"/>
                    <a:pt x="2143390" y="1099928"/>
                  </a:cubicBezTo>
                  <a:cubicBezTo>
                    <a:pt x="2157154" y="1167662"/>
                    <a:pt x="2197550" y="1197656"/>
                    <a:pt x="2247651" y="1217102"/>
                  </a:cubicBezTo>
                  <a:close/>
                  <a:moveTo>
                    <a:pt x="2247651" y="785264"/>
                  </a:moveTo>
                  <a:lnTo>
                    <a:pt x="2315585" y="785264"/>
                  </a:lnTo>
                  <a:lnTo>
                    <a:pt x="2315585" y="832380"/>
                  </a:lnTo>
                  <a:cubicBezTo>
                    <a:pt x="2341411" y="835890"/>
                    <a:pt x="2366862" y="843587"/>
                    <a:pt x="2390991" y="855423"/>
                  </a:cubicBezTo>
                  <a:cubicBezTo>
                    <a:pt x="2474360" y="896319"/>
                    <a:pt x="2528313" y="979930"/>
                    <a:pt x="2531223" y="1072743"/>
                  </a:cubicBezTo>
                  <a:lnTo>
                    <a:pt x="2418963" y="1076264"/>
                  </a:lnTo>
                  <a:cubicBezTo>
                    <a:pt x="2417356" y="1025012"/>
                    <a:pt x="2387564" y="978842"/>
                    <a:pt x="2341528" y="956260"/>
                  </a:cubicBezTo>
                  <a:cubicBezTo>
                    <a:pt x="2333151" y="952151"/>
                    <a:pt x="2324486" y="948946"/>
                    <a:pt x="2315585" y="946938"/>
                  </a:cubicBezTo>
                  <a:lnTo>
                    <a:pt x="2315585" y="1239083"/>
                  </a:lnTo>
                  <a:cubicBezTo>
                    <a:pt x="2404308" y="1264638"/>
                    <a:pt x="2499083" y="1293869"/>
                    <a:pt x="2528899" y="1441205"/>
                  </a:cubicBezTo>
                  <a:cubicBezTo>
                    <a:pt x="2541347" y="1532528"/>
                    <a:pt x="2502457" y="1623287"/>
                    <a:pt x="2427762" y="1677447"/>
                  </a:cubicBezTo>
                  <a:cubicBezTo>
                    <a:pt x="2394006" y="1701923"/>
                    <a:pt x="2355419" y="1717125"/>
                    <a:pt x="2315585" y="1722661"/>
                  </a:cubicBezTo>
                  <a:lnTo>
                    <a:pt x="2315585" y="1769734"/>
                  </a:lnTo>
                  <a:lnTo>
                    <a:pt x="2247651" y="1769734"/>
                  </a:lnTo>
                  <a:lnTo>
                    <a:pt x="2247651" y="1722944"/>
                  </a:lnTo>
                  <a:cubicBezTo>
                    <a:pt x="2221084" y="1719537"/>
                    <a:pt x="2194881" y="1711743"/>
                    <a:pt x="2170074" y="1699575"/>
                  </a:cubicBezTo>
                  <a:cubicBezTo>
                    <a:pt x="2086705" y="1658679"/>
                    <a:pt x="2032752" y="1575069"/>
                    <a:pt x="2029842" y="1482255"/>
                  </a:cubicBezTo>
                  <a:lnTo>
                    <a:pt x="2142102" y="1478734"/>
                  </a:lnTo>
                  <a:cubicBezTo>
                    <a:pt x="2143709" y="1529986"/>
                    <a:pt x="2173501" y="1576156"/>
                    <a:pt x="2219537" y="1598738"/>
                  </a:cubicBezTo>
                  <a:cubicBezTo>
                    <a:pt x="2228602" y="1603184"/>
                    <a:pt x="2238004" y="1606573"/>
                    <a:pt x="2247651" y="1608616"/>
                  </a:cubicBezTo>
                  <a:lnTo>
                    <a:pt x="2247651" y="1335176"/>
                  </a:lnTo>
                  <a:cubicBezTo>
                    <a:pt x="2162261" y="1314127"/>
                    <a:pt x="2069489" y="1278142"/>
                    <a:pt x="2032173" y="1115597"/>
                  </a:cubicBezTo>
                  <a:cubicBezTo>
                    <a:pt x="2019217" y="1023646"/>
                    <a:pt x="2058125" y="932061"/>
                    <a:pt x="2133303" y="877552"/>
                  </a:cubicBezTo>
                  <a:cubicBezTo>
                    <a:pt x="2167670" y="852632"/>
                    <a:pt x="2207046" y="837325"/>
                    <a:pt x="2247651" y="832077"/>
                  </a:cubicBezTo>
                  <a:close/>
                  <a:moveTo>
                    <a:pt x="2280470" y="617534"/>
                  </a:moveTo>
                  <a:cubicBezTo>
                    <a:pt x="1915981" y="617534"/>
                    <a:pt x="1620504" y="913011"/>
                    <a:pt x="1620504" y="1277500"/>
                  </a:cubicBezTo>
                  <a:cubicBezTo>
                    <a:pt x="1620504" y="1641989"/>
                    <a:pt x="1915981" y="1937466"/>
                    <a:pt x="2280470" y="1937466"/>
                  </a:cubicBezTo>
                  <a:cubicBezTo>
                    <a:pt x="2644959" y="1937466"/>
                    <a:pt x="2940436" y="1641989"/>
                    <a:pt x="2940436" y="1277500"/>
                  </a:cubicBezTo>
                  <a:cubicBezTo>
                    <a:pt x="2940436" y="913011"/>
                    <a:pt x="2644959" y="617534"/>
                    <a:pt x="2280470" y="617534"/>
                  </a:cubicBezTo>
                  <a:close/>
                  <a:moveTo>
                    <a:pt x="284505" y="265281"/>
                  </a:moveTo>
                  <a:lnTo>
                    <a:pt x="4276434" y="265281"/>
                  </a:lnTo>
                  <a:lnTo>
                    <a:pt x="4276434" y="2289716"/>
                  </a:lnTo>
                  <a:lnTo>
                    <a:pt x="284505" y="2289716"/>
                  </a:lnTo>
                  <a:close/>
                  <a:moveTo>
                    <a:pt x="180344" y="148161"/>
                  </a:moveTo>
                  <a:lnTo>
                    <a:pt x="180344" y="2406836"/>
                  </a:lnTo>
                  <a:lnTo>
                    <a:pt x="4380595" y="2406836"/>
                  </a:lnTo>
                  <a:lnTo>
                    <a:pt x="4380595" y="148161"/>
                  </a:lnTo>
                  <a:close/>
                  <a:moveTo>
                    <a:pt x="0" y="0"/>
                  </a:moveTo>
                  <a:lnTo>
                    <a:pt x="4560938" y="0"/>
                  </a:lnTo>
                  <a:lnTo>
                    <a:pt x="4560938" y="2554996"/>
                  </a:lnTo>
                  <a:lnTo>
                    <a:pt x="0" y="255499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42" name="그룹 7">
            <a:extLst>
              <a:ext uri="{FF2B5EF4-FFF2-40B4-BE49-F238E27FC236}">
                <a16:creationId xmlns:a16="http://schemas.microsoft.com/office/drawing/2014/main" id="{CAB93260-8562-6C48-B767-F542DD5E4F68}"/>
              </a:ext>
            </a:extLst>
          </p:cNvPr>
          <p:cNvGrpSpPr/>
          <p:nvPr/>
        </p:nvGrpSpPr>
        <p:grpSpPr>
          <a:xfrm>
            <a:off x="6674296" y="3170323"/>
            <a:ext cx="1403850" cy="1577193"/>
            <a:chOff x="6282410" y="2774470"/>
            <a:chExt cx="1403850" cy="1577193"/>
          </a:xfrm>
        </p:grpSpPr>
        <p:sp>
          <p:nvSpPr>
            <p:cNvPr id="43" name="자유형: 도형 91">
              <a:extLst>
                <a:ext uri="{FF2B5EF4-FFF2-40B4-BE49-F238E27FC236}">
                  <a16:creationId xmlns:a16="http://schemas.microsoft.com/office/drawing/2014/main" id="{7638C796-8A8B-1A4E-9C4F-3E598465C1E4}"/>
                </a:ext>
              </a:extLst>
            </p:cNvPr>
            <p:cNvSpPr>
              <a:spLocks/>
            </p:cNvSpPr>
            <p:nvPr/>
          </p:nvSpPr>
          <p:spPr bwMode="auto">
            <a:xfrm>
              <a:off x="6649075" y="3211736"/>
              <a:ext cx="806320" cy="1139927"/>
            </a:xfrm>
            <a:custGeom>
              <a:avLst/>
              <a:gdLst>
                <a:gd name="connsiteX0" fmla="*/ 1361456 w 1362600"/>
                <a:gd name="connsiteY0" fmla="*/ 1033789 h 2396328"/>
                <a:gd name="connsiteX1" fmla="*/ 1362600 w 1362600"/>
                <a:gd name="connsiteY1" fmla="*/ 1034469 h 2396328"/>
                <a:gd name="connsiteX2" fmla="*/ 1360043 w 1362600"/>
                <a:gd name="connsiteY2" fmla="*/ 1035347 h 2396328"/>
                <a:gd name="connsiteX3" fmla="*/ 250633 w 1362600"/>
                <a:gd name="connsiteY3" fmla="*/ 0 h 2396328"/>
                <a:gd name="connsiteX4" fmla="*/ 246998 w 1362600"/>
                <a:gd name="connsiteY4" fmla="*/ 10764 h 2396328"/>
                <a:gd name="connsiteX5" fmla="*/ 245288 w 1362600"/>
                <a:gd name="connsiteY5" fmla="*/ 17940 h 2396328"/>
                <a:gd name="connsiteX6" fmla="*/ 243363 w 1362600"/>
                <a:gd name="connsiteY6" fmla="*/ 22649 h 2396328"/>
                <a:gd name="connsiteX7" fmla="*/ 243363 w 1362600"/>
                <a:gd name="connsiteY7" fmla="*/ 25340 h 2396328"/>
                <a:gd name="connsiteX8" fmla="*/ 245288 w 1362600"/>
                <a:gd name="connsiteY8" fmla="*/ 26686 h 2396328"/>
                <a:gd name="connsiteX9" fmla="*/ 245288 w 1362600"/>
                <a:gd name="connsiteY9" fmla="*/ 28031 h 2396328"/>
                <a:gd name="connsiteX10" fmla="*/ 246998 w 1362600"/>
                <a:gd name="connsiteY10" fmla="*/ 28031 h 2396328"/>
                <a:gd name="connsiteX11" fmla="*/ 246998 w 1362600"/>
                <a:gd name="connsiteY11" fmla="*/ 30050 h 2396328"/>
                <a:gd name="connsiteX12" fmla="*/ 245288 w 1362600"/>
                <a:gd name="connsiteY12" fmla="*/ 34086 h 2396328"/>
                <a:gd name="connsiteX13" fmla="*/ 243363 w 1362600"/>
                <a:gd name="connsiteY13" fmla="*/ 40141 h 2396328"/>
                <a:gd name="connsiteX14" fmla="*/ 240797 w 1362600"/>
                <a:gd name="connsiteY14" fmla="*/ 49559 h 2396328"/>
                <a:gd name="connsiteX15" fmla="*/ 235452 w 1362600"/>
                <a:gd name="connsiteY15" fmla="*/ 62790 h 2396328"/>
                <a:gd name="connsiteX16" fmla="*/ 227326 w 1362600"/>
                <a:gd name="connsiteY16" fmla="*/ 81627 h 2396328"/>
                <a:gd name="connsiteX17" fmla="*/ 219415 w 1362600"/>
                <a:gd name="connsiteY17" fmla="*/ 104276 h 2396328"/>
                <a:gd name="connsiteX18" fmla="*/ 206799 w 1362600"/>
                <a:gd name="connsiteY18" fmla="*/ 133653 h 2396328"/>
                <a:gd name="connsiteX19" fmla="*/ 191831 w 1362600"/>
                <a:gd name="connsiteY19" fmla="*/ 169084 h 2396328"/>
                <a:gd name="connsiteX20" fmla="*/ 173870 w 1362600"/>
                <a:gd name="connsiteY20" fmla="*/ 224474 h 2396328"/>
                <a:gd name="connsiteX21" fmla="*/ 161468 w 1362600"/>
                <a:gd name="connsiteY21" fmla="*/ 283900 h 2396328"/>
                <a:gd name="connsiteX22" fmla="*/ 151632 w 1362600"/>
                <a:gd name="connsiteY22" fmla="*/ 344896 h 2396328"/>
                <a:gd name="connsiteX23" fmla="*/ 138375 w 1362600"/>
                <a:gd name="connsiteY23" fmla="*/ 409704 h 2396328"/>
                <a:gd name="connsiteX24" fmla="*/ 136451 w 1362600"/>
                <a:gd name="connsiteY24" fmla="*/ 423607 h 2396328"/>
                <a:gd name="connsiteX25" fmla="*/ 133885 w 1362600"/>
                <a:gd name="connsiteY25" fmla="*/ 444462 h 2396328"/>
                <a:gd name="connsiteX26" fmla="*/ 131960 w 1362600"/>
                <a:gd name="connsiteY26" fmla="*/ 466439 h 2396328"/>
                <a:gd name="connsiteX27" fmla="*/ 130250 w 1362600"/>
                <a:gd name="connsiteY27" fmla="*/ 490433 h 2396328"/>
                <a:gd name="connsiteX28" fmla="*/ 130250 w 1362600"/>
                <a:gd name="connsiteY28" fmla="*/ 515101 h 2396328"/>
                <a:gd name="connsiteX29" fmla="*/ 133885 w 1362600"/>
                <a:gd name="connsiteY29" fmla="*/ 537301 h 2396328"/>
                <a:gd name="connsiteX30" fmla="*/ 138375 w 1362600"/>
                <a:gd name="connsiteY30" fmla="*/ 556587 h 2396328"/>
                <a:gd name="connsiteX31" fmla="*/ 146286 w 1362600"/>
                <a:gd name="connsiteY31" fmla="*/ 570042 h 2396328"/>
                <a:gd name="connsiteX32" fmla="*/ 189052 w 1362600"/>
                <a:gd name="connsiteY32" fmla="*/ 567351 h 2396328"/>
                <a:gd name="connsiteX33" fmla="*/ 230961 w 1362600"/>
                <a:gd name="connsiteY33" fmla="*/ 556587 h 2396328"/>
                <a:gd name="connsiteX34" fmla="*/ 270947 w 1362600"/>
                <a:gd name="connsiteY34" fmla="*/ 539320 h 2396328"/>
                <a:gd name="connsiteX35" fmla="*/ 312001 w 1362600"/>
                <a:gd name="connsiteY35" fmla="*/ 515101 h 2396328"/>
                <a:gd name="connsiteX36" fmla="*/ 349420 w 1362600"/>
                <a:gd name="connsiteY36" fmla="*/ 487070 h 2396328"/>
                <a:gd name="connsiteX37" fmla="*/ 385985 w 1362600"/>
                <a:gd name="connsiteY37" fmla="*/ 452984 h 2396328"/>
                <a:gd name="connsiteX38" fmla="*/ 420624 w 1362600"/>
                <a:gd name="connsiteY38" fmla="*/ 416880 h 2396328"/>
                <a:gd name="connsiteX39" fmla="*/ 452698 w 1362600"/>
                <a:gd name="connsiteY39" fmla="*/ 378981 h 2396328"/>
                <a:gd name="connsiteX40" fmla="*/ 483917 w 1362600"/>
                <a:gd name="connsiteY40" fmla="*/ 338841 h 2396328"/>
                <a:gd name="connsiteX41" fmla="*/ 510645 w 1362600"/>
                <a:gd name="connsiteY41" fmla="*/ 297355 h 2396328"/>
                <a:gd name="connsiteX42" fmla="*/ 535662 w 1362600"/>
                <a:gd name="connsiteY42" fmla="*/ 257214 h 2396328"/>
                <a:gd name="connsiteX43" fmla="*/ 556190 w 1362600"/>
                <a:gd name="connsiteY43" fmla="*/ 218419 h 2396328"/>
                <a:gd name="connsiteX44" fmla="*/ 566026 w 1362600"/>
                <a:gd name="connsiteY44" fmla="*/ 218419 h 2396328"/>
                <a:gd name="connsiteX45" fmla="*/ 566026 w 1362600"/>
                <a:gd name="connsiteY45" fmla="*/ 222455 h 2396328"/>
                <a:gd name="connsiteX46" fmla="*/ 549989 w 1362600"/>
                <a:gd name="connsiteY46" fmla="*/ 261251 h 2396328"/>
                <a:gd name="connsiteX47" fmla="*/ 532027 w 1362600"/>
                <a:gd name="connsiteY47" fmla="*/ 301391 h 2396328"/>
                <a:gd name="connsiteX48" fmla="*/ 512569 w 1362600"/>
                <a:gd name="connsiteY48" fmla="*/ 340186 h 2396328"/>
                <a:gd name="connsiteX49" fmla="*/ 492897 w 1362600"/>
                <a:gd name="connsiteY49" fmla="*/ 377636 h 2396328"/>
                <a:gd name="connsiteX50" fmla="*/ 472370 w 1362600"/>
                <a:gd name="connsiteY50" fmla="*/ 414189 h 2396328"/>
                <a:gd name="connsiteX51" fmla="*/ 449277 w 1362600"/>
                <a:gd name="connsiteY51" fmla="*/ 448274 h 2396328"/>
                <a:gd name="connsiteX52" fmla="*/ 425115 w 1362600"/>
                <a:gd name="connsiteY52" fmla="*/ 481015 h 2396328"/>
                <a:gd name="connsiteX53" fmla="*/ 395821 w 1362600"/>
                <a:gd name="connsiteY53" fmla="*/ 511064 h 2396328"/>
                <a:gd name="connsiteX54" fmla="*/ 365458 w 1362600"/>
                <a:gd name="connsiteY54" fmla="*/ 540665 h 2396328"/>
                <a:gd name="connsiteX55" fmla="*/ 329749 w 1362600"/>
                <a:gd name="connsiteY55" fmla="*/ 564660 h 2396328"/>
                <a:gd name="connsiteX56" fmla="*/ 288908 w 1362600"/>
                <a:gd name="connsiteY56" fmla="*/ 586636 h 2396328"/>
                <a:gd name="connsiteX57" fmla="*/ 243363 w 1362600"/>
                <a:gd name="connsiteY57" fmla="*/ 606146 h 2396328"/>
                <a:gd name="connsiteX58" fmla="*/ 195252 w 1362600"/>
                <a:gd name="connsiteY58" fmla="*/ 620722 h 2396328"/>
                <a:gd name="connsiteX59" fmla="*/ 138375 w 1362600"/>
                <a:gd name="connsiteY59" fmla="*/ 630813 h 2396328"/>
                <a:gd name="connsiteX60" fmla="*/ 140086 w 1362600"/>
                <a:gd name="connsiteY60" fmla="*/ 701003 h 2396328"/>
                <a:gd name="connsiteX61" fmla="*/ 147997 w 1362600"/>
                <a:gd name="connsiteY61" fmla="*/ 767830 h 2396328"/>
                <a:gd name="connsiteX62" fmla="*/ 161468 w 1362600"/>
                <a:gd name="connsiteY62" fmla="*/ 831292 h 2396328"/>
                <a:gd name="connsiteX63" fmla="*/ 179216 w 1362600"/>
                <a:gd name="connsiteY63" fmla="*/ 891391 h 2396328"/>
                <a:gd name="connsiteX64" fmla="*/ 201453 w 1362600"/>
                <a:gd name="connsiteY64" fmla="*/ 948799 h 2396328"/>
                <a:gd name="connsiteX65" fmla="*/ 225616 w 1362600"/>
                <a:gd name="connsiteY65" fmla="*/ 1003740 h 2396328"/>
                <a:gd name="connsiteX66" fmla="*/ 253199 w 1362600"/>
                <a:gd name="connsiteY66" fmla="*/ 1055766 h 2396328"/>
                <a:gd name="connsiteX67" fmla="*/ 280783 w 1362600"/>
                <a:gd name="connsiteY67" fmla="*/ 1106446 h 2396328"/>
                <a:gd name="connsiteX68" fmla="*/ 288908 w 1362600"/>
                <a:gd name="connsiteY68" fmla="*/ 1118556 h 2396328"/>
                <a:gd name="connsiteX69" fmla="*/ 295964 w 1362600"/>
                <a:gd name="connsiteY69" fmla="*/ 1133356 h 2396328"/>
                <a:gd name="connsiteX70" fmla="*/ 305800 w 1362600"/>
                <a:gd name="connsiteY70" fmla="*/ 1149278 h 2396328"/>
                <a:gd name="connsiteX71" fmla="*/ 314781 w 1362600"/>
                <a:gd name="connsiteY71" fmla="*/ 1166097 h 2396328"/>
                <a:gd name="connsiteX72" fmla="*/ 326327 w 1362600"/>
                <a:gd name="connsiteY72" fmla="*/ 1182018 h 2396328"/>
                <a:gd name="connsiteX73" fmla="*/ 339585 w 1362600"/>
                <a:gd name="connsiteY73" fmla="*/ 1195473 h 2396328"/>
                <a:gd name="connsiteX74" fmla="*/ 355622 w 1362600"/>
                <a:gd name="connsiteY74" fmla="*/ 1207358 h 2396328"/>
                <a:gd name="connsiteX75" fmla="*/ 373583 w 1362600"/>
                <a:gd name="connsiteY75" fmla="*/ 1216104 h 2396328"/>
                <a:gd name="connsiteX76" fmla="*/ 394965 w 1362600"/>
                <a:gd name="connsiteY76" fmla="*/ 1219468 h 2396328"/>
                <a:gd name="connsiteX77" fmla="*/ 417203 w 1362600"/>
                <a:gd name="connsiteY77" fmla="*/ 1218795 h 2396328"/>
                <a:gd name="connsiteX78" fmla="*/ 457188 w 1362600"/>
                <a:gd name="connsiteY78" fmla="*/ 1208704 h 2396328"/>
                <a:gd name="connsiteX79" fmla="*/ 492897 w 1362600"/>
                <a:gd name="connsiteY79" fmla="*/ 1192109 h 2396328"/>
                <a:gd name="connsiteX80" fmla="*/ 527537 w 1362600"/>
                <a:gd name="connsiteY80" fmla="*/ 1171254 h 2396328"/>
                <a:gd name="connsiteX81" fmla="*/ 556190 w 1362600"/>
                <a:gd name="connsiteY81" fmla="*/ 1146587 h 2396328"/>
                <a:gd name="connsiteX82" fmla="*/ 583773 w 1362600"/>
                <a:gd name="connsiteY82" fmla="*/ 1119901 h 2396328"/>
                <a:gd name="connsiteX83" fmla="*/ 609646 w 1362600"/>
                <a:gd name="connsiteY83" fmla="*/ 1091870 h 2396328"/>
                <a:gd name="connsiteX84" fmla="*/ 632739 w 1362600"/>
                <a:gd name="connsiteY84" fmla="*/ 1065184 h 2396328"/>
                <a:gd name="connsiteX85" fmla="*/ 652411 w 1362600"/>
                <a:gd name="connsiteY85" fmla="*/ 1039620 h 2396328"/>
                <a:gd name="connsiteX86" fmla="*/ 696031 w 1362600"/>
                <a:gd name="connsiteY86" fmla="*/ 981539 h 2396328"/>
                <a:gd name="connsiteX87" fmla="*/ 737941 w 1362600"/>
                <a:gd name="connsiteY87" fmla="*/ 916059 h 2396328"/>
                <a:gd name="connsiteX88" fmla="*/ 779851 w 1362600"/>
                <a:gd name="connsiteY88" fmla="*/ 844523 h 2396328"/>
                <a:gd name="connsiteX89" fmla="*/ 818981 w 1362600"/>
                <a:gd name="connsiteY89" fmla="*/ 766484 h 2396328"/>
                <a:gd name="connsiteX90" fmla="*/ 854690 w 1362600"/>
                <a:gd name="connsiteY90" fmla="*/ 684185 h 2396328"/>
                <a:gd name="connsiteX91" fmla="*/ 886764 w 1362600"/>
                <a:gd name="connsiteY91" fmla="*/ 596728 h 2396328"/>
                <a:gd name="connsiteX92" fmla="*/ 916058 w 1362600"/>
                <a:gd name="connsiteY92" fmla="*/ 505234 h 2396328"/>
                <a:gd name="connsiteX93" fmla="*/ 937440 w 1362600"/>
                <a:gd name="connsiteY93" fmla="*/ 410376 h 2396328"/>
                <a:gd name="connsiteX94" fmla="*/ 953477 w 1362600"/>
                <a:gd name="connsiteY94" fmla="*/ 313276 h 2396328"/>
                <a:gd name="connsiteX95" fmla="*/ 963313 w 1362600"/>
                <a:gd name="connsiteY95" fmla="*/ 213934 h 2396328"/>
                <a:gd name="connsiteX96" fmla="*/ 971224 w 1362600"/>
                <a:gd name="connsiteY96" fmla="*/ 218419 h 2396328"/>
                <a:gd name="connsiteX97" fmla="*/ 977639 w 1362600"/>
                <a:gd name="connsiteY97" fmla="*/ 229856 h 2396328"/>
                <a:gd name="connsiteX98" fmla="*/ 982985 w 1362600"/>
                <a:gd name="connsiteY98" fmla="*/ 246674 h 2396328"/>
                <a:gd name="connsiteX99" fmla="*/ 985551 w 1362600"/>
                <a:gd name="connsiteY99" fmla="*/ 268651 h 2396328"/>
                <a:gd name="connsiteX100" fmla="*/ 987261 w 1362600"/>
                <a:gd name="connsiteY100" fmla="*/ 293991 h 2396328"/>
                <a:gd name="connsiteX101" fmla="*/ 987261 w 1362600"/>
                <a:gd name="connsiteY101" fmla="*/ 323368 h 2396328"/>
                <a:gd name="connsiteX102" fmla="*/ 987261 w 1362600"/>
                <a:gd name="connsiteY102" fmla="*/ 354763 h 2396328"/>
                <a:gd name="connsiteX103" fmla="*/ 985551 w 1362600"/>
                <a:gd name="connsiteY103" fmla="*/ 388848 h 2396328"/>
                <a:gd name="connsiteX104" fmla="*/ 982985 w 1362600"/>
                <a:gd name="connsiteY104" fmla="*/ 423607 h 2396328"/>
                <a:gd name="connsiteX105" fmla="*/ 979350 w 1362600"/>
                <a:gd name="connsiteY105" fmla="*/ 459038 h 2396328"/>
                <a:gd name="connsiteX106" fmla="*/ 974004 w 1362600"/>
                <a:gd name="connsiteY106" fmla="*/ 494470 h 2396328"/>
                <a:gd name="connsiteX107" fmla="*/ 971224 w 1362600"/>
                <a:gd name="connsiteY107" fmla="*/ 528556 h 2396328"/>
                <a:gd name="connsiteX108" fmla="*/ 965879 w 1362600"/>
                <a:gd name="connsiteY108" fmla="*/ 559951 h 2396328"/>
                <a:gd name="connsiteX109" fmla="*/ 961602 w 1362600"/>
                <a:gd name="connsiteY109" fmla="*/ 589327 h 2396328"/>
                <a:gd name="connsiteX110" fmla="*/ 956257 w 1362600"/>
                <a:gd name="connsiteY110" fmla="*/ 614667 h 2396328"/>
                <a:gd name="connsiteX111" fmla="*/ 951766 w 1362600"/>
                <a:gd name="connsiteY111" fmla="*/ 635523 h 2396328"/>
                <a:gd name="connsiteX112" fmla="*/ 948131 w 1362600"/>
                <a:gd name="connsiteY112" fmla="*/ 652117 h 2396328"/>
                <a:gd name="connsiteX113" fmla="*/ 883984 w 1362600"/>
                <a:gd name="connsiteY113" fmla="*/ 841832 h 2396328"/>
                <a:gd name="connsiteX114" fmla="*/ 935730 w 1362600"/>
                <a:gd name="connsiteY114" fmla="*/ 838020 h 2396328"/>
                <a:gd name="connsiteX115" fmla="*/ 983840 w 1362600"/>
                <a:gd name="connsiteY115" fmla="*/ 828601 h 2396328"/>
                <a:gd name="connsiteX116" fmla="*/ 1029171 w 1362600"/>
                <a:gd name="connsiteY116" fmla="*/ 815146 h 2396328"/>
                <a:gd name="connsiteX117" fmla="*/ 1072792 w 1362600"/>
                <a:gd name="connsiteY117" fmla="*/ 797879 h 2396328"/>
                <a:gd name="connsiteX118" fmla="*/ 1112135 w 1362600"/>
                <a:gd name="connsiteY118" fmla="*/ 778369 h 2396328"/>
                <a:gd name="connsiteX119" fmla="*/ 1147630 w 1362600"/>
                <a:gd name="connsiteY119" fmla="*/ 757066 h 2396328"/>
                <a:gd name="connsiteX120" fmla="*/ 1181629 w 1362600"/>
                <a:gd name="connsiteY120" fmla="*/ 735089 h 2396328"/>
                <a:gd name="connsiteX121" fmla="*/ 1212847 w 1362600"/>
                <a:gd name="connsiteY121" fmla="*/ 714234 h 2396328"/>
                <a:gd name="connsiteX122" fmla="*/ 1215413 w 1362600"/>
                <a:gd name="connsiteY122" fmla="*/ 724325 h 2396328"/>
                <a:gd name="connsiteX123" fmla="*/ 1186974 w 1362600"/>
                <a:gd name="connsiteY123" fmla="*/ 757066 h 2396328"/>
                <a:gd name="connsiteX124" fmla="*/ 1152121 w 1362600"/>
                <a:gd name="connsiteY124" fmla="*/ 788461 h 2396328"/>
                <a:gd name="connsiteX125" fmla="*/ 1110211 w 1362600"/>
                <a:gd name="connsiteY125" fmla="*/ 816492 h 2396328"/>
                <a:gd name="connsiteX126" fmla="*/ 1063169 w 1362600"/>
                <a:gd name="connsiteY126" fmla="*/ 841832 h 2396328"/>
                <a:gd name="connsiteX127" fmla="*/ 1013134 w 1362600"/>
                <a:gd name="connsiteY127" fmla="*/ 864705 h 2396328"/>
                <a:gd name="connsiteX128" fmla="*/ 959678 w 1362600"/>
                <a:gd name="connsiteY128" fmla="*/ 884664 h 2396328"/>
                <a:gd name="connsiteX129" fmla="*/ 904511 w 1362600"/>
                <a:gd name="connsiteY129" fmla="*/ 900137 h 2396328"/>
                <a:gd name="connsiteX130" fmla="*/ 848275 w 1362600"/>
                <a:gd name="connsiteY130" fmla="*/ 911349 h 2396328"/>
                <a:gd name="connsiteX131" fmla="*/ 836728 w 1362600"/>
                <a:gd name="connsiteY131" fmla="*/ 938259 h 2396328"/>
                <a:gd name="connsiteX132" fmla="*/ 820692 w 1362600"/>
                <a:gd name="connsiteY132" fmla="*/ 969654 h 2396328"/>
                <a:gd name="connsiteX133" fmla="*/ 802944 w 1362600"/>
                <a:gd name="connsiteY133" fmla="*/ 1002395 h 2396328"/>
                <a:gd name="connsiteX134" fmla="*/ 779851 w 1362600"/>
                <a:gd name="connsiteY134" fmla="*/ 1037826 h 2396328"/>
                <a:gd name="connsiteX135" fmla="*/ 755689 w 1362600"/>
                <a:gd name="connsiteY135" fmla="*/ 1075051 h 2396328"/>
                <a:gd name="connsiteX136" fmla="*/ 729816 w 1362600"/>
                <a:gd name="connsiteY136" fmla="*/ 1111828 h 2396328"/>
                <a:gd name="connsiteX137" fmla="*/ 702232 w 1362600"/>
                <a:gd name="connsiteY137" fmla="*/ 1146587 h 2396328"/>
                <a:gd name="connsiteX138" fmla="*/ 674649 w 1362600"/>
                <a:gd name="connsiteY138" fmla="*/ 1180673 h 2396328"/>
                <a:gd name="connsiteX139" fmla="*/ 648776 w 1362600"/>
                <a:gd name="connsiteY139" fmla="*/ 1212068 h 2396328"/>
                <a:gd name="connsiteX140" fmla="*/ 621192 w 1362600"/>
                <a:gd name="connsiteY140" fmla="*/ 1240099 h 2396328"/>
                <a:gd name="connsiteX141" fmla="*/ 597030 w 1362600"/>
                <a:gd name="connsiteY141" fmla="*/ 1264990 h 2396328"/>
                <a:gd name="connsiteX142" fmla="*/ 573937 w 1362600"/>
                <a:gd name="connsiteY142" fmla="*/ 1282930 h 2396328"/>
                <a:gd name="connsiteX143" fmla="*/ 577572 w 1362600"/>
                <a:gd name="connsiteY143" fmla="*/ 1296385 h 2396328"/>
                <a:gd name="connsiteX144" fmla="*/ 583773 w 1362600"/>
                <a:gd name="connsiteY144" fmla="*/ 1299076 h 2396328"/>
                <a:gd name="connsiteX145" fmla="*/ 622903 w 1362600"/>
                <a:gd name="connsiteY145" fmla="*/ 1290331 h 2396328"/>
                <a:gd name="connsiteX146" fmla="*/ 662247 w 1362600"/>
                <a:gd name="connsiteY146" fmla="*/ 1286294 h 2396328"/>
                <a:gd name="connsiteX147" fmla="*/ 693158 w 1362600"/>
                <a:gd name="connsiteY147" fmla="*/ 1286294 h 2396328"/>
                <a:gd name="connsiteX148" fmla="*/ 732224 w 1362600"/>
                <a:gd name="connsiteY148" fmla="*/ 1400104 h 2396328"/>
                <a:gd name="connsiteX149" fmla="*/ 700522 w 1362600"/>
                <a:gd name="connsiteY149" fmla="*/ 1404474 h 2396328"/>
                <a:gd name="connsiteX150" fmla="*/ 664813 w 1362600"/>
                <a:gd name="connsiteY150" fmla="*/ 1410528 h 2396328"/>
                <a:gd name="connsiteX151" fmla="*/ 631028 w 1362600"/>
                <a:gd name="connsiteY151" fmla="*/ 1419274 h 2396328"/>
                <a:gd name="connsiteX152" fmla="*/ 603445 w 1362600"/>
                <a:gd name="connsiteY152" fmla="*/ 1427347 h 2396328"/>
                <a:gd name="connsiteX153" fmla="*/ 582062 w 1362600"/>
                <a:gd name="connsiteY153" fmla="*/ 1438559 h 2396328"/>
                <a:gd name="connsiteX154" fmla="*/ 566026 w 1362600"/>
                <a:gd name="connsiteY154" fmla="*/ 1452014 h 2396328"/>
                <a:gd name="connsiteX155" fmla="*/ 540153 w 1362600"/>
                <a:gd name="connsiteY155" fmla="*/ 1490810 h 2396328"/>
                <a:gd name="connsiteX156" fmla="*/ 522191 w 1362600"/>
                <a:gd name="connsiteY156" fmla="*/ 1532968 h 2396328"/>
                <a:gd name="connsiteX157" fmla="*/ 508079 w 1362600"/>
                <a:gd name="connsiteY157" fmla="*/ 1576921 h 2396328"/>
                <a:gd name="connsiteX158" fmla="*/ 499954 w 1362600"/>
                <a:gd name="connsiteY158" fmla="*/ 1621771 h 2396328"/>
                <a:gd name="connsiteX159" fmla="*/ 496532 w 1362600"/>
                <a:gd name="connsiteY159" fmla="*/ 1669088 h 2396328"/>
                <a:gd name="connsiteX160" fmla="*/ 494608 w 1362600"/>
                <a:gd name="connsiteY160" fmla="*/ 1716629 h 2396328"/>
                <a:gd name="connsiteX161" fmla="*/ 496532 w 1362600"/>
                <a:gd name="connsiteY161" fmla="*/ 1764169 h 2396328"/>
                <a:gd name="connsiteX162" fmla="*/ 499954 w 1362600"/>
                <a:gd name="connsiteY162" fmla="*/ 1812832 h 2396328"/>
                <a:gd name="connsiteX163" fmla="*/ 504444 w 1362600"/>
                <a:gd name="connsiteY163" fmla="*/ 1861045 h 2396328"/>
                <a:gd name="connsiteX164" fmla="*/ 509790 w 1362600"/>
                <a:gd name="connsiteY164" fmla="*/ 1908362 h 2396328"/>
                <a:gd name="connsiteX165" fmla="*/ 510645 w 1362600"/>
                <a:gd name="connsiteY165" fmla="*/ 1977879 h 2396328"/>
                <a:gd name="connsiteX166" fmla="*/ 506154 w 1362600"/>
                <a:gd name="connsiteY166" fmla="*/ 2047396 h 2396328"/>
                <a:gd name="connsiteX167" fmla="*/ 498243 w 1362600"/>
                <a:gd name="connsiteY167" fmla="*/ 2114223 h 2396328"/>
                <a:gd name="connsiteX168" fmla="*/ 488407 w 1362600"/>
                <a:gd name="connsiteY168" fmla="*/ 2179703 h 2396328"/>
                <a:gd name="connsiteX169" fmla="*/ 476433 w 1362600"/>
                <a:gd name="connsiteY169" fmla="*/ 2396328 h 2396328"/>
                <a:gd name="connsiteX170" fmla="*/ 117848 w 1362600"/>
                <a:gd name="connsiteY170" fmla="*/ 2396328 h 2396328"/>
                <a:gd name="connsiteX171" fmla="*/ 158902 w 1362600"/>
                <a:gd name="connsiteY171" fmla="*/ 2308198 h 2396328"/>
                <a:gd name="connsiteX172" fmla="*/ 209579 w 1362600"/>
                <a:gd name="connsiteY172" fmla="*/ 2208407 h 2396328"/>
                <a:gd name="connsiteX173" fmla="*/ 227326 w 1362600"/>
                <a:gd name="connsiteY173" fmla="*/ 2172303 h 2396328"/>
                <a:gd name="connsiteX174" fmla="*/ 242508 w 1362600"/>
                <a:gd name="connsiteY174" fmla="*/ 2132162 h 2396328"/>
                <a:gd name="connsiteX175" fmla="*/ 256834 w 1362600"/>
                <a:gd name="connsiteY175" fmla="*/ 2087537 h 2396328"/>
                <a:gd name="connsiteX176" fmla="*/ 270091 w 1362600"/>
                <a:gd name="connsiteY176" fmla="*/ 2039996 h 2396328"/>
                <a:gd name="connsiteX177" fmla="*/ 280783 w 1362600"/>
                <a:gd name="connsiteY177" fmla="*/ 1988643 h 2396328"/>
                <a:gd name="connsiteX178" fmla="*/ 288908 w 1362600"/>
                <a:gd name="connsiteY178" fmla="*/ 1936393 h 2396328"/>
                <a:gd name="connsiteX179" fmla="*/ 296820 w 1362600"/>
                <a:gd name="connsiteY179" fmla="*/ 1881676 h 2396328"/>
                <a:gd name="connsiteX180" fmla="*/ 302165 w 1362600"/>
                <a:gd name="connsiteY180" fmla="*/ 1826286 h 2396328"/>
                <a:gd name="connsiteX181" fmla="*/ 306656 w 1362600"/>
                <a:gd name="connsiteY181" fmla="*/ 1768654 h 2396328"/>
                <a:gd name="connsiteX182" fmla="*/ 306656 w 1362600"/>
                <a:gd name="connsiteY182" fmla="*/ 1711919 h 2396328"/>
                <a:gd name="connsiteX183" fmla="*/ 306656 w 1362600"/>
                <a:gd name="connsiteY183" fmla="*/ 1655857 h 2396328"/>
                <a:gd name="connsiteX184" fmla="*/ 302165 w 1362600"/>
                <a:gd name="connsiteY184" fmla="*/ 1599570 h 2396328"/>
                <a:gd name="connsiteX185" fmla="*/ 295964 w 1362600"/>
                <a:gd name="connsiteY185" fmla="*/ 1545526 h 2396328"/>
                <a:gd name="connsiteX186" fmla="*/ 288053 w 1362600"/>
                <a:gd name="connsiteY186" fmla="*/ 1492828 h 2396328"/>
                <a:gd name="connsiteX187" fmla="*/ 276292 w 1362600"/>
                <a:gd name="connsiteY187" fmla="*/ 1441923 h 2396328"/>
                <a:gd name="connsiteX188" fmla="*/ 260255 w 1362600"/>
                <a:gd name="connsiteY188" fmla="*/ 1394607 h 2396328"/>
                <a:gd name="connsiteX189" fmla="*/ 242508 w 1362600"/>
                <a:gd name="connsiteY189" fmla="*/ 1349757 h 2396328"/>
                <a:gd name="connsiteX190" fmla="*/ 221125 w 1362600"/>
                <a:gd name="connsiteY190" fmla="*/ 1309616 h 2396328"/>
                <a:gd name="connsiteX191" fmla="*/ 197177 w 1362600"/>
                <a:gd name="connsiteY191" fmla="*/ 1274185 h 2396328"/>
                <a:gd name="connsiteX192" fmla="*/ 169380 w 1362600"/>
                <a:gd name="connsiteY192" fmla="*/ 1242790 h 2396328"/>
                <a:gd name="connsiteX193" fmla="*/ 138375 w 1362600"/>
                <a:gd name="connsiteY193" fmla="*/ 1217450 h 2396328"/>
                <a:gd name="connsiteX194" fmla="*/ 102666 w 1362600"/>
                <a:gd name="connsiteY194" fmla="*/ 1198164 h 2396328"/>
                <a:gd name="connsiteX195" fmla="*/ 72303 w 1362600"/>
                <a:gd name="connsiteY195" fmla="*/ 1186727 h 2396328"/>
                <a:gd name="connsiteX196" fmla="*/ 38519 w 1362600"/>
                <a:gd name="connsiteY196" fmla="*/ 1182018 h 2396328"/>
                <a:gd name="connsiteX197" fmla="*/ 3665 w 1362600"/>
                <a:gd name="connsiteY197" fmla="*/ 1182018 h 2396328"/>
                <a:gd name="connsiteX198" fmla="*/ 0 w 1362600"/>
                <a:gd name="connsiteY198" fmla="*/ 1182357 h 2396328"/>
                <a:gd name="connsiteX199" fmla="*/ 0 w 1362600"/>
                <a:gd name="connsiteY199" fmla="*/ 971189 h 2396328"/>
                <a:gd name="connsiteX200" fmla="*/ 120414 w 1362600"/>
                <a:gd name="connsiteY200" fmla="*/ 1033789 h 2396328"/>
                <a:gd name="connsiteX201" fmla="*/ 128539 w 1362600"/>
                <a:gd name="connsiteY201" fmla="*/ 1029080 h 2396328"/>
                <a:gd name="connsiteX202" fmla="*/ 108012 w 1362600"/>
                <a:gd name="connsiteY202" fmla="*/ 971672 h 2396328"/>
                <a:gd name="connsiteX203" fmla="*/ 91975 w 1362600"/>
                <a:gd name="connsiteY203" fmla="*/ 910004 h 2396328"/>
                <a:gd name="connsiteX204" fmla="*/ 78504 w 1362600"/>
                <a:gd name="connsiteY204" fmla="*/ 843178 h 2396328"/>
                <a:gd name="connsiteX205" fmla="*/ 72303 w 1362600"/>
                <a:gd name="connsiteY205" fmla="*/ 775006 h 2396328"/>
                <a:gd name="connsiteX206" fmla="*/ 66957 w 1362600"/>
                <a:gd name="connsiteY206" fmla="*/ 703694 h 2396328"/>
                <a:gd name="connsiteX207" fmla="*/ 66957 w 1362600"/>
                <a:gd name="connsiteY207" fmla="*/ 630813 h 2396328"/>
                <a:gd name="connsiteX208" fmla="*/ 70592 w 1362600"/>
                <a:gd name="connsiteY208" fmla="*/ 557260 h 2396328"/>
                <a:gd name="connsiteX209" fmla="*/ 78504 w 1362600"/>
                <a:gd name="connsiteY209" fmla="*/ 484379 h 2396328"/>
                <a:gd name="connsiteX210" fmla="*/ 90264 w 1362600"/>
                <a:gd name="connsiteY210" fmla="*/ 411722 h 2396328"/>
                <a:gd name="connsiteX211" fmla="*/ 102666 w 1362600"/>
                <a:gd name="connsiteY211" fmla="*/ 341532 h 2396328"/>
                <a:gd name="connsiteX212" fmla="*/ 120414 w 1362600"/>
                <a:gd name="connsiteY212" fmla="*/ 273360 h 2396328"/>
                <a:gd name="connsiteX213" fmla="*/ 141796 w 1362600"/>
                <a:gd name="connsiteY213" fmla="*/ 209225 h 2396328"/>
                <a:gd name="connsiteX214" fmla="*/ 164034 w 1362600"/>
                <a:gd name="connsiteY214" fmla="*/ 148453 h 2396328"/>
                <a:gd name="connsiteX215" fmla="*/ 189907 w 1362600"/>
                <a:gd name="connsiteY215" fmla="*/ 93512 h 2396328"/>
                <a:gd name="connsiteX216" fmla="*/ 217490 w 1362600"/>
                <a:gd name="connsiteY216" fmla="*/ 43504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72303 w 1362600"/>
                <a:gd name="connsiteY195" fmla="*/ 1186727 h 2396328"/>
                <a:gd name="connsiteX196" fmla="*/ 38519 w 1362600"/>
                <a:gd name="connsiteY196" fmla="*/ 1182018 h 2396328"/>
                <a:gd name="connsiteX197" fmla="*/ 3665 w 1362600"/>
                <a:gd name="connsiteY197" fmla="*/ 1182018 h 2396328"/>
                <a:gd name="connsiteX198" fmla="*/ 0 w 1362600"/>
                <a:gd name="connsiteY198" fmla="*/ 1182357 h 2396328"/>
                <a:gd name="connsiteX199" fmla="*/ 0 w 1362600"/>
                <a:gd name="connsiteY199" fmla="*/ 971189 h 2396328"/>
                <a:gd name="connsiteX200" fmla="*/ 120414 w 1362600"/>
                <a:gd name="connsiteY200" fmla="*/ 1033789 h 2396328"/>
                <a:gd name="connsiteX201" fmla="*/ 128539 w 1362600"/>
                <a:gd name="connsiteY201" fmla="*/ 1029080 h 2396328"/>
                <a:gd name="connsiteX202" fmla="*/ 108012 w 1362600"/>
                <a:gd name="connsiteY202" fmla="*/ 971672 h 2396328"/>
                <a:gd name="connsiteX203" fmla="*/ 91975 w 1362600"/>
                <a:gd name="connsiteY203" fmla="*/ 910004 h 2396328"/>
                <a:gd name="connsiteX204" fmla="*/ 78504 w 1362600"/>
                <a:gd name="connsiteY204" fmla="*/ 843178 h 2396328"/>
                <a:gd name="connsiteX205" fmla="*/ 72303 w 1362600"/>
                <a:gd name="connsiteY205" fmla="*/ 775006 h 2396328"/>
                <a:gd name="connsiteX206" fmla="*/ 66957 w 1362600"/>
                <a:gd name="connsiteY206" fmla="*/ 703694 h 2396328"/>
                <a:gd name="connsiteX207" fmla="*/ 66957 w 1362600"/>
                <a:gd name="connsiteY207" fmla="*/ 630813 h 2396328"/>
                <a:gd name="connsiteX208" fmla="*/ 70592 w 1362600"/>
                <a:gd name="connsiteY208" fmla="*/ 557260 h 2396328"/>
                <a:gd name="connsiteX209" fmla="*/ 78504 w 1362600"/>
                <a:gd name="connsiteY209" fmla="*/ 484379 h 2396328"/>
                <a:gd name="connsiteX210" fmla="*/ 90264 w 1362600"/>
                <a:gd name="connsiteY210" fmla="*/ 411722 h 2396328"/>
                <a:gd name="connsiteX211" fmla="*/ 102666 w 1362600"/>
                <a:gd name="connsiteY211" fmla="*/ 341532 h 2396328"/>
                <a:gd name="connsiteX212" fmla="*/ 120414 w 1362600"/>
                <a:gd name="connsiteY212" fmla="*/ 273360 h 2396328"/>
                <a:gd name="connsiteX213" fmla="*/ 141796 w 1362600"/>
                <a:gd name="connsiteY213" fmla="*/ 209225 h 2396328"/>
                <a:gd name="connsiteX214" fmla="*/ 164034 w 1362600"/>
                <a:gd name="connsiteY214" fmla="*/ 148453 h 2396328"/>
                <a:gd name="connsiteX215" fmla="*/ 189907 w 1362600"/>
                <a:gd name="connsiteY215" fmla="*/ 93512 h 2396328"/>
                <a:gd name="connsiteX216" fmla="*/ 217490 w 1362600"/>
                <a:gd name="connsiteY216" fmla="*/ 43504 h 2396328"/>
                <a:gd name="connsiteX217" fmla="*/ 250633 w 1362600"/>
                <a:gd name="connsiteY217"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8519 w 1362600"/>
                <a:gd name="connsiteY195" fmla="*/ 1182018 h 2396328"/>
                <a:gd name="connsiteX196" fmla="*/ 3665 w 1362600"/>
                <a:gd name="connsiteY196" fmla="*/ 1182018 h 2396328"/>
                <a:gd name="connsiteX197" fmla="*/ 0 w 1362600"/>
                <a:gd name="connsiteY197" fmla="*/ 1182357 h 2396328"/>
                <a:gd name="connsiteX198" fmla="*/ 0 w 1362600"/>
                <a:gd name="connsiteY198" fmla="*/ 971189 h 2396328"/>
                <a:gd name="connsiteX199" fmla="*/ 120414 w 1362600"/>
                <a:gd name="connsiteY199" fmla="*/ 1033789 h 2396328"/>
                <a:gd name="connsiteX200" fmla="*/ 128539 w 1362600"/>
                <a:gd name="connsiteY200" fmla="*/ 1029080 h 2396328"/>
                <a:gd name="connsiteX201" fmla="*/ 108012 w 1362600"/>
                <a:gd name="connsiteY201" fmla="*/ 971672 h 2396328"/>
                <a:gd name="connsiteX202" fmla="*/ 91975 w 1362600"/>
                <a:gd name="connsiteY202" fmla="*/ 910004 h 2396328"/>
                <a:gd name="connsiteX203" fmla="*/ 78504 w 1362600"/>
                <a:gd name="connsiteY203" fmla="*/ 843178 h 2396328"/>
                <a:gd name="connsiteX204" fmla="*/ 72303 w 1362600"/>
                <a:gd name="connsiteY204" fmla="*/ 775006 h 2396328"/>
                <a:gd name="connsiteX205" fmla="*/ 66957 w 1362600"/>
                <a:gd name="connsiteY205" fmla="*/ 703694 h 2396328"/>
                <a:gd name="connsiteX206" fmla="*/ 66957 w 1362600"/>
                <a:gd name="connsiteY206" fmla="*/ 630813 h 2396328"/>
                <a:gd name="connsiteX207" fmla="*/ 70592 w 1362600"/>
                <a:gd name="connsiteY207" fmla="*/ 557260 h 2396328"/>
                <a:gd name="connsiteX208" fmla="*/ 78504 w 1362600"/>
                <a:gd name="connsiteY208" fmla="*/ 484379 h 2396328"/>
                <a:gd name="connsiteX209" fmla="*/ 90264 w 1362600"/>
                <a:gd name="connsiteY209" fmla="*/ 411722 h 2396328"/>
                <a:gd name="connsiteX210" fmla="*/ 102666 w 1362600"/>
                <a:gd name="connsiteY210" fmla="*/ 341532 h 2396328"/>
                <a:gd name="connsiteX211" fmla="*/ 120414 w 1362600"/>
                <a:gd name="connsiteY211" fmla="*/ 273360 h 2396328"/>
                <a:gd name="connsiteX212" fmla="*/ 141796 w 1362600"/>
                <a:gd name="connsiteY212" fmla="*/ 209225 h 2396328"/>
                <a:gd name="connsiteX213" fmla="*/ 164034 w 1362600"/>
                <a:gd name="connsiteY213" fmla="*/ 148453 h 2396328"/>
                <a:gd name="connsiteX214" fmla="*/ 189907 w 1362600"/>
                <a:gd name="connsiteY214" fmla="*/ 93512 h 2396328"/>
                <a:gd name="connsiteX215" fmla="*/ 217490 w 1362600"/>
                <a:gd name="connsiteY215" fmla="*/ 43504 h 2396328"/>
                <a:gd name="connsiteX216" fmla="*/ 250633 w 1362600"/>
                <a:gd name="connsiteY216"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665 w 1362600"/>
                <a:gd name="connsiteY195" fmla="*/ 1182018 h 2396328"/>
                <a:gd name="connsiteX196" fmla="*/ 0 w 1362600"/>
                <a:gd name="connsiteY196" fmla="*/ 1182357 h 2396328"/>
                <a:gd name="connsiteX197" fmla="*/ 0 w 1362600"/>
                <a:gd name="connsiteY197" fmla="*/ 971189 h 2396328"/>
                <a:gd name="connsiteX198" fmla="*/ 120414 w 1362600"/>
                <a:gd name="connsiteY198" fmla="*/ 1033789 h 2396328"/>
                <a:gd name="connsiteX199" fmla="*/ 128539 w 1362600"/>
                <a:gd name="connsiteY199" fmla="*/ 1029080 h 2396328"/>
                <a:gd name="connsiteX200" fmla="*/ 108012 w 1362600"/>
                <a:gd name="connsiteY200" fmla="*/ 971672 h 2396328"/>
                <a:gd name="connsiteX201" fmla="*/ 91975 w 1362600"/>
                <a:gd name="connsiteY201" fmla="*/ 910004 h 2396328"/>
                <a:gd name="connsiteX202" fmla="*/ 78504 w 1362600"/>
                <a:gd name="connsiteY202" fmla="*/ 843178 h 2396328"/>
                <a:gd name="connsiteX203" fmla="*/ 72303 w 1362600"/>
                <a:gd name="connsiteY203" fmla="*/ 775006 h 2396328"/>
                <a:gd name="connsiteX204" fmla="*/ 66957 w 1362600"/>
                <a:gd name="connsiteY204" fmla="*/ 703694 h 2396328"/>
                <a:gd name="connsiteX205" fmla="*/ 66957 w 1362600"/>
                <a:gd name="connsiteY205" fmla="*/ 630813 h 2396328"/>
                <a:gd name="connsiteX206" fmla="*/ 70592 w 1362600"/>
                <a:gd name="connsiteY206" fmla="*/ 557260 h 2396328"/>
                <a:gd name="connsiteX207" fmla="*/ 78504 w 1362600"/>
                <a:gd name="connsiteY207" fmla="*/ 484379 h 2396328"/>
                <a:gd name="connsiteX208" fmla="*/ 90264 w 1362600"/>
                <a:gd name="connsiteY208" fmla="*/ 411722 h 2396328"/>
                <a:gd name="connsiteX209" fmla="*/ 102666 w 1362600"/>
                <a:gd name="connsiteY209" fmla="*/ 341532 h 2396328"/>
                <a:gd name="connsiteX210" fmla="*/ 120414 w 1362600"/>
                <a:gd name="connsiteY210" fmla="*/ 273360 h 2396328"/>
                <a:gd name="connsiteX211" fmla="*/ 141796 w 1362600"/>
                <a:gd name="connsiteY211" fmla="*/ 209225 h 2396328"/>
                <a:gd name="connsiteX212" fmla="*/ 164034 w 1362600"/>
                <a:gd name="connsiteY212" fmla="*/ 148453 h 2396328"/>
                <a:gd name="connsiteX213" fmla="*/ 189907 w 1362600"/>
                <a:gd name="connsiteY213" fmla="*/ 93512 h 2396328"/>
                <a:gd name="connsiteX214" fmla="*/ 217490 w 1362600"/>
                <a:gd name="connsiteY214" fmla="*/ 43504 h 2396328"/>
                <a:gd name="connsiteX215" fmla="*/ 250633 w 1362600"/>
                <a:gd name="connsiteY215"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3665 w 1362600"/>
                <a:gd name="connsiteY195" fmla="*/ 1182018 h 2396328"/>
                <a:gd name="connsiteX196" fmla="*/ 0 w 1362600"/>
                <a:gd name="connsiteY196" fmla="*/ 971189 h 2396328"/>
                <a:gd name="connsiteX197" fmla="*/ 120414 w 1362600"/>
                <a:gd name="connsiteY197" fmla="*/ 1033789 h 2396328"/>
                <a:gd name="connsiteX198" fmla="*/ 128539 w 1362600"/>
                <a:gd name="connsiteY198" fmla="*/ 1029080 h 2396328"/>
                <a:gd name="connsiteX199" fmla="*/ 108012 w 1362600"/>
                <a:gd name="connsiteY199" fmla="*/ 971672 h 2396328"/>
                <a:gd name="connsiteX200" fmla="*/ 91975 w 1362600"/>
                <a:gd name="connsiteY200" fmla="*/ 910004 h 2396328"/>
                <a:gd name="connsiteX201" fmla="*/ 78504 w 1362600"/>
                <a:gd name="connsiteY201" fmla="*/ 843178 h 2396328"/>
                <a:gd name="connsiteX202" fmla="*/ 72303 w 1362600"/>
                <a:gd name="connsiteY202" fmla="*/ 775006 h 2396328"/>
                <a:gd name="connsiteX203" fmla="*/ 66957 w 1362600"/>
                <a:gd name="connsiteY203" fmla="*/ 703694 h 2396328"/>
                <a:gd name="connsiteX204" fmla="*/ 66957 w 1362600"/>
                <a:gd name="connsiteY204" fmla="*/ 630813 h 2396328"/>
                <a:gd name="connsiteX205" fmla="*/ 70592 w 1362600"/>
                <a:gd name="connsiteY205" fmla="*/ 557260 h 2396328"/>
                <a:gd name="connsiteX206" fmla="*/ 78504 w 1362600"/>
                <a:gd name="connsiteY206" fmla="*/ 484379 h 2396328"/>
                <a:gd name="connsiteX207" fmla="*/ 90264 w 1362600"/>
                <a:gd name="connsiteY207" fmla="*/ 411722 h 2396328"/>
                <a:gd name="connsiteX208" fmla="*/ 102666 w 1362600"/>
                <a:gd name="connsiteY208" fmla="*/ 341532 h 2396328"/>
                <a:gd name="connsiteX209" fmla="*/ 120414 w 1362600"/>
                <a:gd name="connsiteY209" fmla="*/ 273360 h 2396328"/>
                <a:gd name="connsiteX210" fmla="*/ 141796 w 1362600"/>
                <a:gd name="connsiteY210" fmla="*/ 209225 h 2396328"/>
                <a:gd name="connsiteX211" fmla="*/ 164034 w 1362600"/>
                <a:gd name="connsiteY211" fmla="*/ 148453 h 2396328"/>
                <a:gd name="connsiteX212" fmla="*/ 189907 w 1362600"/>
                <a:gd name="connsiteY212" fmla="*/ 93512 h 2396328"/>
                <a:gd name="connsiteX213" fmla="*/ 217490 w 1362600"/>
                <a:gd name="connsiteY213" fmla="*/ 43504 h 2396328"/>
                <a:gd name="connsiteX214" fmla="*/ 250633 w 1362600"/>
                <a:gd name="connsiteY214" fmla="*/ 0 h 2396328"/>
                <a:gd name="connsiteX0" fmla="*/ 1361456 w 1362600"/>
                <a:gd name="connsiteY0" fmla="*/ 1033789 h 2396328"/>
                <a:gd name="connsiteX1" fmla="*/ 1362600 w 1362600"/>
                <a:gd name="connsiteY1" fmla="*/ 1034469 h 2396328"/>
                <a:gd name="connsiteX2" fmla="*/ 1360043 w 1362600"/>
                <a:gd name="connsiteY2" fmla="*/ 1035347 h 2396328"/>
                <a:gd name="connsiteX3" fmla="*/ 1361456 w 1362600"/>
                <a:gd name="connsiteY3" fmla="*/ 1033789 h 2396328"/>
                <a:gd name="connsiteX4" fmla="*/ 250633 w 1362600"/>
                <a:gd name="connsiteY4" fmla="*/ 0 h 2396328"/>
                <a:gd name="connsiteX5" fmla="*/ 246998 w 1362600"/>
                <a:gd name="connsiteY5" fmla="*/ 10764 h 2396328"/>
                <a:gd name="connsiteX6" fmla="*/ 245288 w 1362600"/>
                <a:gd name="connsiteY6" fmla="*/ 17940 h 2396328"/>
                <a:gd name="connsiteX7" fmla="*/ 243363 w 1362600"/>
                <a:gd name="connsiteY7" fmla="*/ 22649 h 2396328"/>
                <a:gd name="connsiteX8" fmla="*/ 243363 w 1362600"/>
                <a:gd name="connsiteY8" fmla="*/ 25340 h 2396328"/>
                <a:gd name="connsiteX9" fmla="*/ 245288 w 1362600"/>
                <a:gd name="connsiteY9" fmla="*/ 26686 h 2396328"/>
                <a:gd name="connsiteX10" fmla="*/ 245288 w 1362600"/>
                <a:gd name="connsiteY10" fmla="*/ 28031 h 2396328"/>
                <a:gd name="connsiteX11" fmla="*/ 246998 w 1362600"/>
                <a:gd name="connsiteY11" fmla="*/ 28031 h 2396328"/>
                <a:gd name="connsiteX12" fmla="*/ 246998 w 1362600"/>
                <a:gd name="connsiteY12" fmla="*/ 30050 h 2396328"/>
                <a:gd name="connsiteX13" fmla="*/ 245288 w 1362600"/>
                <a:gd name="connsiteY13" fmla="*/ 34086 h 2396328"/>
                <a:gd name="connsiteX14" fmla="*/ 243363 w 1362600"/>
                <a:gd name="connsiteY14" fmla="*/ 40141 h 2396328"/>
                <a:gd name="connsiteX15" fmla="*/ 240797 w 1362600"/>
                <a:gd name="connsiteY15" fmla="*/ 49559 h 2396328"/>
                <a:gd name="connsiteX16" fmla="*/ 235452 w 1362600"/>
                <a:gd name="connsiteY16" fmla="*/ 62790 h 2396328"/>
                <a:gd name="connsiteX17" fmla="*/ 227326 w 1362600"/>
                <a:gd name="connsiteY17" fmla="*/ 81627 h 2396328"/>
                <a:gd name="connsiteX18" fmla="*/ 219415 w 1362600"/>
                <a:gd name="connsiteY18" fmla="*/ 104276 h 2396328"/>
                <a:gd name="connsiteX19" fmla="*/ 206799 w 1362600"/>
                <a:gd name="connsiteY19" fmla="*/ 133653 h 2396328"/>
                <a:gd name="connsiteX20" fmla="*/ 191831 w 1362600"/>
                <a:gd name="connsiteY20" fmla="*/ 169084 h 2396328"/>
                <a:gd name="connsiteX21" fmla="*/ 173870 w 1362600"/>
                <a:gd name="connsiteY21" fmla="*/ 224474 h 2396328"/>
                <a:gd name="connsiteX22" fmla="*/ 161468 w 1362600"/>
                <a:gd name="connsiteY22" fmla="*/ 283900 h 2396328"/>
                <a:gd name="connsiteX23" fmla="*/ 151632 w 1362600"/>
                <a:gd name="connsiteY23" fmla="*/ 344896 h 2396328"/>
                <a:gd name="connsiteX24" fmla="*/ 138375 w 1362600"/>
                <a:gd name="connsiteY24" fmla="*/ 409704 h 2396328"/>
                <a:gd name="connsiteX25" fmla="*/ 136451 w 1362600"/>
                <a:gd name="connsiteY25" fmla="*/ 423607 h 2396328"/>
                <a:gd name="connsiteX26" fmla="*/ 133885 w 1362600"/>
                <a:gd name="connsiteY26" fmla="*/ 444462 h 2396328"/>
                <a:gd name="connsiteX27" fmla="*/ 131960 w 1362600"/>
                <a:gd name="connsiteY27" fmla="*/ 466439 h 2396328"/>
                <a:gd name="connsiteX28" fmla="*/ 130250 w 1362600"/>
                <a:gd name="connsiteY28" fmla="*/ 490433 h 2396328"/>
                <a:gd name="connsiteX29" fmla="*/ 130250 w 1362600"/>
                <a:gd name="connsiteY29" fmla="*/ 515101 h 2396328"/>
                <a:gd name="connsiteX30" fmla="*/ 133885 w 1362600"/>
                <a:gd name="connsiteY30" fmla="*/ 537301 h 2396328"/>
                <a:gd name="connsiteX31" fmla="*/ 138375 w 1362600"/>
                <a:gd name="connsiteY31" fmla="*/ 556587 h 2396328"/>
                <a:gd name="connsiteX32" fmla="*/ 146286 w 1362600"/>
                <a:gd name="connsiteY32" fmla="*/ 570042 h 2396328"/>
                <a:gd name="connsiteX33" fmla="*/ 189052 w 1362600"/>
                <a:gd name="connsiteY33" fmla="*/ 567351 h 2396328"/>
                <a:gd name="connsiteX34" fmla="*/ 230961 w 1362600"/>
                <a:gd name="connsiteY34" fmla="*/ 556587 h 2396328"/>
                <a:gd name="connsiteX35" fmla="*/ 270947 w 1362600"/>
                <a:gd name="connsiteY35" fmla="*/ 539320 h 2396328"/>
                <a:gd name="connsiteX36" fmla="*/ 312001 w 1362600"/>
                <a:gd name="connsiteY36" fmla="*/ 515101 h 2396328"/>
                <a:gd name="connsiteX37" fmla="*/ 349420 w 1362600"/>
                <a:gd name="connsiteY37" fmla="*/ 487070 h 2396328"/>
                <a:gd name="connsiteX38" fmla="*/ 385985 w 1362600"/>
                <a:gd name="connsiteY38" fmla="*/ 452984 h 2396328"/>
                <a:gd name="connsiteX39" fmla="*/ 420624 w 1362600"/>
                <a:gd name="connsiteY39" fmla="*/ 416880 h 2396328"/>
                <a:gd name="connsiteX40" fmla="*/ 452698 w 1362600"/>
                <a:gd name="connsiteY40" fmla="*/ 378981 h 2396328"/>
                <a:gd name="connsiteX41" fmla="*/ 483917 w 1362600"/>
                <a:gd name="connsiteY41" fmla="*/ 338841 h 2396328"/>
                <a:gd name="connsiteX42" fmla="*/ 510645 w 1362600"/>
                <a:gd name="connsiteY42" fmla="*/ 297355 h 2396328"/>
                <a:gd name="connsiteX43" fmla="*/ 535662 w 1362600"/>
                <a:gd name="connsiteY43" fmla="*/ 257214 h 2396328"/>
                <a:gd name="connsiteX44" fmla="*/ 556190 w 1362600"/>
                <a:gd name="connsiteY44" fmla="*/ 218419 h 2396328"/>
                <a:gd name="connsiteX45" fmla="*/ 566026 w 1362600"/>
                <a:gd name="connsiteY45" fmla="*/ 218419 h 2396328"/>
                <a:gd name="connsiteX46" fmla="*/ 566026 w 1362600"/>
                <a:gd name="connsiteY46" fmla="*/ 222455 h 2396328"/>
                <a:gd name="connsiteX47" fmla="*/ 549989 w 1362600"/>
                <a:gd name="connsiteY47" fmla="*/ 261251 h 2396328"/>
                <a:gd name="connsiteX48" fmla="*/ 532027 w 1362600"/>
                <a:gd name="connsiteY48" fmla="*/ 301391 h 2396328"/>
                <a:gd name="connsiteX49" fmla="*/ 512569 w 1362600"/>
                <a:gd name="connsiteY49" fmla="*/ 340186 h 2396328"/>
                <a:gd name="connsiteX50" fmla="*/ 492897 w 1362600"/>
                <a:gd name="connsiteY50" fmla="*/ 377636 h 2396328"/>
                <a:gd name="connsiteX51" fmla="*/ 472370 w 1362600"/>
                <a:gd name="connsiteY51" fmla="*/ 414189 h 2396328"/>
                <a:gd name="connsiteX52" fmla="*/ 449277 w 1362600"/>
                <a:gd name="connsiteY52" fmla="*/ 448274 h 2396328"/>
                <a:gd name="connsiteX53" fmla="*/ 425115 w 1362600"/>
                <a:gd name="connsiteY53" fmla="*/ 481015 h 2396328"/>
                <a:gd name="connsiteX54" fmla="*/ 395821 w 1362600"/>
                <a:gd name="connsiteY54" fmla="*/ 511064 h 2396328"/>
                <a:gd name="connsiteX55" fmla="*/ 365458 w 1362600"/>
                <a:gd name="connsiteY55" fmla="*/ 540665 h 2396328"/>
                <a:gd name="connsiteX56" fmla="*/ 329749 w 1362600"/>
                <a:gd name="connsiteY56" fmla="*/ 564660 h 2396328"/>
                <a:gd name="connsiteX57" fmla="*/ 288908 w 1362600"/>
                <a:gd name="connsiteY57" fmla="*/ 586636 h 2396328"/>
                <a:gd name="connsiteX58" fmla="*/ 243363 w 1362600"/>
                <a:gd name="connsiteY58" fmla="*/ 606146 h 2396328"/>
                <a:gd name="connsiteX59" fmla="*/ 195252 w 1362600"/>
                <a:gd name="connsiteY59" fmla="*/ 620722 h 2396328"/>
                <a:gd name="connsiteX60" fmla="*/ 138375 w 1362600"/>
                <a:gd name="connsiteY60" fmla="*/ 630813 h 2396328"/>
                <a:gd name="connsiteX61" fmla="*/ 140086 w 1362600"/>
                <a:gd name="connsiteY61" fmla="*/ 701003 h 2396328"/>
                <a:gd name="connsiteX62" fmla="*/ 147997 w 1362600"/>
                <a:gd name="connsiteY62" fmla="*/ 767830 h 2396328"/>
                <a:gd name="connsiteX63" fmla="*/ 161468 w 1362600"/>
                <a:gd name="connsiteY63" fmla="*/ 831292 h 2396328"/>
                <a:gd name="connsiteX64" fmla="*/ 179216 w 1362600"/>
                <a:gd name="connsiteY64" fmla="*/ 891391 h 2396328"/>
                <a:gd name="connsiteX65" fmla="*/ 201453 w 1362600"/>
                <a:gd name="connsiteY65" fmla="*/ 948799 h 2396328"/>
                <a:gd name="connsiteX66" fmla="*/ 225616 w 1362600"/>
                <a:gd name="connsiteY66" fmla="*/ 1003740 h 2396328"/>
                <a:gd name="connsiteX67" fmla="*/ 253199 w 1362600"/>
                <a:gd name="connsiteY67" fmla="*/ 1055766 h 2396328"/>
                <a:gd name="connsiteX68" fmla="*/ 280783 w 1362600"/>
                <a:gd name="connsiteY68" fmla="*/ 1106446 h 2396328"/>
                <a:gd name="connsiteX69" fmla="*/ 288908 w 1362600"/>
                <a:gd name="connsiteY69" fmla="*/ 1118556 h 2396328"/>
                <a:gd name="connsiteX70" fmla="*/ 295964 w 1362600"/>
                <a:gd name="connsiteY70" fmla="*/ 1133356 h 2396328"/>
                <a:gd name="connsiteX71" fmla="*/ 305800 w 1362600"/>
                <a:gd name="connsiteY71" fmla="*/ 1149278 h 2396328"/>
                <a:gd name="connsiteX72" fmla="*/ 314781 w 1362600"/>
                <a:gd name="connsiteY72" fmla="*/ 1166097 h 2396328"/>
                <a:gd name="connsiteX73" fmla="*/ 326327 w 1362600"/>
                <a:gd name="connsiteY73" fmla="*/ 1182018 h 2396328"/>
                <a:gd name="connsiteX74" fmla="*/ 339585 w 1362600"/>
                <a:gd name="connsiteY74" fmla="*/ 1195473 h 2396328"/>
                <a:gd name="connsiteX75" fmla="*/ 355622 w 1362600"/>
                <a:gd name="connsiteY75" fmla="*/ 1207358 h 2396328"/>
                <a:gd name="connsiteX76" fmla="*/ 373583 w 1362600"/>
                <a:gd name="connsiteY76" fmla="*/ 1216104 h 2396328"/>
                <a:gd name="connsiteX77" fmla="*/ 394965 w 1362600"/>
                <a:gd name="connsiteY77" fmla="*/ 1219468 h 2396328"/>
                <a:gd name="connsiteX78" fmla="*/ 417203 w 1362600"/>
                <a:gd name="connsiteY78" fmla="*/ 1218795 h 2396328"/>
                <a:gd name="connsiteX79" fmla="*/ 457188 w 1362600"/>
                <a:gd name="connsiteY79" fmla="*/ 1208704 h 2396328"/>
                <a:gd name="connsiteX80" fmla="*/ 492897 w 1362600"/>
                <a:gd name="connsiteY80" fmla="*/ 1192109 h 2396328"/>
                <a:gd name="connsiteX81" fmla="*/ 527537 w 1362600"/>
                <a:gd name="connsiteY81" fmla="*/ 1171254 h 2396328"/>
                <a:gd name="connsiteX82" fmla="*/ 556190 w 1362600"/>
                <a:gd name="connsiteY82" fmla="*/ 1146587 h 2396328"/>
                <a:gd name="connsiteX83" fmla="*/ 583773 w 1362600"/>
                <a:gd name="connsiteY83" fmla="*/ 1119901 h 2396328"/>
                <a:gd name="connsiteX84" fmla="*/ 609646 w 1362600"/>
                <a:gd name="connsiteY84" fmla="*/ 1091870 h 2396328"/>
                <a:gd name="connsiteX85" fmla="*/ 632739 w 1362600"/>
                <a:gd name="connsiteY85" fmla="*/ 1065184 h 2396328"/>
                <a:gd name="connsiteX86" fmla="*/ 652411 w 1362600"/>
                <a:gd name="connsiteY86" fmla="*/ 1039620 h 2396328"/>
                <a:gd name="connsiteX87" fmla="*/ 696031 w 1362600"/>
                <a:gd name="connsiteY87" fmla="*/ 981539 h 2396328"/>
                <a:gd name="connsiteX88" fmla="*/ 737941 w 1362600"/>
                <a:gd name="connsiteY88" fmla="*/ 916059 h 2396328"/>
                <a:gd name="connsiteX89" fmla="*/ 779851 w 1362600"/>
                <a:gd name="connsiteY89" fmla="*/ 844523 h 2396328"/>
                <a:gd name="connsiteX90" fmla="*/ 818981 w 1362600"/>
                <a:gd name="connsiteY90" fmla="*/ 766484 h 2396328"/>
                <a:gd name="connsiteX91" fmla="*/ 854690 w 1362600"/>
                <a:gd name="connsiteY91" fmla="*/ 684185 h 2396328"/>
                <a:gd name="connsiteX92" fmla="*/ 886764 w 1362600"/>
                <a:gd name="connsiteY92" fmla="*/ 596728 h 2396328"/>
                <a:gd name="connsiteX93" fmla="*/ 916058 w 1362600"/>
                <a:gd name="connsiteY93" fmla="*/ 505234 h 2396328"/>
                <a:gd name="connsiteX94" fmla="*/ 937440 w 1362600"/>
                <a:gd name="connsiteY94" fmla="*/ 410376 h 2396328"/>
                <a:gd name="connsiteX95" fmla="*/ 953477 w 1362600"/>
                <a:gd name="connsiteY95" fmla="*/ 313276 h 2396328"/>
                <a:gd name="connsiteX96" fmla="*/ 963313 w 1362600"/>
                <a:gd name="connsiteY96" fmla="*/ 213934 h 2396328"/>
                <a:gd name="connsiteX97" fmla="*/ 971224 w 1362600"/>
                <a:gd name="connsiteY97" fmla="*/ 218419 h 2396328"/>
                <a:gd name="connsiteX98" fmla="*/ 977639 w 1362600"/>
                <a:gd name="connsiteY98" fmla="*/ 229856 h 2396328"/>
                <a:gd name="connsiteX99" fmla="*/ 982985 w 1362600"/>
                <a:gd name="connsiteY99" fmla="*/ 246674 h 2396328"/>
                <a:gd name="connsiteX100" fmla="*/ 985551 w 1362600"/>
                <a:gd name="connsiteY100" fmla="*/ 268651 h 2396328"/>
                <a:gd name="connsiteX101" fmla="*/ 987261 w 1362600"/>
                <a:gd name="connsiteY101" fmla="*/ 293991 h 2396328"/>
                <a:gd name="connsiteX102" fmla="*/ 987261 w 1362600"/>
                <a:gd name="connsiteY102" fmla="*/ 323368 h 2396328"/>
                <a:gd name="connsiteX103" fmla="*/ 987261 w 1362600"/>
                <a:gd name="connsiteY103" fmla="*/ 354763 h 2396328"/>
                <a:gd name="connsiteX104" fmla="*/ 985551 w 1362600"/>
                <a:gd name="connsiteY104" fmla="*/ 388848 h 2396328"/>
                <a:gd name="connsiteX105" fmla="*/ 982985 w 1362600"/>
                <a:gd name="connsiteY105" fmla="*/ 423607 h 2396328"/>
                <a:gd name="connsiteX106" fmla="*/ 979350 w 1362600"/>
                <a:gd name="connsiteY106" fmla="*/ 459038 h 2396328"/>
                <a:gd name="connsiteX107" fmla="*/ 974004 w 1362600"/>
                <a:gd name="connsiteY107" fmla="*/ 494470 h 2396328"/>
                <a:gd name="connsiteX108" fmla="*/ 971224 w 1362600"/>
                <a:gd name="connsiteY108" fmla="*/ 528556 h 2396328"/>
                <a:gd name="connsiteX109" fmla="*/ 965879 w 1362600"/>
                <a:gd name="connsiteY109" fmla="*/ 559951 h 2396328"/>
                <a:gd name="connsiteX110" fmla="*/ 961602 w 1362600"/>
                <a:gd name="connsiteY110" fmla="*/ 589327 h 2396328"/>
                <a:gd name="connsiteX111" fmla="*/ 956257 w 1362600"/>
                <a:gd name="connsiteY111" fmla="*/ 614667 h 2396328"/>
                <a:gd name="connsiteX112" fmla="*/ 951766 w 1362600"/>
                <a:gd name="connsiteY112" fmla="*/ 635523 h 2396328"/>
                <a:gd name="connsiteX113" fmla="*/ 948131 w 1362600"/>
                <a:gd name="connsiteY113" fmla="*/ 652117 h 2396328"/>
                <a:gd name="connsiteX114" fmla="*/ 883984 w 1362600"/>
                <a:gd name="connsiteY114" fmla="*/ 841832 h 2396328"/>
                <a:gd name="connsiteX115" fmla="*/ 935730 w 1362600"/>
                <a:gd name="connsiteY115" fmla="*/ 838020 h 2396328"/>
                <a:gd name="connsiteX116" fmla="*/ 983840 w 1362600"/>
                <a:gd name="connsiteY116" fmla="*/ 828601 h 2396328"/>
                <a:gd name="connsiteX117" fmla="*/ 1029171 w 1362600"/>
                <a:gd name="connsiteY117" fmla="*/ 815146 h 2396328"/>
                <a:gd name="connsiteX118" fmla="*/ 1072792 w 1362600"/>
                <a:gd name="connsiteY118" fmla="*/ 797879 h 2396328"/>
                <a:gd name="connsiteX119" fmla="*/ 1112135 w 1362600"/>
                <a:gd name="connsiteY119" fmla="*/ 778369 h 2396328"/>
                <a:gd name="connsiteX120" fmla="*/ 1147630 w 1362600"/>
                <a:gd name="connsiteY120" fmla="*/ 757066 h 2396328"/>
                <a:gd name="connsiteX121" fmla="*/ 1181629 w 1362600"/>
                <a:gd name="connsiteY121" fmla="*/ 735089 h 2396328"/>
                <a:gd name="connsiteX122" fmla="*/ 1212847 w 1362600"/>
                <a:gd name="connsiteY122" fmla="*/ 714234 h 2396328"/>
                <a:gd name="connsiteX123" fmla="*/ 1215413 w 1362600"/>
                <a:gd name="connsiteY123" fmla="*/ 724325 h 2396328"/>
                <a:gd name="connsiteX124" fmla="*/ 1186974 w 1362600"/>
                <a:gd name="connsiteY124" fmla="*/ 757066 h 2396328"/>
                <a:gd name="connsiteX125" fmla="*/ 1152121 w 1362600"/>
                <a:gd name="connsiteY125" fmla="*/ 788461 h 2396328"/>
                <a:gd name="connsiteX126" fmla="*/ 1110211 w 1362600"/>
                <a:gd name="connsiteY126" fmla="*/ 816492 h 2396328"/>
                <a:gd name="connsiteX127" fmla="*/ 1063169 w 1362600"/>
                <a:gd name="connsiteY127" fmla="*/ 841832 h 2396328"/>
                <a:gd name="connsiteX128" fmla="*/ 1013134 w 1362600"/>
                <a:gd name="connsiteY128" fmla="*/ 864705 h 2396328"/>
                <a:gd name="connsiteX129" fmla="*/ 959678 w 1362600"/>
                <a:gd name="connsiteY129" fmla="*/ 884664 h 2396328"/>
                <a:gd name="connsiteX130" fmla="*/ 904511 w 1362600"/>
                <a:gd name="connsiteY130" fmla="*/ 900137 h 2396328"/>
                <a:gd name="connsiteX131" fmla="*/ 848275 w 1362600"/>
                <a:gd name="connsiteY131" fmla="*/ 911349 h 2396328"/>
                <a:gd name="connsiteX132" fmla="*/ 836728 w 1362600"/>
                <a:gd name="connsiteY132" fmla="*/ 938259 h 2396328"/>
                <a:gd name="connsiteX133" fmla="*/ 820692 w 1362600"/>
                <a:gd name="connsiteY133" fmla="*/ 969654 h 2396328"/>
                <a:gd name="connsiteX134" fmla="*/ 802944 w 1362600"/>
                <a:gd name="connsiteY134" fmla="*/ 1002395 h 2396328"/>
                <a:gd name="connsiteX135" fmla="*/ 779851 w 1362600"/>
                <a:gd name="connsiteY135" fmla="*/ 1037826 h 2396328"/>
                <a:gd name="connsiteX136" fmla="*/ 755689 w 1362600"/>
                <a:gd name="connsiteY136" fmla="*/ 1075051 h 2396328"/>
                <a:gd name="connsiteX137" fmla="*/ 729816 w 1362600"/>
                <a:gd name="connsiteY137" fmla="*/ 1111828 h 2396328"/>
                <a:gd name="connsiteX138" fmla="*/ 702232 w 1362600"/>
                <a:gd name="connsiteY138" fmla="*/ 1146587 h 2396328"/>
                <a:gd name="connsiteX139" fmla="*/ 674649 w 1362600"/>
                <a:gd name="connsiteY139" fmla="*/ 1180673 h 2396328"/>
                <a:gd name="connsiteX140" fmla="*/ 648776 w 1362600"/>
                <a:gd name="connsiteY140" fmla="*/ 1212068 h 2396328"/>
                <a:gd name="connsiteX141" fmla="*/ 621192 w 1362600"/>
                <a:gd name="connsiteY141" fmla="*/ 1240099 h 2396328"/>
                <a:gd name="connsiteX142" fmla="*/ 597030 w 1362600"/>
                <a:gd name="connsiteY142" fmla="*/ 1264990 h 2396328"/>
                <a:gd name="connsiteX143" fmla="*/ 573937 w 1362600"/>
                <a:gd name="connsiteY143" fmla="*/ 1282930 h 2396328"/>
                <a:gd name="connsiteX144" fmla="*/ 577572 w 1362600"/>
                <a:gd name="connsiteY144" fmla="*/ 1296385 h 2396328"/>
                <a:gd name="connsiteX145" fmla="*/ 583773 w 1362600"/>
                <a:gd name="connsiteY145" fmla="*/ 1299076 h 2396328"/>
                <a:gd name="connsiteX146" fmla="*/ 622903 w 1362600"/>
                <a:gd name="connsiteY146" fmla="*/ 1290331 h 2396328"/>
                <a:gd name="connsiteX147" fmla="*/ 662247 w 1362600"/>
                <a:gd name="connsiteY147" fmla="*/ 1286294 h 2396328"/>
                <a:gd name="connsiteX148" fmla="*/ 693158 w 1362600"/>
                <a:gd name="connsiteY148" fmla="*/ 1286294 h 2396328"/>
                <a:gd name="connsiteX149" fmla="*/ 732224 w 1362600"/>
                <a:gd name="connsiteY149" fmla="*/ 1400104 h 2396328"/>
                <a:gd name="connsiteX150" fmla="*/ 700522 w 1362600"/>
                <a:gd name="connsiteY150" fmla="*/ 1404474 h 2396328"/>
                <a:gd name="connsiteX151" fmla="*/ 664813 w 1362600"/>
                <a:gd name="connsiteY151" fmla="*/ 1410528 h 2396328"/>
                <a:gd name="connsiteX152" fmla="*/ 631028 w 1362600"/>
                <a:gd name="connsiteY152" fmla="*/ 1419274 h 2396328"/>
                <a:gd name="connsiteX153" fmla="*/ 603445 w 1362600"/>
                <a:gd name="connsiteY153" fmla="*/ 1427347 h 2396328"/>
                <a:gd name="connsiteX154" fmla="*/ 582062 w 1362600"/>
                <a:gd name="connsiteY154" fmla="*/ 1438559 h 2396328"/>
                <a:gd name="connsiteX155" fmla="*/ 566026 w 1362600"/>
                <a:gd name="connsiteY155" fmla="*/ 1452014 h 2396328"/>
                <a:gd name="connsiteX156" fmla="*/ 540153 w 1362600"/>
                <a:gd name="connsiteY156" fmla="*/ 1490810 h 2396328"/>
                <a:gd name="connsiteX157" fmla="*/ 522191 w 1362600"/>
                <a:gd name="connsiteY157" fmla="*/ 1532968 h 2396328"/>
                <a:gd name="connsiteX158" fmla="*/ 508079 w 1362600"/>
                <a:gd name="connsiteY158" fmla="*/ 1576921 h 2396328"/>
                <a:gd name="connsiteX159" fmla="*/ 499954 w 1362600"/>
                <a:gd name="connsiteY159" fmla="*/ 1621771 h 2396328"/>
                <a:gd name="connsiteX160" fmla="*/ 496532 w 1362600"/>
                <a:gd name="connsiteY160" fmla="*/ 1669088 h 2396328"/>
                <a:gd name="connsiteX161" fmla="*/ 494608 w 1362600"/>
                <a:gd name="connsiteY161" fmla="*/ 1716629 h 2396328"/>
                <a:gd name="connsiteX162" fmla="*/ 496532 w 1362600"/>
                <a:gd name="connsiteY162" fmla="*/ 1764169 h 2396328"/>
                <a:gd name="connsiteX163" fmla="*/ 499954 w 1362600"/>
                <a:gd name="connsiteY163" fmla="*/ 1812832 h 2396328"/>
                <a:gd name="connsiteX164" fmla="*/ 504444 w 1362600"/>
                <a:gd name="connsiteY164" fmla="*/ 1861045 h 2396328"/>
                <a:gd name="connsiteX165" fmla="*/ 509790 w 1362600"/>
                <a:gd name="connsiteY165" fmla="*/ 1908362 h 2396328"/>
                <a:gd name="connsiteX166" fmla="*/ 510645 w 1362600"/>
                <a:gd name="connsiteY166" fmla="*/ 1977879 h 2396328"/>
                <a:gd name="connsiteX167" fmla="*/ 506154 w 1362600"/>
                <a:gd name="connsiteY167" fmla="*/ 2047396 h 2396328"/>
                <a:gd name="connsiteX168" fmla="*/ 498243 w 1362600"/>
                <a:gd name="connsiteY168" fmla="*/ 2114223 h 2396328"/>
                <a:gd name="connsiteX169" fmla="*/ 488407 w 1362600"/>
                <a:gd name="connsiteY169" fmla="*/ 2179703 h 2396328"/>
                <a:gd name="connsiteX170" fmla="*/ 476433 w 1362600"/>
                <a:gd name="connsiteY170" fmla="*/ 2396328 h 2396328"/>
                <a:gd name="connsiteX171" fmla="*/ 117848 w 1362600"/>
                <a:gd name="connsiteY171" fmla="*/ 2396328 h 2396328"/>
                <a:gd name="connsiteX172" fmla="*/ 158902 w 1362600"/>
                <a:gd name="connsiteY172" fmla="*/ 2308198 h 2396328"/>
                <a:gd name="connsiteX173" fmla="*/ 209579 w 1362600"/>
                <a:gd name="connsiteY173" fmla="*/ 2208407 h 2396328"/>
                <a:gd name="connsiteX174" fmla="*/ 227326 w 1362600"/>
                <a:gd name="connsiteY174" fmla="*/ 2172303 h 2396328"/>
                <a:gd name="connsiteX175" fmla="*/ 242508 w 1362600"/>
                <a:gd name="connsiteY175" fmla="*/ 2132162 h 2396328"/>
                <a:gd name="connsiteX176" fmla="*/ 256834 w 1362600"/>
                <a:gd name="connsiteY176" fmla="*/ 2087537 h 2396328"/>
                <a:gd name="connsiteX177" fmla="*/ 270091 w 1362600"/>
                <a:gd name="connsiteY177" fmla="*/ 2039996 h 2396328"/>
                <a:gd name="connsiteX178" fmla="*/ 280783 w 1362600"/>
                <a:gd name="connsiteY178" fmla="*/ 1988643 h 2396328"/>
                <a:gd name="connsiteX179" fmla="*/ 288908 w 1362600"/>
                <a:gd name="connsiteY179" fmla="*/ 1936393 h 2396328"/>
                <a:gd name="connsiteX180" fmla="*/ 296820 w 1362600"/>
                <a:gd name="connsiteY180" fmla="*/ 1881676 h 2396328"/>
                <a:gd name="connsiteX181" fmla="*/ 302165 w 1362600"/>
                <a:gd name="connsiteY181" fmla="*/ 1826286 h 2396328"/>
                <a:gd name="connsiteX182" fmla="*/ 306656 w 1362600"/>
                <a:gd name="connsiteY182" fmla="*/ 1768654 h 2396328"/>
                <a:gd name="connsiteX183" fmla="*/ 306656 w 1362600"/>
                <a:gd name="connsiteY183" fmla="*/ 1711919 h 2396328"/>
                <a:gd name="connsiteX184" fmla="*/ 306656 w 1362600"/>
                <a:gd name="connsiteY184" fmla="*/ 1655857 h 2396328"/>
                <a:gd name="connsiteX185" fmla="*/ 302165 w 1362600"/>
                <a:gd name="connsiteY185" fmla="*/ 1599570 h 2396328"/>
                <a:gd name="connsiteX186" fmla="*/ 295964 w 1362600"/>
                <a:gd name="connsiteY186" fmla="*/ 1545526 h 2396328"/>
                <a:gd name="connsiteX187" fmla="*/ 288053 w 1362600"/>
                <a:gd name="connsiteY187" fmla="*/ 1492828 h 2396328"/>
                <a:gd name="connsiteX188" fmla="*/ 276292 w 1362600"/>
                <a:gd name="connsiteY188" fmla="*/ 1441923 h 2396328"/>
                <a:gd name="connsiteX189" fmla="*/ 260255 w 1362600"/>
                <a:gd name="connsiteY189" fmla="*/ 1394607 h 2396328"/>
                <a:gd name="connsiteX190" fmla="*/ 242508 w 1362600"/>
                <a:gd name="connsiteY190" fmla="*/ 1349757 h 2396328"/>
                <a:gd name="connsiteX191" fmla="*/ 221125 w 1362600"/>
                <a:gd name="connsiteY191" fmla="*/ 1309616 h 2396328"/>
                <a:gd name="connsiteX192" fmla="*/ 197177 w 1362600"/>
                <a:gd name="connsiteY192" fmla="*/ 1274185 h 2396328"/>
                <a:gd name="connsiteX193" fmla="*/ 169380 w 1362600"/>
                <a:gd name="connsiteY193" fmla="*/ 1242790 h 2396328"/>
                <a:gd name="connsiteX194" fmla="*/ 138375 w 1362600"/>
                <a:gd name="connsiteY194" fmla="*/ 1217450 h 2396328"/>
                <a:gd name="connsiteX195" fmla="*/ 0 w 1362600"/>
                <a:gd name="connsiteY195" fmla="*/ 971189 h 2396328"/>
                <a:gd name="connsiteX196" fmla="*/ 120414 w 1362600"/>
                <a:gd name="connsiteY196" fmla="*/ 1033789 h 2396328"/>
                <a:gd name="connsiteX197" fmla="*/ 128539 w 1362600"/>
                <a:gd name="connsiteY197" fmla="*/ 1029080 h 2396328"/>
                <a:gd name="connsiteX198" fmla="*/ 108012 w 1362600"/>
                <a:gd name="connsiteY198" fmla="*/ 971672 h 2396328"/>
                <a:gd name="connsiteX199" fmla="*/ 91975 w 1362600"/>
                <a:gd name="connsiteY199" fmla="*/ 910004 h 2396328"/>
                <a:gd name="connsiteX200" fmla="*/ 78504 w 1362600"/>
                <a:gd name="connsiteY200" fmla="*/ 843178 h 2396328"/>
                <a:gd name="connsiteX201" fmla="*/ 72303 w 1362600"/>
                <a:gd name="connsiteY201" fmla="*/ 775006 h 2396328"/>
                <a:gd name="connsiteX202" fmla="*/ 66957 w 1362600"/>
                <a:gd name="connsiteY202" fmla="*/ 703694 h 2396328"/>
                <a:gd name="connsiteX203" fmla="*/ 66957 w 1362600"/>
                <a:gd name="connsiteY203" fmla="*/ 630813 h 2396328"/>
                <a:gd name="connsiteX204" fmla="*/ 70592 w 1362600"/>
                <a:gd name="connsiteY204" fmla="*/ 557260 h 2396328"/>
                <a:gd name="connsiteX205" fmla="*/ 78504 w 1362600"/>
                <a:gd name="connsiteY205" fmla="*/ 484379 h 2396328"/>
                <a:gd name="connsiteX206" fmla="*/ 90264 w 1362600"/>
                <a:gd name="connsiteY206" fmla="*/ 411722 h 2396328"/>
                <a:gd name="connsiteX207" fmla="*/ 102666 w 1362600"/>
                <a:gd name="connsiteY207" fmla="*/ 341532 h 2396328"/>
                <a:gd name="connsiteX208" fmla="*/ 120414 w 1362600"/>
                <a:gd name="connsiteY208" fmla="*/ 273360 h 2396328"/>
                <a:gd name="connsiteX209" fmla="*/ 141796 w 1362600"/>
                <a:gd name="connsiteY209" fmla="*/ 209225 h 2396328"/>
                <a:gd name="connsiteX210" fmla="*/ 164034 w 1362600"/>
                <a:gd name="connsiteY210" fmla="*/ 148453 h 2396328"/>
                <a:gd name="connsiteX211" fmla="*/ 189907 w 1362600"/>
                <a:gd name="connsiteY211" fmla="*/ 93512 h 2396328"/>
                <a:gd name="connsiteX212" fmla="*/ 217490 w 1362600"/>
                <a:gd name="connsiteY212" fmla="*/ 43504 h 2396328"/>
                <a:gd name="connsiteX213" fmla="*/ 250633 w 1362600"/>
                <a:gd name="connsiteY213"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71418 w 1295643"/>
                <a:gd name="connsiteY194" fmla="*/ 1217450 h 2396328"/>
                <a:gd name="connsiteX195" fmla="*/ 53457 w 1295643"/>
                <a:gd name="connsiteY195" fmla="*/ 1033789 h 2396328"/>
                <a:gd name="connsiteX196" fmla="*/ 61582 w 1295643"/>
                <a:gd name="connsiteY196" fmla="*/ 1029080 h 2396328"/>
                <a:gd name="connsiteX197" fmla="*/ 41055 w 1295643"/>
                <a:gd name="connsiteY197" fmla="*/ 971672 h 2396328"/>
                <a:gd name="connsiteX198" fmla="*/ 25018 w 1295643"/>
                <a:gd name="connsiteY198" fmla="*/ 910004 h 2396328"/>
                <a:gd name="connsiteX199" fmla="*/ 11547 w 1295643"/>
                <a:gd name="connsiteY199" fmla="*/ 843178 h 2396328"/>
                <a:gd name="connsiteX200" fmla="*/ 5346 w 1295643"/>
                <a:gd name="connsiteY200" fmla="*/ 775006 h 2396328"/>
                <a:gd name="connsiteX201" fmla="*/ 0 w 1295643"/>
                <a:gd name="connsiteY201" fmla="*/ 703694 h 2396328"/>
                <a:gd name="connsiteX202" fmla="*/ 0 w 1295643"/>
                <a:gd name="connsiteY202" fmla="*/ 630813 h 2396328"/>
                <a:gd name="connsiteX203" fmla="*/ 3635 w 1295643"/>
                <a:gd name="connsiteY203" fmla="*/ 557260 h 2396328"/>
                <a:gd name="connsiteX204" fmla="*/ 11547 w 1295643"/>
                <a:gd name="connsiteY204" fmla="*/ 484379 h 2396328"/>
                <a:gd name="connsiteX205" fmla="*/ 23307 w 1295643"/>
                <a:gd name="connsiteY205" fmla="*/ 411722 h 2396328"/>
                <a:gd name="connsiteX206" fmla="*/ 35709 w 1295643"/>
                <a:gd name="connsiteY206" fmla="*/ 341532 h 2396328"/>
                <a:gd name="connsiteX207" fmla="*/ 53457 w 1295643"/>
                <a:gd name="connsiteY207" fmla="*/ 273360 h 2396328"/>
                <a:gd name="connsiteX208" fmla="*/ 74839 w 1295643"/>
                <a:gd name="connsiteY208" fmla="*/ 209225 h 2396328"/>
                <a:gd name="connsiteX209" fmla="*/ 97077 w 1295643"/>
                <a:gd name="connsiteY209" fmla="*/ 148453 h 2396328"/>
                <a:gd name="connsiteX210" fmla="*/ 122950 w 1295643"/>
                <a:gd name="connsiteY210" fmla="*/ 93512 h 2396328"/>
                <a:gd name="connsiteX211" fmla="*/ 150533 w 1295643"/>
                <a:gd name="connsiteY211" fmla="*/ 43504 h 2396328"/>
                <a:gd name="connsiteX212" fmla="*/ 183676 w 1295643"/>
                <a:gd name="connsiteY212"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71418 w 1295643"/>
                <a:gd name="connsiteY194" fmla="*/ 1217450 h 2396328"/>
                <a:gd name="connsiteX195" fmla="*/ 53457 w 1295643"/>
                <a:gd name="connsiteY195" fmla="*/ 1033789 h 2396328"/>
                <a:gd name="connsiteX196" fmla="*/ 41055 w 1295643"/>
                <a:gd name="connsiteY196" fmla="*/ 971672 h 2396328"/>
                <a:gd name="connsiteX197" fmla="*/ 25018 w 1295643"/>
                <a:gd name="connsiteY197" fmla="*/ 910004 h 2396328"/>
                <a:gd name="connsiteX198" fmla="*/ 11547 w 1295643"/>
                <a:gd name="connsiteY198" fmla="*/ 843178 h 2396328"/>
                <a:gd name="connsiteX199" fmla="*/ 5346 w 1295643"/>
                <a:gd name="connsiteY199" fmla="*/ 775006 h 2396328"/>
                <a:gd name="connsiteX200" fmla="*/ 0 w 1295643"/>
                <a:gd name="connsiteY200" fmla="*/ 703694 h 2396328"/>
                <a:gd name="connsiteX201" fmla="*/ 0 w 1295643"/>
                <a:gd name="connsiteY201" fmla="*/ 630813 h 2396328"/>
                <a:gd name="connsiteX202" fmla="*/ 3635 w 1295643"/>
                <a:gd name="connsiteY202" fmla="*/ 557260 h 2396328"/>
                <a:gd name="connsiteX203" fmla="*/ 11547 w 1295643"/>
                <a:gd name="connsiteY203" fmla="*/ 484379 h 2396328"/>
                <a:gd name="connsiteX204" fmla="*/ 23307 w 1295643"/>
                <a:gd name="connsiteY204" fmla="*/ 411722 h 2396328"/>
                <a:gd name="connsiteX205" fmla="*/ 35709 w 1295643"/>
                <a:gd name="connsiteY205" fmla="*/ 341532 h 2396328"/>
                <a:gd name="connsiteX206" fmla="*/ 53457 w 1295643"/>
                <a:gd name="connsiteY206" fmla="*/ 273360 h 2396328"/>
                <a:gd name="connsiteX207" fmla="*/ 74839 w 1295643"/>
                <a:gd name="connsiteY207" fmla="*/ 209225 h 2396328"/>
                <a:gd name="connsiteX208" fmla="*/ 97077 w 1295643"/>
                <a:gd name="connsiteY208" fmla="*/ 148453 h 2396328"/>
                <a:gd name="connsiteX209" fmla="*/ 122950 w 1295643"/>
                <a:gd name="connsiteY209" fmla="*/ 93512 h 2396328"/>
                <a:gd name="connsiteX210" fmla="*/ 150533 w 1295643"/>
                <a:gd name="connsiteY210" fmla="*/ 43504 h 2396328"/>
                <a:gd name="connsiteX211" fmla="*/ 183676 w 1295643"/>
                <a:gd name="connsiteY211"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102423 w 1295643"/>
                <a:gd name="connsiteY193" fmla="*/ 1242790 h 2396328"/>
                <a:gd name="connsiteX194" fmla="*/ 53457 w 1295643"/>
                <a:gd name="connsiteY194" fmla="*/ 1033789 h 2396328"/>
                <a:gd name="connsiteX195" fmla="*/ 41055 w 1295643"/>
                <a:gd name="connsiteY195" fmla="*/ 971672 h 2396328"/>
                <a:gd name="connsiteX196" fmla="*/ 25018 w 1295643"/>
                <a:gd name="connsiteY196" fmla="*/ 910004 h 2396328"/>
                <a:gd name="connsiteX197" fmla="*/ 11547 w 1295643"/>
                <a:gd name="connsiteY197" fmla="*/ 843178 h 2396328"/>
                <a:gd name="connsiteX198" fmla="*/ 5346 w 1295643"/>
                <a:gd name="connsiteY198" fmla="*/ 775006 h 2396328"/>
                <a:gd name="connsiteX199" fmla="*/ 0 w 1295643"/>
                <a:gd name="connsiteY199" fmla="*/ 703694 h 2396328"/>
                <a:gd name="connsiteX200" fmla="*/ 0 w 1295643"/>
                <a:gd name="connsiteY200" fmla="*/ 630813 h 2396328"/>
                <a:gd name="connsiteX201" fmla="*/ 3635 w 1295643"/>
                <a:gd name="connsiteY201" fmla="*/ 557260 h 2396328"/>
                <a:gd name="connsiteX202" fmla="*/ 11547 w 1295643"/>
                <a:gd name="connsiteY202" fmla="*/ 484379 h 2396328"/>
                <a:gd name="connsiteX203" fmla="*/ 23307 w 1295643"/>
                <a:gd name="connsiteY203" fmla="*/ 411722 h 2396328"/>
                <a:gd name="connsiteX204" fmla="*/ 35709 w 1295643"/>
                <a:gd name="connsiteY204" fmla="*/ 341532 h 2396328"/>
                <a:gd name="connsiteX205" fmla="*/ 53457 w 1295643"/>
                <a:gd name="connsiteY205" fmla="*/ 273360 h 2396328"/>
                <a:gd name="connsiteX206" fmla="*/ 74839 w 1295643"/>
                <a:gd name="connsiteY206" fmla="*/ 209225 h 2396328"/>
                <a:gd name="connsiteX207" fmla="*/ 97077 w 1295643"/>
                <a:gd name="connsiteY207" fmla="*/ 148453 h 2396328"/>
                <a:gd name="connsiteX208" fmla="*/ 122950 w 1295643"/>
                <a:gd name="connsiteY208" fmla="*/ 93512 h 2396328"/>
                <a:gd name="connsiteX209" fmla="*/ 150533 w 1295643"/>
                <a:gd name="connsiteY209" fmla="*/ 43504 h 2396328"/>
                <a:gd name="connsiteX210" fmla="*/ 183676 w 1295643"/>
                <a:gd name="connsiteY210"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26201 w 1295643"/>
                <a:gd name="connsiteY148" fmla="*/ 1286294 h 2396328"/>
                <a:gd name="connsiteX149" fmla="*/ 665267 w 1295643"/>
                <a:gd name="connsiteY149" fmla="*/ 1400104 h 2396328"/>
                <a:gd name="connsiteX150" fmla="*/ 633565 w 1295643"/>
                <a:gd name="connsiteY150" fmla="*/ 1404474 h 2396328"/>
                <a:gd name="connsiteX151" fmla="*/ 597856 w 1295643"/>
                <a:gd name="connsiteY151" fmla="*/ 1410528 h 2396328"/>
                <a:gd name="connsiteX152" fmla="*/ 564071 w 1295643"/>
                <a:gd name="connsiteY152" fmla="*/ 1419274 h 2396328"/>
                <a:gd name="connsiteX153" fmla="*/ 536488 w 1295643"/>
                <a:gd name="connsiteY153" fmla="*/ 1427347 h 2396328"/>
                <a:gd name="connsiteX154" fmla="*/ 515105 w 1295643"/>
                <a:gd name="connsiteY154" fmla="*/ 1438559 h 2396328"/>
                <a:gd name="connsiteX155" fmla="*/ 499069 w 1295643"/>
                <a:gd name="connsiteY155" fmla="*/ 1452014 h 2396328"/>
                <a:gd name="connsiteX156" fmla="*/ 473196 w 1295643"/>
                <a:gd name="connsiteY156" fmla="*/ 1490810 h 2396328"/>
                <a:gd name="connsiteX157" fmla="*/ 455234 w 1295643"/>
                <a:gd name="connsiteY157" fmla="*/ 1532968 h 2396328"/>
                <a:gd name="connsiteX158" fmla="*/ 441122 w 1295643"/>
                <a:gd name="connsiteY158" fmla="*/ 1576921 h 2396328"/>
                <a:gd name="connsiteX159" fmla="*/ 432997 w 1295643"/>
                <a:gd name="connsiteY159" fmla="*/ 1621771 h 2396328"/>
                <a:gd name="connsiteX160" fmla="*/ 429575 w 1295643"/>
                <a:gd name="connsiteY160" fmla="*/ 1669088 h 2396328"/>
                <a:gd name="connsiteX161" fmla="*/ 427651 w 1295643"/>
                <a:gd name="connsiteY161" fmla="*/ 1716629 h 2396328"/>
                <a:gd name="connsiteX162" fmla="*/ 429575 w 1295643"/>
                <a:gd name="connsiteY162" fmla="*/ 1764169 h 2396328"/>
                <a:gd name="connsiteX163" fmla="*/ 432997 w 1295643"/>
                <a:gd name="connsiteY163" fmla="*/ 1812832 h 2396328"/>
                <a:gd name="connsiteX164" fmla="*/ 437487 w 1295643"/>
                <a:gd name="connsiteY164" fmla="*/ 1861045 h 2396328"/>
                <a:gd name="connsiteX165" fmla="*/ 442833 w 1295643"/>
                <a:gd name="connsiteY165" fmla="*/ 1908362 h 2396328"/>
                <a:gd name="connsiteX166" fmla="*/ 443688 w 1295643"/>
                <a:gd name="connsiteY166" fmla="*/ 1977879 h 2396328"/>
                <a:gd name="connsiteX167" fmla="*/ 439197 w 1295643"/>
                <a:gd name="connsiteY167" fmla="*/ 2047396 h 2396328"/>
                <a:gd name="connsiteX168" fmla="*/ 431286 w 1295643"/>
                <a:gd name="connsiteY168" fmla="*/ 2114223 h 2396328"/>
                <a:gd name="connsiteX169" fmla="*/ 421450 w 1295643"/>
                <a:gd name="connsiteY169" fmla="*/ 2179703 h 2396328"/>
                <a:gd name="connsiteX170" fmla="*/ 409476 w 1295643"/>
                <a:gd name="connsiteY170" fmla="*/ 2396328 h 2396328"/>
                <a:gd name="connsiteX171" fmla="*/ 50891 w 1295643"/>
                <a:gd name="connsiteY171" fmla="*/ 2396328 h 2396328"/>
                <a:gd name="connsiteX172" fmla="*/ 91945 w 1295643"/>
                <a:gd name="connsiteY172" fmla="*/ 2308198 h 2396328"/>
                <a:gd name="connsiteX173" fmla="*/ 142622 w 1295643"/>
                <a:gd name="connsiteY173" fmla="*/ 2208407 h 2396328"/>
                <a:gd name="connsiteX174" fmla="*/ 160369 w 1295643"/>
                <a:gd name="connsiteY174" fmla="*/ 2172303 h 2396328"/>
                <a:gd name="connsiteX175" fmla="*/ 175551 w 1295643"/>
                <a:gd name="connsiteY175" fmla="*/ 2132162 h 2396328"/>
                <a:gd name="connsiteX176" fmla="*/ 189877 w 1295643"/>
                <a:gd name="connsiteY176" fmla="*/ 2087537 h 2396328"/>
                <a:gd name="connsiteX177" fmla="*/ 203134 w 1295643"/>
                <a:gd name="connsiteY177" fmla="*/ 2039996 h 2396328"/>
                <a:gd name="connsiteX178" fmla="*/ 213826 w 1295643"/>
                <a:gd name="connsiteY178" fmla="*/ 1988643 h 2396328"/>
                <a:gd name="connsiteX179" fmla="*/ 221951 w 1295643"/>
                <a:gd name="connsiteY179" fmla="*/ 1936393 h 2396328"/>
                <a:gd name="connsiteX180" fmla="*/ 229863 w 1295643"/>
                <a:gd name="connsiteY180" fmla="*/ 1881676 h 2396328"/>
                <a:gd name="connsiteX181" fmla="*/ 235208 w 1295643"/>
                <a:gd name="connsiteY181" fmla="*/ 1826286 h 2396328"/>
                <a:gd name="connsiteX182" fmla="*/ 239699 w 1295643"/>
                <a:gd name="connsiteY182" fmla="*/ 1768654 h 2396328"/>
                <a:gd name="connsiteX183" fmla="*/ 239699 w 1295643"/>
                <a:gd name="connsiteY183" fmla="*/ 1711919 h 2396328"/>
                <a:gd name="connsiteX184" fmla="*/ 239699 w 1295643"/>
                <a:gd name="connsiteY184" fmla="*/ 1655857 h 2396328"/>
                <a:gd name="connsiteX185" fmla="*/ 235208 w 1295643"/>
                <a:gd name="connsiteY185" fmla="*/ 1599570 h 2396328"/>
                <a:gd name="connsiteX186" fmla="*/ 229007 w 1295643"/>
                <a:gd name="connsiteY186" fmla="*/ 1545526 h 2396328"/>
                <a:gd name="connsiteX187" fmla="*/ 221096 w 1295643"/>
                <a:gd name="connsiteY187" fmla="*/ 1492828 h 2396328"/>
                <a:gd name="connsiteX188" fmla="*/ 209335 w 1295643"/>
                <a:gd name="connsiteY188" fmla="*/ 1441923 h 2396328"/>
                <a:gd name="connsiteX189" fmla="*/ 193298 w 1295643"/>
                <a:gd name="connsiteY189" fmla="*/ 1394607 h 2396328"/>
                <a:gd name="connsiteX190" fmla="*/ 175551 w 1295643"/>
                <a:gd name="connsiteY190" fmla="*/ 1349757 h 2396328"/>
                <a:gd name="connsiteX191" fmla="*/ 154168 w 1295643"/>
                <a:gd name="connsiteY191" fmla="*/ 1309616 h 2396328"/>
                <a:gd name="connsiteX192" fmla="*/ 130220 w 1295643"/>
                <a:gd name="connsiteY192" fmla="*/ 1274185 h 2396328"/>
                <a:gd name="connsiteX193" fmla="*/ 53457 w 1295643"/>
                <a:gd name="connsiteY193" fmla="*/ 1033789 h 2396328"/>
                <a:gd name="connsiteX194" fmla="*/ 41055 w 1295643"/>
                <a:gd name="connsiteY194" fmla="*/ 971672 h 2396328"/>
                <a:gd name="connsiteX195" fmla="*/ 25018 w 1295643"/>
                <a:gd name="connsiteY195" fmla="*/ 910004 h 2396328"/>
                <a:gd name="connsiteX196" fmla="*/ 11547 w 1295643"/>
                <a:gd name="connsiteY196" fmla="*/ 843178 h 2396328"/>
                <a:gd name="connsiteX197" fmla="*/ 5346 w 1295643"/>
                <a:gd name="connsiteY197" fmla="*/ 775006 h 2396328"/>
                <a:gd name="connsiteX198" fmla="*/ 0 w 1295643"/>
                <a:gd name="connsiteY198" fmla="*/ 703694 h 2396328"/>
                <a:gd name="connsiteX199" fmla="*/ 0 w 1295643"/>
                <a:gd name="connsiteY199" fmla="*/ 630813 h 2396328"/>
                <a:gd name="connsiteX200" fmla="*/ 3635 w 1295643"/>
                <a:gd name="connsiteY200" fmla="*/ 557260 h 2396328"/>
                <a:gd name="connsiteX201" fmla="*/ 11547 w 1295643"/>
                <a:gd name="connsiteY201" fmla="*/ 484379 h 2396328"/>
                <a:gd name="connsiteX202" fmla="*/ 23307 w 1295643"/>
                <a:gd name="connsiteY202" fmla="*/ 411722 h 2396328"/>
                <a:gd name="connsiteX203" fmla="*/ 35709 w 1295643"/>
                <a:gd name="connsiteY203" fmla="*/ 341532 h 2396328"/>
                <a:gd name="connsiteX204" fmla="*/ 53457 w 1295643"/>
                <a:gd name="connsiteY204" fmla="*/ 273360 h 2396328"/>
                <a:gd name="connsiteX205" fmla="*/ 74839 w 1295643"/>
                <a:gd name="connsiteY205" fmla="*/ 209225 h 2396328"/>
                <a:gd name="connsiteX206" fmla="*/ 97077 w 1295643"/>
                <a:gd name="connsiteY206" fmla="*/ 148453 h 2396328"/>
                <a:gd name="connsiteX207" fmla="*/ 122950 w 1295643"/>
                <a:gd name="connsiteY207" fmla="*/ 93512 h 2396328"/>
                <a:gd name="connsiteX208" fmla="*/ 150533 w 1295643"/>
                <a:gd name="connsiteY208" fmla="*/ 43504 h 2396328"/>
                <a:gd name="connsiteX209" fmla="*/ 183676 w 1295643"/>
                <a:gd name="connsiteY20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95290 w 1295643"/>
                <a:gd name="connsiteY147" fmla="*/ 1286294 h 2396328"/>
                <a:gd name="connsiteX148" fmla="*/ 665267 w 1295643"/>
                <a:gd name="connsiteY148" fmla="*/ 1400104 h 2396328"/>
                <a:gd name="connsiteX149" fmla="*/ 633565 w 1295643"/>
                <a:gd name="connsiteY149" fmla="*/ 1404474 h 2396328"/>
                <a:gd name="connsiteX150" fmla="*/ 597856 w 1295643"/>
                <a:gd name="connsiteY150" fmla="*/ 1410528 h 2396328"/>
                <a:gd name="connsiteX151" fmla="*/ 564071 w 1295643"/>
                <a:gd name="connsiteY151" fmla="*/ 1419274 h 2396328"/>
                <a:gd name="connsiteX152" fmla="*/ 536488 w 1295643"/>
                <a:gd name="connsiteY152" fmla="*/ 1427347 h 2396328"/>
                <a:gd name="connsiteX153" fmla="*/ 515105 w 1295643"/>
                <a:gd name="connsiteY153" fmla="*/ 1438559 h 2396328"/>
                <a:gd name="connsiteX154" fmla="*/ 499069 w 1295643"/>
                <a:gd name="connsiteY154" fmla="*/ 1452014 h 2396328"/>
                <a:gd name="connsiteX155" fmla="*/ 473196 w 1295643"/>
                <a:gd name="connsiteY155" fmla="*/ 1490810 h 2396328"/>
                <a:gd name="connsiteX156" fmla="*/ 455234 w 1295643"/>
                <a:gd name="connsiteY156" fmla="*/ 1532968 h 2396328"/>
                <a:gd name="connsiteX157" fmla="*/ 441122 w 1295643"/>
                <a:gd name="connsiteY157" fmla="*/ 1576921 h 2396328"/>
                <a:gd name="connsiteX158" fmla="*/ 432997 w 1295643"/>
                <a:gd name="connsiteY158" fmla="*/ 1621771 h 2396328"/>
                <a:gd name="connsiteX159" fmla="*/ 429575 w 1295643"/>
                <a:gd name="connsiteY159" fmla="*/ 1669088 h 2396328"/>
                <a:gd name="connsiteX160" fmla="*/ 427651 w 1295643"/>
                <a:gd name="connsiteY160" fmla="*/ 1716629 h 2396328"/>
                <a:gd name="connsiteX161" fmla="*/ 429575 w 1295643"/>
                <a:gd name="connsiteY161" fmla="*/ 1764169 h 2396328"/>
                <a:gd name="connsiteX162" fmla="*/ 432997 w 1295643"/>
                <a:gd name="connsiteY162" fmla="*/ 1812832 h 2396328"/>
                <a:gd name="connsiteX163" fmla="*/ 437487 w 1295643"/>
                <a:gd name="connsiteY163" fmla="*/ 1861045 h 2396328"/>
                <a:gd name="connsiteX164" fmla="*/ 442833 w 1295643"/>
                <a:gd name="connsiteY164" fmla="*/ 1908362 h 2396328"/>
                <a:gd name="connsiteX165" fmla="*/ 443688 w 1295643"/>
                <a:gd name="connsiteY165" fmla="*/ 1977879 h 2396328"/>
                <a:gd name="connsiteX166" fmla="*/ 439197 w 1295643"/>
                <a:gd name="connsiteY166" fmla="*/ 2047396 h 2396328"/>
                <a:gd name="connsiteX167" fmla="*/ 431286 w 1295643"/>
                <a:gd name="connsiteY167" fmla="*/ 2114223 h 2396328"/>
                <a:gd name="connsiteX168" fmla="*/ 421450 w 1295643"/>
                <a:gd name="connsiteY168" fmla="*/ 2179703 h 2396328"/>
                <a:gd name="connsiteX169" fmla="*/ 409476 w 1295643"/>
                <a:gd name="connsiteY169" fmla="*/ 2396328 h 2396328"/>
                <a:gd name="connsiteX170" fmla="*/ 50891 w 1295643"/>
                <a:gd name="connsiteY170" fmla="*/ 2396328 h 2396328"/>
                <a:gd name="connsiteX171" fmla="*/ 91945 w 1295643"/>
                <a:gd name="connsiteY171" fmla="*/ 2308198 h 2396328"/>
                <a:gd name="connsiteX172" fmla="*/ 142622 w 1295643"/>
                <a:gd name="connsiteY172" fmla="*/ 2208407 h 2396328"/>
                <a:gd name="connsiteX173" fmla="*/ 160369 w 1295643"/>
                <a:gd name="connsiteY173" fmla="*/ 2172303 h 2396328"/>
                <a:gd name="connsiteX174" fmla="*/ 175551 w 1295643"/>
                <a:gd name="connsiteY174" fmla="*/ 2132162 h 2396328"/>
                <a:gd name="connsiteX175" fmla="*/ 189877 w 1295643"/>
                <a:gd name="connsiteY175" fmla="*/ 2087537 h 2396328"/>
                <a:gd name="connsiteX176" fmla="*/ 203134 w 1295643"/>
                <a:gd name="connsiteY176" fmla="*/ 2039996 h 2396328"/>
                <a:gd name="connsiteX177" fmla="*/ 213826 w 1295643"/>
                <a:gd name="connsiteY177" fmla="*/ 1988643 h 2396328"/>
                <a:gd name="connsiteX178" fmla="*/ 221951 w 1295643"/>
                <a:gd name="connsiteY178" fmla="*/ 1936393 h 2396328"/>
                <a:gd name="connsiteX179" fmla="*/ 229863 w 1295643"/>
                <a:gd name="connsiteY179" fmla="*/ 1881676 h 2396328"/>
                <a:gd name="connsiteX180" fmla="*/ 235208 w 1295643"/>
                <a:gd name="connsiteY180" fmla="*/ 1826286 h 2396328"/>
                <a:gd name="connsiteX181" fmla="*/ 239699 w 1295643"/>
                <a:gd name="connsiteY181" fmla="*/ 1768654 h 2396328"/>
                <a:gd name="connsiteX182" fmla="*/ 239699 w 1295643"/>
                <a:gd name="connsiteY182" fmla="*/ 1711919 h 2396328"/>
                <a:gd name="connsiteX183" fmla="*/ 239699 w 1295643"/>
                <a:gd name="connsiteY183" fmla="*/ 1655857 h 2396328"/>
                <a:gd name="connsiteX184" fmla="*/ 235208 w 1295643"/>
                <a:gd name="connsiteY184" fmla="*/ 1599570 h 2396328"/>
                <a:gd name="connsiteX185" fmla="*/ 229007 w 1295643"/>
                <a:gd name="connsiteY185" fmla="*/ 1545526 h 2396328"/>
                <a:gd name="connsiteX186" fmla="*/ 221096 w 1295643"/>
                <a:gd name="connsiteY186" fmla="*/ 1492828 h 2396328"/>
                <a:gd name="connsiteX187" fmla="*/ 209335 w 1295643"/>
                <a:gd name="connsiteY187" fmla="*/ 1441923 h 2396328"/>
                <a:gd name="connsiteX188" fmla="*/ 193298 w 1295643"/>
                <a:gd name="connsiteY188" fmla="*/ 1394607 h 2396328"/>
                <a:gd name="connsiteX189" fmla="*/ 175551 w 1295643"/>
                <a:gd name="connsiteY189" fmla="*/ 1349757 h 2396328"/>
                <a:gd name="connsiteX190" fmla="*/ 154168 w 1295643"/>
                <a:gd name="connsiteY190" fmla="*/ 1309616 h 2396328"/>
                <a:gd name="connsiteX191" fmla="*/ 130220 w 1295643"/>
                <a:gd name="connsiteY191" fmla="*/ 1274185 h 2396328"/>
                <a:gd name="connsiteX192" fmla="*/ 53457 w 1295643"/>
                <a:gd name="connsiteY192" fmla="*/ 1033789 h 2396328"/>
                <a:gd name="connsiteX193" fmla="*/ 41055 w 1295643"/>
                <a:gd name="connsiteY193" fmla="*/ 971672 h 2396328"/>
                <a:gd name="connsiteX194" fmla="*/ 25018 w 1295643"/>
                <a:gd name="connsiteY194" fmla="*/ 910004 h 2396328"/>
                <a:gd name="connsiteX195" fmla="*/ 11547 w 1295643"/>
                <a:gd name="connsiteY195" fmla="*/ 843178 h 2396328"/>
                <a:gd name="connsiteX196" fmla="*/ 5346 w 1295643"/>
                <a:gd name="connsiteY196" fmla="*/ 775006 h 2396328"/>
                <a:gd name="connsiteX197" fmla="*/ 0 w 1295643"/>
                <a:gd name="connsiteY197" fmla="*/ 703694 h 2396328"/>
                <a:gd name="connsiteX198" fmla="*/ 0 w 1295643"/>
                <a:gd name="connsiteY198" fmla="*/ 630813 h 2396328"/>
                <a:gd name="connsiteX199" fmla="*/ 3635 w 1295643"/>
                <a:gd name="connsiteY199" fmla="*/ 557260 h 2396328"/>
                <a:gd name="connsiteX200" fmla="*/ 11547 w 1295643"/>
                <a:gd name="connsiteY200" fmla="*/ 484379 h 2396328"/>
                <a:gd name="connsiteX201" fmla="*/ 23307 w 1295643"/>
                <a:gd name="connsiteY201" fmla="*/ 411722 h 2396328"/>
                <a:gd name="connsiteX202" fmla="*/ 35709 w 1295643"/>
                <a:gd name="connsiteY202" fmla="*/ 341532 h 2396328"/>
                <a:gd name="connsiteX203" fmla="*/ 53457 w 1295643"/>
                <a:gd name="connsiteY203" fmla="*/ 273360 h 2396328"/>
                <a:gd name="connsiteX204" fmla="*/ 74839 w 1295643"/>
                <a:gd name="connsiteY204" fmla="*/ 209225 h 2396328"/>
                <a:gd name="connsiteX205" fmla="*/ 97077 w 1295643"/>
                <a:gd name="connsiteY205" fmla="*/ 148453 h 2396328"/>
                <a:gd name="connsiteX206" fmla="*/ 122950 w 1295643"/>
                <a:gd name="connsiteY206" fmla="*/ 93512 h 2396328"/>
                <a:gd name="connsiteX207" fmla="*/ 150533 w 1295643"/>
                <a:gd name="connsiteY207" fmla="*/ 43504 h 2396328"/>
                <a:gd name="connsiteX208" fmla="*/ 183676 w 1295643"/>
                <a:gd name="connsiteY208"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97856 w 1295643"/>
                <a:gd name="connsiteY149" fmla="*/ 1410528 h 2396328"/>
                <a:gd name="connsiteX150" fmla="*/ 564071 w 1295643"/>
                <a:gd name="connsiteY150" fmla="*/ 1419274 h 2396328"/>
                <a:gd name="connsiteX151" fmla="*/ 536488 w 1295643"/>
                <a:gd name="connsiteY151" fmla="*/ 1427347 h 2396328"/>
                <a:gd name="connsiteX152" fmla="*/ 515105 w 1295643"/>
                <a:gd name="connsiteY152" fmla="*/ 1438559 h 2396328"/>
                <a:gd name="connsiteX153" fmla="*/ 499069 w 1295643"/>
                <a:gd name="connsiteY153" fmla="*/ 1452014 h 2396328"/>
                <a:gd name="connsiteX154" fmla="*/ 473196 w 1295643"/>
                <a:gd name="connsiteY154" fmla="*/ 1490810 h 2396328"/>
                <a:gd name="connsiteX155" fmla="*/ 455234 w 1295643"/>
                <a:gd name="connsiteY155" fmla="*/ 1532968 h 2396328"/>
                <a:gd name="connsiteX156" fmla="*/ 441122 w 1295643"/>
                <a:gd name="connsiteY156" fmla="*/ 1576921 h 2396328"/>
                <a:gd name="connsiteX157" fmla="*/ 432997 w 1295643"/>
                <a:gd name="connsiteY157" fmla="*/ 1621771 h 2396328"/>
                <a:gd name="connsiteX158" fmla="*/ 429575 w 1295643"/>
                <a:gd name="connsiteY158" fmla="*/ 1669088 h 2396328"/>
                <a:gd name="connsiteX159" fmla="*/ 427651 w 1295643"/>
                <a:gd name="connsiteY159" fmla="*/ 1716629 h 2396328"/>
                <a:gd name="connsiteX160" fmla="*/ 429575 w 1295643"/>
                <a:gd name="connsiteY160" fmla="*/ 1764169 h 2396328"/>
                <a:gd name="connsiteX161" fmla="*/ 432997 w 1295643"/>
                <a:gd name="connsiteY161" fmla="*/ 1812832 h 2396328"/>
                <a:gd name="connsiteX162" fmla="*/ 437487 w 1295643"/>
                <a:gd name="connsiteY162" fmla="*/ 1861045 h 2396328"/>
                <a:gd name="connsiteX163" fmla="*/ 442833 w 1295643"/>
                <a:gd name="connsiteY163" fmla="*/ 1908362 h 2396328"/>
                <a:gd name="connsiteX164" fmla="*/ 443688 w 1295643"/>
                <a:gd name="connsiteY164" fmla="*/ 1977879 h 2396328"/>
                <a:gd name="connsiteX165" fmla="*/ 439197 w 1295643"/>
                <a:gd name="connsiteY165" fmla="*/ 2047396 h 2396328"/>
                <a:gd name="connsiteX166" fmla="*/ 431286 w 1295643"/>
                <a:gd name="connsiteY166" fmla="*/ 2114223 h 2396328"/>
                <a:gd name="connsiteX167" fmla="*/ 421450 w 1295643"/>
                <a:gd name="connsiteY167" fmla="*/ 2179703 h 2396328"/>
                <a:gd name="connsiteX168" fmla="*/ 409476 w 1295643"/>
                <a:gd name="connsiteY168" fmla="*/ 2396328 h 2396328"/>
                <a:gd name="connsiteX169" fmla="*/ 50891 w 1295643"/>
                <a:gd name="connsiteY169" fmla="*/ 2396328 h 2396328"/>
                <a:gd name="connsiteX170" fmla="*/ 91945 w 1295643"/>
                <a:gd name="connsiteY170" fmla="*/ 2308198 h 2396328"/>
                <a:gd name="connsiteX171" fmla="*/ 142622 w 1295643"/>
                <a:gd name="connsiteY171" fmla="*/ 2208407 h 2396328"/>
                <a:gd name="connsiteX172" fmla="*/ 160369 w 1295643"/>
                <a:gd name="connsiteY172" fmla="*/ 2172303 h 2396328"/>
                <a:gd name="connsiteX173" fmla="*/ 175551 w 1295643"/>
                <a:gd name="connsiteY173" fmla="*/ 2132162 h 2396328"/>
                <a:gd name="connsiteX174" fmla="*/ 189877 w 1295643"/>
                <a:gd name="connsiteY174" fmla="*/ 2087537 h 2396328"/>
                <a:gd name="connsiteX175" fmla="*/ 203134 w 1295643"/>
                <a:gd name="connsiteY175" fmla="*/ 2039996 h 2396328"/>
                <a:gd name="connsiteX176" fmla="*/ 213826 w 1295643"/>
                <a:gd name="connsiteY176" fmla="*/ 1988643 h 2396328"/>
                <a:gd name="connsiteX177" fmla="*/ 221951 w 1295643"/>
                <a:gd name="connsiteY177" fmla="*/ 1936393 h 2396328"/>
                <a:gd name="connsiteX178" fmla="*/ 229863 w 1295643"/>
                <a:gd name="connsiteY178" fmla="*/ 1881676 h 2396328"/>
                <a:gd name="connsiteX179" fmla="*/ 235208 w 1295643"/>
                <a:gd name="connsiteY179" fmla="*/ 1826286 h 2396328"/>
                <a:gd name="connsiteX180" fmla="*/ 239699 w 1295643"/>
                <a:gd name="connsiteY180" fmla="*/ 1768654 h 2396328"/>
                <a:gd name="connsiteX181" fmla="*/ 239699 w 1295643"/>
                <a:gd name="connsiteY181" fmla="*/ 1711919 h 2396328"/>
                <a:gd name="connsiteX182" fmla="*/ 239699 w 1295643"/>
                <a:gd name="connsiteY182" fmla="*/ 1655857 h 2396328"/>
                <a:gd name="connsiteX183" fmla="*/ 235208 w 1295643"/>
                <a:gd name="connsiteY183" fmla="*/ 1599570 h 2396328"/>
                <a:gd name="connsiteX184" fmla="*/ 229007 w 1295643"/>
                <a:gd name="connsiteY184" fmla="*/ 1545526 h 2396328"/>
                <a:gd name="connsiteX185" fmla="*/ 221096 w 1295643"/>
                <a:gd name="connsiteY185" fmla="*/ 1492828 h 2396328"/>
                <a:gd name="connsiteX186" fmla="*/ 209335 w 1295643"/>
                <a:gd name="connsiteY186" fmla="*/ 1441923 h 2396328"/>
                <a:gd name="connsiteX187" fmla="*/ 193298 w 1295643"/>
                <a:gd name="connsiteY187" fmla="*/ 1394607 h 2396328"/>
                <a:gd name="connsiteX188" fmla="*/ 175551 w 1295643"/>
                <a:gd name="connsiteY188" fmla="*/ 1349757 h 2396328"/>
                <a:gd name="connsiteX189" fmla="*/ 154168 w 1295643"/>
                <a:gd name="connsiteY189" fmla="*/ 1309616 h 2396328"/>
                <a:gd name="connsiteX190" fmla="*/ 130220 w 1295643"/>
                <a:gd name="connsiteY190" fmla="*/ 1274185 h 2396328"/>
                <a:gd name="connsiteX191" fmla="*/ 53457 w 1295643"/>
                <a:gd name="connsiteY191" fmla="*/ 1033789 h 2396328"/>
                <a:gd name="connsiteX192" fmla="*/ 41055 w 1295643"/>
                <a:gd name="connsiteY192" fmla="*/ 971672 h 2396328"/>
                <a:gd name="connsiteX193" fmla="*/ 25018 w 1295643"/>
                <a:gd name="connsiteY193" fmla="*/ 910004 h 2396328"/>
                <a:gd name="connsiteX194" fmla="*/ 11547 w 1295643"/>
                <a:gd name="connsiteY194" fmla="*/ 843178 h 2396328"/>
                <a:gd name="connsiteX195" fmla="*/ 5346 w 1295643"/>
                <a:gd name="connsiteY195" fmla="*/ 775006 h 2396328"/>
                <a:gd name="connsiteX196" fmla="*/ 0 w 1295643"/>
                <a:gd name="connsiteY196" fmla="*/ 703694 h 2396328"/>
                <a:gd name="connsiteX197" fmla="*/ 0 w 1295643"/>
                <a:gd name="connsiteY197" fmla="*/ 630813 h 2396328"/>
                <a:gd name="connsiteX198" fmla="*/ 3635 w 1295643"/>
                <a:gd name="connsiteY198" fmla="*/ 557260 h 2396328"/>
                <a:gd name="connsiteX199" fmla="*/ 11547 w 1295643"/>
                <a:gd name="connsiteY199" fmla="*/ 484379 h 2396328"/>
                <a:gd name="connsiteX200" fmla="*/ 23307 w 1295643"/>
                <a:gd name="connsiteY200" fmla="*/ 411722 h 2396328"/>
                <a:gd name="connsiteX201" fmla="*/ 35709 w 1295643"/>
                <a:gd name="connsiteY201" fmla="*/ 341532 h 2396328"/>
                <a:gd name="connsiteX202" fmla="*/ 53457 w 1295643"/>
                <a:gd name="connsiteY202" fmla="*/ 273360 h 2396328"/>
                <a:gd name="connsiteX203" fmla="*/ 74839 w 1295643"/>
                <a:gd name="connsiteY203" fmla="*/ 209225 h 2396328"/>
                <a:gd name="connsiteX204" fmla="*/ 97077 w 1295643"/>
                <a:gd name="connsiteY204" fmla="*/ 148453 h 2396328"/>
                <a:gd name="connsiteX205" fmla="*/ 122950 w 1295643"/>
                <a:gd name="connsiteY205" fmla="*/ 93512 h 2396328"/>
                <a:gd name="connsiteX206" fmla="*/ 150533 w 1295643"/>
                <a:gd name="connsiteY206" fmla="*/ 43504 h 2396328"/>
                <a:gd name="connsiteX207" fmla="*/ 183676 w 1295643"/>
                <a:gd name="connsiteY207"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97856 w 1295643"/>
                <a:gd name="connsiteY149" fmla="*/ 1410528 h 2396328"/>
                <a:gd name="connsiteX150" fmla="*/ 536488 w 1295643"/>
                <a:gd name="connsiteY150" fmla="*/ 1427347 h 2396328"/>
                <a:gd name="connsiteX151" fmla="*/ 515105 w 1295643"/>
                <a:gd name="connsiteY151" fmla="*/ 1438559 h 2396328"/>
                <a:gd name="connsiteX152" fmla="*/ 499069 w 1295643"/>
                <a:gd name="connsiteY152" fmla="*/ 1452014 h 2396328"/>
                <a:gd name="connsiteX153" fmla="*/ 473196 w 1295643"/>
                <a:gd name="connsiteY153" fmla="*/ 1490810 h 2396328"/>
                <a:gd name="connsiteX154" fmla="*/ 455234 w 1295643"/>
                <a:gd name="connsiteY154" fmla="*/ 1532968 h 2396328"/>
                <a:gd name="connsiteX155" fmla="*/ 441122 w 1295643"/>
                <a:gd name="connsiteY155" fmla="*/ 1576921 h 2396328"/>
                <a:gd name="connsiteX156" fmla="*/ 432997 w 1295643"/>
                <a:gd name="connsiteY156" fmla="*/ 1621771 h 2396328"/>
                <a:gd name="connsiteX157" fmla="*/ 429575 w 1295643"/>
                <a:gd name="connsiteY157" fmla="*/ 1669088 h 2396328"/>
                <a:gd name="connsiteX158" fmla="*/ 427651 w 1295643"/>
                <a:gd name="connsiteY158" fmla="*/ 1716629 h 2396328"/>
                <a:gd name="connsiteX159" fmla="*/ 429575 w 1295643"/>
                <a:gd name="connsiteY159" fmla="*/ 1764169 h 2396328"/>
                <a:gd name="connsiteX160" fmla="*/ 432997 w 1295643"/>
                <a:gd name="connsiteY160" fmla="*/ 1812832 h 2396328"/>
                <a:gd name="connsiteX161" fmla="*/ 437487 w 1295643"/>
                <a:gd name="connsiteY161" fmla="*/ 1861045 h 2396328"/>
                <a:gd name="connsiteX162" fmla="*/ 442833 w 1295643"/>
                <a:gd name="connsiteY162" fmla="*/ 1908362 h 2396328"/>
                <a:gd name="connsiteX163" fmla="*/ 443688 w 1295643"/>
                <a:gd name="connsiteY163" fmla="*/ 1977879 h 2396328"/>
                <a:gd name="connsiteX164" fmla="*/ 439197 w 1295643"/>
                <a:gd name="connsiteY164" fmla="*/ 2047396 h 2396328"/>
                <a:gd name="connsiteX165" fmla="*/ 431286 w 1295643"/>
                <a:gd name="connsiteY165" fmla="*/ 2114223 h 2396328"/>
                <a:gd name="connsiteX166" fmla="*/ 421450 w 1295643"/>
                <a:gd name="connsiteY166" fmla="*/ 2179703 h 2396328"/>
                <a:gd name="connsiteX167" fmla="*/ 409476 w 1295643"/>
                <a:gd name="connsiteY167" fmla="*/ 2396328 h 2396328"/>
                <a:gd name="connsiteX168" fmla="*/ 50891 w 1295643"/>
                <a:gd name="connsiteY168" fmla="*/ 2396328 h 2396328"/>
                <a:gd name="connsiteX169" fmla="*/ 91945 w 1295643"/>
                <a:gd name="connsiteY169" fmla="*/ 2308198 h 2396328"/>
                <a:gd name="connsiteX170" fmla="*/ 142622 w 1295643"/>
                <a:gd name="connsiteY170" fmla="*/ 2208407 h 2396328"/>
                <a:gd name="connsiteX171" fmla="*/ 160369 w 1295643"/>
                <a:gd name="connsiteY171" fmla="*/ 2172303 h 2396328"/>
                <a:gd name="connsiteX172" fmla="*/ 175551 w 1295643"/>
                <a:gd name="connsiteY172" fmla="*/ 2132162 h 2396328"/>
                <a:gd name="connsiteX173" fmla="*/ 189877 w 1295643"/>
                <a:gd name="connsiteY173" fmla="*/ 2087537 h 2396328"/>
                <a:gd name="connsiteX174" fmla="*/ 203134 w 1295643"/>
                <a:gd name="connsiteY174" fmla="*/ 2039996 h 2396328"/>
                <a:gd name="connsiteX175" fmla="*/ 213826 w 1295643"/>
                <a:gd name="connsiteY175" fmla="*/ 1988643 h 2396328"/>
                <a:gd name="connsiteX176" fmla="*/ 221951 w 1295643"/>
                <a:gd name="connsiteY176" fmla="*/ 1936393 h 2396328"/>
                <a:gd name="connsiteX177" fmla="*/ 229863 w 1295643"/>
                <a:gd name="connsiteY177" fmla="*/ 1881676 h 2396328"/>
                <a:gd name="connsiteX178" fmla="*/ 235208 w 1295643"/>
                <a:gd name="connsiteY178" fmla="*/ 1826286 h 2396328"/>
                <a:gd name="connsiteX179" fmla="*/ 239699 w 1295643"/>
                <a:gd name="connsiteY179" fmla="*/ 1768654 h 2396328"/>
                <a:gd name="connsiteX180" fmla="*/ 239699 w 1295643"/>
                <a:gd name="connsiteY180" fmla="*/ 1711919 h 2396328"/>
                <a:gd name="connsiteX181" fmla="*/ 239699 w 1295643"/>
                <a:gd name="connsiteY181" fmla="*/ 1655857 h 2396328"/>
                <a:gd name="connsiteX182" fmla="*/ 235208 w 1295643"/>
                <a:gd name="connsiteY182" fmla="*/ 1599570 h 2396328"/>
                <a:gd name="connsiteX183" fmla="*/ 229007 w 1295643"/>
                <a:gd name="connsiteY183" fmla="*/ 1545526 h 2396328"/>
                <a:gd name="connsiteX184" fmla="*/ 221096 w 1295643"/>
                <a:gd name="connsiteY184" fmla="*/ 1492828 h 2396328"/>
                <a:gd name="connsiteX185" fmla="*/ 209335 w 1295643"/>
                <a:gd name="connsiteY185" fmla="*/ 1441923 h 2396328"/>
                <a:gd name="connsiteX186" fmla="*/ 193298 w 1295643"/>
                <a:gd name="connsiteY186" fmla="*/ 1394607 h 2396328"/>
                <a:gd name="connsiteX187" fmla="*/ 175551 w 1295643"/>
                <a:gd name="connsiteY187" fmla="*/ 1349757 h 2396328"/>
                <a:gd name="connsiteX188" fmla="*/ 154168 w 1295643"/>
                <a:gd name="connsiteY188" fmla="*/ 1309616 h 2396328"/>
                <a:gd name="connsiteX189" fmla="*/ 130220 w 1295643"/>
                <a:gd name="connsiteY189" fmla="*/ 1274185 h 2396328"/>
                <a:gd name="connsiteX190" fmla="*/ 53457 w 1295643"/>
                <a:gd name="connsiteY190" fmla="*/ 1033789 h 2396328"/>
                <a:gd name="connsiteX191" fmla="*/ 41055 w 1295643"/>
                <a:gd name="connsiteY191" fmla="*/ 971672 h 2396328"/>
                <a:gd name="connsiteX192" fmla="*/ 25018 w 1295643"/>
                <a:gd name="connsiteY192" fmla="*/ 910004 h 2396328"/>
                <a:gd name="connsiteX193" fmla="*/ 11547 w 1295643"/>
                <a:gd name="connsiteY193" fmla="*/ 843178 h 2396328"/>
                <a:gd name="connsiteX194" fmla="*/ 5346 w 1295643"/>
                <a:gd name="connsiteY194" fmla="*/ 775006 h 2396328"/>
                <a:gd name="connsiteX195" fmla="*/ 0 w 1295643"/>
                <a:gd name="connsiteY195" fmla="*/ 703694 h 2396328"/>
                <a:gd name="connsiteX196" fmla="*/ 0 w 1295643"/>
                <a:gd name="connsiteY196" fmla="*/ 630813 h 2396328"/>
                <a:gd name="connsiteX197" fmla="*/ 3635 w 1295643"/>
                <a:gd name="connsiteY197" fmla="*/ 557260 h 2396328"/>
                <a:gd name="connsiteX198" fmla="*/ 11547 w 1295643"/>
                <a:gd name="connsiteY198" fmla="*/ 484379 h 2396328"/>
                <a:gd name="connsiteX199" fmla="*/ 23307 w 1295643"/>
                <a:gd name="connsiteY199" fmla="*/ 411722 h 2396328"/>
                <a:gd name="connsiteX200" fmla="*/ 35709 w 1295643"/>
                <a:gd name="connsiteY200" fmla="*/ 341532 h 2396328"/>
                <a:gd name="connsiteX201" fmla="*/ 53457 w 1295643"/>
                <a:gd name="connsiteY201" fmla="*/ 273360 h 2396328"/>
                <a:gd name="connsiteX202" fmla="*/ 74839 w 1295643"/>
                <a:gd name="connsiteY202" fmla="*/ 209225 h 2396328"/>
                <a:gd name="connsiteX203" fmla="*/ 97077 w 1295643"/>
                <a:gd name="connsiteY203" fmla="*/ 148453 h 2396328"/>
                <a:gd name="connsiteX204" fmla="*/ 122950 w 1295643"/>
                <a:gd name="connsiteY204" fmla="*/ 93512 h 2396328"/>
                <a:gd name="connsiteX205" fmla="*/ 150533 w 1295643"/>
                <a:gd name="connsiteY205" fmla="*/ 43504 h 2396328"/>
                <a:gd name="connsiteX206" fmla="*/ 183676 w 1295643"/>
                <a:gd name="connsiteY20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633565 w 1295643"/>
                <a:gd name="connsiteY148" fmla="*/ 1404474 h 2396328"/>
                <a:gd name="connsiteX149" fmla="*/ 536488 w 1295643"/>
                <a:gd name="connsiteY149" fmla="*/ 1427347 h 2396328"/>
                <a:gd name="connsiteX150" fmla="*/ 515105 w 1295643"/>
                <a:gd name="connsiteY150" fmla="*/ 1438559 h 2396328"/>
                <a:gd name="connsiteX151" fmla="*/ 499069 w 1295643"/>
                <a:gd name="connsiteY151" fmla="*/ 1452014 h 2396328"/>
                <a:gd name="connsiteX152" fmla="*/ 473196 w 1295643"/>
                <a:gd name="connsiteY152" fmla="*/ 1490810 h 2396328"/>
                <a:gd name="connsiteX153" fmla="*/ 455234 w 1295643"/>
                <a:gd name="connsiteY153" fmla="*/ 1532968 h 2396328"/>
                <a:gd name="connsiteX154" fmla="*/ 441122 w 1295643"/>
                <a:gd name="connsiteY154" fmla="*/ 1576921 h 2396328"/>
                <a:gd name="connsiteX155" fmla="*/ 432997 w 1295643"/>
                <a:gd name="connsiteY155" fmla="*/ 1621771 h 2396328"/>
                <a:gd name="connsiteX156" fmla="*/ 429575 w 1295643"/>
                <a:gd name="connsiteY156" fmla="*/ 1669088 h 2396328"/>
                <a:gd name="connsiteX157" fmla="*/ 427651 w 1295643"/>
                <a:gd name="connsiteY157" fmla="*/ 1716629 h 2396328"/>
                <a:gd name="connsiteX158" fmla="*/ 429575 w 1295643"/>
                <a:gd name="connsiteY158" fmla="*/ 1764169 h 2396328"/>
                <a:gd name="connsiteX159" fmla="*/ 432997 w 1295643"/>
                <a:gd name="connsiteY159" fmla="*/ 1812832 h 2396328"/>
                <a:gd name="connsiteX160" fmla="*/ 437487 w 1295643"/>
                <a:gd name="connsiteY160" fmla="*/ 1861045 h 2396328"/>
                <a:gd name="connsiteX161" fmla="*/ 442833 w 1295643"/>
                <a:gd name="connsiteY161" fmla="*/ 1908362 h 2396328"/>
                <a:gd name="connsiteX162" fmla="*/ 443688 w 1295643"/>
                <a:gd name="connsiteY162" fmla="*/ 1977879 h 2396328"/>
                <a:gd name="connsiteX163" fmla="*/ 439197 w 1295643"/>
                <a:gd name="connsiteY163" fmla="*/ 2047396 h 2396328"/>
                <a:gd name="connsiteX164" fmla="*/ 431286 w 1295643"/>
                <a:gd name="connsiteY164" fmla="*/ 2114223 h 2396328"/>
                <a:gd name="connsiteX165" fmla="*/ 421450 w 1295643"/>
                <a:gd name="connsiteY165" fmla="*/ 2179703 h 2396328"/>
                <a:gd name="connsiteX166" fmla="*/ 409476 w 1295643"/>
                <a:gd name="connsiteY166" fmla="*/ 2396328 h 2396328"/>
                <a:gd name="connsiteX167" fmla="*/ 50891 w 1295643"/>
                <a:gd name="connsiteY167" fmla="*/ 2396328 h 2396328"/>
                <a:gd name="connsiteX168" fmla="*/ 91945 w 1295643"/>
                <a:gd name="connsiteY168" fmla="*/ 2308198 h 2396328"/>
                <a:gd name="connsiteX169" fmla="*/ 142622 w 1295643"/>
                <a:gd name="connsiteY169" fmla="*/ 2208407 h 2396328"/>
                <a:gd name="connsiteX170" fmla="*/ 160369 w 1295643"/>
                <a:gd name="connsiteY170" fmla="*/ 2172303 h 2396328"/>
                <a:gd name="connsiteX171" fmla="*/ 175551 w 1295643"/>
                <a:gd name="connsiteY171" fmla="*/ 2132162 h 2396328"/>
                <a:gd name="connsiteX172" fmla="*/ 189877 w 1295643"/>
                <a:gd name="connsiteY172" fmla="*/ 2087537 h 2396328"/>
                <a:gd name="connsiteX173" fmla="*/ 203134 w 1295643"/>
                <a:gd name="connsiteY173" fmla="*/ 2039996 h 2396328"/>
                <a:gd name="connsiteX174" fmla="*/ 213826 w 1295643"/>
                <a:gd name="connsiteY174" fmla="*/ 1988643 h 2396328"/>
                <a:gd name="connsiteX175" fmla="*/ 221951 w 1295643"/>
                <a:gd name="connsiteY175" fmla="*/ 1936393 h 2396328"/>
                <a:gd name="connsiteX176" fmla="*/ 229863 w 1295643"/>
                <a:gd name="connsiteY176" fmla="*/ 1881676 h 2396328"/>
                <a:gd name="connsiteX177" fmla="*/ 235208 w 1295643"/>
                <a:gd name="connsiteY177" fmla="*/ 1826286 h 2396328"/>
                <a:gd name="connsiteX178" fmla="*/ 239699 w 1295643"/>
                <a:gd name="connsiteY178" fmla="*/ 1768654 h 2396328"/>
                <a:gd name="connsiteX179" fmla="*/ 239699 w 1295643"/>
                <a:gd name="connsiteY179" fmla="*/ 1711919 h 2396328"/>
                <a:gd name="connsiteX180" fmla="*/ 239699 w 1295643"/>
                <a:gd name="connsiteY180" fmla="*/ 1655857 h 2396328"/>
                <a:gd name="connsiteX181" fmla="*/ 235208 w 1295643"/>
                <a:gd name="connsiteY181" fmla="*/ 1599570 h 2396328"/>
                <a:gd name="connsiteX182" fmla="*/ 229007 w 1295643"/>
                <a:gd name="connsiteY182" fmla="*/ 1545526 h 2396328"/>
                <a:gd name="connsiteX183" fmla="*/ 221096 w 1295643"/>
                <a:gd name="connsiteY183" fmla="*/ 1492828 h 2396328"/>
                <a:gd name="connsiteX184" fmla="*/ 209335 w 1295643"/>
                <a:gd name="connsiteY184" fmla="*/ 1441923 h 2396328"/>
                <a:gd name="connsiteX185" fmla="*/ 193298 w 1295643"/>
                <a:gd name="connsiteY185" fmla="*/ 1394607 h 2396328"/>
                <a:gd name="connsiteX186" fmla="*/ 175551 w 1295643"/>
                <a:gd name="connsiteY186" fmla="*/ 1349757 h 2396328"/>
                <a:gd name="connsiteX187" fmla="*/ 154168 w 1295643"/>
                <a:gd name="connsiteY187" fmla="*/ 1309616 h 2396328"/>
                <a:gd name="connsiteX188" fmla="*/ 130220 w 1295643"/>
                <a:gd name="connsiteY188" fmla="*/ 1274185 h 2396328"/>
                <a:gd name="connsiteX189" fmla="*/ 53457 w 1295643"/>
                <a:gd name="connsiteY189" fmla="*/ 1033789 h 2396328"/>
                <a:gd name="connsiteX190" fmla="*/ 41055 w 1295643"/>
                <a:gd name="connsiteY190" fmla="*/ 971672 h 2396328"/>
                <a:gd name="connsiteX191" fmla="*/ 25018 w 1295643"/>
                <a:gd name="connsiteY191" fmla="*/ 910004 h 2396328"/>
                <a:gd name="connsiteX192" fmla="*/ 11547 w 1295643"/>
                <a:gd name="connsiteY192" fmla="*/ 843178 h 2396328"/>
                <a:gd name="connsiteX193" fmla="*/ 5346 w 1295643"/>
                <a:gd name="connsiteY193" fmla="*/ 775006 h 2396328"/>
                <a:gd name="connsiteX194" fmla="*/ 0 w 1295643"/>
                <a:gd name="connsiteY194" fmla="*/ 703694 h 2396328"/>
                <a:gd name="connsiteX195" fmla="*/ 0 w 1295643"/>
                <a:gd name="connsiteY195" fmla="*/ 630813 h 2396328"/>
                <a:gd name="connsiteX196" fmla="*/ 3635 w 1295643"/>
                <a:gd name="connsiteY196" fmla="*/ 557260 h 2396328"/>
                <a:gd name="connsiteX197" fmla="*/ 11547 w 1295643"/>
                <a:gd name="connsiteY197" fmla="*/ 484379 h 2396328"/>
                <a:gd name="connsiteX198" fmla="*/ 23307 w 1295643"/>
                <a:gd name="connsiteY198" fmla="*/ 411722 h 2396328"/>
                <a:gd name="connsiteX199" fmla="*/ 35709 w 1295643"/>
                <a:gd name="connsiteY199" fmla="*/ 341532 h 2396328"/>
                <a:gd name="connsiteX200" fmla="*/ 53457 w 1295643"/>
                <a:gd name="connsiteY200" fmla="*/ 273360 h 2396328"/>
                <a:gd name="connsiteX201" fmla="*/ 74839 w 1295643"/>
                <a:gd name="connsiteY201" fmla="*/ 209225 h 2396328"/>
                <a:gd name="connsiteX202" fmla="*/ 97077 w 1295643"/>
                <a:gd name="connsiteY202" fmla="*/ 148453 h 2396328"/>
                <a:gd name="connsiteX203" fmla="*/ 122950 w 1295643"/>
                <a:gd name="connsiteY203" fmla="*/ 93512 h 2396328"/>
                <a:gd name="connsiteX204" fmla="*/ 150533 w 1295643"/>
                <a:gd name="connsiteY204" fmla="*/ 43504 h 2396328"/>
                <a:gd name="connsiteX205" fmla="*/ 183676 w 1295643"/>
                <a:gd name="connsiteY205"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665267 w 1295643"/>
                <a:gd name="connsiteY147" fmla="*/ 1400104 h 2396328"/>
                <a:gd name="connsiteX148" fmla="*/ 536488 w 1295643"/>
                <a:gd name="connsiteY148" fmla="*/ 1427347 h 2396328"/>
                <a:gd name="connsiteX149" fmla="*/ 515105 w 1295643"/>
                <a:gd name="connsiteY149" fmla="*/ 1438559 h 2396328"/>
                <a:gd name="connsiteX150" fmla="*/ 499069 w 1295643"/>
                <a:gd name="connsiteY150" fmla="*/ 1452014 h 2396328"/>
                <a:gd name="connsiteX151" fmla="*/ 473196 w 1295643"/>
                <a:gd name="connsiteY151" fmla="*/ 1490810 h 2396328"/>
                <a:gd name="connsiteX152" fmla="*/ 455234 w 1295643"/>
                <a:gd name="connsiteY152" fmla="*/ 1532968 h 2396328"/>
                <a:gd name="connsiteX153" fmla="*/ 441122 w 1295643"/>
                <a:gd name="connsiteY153" fmla="*/ 1576921 h 2396328"/>
                <a:gd name="connsiteX154" fmla="*/ 432997 w 1295643"/>
                <a:gd name="connsiteY154" fmla="*/ 1621771 h 2396328"/>
                <a:gd name="connsiteX155" fmla="*/ 429575 w 1295643"/>
                <a:gd name="connsiteY155" fmla="*/ 1669088 h 2396328"/>
                <a:gd name="connsiteX156" fmla="*/ 427651 w 1295643"/>
                <a:gd name="connsiteY156" fmla="*/ 1716629 h 2396328"/>
                <a:gd name="connsiteX157" fmla="*/ 429575 w 1295643"/>
                <a:gd name="connsiteY157" fmla="*/ 1764169 h 2396328"/>
                <a:gd name="connsiteX158" fmla="*/ 432997 w 1295643"/>
                <a:gd name="connsiteY158" fmla="*/ 1812832 h 2396328"/>
                <a:gd name="connsiteX159" fmla="*/ 437487 w 1295643"/>
                <a:gd name="connsiteY159" fmla="*/ 1861045 h 2396328"/>
                <a:gd name="connsiteX160" fmla="*/ 442833 w 1295643"/>
                <a:gd name="connsiteY160" fmla="*/ 1908362 h 2396328"/>
                <a:gd name="connsiteX161" fmla="*/ 443688 w 1295643"/>
                <a:gd name="connsiteY161" fmla="*/ 1977879 h 2396328"/>
                <a:gd name="connsiteX162" fmla="*/ 439197 w 1295643"/>
                <a:gd name="connsiteY162" fmla="*/ 2047396 h 2396328"/>
                <a:gd name="connsiteX163" fmla="*/ 431286 w 1295643"/>
                <a:gd name="connsiteY163" fmla="*/ 2114223 h 2396328"/>
                <a:gd name="connsiteX164" fmla="*/ 421450 w 1295643"/>
                <a:gd name="connsiteY164" fmla="*/ 2179703 h 2396328"/>
                <a:gd name="connsiteX165" fmla="*/ 409476 w 1295643"/>
                <a:gd name="connsiteY165" fmla="*/ 2396328 h 2396328"/>
                <a:gd name="connsiteX166" fmla="*/ 50891 w 1295643"/>
                <a:gd name="connsiteY166" fmla="*/ 2396328 h 2396328"/>
                <a:gd name="connsiteX167" fmla="*/ 91945 w 1295643"/>
                <a:gd name="connsiteY167" fmla="*/ 2308198 h 2396328"/>
                <a:gd name="connsiteX168" fmla="*/ 142622 w 1295643"/>
                <a:gd name="connsiteY168" fmla="*/ 2208407 h 2396328"/>
                <a:gd name="connsiteX169" fmla="*/ 160369 w 1295643"/>
                <a:gd name="connsiteY169" fmla="*/ 2172303 h 2396328"/>
                <a:gd name="connsiteX170" fmla="*/ 175551 w 1295643"/>
                <a:gd name="connsiteY170" fmla="*/ 2132162 h 2396328"/>
                <a:gd name="connsiteX171" fmla="*/ 189877 w 1295643"/>
                <a:gd name="connsiteY171" fmla="*/ 2087537 h 2396328"/>
                <a:gd name="connsiteX172" fmla="*/ 203134 w 1295643"/>
                <a:gd name="connsiteY172" fmla="*/ 2039996 h 2396328"/>
                <a:gd name="connsiteX173" fmla="*/ 213826 w 1295643"/>
                <a:gd name="connsiteY173" fmla="*/ 1988643 h 2396328"/>
                <a:gd name="connsiteX174" fmla="*/ 221951 w 1295643"/>
                <a:gd name="connsiteY174" fmla="*/ 1936393 h 2396328"/>
                <a:gd name="connsiteX175" fmla="*/ 229863 w 1295643"/>
                <a:gd name="connsiteY175" fmla="*/ 1881676 h 2396328"/>
                <a:gd name="connsiteX176" fmla="*/ 235208 w 1295643"/>
                <a:gd name="connsiteY176" fmla="*/ 1826286 h 2396328"/>
                <a:gd name="connsiteX177" fmla="*/ 239699 w 1295643"/>
                <a:gd name="connsiteY177" fmla="*/ 1768654 h 2396328"/>
                <a:gd name="connsiteX178" fmla="*/ 239699 w 1295643"/>
                <a:gd name="connsiteY178" fmla="*/ 1711919 h 2396328"/>
                <a:gd name="connsiteX179" fmla="*/ 239699 w 1295643"/>
                <a:gd name="connsiteY179" fmla="*/ 1655857 h 2396328"/>
                <a:gd name="connsiteX180" fmla="*/ 235208 w 1295643"/>
                <a:gd name="connsiteY180" fmla="*/ 1599570 h 2396328"/>
                <a:gd name="connsiteX181" fmla="*/ 229007 w 1295643"/>
                <a:gd name="connsiteY181" fmla="*/ 1545526 h 2396328"/>
                <a:gd name="connsiteX182" fmla="*/ 221096 w 1295643"/>
                <a:gd name="connsiteY182" fmla="*/ 1492828 h 2396328"/>
                <a:gd name="connsiteX183" fmla="*/ 209335 w 1295643"/>
                <a:gd name="connsiteY183" fmla="*/ 1441923 h 2396328"/>
                <a:gd name="connsiteX184" fmla="*/ 193298 w 1295643"/>
                <a:gd name="connsiteY184" fmla="*/ 1394607 h 2396328"/>
                <a:gd name="connsiteX185" fmla="*/ 175551 w 1295643"/>
                <a:gd name="connsiteY185" fmla="*/ 1349757 h 2396328"/>
                <a:gd name="connsiteX186" fmla="*/ 154168 w 1295643"/>
                <a:gd name="connsiteY186" fmla="*/ 1309616 h 2396328"/>
                <a:gd name="connsiteX187" fmla="*/ 130220 w 1295643"/>
                <a:gd name="connsiteY187" fmla="*/ 1274185 h 2396328"/>
                <a:gd name="connsiteX188" fmla="*/ 53457 w 1295643"/>
                <a:gd name="connsiteY188" fmla="*/ 1033789 h 2396328"/>
                <a:gd name="connsiteX189" fmla="*/ 41055 w 1295643"/>
                <a:gd name="connsiteY189" fmla="*/ 971672 h 2396328"/>
                <a:gd name="connsiteX190" fmla="*/ 25018 w 1295643"/>
                <a:gd name="connsiteY190" fmla="*/ 910004 h 2396328"/>
                <a:gd name="connsiteX191" fmla="*/ 11547 w 1295643"/>
                <a:gd name="connsiteY191" fmla="*/ 843178 h 2396328"/>
                <a:gd name="connsiteX192" fmla="*/ 5346 w 1295643"/>
                <a:gd name="connsiteY192" fmla="*/ 775006 h 2396328"/>
                <a:gd name="connsiteX193" fmla="*/ 0 w 1295643"/>
                <a:gd name="connsiteY193" fmla="*/ 703694 h 2396328"/>
                <a:gd name="connsiteX194" fmla="*/ 0 w 1295643"/>
                <a:gd name="connsiteY194" fmla="*/ 630813 h 2396328"/>
                <a:gd name="connsiteX195" fmla="*/ 3635 w 1295643"/>
                <a:gd name="connsiteY195" fmla="*/ 557260 h 2396328"/>
                <a:gd name="connsiteX196" fmla="*/ 11547 w 1295643"/>
                <a:gd name="connsiteY196" fmla="*/ 484379 h 2396328"/>
                <a:gd name="connsiteX197" fmla="*/ 23307 w 1295643"/>
                <a:gd name="connsiteY197" fmla="*/ 411722 h 2396328"/>
                <a:gd name="connsiteX198" fmla="*/ 35709 w 1295643"/>
                <a:gd name="connsiteY198" fmla="*/ 341532 h 2396328"/>
                <a:gd name="connsiteX199" fmla="*/ 53457 w 1295643"/>
                <a:gd name="connsiteY199" fmla="*/ 273360 h 2396328"/>
                <a:gd name="connsiteX200" fmla="*/ 74839 w 1295643"/>
                <a:gd name="connsiteY200" fmla="*/ 209225 h 2396328"/>
                <a:gd name="connsiteX201" fmla="*/ 97077 w 1295643"/>
                <a:gd name="connsiteY201" fmla="*/ 148453 h 2396328"/>
                <a:gd name="connsiteX202" fmla="*/ 122950 w 1295643"/>
                <a:gd name="connsiteY202" fmla="*/ 93512 h 2396328"/>
                <a:gd name="connsiteX203" fmla="*/ 150533 w 1295643"/>
                <a:gd name="connsiteY203" fmla="*/ 43504 h 2396328"/>
                <a:gd name="connsiteX204" fmla="*/ 183676 w 1295643"/>
                <a:gd name="connsiteY204"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55946 w 1295643"/>
                <a:gd name="connsiteY146" fmla="*/ 1290331 h 2396328"/>
                <a:gd name="connsiteX147" fmla="*/ 536488 w 1295643"/>
                <a:gd name="connsiteY147" fmla="*/ 1427347 h 2396328"/>
                <a:gd name="connsiteX148" fmla="*/ 515105 w 1295643"/>
                <a:gd name="connsiteY148" fmla="*/ 1438559 h 2396328"/>
                <a:gd name="connsiteX149" fmla="*/ 499069 w 1295643"/>
                <a:gd name="connsiteY149" fmla="*/ 1452014 h 2396328"/>
                <a:gd name="connsiteX150" fmla="*/ 473196 w 1295643"/>
                <a:gd name="connsiteY150" fmla="*/ 1490810 h 2396328"/>
                <a:gd name="connsiteX151" fmla="*/ 455234 w 1295643"/>
                <a:gd name="connsiteY151" fmla="*/ 1532968 h 2396328"/>
                <a:gd name="connsiteX152" fmla="*/ 441122 w 1295643"/>
                <a:gd name="connsiteY152" fmla="*/ 1576921 h 2396328"/>
                <a:gd name="connsiteX153" fmla="*/ 432997 w 1295643"/>
                <a:gd name="connsiteY153" fmla="*/ 1621771 h 2396328"/>
                <a:gd name="connsiteX154" fmla="*/ 429575 w 1295643"/>
                <a:gd name="connsiteY154" fmla="*/ 1669088 h 2396328"/>
                <a:gd name="connsiteX155" fmla="*/ 427651 w 1295643"/>
                <a:gd name="connsiteY155" fmla="*/ 1716629 h 2396328"/>
                <a:gd name="connsiteX156" fmla="*/ 429575 w 1295643"/>
                <a:gd name="connsiteY156" fmla="*/ 1764169 h 2396328"/>
                <a:gd name="connsiteX157" fmla="*/ 432997 w 1295643"/>
                <a:gd name="connsiteY157" fmla="*/ 1812832 h 2396328"/>
                <a:gd name="connsiteX158" fmla="*/ 437487 w 1295643"/>
                <a:gd name="connsiteY158" fmla="*/ 1861045 h 2396328"/>
                <a:gd name="connsiteX159" fmla="*/ 442833 w 1295643"/>
                <a:gd name="connsiteY159" fmla="*/ 1908362 h 2396328"/>
                <a:gd name="connsiteX160" fmla="*/ 443688 w 1295643"/>
                <a:gd name="connsiteY160" fmla="*/ 1977879 h 2396328"/>
                <a:gd name="connsiteX161" fmla="*/ 439197 w 1295643"/>
                <a:gd name="connsiteY161" fmla="*/ 2047396 h 2396328"/>
                <a:gd name="connsiteX162" fmla="*/ 431286 w 1295643"/>
                <a:gd name="connsiteY162" fmla="*/ 2114223 h 2396328"/>
                <a:gd name="connsiteX163" fmla="*/ 421450 w 1295643"/>
                <a:gd name="connsiteY163" fmla="*/ 2179703 h 2396328"/>
                <a:gd name="connsiteX164" fmla="*/ 409476 w 1295643"/>
                <a:gd name="connsiteY164" fmla="*/ 2396328 h 2396328"/>
                <a:gd name="connsiteX165" fmla="*/ 50891 w 1295643"/>
                <a:gd name="connsiteY165" fmla="*/ 2396328 h 2396328"/>
                <a:gd name="connsiteX166" fmla="*/ 91945 w 1295643"/>
                <a:gd name="connsiteY166" fmla="*/ 2308198 h 2396328"/>
                <a:gd name="connsiteX167" fmla="*/ 142622 w 1295643"/>
                <a:gd name="connsiteY167" fmla="*/ 2208407 h 2396328"/>
                <a:gd name="connsiteX168" fmla="*/ 160369 w 1295643"/>
                <a:gd name="connsiteY168" fmla="*/ 2172303 h 2396328"/>
                <a:gd name="connsiteX169" fmla="*/ 175551 w 1295643"/>
                <a:gd name="connsiteY169" fmla="*/ 2132162 h 2396328"/>
                <a:gd name="connsiteX170" fmla="*/ 189877 w 1295643"/>
                <a:gd name="connsiteY170" fmla="*/ 2087537 h 2396328"/>
                <a:gd name="connsiteX171" fmla="*/ 203134 w 1295643"/>
                <a:gd name="connsiteY171" fmla="*/ 2039996 h 2396328"/>
                <a:gd name="connsiteX172" fmla="*/ 213826 w 1295643"/>
                <a:gd name="connsiteY172" fmla="*/ 1988643 h 2396328"/>
                <a:gd name="connsiteX173" fmla="*/ 221951 w 1295643"/>
                <a:gd name="connsiteY173" fmla="*/ 1936393 h 2396328"/>
                <a:gd name="connsiteX174" fmla="*/ 229863 w 1295643"/>
                <a:gd name="connsiteY174" fmla="*/ 1881676 h 2396328"/>
                <a:gd name="connsiteX175" fmla="*/ 235208 w 1295643"/>
                <a:gd name="connsiteY175" fmla="*/ 1826286 h 2396328"/>
                <a:gd name="connsiteX176" fmla="*/ 239699 w 1295643"/>
                <a:gd name="connsiteY176" fmla="*/ 1768654 h 2396328"/>
                <a:gd name="connsiteX177" fmla="*/ 239699 w 1295643"/>
                <a:gd name="connsiteY177" fmla="*/ 1711919 h 2396328"/>
                <a:gd name="connsiteX178" fmla="*/ 239699 w 1295643"/>
                <a:gd name="connsiteY178" fmla="*/ 1655857 h 2396328"/>
                <a:gd name="connsiteX179" fmla="*/ 235208 w 1295643"/>
                <a:gd name="connsiteY179" fmla="*/ 1599570 h 2396328"/>
                <a:gd name="connsiteX180" fmla="*/ 229007 w 1295643"/>
                <a:gd name="connsiteY180" fmla="*/ 1545526 h 2396328"/>
                <a:gd name="connsiteX181" fmla="*/ 221096 w 1295643"/>
                <a:gd name="connsiteY181" fmla="*/ 1492828 h 2396328"/>
                <a:gd name="connsiteX182" fmla="*/ 209335 w 1295643"/>
                <a:gd name="connsiteY182" fmla="*/ 1441923 h 2396328"/>
                <a:gd name="connsiteX183" fmla="*/ 193298 w 1295643"/>
                <a:gd name="connsiteY183" fmla="*/ 1394607 h 2396328"/>
                <a:gd name="connsiteX184" fmla="*/ 175551 w 1295643"/>
                <a:gd name="connsiteY184" fmla="*/ 1349757 h 2396328"/>
                <a:gd name="connsiteX185" fmla="*/ 154168 w 1295643"/>
                <a:gd name="connsiteY185" fmla="*/ 1309616 h 2396328"/>
                <a:gd name="connsiteX186" fmla="*/ 130220 w 1295643"/>
                <a:gd name="connsiteY186" fmla="*/ 1274185 h 2396328"/>
                <a:gd name="connsiteX187" fmla="*/ 53457 w 1295643"/>
                <a:gd name="connsiteY187" fmla="*/ 1033789 h 2396328"/>
                <a:gd name="connsiteX188" fmla="*/ 41055 w 1295643"/>
                <a:gd name="connsiteY188" fmla="*/ 971672 h 2396328"/>
                <a:gd name="connsiteX189" fmla="*/ 25018 w 1295643"/>
                <a:gd name="connsiteY189" fmla="*/ 910004 h 2396328"/>
                <a:gd name="connsiteX190" fmla="*/ 11547 w 1295643"/>
                <a:gd name="connsiteY190" fmla="*/ 843178 h 2396328"/>
                <a:gd name="connsiteX191" fmla="*/ 5346 w 1295643"/>
                <a:gd name="connsiteY191" fmla="*/ 775006 h 2396328"/>
                <a:gd name="connsiteX192" fmla="*/ 0 w 1295643"/>
                <a:gd name="connsiteY192" fmla="*/ 703694 h 2396328"/>
                <a:gd name="connsiteX193" fmla="*/ 0 w 1295643"/>
                <a:gd name="connsiteY193" fmla="*/ 630813 h 2396328"/>
                <a:gd name="connsiteX194" fmla="*/ 3635 w 1295643"/>
                <a:gd name="connsiteY194" fmla="*/ 557260 h 2396328"/>
                <a:gd name="connsiteX195" fmla="*/ 11547 w 1295643"/>
                <a:gd name="connsiteY195" fmla="*/ 484379 h 2396328"/>
                <a:gd name="connsiteX196" fmla="*/ 23307 w 1295643"/>
                <a:gd name="connsiteY196" fmla="*/ 411722 h 2396328"/>
                <a:gd name="connsiteX197" fmla="*/ 35709 w 1295643"/>
                <a:gd name="connsiteY197" fmla="*/ 341532 h 2396328"/>
                <a:gd name="connsiteX198" fmla="*/ 53457 w 1295643"/>
                <a:gd name="connsiteY198" fmla="*/ 273360 h 2396328"/>
                <a:gd name="connsiteX199" fmla="*/ 74839 w 1295643"/>
                <a:gd name="connsiteY199" fmla="*/ 209225 h 2396328"/>
                <a:gd name="connsiteX200" fmla="*/ 97077 w 1295643"/>
                <a:gd name="connsiteY200" fmla="*/ 148453 h 2396328"/>
                <a:gd name="connsiteX201" fmla="*/ 122950 w 1295643"/>
                <a:gd name="connsiteY201" fmla="*/ 93512 h 2396328"/>
                <a:gd name="connsiteX202" fmla="*/ 150533 w 1295643"/>
                <a:gd name="connsiteY202" fmla="*/ 43504 h 2396328"/>
                <a:gd name="connsiteX203" fmla="*/ 183676 w 1295643"/>
                <a:gd name="connsiteY203"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6816 w 1295643"/>
                <a:gd name="connsiteY145" fmla="*/ 1299076 h 2396328"/>
                <a:gd name="connsiteX146" fmla="*/ 536488 w 1295643"/>
                <a:gd name="connsiteY146" fmla="*/ 1427347 h 2396328"/>
                <a:gd name="connsiteX147" fmla="*/ 515105 w 1295643"/>
                <a:gd name="connsiteY147" fmla="*/ 1438559 h 2396328"/>
                <a:gd name="connsiteX148" fmla="*/ 499069 w 1295643"/>
                <a:gd name="connsiteY148" fmla="*/ 1452014 h 2396328"/>
                <a:gd name="connsiteX149" fmla="*/ 473196 w 1295643"/>
                <a:gd name="connsiteY149" fmla="*/ 1490810 h 2396328"/>
                <a:gd name="connsiteX150" fmla="*/ 455234 w 1295643"/>
                <a:gd name="connsiteY150" fmla="*/ 1532968 h 2396328"/>
                <a:gd name="connsiteX151" fmla="*/ 441122 w 1295643"/>
                <a:gd name="connsiteY151" fmla="*/ 1576921 h 2396328"/>
                <a:gd name="connsiteX152" fmla="*/ 432997 w 1295643"/>
                <a:gd name="connsiteY152" fmla="*/ 1621771 h 2396328"/>
                <a:gd name="connsiteX153" fmla="*/ 429575 w 1295643"/>
                <a:gd name="connsiteY153" fmla="*/ 1669088 h 2396328"/>
                <a:gd name="connsiteX154" fmla="*/ 427651 w 1295643"/>
                <a:gd name="connsiteY154" fmla="*/ 1716629 h 2396328"/>
                <a:gd name="connsiteX155" fmla="*/ 429575 w 1295643"/>
                <a:gd name="connsiteY155" fmla="*/ 1764169 h 2396328"/>
                <a:gd name="connsiteX156" fmla="*/ 432997 w 1295643"/>
                <a:gd name="connsiteY156" fmla="*/ 1812832 h 2396328"/>
                <a:gd name="connsiteX157" fmla="*/ 437487 w 1295643"/>
                <a:gd name="connsiteY157" fmla="*/ 1861045 h 2396328"/>
                <a:gd name="connsiteX158" fmla="*/ 442833 w 1295643"/>
                <a:gd name="connsiteY158" fmla="*/ 1908362 h 2396328"/>
                <a:gd name="connsiteX159" fmla="*/ 443688 w 1295643"/>
                <a:gd name="connsiteY159" fmla="*/ 1977879 h 2396328"/>
                <a:gd name="connsiteX160" fmla="*/ 439197 w 1295643"/>
                <a:gd name="connsiteY160" fmla="*/ 2047396 h 2396328"/>
                <a:gd name="connsiteX161" fmla="*/ 431286 w 1295643"/>
                <a:gd name="connsiteY161" fmla="*/ 2114223 h 2396328"/>
                <a:gd name="connsiteX162" fmla="*/ 421450 w 1295643"/>
                <a:gd name="connsiteY162" fmla="*/ 2179703 h 2396328"/>
                <a:gd name="connsiteX163" fmla="*/ 409476 w 1295643"/>
                <a:gd name="connsiteY163" fmla="*/ 2396328 h 2396328"/>
                <a:gd name="connsiteX164" fmla="*/ 50891 w 1295643"/>
                <a:gd name="connsiteY164" fmla="*/ 2396328 h 2396328"/>
                <a:gd name="connsiteX165" fmla="*/ 91945 w 1295643"/>
                <a:gd name="connsiteY165" fmla="*/ 2308198 h 2396328"/>
                <a:gd name="connsiteX166" fmla="*/ 142622 w 1295643"/>
                <a:gd name="connsiteY166" fmla="*/ 2208407 h 2396328"/>
                <a:gd name="connsiteX167" fmla="*/ 160369 w 1295643"/>
                <a:gd name="connsiteY167" fmla="*/ 2172303 h 2396328"/>
                <a:gd name="connsiteX168" fmla="*/ 175551 w 1295643"/>
                <a:gd name="connsiteY168" fmla="*/ 2132162 h 2396328"/>
                <a:gd name="connsiteX169" fmla="*/ 189877 w 1295643"/>
                <a:gd name="connsiteY169" fmla="*/ 2087537 h 2396328"/>
                <a:gd name="connsiteX170" fmla="*/ 203134 w 1295643"/>
                <a:gd name="connsiteY170" fmla="*/ 2039996 h 2396328"/>
                <a:gd name="connsiteX171" fmla="*/ 213826 w 1295643"/>
                <a:gd name="connsiteY171" fmla="*/ 1988643 h 2396328"/>
                <a:gd name="connsiteX172" fmla="*/ 221951 w 1295643"/>
                <a:gd name="connsiteY172" fmla="*/ 1936393 h 2396328"/>
                <a:gd name="connsiteX173" fmla="*/ 229863 w 1295643"/>
                <a:gd name="connsiteY173" fmla="*/ 1881676 h 2396328"/>
                <a:gd name="connsiteX174" fmla="*/ 235208 w 1295643"/>
                <a:gd name="connsiteY174" fmla="*/ 1826286 h 2396328"/>
                <a:gd name="connsiteX175" fmla="*/ 239699 w 1295643"/>
                <a:gd name="connsiteY175" fmla="*/ 1768654 h 2396328"/>
                <a:gd name="connsiteX176" fmla="*/ 239699 w 1295643"/>
                <a:gd name="connsiteY176" fmla="*/ 1711919 h 2396328"/>
                <a:gd name="connsiteX177" fmla="*/ 239699 w 1295643"/>
                <a:gd name="connsiteY177" fmla="*/ 1655857 h 2396328"/>
                <a:gd name="connsiteX178" fmla="*/ 235208 w 1295643"/>
                <a:gd name="connsiteY178" fmla="*/ 1599570 h 2396328"/>
                <a:gd name="connsiteX179" fmla="*/ 229007 w 1295643"/>
                <a:gd name="connsiteY179" fmla="*/ 1545526 h 2396328"/>
                <a:gd name="connsiteX180" fmla="*/ 221096 w 1295643"/>
                <a:gd name="connsiteY180" fmla="*/ 1492828 h 2396328"/>
                <a:gd name="connsiteX181" fmla="*/ 209335 w 1295643"/>
                <a:gd name="connsiteY181" fmla="*/ 1441923 h 2396328"/>
                <a:gd name="connsiteX182" fmla="*/ 193298 w 1295643"/>
                <a:gd name="connsiteY182" fmla="*/ 1394607 h 2396328"/>
                <a:gd name="connsiteX183" fmla="*/ 175551 w 1295643"/>
                <a:gd name="connsiteY183" fmla="*/ 1349757 h 2396328"/>
                <a:gd name="connsiteX184" fmla="*/ 154168 w 1295643"/>
                <a:gd name="connsiteY184" fmla="*/ 1309616 h 2396328"/>
                <a:gd name="connsiteX185" fmla="*/ 130220 w 1295643"/>
                <a:gd name="connsiteY185" fmla="*/ 1274185 h 2396328"/>
                <a:gd name="connsiteX186" fmla="*/ 53457 w 1295643"/>
                <a:gd name="connsiteY186" fmla="*/ 1033789 h 2396328"/>
                <a:gd name="connsiteX187" fmla="*/ 41055 w 1295643"/>
                <a:gd name="connsiteY187" fmla="*/ 971672 h 2396328"/>
                <a:gd name="connsiteX188" fmla="*/ 25018 w 1295643"/>
                <a:gd name="connsiteY188" fmla="*/ 910004 h 2396328"/>
                <a:gd name="connsiteX189" fmla="*/ 11547 w 1295643"/>
                <a:gd name="connsiteY189" fmla="*/ 843178 h 2396328"/>
                <a:gd name="connsiteX190" fmla="*/ 5346 w 1295643"/>
                <a:gd name="connsiteY190" fmla="*/ 775006 h 2396328"/>
                <a:gd name="connsiteX191" fmla="*/ 0 w 1295643"/>
                <a:gd name="connsiteY191" fmla="*/ 703694 h 2396328"/>
                <a:gd name="connsiteX192" fmla="*/ 0 w 1295643"/>
                <a:gd name="connsiteY192" fmla="*/ 630813 h 2396328"/>
                <a:gd name="connsiteX193" fmla="*/ 3635 w 1295643"/>
                <a:gd name="connsiteY193" fmla="*/ 557260 h 2396328"/>
                <a:gd name="connsiteX194" fmla="*/ 11547 w 1295643"/>
                <a:gd name="connsiteY194" fmla="*/ 484379 h 2396328"/>
                <a:gd name="connsiteX195" fmla="*/ 23307 w 1295643"/>
                <a:gd name="connsiteY195" fmla="*/ 411722 h 2396328"/>
                <a:gd name="connsiteX196" fmla="*/ 35709 w 1295643"/>
                <a:gd name="connsiteY196" fmla="*/ 341532 h 2396328"/>
                <a:gd name="connsiteX197" fmla="*/ 53457 w 1295643"/>
                <a:gd name="connsiteY197" fmla="*/ 273360 h 2396328"/>
                <a:gd name="connsiteX198" fmla="*/ 74839 w 1295643"/>
                <a:gd name="connsiteY198" fmla="*/ 209225 h 2396328"/>
                <a:gd name="connsiteX199" fmla="*/ 97077 w 1295643"/>
                <a:gd name="connsiteY199" fmla="*/ 148453 h 2396328"/>
                <a:gd name="connsiteX200" fmla="*/ 122950 w 1295643"/>
                <a:gd name="connsiteY200" fmla="*/ 93512 h 2396328"/>
                <a:gd name="connsiteX201" fmla="*/ 150533 w 1295643"/>
                <a:gd name="connsiteY201" fmla="*/ 43504 h 2396328"/>
                <a:gd name="connsiteX202" fmla="*/ 183676 w 1295643"/>
                <a:gd name="connsiteY202"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36488 w 1295643"/>
                <a:gd name="connsiteY145" fmla="*/ 1427347 h 2396328"/>
                <a:gd name="connsiteX146" fmla="*/ 515105 w 1295643"/>
                <a:gd name="connsiteY146" fmla="*/ 1438559 h 2396328"/>
                <a:gd name="connsiteX147" fmla="*/ 499069 w 1295643"/>
                <a:gd name="connsiteY147" fmla="*/ 1452014 h 2396328"/>
                <a:gd name="connsiteX148" fmla="*/ 473196 w 1295643"/>
                <a:gd name="connsiteY148" fmla="*/ 1490810 h 2396328"/>
                <a:gd name="connsiteX149" fmla="*/ 455234 w 1295643"/>
                <a:gd name="connsiteY149" fmla="*/ 1532968 h 2396328"/>
                <a:gd name="connsiteX150" fmla="*/ 441122 w 1295643"/>
                <a:gd name="connsiteY150" fmla="*/ 1576921 h 2396328"/>
                <a:gd name="connsiteX151" fmla="*/ 432997 w 1295643"/>
                <a:gd name="connsiteY151" fmla="*/ 1621771 h 2396328"/>
                <a:gd name="connsiteX152" fmla="*/ 429575 w 1295643"/>
                <a:gd name="connsiteY152" fmla="*/ 1669088 h 2396328"/>
                <a:gd name="connsiteX153" fmla="*/ 427651 w 1295643"/>
                <a:gd name="connsiteY153" fmla="*/ 1716629 h 2396328"/>
                <a:gd name="connsiteX154" fmla="*/ 429575 w 1295643"/>
                <a:gd name="connsiteY154" fmla="*/ 1764169 h 2396328"/>
                <a:gd name="connsiteX155" fmla="*/ 432997 w 1295643"/>
                <a:gd name="connsiteY155" fmla="*/ 1812832 h 2396328"/>
                <a:gd name="connsiteX156" fmla="*/ 437487 w 1295643"/>
                <a:gd name="connsiteY156" fmla="*/ 1861045 h 2396328"/>
                <a:gd name="connsiteX157" fmla="*/ 442833 w 1295643"/>
                <a:gd name="connsiteY157" fmla="*/ 1908362 h 2396328"/>
                <a:gd name="connsiteX158" fmla="*/ 443688 w 1295643"/>
                <a:gd name="connsiteY158" fmla="*/ 1977879 h 2396328"/>
                <a:gd name="connsiteX159" fmla="*/ 439197 w 1295643"/>
                <a:gd name="connsiteY159" fmla="*/ 2047396 h 2396328"/>
                <a:gd name="connsiteX160" fmla="*/ 431286 w 1295643"/>
                <a:gd name="connsiteY160" fmla="*/ 2114223 h 2396328"/>
                <a:gd name="connsiteX161" fmla="*/ 421450 w 1295643"/>
                <a:gd name="connsiteY161" fmla="*/ 2179703 h 2396328"/>
                <a:gd name="connsiteX162" fmla="*/ 409476 w 1295643"/>
                <a:gd name="connsiteY162" fmla="*/ 2396328 h 2396328"/>
                <a:gd name="connsiteX163" fmla="*/ 50891 w 1295643"/>
                <a:gd name="connsiteY163" fmla="*/ 2396328 h 2396328"/>
                <a:gd name="connsiteX164" fmla="*/ 91945 w 1295643"/>
                <a:gd name="connsiteY164" fmla="*/ 2308198 h 2396328"/>
                <a:gd name="connsiteX165" fmla="*/ 142622 w 1295643"/>
                <a:gd name="connsiteY165" fmla="*/ 2208407 h 2396328"/>
                <a:gd name="connsiteX166" fmla="*/ 160369 w 1295643"/>
                <a:gd name="connsiteY166" fmla="*/ 2172303 h 2396328"/>
                <a:gd name="connsiteX167" fmla="*/ 175551 w 1295643"/>
                <a:gd name="connsiteY167" fmla="*/ 2132162 h 2396328"/>
                <a:gd name="connsiteX168" fmla="*/ 189877 w 1295643"/>
                <a:gd name="connsiteY168" fmla="*/ 2087537 h 2396328"/>
                <a:gd name="connsiteX169" fmla="*/ 203134 w 1295643"/>
                <a:gd name="connsiteY169" fmla="*/ 2039996 h 2396328"/>
                <a:gd name="connsiteX170" fmla="*/ 213826 w 1295643"/>
                <a:gd name="connsiteY170" fmla="*/ 1988643 h 2396328"/>
                <a:gd name="connsiteX171" fmla="*/ 221951 w 1295643"/>
                <a:gd name="connsiteY171" fmla="*/ 1936393 h 2396328"/>
                <a:gd name="connsiteX172" fmla="*/ 229863 w 1295643"/>
                <a:gd name="connsiteY172" fmla="*/ 1881676 h 2396328"/>
                <a:gd name="connsiteX173" fmla="*/ 235208 w 1295643"/>
                <a:gd name="connsiteY173" fmla="*/ 1826286 h 2396328"/>
                <a:gd name="connsiteX174" fmla="*/ 239699 w 1295643"/>
                <a:gd name="connsiteY174" fmla="*/ 1768654 h 2396328"/>
                <a:gd name="connsiteX175" fmla="*/ 239699 w 1295643"/>
                <a:gd name="connsiteY175" fmla="*/ 1711919 h 2396328"/>
                <a:gd name="connsiteX176" fmla="*/ 239699 w 1295643"/>
                <a:gd name="connsiteY176" fmla="*/ 1655857 h 2396328"/>
                <a:gd name="connsiteX177" fmla="*/ 235208 w 1295643"/>
                <a:gd name="connsiteY177" fmla="*/ 1599570 h 2396328"/>
                <a:gd name="connsiteX178" fmla="*/ 229007 w 1295643"/>
                <a:gd name="connsiteY178" fmla="*/ 1545526 h 2396328"/>
                <a:gd name="connsiteX179" fmla="*/ 221096 w 1295643"/>
                <a:gd name="connsiteY179" fmla="*/ 1492828 h 2396328"/>
                <a:gd name="connsiteX180" fmla="*/ 209335 w 1295643"/>
                <a:gd name="connsiteY180" fmla="*/ 1441923 h 2396328"/>
                <a:gd name="connsiteX181" fmla="*/ 193298 w 1295643"/>
                <a:gd name="connsiteY181" fmla="*/ 1394607 h 2396328"/>
                <a:gd name="connsiteX182" fmla="*/ 175551 w 1295643"/>
                <a:gd name="connsiteY182" fmla="*/ 1349757 h 2396328"/>
                <a:gd name="connsiteX183" fmla="*/ 154168 w 1295643"/>
                <a:gd name="connsiteY183" fmla="*/ 1309616 h 2396328"/>
                <a:gd name="connsiteX184" fmla="*/ 130220 w 1295643"/>
                <a:gd name="connsiteY184" fmla="*/ 1274185 h 2396328"/>
                <a:gd name="connsiteX185" fmla="*/ 53457 w 1295643"/>
                <a:gd name="connsiteY185" fmla="*/ 1033789 h 2396328"/>
                <a:gd name="connsiteX186" fmla="*/ 41055 w 1295643"/>
                <a:gd name="connsiteY186" fmla="*/ 971672 h 2396328"/>
                <a:gd name="connsiteX187" fmla="*/ 25018 w 1295643"/>
                <a:gd name="connsiteY187" fmla="*/ 910004 h 2396328"/>
                <a:gd name="connsiteX188" fmla="*/ 11547 w 1295643"/>
                <a:gd name="connsiteY188" fmla="*/ 843178 h 2396328"/>
                <a:gd name="connsiteX189" fmla="*/ 5346 w 1295643"/>
                <a:gd name="connsiteY189" fmla="*/ 775006 h 2396328"/>
                <a:gd name="connsiteX190" fmla="*/ 0 w 1295643"/>
                <a:gd name="connsiteY190" fmla="*/ 703694 h 2396328"/>
                <a:gd name="connsiteX191" fmla="*/ 0 w 1295643"/>
                <a:gd name="connsiteY191" fmla="*/ 630813 h 2396328"/>
                <a:gd name="connsiteX192" fmla="*/ 3635 w 1295643"/>
                <a:gd name="connsiteY192" fmla="*/ 557260 h 2396328"/>
                <a:gd name="connsiteX193" fmla="*/ 11547 w 1295643"/>
                <a:gd name="connsiteY193" fmla="*/ 484379 h 2396328"/>
                <a:gd name="connsiteX194" fmla="*/ 23307 w 1295643"/>
                <a:gd name="connsiteY194" fmla="*/ 411722 h 2396328"/>
                <a:gd name="connsiteX195" fmla="*/ 35709 w 1295643"/>
                <a:gd name="connsiteY195" fmla="*/ 341532 h 2396328"/>
                <a:gd name="connsiteX196" fmla="*/ 53457 w 1295643"/>
                <a:gd name="connsiteY196" fmla="*/ 273360 h 2396328"/>
                <a:gd name="connsiteX197" fmla="*/ 74839 w 1295643"/>
                <a:gd name="connsiteY197" fmla="*/ 209225 h 2396328"/>
                <a:gd name="connsiteX198" fmla="*/ 97077 w 1295643"/>
                <a:gd name="connsiteY198" fmla="*/ 148453 h 2396328"/>
                <a:gd name="connsiteX199" fmla="*/ 122950 w 1295643"/>
                <a:gd name="connsiteY199" fmla="*/ 93512 h 2396328"/>
                <a:gd name="connsiteX200" fmla="*/ 150533 w 1295643"/>
                <a:gd name="connsiteY200" fmla="*/ 43504 h 2396328"/>
                <a:gd name="connsiteX201" fmla="*/ 183676 w 1295643"/>
                <a:gd name="connsiteY201"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515105 w 1295643"/>
                <a:gd name="connsiteY145" fmla="*/ 1438559 h 2396328"/>
                <a:gd name="connsiteX146" fmla="*/ 499069 w 1295643"/>
                <a:gd name="connsiteY146" fmla="*/ 1452014 h 2396328"/>
                <a:gd name="connsiteX147" fmla="*/ 473196 w 1295643"/>
                <a:gd name="connsiteY147" fmla="*/ 1490810 h 2396328"/>
                <a:gd name="connsiteX148" fmla="*/ 455234 w 1295643"/>
                <a:gd name="connsiteY148" fmla="*/ 1532968 h 2396328"/>
                <a:gd name="connsiteX149" fmla="*/ 441122 w 1295643"/>
                <a:gd name="connsiteY149" fmla="*/ 1576921 h 2396328"/>
                <a:gd name="connsiteX150" fmla="*/ 432997 w 1295643"/>
                <a:gd name="connsiteY150" fmla="*/ 1621771 h 2396328"/>
                <a:gd name="connsiteX151" fmla="*/ 429575 w 1295643"/>
                <a:gd name="connsiteY151" fmla="*/ 1669088 h 2396328"/>
                <a:gd name="connsiteX152" fmla="*/ 427651 w 1295643"/>
                <a:gd name="connsiteY152" fmla="*/ 1716629 h 2396328"/>
                <a:gd name="connsiteX153" fmla="*/ 429575 w 1295643"/>
                <a:gd name="connsiteY153" fmla="*/ 1764169 h 2396328"/>
                <a:gd name="connsiteX154" fmla="*/ 432997 w 1295643"/>
                <a:gd name="connsiteY154" fmla="*/ 1812832 h 2396328"/>
                <a:gd name="connsiteX155" fmla="*/ 437487 w 1295643"/>
                <a:gd name="connsiteY155" fmla="*/ 1861045 h 2396328"/>
                <a:gd name="connsiteX156" fmla="*/ 442833 w 1295643"/>
                <a:gd name="connsiteY156" fmla="*/ 1908362 h 2396328"/>
                <a:gd name="connsiteX157" fmla="*/ 443688 w 1295643"/>
                <a:gd name="connsiteY157" fmla="*/ 1977879 h 2396328"/>
                <a:gd name="connsiteX158" fmla="*/ 439197 w 1295643"/>
                <a:gd name="connsiteY158" fmla="*/ 2047396 h 2396328"/>
                <a:gd name="connsiteX159" fmla="*/ 431286 w 1295643"/>
                <a:gd name="connsiteY159" fmla="*/ 2114223 h 2396328"/>
                <a:gd name="connsiteX160" fmla="*/ 421450 w 1295643"/>
                <a:gd name="connsiteY160" fmla="*/ 2179703 h 2396328"/>
                <a:gd name="connsiteX161" fmla="*/ 409476 w 1295643"/>
                <a:gd name="connsiteY161" fmla="*/ 2396328 h 2396328"/>
                <a:gd name="connsiteX162" fmla="*/ 50891 w 1295643"/>
                <a:gd name="connsiteY162" fmla="*/ 2396328 h 2396328"/>
                <a:gd name="connsiteX163" fmla="*/ 91945 w 1295643"/>
                <a:gd name="connsiteY163" fmla="*/ 2308198 h 2396328"/>
                <a:gd name="connsiteX164" fmla="*/ 142622 w 1295643"/>
                <a:gd name="connsiteY164" fmla="*/ 2208407 h 2396328"/>
                <a:gd name="connsiteX165" fmla="*/ 160369 w 1295643"/>
                <a:gd name="connsiteY165" fmla="*/ 2172303 h 2396328"/>
                <a:gd name="connsiteX166" fmla="*/ 175551 w 1295643"/>
                <a:gd name="connsiteY166" fmla="*/ 2132162 h 2396328"/>
                <a:gd name="connsiteX167" fmla="*/ 189877 w 1295643"/>
                <a:gd name="connsiteY167" fmla="*/ 2087537 h 2396328"/>
                <a:gd name="connsiteX168" fmla="*/ 203134 w 1295643"/>
                <a:gd name="connsiteY168" fmla="*/ 2039996 h 2396328"/>
                <a:gd name="connsiteX169" fmla="*/ 213826 w 1295643"/>
                <a:gd name="connsiteY169" fmla="*/ 1988643 h 2396328"/>
                <a:gd name="connsiteX170" fmla="*/ 221951 w 1295643"/>
                <a:gd name="connsiteY170" fmla="*/ 1936393 h 2396328"/>
                <a:gd name="connsiteX171" fmla="*/ 229863 w 1295643"/>
                <a:gd name="connsiteY171" fmla="*/ 1881676 h 2396328"/>
                <a:gd name="connsiteX172" fmla="*/ 235208 w 1295643"/>
                <a:gd name="connsiteY172" fmla="*/ 1826286 h 2396328"/>
                <a:gd name="connsiteX173" fmla="*/ 239699 w 1295643"/>
                <a:gd name="connsiteY173" fmla="*/ 1768654 h 2396328"/>
                <a:gd name="connsiteX174" fmla="*/ 239699 w 1295643"/>
                <a:gd name="connsiteY174" fmla="*/ 1711919 h 2396328"/>
                <a:gd name="connsiteX175" fmla="*/ 239699 w 1295643"/>
                <a:gd name="connsiteY175" fmla="*/ 1655857 h 2396328"/>
                <a:gd name="connsiteX176" fmla="*/ 235208 w 1295643"/>
                <a:gd name="connsiteY176" fmla="*/ 1599570 h 2396328"/>
                <a:gd name="connsiteX177" fmla="*/ 229007 w 1295643"/>
                <a:gd name="connsiteY177" fmla="*/ 1545526 h 2396328"/>
                <a:gd name="connsiteX178" fmla="*/ 221096 w 1295643"/>
                <a:gd name="connsiteY178" fmla="*/ 1492828 h 2396328"/>
                <a:gd name="connsiteX179" fmla="*/ 209335 w 1295643"/>
                <a:gd name="connsiteY179" fmla="*/ 1441923 h 2396328"/>
                <a:gd name="connsiteX180" fmla="*/ 193298 w 1295643"/>
                <a:gd name="connsiteY180" fmla="*/ 1394607 h 2396328"/>
                <a:gd name="connsiteX181" fmla="*/ 175551 w 1295643"/>
                <a:gd name="connsiteY181" fmla="*/ 1349757 h 2396328"/>
                <a:gd name="connsiteX182" fmla="*/ 154168 w 1295643"/>
                <a:gd name="connsiteY182" fmla="*/ 1309616 h 2396328"/>
                <a:gd name="connsiteX183" fmla="*/ 130220 w 1295643"/>
                <a:gd name="connsiteY183" fmla="*/ 1274185 h 2396328"/>
                <a:gd name="connsiteX184" fmla="*/ 53457 w 1295643"/>
                <a:gd name="connsiteY184" fmla="*/ 1033789 h 2396328"/>
                <a:gd name="connsiteX185" fmla="*/ 41055 w 1295643"/>
                <a:gd name="connsiteY185" fmla="*/ 971672 h 2396328"/>
                <a:gd name="connsiteX186" fmla="*/ 25018 w 1295643"/>
                <a:gd name="connsiteY186" fmla="*/ 910004 h 2396328"/>
                <a:gd name="connsiteX187" fmla="*/ 11547 w 1295643"/>
                <a:gd name="connsiteY187" fmla="*/ 843178 h 2396328"/>
                <a:gd name="connsiteX188" fmla="*/ 5346 w 1295643"/>
                <a:gd name="connsiteY188" fmla="*/ 775006 h 2396328"/>
                <a:gd name="connsiteX189" fmla="*/ 0 w 1295643"/>
                <a:gd name="connsiteY189" fmla="*/ 703694 h 2396328"/>
                <a:gd name="connsiteX190" fmla="*/ 0 w 1295643"/>
                <a:gd name="connsiteY190" fmla="*/ 630813 h 2396328"/>
                <a:gd name="connsiteX191" fmla="*/ 3635 w 1295643"/>
                <a:gd name="connsiteY191" fmla="*/ 557260 h 2396328"/>
                <a:gd name="connsiteX192" fmla="*/ 11547 w 1295643"/>
                <a:gd name="connsiteY192" fmla="*/ 484379 h 2396328"/>
                <a:gd name="connsiteX193" fmla="*/ 23307 w 1295643"/>
                <a:gd name="connsiteY193" fmla="*/ 411722 h 2396328"/>
                <a:gd name="connsiteX194" fmla="*/ 35709 w 1295643"/>
                <a:gd name="connsiteY194" fmla="*/ 341532 h 2396328"/>
                <a:gd name="connsiteX195" fmla="*/ 53457 w 1295643"/>
                <a:gd name="connsiteY195" fmla="*/ 273360 h 2396328"/>
                <a:gd name="connsiteX196" fmla="*/ 74839 w 1295643"/>
                <a:gd name="connsiteY196" fmla="*/ 209225 h 2396328"/>
                <a:gd name="connsiteX197" fmla="*/ 97077 w 1295643"/>
                <a:gd name="connsiteY197" fmla="*/ 148453 h 2396328"/>
                <a:gd name="connsiteX198" fmla="*/ 122950 w 1295643"/>
                <a:gd name="connsiteY198" fmla="*/ 93512 h 2396328"/>
                <a:gd name="connsiteX199" fmla="*/ 150533 w 1295643"/>
                <a:gd name="connsiteY199" fmla="*/ 43504 h 2396328"/>
                <a:gd name="connsiteX200" fmla="*/ 183676 w 1295643"/>
                <a:gd name="connsiteY200"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510615 w 1295643"/>
                <a:gd name="connsiteY144" fmla="*/ 1296385 h 2396328"/>
                <a:gd name="connsiteX145" fmla="*/ 499069 w 1295643"/>
                <a:gd name="connsiteY145" fmla="*/ 1452014 h 2396328"/>
                <a:gd name="connsiteX146" fmla="*/ 473196 w 1295643"/>
                <a:gd name="connsiteY146" fmla="*/ 1490810 h 2396328"/>
                <a:gd name="connsiteX147" fmla="*/ 455234 w 1295643"/>
                <a:gd name="connsiteY147" fmla="*/ 1532968 h 2396328"/>
                <a:gd name="connsiteX148" fmla="*/ 441122 w 1295643"/>
                <a:gd name="connsiteY148" fmla="*/ 1576921 h 2396328"/>
                <a:gd name="connsiteX149" fmla="*/ 432997 w 1295643"/>
                <a:gd name="connsiteY149" fmla="*/ 1621771 h 2396328"/>
                <a:gd name="connsiteX150" fmla="*/ 429575 w 1295643"/>
                <a:gd name="connsiteY150" fmla="*/ 1669088 h 2396328"/>
                <a:gd name="connsiteX151" fmla="*/ 427651 w 1295643"/>
                <a:gd name="connsiteY151" fmla="*/ 1716629 h 2396328"/>
                <a:gd name="connsiteX152" fmla="*/ 429575 w 1295643"/>
                <a:gd name="connsiteY152" fmla="*/ 1764169 h 2396328"/>
                <a:gd name="connsiteX153" fmla="*/ 432997 w 1295643"/>
                <a:gd name="connsiteY153" fmla="*/ 1812832 h 2396328"/>
                <a:gd name="connsiteX154" fmla="*/ 437487 w 1295643"/>
                <a:gd name="connsiteY154" fmla="*/ 1861045 h 2396328"/>
                <a:gd name="connsiteX155" fmla="*/ 442833 w 1295643"/>
                <a:gd name="connsiteY155" fmla="*/ 1908362 h 2396328"/>
                <a:gd name="connsiteX156" fmla="*/ 443688 w 1295643"/>
                <a:gd name="connsiteY156" fmla="*/ 1977879 h 2396328"/>
                <a:gd name="connsiteX157" fmla="*/ 439197 w 1295643"/>
                <a:gd name="connsiteY157" fmla="*/ 2047396 h 2396328"/>
                <a:gd name="connsiteX158" fmla="*/ 431286 w 1295643"/>
                <a:gd name="connsiteY158" fmla="*/ 2114223 h 2396328"/>
                <a:gd name="connsiteX159" fmla="*/ 421450 w 1295643"/>
                <a:gd name="connsiteY159" fmla="*/ 2179703 h 2396328"/>
                <a:gd name="connsiteX160" fmla="*/ 409476 w 1295643"/>
                <a:gd name="connsiteY160" fmla="*/ 2396328 h 2396328"/>
                <a:gd name="connsiteX161" fmla="*/ 50891 w 1295643"/>
                <a:gd name="connsiteY161" fmla="*/ 2396328 h 2396328"/>
                <a:gd name="connsiteX162" fmla="*/ 91945 w 1295643"/>
                <a:gd name="connsiteY162" fmla="*/ 2308198 h 2396328"/>
                <a:gd name="connsiteX163" fmla="*/ 142622 w 1295643"/>
                <a:gd name="connsiteY163" fmla="*/ 2208407 h 2396328"/>
                <a:gd name="connsiteX164" fmla="*/ 160369 w 1295643"/>
                <a:gd name="connsiteY164" fmla="*/ 2172303 h 2396328"/>
                <a:gd name="connsiteX165" fmla="*/ 175551 w 1295643"/>
                <a:gd name="connsiteY165" fmla="*/ 2132162 h 2396328"/>
                <a:gd name="connsiteX166" fmla="*/ 189877 w 1295643"/>
                <a:gd name="connsiteY166" fmla="*/ 2087537 h 2396328"/>
                <a:gd name="connsiteX167" fmla="*/ 203134 w 1295643"/>
                <a:gd name="connsiteY167" fmla="*/ 2039996 h 2396328"/>
                <a:gd name="connsiteX168" fmla="*/ 213826 w 1295643"/>
                <a:gd name="connsiteY168" fmla="*/ 1988643 h 2396328"/>
                <a:gd name="connsiteX169" fmla="*/ 221951 w 1295643"/>
                <a:gd name="connsiteY169" fmla="*/ 1936393 h 2396328"/>
                <a:gd name="connsiteX170" fmla="*/ 229863 w 1295643"/>
                <a:gd name="connsiteY170" fmla="*/ 1881676 h 2396328"/>
                <a:gd name="connsiteX171" fmla="*/ 235208 w 1295643"/>
                <a:gd name="connsiteY171" fmla="*/ 1826286 h 2396328"/>
                <a:gd name="connsiteX172" fmla="*/ 239699 w 1295643"/>
                <a:gd name="connsiteY172" fmla="*/ 1768654 h 2396328"/>
                <a:gd name="connsiteX173" fmla="*/ 239699 w 1295643"/>
                <a:gd name="connsiteY173" fmla="*/ 1711919 h 2396328"/>
                <a:gd name="connsiteX174" fmla="*/ 239699 w 1295643"/>
                <a:gd name="connsiteY174" fmla="*/ 1655857 h 2396328"/>
                <a:gd name="connsiteX175" fmla="*/ 235208 w 1295643"/>
                <a:gd name="connsiteY175" fmla="*/ 1599570 h 2396328"/>
                <a:gd name="connsiteX176" fmla="*/ 229007 w 1295643"/>
                <a:gd name="connsiteY176" fmla="*/ 1545526 h 2396328"/>
                <a:gd name="connsiteX177" fmla="*/ 221096 w 1295643"/>
                <a:gd name="connsiteY177" fmla="*/ 1492828 h 2396328"/>
                <a:gd name="connsiteX178" fmla="*/ 209335 w 1295643"/>
                <a:gd name="connsiteY178" fmla="*/ 1441923 h 2396328"/>
                <a:gd name="connsiteX179" fmla="*/ 193298 w 1295643"/>
                <a:gd name="connsiteY179" fmla="*/ 1394607 h 2396328"/>
                <a:gd name="connsiteX180" fmla="*/ 175551 w 1295643"/>
                <a:gd name="connsiteY180" fmla="*/ 1349757 h 2396328"/>
                <a:gd name="connsiteX181" fmla="*/ 154168 w 1295643"/>
                <a:gd name="connsiteY181" fmla="*/ 1309616 h 2396328"/>
                <a:gd name="connsiteX182" fmla="*/ 130220 w 1295643"/>
                <a:gd name="connsiteY182" fmla="*/ 1274185 h 2396328"/>
                <a:gd name="connsiteX183" fmla="*/ 53457 w 1295643"/>
                <a:gd name="connsiteY183" fmla="*/ 1033789 h 2396328"/>
                <a:gd name="connsiteX184" fmla="*/ 41055 w 1295643"/>
                <a:gd name="connsiteY184" fmla="*/ 971672 h 2396328"/>
                <a:gd name="connsiteX185" fmla="*/ 25018 w 1295643"/>
                <a:gd name="connsiteY185" fmla="*/ 910004 h 2396328"/>
                <a:gd name="connsiteX186" fmla="*/ 11547 w 1295643"/>
                <a:gd name="connsiteY186" fmla="*/ 843178 h 2396328"/>
                <a:gd name="connsiteX187" fmla="*/ 5346 w 1295643"/>
                <a:gd name="connsiteY187" fmla="*/ 775006 h 2396328"/>
                <a:gd name="connsiteX188" fmla="*/ 0 w 1295643"/>
                <a:gd name="connsiteY188" fmla="*/ 703694 h 2396328"/>
                <a:gd name="connsiteX189" fmla="*/ 0 w 1295643"/>
                <a:gd name="connsiteY189" fmla="*/ 630813 h 2396328"/>
                <a:gd name="connsiteX190" fmla="*/ 3635 w 1295643"/>
                <a:gd name="connsiteY190" fmla="*/ 557260 h 2396328"/>
                <a:gd name="connsiteX191" fmla="*/ 11547 w 1295643"/>
                <a:gd name="connsiteY191" fmla="*/ 484379 h 2396328"/>
                <a:gd name="connsiteX192" fmla="*/ 23307 w 1295643"/>
                <a:gd name="connsiteY192" fmla="*/ 411722 h 2396328"/>
                <a:gd name="connsiteX193" fmla="*/ 35709 w 1295643"/>
                <a:gd name="connsiteY193" fmla="*/ 341532 h 2396328"/>
                <a:gd name="connsiteX194" fmla="*/ 53457 w 1295643"/>
                <a:gd name="connsiteY194" fmla="*/ 273360 h 2396328"/>
                <a:gd name="connsiteX195" fmla="*/ 74839 w 1295643"/>
                <a:gd name="connsiteY195" fmla="*/ 209225 h 2396328"/>
                <a:gd name="connsiteX196" fmla="*/ 97077 w 1295643"/>
                <a:gd name="connsiteY196" fmla="*/ 148453 h 2396328"/>
                <a:gd name="connsiteX197" fmla="*/ 122950 w 1295643"/>
                <a:gd name="connsiteY197" fmla="*/ 93512 h 2396328"/>
                <a:gd name="connsiteX198" fmla="*/ 150533 w 1295643"/>
                <a:gd name="connsiteY198" fmla="*/ 43504 h 2396328"/>
                <a:gd name="connsiteX199" fmla="*/ 183676 w 1295643"/>
                <a:gd name="connsiteY199"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506980 w 1295643"/>
                <a:gd name="connsiteY143" fmla="*/ 1282930 h 2396328"/>
                <a:gd name="connsiteX144" fmla="*/ 499069 w 1295643"/>
                <a:gd name="connsiteY144" fmla="*/ 1452014 h 2396328"/>
                <a:gd name="connsiteX145" fmla="*/ 473196 w 1295643"/>
                <a:gd name="connsiteY145" fmla="*/ 1490810 h 2396328"/>
                <a:gd name="connsiteX146" fmla="*/ 455234 w 1295643"/>
                <a:gd name="connsiteY146" fmla="*/ 1532968 h 2396328"/>
                <a:gd name="connsiteX147" fmla="*/ 441122 w 1295643"/>
                <a:gd name="connsiteY147" fmla="*/ 1576921 h 2396328"/>
                <a:gd name="connsiteX148" fmla="*/ 432997 w 1295643"/>
                <a:gd name="connsiteY148" fmla="*/ 1621771 h 2396328"/>
                <a:gd name="connsiteX149" fmla="*/ 429575 w 1295643"/>
                <a:gd name="connsiteY149" fmla="*/ 1669088 h 2396328"/>
                <a:gd name="connsiteX150" fmla="*/ 427651 w 1295643"/>
                <a:gd name="connsiteY150" fmla="*/ 1716629 h 2396328"/>
                <a:gd name="connsiteX151" fmla="*/ 429575 w 1295643"/>
                <a:gd name="connsiteY151" fmla="*/ 1764169 h 2396328"/>
                <a:gd name="connsiteX152" fmla="*/ 432997 w 1295643"/>
                <a:gd name="connsiteY152" fmla="*/ 1812832 h 2396328"/>
                <a:gd name="connsiteX153" fmla="*/ 437487 w 1295643"/>
                <a:gd name="connsiteY153" fmla="*/ 1861045 h 2396328"/>
                <a:gd name="connsiteX154" fmla="*/ 442833 w 1295643"/>
                <a:gd name="connsiteY154" fmla="*/ 1908362 h 2396328"/>
                <a:gd name="connsiteX155" fmla="*/ 443688 w 1295643"/>
                <a:gd name="connsiteY155" fmla="*/ 1977879 h 2396328"/>
                <a:gd name="connsiteX156" fmla="*/ 439197 w 1295643"/>
                <a:gd name="connsiteY156" fmla="*/ 2047396 h 2396328"/>
                <a:gd name="connsiteX157" fmla="*/ 431286 w 1295643"/>
                <a:gd name="connsiteY157" fmla="*/ 2114223 h 2396328"/>
                <a:gd name="connsiteX158" fmla="*/ 421450 w 1295643"/>
                <a:gd name="connsiteY158" fmla="*/ 2179703 h 2396328"/>
                <a:gd name="connsiteX159" fmla="*/ 409476 w 1295643"/>
                <a:gd name="connsiteY159" fmla="*/ 2396328 h 2396328"/>
                <a:gd name="connsiteX160" fmla="*/ 50891 w 1295643"/>
                <a:gd name="connsiteY160" fmla="*/ 2396328 h 2396328"/>
                <a:gd name="connsiteX161" fmla="*/ 91945 w 1295643"/>
                <a:gd name="connsiteY161" fmla="*/ 2308198 h 2396328"/>
                <a:gd name="connsiteX162" fmla="*/ 142622 w 1295643"/>
                <a:gd name="connsiteY162" fmla="*/ 2208407 h 2396328"/>
                <a:gd name="connsiteX163" fmla="*/ 160369 w 1295643"/>
                <a:gd name="connsiteY163" fmla="*/ 2172303 h 2396328"/>
                <a:gd name="connsiteX164" fmla="*/ 175551 w 1295643"/>
                <a:gd name="connsiteY164" fmla="*/ 2132162 h 2396328"/>
                <a:gd name="connsiteX165" fmla="*/ 189877 w 1295643"/>
                <a:gd name="connsiteY165" fmla="*/ 2087537 h 2396328"/>
                <a:gd name="connsiteX166" fmla="*/ 203134 w 1295643"/>
                <a:gd name="connsiteY166" fmla="*/ 2039996 h 2396328"/>
                <a:gd name="connsiteX167" fmla="*/ 213826 w 1295643"/>
                <a:gd name="connsiteY167" fmla="*/ 1988643 h 2396328"/>
                <a:gd name="connsiteX168" fmla="*/ 221951 w 1295643"/>
                <a:gd name="connsiteY168" fmla="*/ 1936393 h 2396328"/>
                <a:gd name="connsiteX169" fmla="*/ 229863 w 1295643"/>
                <a:gd name="connsiteY169" fmla="*/ 1881676 h 2396328"/>
                <a:gd name="connsiteX170" fmla="*/ 235208 w 1295643"/>
                <a:gd name="connsiteY170" fmla="*/ 1826286 h 2396328"/>
                <a:gd name="connsiteX171" fmla="*/ 239699 w 1295643"/>
                <a:gd name="connsiteY171" fmla="*/ 1768654 h 2396328"/>
                <a:gd name="connsiteX172" fmla="*/ 239699 w 1295643"/>
                <a:gd name="connsiteY172" fmla="*/ 1711919 h 2396328"/>
                <a:gd name="connsiteX173" fmla="*/ 239699 w 1295643"/>
                <a:gd name="connsiteY173" fmla="*/ 1655857 h 2396328"/>
                <a:gd name="connsiteX174" fmla="*/ 235208 w 1295643"/>
                <a:gd name="connsiteY174" fmla="*/ 1599570 h 2396328"/>
                <a:gd name="connsiteX175" fmla="*/ 229007 w 1295643"/>
                <a:gd name="connsiteY175" fmla="*/ 1545526 h 2396328"/>
                <a:gd name="connsiteX176" fmla="*/ 221096 w 1295643"/>
                <a:gd name="connsiteY176" fmla="*/ 1492828 h 2396328"/>
                <a:gd name="connsiteX177" fmla="*/ 209335 w 1295643"/>
                <a:gd name="connsiteY177" fmla="*/ 1441923 h 2396328"/>
                <a:gd name="connsiteX178" fmla="*/ 193298 w 1295643"/>
                <a:gd name="connsiteY178" fmla="*/ 1394607 h 2396328"/>
                <a:gd name="connsiteX179" fmla="*/ 175551 w 1295643"/>
                <a:gd name="connsiteY179" fmla="*/ 1349757 h 2396328"/>
                <a:gd name="connsiteX180" fmla="*/ 154168 w 1295643"/>
                <a:gd name="connsiteY180" fmla="*/ 1309616 h 2396328"/>
                <a:gd name="connsiteX181" fmla="*/ 130220 w 1295643"/>
                <a:gd name="connsiteY181" fmla="*/ 1274185 h 2396328"/>
                <a:gd name="connsiteX182" fmla="*/ 53457 w 1295643"/>
                <a:gd name="connsiteY182" fmla="*/ 1033789 h 2396328"/>
                <a:gd name="connsiteX183" fmla="*/ 41055 w 1295643"/>
                <a:gd name="connsiteY183" fmla="*/ 971672 h 2396328"/>
                <a:gd name="connsiteX184" fmla="*/ 25018 w 1295643"/>
                <a:gd name="connsiteY184" fmla="*/ 910004 h 2396328"/>
                <a:gd name="connsiteX185" fmla="*/ 11547 w 1295643"/>
                <a:gd name="connsiteY185" fmla="*/ 843178 h 2396328"/>
                <a:gd name="connsiteX186" fmla="*/ 5346 w 1295643"/>
                <a:gd name="connsiteY186" fmla="*/ 775006 h 2396328"/>
                <a:gd name="connsiteX187" fmla="*/ 0 w 1295643"/>
                <a:gd name="connsiteY187" fmla="*/ 703694 h 2396328"/>
                <a:gd name="connsiteX188" fmla="*/ 0 w 1295643"/>
                <a:gd name="connsiteY188" fmla="*/ 630813 h 2396328"/>
                <a:gd name="connsiteX189" fmla="*/ 3635 w 1295643"/>
                <a:gd name="connsiteY189" fmla="*/ 557260 h 2396328"/>
                <a:gd name="connsiteX190" fmla="*/ 11547 w 1295643"/>
                <a:gd name="connsiteY190" fmla="*/ 484379 h 2396328"/>
                <a:gd name="connsiteX191" fmla="*/ 23307 w 1295643"/>
                <a:gd name="connsiteY191" fmla="*/ 411722 h 2396328"/>
                <a:gd name="connsiteX192" fmla="*/ 35709 w 1295643"/>
                <a:gd name="connsiteY192" fmla="*/ 341532 h 2396328"/>
                <a:gd name="connsiteX193" fmla="*/ 53457 w 1295643"/>
                <a:gd name="connsiteY193" fmla="*/ 273360 h 2396328"/>
                <a:gd name="connsiteX194" fmla="*/ 74839 w 1295643"/>
                <a:gd name="connsiteY194" fmla="*/ 209225 h 2396328"/>
                <a:gd name="connsiteX195" fmla="*/ 97077 w 1295643"/>
                <a:gd name="connsiteY195" fmla="*/ 148453 h 2396328"/>
                <a:gd name="connsiteX196" fmla="*/ 122950 w 1295643"/>
                <a:gd name="connsiteY196" fmla="*/ 93512 h 2396328"/>
                <a:gd name="connsiteX197" fmla="*/ 150533 w 1295643"/>
                <a:gd name="connsiteY197" fmla="*/ 43504 h 2396328"/>
                <a:gd name="connsiteX198" fmla="*/ 183676 w 1295643"/>
                <a:gd name="connsiteY198"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99069 w 1295643"/>
                <a:gd name="connsiteY143" fmla="*/ 1452014 h 2396328"/>
                <a:gd name="connsiteX144" fmla="*/ 473196 w 1295643"/>
                <a:gd name="connsiteY144" fmla="*/ 1490810 h 2396328"/>
                <a:gd name="connsiteX145" fmla="*/ 455234 w 1295643"/>
                <a:gd name="connsiteY145" fmla="*/ 1532968 h 2396328"/>
                <a:gd name="connsiteX146" fmla="*/ 441122 w 1295643"/>
                <a:gd name="connsiteY146" fmla="*/ 1576921 h 2396328"/>
                <a:gd name="connsiteX147" fmla="*/ 432997 w 1295643"/>
                <a:gd name="connsiteY147" fmla="*/ 1621771 h 2396328"/>
                <a:gd name="connsiteX148" fmla="*/ 429575 w 1295643"/>
                <a:gd name="connsiteY148" fmla="*/ 1669088 h 2396328"/>
                <a:gd name="connsiteX149" fmla="*/ 427651 w 1295643"/>
                <a:gd name="connsiteY149" fmla="*/ 1716629 h 2396328"/>
                <a:gd name="connsiteX150" fmla="*/ 429575 w 1295643"/>
                <a:gd name="connsiteY150" fmla="*/ 1764169 h 2396328"/>
                <a:gd name="connsiteX151" fmla="*/ 432997 w 1295643"/>
                <a:gd name="connsiteY151" fmla="*/ 1812832 h 2396328"/>
                <a:gd name="connsiteX152" fmla="*/ 437487 w 1295643"/>
                <a:gd name="connsiteY152" fmla="*/ 1861045 h 2396328"/>
                <a:gd name="connsiteX153" fmla="*/ 442833 w 1295643"/>
                <a:gd name="connsiteY153" fmla="*/ 1908362 h 2396328"/>
                <a:gd name="connsiteX154" fmla="*/ 443688 w 1295643"/>
                <a:gd name="connsiteY154" fmla="*/ 1977879 h 2396328"/>
                <a:gd name="connsiteX155" fmla="*/ 439197 w 1295643"/>
                <a:gd name="connsiteY155" fmla="*/ 2047396 h 2396328"/>
                <a:gd name="connsiteX156" fmla="*/ 431286 w 1295643"/>
                <a:gd name="connsiteY156" fmla="*/ 2114223 h 2396328"/>
                <a:gd name="connsiteX157" fmla="*/ 421450 w 1295643"/>
                <a:gd name="connsiteY157" fmla="*/ 2179703 h 2396328"/>
                <a:gd name="connsiteX158" fmla="*/ 409476 w 1295643"/>
                <a:gd name="connsiteY158" fmla="*/ 2396328 h 2396328"/>
                <a:gd name="connsiteX159" fmla="*/ 50891 w 1295643"/>
                <a:gd name="connsiteY159" fmla="*/ 2396328 h 2396328"/>
                <a:gd name="connsiteX160" fmla="*/ 91945 w 1295643"/>
                <a:gd name="connsiteY160" fmla="*/ 2308198 h 2396328"/>
                <a:gd name="connsiteX161" fmla="*/ 142622 w 1295643"/>
                <a:gd name="connsiteY161" fmla="*/ 2208407 h 2396328"/>
                <a:gd name="connsiteX162" fmla="*/ 160369 w 1295643"/>
                <a:gd name="connsiteY162" fmla="*/ 2172303 h 2396328"/>
                <a:gd name="connsiteX163" fmla="*/ 175551 w 1295643"/>
                <a:gd name="connsiteY163" fmla="*/ 2132162 h 2396328"/>
                <a:gd name="connsiteX164" fmla="*/ 189877 w 1295643"/>
                <a:gd name="connsiteY164" fmla="*/ 2087537 h 2396328"/>
                <a:gd name="connsiteX165" fmla="*/ 203134 w 1295643"/>
                <a:gd name="connsiteY165" fmla="*/ 2039996 h 2396328"/>
                <a:gd name="connsiteX166" fmla="*/ 213826 w 1295643"/>
                <a:gd name="connsiteY166" fmla="*/ 1988643 h 2396328"/>
                <a:gd name="connsiteX167" fmla="*/ 221951 w 1295643"/>
                <a:gd name="connsiteY167" fmla="*/ 1936393 h 2396328"/>
                <a:gd name="connsiteX168" fmla="*/ 229863 w 1295643"/>
                <a:gd name="connsiteY168" fmla="*/ 1881676 h 2396328"/>
                <a:gd name="connsiteX169" fmla="*/ 235208 w 1295643"/>
                <a:gd name="connsiteY169" fmla="*/ 1826286 h 2396328"/>
                <a:gd name="connsiteX170" fmla="*/ 239699 w 1295643"/>
                <a:gd name="connsiteY170" fmla="*/ 1768654 h 2396328"/>
                <a:gd name="connsiteX171" fmla="*/ 239699 w 1295643"/>
                <a:gd name="connsiteY171" fmla="*/ 1711919 h 2396328"/>
                <a:gd name="connsiteX172" fmla="*/ 239699 w 1295643"/>
                <a:gd name="connsiteY172" fmla="*/ 1655857 h 2396328"/>
                <a:gd name="connsiteX173" fmla="*/ 235208 w 1295643"/>
                <a:gd name="connsiteY173" fmla="*/ 1599570 h 2396328"/>
                <a:gd name="connsiteX174" fmla="*/ 229007 w 1295643"/>
                <a:gd name="connsiteY174" fmla="*/ 1545526 h 2396328"/>
                <a:gd name="connsiteX175" fmla="*/ 221096 w 1295643"/>
                <a:gd name="connsiteY175" fmla="*/ 1492828 h 2396328"/>
                <a:gd name="connsiteX176" fmla="*/ 209335 w 1295643"/>
                <a:gd name="connsiteY176" fmla="*/ 1441923 h 2396328"/>
                <a:gd name="connsiteX177" fmla="*/ 193298 w 1295643"/>
                <a:gd name="connsiteY177" fmla="*/ 1394607 h 2396328"/>
                <a:gd name="connsiteX178" fmla="*/ 175551 w 1295643"/>
                <a:gd name="connsiteY178" fmla="*/ 1349757 h 2396328"/>
                <a:gd name="connsiteX179" fmla="*/ 154168 w 1295643"/>
                <a:gd name="connsiteY179" fmla="*/ 1309616 h 2396328"/>
                <a:gd name="connsiteX180" fmla="*/ 130220 w 1295643"/>
                <a:gd name="connsiteY180" fmla="*/ 1274185 h 2396328"/>
                <a:gd name="connsiteX181" fmla="*/ 53457 w 1295643"/>
                <a:gd name="connsiteY181" fmla="*/ 1033789 h 2396328"/>
                <a:gd name="connsiteX182" fmla="*/ 41055 w 1295643"/>
                <a:gd name="connsiteY182" fmla="*/ 971672 h 2396328"/>
                <a:gd name="connsiteX183" fmla="*/ 25018 w 1295643"/>
                <a:gd name="connsiteY183" fmla="*/ 910004 h 2396328"/>
                <a:gd name="connsiteX184" fmla="*/ 11547 w 1295643"/>
                <a:gd name="connsiteY184" fmla="*/ 843178 h 2396328"/>
                <a:gd name="connsiteX185" fmla="*/ 5346 w 1295643"/>
                <a:gd name="connsiteY185" fmla="*/ 775006 h 2396328"/>
                <a:gd name="connsiteX186" fmla="*/ 0 w 1295643"/>
                <a:gd name="connsiteY186" fmla="*/ 703694 h 2396328"/>
                <a:gd name="connsiteX187" fmla="*/ 0 w 1295643"/>
                <a:gd name="connsiteY187" fmla="*/ 630813 h 2396328"/>
                <a:gd name="connsiteX188" fmla="*/ 3635 w 1295643"/>
                <a:gd name="connsiteY188" fmla="*/ 557260 h 2396328"/>
                <a:gd name="connsiteX189" fmla="*/ 11547 w 1295643"/>
                <a:gd name="connsiteY189" fmla="*/ 484379 h 2396328"/>
                <a:gd name="connsiteX190" fmla="*/ 23307 w 1295643"/>
                <a:gd name="connsiteY190" fmla="*/ 411722 h 2396328"/>
                <a:gd name="connsiteX191" fmla="*/ 35709 w 1295643"/>
                <a:gd name="connsiteY191" fmla="*/ 341532 h 2396328"/>
                <a:gd name="connsiteX192" fmla="*/ 53457 w 1295643"/>
                <a:gd name="connsiteY192" fmla="*/ 273360 h 2396328"/>
                <a:gd name="connsiteX193" fmla="*/ 74839 w 1295643"/>
                <a:gd name="connsiteY193" fmla="*/ 209225 h 2396328"/>
                <a:gd name="connsiteX194" fmla="*/ 97077 w 1295643"/>
                <a:gd name="connsiteY194" fmla="*/ 148453 h 2396328"/>
                <a:gd name="connsiteX195" fmla="*/ 122950 w 1295643"/>
                <a:gd name="connsiteY195" fmla="*/ 93512 h 2396328"/>
                <a:gd name="connsiteX196" fmla="*/ 150533 w 1295643"/>
                <a:gd name="connsiteY196" fmla="*/ 43504 h 2396328"/>
                <a:gd name="connsiteX197" fmla="*/ 183676 w 1295643"/>
                <a:gd name="connsiteY197"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73196 w 1295643"/>
                <a:gd name="connsiteY143" fmla="*/ 1490810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 name="connsiteX0" fmla="*/ 1294499 w 1295643"/>
                <a:gd name="connsiteY0" fmla="*/ 1033789 h 2396328"/>
                <a:gd name="connsiteX1" fmla="*/ 1295643 w 1295643"/>
                <a:gd name="connsiteY1" fmla="*/ 1034469 h 2396328"/>
                <a:gd name="connsiteX2" fmla="*/ 1293086 w 1295643"/>
                <a:gd name="connsiteY2" fmla="*/ 1035347 h 2396328"/>
                <a:gd name="connsiteX3" fmla="*/ 1294499 w 1295643"/>
                <a:gd name="connsiteY3" fmla="*/ 1033789 h 2396328"/>
                <a:gd name="connsiteX4" fmla="*/ 183676 w 1295643"/>
                <a:gd name="connsiteY4" fmla="*/ 0 h 2396328"/>
                <a:gd name="connsiteX5" fmla="*/ 180041 w 1295643"/>
                <a:gd name="connsiteY5" fmla="*/ 10764 h 2396328"/>
                <a:gd name="connsiteX6" fmla="*/ 178331 w 1295643"/>
                <a:gd name="connsiteY6" fmla="*/ 17940 h 2396328"/>
                <a:gd name="connsiteX7" fmla="*/ 176406 w 1295643"/>
                <a:gd name="connsiteY7" fmla="*/ 22649 h 2396328"/>
                <a:gd name="connsiteX8" fmla="*/ 176406 w 1295643"/>
                <a:gd name="connsiteY8" fmla="*/ 25340 h 2396328"/>
                <a:gd name="connsiteX9" fmla="*/ 178331 w 1295643"/>
                <a:gd name="connsiteY9" fmla="*/ 26686 h 2396328"/>
                <a:gd name="connsiteX10" fmla="*/ 178331 w 1295643"/>
                <a:gd name="connsiteY10" fmla="*/ 28031 h 2396328"/>
                <a:gd name="connsiteX11" fmla="*/ 180041 w 1295643"/>
                <a:gd name="connsiteY11" fmla="*/ 28031 h 2396328"/>
                <a:gd name="connsiteX12" fmla="*/ 180041 w 1295643"/>
                <a:gd name="connsiteY12" fmla="*/ 30050 h 2396328"/>
                <a:gd name="connsiteX13" fmla="*/ 178331 w 1295643"/>
                <a:gd name="connsiteY13" fmla="*/ 34086 h 2396328"/>
                <a:gd name="connsiteX14" fmla="*/ 176406 w 1295643"/>
                <a:gd name="connsiteY14" fmla="*/ 40141 h 2396328"/>
                <a:gd name="connsiteX15" fmla="*/ 173840 w 1295643"/>
                <a:gd name="connsiteY15" fmla="*/ 49559 h 2396328"/>
                <a:gd name="connsiteX16" fmla="*/ 168495 w 1295643"/>
                <a:gd name="connsiteY16" fmla="*/ 62790 h 2396328"/>
                <a:gd name="connsiteX17" fmla="*/ 160369 w 1295643"/>
                <a:gd name="connsiteY17" fmla="*/ 81627 h 2396328"/>
                <a:gd name="connsiteX18" fmla="*/ 152458 w 1295643"/>
                <a:gd name="connsiteY18" fmla="*/ 104276 h 2396328"/>
                <a:gd name="connsiteX19" fmla="*/ 139842 w 1295643"/>
                <a:gd name="connsiteY19" fmla="*/ 133653 h 2396328"/>
                <a:gd name="connsiteX20" fmla="*/ 124874 w 1295643"/>
                <a:gd name="connsiteY20" fmla="*/ 169084 h 2396328"/>
                <a:gd name="connsiteX21" fmla="*/ 106913 w 1295643"/>
                <a:gd name="connsiteY21" fmla="*/ 224474 h 2396328"/>
                <a:gd name="connsiteX22" fmla="*/ 94511 w 1295643"/>
                <a:gd name="connsiteY22" fmla="*/ 283900 h 2396328"/>
                <a:gd name="connsiteX23" fmla="*/ 84675 w 1295643"/>
                <a:gd name="connsiteY23" fmla="*/ 344896 h 2396328"/>
                <a:gd name="connsiteX24" fmla="*/ 71418 w 1295643"/>
                <a:gd name="connsiteY24" fmla="*/ 409704 h 2396328"/>
                <a:gd name="connsiteX25" fmla="*/ 69494 w 1295643"/>
                <a:gd name="connsiteY25" fmla="*/ 423607 h 2396328"/>
                <a:gd name="connsiteX26" fmla="*/ 66928 w 1295643"/>
                <a:gd name="connsiteY26" fmla="*/ 444462 h 2396328"/>
                <a:gd name="connsiteX27" fmla="*/ 65003 w 1295643"/>
                <a:gd name="connsiteY27" fmla="*/ 466439 h 2396328"/>
                <a:gd name="connsiteX28" fmla="*/ 63293 w 1295643"/>
                <a:gd name="connsiteY28" fmla="*/ 490433 h 2396328"/>
                <a:gd name="connsiteX29" fmla="*/ 63293 w 1295643"/>
                <a:gd name="connsiteY29" fmla="*/ 515101 h 2396328"/>
                <a:gd name="connsiteX30" fmla="*/ 66928 w 1295643"/>
                <a:gd name="connsiteY30" fmla="*/ 537301 h 2396328"/>
                <a:gd name="connsiteX31" fmla="*/ 71418 w 1295643"/>
                <a:gd name="connsiteY31" fmla="*/ 556587 h 2396328"/>
                <a:gd name="connsiteX32" fmla="*/ 79329 w 1295643"/>
                <a:gd name="connsiteY32" fmla="*/ 570042 h 2396328"/>
                <a:gd name="connsiteX33" fmla="*/ 122095 w 1295643"/>
                <a:gd name="connsiteY33" fmla="*/ 567351 h 2396328"/>
                <a:gd name="connsiteX34" fmla="*/ 164004 w 1295643"/>
                <a:gd name="connsiteY34" fmla="*/ 556587 h 2396328"/>
                <a:gd name="connsiteX35" fmla="*/ 203990 w 1295643"/>
                <a:gd name="connsiteY35" fmla="*/ 539320 h 2396328"/>
                <a:gd name="connsiteX36" fmla="*/ 245044 w 1295643"/>
                <a:gd name="connsiteY36" fmla="*/ 515101 h 2396328"/>
                <a:gd name="connsiteX37" fmla="*/ 282463 w 1295643"/>
                <a:gd name="connsiteY37" fmla="*/ 487070 h 2396328"/>
                <a:gd name="connsiteX38" fmla="*/ 319028 w 1295643"/>
                <a:gd name="connsiteY38" fmla="*/ 452984 h 2396328"/>
                <a:gd name="connsiteX39" fmla="*/ 353667 w 1295643"/>
                <a:gd name="connsiteY39" fmla="*/ 416880 h 2396328"/>
                <a:gd name="connsiteX40" fmla="*/ 385741 w 1295643"/>
                <a:gd name="connsiteY40" fmla="*/ 378981 h 2396328"/>
                <a:gd name="connsiteX41" fmla="*/ 416960 w 1295643"/>
                <a:gd name="connsiteY41" fmla="*/ 338841 h 2396328"/>
                <a:gd name="connsiteX42" fmla="*/ 443688 w 1295643"/>
                <a:gd name="connsiteY42" fmla="*/ 297355 h 2396328"/>
                <a:gd name="connsiteX43" fmla="*/ 468705 w 1295643"/>
                <a:gd name="connsiteY43" fmla="*/ 257214 h 2396328"/>
                <a:gd name="connsiteX44" fmla="*/ 489233 w 1295643"/>
                <a:gd name="connsiteY44" fmla="*/ 218419 h 2396328"/>
                <a:gd name="connsiteX45" fmla="*/ 499069 w 1295643"/>
                <a:gd name="connsiteY45" fmla="*/ 218419 h 2396328"/>
                <a:gd name="connsiteX46" fmla="*/ 499069 w 1295643"/>
                <a:gd name="connsiteY46" fmla="*/ 222455 h 2396328"/>
                <a:gd name="connsiteX47" fmla="*/ 483032 w 1295643"/>
                <a:gd name="connsiteY47" fmla="*/ 261251 h 2396328"/>
                <a:gd name="connsiteX48" fmla="*/ 465070 w 1295643"/>
                <a:gd name="connsiteY48" fmla="*/ 301391 h 2396328"/>
                <a:gd name="connsiteX49" fmla="*/ 445612 w 1295643"/>
                <a:gd name="connsiteY49" fmla="*/ 340186 h 2396328"/>
                <a:gd name="connsiteX50" fmla="*/ 425940 w 1295643"/>
                <a:gd name="connsiteY50" fmla="*/ 377636 h 2396328"/>
                <a:gd name="connsiteX51" fmla="*/ 405413 w 1295643"/>
                <a:gd name="connsiteY51" fmla="*/ 414189 h 2396328"/>
                <a:gd name="connsiteX52" fmla="*/ 382320 w 1295643"/>
                <a:gd name="connsiteY52" fmla="*/ 448274 h 2396328"/>
                <a:gd name="connsiteX53" fmla="*/ 358158 w 1295643"/>
                <a:gd name="connsiteY53" fmla="*/ 481015 h 2396328"/>
                <a:gd name="connsiteX54" fmla="*/ 328864 w 1295643"/>
                <a:gd name="connsiteY54" fmla="*/ 511064 h 2396328"/>
                <a:gd name="connsiteX55" fmla="*/ 298501 w 1295643"/>
                <a:gd name="connsiteY55" fmla="*/ 540665 h 2396328"/>
                <a:gd name="connsiteX56" fmla="*/ 262792 w 1295643"/>
                <a:gd name="connsiteY56" fmla="*/ 564660 h 2396328"/>
                <a:gd name="connsiteX57" fmla="*/ 221951 w 1295643"/>
                <a:gd name="connsiteY57" fmla="*/ 586636 h 2396328"/>
                <a:gd name="connsiteX58" fmla="*/ 176406 w 1295643"/>
                <a:gd name="connsiteY58" fmla="*/ 606146 h 2396328"/>
                <a:gd name="connsiteX59" fmla="*/ 128295 w 1295643"/>
                <a:gd name="connsiteY59" fmla="*/ 620722 h 2396328"/>
                <a:gd name="connsiteX60" fmla="*/ 71418 w 1295643"/>
                <a:gd name="connsiteY60" fmla="*/ 630813 h 2396328"/>
                <a:gd name="connsiteX61" fmla="*/ 73129 w 1295643"/>
                <a:gd name="connsiteY61" fmla="*/ 701003 h 2396328"/>
                <a:gd name="connsiteX62" fmla="*/ 81040 w 1295643"/>
                <a:gd name="connsiteY62" fmla="*/ 767830 h 2396328"/>
                <a:gd name="connsiteX63" fmla="*/ 94511 w 1295643"/>
                <a:gd name="connsiteY63" fmla="*/ 831292 h 2396328"/>
                <a:gd name="connsiteX64" fmla="*/ 112259 w 1295643"/>
                <a:gd name="connsiteY64" fmla="*/ 891391 h 2396328"/>
                <a:gd name="connsiteX65" fmla="*/ 134496 w 1295643"/>
                <a:gd name="connsiteY65" fmla="*/ 948799 h 2396328"/>
                <a:gd name="connsiteX66" fmla="*/ 158659 w 1295643"/>
                <a:gd name="connsiteY66" fmla="*/ 1003740 h 2396328"/>
                <a:gd name="connsiteX67" fmla="*/ 186242 w 1295643"/>
                <a:gd name="connsiteY67" fmla="*/ 1055766 h 2396328"/>
                <a:gd name="connsiteX68" fmla="*/ 213826 w 1295643"/>
                <a:gd name="connsiteY68" fmla="*/ 1106446 h 2396328"/>
                <a:gd name="connsiteX69" fmla="*/ 221951 w 1295643"/>
                <a:gd name="connsiteY69" fmla="*/ 1118556 h 2396328"/>
                <a:gd name="connsiteX70" fmla="*/ 229007 w 1295643"/>
                <a:gd name="connsiteY70" fmla="*/ 1133356 h 2396328"/>
                <a:gd name="connsiteX71" fmla="*/ 238843 w 1295643"/>
                <a:gd name="connsiteY71" fmla="*/ 1149278 h 2396328"/>
                <a:gd name="connsiteX72" fmla="*/ 247824 w 1295643"/>
                <a:gd name="connsiteY72" fmla="*/ 1166097 h 2396328"/>
                <a:gd name="connsiteX73" fmla="*/ 259370 w 1295643"/>
                <a:gd name="connsiteY73" fmla="*/ 1182018 h 2396328"/>
                <a:gd name="connsiteX74" fmla="*/ 272628 w 1295643"/>
                <a:gd name="connsiteY74" fmla="*/ 1195473 h 2396328"/>
                <a:gd name="connsiteX75" fmla="*/ 288665 w 1295643"/>
                <a:gd name="connsiteY75" fmla="*/ 1207358 h 2396328"/>
                <a:gd name="connsiteX76" fmla="*/ 306626 w 1295643"/>
                <a:gd name="connsiteY76" fmla="*/ 1216104 h 2396328"/>
                <a:gd name="connsiteX77" fmla="*/ 328008 w 1295643"/>
                <a:gd name="connsiteY77" fmla="*/ 1219468 h 2396328"/>
                <a:gd name="connsiteX78" fmla="*/ 350246 w 1295643"/>
                <a:gd name="connsiteY78" fmla="*/ 1218795 h 2396328"/>
                <a:gd name="connsiteX79" fmla="*/ 390231 w 1295643"/>
                <a:gd name="connsiteY79" fmla="*/ 1208704 h 2396328"/>
                <a:gd name="connsiteX80" fmla="*/ 425940 w 1295643"/>
                <a:gd name="connsiteY80" fmla="*/ 1192109 h 2396328"/>
                <a:gd name="connsiteX81" fmla="*/ 460580 w 1295643"/>
                <a:gd name="connsiteY81" fmla="*/ 1171254 h 2396328"/>
                <a:gd name="connsiteX82" fmla="*/ 489233 w 1295643"/>
                <a:gd name="connsiteY82" fmla="*/ 1146587 h 2396328"/>
                <a:gd name="connsiteX83" fmla="*/ 516816 w 1295643"/>
                <a:gd name="connsiteY83" fmla="*/ 1119901 h 2396328"/>
                <a:gd name="connsiteX84" fmla="*/ 542689 w 1295643"/>
                <a:gd name="connsiteY84" fmla="*/ 1091870 h 2396328"/>
                <a:gd name="connsiteX85" fmla="*/ 565782 w 1295643"/>
                <a:gd name="connsiteY85" fmla="*/ 1065184 h 2396328"/>
                <a:gd name="connsiteX86" fmla="*/ 585454 w 1295643"/>
                <a:gd name="connsiteY86" fmla="*/ 1039620 h 2396328"/>
                <a:gd name="connsiteX87" fmla="*/ 629074 w 1295643"/>
                <a:gd name="connsiteY87" fmla="*/ 981539 h 2396328"/>
                <a:gd name="connsiteX88" fmla="*/ 670984 w 1295643"/>
                <a:gd name="connsiteY88" fmla="*/ 916059 h 2396328"/>
                <a:gd name="connsiteX89" fmla="*/ 712894 w 1295643"/>
                <a:gd name="connsiteY89" fmla="*/ 844523 h 2396328"/>
                <a:gd name="connsiteX90" fmla="*/ 752024 w 1295643"/>
                <a:gd name="connsiteY90" fmla="*/ 766484 h 2396328"/>
                <a:gd name="connsiteX91" fmla="*/ 787733 w 1295643"/>
                <a:gd name="connsiteY91" fmla="*/ 684185 h 2396328"/>
                <a:gd name="connsiteX92" fmla="*/ 819807 w 1295643"/>
                <a:gd name="connsiteY92" fmla="*/ 596728 h 2396328"/>
                <a:gd name="connsiteX93" fmla="*/ 849101 w 1295643"/>
                <a:gd name="connsiteY93" fmla="*/ 505234 h 2396328"/>
                <a:gd name="connsiteX94" fmla="*/ 870483 w 1295643"/>
                <a:gd name="connsiteY94" fmla="*/ 410376 h 2396328"/>
                <a:gd name="connsiteX95" fmla="*/ 886520 w 1295643"/>
                <a:gd name="connsiteY95" fmla="*/ 313276 h 2396328"/>
                <a:gd name="connsiteX96" fmla="*/ 896356 w 1295643"/>
                <a:gd name="connsiteY96" fmla="*/ 213934 h 2396328"/>
                <a:gd name="connsiteX97" fmla="*/ 904267 w 1295643"/>
                <a:gd name="connsiteY97" fmla="*/ 218419 h 2396328"/>
                <a:gd name="connsiteX98" fmla="*/ 910682 w 1295643"/>
                <a:gd name="connsiteY98" fmla="*/ 229856 h 2396328"/>
                <a:gd name="connsiteX99" fmla="*/ 916028 w 1295643"/>
                <a:gd name="connsiteY99" fmla="*/ 246674 h 2396328"/>
                <a:gd name="connsiteX100" fmla="*/ 918594 w 1295643"/>
                <a:gd name="connsiteY100" fmla="*/ 268651 h 2396328"/>
                <a:gd name="connsiteX101" fmla="*/ 920304 w 1295643"/>
                <a:gd name="connsiteY101" fmla="*/ 293991 h 2396328"/>
                <a:gd name="connsiteX102" fmla="*/ 920304 w 1295643"/>
                <a:gd name="connsiteY102" fmla="*/ 323368 h 2396328"/>
                <a:gd name="connsiteX103" fmla="*/ 920304 w 1295643"/>
                <a:gd name="connsiteY103" fmla="*/ 354763 h 2396328"/>
                <a:gd name="connsiteX104" fmla="*/ 918594 w 1295643"/>
                <a:gd name="connsiteY104" fmla="*/ 388848 h 2396328"/>
                <a:gd name="connsiteX105" fmla="*/ 916028 w 1295643"/>
                <a:gd name="connsiteY105" fmla="*/ 423607 h 2396328"/>
                <a:gd name="connsiteX106" fmla="*/ 912393 w 1295643"/>
                <a:gd name="connsiteY106" fmla="*/ 459038 h 2396328"/>
                <a:gd name="connsiteX107" fmla="*/ 907047 w 1295643"/>
                <a:gd name="connsiteY107" fmla="*/ 494470 h 2396328"/>
                <a:gd name="connsiteX108" fmla="*/ 904267 w 1295643"/>
                <a:gd name="connsiteY108" fmla="*/ 528556 h 2396328"/>
                <a:gd name="connsiteX109" fmla="*/ 898922 w 1295643"/>
                <a:gd name="connsiteY109" fmla="*/ 559951 h 2396328"/>
                <a:gd name="connsiteX110" fmla="*/ 894645 w 1295643"/>
                <a:gd name="connsiteY110" fmla="*/ 589327 h 2396328"/>
                <a:gd name="connsiteX111" fmla="*/ 889300 w 1295643"/>
                <a:gd name="connsiteY111" fmla="*/ 614667 h 2396328"/>
                <a:gd name="connsiteX112" fmla="*/ 884809 w 1295643"/>
                <a:gd name="connsiteY112" fmla="*/ 635523 h 2396328"/>
                <a:gd name="connsiteX113" fmla="*/ 881174 w 1295643"/>
                <a:gd name="connsiteY113" fmla="*/ 652117 h 2396328"/>
                <a:gd name="connsiteX114" fmla="*/ 817027 w 1295643"/>
                <a:gd name="connsiteY114" fmla="*/ 841832 h 2396328"/>
                <a:gd name="connsiteX115" fmla="*/ 868773 w 1295643"/>
                <a:gd name="connsiteY115" fmla="*/ 838020 h 2396328"/>
                <a:gd name="connsiteX116" fmla="*/ 916883 w 1295643"/>
                <a:gd name="connsiteY116" fmla="*/ 828601 h 2396328"/>
                <a:gd name="connsiteX117" fmla="*/ 962214 w 1295643"/>
                <a:gd name="connsiteY117" fmla="*/ 815146 h 2396328"/>
                <a:gd name="connsiteX118" fmla="*/ 1005835 w 1295643"/>
                <a:gd name="connsiteY118" fmla="*/ 797879 h 2396328"/>
                <a:gd name="connsiteX119" fmla="*/ 1045178 w 1295643"/>
                <a:gd name="connsiteY119" fmla="*/ 778369 h 2396328"/>
                <a:gd name="connsiteX120" fmla="*/ 1080673 w 1295643"/>
                <a:gd name="connsiteY120" fmla="*/ 757066 h 2396328"/>
                <a:gd name="connsiteX121" fmla="*/ 1114672 w 1295643"/>
                <a:gd name="connsiteY121" fmla="*/ 735089 h 2396328"/>
                <a:gd name="connsiteX122" fmla="*/ 1145890 w 1295643"/>
                <a:gd name="connsiteY122" fmla="*/ 714234 h 2396328"/>
                <a:gd name="connsiteX123" fmla="*/ 1148456 w 1295643"/>
                <a:gd name="connsiteY123" fmla="*/ 724325 h 2396328"/>
                <a:gd name="connsiteX124" fmla="*/ 1120017 w 1295643"/>
                <a:gd name="connsiteY124" fmla="*/ 757066 h 2396328"/>
                <a:gd name="connsiteX125" fmla="*/ 1085164 w 1295643"/>
                <a:gd name="connsiteY125" fmla="*/ 788461 h 2396328"/>
                <a:gd name="connsiteX126" fmla="*/ 1043254 w 1295643"/>
                <a:gd name="connsiteY126" fmla="*/ 816492 h 2396328"/>
                <a:gd name="connsiteX127" fmla="*/ 996212 w 1295643"/>
                <a:gd name="connsiteY127" fmla="*/ 841832 h 2396328"/>
                <a:gd name="connsiteX128" fmla="*/ 946177 w 1295643"/>
                <a:gd name="connsiteY128" fmla="*/ 864705 h 2396328"/>
                <a:gd name="connsiteX129" fmla="*/ 892721 w 1295643"/>
                <a:gd name="connsiteY129" fmla="*/ 884664 h 2396328"/>
                <a:gd name="connsiteX130" fmla="*/ 837554 w 1295643"/>
                <a:gd name="connsiteY130" fmla="*/ 900137 h 2396328"/>
                <a:gd name="connsiteX131" fmla="*/ 781318 w 1295643"/>
                <a:gd name="connsiteY131" fmla="*/ 911349 h 2396328"/>
                <a:gd name="connsiteX132" fmla="*/ 769771 w 1295643"/>
                <a:gd name="connsiteY132" fmla="*/ 938259 h 2396328"/>
                <a:gd name="connsiteX133" fmla="*/ 753735 w 1295643"/>
                <a:gd name="connsiteY133" fmla="*/ 969654 h 2396328"/>
                <a:gd name="connsiteX134" fmla="*/ 735987 w 1295643"/>
                <a:gd name="connsiteY134" fmla="*/ 1002395 h 2396328"/>
                <a:gd name="connsiteX135" fmla="*/ 712894 w 1295643"/>
                <a:gd name="connsiteY135" fmla="*/ 1037826 h 2396328"/>
                <a:gd name="connsiteX136" fmla="*/ 688732 w 1295643"/>
                <a:gd name="connsiteY136" fmla="*/ 1075051 h 2396328"/>
                <a:gd name="connsiteX137" fmla="*/ 662859 w 1295643"/>
                <a:gd name="connsiteY137" fmla="*/ 1111828 h 2396328"/>
                <a:gd name="connsiteX138" fmla="*/ 635275 w 1295643"/>
                <a:gd name="connsiteY138" fmla="*/ 1146587 h 2396328"/>
                <a:gd name="connsiteX139" fmla="*/ 607692 w 1295643"/>
                <a:gd name="connsiteY139" fmla="*/ 1180673 h 2396328"/>
                <a:gd name="connsiteX140" fmla="*/ 581819 w 1295643"/>
                <a:gd name="connsiteY140" fmla="*/ 1212068 h 2396328"/>
                <a:gd name="connsiteX141" fmla="*/ 554235 w 1295643"/>
                <a:gd name="connsiteY141" fmla="*/ 1240099 h 2396328"/>
                <a:gd name="connsiteX142" fmla="*/ 530073 w 1295643"/>
                <a:gd name="connsiteY142" fmla="*/ 1264990 h 2396328"/>
                <a:gd name="connsiteX143" fmla="*/ 462532 w 1295643"/>
                <a:gd name="connsiteY143" fmla="*/ 1477481 h 2396328"/>
                <a:gd name="connsiteX144" fmla="*/ 455234 w 1295643"/>
                <a:gd name="connsiteY144" fmla="*/ 1532968 h 2396328"/>
                <a:gd name="connsiteX145" fmla="*/ 441122 w 1295643"/>
                <a:gd name="connsiteY145" fmla="*/ 1576921 h 2396328"/>
                <a:gd name="connsiteX146" fmla="*/ 432997 w 1295643"/>
                <a:gd name="connsiteY146" fmla="*/ 1621771 h 2396328"/>
                <a:gd name="connsiteX147" fmla="*/ 429575 w 1295643"/>
                <a:gd name="connsiteY147" fmla="*/ 1669088 h 2396328"/>
                <a:gd name="connsiteX148" fmla="*/ 427651 w 1295643"/>
                <a:gd name="connsiteY148" fmla="*/ 1716629 h 2396328"/>
                <a:gd name="connsiteX149" fmla="*/ 429575 w 1295643"/>
                <a:gd name="connsiteY149" fmla="*/ 1764169 h 2396328"/>
                <a:gd name="connsiteX150" fmla="*/ 432997 w 1295643"/>
                <a:gd name="connsiteY150" fmla="*/ 1812832 h 2396328"/>
                <a:gd name="connsiteX151" fmla="*/ 437487 w 1295643"/>
                <a:gd name="connsiteY151" fmla="*/ 1861045 h 2396328"/>
                <a:gd name="connsiteX152" fmla="*/ 442833 w 1295643"/>
                <a:gd name="connsiteY152" fmla="*/ 1908362 h 2396328"/>
                <a:gd name="connsiteX153" fmla="*/ 443688 w 1295643"/>
                <a:gd name="connsiteY153" fmla="*/ 1977879 h 2396328"/>
                <a:gd name="connsiteX154" fmla="*/ 439197 w 1295643"/>
                <a:gd name="connsiteY154" fmla="*/ 2047396 h 2396328"/>
                <a:gd name="connsiteX155" fmla="*/ 431286 w 1295643"/>
                <a:gd name="connsiteY155" fmla="*/ 2114223 h 2396328"/>
                <a:gd name="connsiteX156" fmla="*/ 421450 w 1295643"/>
                <a:gd name="connsiteY156" fmla="*/ 2179703 h 2396328"/>
                <a:gd name="connsiteX157" fmla="*/ 409476 w 1295643"/>
                <a:gd name="connsiteY157" fmla="*/ 2396328 h 2396328"/>
                <a:gd name="connsiteX158" fmla="*/ 50891 w 1295643"/>
                <a:gd name="connsiteY158" fmla="*/ 2396328 h 2396328"/>
                <a:gd name="connsiteX159" fmla="*/ 91945 w 1295643"/>
                <a:gd name="connsiteY159" fmla="*/ 2308198 h 2396328"/>
                <a:gd name="connsiteX160" fmla="*/ 142622 w 1295643"/>
                <a:gd name="connsiteY160" fmla="*/ 2208407 h 2396328"/>
                <a:gd name="connsiteX161" fmla="*/ 160369 w 1295643"/>
                <a:gd name="connsiteY161" fmla="*/ 2172303 h 2396328"/>
                <a:gd name="connsiteX162" fmla="*/ 175551 w 1295643"/>
                <a:gd name="connsiteY162" fmla="*/ 2132162 h 2396328"/>
                <a:gd name="connsiteX163" fmla="*/ 189877 w 1295643"/>
                <a:gd name="connsiteY163" fmla="*/ 2087537 h 2396328"/>
                <a:gd name="connsiteX164" fmla="*/ 203134 w 1295643"/>
                <a:gd name="connsiteY164" fmla="*/ 2039996 h 2396328"/>
                <a:gd name="connsiteX165" fmla="*/ 213826 w 1295643"/>
                <a:gd name="connsiteY165" fmla="*/ 1988643 h 2396328"/>
                <a:gd name="connsiteX166" fmla="*/ 221951 w 1295643"/>
                <a:gd name="connsiteY166" fmla="*/ 1936393 h 2396328"/>
                <a:gd name="connsiteX167" fmla="*/ 229863 w 1295643"/>
                <a:gd name="connsiteY167" fmla="*/ 1881676 h 2396328"/>
                <a:gd name="connsiteX168" fmla="*/ 235208 w 1295643"/>
                <a:gd name="connsiteY168" fmla="*/ 1826286 h 2396328"/>
                <a:gd name="connsiteX169" fmla="*/ 239699 w 1295643"/>
                <a:gd name="connsiteY169" fmla="*/ 1768654 h 2396328"/>
                <a:gd name="connsiteX170" fmla="*/ 239699 w 1295643"/>
                <a:gd name="connsiteY170" fmla="*/ 1711919 h 2396328"/>
                <a:gd name="connsiteX171" fmla="*/ 239699 w 1295643"/>
                <a:gd name="connsiteY171" fmla="*/ 1655857 h 2396328"/>
                <a:gd name="connsiteX172" fmla="*/ 235208 w 1295643"/>
                <a:gd name="connsiteY172" fmla="*/ 1599570 h 2396328"/>
                <a:gd name="connsiteX173" fmla="*/ 229007 w 1295643"/>
                <a:gd name="connsiteY173" fmla="*/ 1545526 h 2396328"/>
                <a:gd name="connsiteX174" fmla="*/ 221096 w 1295643"/>
                <a:gd name="connsiteY174" fmla="*/ 1492828 h 2396328"/>
                <a:gd name="connsiteX175" fmla="*/ 209335 w 1295643"/>
                <a:gd name="connsiteY175" fmla="*/ 1441923 h 2396328"/>
                <a:gd name="connsiteX176" fmla="*/ 193298 w 1295643"/>
                <a:gd name="connsiteY176" fmla="*/ 1394607 h 2396328"/>
                <a:gd name="connsiteX177" fmla="*/ 175551 w 1295643"/>
                <a:gd name="connsiteY177" fmla="*/ 1349757 h 2396328"/>
                <a:gd name="connsiteX178" fmla="*/ 154168 w 1295643"/>
                <a:gd name="connsiteY178" fmla="*/ 1309616 h 2396328"/>
                <a:gd name="connsiteX179" fmla="*/ 130220 w 1295643"/>
                <a:gd name="connsiteY179" fmla="*/ 1274185 h 2396328"/>
                <a:gd name="connsiteX180" fmla="*/ 53457 w 1295643"/>
                <a:gd name="connsiteY180" fmla="*/ 1033789 h 2396328"/>
                <a:gd name="connsiteX181" fmla="*/ 41055 w 1295643"/>
                <a:gd name="connsiteY181" fmla="*/ 971672 h 2396328"/>
                <a:gd name="connsiteX182" fmla="*/ 25018 w 1295643"/>
                <a:gd name="connsiteY182" fmla="*/ 910004 h 2396328"/>
                <a:gd name="connsiteX183" fmla="*/ 11547 w 1295643"/>
                <a:gd name="connsiteY183" fmla="*/ 843178 h 2396328"/>
                <a:gd name="connsiteX184" fmla="*/ 5346 w 1295643"/>
                <a:gd name="connsiteY184" fmla="*/ 775006 h 2396328"/>
                <a:gd name="connsiteX185" fmla="*/ 0 w 1295643"/>
                <a:gd name="connsiteY185" fmla="*/ 703694 h 2396328"/>
                <a:gd name="connsiteX186" fmla="*/ 0 w 1295643"/>
                <a:gd name="connsiteY186" fmla="*/ 630813 h 2396328"/>
                <a:gd name="connsiteX187" fmla="*/ 3635 w 1295643"/>
                <a:gd name="connsiteY187" fmla="*/ 557260 h 2396328"/>
                <a:gd name="connsiteX188" fmla="*/ 11547 w 1295643"/>
                <a:gd name="connsiteY188" fmla="*/ 484379 h 2396328"/>
                <a:gd name="connsiteX189" fmla="*/ 23307 w 1295643"/>
                <a:gd name="connsiteY189" fmla="*/ 411722 h 2396328"/>
                <a:gd name="connsiteX190" fmla="*/ 35709 w 1295643"/>
                <a:gd name="connsiteY190" fmla="*/ 341532 h 2396328"/>
                <a:gd name="connsiteX191" fmla="*/ 53457 w 1295643"/>
                <a:gd name="connsiteY191" fmla="*/ 273360 h 2396328"/>
                <a:gd name="connsiteX192" fmla="*/ 74839 w 1295643"/>
                <a:gd name="connsiteY192" fmla="*/ 209225 h 2396328"/>
                <a:gd name="connsiteX193" fmla="*/ 97077 w 1295643"/>
                <a:gd name="connsiteY193" fmla="*/ 148453 h 2396328"/>
                <a:gd name="connsiteX194" fmla="*/ 122950 w 1295643"/>
                <a:gd name="connsiteY194" fmla="*/ 93512 h 2396328"/>
                <a:gd name="connsiteX195" fmla="*/ 150533 w 1295643"/>
                <a:gd name="connsiteY195" fmla="*/ 43504 h 2396328"/>
                <a:gd name="connsiteX196" fmla="*/ 183676 w 1295643"/>
                <a:gd name="connsiteY196" fmla="*/ 0 h 239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95643" h="2396328">
                  <a:moveTo>
                    <a:pt x="1294499" y="1033789"/>
                  </a:moveTo>
                  <a:lnTo>
                    <a:pt x="1295643" y="1034469"/>
                  </a:lnTo>
                  <a:lnTo>
                    <a:pt x="1293086" y="1035347"/>
                  </a:lnTo>
                  <a:lnTo>
                    <a:pt x="1294499" y="1033789"/>
                  </a:lnTo>
                  <a:close/>
                  <a:moveTo>
                    <a:pt x="183676" y="0"/>
                  </a:moveTo>
                  <a:cubicBezTo>
                    <a:pt x="182393" y="3588"/>
                    <a:pt x="181324" y="7176"/>
                    <a:pt x="180041" y="10764"/>
                  </a:cubicBezTo>
                  <a:cubicBezTo>
                    <a:pt x="179400" y="13231"/>
                    <a:pt x="178972" y="15473"/>
                    <a:pt x="178331" y="17940"/>
                  </a:cubicBezTo>
                  <a:lnTo>
                    <a:pt x="176406" y="22649"/>
                  </a:lnTo>
                  <a:lnTo>
                    <a:pt x="176406" y="25340"/>
                  </a:lnTo>
                  <a:lnTo>
                    <a:pt x="178331" y="26686"/>
                  </a:lnTo>
                  <a:lnTo>
                    <a:pt x="178331" y="28031"/>
                  </a:lnTo>
                  <a:lnTo>
                    <a:pt x="180041" y="28031"/>
                  </a:lnTo>
                  <a:lnTo>
                    <a:pt x="180041" y="30050"/>
                  </a:lnTo>
                  <a:cubicBezTo>
                    <a:pt x="179400" y="31395"/>
                    <a:pt x="178972" y="32741"/>
                    <a:pt x="178331" y="34086"/>
                  </a:cubicBezTo>
                  <a:lnTo>
                    <a:pt x="176406" y="40141"/>
                  </a:lnTo>
                  <a:lnTo>
                    <a:pt x="173840" y="49559"/>
                  </a:lnTo>
                  <a:cubicBezTo>
                    <a:pt x="172130" y="54044"/>
                    <a:pt x="170205" y="58305"/>
                    <a:pt x="168495" y="62790"/>
                  </a:cubicBezTo>
                  <a:cubicBezTo>
                    <a:pt x="165715" y="69069"/>
                    <a:pt x="163149" y="75348"/>
                    <a:pt x="160369" y="81627"/>
                  </a:cubicBezTo>
                  <a:cubicBezTo>
                    <a:pt x="157803" y="89251"/>
                    <a:pt x="155024" y="96652"/>
                    <a:pt x="152458" y="104276"/>
                  </a:cubicBezTo>
                  <a:cubicBezTo>
                    <a:pt x="148181" y="114143"/>
                    <a:pt x="144119" y="123786"/>
                    <a:pt x="139842" y="133653"/>
                  </a:cubicBezTo>
                  <a:cubicBezTo>
                    <a:pt x="134924" y="145538"/>
                    <a:pt x="129792" y="157199"/>
                    <a:pt x="124874" y="169084"/>
                  </a:cubicBezTo>
                  <a:cubicBezTo>
                    <a:pt x="118887" y="187473"/>
                    <a:pt x="112900" y="206085"/>
                    <a:pt x="106913" y="224474"/>
                  </a:cubicBezTo>
                  <a:cubicBezTo>
                    <a:pt x="102850" y="244208"/>
                    <a:pt x="98574" y="264166"/>
                    <a:pt x="94511" y="283900"/>
                  </a:cubicBezTo>
                  <a:cubicBezTo>
                    <a:pt x="91304" y="304306"/>
                    <a:pt x="87883" y="324489"/>
                    <a:pt x="84675" y="344896"/>
                  </a:cubicBezTo>
                  <a:cubicBezTo>
                    <a:pt x="80185" y="366423"/>
                    <a:pt x="75908" y="388176"/>
                    <a:pt x="71418" y="409704"/>
                  </a:cubicBezTo>
                  <a:cubicBezTo>
                    <a:pt x="70777" y="414413"/>
                    <a:pt x="70135" y="418898"/>
                    <a:pt x="69494" y="423607"/>
                  </a:cubicBezTo>
                  <a:lnTo>
                    <a:pt x="66928" y="444462"/>
                  </a:lnTo>
                  <a:cubicBezTo>
                    <a:pt x="66286" y="451862"/>
                    <a:pt x="65645" y="459038"/>
                    <a:pt x="65003" y="466439"/>
                  </a:cubicBezTo>
                  <a:cubicBezTo>
                    <a:pt x="64362" y="474512"/>
                    <a:pt x="63934" y="482360"/>
                    <a:pt x="63293" y="490433"/>
                  </a:cubicBezTo>
                  <a:lnTo>
                    <a:pt x="63293" y="515101"/>
                  </a:lnTo>
                  <a:cubicBezTo>
                    <a:pt x="64576" y="522501"/>
                    <a:pt x="65645" y="529901"/>
                    <a:pt x="66928" y="537301"/>
                  </a:cubicBezTo>
                  <a:cubicBezTo>
                    <a:pt x="68424" y="543805"/>
                    <a:pt x="69921" y="550084"/>
                    <a:pt x="71418" y="556587"/>
                  </a:cubicBezTo>
                  <a:cubicBezTo>
                    <a:pt x="73984" y="561072"/>
                    <a:pt x="76764" y="565557"/>
                    <a:pt x="79329" y="570042"/>
                  </a:cubicBezTo>
                  <a:lnTo>
                    <a:pt x="122095" y="567351"/>
                  </a:lnTo>
                  <a:lnTo>
                    <a:pt x="164004" y="556587"/>
                  </a:lnTo>
                  <a:lnTo>
                    <a:pt x="203990" y="539320"/>
                  </a:lnTo>
                  <a:lnTo>
                    <a:pt x="245044" y="515101"/>
                  </a:lnTo>
                  <a:lnTo>
                    <a:pt x="282463" y="487070"/>
                  </a:lnTo>
                  <a:lnTo>
                    <a:pt x="319028" y="452984"/>
                  </a:lnTo>
                  <a:lnTo>
                    <a:pt x="353667" y="416880"/>
                  </a:lnTo>
                  <a:lnTo>
                    <a:pt x="385741" y="378981"/>
                  </a:lnTo>
                  <a:lnTo>
                    <a:pt x="416960" y="338841"/>
                  </a:lnTo>
                  <a:lnTo>
                    <a:pt x="443688" y="297355"/>
                  </a:lnTo>
                  <a:lnTo>
                    <a:pt x="468705" y="257214"/>
                  </a:lnTo>
                  <a:cubicBezTo>
                    <a:pt x="475548" y="244208"/>
                    <a:pt x="482390" y="231425"/>
                    <a:pt x="489233" y="218419"/>
                  </a:cubicBezTo>
                  <a:lnTo>
                    <a:pt x="499069" y="218419"/>
                  </a:lnTo>
                  <a:lnTo>
                    <a:pt x="499069" y="222455"/>
                  </a:lnTo>
                  <a:cubicBezTo>
                    <a:pt x="493723" y="235462"/>
                    <a:pt x="488377" y="248244"/>
                    <a:pt x="483032" y="261251"/>
                  </a:cubicBezTo>
                  <a:cubicBezTo>
                    <a:pt x="477045" y="274706"/>
                    <a:pt x="471057" y="287936"/>
                    <a:pt x="465070" y="301391"/>
                  </a:cubicBezTo>
                  <a:cubicBezTo>
                    <a:pt x="458656" y="314398"/>
                    <a:pt x="452027" y="327180"/>
                    <a:pt x="445612" y="340186"/>
                  </a:cubicBezTo>
                  <a:lnTo>
                    <a:pt x="425940" y="377636"/>
                  </a:lnTo>
                  <a:cubicBezTo>
                    <a:pt x="419098" y="389745"/>
                    <a:pt x="412255" y="402079"/>
                    <a:pt x="405413" y="414189"/>
                  </a:cubicBezTo>
                  <a:lnTo>
                    <a:pt x="382320" y="448274"/>
                  </a:lnTo>
                  <a:lnTo>
                    <a:pt x="358158" y="481015"/>
                  </a:lnTo>
                  <a:lnTo>
                    <a:pt x="328864" y="511064"/>
                  </a:lnTo>
                  <a:lnTo>
                    <a:pt x="298501" y="540665"/>
                  </a:lnTo>
                  <a:lnTo>
                    <a:pt x="262792" y="564660"/>
                  </a:lnTo>
                  <a:lnTo>
                    <a:pt x="221951" y="586636"/>
                  </a:lnTo>
                  <a:lnTo>
                    <a:pt x="176406" y="606146"/>
                  </a:lnTo>
                  <a:lnTo>
                    <a:pt x="128295" y="620722"/>
                  </a:lnTo>
                  <a:lnTo>
                    <a:pt x="71418" y="630813"/>
                  </a:lnTo>
                  <a:cubicBezTo>
                    <a:pt x="72059" y="654135"/>
                    <a:pt x="72487" y="677682"/>
                    <a:pt x="73129" y="701003"/>
                  </a:cubicBezTo>
                  <a:cubicBezTo>
                    <a:pt x="75695" y="723204"/>
                    <a:pt x="78474" y="745629"/>
                    <a:pt x="81040" y="767830"/>
                  </a:cubicBezTo>
                  <a:cubicBezTo>
                    <a:pt x="85530" y="788909"/>
                    <a:pt x="90021" y="810213"/>
                    <a:pt x="94511" y="831292"/>
                  </a:cubicBezTo>
                  <a:cubicBezTo>
                    <a:pt x="100498" y="851250"/>
                    <a:pt x="106271" y="871433"/>
                    <a:pt x="112259" y="891391"/>
                  </a:cubicBezTo>
                  <a:cubicBezTo>
                    <a:pt x="119743" y="910452"/>
                    <a:pt x="127013" y="929738"/>
                    <a:pt x="134496" y="948799"/>
                  </a:cubicBezTo>
                  <a:cubicBezTo>
                    <a:pt x="142622" y="967187"/>
                    <a:pt x="150533" y="985352"/>
                    <a:pt x="158659" y="1003740"/>
                  </a:cubicBezTo>
                  <a:lnTo>
                    <a:pt x="186242" y="1055766"/>
                  </a:lnTo>
                  <a:lnTo>
                    <a:pt x="213826" y="1106446"/>
                  </a:lnTo>
                  <a:cubicBezTo>
                    <a:pt x="216605" y="1110483"/>
                    <a:pt x="219171" y="1114519"/>
                    <a:pt x="221951" y="1118556"/>
                  </a:cubicBezTo>
                  <a:lnTo>
                    <a:pt x="229007" y="1133356"/>
                  </a:lnTo>
                  <a:cubicBezTo>
                    <a:pt x="232215" y="1138738"/>
                    <a:pt x="235636" y="1143896"/>
                    <a:pt x="238843" y="1149278"/>
                  </a:cubicBezTo>
                  <a:lnTo>
                    <a:pt x="247824" y="1166097"/>
                  </a:lnTo>
                  <a:cubicBezTo>
                    <a:pt x="251673" y="1171479"/>
                    <a:pt x="255522" y="1176636"/>
                    <a:pt x="259370" y="1182018"/>
                  </a:cubicBezTo>
                  <a:cubicBezTo>
                    <a:pt x="263861" y="1186503"/>
                    <a:pt x="268137" y="1190988"/>
                    <a:pt x="272628" y="1195473"/>
                  </a:cubicBezTo>
                  <a:cubicBezTo>
                    <a:pt x="277973" y="1199510"/>
                    <a:pt x="283319" y="1203322"/>
                    <a:pt x="288665" y="1207358"/>
                  </a:cubicBezTo>
                  <a:lnTo>
                    <a:pt x="306626" y="1216104"/>
                  </a:lnTo>
                  <a:lnTo>
                    <a:pt x="328008" y="1219468"/>
                  </a:lnTo>
                  <a:lnTo>
                    <a:pt x="350246" y="1218795"/>
                  </a:lnTo>
                  <a:lnTo>
                    <a:pt x="390231" y="1208704"/>
                  </a:lnTo>
                  <a:lnTo>
                    <a:pt x="425940" y="1192109"/>
                  </a:lnTo>
                  <a:lnTo>
                    <a:pt x="460580" y="1171254"/>
                  </a:lnTo>
                  <a:lnTo>
                    <a:pt x="489233" y="1146587"/>
                  </a:lnTo>
                  <a:lnTo>
                    <a:pt x="516816" y="1119901"/>
                  </a:lnTo>
                  <a:cubicBezTo>
                    <a:pt x="525369" y="1110483"/>
                    <a:pt x="534136" y="1101288"/>
                    <a:pt x="542689" y="1091870"/>
                  </a:cubicBezTo>
                  <a:lnTo>
                    <a:pt x="565782" y="1065184"/>
                  </a:lnTo>
                  <a:cubicBezTo>
                    <a:pt x="572411" y="1056663"/>
                    <a:pt x="578825" y="1048141"/>
                    <a:pt x="585454" y="1039620"/>
                  </a:cubicBezTo>
                  <a:lnTo>
                    <a:pt x="629074" y="981539"/>
                  </a:lnTo>
                  <a:lnTo>
                    <a:pt x="670984" y="916059"/>
                  </a:lnTo>
                  <a:lnTo>
                    <a:pt x="712894" y="844523"/>
                  </a:lnTo>
                  <a:lnTo>
                    <a:pt x="752024" y="766484"/>
                  </a:lnTo>
                  <a:cubicBezTo>
                    <a:pt x="763998" y="739126"/>
                    <a:pt x="775759" y="711543"/>
                    <a:pt x="787733" y="684185"/>
                  </a:cubicBezTo>
                  <a:lnTo>
                    <a:pt x="819807" y="596728"/>
                  </a:lnTo>
                  <a:cubicBezTo>
                    <a:pt x="829643" y="566230"/>
                    <a:pt x="839265" y="535732"/>
                    <a:pt x="849101" y="505234"/>
                  </a:cubicBezTo>
                  <a:cubicBezTo>
                    <a:pt x="856157" y="473615"/>
                    <a:pt x="863427" y="441996"/>
                    <a:pt x="870483" y="410376"/>
                  </a:cubicBezTo>
                  <a:cubicBezTo>
                    <a:pt x="875829" y="378084"/>
                    <a:pt x="881174" y="345568"/>
                    <a:pt x="886520" y="313276"/>
                  </a:cubicBezTo>
                  <a:cubicBezTo>
                    <a:pt x="889727" y="280088"/>
                    <a:pt x="893149" y="247123"/>
                    <a:pt x="896356" y="213934"/>
                  </a:cubicBezTo>
                  <a:cubicBezTo>
                    <a:pt x="898922" y="215504"/>
                    <a:pt x="901702" y="216849"/>
                    <a:pt x="904267" y="218419"/>
                  </a:cubicBezTo>
                  <a:lnTo>
                    <a:pt x="910682" y="229856"/>
                  </a:lnTo>
                  <a:cubicBezTo>
                    <a:pt x="912393" y="235462"/>
                    <a:pt x="914317" y="241068"/>
                    <a:pt x="916028" y="246674"/>
                  </a:cubicBezTo>
                  <a:cubicBezTo>
                    <a:pt x="916883" y="254075"/>
                    <a:pt x="917739" y="261251"/>
                    <a:pt x="918594" y="268651"/>
                  </a:cubicBezTo>
                  <a:cubicBezTo>
                    <a:pt x="919235" y="277172"/>
                    <a:pt x="919663" y="285469"/>
                    <a:pt x="920304" y="293991"/>
                  </a:cubicBezTo>
                  <a:lnTo>
                    <a:pt x="920304" y="323368"/>
                  </a:lnTo>
                  <a:lnTo>
                    <a:pt x="920304" y="354763"/>
                  </a:lnTo>
                  <a:cubicBezTo>
                    <a:pt x="919663" y="366199"/>
                    <a:pt x="919235" y="377412"/>
                    <a:pt x="918594" y="388848"/>
                  </a:cubicBezTo>
                  <a:cubicBezTo>
                    <a:pt x="917739" y="400509"/>
                    <a:pt x="916883" y="411946"/>
                    <a:pt x="916028" y="423607"/>
                  </a:cubicBezTo>
                  <a:cubicBezTo>
                    <a:pt x="914745" y="435492"/>
                    <a:pt x="913676" y="447153"/>
                    <a:pt x="912393" y="459038"/>
                  </a:cubicBezTo>
                  <a:cubicBezTo>
                    <a:pt x="910682" y="470924"/>
                    <a:pt x="908758" y="482585"/>
                    <a:pt x="907047" y="494470"/>
                  </a:cubicBezTo>
                  <a:cubicBezTo>
                    <a:pt x="906192" y="505907"/>
                    <a:pt x="905123" y="517119"/>
                    <a:pt x="904267" y="528556"/>
                  </a:cubicBezTo>
                  <a:cubicBezTo>
                    <a:pt x="902557" y="539095"/>
                    <a:pt x="900633" y="549411"/>
                    <a:pt x="898922" y="559951"/>
                  </a:cubicBezTo>
                  <a:cubicBezTo>
                    <a:pt x="897425" y="569818"/>
                    <a:pt x="896142" y="579460"/>
                    <a:pt x="894645" y="589327"/>
                  </a:cubicBezTo>
                  <a:cubicBezTo>
                    <a:pt x="892935" y="597849"/>
                    <a:pt x="891010" y="606146"/>
                    <a:pt x="889300" y="614667"/>
                  </a:cubicBezTo>
                  <a:lnTo>
                    <a:pt x="884809" y="635523"/>
                  </a:lnTo>
                  <a:cubicBezTo>
                    <a:pt x="883527" y="641129"/>
                    <a:pt x="882457" y="646511"/>
                    <a:pt x="881174" y="652117"/>
                  </a:cubicBezTo>
                  <a:lnTo>
                    <a:pt x="817027" y="841832"/>
                  </a:lnTo>
                  <a:lnTo>
                    <a:pt x="868773" y="838020"/>
                  </a:lnTo>
                  <a:lnTo>
                    <a:pt x="916883" y="828601"/>
                  </a:lnTo>
                  <a:lnTo>
                    <a:pt x="962214" y="815146"/>
                  </a:lnTo>
                  <a:lnTo>
                    <a:pt x="1005835" y="797879"/>
                  </a:lnTo>
                  <a:lnTo>
                    <a:pt x="1045178" y="778369"/>
                  </a:lnTo>
                  <a:lnTo>
                    <a:pt x="1080673" y="757066"/>
                  </a:lnTo>
                  <a:lnTo>
                    <a:pt x="1114672" y="735089"/>
                  </a:lnTo>
                  <a:lnTo>
                    <a:pt x="1145890" y="714234"/>
                  </a:lnTo>
                  <a:lnTo>
                    <a:pt x="1148456" y="724325"/>
                  </a:lnTo>
                  <a:cubicBezTo>
                    <a:pt x="1139048" y="735314"/>
                    <a:pt x="1129426" y="746078"/>
                    <a:pt x="1120017" y="757066"/>
                  </a:cubicBezTo>
                  <a:cubicBezTo>
                    <a:pt x="1108471" y="767606"/>
                    <a:pt x="1096710" y="777921"/>
                    <a:pt x="1085164" y="788461"/>
                  </a:cubicBezTo>
                  <a:lnTo>
                    <a:pt x="1043254" y="816492"/>
                  </a:lnTo>
                  <a:lnTo>
                    <a:pt x="996212" y="841832"/>
                  </a:lnTo>
                  <a:lnTo>
                    <a:pt x="946177" y="864705"/>
                  </a:lnTo>
                  <a:lnTo>
                    <a:pt x="892721" y="884664"/>
                  </a:lnTo>
                  <a:lnTo>
                    <a:pt x="837554" y="900137"/>
                  </a:lnTo>
                  <a:lnTo>
                    <a:pt x="781318" y="911349"/>
                  </a:lnTo>
                  <a:lnTo>
                    <a:pt x="769771" y="938259"/>
                  </a:lnTo>
                  <a:cubicBezTo>
                    <a:pt x="764426" y="948799"/>
                    <a:pt x="759080" y="959114"/>
                    <a:pt x="753735" y="969654"/>
                  </a:cubicBezTo>
                  <a:lnTo>
                    <a:pt x="735987" y="1002395"/>
                  </a:lnTo>
                  <a:lnTo>
                    <a:pt x="712894" y="1037826"/>
                  </a:lnTo>
                  <a:cubicBezTo>
                    <a:pt x="704769" y="1050160"/>
                    <a:pt x="696857" y="1062718"/>
                    <a:pt x="688732" y="1075051"/>
                  </a:cubicBezTo>
                  <a:cubicBezTo>
                    <a:pt x="680179" y="1087385"/>
                    <a:pt x="671412" y="1099494"/>
                    <a:pt x="662859" y="1111828"/>
                  </a:cubicBezTo>
                  <a:lnTo>
                    <a:pt x="635275" y="1146587"/>
                  </a:lnTo>
                  <a:lnTo>
                    <a:pt x="607692" y="1180673"/>
                  </a:lnTo>
                  <a:cubicBezTo>
                    <a:pt x="599139" y="1191212"/>
                    <a:pt x="590372" y="1201528"/>
                    <a:pt x="581819" y="1212068"/>
                  </a:cubicBezTo>
                  <a:lnTo>
                    <a:pt x="554235" y="1240099"/>
                  </a:lnTo>
                  <a:lnTo>
                    <a:pt x="530073" y="1264990"/>
                  </a:lnTo>
                  <a:cubicBezTo>
                    <a:pt x="463128" y="1316270"/>
                    <a:pt x="473494" y="1362219"/>
                    <a:pt x="462532" y="1477481"/>
                  </a:cubicBezTo>
                  <a:cubicBezTo>
                    <a:pt x="456545" y="1491608"/>
                    <a:pt x="461221" y="1518841"/>
                    <a:pt x="455234" y="1532968"/>
                  </a:cubicBezTo>
                  <a:cubicBezTo>
                    <a:pt x="450530" y="1547545"/>
                    <a:pt x="445826" y="1562345"/>
                    <a:pt x="441122" y="1576921"/>
                  </a:cubicBezTo>
                  <a:cubicBezTo>
                    <a:pt x="438342" y="1591946"/>
                    <a:pt x="435776" y="1606746"/>
                    <a:pt x="432997" y="1621771"/>
                  </a:cubicBezTo>
                  <a:cubicBezTo>
                    <a:pt x="431927" y="1637469"/>
                    <a:pt x="430645" y="1653390"/>
                    <a:pt x="429575" y="1669088"/>
                  </a:cubicBezTo>
                  <a:cubicBezTo>
                    <a:pt x="428934" y="1685009"/>
                    <a:pt x="428292" y="1700707"/>
                    <a:pt x="427651" y="1716629"/>
                  </a:cubicBezTo>
                  <a:cubicBezTo>
                    <a:pt x="428292" y="1732550"/>
                    <a:pt x="428934" y="1748248"/>
                    <a:pt x="429575" y="1764169"/>
                  </a:cubicBezTo>
                  <a:cubicBezTo>
                    <a:pt x="430645" y="1780315"/>
                    <a:pt x="431927" y="1796686"/>
                    <a:pt x="432997" y="1812832"/>
                  </a:cubicBezTo>
                  <a:cubicBezTo>
                    <a:pt x="434493" y="1828977"/>
                    <a:pt x="435990" y="1844899"/>
                    <a:pt x="437487" y="1861045"/>
                  </a:cubicBezTo>
                  <a:cubicBezTo>
                    <a:pt x="439197" y="1876743"/>
                    <a:pt x="441122" y="1892664"/>
                    <a:pt x="442833" y="1908362"/>
                  </a:cubicBezTo>
                  <a:cubicBezTo>
                    <a:pt x="443046" y="1931459"/>
                    <a:pt x="443474" y="1954781"/>
                    <a:pt x="443688" y="1977879"/>
                  </a:cubicBezTo>
                  <a:cubicBezTo>
                    <a:pt x="442191" y="2000977"/>
                    <a:pt x="440694" y="2024299"/>
                    <a:pt x="439197" y="2047396"/>
                  </a:cubicBezTo>
                  <a:cubicBezTo>
                    <a:pt x="436632" y="2069597"/>
                    <a:pt x="433852" y="2092022"/>
                    <a:pt x="431286" y="2114223"/>
                  </a:cubicBezTo>
                  <a:cubicBezTo>
                    <a:pt x="428079" y="2135975"/>
                    <a:pt x="424657" y="2157951"/>
                    <a:pt x="421450" y="2179703"/>
                  </a:cubicBezTo>
                  <a:cubicBezTo>
                    <a:pt x="414821" y="2253930"/>
                    <a:pt x="416104" y="2322102"/>
                    <a:pt x="409476" y="2396328"/>
                  </a:cubicBezTo>
                  <a:lnTo>
                    <a:pt x="50891" y="2396328"/>
                  </a:lnTo>
                  <a:lnTo>
                    <a:pt x="91945" y="2308198"/>
                  </a:lnTo>
                  <a:lnTo>
                    <a:pt x="142622" y="2208407"/>
                  </a:lnTo>
                  <a:cubicBezTo>
                    <a:pt x="148609" y="2196298"/>
                    <a:pt x="154382" y="2184413"/>
                    <a:pt x="160369" y="2172303"/>
                  </a:cubicBezTo>
                  <a:cubicBezTo>
                    <a:pt x="165501" y="2158848"/>
                    <a:pt x="170419" y="2145617"/>
                    <a:pt x="175551" y="2132162"/>
                  </a:cubicBezTo>
                  <a:cubicBezTo>
                    <a:pt x="180255" y="2117362"/>
                    <a:pt x="185173" y="2102337"/>
                    <a:pt x="189877" y="2087537"/>
                  </a:cubicBezTo>
                  <a:cubicBezTo>
                    <a:pt x="194368" y="2071615"/>
                    <a:pt x="198644" y="2055918"/>
                    <a:pt x="203134" y="2039996"/>
                  </a:cubicBezTo>
                  <a:cubicBezTo>
                    <a:pt x="206769" y="2022953"/>
                    <a:pt x="210191" y="2005686"/>
                    <a:pt x="213826" y="1988643"/>
                  </a:cubicBezTo>
                  <a:cubicBezTo>
                    <a:pt x="216605" y="1971152"/>
                    <a:pt x="219171" y="1953884"/>
                    <a:pt x="221951" y="1936393"/>
                  </a:cubicBezTo>
                  <a:cubicBezTo>
                    <a:pt x="224517" y="1918229"/>
                    <a:pt x="227297" y="1899840"/>
                    <a:pt x="229863" y="1881676"/>
                  </a:cubicBezTo>
                  <a:cubicBezTo>
                    <a:pt x="231573" y="1863288"/>
                    <a:pt x="233498" y="1844675"/>
                    <a:pt x="235208" y="1826286"/>
                  </a:cubicBezTo>
                  <a:cubicBezTo>
                    <a:pt x="236705" y="1807001"/>
                    <a:pt x="238202" y="1787940"/>
                    <a:pt x="239699" y="1768654"/>
                  </a:cubicBezTo>
                  <a:lnTo>
                    <a:pt x="239699" y="1711919"/>
                  </a:lnTo>
                  <a:lnTo>
                    <a:pt x="239699" y="1655857"/>
                  </a:lnTo>
                  <a:cubicBezTo>
                    <a:pt x="238202" y="1637020"/>
                    <a:pt x="236705" y="1618407"/>
                    <a:pt x="235208" y="1599570"/>
                  </a:cubicBezTo>
                  <a:cubicBezTo>
                    <a:pt x="233070" y="1581630"/>
                    <a:pt x="231145" y="1563466"/>
                    <a:pt x="229007" y="1545526"/>
                  </a:cubicBezTo>
                  <a:cubicBezTo>
                    <a:pt x="226441" y="1528035"/>
                    <a:pt x="223662" y="1510319"/>
                    <a:pt x="221096" y="1492828"/>
                  </a:cubicBezTo>
                  <a:cubicBezTo>
                    <a:pt x="217247" y="1475785"/>
                    <a:pt x="213184" y="1458966"/>
                    <a:pt x="209335" y="1441923"/>
                  </a:cubicBezTo>
                  <a:cubicBezTo>
                    <a:pt x="203990" y="1426226"/>
                    <a:pt x="198644" y="1410304"/>
                    <a:pt x="193298" y="1394607"/>
                  </a:cubicBezTo>
                  <a:cubicBezTo>
                    <a:pt x="187311" y="1379582"/>
                    <a:pt x="181538" y="1364781"/>
                    <a:pt x="175551" y="1349757"/>
                  </a:cubicBezTo>
                  <a:cubicBezTo>
                    <a:pt x="168495" y="1336302"/>
                    <a:pt x="161225" y="1323071"/>
                    <a:pt x="154168" y="1309616"/>
                  </a:cubicBezTo>
                  <a:cubicBezTo>
                    <a:pt x="146257" y="1297731"/>
                    <a:pt x="138131" y="1286070"/>
                    <a:pt x="130220" y="1274185"/>
                  </a:cubicBezTo>
                  <a:cubicBezTo>
                    <a:pt x="100105" y="1196223"/>
                    <a:pt x="62986" y="1132194"/>
                    <a:pt x="53457" y="1033789"/>
                  </a:cubicBezTo>
                  <a:cubicBezTo>
                    <a:pt x="48397" y="992826"/>
                    <a:pt x="45795" y="992303"/>
                    <a:pt x="41055" y="971672"/>
                  </a:cubicBezTo>
                  <a:cubicBezTo>
                    <a:pt x="35709" y="951041"/>
                    <a:pt x="30364" y="930635"/>
                    <a:pt x="25018" y="910004"/>
                  </a:cubicBezTo>
                  <a:cubicBezTo>
                    <a:pt x="20528" y="887803"/>
                    <a:pt x="16037" y="865378"/>
                    <a:pt x="11547" y="843178"/>
                  </a:cubicBezTo>
                  <a:cubicBezTo>
                    <a:pt x="9409" y="820528"/>
                    <a:pt x="7484" y="797655"/>
                    <a:pt x="5346" y="775006"/>
                  </a:cubicBezTo>
                  <a:cubicBezTo>
                    <a:pt x="3635" y="751235"/>
                    <a:pt x="1711" y="727465"/>
                    <a:pt x="0" y="703694"/>
                  </a:cubicBezTo>
                  <a:lnTo>
                    <a:pt x="0" y="630813"/>
                  </a:lnTo>
                  <a:cubicBezTo>
                    <a:pt x="1283" y="606370"/>
                    <a:pt x="2352" y="581703"/>
                    <a:pt x="3635" y="557260"/>
                  </a:cubicBezTo>
                  <a:cubicBezTo>
                    <a:pt x="6201" y="533041"/>
                    <a:pt x="8981" y="508598"/>
                    <a:pt x="11547" y="484379"/>
                  </a:cubicBezTo>
                  <a:cubicBezTo>
                    <a:pt x="15396" y="460160"/>
                    <a:pt x="19458" y="435941"/>
                    <a:pt x="23307" y="411722"/>
                  </a:cubicBezTo>
                  <a:cubicBezTo>
                    <a:pt x="27370" y="388400"/>
                    <a:pt x="31647" y="364854"/>
                    <a:pt x="35709" y="341532"/>
                  </a:cubicBezTo>
                  <a:cubicBezTo>
                    <a:pt x="41696" y="318883"/>
                    <a:pt x="47470" y="296009"/>
                    <a:pt x="53457" y="273360"/>
                  </a:cubicBezTo>
                  <a:cubicBezTo>
                    <a:pt x="60513" y="252056"/>
                    <a:pt x="67783" y="230528"/>
                    <a:pt x="74839" y="209225"/>
                  </a:cubicBezTo>
                  <a:cubicBezTo>
                    <a:pt x="82323" y="189042"/>
                    <a:pt x="89593" y="168636"/>
                    <a:pt x="97077" y="148453"/>
                  </a:cubicBezTo>
                  <a:cubicBezTo>
                    <a:pt x="105630" y="130065"/>
                    <a:pt x="114397" y="111901"/>
                    <a:pt x="122950" y="93512"/>
                  </a:cubicBezTo>
                  <a:lnTo>
                    <a:pt x="150533" y="43504"/>
                  </a:lnTo>
                  <a:lnTo>
                    <a:pt x="183676" y="0"/>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ko-KR" altLang="en-US" sz="1800"/>
            </a:p>
          </p:txBody>
        </p:sp>
        <p:grpSp>
          <p:nvGrpSpPr>
            <p:cNvPr id="44" name="그룹 96">
              <a:extLst>
                <a:ext uri="{FF2B5EF4-FFF2-40B4-BE49-F238E27FC236}">
                  <a16:creationId xmlns:a16="http://schemas.microsoft.com/office/drawing/2014/main" id="{57AE67C2-6A96-E44A-AA39-B2F6580BCD6F}"/>
                </a:ext>
              </a:extLst>
            </p:cNvPr>
            <p:cNvGrpSpPr/>
            <p:nvPr/>
          </p:nvGrpSpPr>
          <p:grpSpPr>
            <a:xfrm>
              <a:off x="6451387" y="2774470"/>
              <a:ext cx="438446" cy="438446"/>
              <a:chOff x="2460435" y="1380960"/>
              <a:chExt cx="914400" cy="914400"/>
            </a:xfrm>
            <a:solidFill>
              <a:schemeClr val="accent3"/>
            </a:solidFill>
          </p:grpSpPr>
          <p:sp>
            <p:nvSpPr>
              <p:cNvPr id="61" name="타원 97">
                <a:extLst>
                  <a:ext uri="{FF2B5EF4-FFF2-40B4-BE49-F238E27FC236}">
                    <a16:creationId xmlns:a16="http://schemas.microsoft.com/office/drawing/2014/main" id="{6C78DC4E-9F52-7B48-8813-E724BC637F79}"/>
                  </a:ext>
                </a:extLst>
              </p:cNvPr>
              <p:cNvSpPr/>
              <p:nvPr/>
            </p:nvSpPr>
            <p:spPr>
              <a:xfrm>
                <a:off x="2460435" y="1380960"/>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2" name="타원 98">
                <a:extLst>
                  <a:ext uri="{FF2B5EF4-FFF2-40B4-BE49-F238E27FC236}">
                    <a16:creationId xmlns:a16="http://schemas.microsoft.com/office/drawing/2014/main" id="{1E82C566-A96B-1B4A-9490-C5B443BCACA5}"/>
                  </a:ext>
                </a:extLst>
              </p:cNvPr>
              <p:cNvSpPr/>
              <p:nvPr/>
            </p:nvSpPr>
            <p:spPr>
              <a:xfrm>
                <a:off x="2528509" y="1449034"/>
                <a:ext cx="778251" cy="7782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Block Arc 11">
                <a:extLst>
                  <a:ext uri="{FF2B5EF4-FFF2-40B4-BE49-F238E27FC236}">
                    <a16:creationId xmlns:a16="http://schemas.microsoft.com/office/drawing/2014/main" id="{4B8C4FFF-C4C7-114E-8625-B2F932974795}"/>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5" name="그룹 108">
              <a:extLst>
                <a:ext uri="{FF2B5EF4-FFF2-40B4-BE49-F238E27FC236}">
                  <a16:creationId xmlns:a16="http://schemas.microsoft.com/office/drawing/2014/main" id="{7B55A6BB-FE6F-3E43-A850-EC71A2A3CA07}"/>
                </a:ext>
              </a:extLst>
            </p:cNvPr>
            <p:cNvGrpSpPr/>
            <p:nvPr/>
          </p:nvGrpSpPr>
          <p:grpSpPr>
            <a:xfrm>
              <a:off x="7127214" y="2935807"/>
              <a:ext cx="438446" cy="438446"/>
              <a:chOff x="2460435" y="1380960"/>
              <a:chExt cx="914400" cy="914400"/>
            </a:xfrm>
            <a:solidFill>
              <a:schemeClr val="accent3"/>
            </a:solidFill>
          </p:grpSpPr>
          <p:sp>
            <p:nvSpPr>
              <p:cNvPr id="58" name="타원 109">
                <a:extLst>
                  <a:ext uri="{FF2B5EF4-FFF2-40B4-BE49-F238E27FC236}">
                    <a16:creationId xmlns:a16="http://schemas.microsoft.com/office/drawing/2014/main" id="{296509AD-3C5E-9A49-BAA5-06699991D522}"/>
                  </a:ext>
                </a:extLst>
              </p:cNvPr>
              <p:cNvSpPr/>
              <p:nvPr/>
            </p:nvSpPr>
            <p:spPr>
              <a:xfrm>
                <a:off x="2460435" y="1380960"/>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9" name="타원 110">
                <a:extLst>
                  <a:ext uri="{FF2B5EF4-FFF2-40B4-BE49-F238E27FC236}">
                    <a16:creationId xmlns:a16="http://schemas.microsoft.com/office/drawing/2014/main" id="{58720387-D2B2-8243-BF05-45172DF40A80}"/>
                  </a:ext>
                </a:extLst>
              </p:cNvPr>
              <p:cNvSpPr/>
              <p:nvPr/>
            </p:nvSpPr>
            <p:spPr>
              <a:xfrm>
                <a:off x="2528509" y="1449034"/>
                <a:ext cx="778251" cy="7782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0" name="Block Arc 11">
                <a:extLst>
                  <a:ext uri="{FF2B5EF4-FFF2-40B4-BE49-F238E27FC236}">
                    <a16:creationId xmlns:a16="http://schemas.microsoft.com/office/drawing/2014/main" id="{9950B9B9-F9E1-C14D-8ED1-18BBB11B6E47}"/>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6" name="그룹 112">
              <a:extLst>
                <a:ext uri="{FF2B5EF4-FFF2-40B4-BE49-F238E27FC236}">
                  <a16:creationId xmlns:a16="http://schemas.microsoft.com/office/drawing/2014/main" id="{32C9C6E1-9B9A-264B-91B9-A53CB13C4135}"/>
                </a:ext>
              </a:extLst>
            </p:cNvPr>
            <p:cNvGrpSpPr/>
            <p:nvPr/>
          </p:nvGrpSpPr>
          <p:grpSpPr>
            <a:xfrm>
              <a:off x="6744184" y="3036519"/>
              <a:ext cx="438446" cy="438446"/>
              <a:chOff x="2460435" y="1380960"/>
              <a:chExt cx="914400" cy="914400"/>
            </a:xfrm>
            <a:solidFill>
              <a:schemeClr val="accent3"/>
            </a:solidFill>
          </p:grpSpPr>
          <p:sp>
            <p:nvSpPr>
              <p:cNvPr id="55" name="타원 113">
                <a:extLst>
                  <a:ext uri="{FF2B5EF4-FFF2-40B4-BE49-F238E27FC236}">
                    <a16:creationId xmlns:a16="http://schemas.microsoft.com/office/drawing/2014/main" id="{C4A8FF25-7CC7-B844-A436-C02E184EC8D9}"/>
                  </a:ext>
                </a:extLst>
              </p:cNvPr>
              <p:cNvSpPr/>
              <p:nvPr/>
            </p:nvSpPr>
            <p:spPr>
              <a:xfrm>
                <a:off x="2460435" y="1380960"/>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6" name="타원 114">
                <a:extLst>
                  <a:ext uri="{FF2B5EF4-FFF2-40B4-BE49-F238E27FC236}">
                    <a16:creationId xmlns:a16="http://schemas.microsoft.com/office/drawing/2014/main" id="{58C799F0-CBDF-4B48-92A6-7B51E40874F6}"/>
                  </a:ext>
                </a:extLst>
              </p:cNvPr>
              <p:cNvSpPr/>
              <p:nvPr/>
            </p:nvSpPr>
            <p:spPr>
              <a:xfrm>
                <a:off x="2528509" y="1449034"/>
                <a:ext cx="778251" cy="7782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7" name="Block Arc 11">
                <a:extLst>
                  <a:ext uri="{FF2B5EF4-FFF2-40B4-BE49-F238E27FC236}">
                    <a16:creationId xmlns:a16="http://schemas.microsoft.com/office/drawing/2014/main" id="{D14CDFAA-228E-6C48-8550-04E4A055D843}"/>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7" name="그룹 116">
              <a:extLst>
                <a:ext uri="{FF2B5EF4-FFF2-40B4-BE49-F238E27FC236}">
                  <a16:creationId xmlns:a16="http://schemas.microsoft.com/office/drawing/2014/main" id="{CFFC424C-6B42-0445-B877-F2EDF40A5D8D}"/>
                </a:ext>
              </a:extLst>
            </p:cNvPr>
            <p:cNvGrpSpPr/>
            <p:nvPr/>
          </p:nvGrpSpPr>
          <p:grpSpPr>
            <a:xfrm>
              <a:off x="7247814" y="3372938"/>
              <a:ext cx="438446" cy="438446"/>
              <a:chOff x="2460435" y="1380960"/>
              <a:chExt cx="914400" cy="914400"/>
            </a:xfrm>
            <a:solidFill>
              <a:schemeClr val="accent3"/>
            </a:solidFill>
          </p:grpSpPr>
          <p:sp>
            <p:nvSpPr>
              <p:cNvPr id="52" name="타원 117">
                <a:extLst>
                  <a:ext uri="{FF2B5EF4-FFF2-40B4-BE49-F238E27FC236}">
                    <a16:creationId xmlns:a16="http://schemas.microsoft.com/office/drawing/2014/main" id="{1D00B2F6-4644-7742-B8A5-6B37AF8756DB}"/>
                  </a:ext>
                </a:extLst>
              </p:cNvPr>
              <p:cNvSpPr/>
              <p:nvPr/>
            </p:nvSpPr>
            <p:spPr>
              <a:xfrm>
                <a:off x="2460435" y="1380960"/>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3" name="타원 118">
                <a:extLst>
                  <a:ext uri="{FF2B5EF4-FFF2-40B4-BE49-F238E27FC236}">
                    <a16:creationId xmlns:a16="http://schemas.microsoft.com/office/drawing/2014/main" id="{12837FB8-4E16-494A-8FE6-5D80A5929ADA}"/>
                  </a:ext>
                </a:extLst>
              </p:cNvPr>
              <p:cNvSpPr/>
              <p:nvPr/>
            </p:nvSpPr>
            <p:spPr>
              <a:xfrm>
                <a:off x="2528509" y="1449034"/>
                <a:ext cx="778251" cy="7782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4" name="Block Arc 11">
                <a:extLst>
                  <a:ext uri="{FF2B5EF4-FFF2-40B4-BE49-F238E27FC236}">
                    <a16:creationId xmlns:a16="http://schemas.microsoft.com/office/drawing/2014/main" id="{36FB32FA-982B-5F49-AC08-58E4C3CA9F6B}"/>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48" name="그룹 120">
              <a:extLst>
                <a:ext uri="{FF2B5EF4-FFF2-40B4-BE49-F238E27FC236}">
                  <a16:creationId xmlns:a16="http://schemas.microsoft.com/office/drawing/2014/main" id="{F42BCE39-5049-2543-90F2-68048686A4DE}"/>
                </a:ext>
              </a:extLst>
            </p:cNvPr>
            <p:cNvGrpSpPr/>
            <p:nvPr/>
          </p:nvGrpSpPr>
          <p:grpSpPr>
            <a:xfrm>
              <a:off x="6282410" y="3345315"/>
              <a:ext cx="438446" cy="438446"/>
              <a:chOff x="2460435" y="1380960"/>
              <a:chExt cx="914400" cy="914400"/>
            </a:xfrm>
            <a:solidFill>
              <a:schemeClr val="accent3"/>
            </a:solidFill>
          </p:grpSpPr>
          <p:sp>
            <p:nvSpPr>
              <p:cNvPr id="49" name="타원 121">
                <a:extLst>
                  <a:ext uri="{FF2B5EF4-FFF2-40B4-BE49-F238E27FC236}">
                    <a16:creationId xmlns:a16="http://schemas.microsoft.com/office/drawing/2014/main" id="{784B15E5-4E4C-FB49-ACCF-D5E4F3328F81}"/>
                  </a:ext>
                </a:extLst>
              </p:cNvPr>
              <p:cNvSpPr/>
              <p:nvPr/>
            </p:nvSpPr>
            <p:spPr>
              <a:xfrm>
                <a:off x="2460435" y="1380960"/>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0" name="타원 122">
                <a:extLst>
                  <a:ext uri="{FF2B5EF4-FFF2-40B4-BE49-F238E27FC236}">
                    <a16:creationId xmlns:a16="http://schemas.microsoft.com/office/drawing/2014/main" id="{0BECF788-DE7F-914D-9D45-2AA37D902E69}"/>
                  </a:ext>
                </a:extLst>
              </p:cNvPr>
              <p:cNvSpPr/>
              <p:nvPr/>
            </p:nvSpPr>
            <p:spPr>
              <a:xfrm>
                <a:off x="2528509" y="1449034"/>
                <a:ext cx="778251" cy="778251"/>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1" name="Block Arc 11">
                <a:extLst>
                  <a:ext uri="{FF2B5EF4-FFF2-40B4-BE49-F238E27FC236}">
                    <a16:creationId xmlns:a16="http://schemas.microsoft.com/office/drawing/2014/main" id="{88182775-560C-964B-A244-1B83501133FD}"/>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grpSp>
        <p:nvGrpSpPr>
          <p:cNvPr id="64" name="그룹 8">
            <a:extLst>
              <a:ext uri="{FF2B5EF4-FFF2-40B4-BE49-F238E27FC236}">
                <a16:creationId xmlns:a16="http://schemas.microsoft.com/office/drawing/2014/main" id="{9065CDCC-E6CD-364F-9C7E-777240A0ADD8}"/>
              </a:ext>
            </a:extLst>
          </p:cNvPr>
          <p:cNvGrpSpPr/>
          <p:nvPr/>
        </p:nvGrpSpPr>
        <p:grpSpPr>
          <a:xfrm>
            <a:off x="4433006" y="3733940"/>
            <a:ext cx="752941" cy="1103119"/>
            <a:chOff x="4041120" y="3338087"/>
            <a:chExt cx="752941" cy="1103119"/>
          </a:xfrm>
        </p:grpSpPr>
        <p:sp>
          <p:nvSpPr>
            <p:cNvPr id="65" name="자유형: 도형 125">
              <a:extLst>
                <a:ext uri="{FF2B5EF4-FFF2-40B4-BE49-F238E27FC236}">
                  <a16:creationId xmlns:a16="http://schemas.microsoft.com/office/drawing/2014/main" id="{120127D2-50B6-0142-8A6D-5BE4508B8A76}"/>
                </a:ext>
              </a:extLst>
            </p:cNvPr>
            <p:cNvSpPr>
              <a:spLocks/>
            </p:cNvSpPr>
            <p:nvPr/>
          </p:nvSpPr>
          <p:spPr bwMode="auto">
            <a:xfrm>
              <a:off x="4177829" y="3677929"/>
              <a:ext cx="237406" cy="763277"/>
            </a:xfrm>
            <a:custGeom>
              <a:avLst/>
              <a:gdLst>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29873 w 237406"/>
                <a:gd name="connsiteY73" fmla="*/ 631490 h 1139927"/>
                <a:gd name="connsiteX74" fmla="*/ 226104 w 237406"/>
                <a:gd name="connsiteY74" fmla="*/ 640880 h 1139927"/>
                <a:gd name="connsiteX75" fmla="*/ 220026 w 237406"/>
                <a:gd name="connsiteY75" fmla="*/ 702834 h 1139927"/>
                <a:gd name="connsiteX76" fmla="*/ 216554 w 237406"/>
                <a:gd name="connsiteY76" fmla="*/ 729229 h 1139927"/>
                <a:gd name="connsiteX77" fmla="*/ 209841 w 237406"/>
                <a:gd name="connsiteY77" fmla="*/ 750137 h 1139927"/>
                <a:gd name="connsiteX78" fmla="*/ 205976 w 237406"/>
                <a:gd name="connsiteY78" fmla="*/ 771472 h 1139927"/>
                <a:gd name="connsiteX79" fmla="*/ 204348 w 237406"/>
                <a:gd name="connsiteY79" fmla="*/ 793981 h 1139927"/>
                <a:gd name="connsiteX80" fmla="*/ 203433 w 237406"/>
                <a:gd name="connsiteY80" fmla="*/ 816596 h 1139927"/>
                <a:gd name="connsiteX81" fmla="*/ 204348 w 237406"/>
                <a:gd name="connsiteY81" fmla="*/ 839211 h 1139927"/>
                <a:gd name="connsiteX82" fmla="*/ 205976 w 237406"/>
                <a:gd name="connsiteY82" fmla="*/ 862360 h 1139927"/>
                <a:gd name="connsiteX83" fmla="*/ 208112 w 237406"/>
                <a:gd name="connsiteY83" fmla="*/ 885294 h 1139927"/>
                <a:gd name="connsiteX84" fmla="*/ 210655 w 237406"/>
                <a:gd name="connsiteY84" fmla="*/ 907803 h 1139927"/>
                <a:gd name="connsiteX85" fmla="*/ 211061 w 237406"/>
                <a:gd name="connsiteY85" fmla="*/ 940872 h 1139927"/>
                <a:gd name="connsiteX86" fmla="*/ 208925 w 237406"/>
                <a:gd name="connsiteY86" fmla="*/ 973941 h 1139927"/>
                <a:gd name="connsiteX87" fmla="*/ 205162 w 237406"/>
                <a:gd name="connsiteY87" fmla="*/ 1005731 h 1139927"/>
                <a:gd name="connsiteX88" fmla="*/ 200483 w 237406"/>
                <a:gd name="connsiteY88" fmla="*/ 1036879 h 1139927"/>
                <a:gd name="connsiteX89" fmla="*/ 194787 w 237406"/>
                <a:gd name="connsiteY89" fmla="*/ 1139927 h 1139927"/>
                <a:gd name="connsiteX90" fmla="*/ 24209 w 237406"/>
                <a:gd name="connsiteY90" fmla="*/ 1139927 h 1139927"/>
                <a:gd name="connsiteX91" fmla="*/ 43738 w 237406"/>
                <a:gd name="connsiteY91" fmla="*/ 1098004 h 1139927"/>
                <a:gd name="connsiteX92" fmla="*/ 67845 w 237406"/>
                <a:gd name="connsiteY92" fmla="*/ 1050534 h 1139927"/>
                <a:gd name="connsiteX93" fmla="*/ 76287 w 237406"/>
                <a:gd name="connsiteY93" fmla="*/ 1033359 h 1139927"/>
                <a:gd name="connsiteX94" fmla="*/ 83509 w 237406"/>
                <a:gd name="connsiteY94" fmla="*/ 1014264 h 1139927"/>
                <a:gd name="connsiteX95" fmla="*/ 90324 w 237406"/>
                <a:gd name="connsiteY95" fmla="*/ 993036 h 1139927"/>
                <a:gd name="connsiteX96" fmla="*/ 96631 w 237406"/>
                <a:gd name="connsiteY96" fmla="*/ 970421 h 1139927"/>
                <a:gd name="connsiteX97" fmla="*/ 101717 w 237406"/>
                <a:gd name="connsiteY97" fmla="*/ 945993 h 1139927"/>
                <a:gd name="connsiteX98" fmla="*/ 105582 w 237406"/>
                <a:gd name="connsiteY98" fmla="*/ 921137 h 1139927"/>
                <a:gd name="connsiteX99" fmla="*/ 109345 w 237406"/>
                <a:gd name="connsiteY99" fmla="*/ 895109 h 1139927"/>
                <a:gd name="connsiteX100" fmla="*/ 111888 w 237406"/>
                <a:gd name="connsiteY100" fmla="*/ 868760 h 1139927"/>
                <a:gd name="connsiteX101" fmla="*/ 114024 w 237406"/>
                <a:gd name="connsiteY101" fmla="*/ 841344 h 1139927"/>
                <a:gd name="connsiteX102" fmla="*/ 114024 w 237406"/>
                <a:gd name="connsiteY102" fmla="*/ 814356 h 1139927"/>
                <a:gd name="connsiteX103" fmla="*/ 114024 w 237406"/>
                <a:gd name="connsiteY103" fmla="*/ 787687 h 1139927"/>
                <a:gd name="connsiteX104" fmla="*/ 111888 w 237406"/>
                <a:gd name="connsiteY104" fmla="*/ 760912 h 1139927"/>
                <a:gd name="connsiteX105" fmla="*/ 108938 w 237406"/>
                <a:gd name="connsiteY105" fmla="*/ 735203 h 1139927"/>
                <a:gd name="connsiteX106" fmla="*/ 105175 w 237406"/>
                <a:gd name="connsiteY106" fmla="*/ 710135 h 1139927"/>
                <a:gd name="connsiteX107" fmla="*/ 99580 w 237406"/>
                <a:gd name="connsiteY107" fmla="*/ 685919 h 1139927"/>
                <a:gd name="connsiteX108" fmla="*/ 91952 w 237406"/>
                <a:gd name="connsiteY108" fmla="*/ 663411 h 1139927"/>
                <a:gd name="connsiteX109" fmla="*/ 83509 w 237406"/>
                <a:gd name="connsiteY109" fmla="*/ 642076 h 1139927"/>
                <a:gd name="connsiteX110" fmla="*/ 73338 w 237406"/>
                <a:gd name="connsiteY110" fmla="*/ 622981 h 1139927"/>
                <a:gd name="connsiteX111" fmla="*/ 61946 w 237406"/>
                <a:gd name="connsiteY111" fmla="*/ 606127 h 1139927"/>
                <a:gd name="connsiteX112" fmla="*/ 25430 w 237406"/>
                <a:gd name="connsiteY112" fmla="*/ 491771 h 1139927"/>
                <a:gd name="connsiteX113" fmla="*/ 19530 w 237406"/>
                <a:gd name="connsiteY113" fmla="*/ 462222 h 1139927"/>
                <a:gd name="connsiteX114" fmla="*/ 11901 w 237406"/>
                <a:gd name="connsiteY114" fmla="*/ 432887 h 1139927"/>
                <a:gd name="connsiteX115" fmla="*/ 5493 w 237406"/>
                <a:gd name="connsiteY115" fmla="*/ 401098 h 1139927"/>
                <a:gd name="connsiteX116" fmla="*/ 2543 w 237406"/>
                <a:gd name="connsiteY116" fmla="*/ 368669 h 1139927"/>
                <a:gd name="connsiteX117" fmla="*/ 0 w 237406"/>
                <a:gd name="connsiteY117" fmla="*/ 334746 h 1139927"/>
                <a:gd name="connsiteX118" fmla="*/ 0 w 237406"/>
                <a:gd name="connsiteY118" fmla="*/ 300076 h 1139927"/>
                <a:gd name="connsiteX119" fmla="*/ 1729 w 237406"/>
                <a:gd name="connsiteY119" fmla="*/ 265087 h 1139927"/>
                <a:gd name="connsiteX120" fmla="*/ 5493 w 237406"/>
                <a:gd name="connsiteY120" fmla="*/ 230418 h 1139927"/>
                <a:gd name="connsiteX121" fmla="*/ 11087 w 237406"/>
                <a:gd name="connsiteY121" fmla="*/ 195855 h 1139927"/>
                <a:gd name="connsiteX122" fmla="*/ 16987 w 237406"/>
                <a:gd name="connsiteY122" fmla="*/ 162466 h 1139927"/>
                <a:gd name="connsiteX123" fmla="*/ 25430 w 237406"/>
                <a:gd name="connsiteY123" fmla="*/ 130037 h 1139927"/>
                <a:gd name="connsiteX124" fmla="*/ 35601 w 237406"/>
                <a:gd name="connsiteY124" fmla="*/ 99528 h 1139927"/>
                <a:gd name="connsiteX125" fmla="*/ 46180 w 237406"/>
                <a:gd name="connsiteY125" fmla="*/ 70619 h 1139927"/>
                <a:gd name="connsiteX126" fmla="*/ 58487 w 237406"/>
                <a:gd name="connsiteY126" fmla="*/ 44484 h 1139927"/>
                <a:gd name="connsiteX127" fmla="*/ 71608 w 237406"/>
                <a:gd name="connsiteY127" fmla="*/ 20695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29873 w 237406"/>
                <a:gd name="connsiteY73" fmla="*/ 631490 h 1139927"/>
                <a:gd name="connsiteX74" fmla="*/ 220026 w 237406"/>
                <a:gd name="connsiteY74" fmla="*/ 702834 h 1139927"/>
                <a:gd name="connsiteX75" fmla="*/ 216554 w 237406"/>
                <a:gd name="connsiteY75" fmla="*/ 729229 h 1139927"/>
                <a:gd name="connsiteX76" fmla="*/ 209841 w 237406"/>
                <a:gd name="connsiteY76" fmla="*/ 750137 h 1139927"/>
                <a:gd name="connsiteX77" fmla="*/ 205976 w 237406"/>
                <a:gd name="connsiteY77" fmla="*/ 771472 h 1139927"/>
                <a:gd name="connsiteX78" fmla="*/ 204348 w 237406"/>
                <a:gd name="connsiteY78" fmla="*/ 793981 h 1139927"/>
                <a:gd name="connsiteX79" fmla="*/ 203433 w 237406"/>
                <a:gd name="connsiteY79" fmla="*/ 816596 h 1139927"/>
                <a:gd name="connsiteX80" fmla="*/ 204348 w 237406"/>
                <a:gd name="connsiteY80" fmla="*/ 839211 h 1139927"/>
                <a:gd name="connsiteX81" fmla="*/ 205976 w 237406"/>
                <a:gd name="connsiteY81" fmla="*/ 862360 h 1139927"/>
                <a:gd name="connsiteX82" fmla="*/ 208112 w 237406"/>
                <a:gd name="connsiteY82" fmla="*/ 885294 h 1139927"/>
                <a:gd name="connsiteX83" fmla="*/ 210655 w 237406"/>
                <a:gd name="connsiteY83" fmla="*/ 907803 h 1139927"/>
                <a:gd name="connsiteX84" fmla="*/ 211061 w 237406"/>
                <a:gd name="connsiteY84" fmla="*/ 940872 h 1139927"/>
                <a:gd name="connsiteX85" fmla="*/ 208925 w 237406"/>
                <a:gd name="connsiteY85" fmla="*/ 973941 h 1139927"/>
                <a:gd name="connsiteX86" fmla="*/ 205162 w 237406"/>
                <a:gd name="connsiteY86" fmla="*/ 1005731 h 1139927"/>
                <a:gd name="connsiteX87" fmla="*/ 200483 w 237406"/>
                <a:gd name="connsiteY87" fmla="*/ 1036879 h 1139927"/>
                <a:gd name="connsiteX88" fmla="*/ 194787 w 237406"/>
                <a:gd name="connsiteY88" fmla="*/ 1139927 h 1139927"/>
                <a:gd name="connsiteX89" fmla="*/ 24209 w 237406"/>
                <a:gd name="connsiteY89" fmla="*/ 1139927 h 1139927"/>
                <a:gd name="connsiteX90" fmla="*/ 43738 w 237406"/>
                <a:gd name="connsiteY90" fmla="*/ 1098004 h 1139927"/>
                <a:gd name="connsiteX91" fmla="*/ 67845 w 237406"/>
                <a:gd name="connsiteY91" fmla="*/ 1050534 h 1139927"/>
                <a:gd name="connsiteX92" fmla="*/ 76287 w 237406"/>
                <a:gd name="connsiteY92" fmla="*/ 1033359 h 1139927"/>
                <a:gd name="connsiteX93" fmla="*/ 83509 w 237406"/>
                <a:gd name="connsiteY93" fmla="*/ 1014264 h 1139927"/>
                <a:gd name="connsiteX94" fmla="*/ 90324 w 237406"/>
                <a:gd name="connsiteY94" fmla="*/ 993036 h 1139927"/>
                <a:gd name="connsiteX95" fmla="*/ 96631 w 237406"/>
                <a:gd name="connsiteY95" fmla="*/ 970421 h 1139927"/>
                <a:gd name="connsiteX96" fmla="*/ 101717 w 237406"/>
                <a:gd name="connsiteY96" fmla="*/ 945993 h 1139927"/>
                <a:gd name="connsiteX97" fmla="*/ 105582 w 237406"/>
                <a:gd name="connsiteY97" fmla="*/ 921137 h 1139927"/>
                <a:gd name="connsiteX98" fmla="*/ 109345 w 237406"/>
                <a:gd name="connsiteY98" fmla="*/ 895109 h 1139927"/>
                <a:gd name="connsiteX99" fmla="*/ 111888 w 237406"/>
                <a:gd name="connsiteY99" fmla="*/ 868760 h 1139927"/>
                <a:gd name="connsiteX100" fmla="*/ 114024 w 237406"/>
                <a:gd name="connsiteY100" fmla="*/ 841344 h 1139927"/>
                <a:gd name="connsiteX101" fmla="*/ 114024 w 237406"/>
                <a:gd name="connsiteY101" fmla="*/ 814356 h 1139927"/>
                <a:gd name="connsiteX102" fmla="*/ 114024 w 237406"/>
                <a:gd name="connsiteY102" fmla="*/ 787687 h 1139927"/>
                <a:gd name="connsiteX103" fmla="*/ 111888 w 237406"/>
                <a:gd name="connsiteY103" fmla="*/ 760912 h 1139927"/>
                <a:gd name="connsiteX104" fmla="*/ 108938 w 237406"/>
                <a:gd name="connsiteY104" fmla="*/ 735203 h 1139927"/>
                <a:gd name="connsiteX105" fmla="*/ 105175 w 237406"/>
                <a:gd name="connsiteY105" fmla="*/ 710135 h 1139927"/>
                <a:gd name="connsiteX106" fmla="*/ 99580 w 237406"/>
                <a:gd name="connsiteY106" fmla="*/ 685919 h 1139927"/>
                <a:gd name="connsiteX107" fmla="*/ 91952 w 237406"/>
                <a:gd name="connsiteY107" fmla="*/ 663411 h 1139927"/>
                <a:gd name="connsiteX108" fmla="*/ 83509 w 237406"/>
                <a:gd name="connsiteY108" fmla="*/ 642076 h 1139927"/>
                <a:gd name="connsiteX109" fmla="*/ 73338 w 237406"/>
                <a:gd name="connsiteY109" fmla="*/ 622981 h 1139927"/>
                <a:gd name="connsiteX110" fmla="*/ 61946 w 237406"/>
                <a:gd name="connsiteY110" fmla="*/ 606127 h 1139927"/>
                <a:gd name="connsiteX111" fmla="*/ 25430 w 237406"/>
                <a:gd name="connsiteY111" fmla="*/ 491771 h 1139927"/>
                <a:gd name="connsiteX112" fmla="*/ 19530 w 237406"/>
                <a:gd name="connsiteY112" fmla="*/ 462222 h 1139927"/>
                <a:gd name="connsiteX113" fmla="*/ 11901 w 237406"/>
                <a:gd name="connsiteY113" fmla="*/ 432887 h 1139927"/>
                <a:gd name="connsiteX114" fmla="*/ 5493 w 237406"/>
                <a:gd name="connsiteY114" fmla="*/ 401098 h 1139927"/>
                <a:gd name="connsiteX115" fmla="*/ 2543 w 237406"/>
                <a:gd name="connsiteY115" fmla="*/ 368669 h 1139927"/>
                <a:gd name="connsiteX116" fmla="*/ 0 w 237406"/>
                <a:gd name="connsiteY116" fmla="*/ 334746 h 1139927"/>
                <a:gd name="connsiteX117" fmla="*/ 0 w 237406"/>
                <a:gd name="connsiteY117" fmla="*/ 300076 h 1139927"/>
                <a:gd name="connsiteX118" fmla="*/ 1729 w 237406"/>
                <a:gd name="connsiteY118" fmla="*/ 265087 h 1139927"/>
                <a:gd name="connsiteX119" fmla="*/ 5493 w 237406"/>
                <a:gd name="connsiteY119" fmla="*/ 230418 h 1139927"/>
                <a:gd name="connsiteX120" fmla="*/ 11087 w 237406"/>
                <a:gd name="connsiteY120" fmla="*/ 195855 h 1139927"/>
                <a:gd name="connsiteX121" fmla="*/ 16987 w 237406"/>
                <a:gd name="connsiteY121" fmla="*/ 162466 h 1139927"/>
                <a:gd name="connsiteX122" fmla="*/ 25430 w 237406"/>
                <a:gd name="connsiteY122" fmla="*/ 130037 h 1139927"/>
                <a:gd name="connsiteX123" fmla="*/ 35601 w 237406"/>
                <a:gd name="connsiteY123" fmla="*/ 99528 h 1139927"/>
                <a:gd name="connsiteX124" fmla="*/ 46180 w 237406"/>
                <a:gd name="connsiteY124" fmla="*/ 70619 h 1139927"/>
                <a:gd name="connsiteX125" fmla="*/ 58487 w 237406"/>
                <a:gd name="connsiteY125" fmla="*/ 44484 h 1139927"/>
                <a:gd name="connsiteX126" fmla="*/ 71608 w 237406"/>
                <a:gd name="connsiteY126" fmla="*/ 20695 h 1139927"/>
                <a:gd name="connsiteX127" fmla="*/ 87374 w 237406"/>
                <a:gd name="connsiteY127"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20026 w 237406"/>
                <a:gd name="connsiteY73" fmla="*/ 702834 h 1139927"/>
                <a:gd name="connsiteX74" fmla="*/ 216554 w 237406"/>
                <a:gd name="connsiteY74" fmla="*/ 729229 h 1139927"/>
                <a:gd name="connsiteX75" fmla="*/ 209841 w 237406"/>
                <a:gd name="connsiteY75" fmla="*/ 750137 h 1139927"/>
                <a:gd name="connsiteX76" fmla="*/ 205976 w 237406"/>
                <a:gd name="connsiteY76" fmla="*/ 771472 h 1139927"/>
                <a:gd name="connsiteX77" fmla="*/ 204348 w 237406"/>
                <a:gd name="connsiteY77" fmla="*/ 793981 h 1139927"/>
                <a:gd name="connsiteX78" fmla="*/ 203433 w 237406"/>
                <a:gd name="connsiteY78" fmla="*/ 816596 h 1139927"/>
                <a:gd name="connsiteX79" fmla="*/ 204348 w 237406"/>
                <a:gd name="connsiteY79" fmla="*/ 839211 h 1139927"/>
                <a:gd name="connsiteX80" fmla="*/ 205976 w 237406"/>
                <a:gd name="connsiteY80" fmla="*/ 862360 h 1139927"/>
                <a:gd name="connsiteX81" fmla="*/ 208112 w 237406"/>
                <a:gd name="connsiteY81" fmla="*/ 885294 h 1139927"/>
                <a:gd name="connsiteX82" fmla="*/ 210655 w 237406"/>
                <a:gd name="connsiteY82" fmla="*/ 907803 h 1139927"/>
                <a:gd name="connsiteX83" fmla="*/ 211061 w 237406"/>
                <a:gd name="connsiteY83" fmla="*/ 940872 h 1139927"/>
                <a:gd name="connsiteX84" fmla="*/ 208925 w 237406"/>
                <a:gd name="connsiteY84" fmla="*/ 973941 h 1139927"/>
                <a:gd name="connsiteX85" fmla="*/ 205162 w 237406"/>
                <a:gd name="connsiteY85" fmla="*/ 1005731 h 1139927"/>
                <a:gd name="connsiteX86" fmla="*/ 200483 w 237406"/>
                <a:gd name="connsiteY86" fmla="*/ 1036879 h 1139927"/>
                <a:gd name="connsiteX87" fmla="*/ 194787 w 237406"/>
                <a:gd name="connsiteY87" fmla="*/ 1139927 h 1139927"/>
                <a:gd name="connsiteX88" fmla="*/ 24209 w 237406"/>
                <a:gd name="connsiteY88" fmla="*/ 1139927 h 1139927"/>
                <a:gd name="connsiteX89" fmla="*/ 43738 w 237406"/>
                <a:gd name="connsiteY89" fmla="*/ 1098004 h 1139927"/>
                <a:gd name="connsiteX90" fmla="*/ 67845 w 237406"/>
                <a:gd name="connsiteY90" fmla="*/ 1050534 h 1139927"/>
                <a:gd name="connsiteX91" fmla="*/ 76287 w 237406"/>
                <a:gd name="connsiteY91" fmla="*/ 1033359 h 1139927"/>
                <a:gd name="connsiteX92" fmla="*/ 83509 w 237406"/>
                <a:gd name="connsiteY92" fmla="*/ 1014264 h 1139927"/>
                <a:gd name="connsiteX93" fmla="*/ 90324 w 237406"/>
                <a:gd name="connsiteY93" fmla="*/ 993036 h 1139927"/>
                <a:gd name="connsiteX94" fmla="*/ 96631 w 237406"/>
                <a:gd name="connsiteY94" fmla="*/ 970421 h 1139927"/>
                <a:gd name="connsiteX95" fmla="*/ 101717 w 237406"/>
                <a:gd name="connsiteY95" fmla="*/ 945993 h 1139927"/>
                <a:gd name="connsiteX96" fmla="*/ 105582 w 237406"/>
                <a:gd name="connsiteY96" fmla="*/ 921137 h 1139927"/>
                <a:gd name="connsiteX97" fmla="*/ 109345 w 237406"/>
                <a:gd name="connsiteY97" fmla="*/ 895109 h 1139927"/>
                <a:gd name="connsiteX98" fmla="*/ 111888 w 237406"/>
                <a:gd name="connsiteY98" fmla="*/ 868760 h 1139927"/>
                <a:gd name="connsiteX99" fmla="*/ 114024 w 237406"/>
                <a:gd name="connsiteY99" fmla="*/ 841344 h 1139927"/>
                <a:gd name="connsiteX100" fmla="*/ 114024 w 237406"/>
                <a:gd name="connsiteY100" fmla="*/ 814356 h 1139927"/>
                <a:gd name="connsiteX101" fmla="*/ 114024 w 237406"/>
                <a:gd name="connsiteY101" fmla="*/ 787687 h 1139927"/>
                <a:gd name="connsiteX102" fmla="*/ 111888 w 237406"/>
                <a:gd name="connsiteY102" fmla="*/ 760912 h 1139927"/>
                <a:gd name="connsiteX103" fmla="*/ 108938 w 237406"/>
                <a:gd name="connsiteY103" fmla="*/ 735203 h 1139927"/>
                <a:gd name="connsiteX104" fmla="*/ 105175 w 237406"/>
                <a:gd name="connsiteY104" fmla="*/ 710135 h 1139927"/>
                <a:gd name="connsiteX105" fmla="*/ 99580 w 237406"/>
                <a:gd name="connsiteY105" fmla="*/ 685919 h 1139927"/>
                <a:gd name="connsiteX106" fmla="*/ 91952 w 237406"/>
                <a:gd name="connsiteY106" fmla="*/ 663411 h 1139927"/>
                <a:gd name="connsiteX107" fmla="*/ 83509 w 237406"/>
                <a:gd name="connsiteY107" fmla="*/ 642076 h 1139927"/>
                <a:gd name="connsiteX108" fmla="*/ 73338 w 237406"/>
                <a:gd name="connsiteY108" fmla="*/ 622981 h 1139927"/>
                <a:gd name="connsiteX109" fmla="*/ 61946 w 237406"/>
                <a:gd name="connsiteY109" fmla="*/ 606127 h 1139927"/>
                <a:gd name="connsiteX110" fmla="*/ 25430 w 237406"/>
                <a:gd name="connsiteY110" fmla="*/ 491771 h 1139927"/>
                <a:gd name="connsiteX111" fmla="*/ 19530 w 237406"/>
                <a:gd name="connsiteY111" fmla="*/ 462222 h 1139927"/>
                <a:gd name="connsiteX112" fmla="*/ 11901 w 237406"/>
                <a:gd name="connsiteY112" fmla="*/ 432887 h 1139927"/>
                <a:gd name="connsiteX113" fmla="*/ 5493 w 237406"/>
                <a:gd name="connsiteY113" fmla="*/ 401098 h 1139927"/>
                <a:gd name="connsiteX114" fmla="*/ 2543 w 237406"/>
                <a:gd name="connsiteY114" fmla="*/ 368669 h 1139927"/>
                <a:gd name="connsiteX115" fmla="*/ 0 w 237406"/>
                <a:gd name="connsiteY115" fmla="*/ 334746 h 1139927"/>
                <a:gd name="connsiteX116" fmla="*/ 0 w 237406"/>
                <a:gd name="connsiteY116" fmla="*/ 300076 h 1139927"/>
                <a:gd name="connsiteX117" fmla="*/ 1729 w 237406"/>
                <a:gd name="connsiteY117" fmla="*/ 265087 h 1139927"/>
                <a:gd name="connsiteX118" fmla="*/ 5493 w 237406"/>
                <a:gd name="connsiteY118" fmla="*/ 230418 h 1139927"/>
                <a:gd name="connsiteX119" fmla="*/ 11087 w 237406"/>
                <a:gd name="connsiteY119" fmla="*/ 195855 h 1139927"/>
                <a:gd name="connsiteX120" fmla="*/ 16987 w 237406"/>
                <a:gd name="connsiteY120" fmla="*/ 162466 h 1139927"/>
                <a:gd name="connsiteX121" fmla="*/ 25430 w 237406"/>
                <a:gd name="connsiteY121" fmla="*/ 130037 h 1139927"/>
                <a:gd name="connsiteX122" fmla="*/ 35601 w 237406"/>
                <a:gd name="connsiteY122" fmla="*/ 99528 h 1139927"/>
                <a:gd name="connsiteX123" fmla="*/ 46180 w 237406"/>
                <a:gd name="connsiteY123" fmla="*/ 70619 h 1139927"/>
                <a:gd name="connsiteX124" fmla="*/ 58487 w 237406"/>
                <a:gd name="connsiteY124" fmla="*/ 44484 h 1139927"/>
                <a:gd name="connsiteX125" fmla="*/ 71608 w 237406"/>
                <a:gd name="connsiteY125" fmla="*/ 20695 h 1139927"/>
                <a:gd name="connsiteX126" fmla="*/ 87374 w 237406"/>
                <a:gd name="connsiteY126"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16554 w 237406"/>
                <a:gd name="connsiteY73" fmla="*/ 729229 h 1139927"/>
                <a:gd name="connsiteX74" fmla="*/ 209841 w 237406"/>
                <a:gd name="connsiteY74" fmla="*/ 750137 h 1139927"/>
                <a:gd name="connsiteX75" fmla="*/ 205976 w 237406"/>
                <a:gd name="connsiteY75" fmla="*/ 771472 h 1139927"/>
                <a:gd name="connsiteX76" fmla="*/ 204348 w 237406"/>
                <a:gd name="connsiteY76" fmla="*/ 793981 h 1139927"/>
                <a:gd name="connsiteX77" fmla="*/ 203433 w 237406"/>
                <a:gd name="connsiteY77" fmla="*/ 816596 h 1139927"/>
                <a:gd name="connsiteX78" fmla="*/ 204348 w 237406"/>
                <a:gd name="connsiteY78" fmla="*/ 839211 h 1139927"/>
                <a:gd name="connsiteX79" fmla="*/ 205976 w 237406"/>
                <a:gd name="connsiteY79" fmla="*/ 862360 h 1139927"/>
                <a:gd name="connsiteX80" fmla="*/ 208112 w 237406"/>
                <a:gd name="connsiteY80" fmla="*/ 885294 h 1139927"/>
                <a:gd name="connsiteX81" fmla="*/ 210655 w 237406"/>
                <a:gd name="connsiteY81" fmla="*/ 907803 h 1139927"/>
                <a:gd name="connsiteX82" fmla="*/ 211061 w 237406"/>
                <a:gd name="connsiteY82" fmla="*/ 940872 h 1139927"/>
                <a:gd name="connsiteX83" fmla="*/ 208925 w 237406"/>
                <a:gd name="connsiteY83" fmla="*/ 973941 h 1139927"/>
                <a:gd name="connsiteX84" fmla="*/ 205162 w 237406"/>
                <a:gd name="connsiteY84" fmla="*/ 1005731 h 1139927"/>
                <a:gd name="connsiteX85" fmla="*/ 200483 w 237406"/>
                <a:gd name="connsiteY85" fmla="*/ 1036879 h 1139927"/>
                <a:gd name="connsiteX86" fmla="*/ 194787 w 237406"/>
                <a:gd name="connsiteY86" fmla="*/ 1139927 h 1139927"/>
                <a:gd name="connsiteX87" fmla="*/ 24209 w 237406"/>
                <a:gd name="connsiteY87" fmla="*/ 1139927 h 1139927"/>
                <a:gd name="connsiteX88" fmla="*/ 43738 w 237406"/>
                <a:gd name="connsiteY88" fmla="*/ 1098004 h 1139927"/>
                <a:gd name="connsiteX89" fmla="*/ 67845 w 237406"/>
                <a:gd name="connsiteY89" fmla="*/ 1050534 h 1139927"/>
                <a:gd name="connsiteX90" fmla="*/ 76287 w 237406"/>
                <a:gd name="connsiteY90" fmla="*/ 1033359 h 1139927"/>
                <a:gd name="connsiteX91" fmla="*/ 83509 w 237406"/>
                <a:gd name="connsiteY91" fmla="*/ 1014264 h 1139927"/>
                <a:gd name="connsiteX92" fmla="*/ 90324 w 237406"/>
                <a:gd name="connsiteY92" fmla="*/ 993036 h 1139927"/>
                <a:gd name="connsiteX93" fmla="*/ 96631 w 237406"/>
                <a:gd name="connsiteY93" fmla="*/ 970421 h 1139927"/>
                <a:gd name="connsiteX94" fmla="*/ 101717 w 237406"/>
                <a:gd name="connsiteY94" fmla="*/ 945993 h 1139927"/>
                <a:gd name="connsiteX95" fmla="*/ 105582 w 237406"/>
                <a:gd name="connsiteY95" fmla="*/ 921137 h 1139927"/>
                <a:gd name="connsiteX96" fmla="*/ 109345 w 237406"/>
                <a:gd name="connsiteY96" fmla="*/ 895109 h 1139927"/>
                <a:gd name="connsiteX97" fmla="*/ 111888 w 237406"/>
                <a:gd name="connsiteY97" fmla="*/ 868760 h 1139927"/>
                <a:gd name="connsiteX98" fmla="*/ 114024 w 237406"/>
                <a:gd name="connsiteY98" fmla="*/ 841344 h 1139927"/>
                <a:gd name="connsiteX99" fmla="*/ 114024 w 237406"/>
                <a:gd name="connsiteY99" fmla="*/ 814356 h 1139927"/>
                <a:gd name="connsiteX100" fmla="*/ 114024 w 237406"/>
                <a:gd name="connsiteY100" fmla="*/ 787687 h 1139927"/>
                <a:gd name="connsiteX101" fmla="*/ 111888 w 237406"/>
                <a:gd name="connsiteY101" fmla="*/ 760912 h 1139927"/>
                <a:gd name="connsiteX102" fmla="*/ 108938 w 237406"/>
                <a:gd name="connsiteY102" fmla="*/ 735203 h 1139927"/>
                <a:gd name="connsiteX103" fmla="*/ 105175 w 237406"/>
                <a:gd name="connsiteY103" fmla="*/ 710135 h 1139927"/>
                <a:gd name="connsiteX104" fmla="*/ 99580 w 237406"/>
                <a:gd name="connsiteY104" fmla="*/ 685919 h 1139927"/>
                <a:gd name="connsiteX105" fmla="*/ 91952 w 237406"/>
                <a:gd name="connsiteY105" fmla="*/ 663411 h 1139927"/>
                <a:gd name="connsiteX106" fmla="*/ 83509 w 237406"/>
                <a:gd name="connsiteY106" fmla="*/ 642076 h 1139927"/>
                <a:gd name="connsiteX107" fmla="*/ 73338 w 237406"/>
                <a:gd name="connsiteY107" fmla="*/ 622981 h 1139927"/>
                <a:gd name="connsiteX108" fmla="*/ 61946 w 237406"/>
                <a:gd name="connsiteY108" fmla="*/ 606127 h 1139927"/>
                <a:gd name="connsiteX109" fmla="*/ 25430 w 237406"/>
                <a:gd name="connsiteY109" fmla="*/ 491771 h 1139927"/>
                <a:gd name="connsiteX110" fmla="*/ 19530 w 237406"/>
                <a:gd name="connsiteY110" fmla="*/ 462222 h 1139927"/>
                <a:gd name="connsiteX111" fmla="*/ 11901 w 237406"/>
                <a:gd name="connsiteY111" fmla="*/ 432887 h 1139927"/>
                <a:gd name="connsiteX112" fmla="*/ 5493 w 237406"/>
                <a:gd name="connsiteY112" fmla="*/ 401098 h 1139927"/>
                <a:gd name="connsiteX113" fmla="*/ 2543 w 237406"/>
                <a:gd name="connsiteY113" fmla="*/ 368669 h 1139927"/>
                <a:gd name="connsiteX114" fmla="*/ 0 w 237406"/>
                <a:gd name="connsiteY114" fmla="*/ 334746 h 1139927"/>
                <a:gd name="connsiteX115" fmla="*/ 0 w 237406"/>
                <a:gd name="connsiteY115" fmla="*/ 300076 h 1139927"/>
                <a:gd name="connsiteX116" fmla="*/ 1729 w 237406"/>
                <a:gd name="connsiteY116" fmla="*/ 265087 h 1139927"/>
                <a:gd name="connsiteX117" fmla="*/ 5493 w 237406"/>
                <a:gd name="connsiteY117" fmla="*/ 230418 h 1139927"/>
                <a:gd name="connsiteX118" fmla="*/ 11087 w 237406"/>
                <a:gd name="connsiteY118" fmla="*/ 195855 h 1139927"/>
                <a:gd name="connsiteX119" fmla="*/ 16987 w 237406"/>
                <a:gd name="connsiteY119" fmla="*/ 162466 h 1139927"/>
                <a:gd name="connsiteX120" fmla="*/ 25430 w 237406"/>
                <a:gd name="connsiteY120" fmla="*/ 130037 h 1139927"/>
                <a:gd name="connsiteX121" fmla="*/ 35601 w 237406"/>
                <a:gd name="connsiteY121" fmla="*/ 99528 h 1139927"/>
                <a:gd name="connsiteX122" fmla="*/ 46180 w 237406"/>
                <a:gd name="connsiteY122" fmla="*/ 70619 h 1139927"/>
                <a:gd name="connsiteX123" fmla="*/ 58487 w 237406"/>
                <a:gd name="connsiteY123" fmla="*/ 44484 h 1139927"/>
                <a:gd name="connsiteX124" fmla="*/ 71608 w 237406"/>
                <a:gd name="connsiteY124" fmla="*/ 20695 h 1139927"/>
                <a:gd name="connsiteX125" fmla="*/ 87374 w 237406"/>
                <a:gd name="connsiteY125"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16554 w 237406"/>
                <a:gd name="connsiteY73" fmla="*/ 729229 h 1139927"/>
                <a:gd name="connsiteX74" fmla="*/ 205976 w 237406"/>
                <a:gd name="connsiteY74" fmla="*/ 771472 h 1139927"/>
                <a:gd name="connsiteX75" fmla="*/ 204348 w 237406"/>
                <a:gd name="connsiteY75" fmla="*/ 793981 h 1139927"/>
                <a:gd name="connsiteX76" fmla="*/ 203433 w 237406"/>
                <a:gd name="connsiteY76" fmla="*/ 816596 h 1139927"/>
                <a:gd name="connsiteX77" fmla="*/ 204348 w 237406"/>
                <a:gd name="connsiteY77" fmla="*/ 839211 h 1139927"/>
                <a:gd name="connsiteX78" fmla="*/ 205976 w 237406"/>
                <a:gd name="connsiteY78" fmla="*/ 862360 h 1139927"/>
                <a:gd name="connsiteX79" fmla="*/ 208112 w 237406"/>
                <a:gd name="connsiteY79" fmla="*/ 885294 h 1139927"/>
                <a:gd name="connsiteX80" fmla="*/ 210655 w 237406"/>
                <a:gd name="connsiteY80" fmla="*/ 907803 h 1139927"/>
                <a:gd name="connsiteX81" fmla="*/ 211061 w 237406"/>
                <a:gd name="connsiteY81" fmla="*/ 940872 h 1139927"/>
                <a:gd name="connsiteX82" fmla="*/ 208925 w 237406"/>
                <a:gd name="connsiteY82" fmla="*/ 973941 h 1139927"/>
                <a:gd name="connsiteX83" fmla="*/ 205162 w 237406"/>
                <a:gd name="connsiteY83" fmla="*/ 1005731 h 1139927"/>
                <a:gd name="connsiteX84" fmla="*/ 200483 w 237406"/>
                <a:gd name="connsiteY84" fmla="*/ 1036879 h 1139927"/>
                <a:gd name="connsiteX85" fmla="*/ 194787 w 237406"/>
                <a:gd name="connsiteY85" fmla="*/ 1139927 h 1139927"/>
                <a:gd name="connsiteX86" fmla="*/ 24209 w 237406"/>
                <a:gd name="connsiteY86" fmla="*/ 1139927 h 1139927"/>
                <a:gd name="connsiteX87" fmla="*/ 43738 w 237406"/>
                <a:gd name="connsiteY87" fmla="*/ 1098004 h 1139927"/>
                <a:gd name="connsiteX88" fmla="*/ 67845 w 237406"/>
                <a:gd name="connsiteY88" fmla="*/ 1050534 h 1139927"/>
                <a:gd name="connsiteX89" fmla="*/ 76287 w 237406"/>
                <a:gd name="connsiteY89" fmla="*/ 1033359 h 1139927"/>
                <a:gd name="connsiteX90" fmla="*/ 83509 w 237406"/>
                <a:gd name="connsiteY90" fmla="*/ 1014264 h 1139927"/>
                <a:gd name="connsiteX91" fmla="*/ 90324 w 237406"/>
                <a:gd name="connsiteY91" fmla="*/ 993036 h 1139927"/>
                <a:gd name="connsiteX92" fmla="*/ 96631 w 237406"/>
                <a:gd name="connsiteY92" fmla="*/ 970421 h 1139927"/>
                <a:gd name="connsiteX93" fmla="*/ 101717 w 237406"/>
                <a:gd name="connsiteY93" fmla="*/ 945993 h 1139927"/>
                <a:gd name="connsiteX94" fmla="*/ 105582 w 237406"/>
                <a:gd name="connsiteY94" fmla="*/ 921137 h 1139927"/>
                <a:gd name="connsiteX95" fmla="*/ 109345 w 237406"/>
                <a:gd name="connsiteY95" fmla="*/ 895109 h 1139927"/>
                <a:gd name="connsiteX96" fmla="*/ 111888 w 237406"/>
                <a:gd name="connsiteY96" fmla="*/ 868760 h 1139927"/>
                <a:gd name="connsiteX97" fmla="*/ 114024 w 237406"/>
                <a:gd name="connsiteY97" fmla="*/ 841344 h 1139927"/>
                <a:gd name="connsiteX98" fmla="*/ 114024 w 237406"/>
                <a:gd name="connsiteY98" fmla="*/ 814356 h 1139927"/>
                <a:gd name="connsiteX99" fmla="*/ 114024 w 237406"/>
                <a:gd name="connsiteY99" fmla="*/ 787687 h 1139927"/>
                <a:gd name="connsiteX100" fmla="*/ 111888 w 237406"/>
                <a:gd name="connsiteY100" fmla="*/ 760912 h 1139927"/>
                <a:gd name="connsiteX101" fmla="*/ 108938 w 237406"/>
                <a:gd name="connsiteY101" fmla="*/ 735203 h 1139927"/>
                <a:gd name="connsiteX102" fmla="*/ 105175 w 237406"/>
                <a:gd name="connsiteY102" fmla="*/ 710135 h 1139927"/>
                <a:gd name="connsiteX103" fmla="*/ 99580 w 237406"/>
                <a:gd name="connsiteY103" fmla="*/ 685919 h 1139927"/>
                <a:gd name="connsiteX104" fmla="*/ 91952 w 237406"/>
                <a:gd name="connsiteY104" fmla="*/ 663411 h 1139927"/>
                <a:gd name="connsiteX105" fmla="*/ 83509 w 237406"/>
                <a:gd name="connsiteY105" fmla="*/ 642076 h 1139927"/>
                <a:gd name="connsiteX106" fmla="*/ 73338 w 237406"/>
                <a:gd name="connsiteY106" fmla="*/ 622981 h 1139927"/>
                <a:gd name="connsiteX107" fmla="*/ 61946 w 237406"/>
                <a:gd name="connsiteY107" fmla="*/ 606127 h 1139927"/>
                <a:gd name="connsiteX108" fmla="*/ 25430 w 237406"/>
                <a:gd name="connsiteY108" fmla="*/ 491771 h 1139927"/>
                <a:gd name="connsiteX109" fmla="*/ 19530 w 237406"/>
                <a:gd name="connsiteY109" fmla="*/ 462222 h 1139927"/>
                <a:gd name="connsiteX110" fmla="*/ 11901 w 237406"/>
                <a:gd name="connsiteY110" fmla="*/ 432887 h 1139927"/>
                <a:gd name="connsiteX111" fmla="*/ 5493 w 237406"/>
                <a:gd name="connsiteY111" fmla="*/ 401098 h 1139927"/>
                <a:gd name="connsiteX112" fmla="*/ 2543 w 237406"/>
                <a:gd name="connsiteY112" fmla="*/ 368669 h 1139927"/>
                <a:gd name="connsiteX113" fmla="*/ 0 w 237406"/>
                <a:gd name="connsiteY113" fmla="*/ 334746 h 1139927"/>
                <a:gd name="connsiteX114" fmla="*/ 0 w 237406"/>
                <a:gd name="connsiteY114" fmla="*/ 300076 h 1139927"/>
                <a:gd name="connsiteX115" fmla="*/ 1729 w 237406"/>
                <a:gd name="connsiteY115" fmla="*/ 265087 h 1139927"/>
                <a:gd name="connsiteX116" fmla="*/ 5493 w 237406"/>
                <a:gd name="connsiteY116" fmla="*/ 230418 h 1139927"/>
                <a:gd name="connsiteX117" fmla="*/ 11087 w 237406"/>
                <a:gd name="connsiteY117" fmla="*/ 195855 h 1139927"/>
                <a:gd name="connsiteX118" fmla="*/ 16987 w 237406"/>
                <a:gd name="connsiteY118" fmla="*/ 162466 h 1139927"/>
                <a:gd name="connsiteX119" fmla="*/ 25430 w 237406"/>
                <a:gd name="connsiteY119" fmla="*/ 130037 h 1139927"/>
                <a:gd name="connsiteX120" fmla="*/ 35601 w 237406"/>
                <a:gd name="connsiteY120" fmla="*/ 99528 h 1139927"/>
                <a:gd name="connsiteX121" fmla="*/ 46180 w 237406"/>
                <a:gd name="connsiteY121" fmla="*/ 70619 h 1139927"/>
                <a:gd name="connsiteX122" fmla="*/ 58487 w 237406"/>
                <a:gd name="connsiteY122" fmla="*/ 44484 h 1139927"/>
                <a:gd name="connsiteX123" fmla="*/ 71608 w 237406"/>
                <a:gd name="connsiteY123" fmla="*/ 20695 h 1139927"/>
                <a:gd name="connsiteX124" fmla="*/ 87374 w 237406"/>
                <a:gd name="connsiteY124"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05976 w 237406"/>
                <a:gd name="connsiteY73" fmla="*/ 771472 h 1139927"/>
                <a:gd name="connsiteX74" fmla="*/ 204348 w 237406"/>
                <a:gd name="connsiteY74" fmla="*/ 793981 h 1139927"/>
                <a:gd name="connsiteX75" fmla="*/ 203433 w 237406"/>
                <a:gd name="connsiteY75" fmla="*/ 816596 h 1139927"/>
                <a:gd name="connsiteX76" fmla="*/ 204348 w 237406"/>
                <a:gd name="connsiteY76" fmla="*/ 839211 h 1139927"/>
                <a:gd name="connsiteX77" fmla="*/ 205976 w 237406"/>
                <a:gd name="connsiteY77" fmla="*/ 862360 h 1139927"/>
                <a:gd name="connsiteX78" fmla="*/ 208112 w 237406"/>
                <a:gd name="connsiteY78" fmla="*/ 885294 h 1139927"/>
                <a:gd name="connsiteX79" fmla="*/ 210655 w 237406"/>
                <a:gd name="connsiteY79" fmla="*/ 907803 h 1139927"/>
                <a:gd name="connsiteX80" fmla="*/ 211061 w 237406"/>
                <a:gd name="connsiteY80" fmla="*/ 940872 h 1139927"/>
                <a:gd name="connsiteX81" fmla="*/ 208925 w 237406"/>
                <a:gd name="connsiteY81" fmla="*/ 973941 h 1139927"/>
                <a:gd name="connsiteX82" fmla="*/ 205162 w 237406"/>
                <a:gd name="connsiteY82" fmla="*/ 1005731 h 1139927"/>
                <a:gd name="connsiteX83" fmla="*/ 200483 w 237406"/>
                <a:gd name="connsiteY83" fmla="*/ 1036879 h 1139927"/>
                <a:gd name="connsiteX84" fmla="*/ 194787 w 237406"/>
                <a:gd name="connsiteY84" fmla="*/ 1139927 h 1139927"/>
                <a:gd name="connsiteX85" fmla="*/ 24209 w 237406"/>
                <a:gd name="connsiteY85" fmla="*/ 1139927 h 1139927"/>
                <a:gd name="connsiteX86" fmla="*/ 43738 w 237406"/>
                <a:gd name="connsiteY86" fmla="*/ 1098004 h 1139927"/>
                <a:gd name="connsiteX87" fmla="*/ 67845 w 237406"/>
                <a:gd name="connsiteY87" fmla="*/ 1050534 h 1139927"/>
                <a:gd name="connsiteX88" fmla="*/ 76287 w 237406"/>
                <a:gd name="connsiteY88" fmla="*/ 1033359 h 1139927"/>
                <a:gd name="connsiteX89" fmla="*/ 83509 w 237406"/>
                <a:gd name="connsiteY89" fmla="*/ 1014264 h 1139927"/>
                <a:gd name="connsiteX90" fmla="*/ 90324 w 237406"/>
                <a:gd name="connsiteY90" fmla="*/ 993036 h 1139927"/>
                <a:gd name="connsiteX91" fmla="*/ 96631 w 237406"/>
                <a:gd name="connsiteY91" fmla="*/ 970421 h 1139927"/>
                <a:gd name="connsiteX92" fmla="*/ 101717 w 237406"/>
                <a:gd name="connsiteY92" fmla="*/ 945993 h 1139927"/>
                <a:gd name="connsiteX93" fmla="*/ 105582 w 237406"/>
                <a:gd name="connsiteY93" fmla="*/ 921137 h 1139927"/>
                <a:gd name="connsiteX94" fmla="*/ 109345 w 237406"/>
                <a:gd name="connsiteY94" fmla="*/ 895109 h 1139927"/>
                <a:gd name="connsiteX95" fmla="*/ 111888 w 237406"/>
                <a:gd name="connsiteY95" fmla="*/ 868760 h 1139927"/>
                <a:gd name="connsiteX96" fmla="*/ 114024 w 237406"/>
                <a:gd name="connsiteY96" fmla="*/ 841344 h 1139927"/>
                <a:gd name="connsiteX97" fmla="*/ 114024 w 237406"/>
                <a:gd name="connsiteY97" fmla="*/ 814356 h 1139927"/>
                <a:gd name="connsiteX98" fmla="*/ 114024 w 237406"/>
                <a:gd name="connsiteY98" fmla="*/ 787687 h 1139927"/>
                <a:gd name="connsiteX99" fmla="*/ 111888 w 237406"/>
                <a:gd name="connsiteY99" fmla="*/ 760912 h 1139927"/>
                <a:gd name="connsiteX100" fmla="*/ 108938 w 237406"/>
                <a:gd name="connsiteY100" fmla="*/ 735203 h 1139927"/>
                <a:gd name="connsiteX101" fmla="*/ 105175 w 237406"/>
                <a:gd name="connsiteY101" fmla="*/ 710135 h 1139927"/>
                <a:gd name="connsiteX102" fmla="*/ 99580 w 237406"/>
                <a:gd name="connsiteY102" fmla="*/ 685919 h 1139927"/>
                <a:gd name="connsiteX103" fmla="*/ 91952 w 237406"/>
                <a:gd name="connsiteY103" fmla="*/ 663411 h 1139927"/>
                <a:gd name="connsiteX104" fmla="*/ 83509 w 237406"/>
                <a:gd name="connsiteY104" fmla="*/ 642076 h 1139927"/>
                <a:gd name="connsiteX105" fmla="*/ 73338 w 237406"/>
                <a:gd name="connsiteY105" fmla="*/ 622981 h 1139927"/>
                <a:gd name="connsiteX106" fmla="*/ 61946 w 237406"/>
                <a:gd name="connsiteY106" fmla="*/ 606127 h 1139927"/>
                <a:gd name="connsiteX107" fmla="*/ 25430 w 237406"/>
                <a:gd name="connsiteY107" fmla="*/ 491771 h 1139927"/>
                <a:gd name="connsiteX108" fmla="*/ 19530 w 237406"/>
                <a:gd name="connsiteY108" fmla="*/ 462222 h 1139927"/>
                <a:gd name="connsiteX109" fmla="*/ 11901 w 237406"/>
                <a:gd name="connsiteY109" fmla="*/ 432887 h 1139927"/>
                <a:gd name="connsiteX110" fmla="*/ 5493 w 237406"/>
                <a:gd name="connsiteY110" fmla="*/ 401098 h 1139927"/>
                <a:gd name="connsiteX111" fmla="*/ 2543 w 237406"/>
                <a:gd name="connsiteY111" fmla="*/ 368669 h 1139927"/>
                <a:gd name="connsiteX112" fmla="*/ 0 w 237406"/>
                <a:gd name="connsiteY112" fmla="*/ 334746 h 1139927"/>
                <a:gd name="connsiteX113" fmla="*/ 0 w 237406"/>
                <a:gd name="connsiteY113" fmla="*/ 300076 h 1139927"/>
                <a:gd name="connsiteX114" fmla="*/ 1729 w 237406"/>
                <a:gd name="connsiteY114" fmla="*/ 265087 h 1139927"/>
                <a:gd name="connsiteX115" fmla="*/ 5493 w 237406"/>
                <a:gd name="connsiteY115" fmla="*/ 230418 h 1139927"/>
                <a:gd name="connsiteX116" fmla="*/ 11087 w 237406"/>
                <a:gd name="connsiteY116" fmla="*/ 195855 h 1139927"/>
                <a:gd name="connsiteX117" fmla="*/ 16987 w 237406"/>
                <a:gd name="connsiteY117" fmla="*/ 162466 h 1139927"/>
                <a:gd name="connsiteX118" fmla="*/ 25430 w 237406"/>
                <a:gd name="connsiteY118" fmla="*/ 130037 h 1139927"/>
                <a:gd name="connsiteX119" fmla="*/ 35601 w 237406"/>
                <a:gd name="connsiteY119" fmla="*/ 99528 h 1139927"/>
                <a:gd name="connsiteX120" fmla="*/ 46180 w 237406"/>
                <a:gd name="connsiteY120" fmla="*/ 70619 h 1139927"/>
                <a:gd name="connsiteX121" fmla="*/ 58487 w 237406"/>
                <a:gd name="connsiteY121" fmla="*/ 44484 h 1139927"/>
                <a:gd name="connsiteX122" fmla="*/ 71608 w 237406"/>
                <a:gd name="connsiteY122" fmla="*/ 20695 h 1139927"/>
                <a:gd name="connsiteX123" fmla="*/ 87374 w 237406"/>
                <a:gd name="connsiteY123"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05976 w 237406"/>
                <a:gd name="connsiteY73" fmla="*/ 771472 h 1139927"/>
                <a:gd name="connsiteX74" fmla="*/ 204348 w 237406"/>
                <a:gd name="connsiteY74" fmla="*/ 793981 h 1139927"/>
                <a:gd name="connsiteX75" fmla="*/ 203433 w 237406"/>
                <a:gd name="connsiteY75" fmla="*/ 816596 h 1139927"/>
                <a:gd name="connsiteX76" fmla="*/ 204348 w 237406"/>
                <a:gd name="connsiteY76" fmla="*/ 839211 h 1139927"/>
                <a:gd name="connsiteX77" fmla="*/ 205976 w 237406"/>
                <a:gd name="connsiteY77" fmla="*/ 862360 h 1139927"/>
                <a:gd name="connsiteX78" fmla="*/ 208112 w 237406"/>
                <a:gd name="connsiteY78" fmla="*/ 885294 h 1139927"/>
                <a:gd name="connsiteX79" fmla="*/ 210655 w 237406"/>
                <a:gd name="connsiteY79" fmla="*/ 907803 h 1139927"/>
                <a:gd name="connsiteX80" fmla="*/ 211061 w 237406"/>
                <a:gd name="connsiteY80" fmla="*/ 940872 h 1139927"/>
                <a:gd name="connsiteX81" fmla="*/ 208925 w 237406"/>
                <a:gd name="connsiteY81" fmla="*/ 973941 h 1139927"/>
                <a:gd name="connsiteX82" fmla="*/ 205162 w 237406"/>
                <a:gd name="connsiteY82" fmla="*/ 1005731 h 1139927"/>
                <a:gd name="connsiteX83" fmla="*/ 200483 w 237406"/>
                <a:gd name="connsiteY83" fmla="*/ 1036879 h 1139927"/>
                <a:gd name="connsiteX84" fmla="*/ 194787 w 237406"/>
                <a:gd name="connsiteY84" fmla="*/ 1139927 h 1139927"/>
                <a:gd name="connsiteX85" fmla="*/ 24209 w 237406"/>
                <a:gd name="connsiteY85" fmla="*/ 1139927 h 1139927"/>
                <a:gd name="connsiteX86" fmla="*/ 43738 w 237406"/>
                <a:gd name="connsiteY86" fmla="*/ 1098004 h 1139927"/>
                <a:gd name="connsiteX87" fmla="*/ 67845 w 237406"/>
                <a:gd name="connsiteY87" fmla="*/ 1050534 h 1139927"/>
                <a:gd name="connsiteX88" fmla="*/ 76287 w 237406"/>
                <a:gd name="connsiteY88" fmla="*/ 1033359 h 1139927"/>
                <a:gd name="connsiteX89" fmla="*/ 83509 w 237406"/>
                <a:gd name="connsiteY89" fmla="*/ 1014264 h 1139927"/>
                <a:gd name="connsiteX90" fmla="*/ 90324 w 237406"/>
                <a:gd name="connsiteY90" fmla="*/ 993036 h 1139927"/>
                <a:gd name="connsiteX91" fmla="*/ 96631 w 237406"/>
                <a:gd name="connsiteY91" fmla="*/ 970421 h 1139927"/>
                <a:gd name="connsiteX92" fmla="*/ 101717 w 237406"/>
                <a:gd name="connsiteY92" fmla="*/ 945993 h 1139927"/>
                <a:gd name="connsiteX93" fmla="*/ 105582 w 237406"/>
                <a:gd name="connsiteY93" fmla="*/ 921137 h 1139927"/>
                <a:gd name="connsiteX94" fmla="*/ 109345 w 237406"/>
                <a:gd name="connsiteY94" fmla="*/ 895109 h 1139927"/>
                <a:gd name="connsiteX95" fmla="*/ 111888 w 237406"/>
                <a:gd name="connsiteY95" fmla="*/ 868760 h 1139927"/>
                <a:gd name="connsiteX96" fmla="*/ 114024 w 237406"/>
                <a:gd name="connsiteY96" fmla="*/ 841344 h 1139927"/>
                <a:gd name="connsiteX97" fmla="*/ 114024 w 237406"/>
                <a:gd name="connsiteY97" fmla="*/ 814356 h 1139927"/>
                <a:gd name="connsiteX98" fmla="*/ 114024 w 237406"/>
                <a:gd name="connsiteY98" fmla="*/ 787687 h 1139927"/>
                <a:gd name="connsiteX99" fmla="*/ 111888 w 237406"/>
                <a:gd name="connsiteY99" fmla="*/ 760912 h 1139927"/>
                <a:gd name="connsiteX100" fmla="*/ 108938 w 237406"/>
                <a:gd name="connsiteY100" fmla="*/ 735203 h 1139927"/>
                <a:gd name="connsiteX101" fmla="*/ 105175 w 237406"/>
                <a:gd name="connsiteY101" fmla="*/ 710135 h 1139927"/>
                <a:gd name="connsiteX102" fmla="*/ 99580 w 237406"/>
                <a:gd name="connsiteY102" fmla="*/ 685919 h 1139927"/>
                <a:gd name="connsiteX103" fmla="*/ 91952 w 237406"/>
                <a:gd name="connsiteY103" fmla="*/ 663411 h 1139927"/>
                <a:gd name="connsiteX104" fmla="*/ 83509 w 237406"/>
                <a:gd name="connsiteY104" fmla="*/ 642076 h 1139927"/>
                <a:gd name="connsiteX105" fmla="*/ 73338 w 237406"/>
                <a:gd name="connsiteY105" fmla="*/ 622981 h 1139927"/>
                <a:gd name="connsiteX106" fmla="*/ 61946 w 237406"/>
                <a:gd name="connsiteY106" fmla="*/ 606127 h 1139927"/>
                <a:gd name="connsiteX107" fmla="*/ 25430 w 237406"/>
                <a:gd name="connsiteY107" fmla="*/ 491771 h 1139927"/>
                <a:gd name="connsiteX108" fmla="*/ 19530 w 237406"/>
                <a:gd name="connsiteY108" fmla="*/ 462222 h 1139927"/>
                <a:gd name="connsiteX109" fmla="*/ 11901 w 237406"/>
                <a:gd name="connsiteY109" fmla="*/ 432887 h 1139927"/>
                <a:gd name="connsiteX110" fmla="*/ 5493 w 237406"/>
                <a:gd name="connsiteY110" fmla="*/ 401098 h 1139927"/>
                <a:gd name="connsiteX111" fmla="*/ 2543 w 237406"/>
                <a:gd name="connsiteY111" fmla="*/ 368669 h 1139927"/>
                <a:gd name="connsiteX112" fmla="*/ 0 w 237406"/>
                <a:gd name="connsiteY112" fmla="*/ 334746 h 1139927"/>
                <a:gd name="connsiteX113" fmla="*/ 0 w 237406"/>
                <a:gd name="connsiteY113" fmla="*/ 300076 h 1139927"/>
                <a:gd name="connsiteX114" fmla="*/ 1729 w 237406"/>
                <a:gd name="connsiteY114" fmla="*/ 265087 h 1139927"/>
                <a:gd name="connsiteX115" fmla="*/ 5493 w 237406"/>
                <a:gd name="connsiteY115" fmla="*/ 230418 h 1139927"/>
                <a:gd name="connsiteX116" fmla="*/ 11087 w 237406"/>
                <a:gd name="connsiteY116" fmla="*/ 195855 h 1139927"/>
                <a:gd name="connsiteX117" fmla="*/ 16987 w 237406"/>
                <a:gd name="connsiteY117" fmla="*/ 162466 h 1139927"/>
                <a:gd name="connsiteX118" fmla="*/ 25430 w 237406"/>
                <a:gd name="connsiteY118" fmla="*/ 130037 h 1139927"/>
                <a:gd name="connsiteX119" fmla="*/ 35601 w 237406"/>
                <a:gd name="connsiteY119" fmla="*/ 99528 h 1139927"/>
                <a:gd name="connsiteX120" fmla="*/ 46180 w 237406"/>
                <a:gd name="connsiteY120" fmla="*/ 70619 h 1139927"/>
                <a:gd name="connsiteX121" fmla="*/ 58487 w 237406"/>
                <a:gd name="connsiteY121" fmla="*/ 44484 h 1139927"/>
                <a:gd name="connsiteX122" fmla="*/ 71608 w 237406"/>
                <a:gd name="connsiteY122" fmla="*/ 20695 h 1139927"/>
                <a:gd name="connsiteX123" fmla="*/ 87374 w 237406"/>
                <a:gd name="connsiteY123" fmla="*/ 0 h 1139927"/>
                <a:gd name="connsiteX0" fmla="*/ 87374 w 237406"/>
                <a:gd name="connsiteY0" fmla="*/ 0 h 1139927"/>
                <a:gd name="connsiteX1" fmla="*/ 85645 w 237406"/>
                <a:gd name="connsiteY1" fmla="*/ 5121 h 1139927"/>
                <a:gd name="connsiteX2" fmla="*/ 84832 w 237406"/>
                <a:gd name="connsiteY2" fmla="*/ 8534 h 1139927"/>
                <a:gd name="connsiteX3" fmla="*/ 83916 w 237406"/>
                <a:gd name="connsiteY3" fmla="*/ 10774 h 1139927"/>
                <a:gd name="connsiteX4" fmla="*/ 83916 w 237406"/>
                <a:gd name="connsiteY4" fmla="*/ 12054 h 1139927"/>
                <a:gd name="connsiteX5" fmla="*/ 84832 w 237406"/>
                <a:gd name="connsiteY5" fmla="*/ 12695 h 1139927"/>
                <a:gd name="connsiteX6" fmla="*/ 84832 w 237406"/>
                <a:gd name="connsiteY6" fmla="*/ 13334 h 1139927"/>
                <a:gd name="connsiteX7" fmla="*/ 85645 w 237406"/>
                <a:gd name="connsiteY7" fmla="*/ 13334 h 1139927"/>
                <a:gd name="connsiteX8" fmla="*/ 85645 w 237406"/>
                <a:gd name="connsiteY8" fmla="*/ 14295 h 1139927"/>
                <a:gd name="connsiteX9" fmla="*/ 84832 w 237406"/>
                <a:gd name="connsiteY9" fmla="*/ 16215 h 1139927"/>
                <a:gd name="connsiteX10" fmla="*/ 83916 w 237406"/>
                <a:gd name="connsiteY10" fmla="*/ 19095 h 1139927"/>
                <a:gd name="connsiteX11" fmla="*/ 82695 w 237406"/>
                <a:gd name="connsiteY11" fmla="*/ 23575 h 1139927"/>
                <a:gd name="connsiteX12" fmla="*/ 80153 w 237406"/>
                <a:gd name="connsiteY12" fmla="*/ 29869 h 1139927"/>
                <a:gd name="connsiteX13" fmla="*/ 76287 w 237406"/>
                <a:gd name="connsiteY13" fmla="*/ 38830 h 1139927"/>
                <a:gd name="connsiteX14" fmla="*/ 72524 w 237406"/>
                <a:gd name="connsiteY14" fmla="*/ 49604 h 1139927"/>
                <a:gd name="connsiteX15" fmla="*/ 66523 w 237406"/>
                <a:gd name="connsiteY15" fmla="*/ 63579 h 1139927"/>
                <a:gd name="connsiteX16" fmla="*/ 59402 w 237406"/>
                <a:gd name="connsiteY16" fmla="*/ 80433 h 1139927"/>
                <a:gd name="connsiteX17" fmla="*/ 50858 w 237406"/>
                <a:gd name="connsiteY17" fmla="*/ 106782 h 1139927"/>
                <a:gd name="connsiteX18" fmla="*/ 44959 w 237406"/>
                <a:gd name="connsiteY18" fmla="*/ 135051 h 1139927"/>
                <a:gd name="connsiteX19" fmla="*/ 40280 w 237406"/>
                <a:gd name="connsiteY19" fmla="*/ 164066 h 1139927"/>
                <a:gd name="connsiteX20" fmla="*/ 33974 w 237406"/>
                <a:gd name="connsiteY20" fmla="*/ 194895 h 1139927"/>
                <a:gd name="connsiteX21" fmla="*/ 33058 w 237406"/>
                <a:gd name="connsiteY21" fmla="*/ 201509 h 1139927"/>
                <a:gd name="connsiteX22" fmla="*/ 31838 w 237406"/>
                <a:gd name="connsiteY22" fmla="*/ 211430 h 1139927"/>
                <a:gd name="connsiteX23" fmla="*/ 30922 w 237406"/>
                <a:gd name="connsiteY23" fmla="*/ 221884 h 1139927"/>
                <a:gd name="connsiteX24" fmla="*/ 30109 w 237406"/>
                <a:gd name="connsiteY24" fmla="*/ 233298 h 1139927"/>
                <a:gd name="connsiteX25" fmla="*/ 30109 w 237406"/>
                <a:gd name="connsiteY25" fmla="*/ 245032 h 1139927"/>
                <a:gd name="connsiteX26" fmla="*/ 31838 w 237406"/>
                <a:gd name="connsiteY26" fmla="*/ 255593 h 1139927"/>
                <a:gd name="connsiteX27" fmla="*/ 33974 w 237406"/>
                <a:gd name="connsiteY27" fmla="*/ 264767 h 1139927"/>
                <a:gd name="connsiteX28" fmla="*/ 37737 w 237406"/>
                <a:gd name="connsiteY28" fmla="*/ 271168 h 1139927"/>
                <a:gd name="connsiteX29" fmla="*/ 58081 w 237406"/>
                <a:gd name="connsiteY29" fmla="*/ 269888 h 1139927"/>
                <a:gd name="connsiteX30" fmla="*/ 78017 w 237406"/>
                <a:gd name="connsiteY30" fmla="*/ 264767 h 1139927"/>
                <a:gd name="connsiteX31" fmla="*/ 97038 w 237406"/>
                <a:gd name="connsiteY31" fmla="*/ 256553 h 1139927"/>
                <a:gd name="connsiteX32" fmla="*/ 116567 w 237406"/>
                <a:gd name="connsiteY32" fmla="*/ 245032 h 1139927"/>
                <a:gd name="connsiteX33" fmla="*/ 134367 w 237406"/>
                <a:gd name="connsiteY33" fmla="*/ 231698 h 1139927"/>
                <a:gd name="connsiteX34" fmla="*/ 151761 w 237406"/>
                <a:gd name="connsiteY34" fmla="*/ 215484 h 1139927"/>
                <a:gd name="connsiteX35" fmla="*/ 168239 w 237406"/>
                <a:gd name="connsiteY35" fmla="*/ 198309 h 1139927"/>
                <a:gd name="connsiteX36" fmla="*/ 183496 w 237406"/>
                <a:gd name="connsiteY36" fmla="*/ 180281 h 1139927"/>
                <a:gd name="connsiteX37" fmla="*/ 198347 w 237406"/>
                <a:gd name="connsiteY37" fmla="*/ 161186 h 1139927"/>
                <a:gd name="connsiteX38" fmla="*/ 211061 w 237406"/>
                <a:gd name="connsiteY38" fmla="*/ 141451 h 1139927"/>
                <a:gd name="connsiteX39" fmla="*/ 222962 w 237406"/>
                <a:gd name="connsiteY39" fmla="*/ 122356 h 1139927"/>
                <a:gd name="connsiteX40" fmla="*/ 232727 w 237406"/>
                <a:gd name="connsiteY40" fmla="*/ 103902 h 1139927"/>
                <a:gd name="connsiteX41" fmla="*/ 237406 w 237406"/>
                <a:gd name="connsiteY41" fmla="*/ 103902 h 1139927"/>
                <a:gd name="connsiteX42" fmla="*/ 237406 w 237406"/>
                <a:gd name="connsiteY42" fmla="*/ 105822 h 1139927"/>
                <a:gd name="connsiteX43" fmla="*/ 229777 w 237406"/>
                <a:gd name="connsiteY43" fmla="*/ 124277 h 1139927"/>
                <a:gd name="connsiteX44" fmla="*/ 221233 w 237406"/>
                <a:gd name="connsiteY44" fmla="*/ 143371 h 1139927"/>
                <a:gd name="connsiteX45" fmla="*/ 211977 w 237406"/>
                <a:gd name="connsiteY45" fmla="*/ 161826 h 1139927"/>
                <a:gd name="connsiteX46" fmla="*/ 202619 w 237406"/>
                <a:gd name="connsiteY46" fmla="*/ 179641 h 1139927"/>
                <a:gd name="connsiteX47" fmla="*/ 192854 w 237406"/>
                <a:gd name="connsiteY47" fmla="*/ 197029 h 1139927"/>
                <a:gd name="connsiteX48" fmla="*/ 181869 w 237406"/>
                <a:gd name="connsiteY48" fmla="*/ 213243 h 1139927"/>
                <a:gd name="connsiteX49" fmla="*/ 170375 w 237406"/>
                <a:gd name="connsiteY49" fmla="*/ 228818 h 1139927"/>
                <a:gd name="connsiteX50" fmla="*/ 156440 w 237406"/>
                <a:gd name="connsiteY50" fmla="*/ 243112 h 1139927"/>
                <a:gd name="connsiteX51" fmla="*/ 141996 w 237406"/>
                <a:gd name="connsiteY51" fmla="*/ 257193 h 1139927"/>
                <a:gd name="connsiteX52" fmla="*/ 125010 w 237406"/>
                <a:gd name="connsiteY52" fmla="*/ 268608 h 1139927"/>
                <a:gd name="connsiteX53" fmla="*/ 105582 w 237406"/>
                <a:gd name="connsiteY53" fmla="*/ 279061 h 1139927"/>
                <a:gd name="connsiteX54" fmla="*/ 83916 w 237406"/>
                <a:gd name="connsiteY54" fmla="*/ 288342 h 1139927"/>
                <a:gd name="connsiteX55" fmla="*/ 61030 w 237406"/>
                <a:gd name="connsiteY55" fmla="*/ 295276 h 1139927"/>
                <a:gd name="connsiteX56" fmla="*/ 33974 w 237406"/>
                <a:gd name="connsiteY56" fmla="*/ 300076 h 1139927"/>
                <a:gd name="connsiteX57" fmla="*/ 34788 w 237406"/>
                <a:gd name="connsiteY57" fmla="*/ 333466 h 1139927"/>
                <a:gd name="connsiteX58" fmla="*/ 38551 w 237406"/>
                <a:gd name="connsiteY58" fmla="*/ 365255 h 1139927"/>
                <a:gd name="connsiteX59" fmla="*/ 44959 w 237406"/>
                <a:gd name="connsiteY59" fmla="*/ 395444 h 1139927"/>
                <a:gd name="connsiteX60" fmla="*/ 53402 w 237406"/>
                <a:gd name="connsiteY60" fmla="*/ 424033 h 1139927"/>
                <a:gd name="connsiteX61" fmla="*/ 63980 w 237406"/>
                <a:gd name="connsiteY61" fmla="*/ 451341 h 1139927"/>
                <a:gd name="connsiteX62" fmla="*/ 75474 w 237406"/>
                <a:gd name="connsiteY62" fmla="*/ 477477 h 1139927"/>
                <a:gd name="connsiteX63" fmla="*/ 88595 w 237406"/>
                <a:gd name="connsiteY63" fmla="*/ 502225 h 1139927"/>
                <a:gd name="connsiteX64" fmla="*/ 101717 w 237406"/>
                <a:gd name="connsiteY64" fmla="*/ 526334 h 1139927"/>
                <a:gd name="connsiteX65" fmla="*/ 105582 w 237406"/>
                <a:gd name="connsiteY65" fmla="*/ 532094 h 1139927"/>
                <a:gd name="connsiteX66" fmla="*/ 108938 w 237406"/>
                <a:gd name="connsiteY66" fmla="*/ 539135 h 1139927"/>
                <a:gd name="connsiteX67" fmla="*/ 113617 w 237406"/>
                <a:gd name="connsiteY67" fmla="*/ 546709 h 1139927"/>
                <a:gd name="connsiteX68" fmla="*/ 117889 w 237406"/>
                <a:gd name="connsiteY68" fmla="*/ 554710 h 1139927"/>
                <a:gd name="connsiteX69" fmla="*/ 123382 w 237406"/>
                <a:gd name="connsiteY69" fmla="*/ 562283 h 1139927"/>
                <a:gd name="connsiteX70" fmla="*/ 129689 w 237406"/>
                <a:gd name="connsiteY70" fmla="*/ 568684 h 1139927"/>
                <a:gd name="connsiteX71" fmla="*/ 134505 w 237406"/>
                <a:gd name="connsiteY71" fmla="*/ 572253 h 1139927"/>
                <a:gd name="connsiteX72" fmla="*/ 133384 w 237406"/>
                <a:gd name="connsiteY72" fmla="*/ 574141 h 1139927"/>
                <a:gd name="connsiteX73" fmla="*/ 205976 w 237406"/>
                <a:gd name="connsiteY73" fmla="*/ 771472 h 1139927"/>
                <a:gd name="connsiteX74" fmla="*/ 204348 w 237406"/>
                <a:gd name="connsiteY74" fmla="*/ 793981 h 1139927"/>
                <a:gd name="connsiteX75" fmla="*/ 203433 w 237406"/>
                <a:gd name="connsiteY75" fmla="*/ 816596 h 1139927"/>
                <a:gd name="connsiteX76" fmla="*/ 204348 w 237406"/>
                <a:gd name="connsiteY76" fmla="*/ 839211 h 1139927"/>
                <a:gd name="connsiteX77" fmla="*/ 205976 w 237406"/>
                <a:gd name="connsiteY77" fmla="*/ 862360 h 1139927"/>
                <a:gd name="connsiteX78" fmla="*/ 208112 w 237406"/>
                <a:gd name="connsiteY78" fmla="*/ 885294 h 1139927"/>
                <a:gd name="connsiteX79" fmla="*/ 210655 w 237406"/>
                <a:gd name="connsiteY79" fmla="*/ 907803 h 1139927"/>
                <a:gd name="connsiteX80" fmla="*/ 211061 w 237406"/>
                <a:gd name="connsiteY80" fmla="*/ 940872 h 1139927"/>
                <a:gd name="connsiteX81" fmla="*/ 208925 w 237406"/>
                <a:gd name="connsiteY81" fmla="*/ 973941 h 1139927"/>
                <a:gd name="connsiteX82" fmla="*/ 205162 w 237406"/>
                <a:gd name="connsiteY82" fmla="*/ 1005731 h 1139927"/>
                <a:gd name="connsiteX83" fmla="*/ 200483 w 237406"/>
                <a:gd name="connsiteY83" fmla="*/ 1036879 h 1139927"/>
                <a:gd name="connsiteX84" fmla="*/ 194787 w 237406"/>
                <a:gd name="connsiteY84" fmla="*/ 1139927 h 1139927"/>
                <a:gd name="connsiteX85" fmla="*/ 24209 w 237406"/>
                <a:gd name="connsiteY85" fmla="*/ 1139927 h 1139927"/>
                <a:gd name="connsiteX86" fmla="*/ 43738 w 237406"/>
                <a:gd name="connsiteY86" fmla="*/ 1098004 h 1139927"/>
                <a:gd name="connsiteX87" fmla="*/ 67845 w 237406"/>
                <a:gd name="connsiteY87" fmla="*/ 1050534 h 1139927"/>
                <a:gd name="connsiteX88" fmla="*/ 76287 w 237406"/>
                <a:gd name="connsiteY88" fmla="*/ 1033359 h 1139927"/>
                <a:gd name="connsiteX89" fmla="*/ 83509 w 237406"/>
                <a:gd name="connsiteY89" fmla="*/ 1014264 h 1139927"/>
                <a:gd name="connsiteX90" fmla="*/ 90324 w 237406"/>
                <a:gd name="connsiteY90" fmla="*/ 993036 h 1139927"/>
                <a:gd name="connsiteX91" fmla="*/ 96631 w 237406"/>
                <a:gd name="connsiteY91" fmla="*/ 970421 h 1139927"/>
                <a:gd name="connsiteX92" fmla="*/ 101717 w 237406"/>
                <a:gd name="connsiteY92" fmla="*/ 945993 h 1139927"/>
                <a:gd name="connsiteX93" fmla="*/ 105582 w 237406"/>
                <a:gd name="connsiteY93" fmla="*/ 921137 h 1139927"/>
                <a:gd name="connsiteX94" fmla="*/ 109345 w 237406"/>
                <a:gd name="connsiteY94" fmla="*/ 895109 h 1139927"/>
                <a:gd name="connsiteX95" fmla="*/ 111888 w 237406"/>
                <a:gd name="connsiteY95" fmla="*/ 868760 h 1139927"/>
                <a:gd name="connsiteX96" fmla="*/ 114024 w 237406"/>
                <a:gd name="connsiteY96" fmla="*/ 841344 h 1139927"/>
                <a:gd name="connsiteX97" fmla="*/ 114024 w 237406"/>
                <a:gd name="connsiteY97" fmla="*/ 814356 h 1139927"/>
                <a:gd name="connsiteX98" fmla="*/ 114024 w 237406"/>
                <a:gd name="connsiteY98" fmla="*/ 787687 h 1139927"/>
                <a:gd name="connsiteX99" fmla="*/ 111888 w 237406"/>
                <a:gd name="connsiteY99" fmla="*/ 760912 h 1139927"/>
                <a:gd name="connsiteX100" fmla="*/ 108938 w 237406"/>
                <a:gd name="connsiteY100" fmla="*/ 735203 h 1139927"/>
                <a:gd name="connsiteX101" fmla="*/ 105175 w 237406"/>
                <a:gd name="connsiteY101" fmla="*/ 710135 h 1139927"/>
                <a:gd name="connsiteX102" fmla="*/ 99580 w 237406"/>
                <a:gd name="connsiteY102" fmla="*/ 685919 h 1139927"/>
                <a:gd name="connsiteX103" fmla="*/ 91952 w 237406"/>
                <a:gd name="connsiteY103" fmla="*/ 663411 h 1139927"/>
                <a:gd name="connsiteX104" fmla="*/ 83509 w 237406"/>
                <a:gd name="connsiteY104" fmla="*/ 642076 h 1139927"/>
                <a:gd name="connsiteX105" fmla="*/ 73338 w 237406"/>
                <a:gd name="connsiteY105" fmla="*/ 622981 h 1139927"/>
                <a:gd name="connsiteX106" fmla="*/ 61946 w 237406"/>
                <a:gd name="connsiteY106" fmla="*/ 606127 h 1139927"/>
                <a:gd name="connsiteX107" fmla="*/ 25430 w 237406"/>
                <a:gd name="connsiteY107" fmla="*/ 491771 h 1139927"/>
                <a:gd name="connsiteX108" fmla="*/ 19530 w 237406"/>
                <a:gd name="connsiteY108" fmla="*/ 462222 h 1139927"/>
                <a:gd name="connsiteX109" fmla="*/ 11901 w 237406"/>
                <a:gd name="connsiteY109" fmla="*/ 432887 h 1139927"/>
                <a:gd name="connsiteX110" fmla="*/ 5493 w 237406"/>
                <a:gd name="connsiteY110" fmla="*/ 401098 h 1139927"/>
                <a:gd name="connsiteX111" fmla="*/ 2543 w 237406"/>
                <a:gd name="connsiteY111" fmla="*/ 368669 h 1139927"/>
                <a:gd name="connsiteX112" fmla="*/ 0 w 237406"/>
                <a:gd name="connsiteY112" fmla="*/ 334746 h 1139927"/>
                <a:gd name="connsiteX113" fmla="*/ 0 w 237406"/>
                <a:gd name="connsiteY113" fmla="*/ 300076 h 1139927"/>
                <a:gd name="connsiteX114" fmla="*/ 1729 w 237406"/>
                <a:gd name="connsiteY114" fmla="*/ 265087 h 1139927"/>
                <a:gd name="connsiteX115" fmla="*/ 5493 w 237406"/>
                <a:gd name="connsiteY115" fmla="*/ 230418 h 1139927"/>
                <a:gd name="connsiteX116" fmla="*/ 11087 w 237406"/>
                <a:gd name="connsiteY116" fmla="*/ 195855 h 1139927"/>
                <a:gd name="connsiteX117" fmla="*/ 16987 w 237406"/>
                <a:gd name="connsiteY117" fmla="*/ 162466 h 1139927"/>
                <a:gd name="connsiteX118" fmla="*/ 25430 w 237406"/>
                <a:gd name="connsiteY118" fmla="*/ 130037 h 1139927"/>
                <a:gd name="connsiteX119" fmla="*/ 35601 w 237406"/>
                <a:gd name="connsiteY119" fmla="*/ 99528 h 1139927"/>
                <a:gd name="connsiteX120" fmla="*/ 46180 w 237406"/>
                <a:gd name="connsiteY120" fmla="*/ 70619 h 1139927"/>
                <a:gd name="connsiteX121" fmla="*/ 58487 w 237406"/>
                <a:gd name="connsiteY121" fmla="*/ 44484 h 1139927"/>
                <a:gd name="connsiteX122" fmla="*/ 71608 w 237406"/>
                <a:gd name="connsiteY122" fmla="*/ 20695 h 1139927"/>
                <a:gd name="connsiteX123" fmla="*/ 87374 w 237406"/>
                <a:gd name="connsiteY123" fmla="*/ 0 h 113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37406" h="1139927">
                  <a:moveTo>
                    <a:pt x="87374" y="0"/>
                  </a:moveTo>
                  <a:cubicBezTo>
                    <a:pt x="86764" y="1707"/>
                    <a:pt x="86256" y="3414"/>
                    <a:pt x="85645" y="5121"/>
                  </a:cubicBezTo>
                  <a:cubicBezTo>
                    <a:pt x="85340" y="6294"/>
                    <a:pt x="85137" y="7361"/>
                    <a:pt x="84832" y="8534"/>
                  </a:cubicBezTo>
                  <a:lnTo>
                    <a:pt x="83916" y="10774"/>
                  </a:lnTo>
                  <a:lnTo>
                    <a:pt x="83916" y="12054"/>
                  </a:lnTo>
                  <a:lnTo>
                    <a:pt x="84832" y="12695"/>
                  </a:lnTo>
                  <a:lnTo>
                    <a:pt x="84832" y="13334"/>
                  </a:lnTo>
                  <a:lnTo>
                    <a:pt x="85645" y="13334"/>
                  </a:lnTo>
                  <a:lnTo>
                    <a:pt x="85645" y="14295"/>
                  </a:lnTo>
                  <a:cubicBezTo>
                    <a:pt x="85340" y="14935"/>
                    <a:pt x="85137" y="15575"/>
                    <a:pt x="84832" y="16215"/>
                  </a:cubicBezTo>
                  <a:lnTo>
                    <a:pt x="83916" y="19095"/>
                  </a:lnTo>
                  <a:lnTo>
                    <a:pt x="82695" y="23575"/>
                  </a:lnTo>
                  <a:cubicBezTo>
                    <a:pt x="81882" y="25709"/>
                    <a:pt x="80966" y="27736"/>
                    <a:pt x="80153" y="29869"/>
                  </a:cubicBezTo>
                  <a:cubicBezTo>
                    <a:pt x="78830" y="32856"/>
                    <a:pt x="77610" y="35843"/>
                    <a:pt x="76287" y="38830"/>
                  </a:cubicBezTo>
                  <a:cubicBezTo>
                    <a:pt x="75067" y="42457"/>
                    <a:pt x="73745" y="45977"/>
                    <a:pt x="72524" y="49604"/>
                  </a:cubicBezTo>
                  <a:cubicBezTo>
                    <a:pt x="70490" y="54298"/>
                    <a:pt x="68557" y="58885"/>
                    <a:pt x="66523" y="63579"/>
                  </a:cubicBezTo>
                  <a:cubicBezTo>
                    <a:pt x="64183" y="69232"/>
                    <a:pt x="61742" y="74779"/>
                    <a:pt x="59402" y="80433"/>
                  </a:cubicBezTo>
                  <a:cubicBezTo>
                    <a:pt x="56554" y="89181"/>
                    <a:pt x="53706" y="98034"/>
                    <a:pt x="50858" y="106782"/>
                  </a:cubicBezTo>
                  <a:cubicBezTo>
                    <a:pt x="48926" y="116169"/>
                    <a:pt x="46892" y="125663"/>
                    <a:pt x="44959" y="135051"/>
                  </a:cubicBezTo>
                  <a:cubicBezTo>
                    <a:pt x="43433" y="144758"/>
                    <a:pt x="41806" y="154359"/>
                    <a:pt x="40280" y="164066"/>
                  </a:cubicBezTo>
                  <a:cubicBezTo>
                    <a:pt x="38144" y="174307"/>
                    <a:pt x="36109" y="184655"/>
                    <a:pt x="33974" y="194895"/>
                  </a:cubicBezTo>
                  <a:cubicBezTo>
                    <a:pt x="33669" y="197135"/>
                    <a:pt x="33363" y="199269"/>
                    <a:pt x="33058" y="201509"/>
                  </a:cubicBezTo>
                  <a:lnTo>
                    <a:pt x="31838" y="211430"/>
                  </a:lnTo>
                  <a:cubicBezTo>
                    <a:pt x="31532" y="214950"/>
                    <a:pt x="31227" y="218363"/>
                    <a:pt x="30922" y="221884"/>
                  </a:cubicBezTo>
                  <a:cubicBezTo>
                    <a:pt x="30617" y="225724"/>
                    <a:pt x="30413" y="229458"/>
                    <a:pt x="30109" y="233298"/>
                  </a:cubicBezTo>
                  <a:lnTo>
                    <a:pt x="30109" y="245032"/>
                  </a:lnTo>
                  <a:cubicBezTo>
                    <a:pt x="30719" y="248553"/>
                    <a:pt x="31227" y="252073"/>
                    <a:pt x="31838" y="255593"/>
                  </a:cubicBezTo>
                  <a:cubicBezTo>
                    <a:pt x="32549" y="258687"/>
                    <a:pt x="33261" y="261674"/>
                    <a:pt x="33974" y="264767"/>
                  </a:cubicBezTo>
                  <a:cubicBezTo>
                    <a:pt x="35194" y="266901"/>
                    <a:pt x="36517" y="269034"/>
                    <a:pt x="37737" y="271168"/>
                  </a:cubicBezTo>
                  <a:lnTo>
                    <a:pt x="58081" y="269888"/>
                  </a:lnTo>
                  <a:lnTo>
                    <a:pt x="78017" y="264767"/>
                  </a:lnTo>
                  <a:lnTo>
                    <a:pt x="97038" y="256553"/>
                  </a:lnTo>
                  <a:lnTo>
                    <a:pt x="116567" y="245032"/>
                  </a:lnTo>
                  <a:lnTo>
                    <a:pt x="134367" y="231698"/>
                  </a:lnTo>
                  <a:lnTo>
                    <a:pt x="151761" y="215484"/>
                  </a:lnTo>
                  <a:lnTo>
                    <a:pt x="168239" y="198309"/>
                  </a:lnTo>
                  <a:lnTo>
                    <a:pt x="183496" y="180281"/>
                  </a:lnTo>
                  <a:lnTo>
                    <a:pt x="198347" y="161186"/>
                  </a:lnTo>
                  <a:lnTo>
                    <a:pt x="211061" y="141451"/>
                  </a:lnTo>
                  <a:lnTo>
                    <a:pt x="222962" y="122356"/>
                  </a:lnTo>
                  <a:cubicBezTo>
                    <a:pt x="226217" y="116169"/>
                    <a:pt x="229472" y="110089"/>
                    <a:pt x="232727" y="103902"/>
                  </a:cubicBezTo>
                  <a:lnTo>
                    <a:pt x="237406" y="103902"/>
                  </a:lnTo>
                  <a:lnTo>
                    <a:pt x="237406" y="105822"/>
                  </a:lnTo>
                  <a:cubicBezTo>
                    <a:pt x="234863" y="112009"/>
                    <a:pt x="232320" y="118089"/>
                    <a:pt x="229777" y="124277"/>
                  </a:cubicBezTo>
                  <a:cubicBezTo>
                    <a:pt x="226929" y="130677"/>
                    <a:pt x="224081" y="136971"/>
                    <a:pt x="221233" y="143371"/>
                  </a:cubicBezTo>
                  <a:cubicBezTo>
                    <a:pt x="218182" y="149559"/>
                    <a:pt x="215028" y="155639"/>
                    <a:pt x="211977" y="161826"/>
                  </a:cubicBezTo>
                  <a:lnTo>
                    <a:pt x="202619" y="179641"/>
                  </a:lnTo>
                  <a:cubicBezTo>
                    <a:pt x="199364" y="185401"/>
                    <a:pt x="196109" y="191268"/>
                    <a:pt x="192854" y="197029"/>
                  </a:cubicBezTo>
                  <a:lnTo>
                    <a:pt x="181869" y="213243"/>
                  </a:lnTo>
                  <a:lnTo>
                    <a:pt x="170375" y="228818"/>
                  </a:lnTo>
                  <a:lnTo>
                    <a:pt x="156440" y="243112"/>
                  </a:lnTo>
                  <a:lnTo>
                    <a:pt x="141996" y="257193"/>
                  </a:lnTo>
                  <a:lnTo>
                    <a:pt x="125010" y="268608"/>
                  </a:lnTo>
                  <a:lnTo>
                    <a:pt x="105582" y="279061"/>
                  </a:lnTo>
                  <a:lnTo>
                    <a:pt x="83916" y="288342"/>
                  </a:lnTo>
                  <a:lnTo>
                    <a:pt x="61030" y="295276"/>
                  </a:lnTo>
                  <a:lnTo>
                    <a:pt x="33974" y="300076"/>
                  </a:lnTo>
                  <a:cubicBezTo>
                    <a:pt x="34279" y="311171"/>
                    <a:pt x="34482" y="322372"/>
                    <a:pt x="34788" y="333466"/>
                  </a:cubicBezTo>
                  <a:cubicBezTo>
                    <a:pt x="36008" y="344026"/>
                    <a:pt x="37330" y="354694"/>
                    <a:pt x="38551" y="365255"/>
                  </a:cubicBezTo>
                  <a:cubicBezTo>
                    <a:pt x="40687" y="375282"/>
                    <a:pt x="42823" y="385416"/>
                    <a:pt x="44959" y="395444"/>
                  </a:cubicBezTo>
                  <a:cubicBezTo>
                    <a:pt x="47807" y="404938"/>
                    <a:pt x="50553" y="414539"/>
                    <a:pt x="53402" y="424033"/>
                  </a:cubicBezTo>
                  <a:cubicBezTo>
                    <a:pt x="56962" y="433100"/>
                    <a:pt x="60420" y="442274"/>
                    <a:pt x="63980" y="451341"/>
                  </a:cubicBezTo>
                  <a:cubicBezTo>
                    <a:pt x="67845" y="460089"/>
                    <a:pt x="71608" y="468730"/>
                    <a:pt x="75474" y="477477"/>
                  </a:cubicBezTo>
                  <a:lnTo>
                    <a:pt x="88595" y="502225"/>
                  </a:lnTo>
                  <a:lnTo>
                    <a:pt x="101717" y="526334"/>
                  </a:lnTo>
                  <a:cubicBezTo>
                    <a:pt x="103039" y="528254"/>
                    <a:pt x="104259" y="530174"/>
                    <a:pt x="105582" y="532094"/>
                  </a:cubicBezTo>
                  <a:lnTo>
                    <a:pt x="108938" y="539135"/>
                  </a:lnTo>
                  <a:cubicBezTo>
                    <a:pt x="110464" y="541695"/>
                    <a:pt x="112092" y="544149"/>
                    <a:pt x="113617" y="546709"/>
                  </a:cubicBezTo>
                  <a:lnTo>
                    <a:pt x="117889" y="554710"/>
                  </a:lnTo>
                  <a:cubicBezTo>
                    <a:pt x="119720" y="557270"/>
                    <a:pt x="121551" y="559723"/>
                    <a:pt x="123382" y="562283"/>
                  </a:cubicBezTo>
                  <a:cubicBezTo>
                    <a:pt x="125518" y="564417"/>
                    <a:pt x="127552" y="566550"/>
                    <a:pt x="129689" y="568684"/>
                  </a:cubicBezTo>
                  <a:lnTo>
                    <a:pt x="134505" y="572253"/>
                  </a:lnTo>
                  <a:lnTo>
                    <a:pt x="133384" y="574141"/>
                  </a:lnTo>
                  <a:cubicBezTo>
                    <a:pt x="177965" y="639918"/>
                    <a:pt x="202163" y="664925"/>
                    <a:pt x="205976" y="771472"/>
                  </a:cubicBezTo>
                  <a:cubicBezTo>
                    <a:pt x="205467" y="778940"/>
                    <a:pt x="204857" y="786514"/>
                    <a:pt x="204348" y="793981"/>
                  </a:cubicBezTo>
                  <a:cubicBezTo>
                    <a:pt x="204043" y="801555"/>
                    <a:pt x="203738" y="809022"/>
                    <a:pt x="203433" y="816596"/>
                  </a:cubicBezTo>
                  <a:cubicBezTo>
                    <a:pt x="203738" y="824170"/>
                    <a:pt x="204043" y="831637"/>
                    <a:pt x="204348" y="839211"/>
                  </a:cubicBezTo>
                  <a:cubicBezTo>
                    <a:pt x="204857" y="846891"/>
                    <a:pt x="205467" y="854679"/>
                    <a:pt x="205976" y="862360"/>
                  </a:cubicBezTo>
                  <a:cubicBezTo>
                    <a:pt x="206687" y="870040"/>
                    <a:pt x="207400" y="877614"/>
                    <a:pt x="208112" y="885294"/>
                  </a:cubicBezTo>
                  <a:cubicBezTo>
                    <a:pt x="208925" y="892762"/>
                    <a:pt x="209841" y="900336"/>
                    <a:pt x="210655" y="907803"/>
                  </a:cubicBezTo>
                  <a:cubicBezTo>
                    <a:pt x="210756" y="918790"/>
                    <a:pt x="210960" y="929884"/>
                    <a:pt x="211061" y="940872"/>
                  </a:cubicBezTo>
                  <a:cubicBezTo>
                    <a:pt x="210349" y="951860"/>
                    <a:pt x="209637" y="962954"/>
                    <a:pt x="208925" y="973941"/>
                  </a:cubicBezTo>
                  <a:cubicBezTo>
                    <a:pt x="207705" y="984502"/>
                    <a:pt x="206383" y="995170"/>
                    <a:pt x="205162" y="1005731"/>
                  </a:cubicBezTo>
                  <a:cubicBezTo>
                    <a:pt x="203636" y="1016078"/>
                    <a:pt x="202008" y="1026532"/>
                    <a:pt x="200483" y="1036879"/>
                  </a:cubicBezTo>
                  <a:cubicBezTo>
                    <a:pt x="197330" y="1072189"/>
                    <a:pt x="197940" y="1104618"/>
                    <a:pt x="194787" y="1139927"/>
                  </a:cubicBezTo>
                  <a:lnTo>
                    <a:pt x="24209" y="1139927"/>
                  </a:lnTo>
                  <a:lnTo>
                    <a:pt x="43738" y="1098004"/>
                  </a:lnTo>
                  <a:lnTo>
                    <a:pt x="67845" y="1050534"/>
                  </a:lnTo>
                  <a:cubicBezTo>
                    <a:pt x="70693" y="1044773"/>
                    <a:pt x="73439" y="1039120"/>
                    <a:pt x="76287" y="1033359"/>
                  </a:cubicBezTo>
                  <a:cubicBezTo>
                    <a:pt x="78729" y="1026959"/>
                    <a:pt x="81068" y="1020665"/>
                    <a:pt x="83509" y="1014264"/>
                  </a:cubicBezTo>
                  <a:cubicBezTo>
                    <a:pt x="85747" y="1007224"/>
                    <a:pt x="88087" y="1000076"/>
                    <a:pt x="90324" y="993036"/>
                  </a:cubicBezTo>
                  <a:cubicBezTo>
                    <a:pt x="92461" y="985462"/>
                    <a:pt x="94495" y="977995"/>
                    <a:pt x="96631" y="970421"/>
                  </a:cubicBezTo>
                  <a:cubicBezTo>
                    <a:pt x="98360" y="962314"/>
                    <a:pt x="99988" y="954100"/>
                    <a:pt x="101717" y="945993"/>
                  </a:cubicBezTo>
                  <a:cubicBezTo>
                    <a:pt x="103039" y="937672"/>
                    <a:pt x="104259" y="929458"/>
                    <a:pt x="105582" y="921137"/>
                  </a:cubicBezTo>
                  <a:cubicBezTo>
                    <a:pt x="106802" y="912497"/>
                    <a:pt x="108125" y="903749"/>
                    <a:pt x="109345" y="895109"/>
                  </a:cubicBezTo>
                  <a:cubicBezTo>
                    <a:pt x="110159" y="886361"/>
                    <a:pt x="111075" y="877507"/>
                    <a:pt x="111888" y="868760"/>
                  </a:cubicBezTo>
                  <a:cubicBezTo>
                    <a:pt x="112600" y="859586"/>
                    <a:pt x="113312" y="850519"/>
                    <a:pt x="114024" y="841344"/>
                  </a:cubicBezTo>
                  <a:lnTo>
                    <a:pt x="114024" y="814356"/>
                  </a:lnTo>
                  <a:lnTo>
                    <a:pt x="114024" y="787687"/>
                  </a:lnTo>
                  <a:cubicBezTo>
                    <a:pt x="113312" y="778726"/>
                    <a:pt x="112600" y="769872"/>
                    <a:pt x="111888" y="760912"/>
                  </a:cubicBezTo>
                  <a:cubicBezTo>
                    <a:pt x="110871" y="752377"/>
                    <a:pt x="109955" y="743737"/>
                    <a:pt x="108938" y="735203"/>
                  </a:cubicBezTo>
                  <a:cubicBezTo>
                    <a:pt x="107718" y="726882"/>
                    <a:pt x="106396" y="718455"/>
                    <a:pt x="105175" y="710135"/>
                  </a:cubicBezTo>
                  <a:cubicBezTo>
                    <a:pt x="103344" y="702027"/>
                    <a:pt x="101411" y="694027"/>
                    <a:pt x="99580" y="685919"/>
                  </a:cubicBezTo>
                  <a:cubicBezTo>
                    <a:pt x="97038" y="678452"/>
                    <a:pt x="94495" y="670878"/>
                    <a:pt x="91952" y="663411"/>
                  </a:cubicBezTo>
                  <a:cubicBezTo>
                    <a:pt x="89104" y="656264"/>
                    <a:pt x="86357" y="649223"/>
                    <a:pt x="83509" y="642076"/>
                  </a:cubicBezTo>
                  <a:cubicBezTo>
                    <a:pt x="80153" y="635676"/>
                    <a:pt x="76695" y="629382"/>
                    <a:pt x="73338" y="622981"/>
                  </a:cubicBezTo>
                  <a:cubicBezTo>
                    <a:pt x="69574" y="617327"/>
                    <a:pt x="65709" y="611780"/>
                    <a:pt x="61946" y="606127"/>
                  </a:cubicBezTo>
                  <a:cubicBezTo>
                    <a:pt x="47620" y="569040"/>
                    <a:pt x="29963" y="538582"/>
                    <a:pt x="25430" y="491771"/>
                  </a:cubicBezTo>
                  <a:cubicBezTo>
                    <a:pt x="23023" y="472285"/>
                    <a:pt x="21785" y="472036"/>
                    <a:pt x="19530" y="462222"/>
                  </a:cubicBezTo>
                  <a:cubicBezTo>
                    <a:pt x="16987" y="452408"/>
                    <a:pt x="14444" y="442701"/>
                    <a:pt x="11901" y="432887"/>
                  </a:cubicBezTo>
                  <a:cubicBezTo>
                    <a:pt x="9765" y="422326"/>
                    <a:pt x="7629" y="411658"/>
                    <a:pt x="5493" y="401098"/>
                  </a:cubicBezTo>
                  <a:cubicBezTo>
                    <a:pt x="4476" y="390323"/>
                    <a:pt x="3560" y="379443"/>
                    <a:pt x="2543" y="368669"/>
                  </a:cubicBezTo>
                  <a:cubicBezTo>
                    <a:pt x="1729" y="357361"/>
                    <a:pt x="814" y="346053"/>
                    <a:pt x="0" y="334746"/>
                  </a:cubicBezTo>
                  <a:lnTo>
                    <a:pt x="0" y="300076"/>
                  </a:lnTo>
                  <a:cubicBezTo>
                    <a:pt x="610" y="288449"/>
                    <a:pt x="1119" y="276715"/>
                    <a:pt x="1729" y="265087"/>
                  </a:cubicBezTo>
                  <a:cubicBezTo>
                    <a:pt x="2950" y="253566"/>
                    <a:pt x="4272" y="241939"/>
                    <a:pt x="5493" y="230418"/>
                  </a:cubicBezTo>
                  <a:cubicBezTo>
                    <a:pt x="7324" y="218897"/>
                    <a:pt x="9256" y="207376"/>
                    <a:pt x="11087" y="195855"/>
                  </a:cubicBezTo>
                  <a:cubicBezTo>
                    <a:pt x="13020" y="184761"/>
                    <a:pt x="15055" y="173560"/>
                    <a:pt x="16987" y="162466"/>
                  </a:cubicBezTo>
                  <a:cubicBezTo>
                    <a:pt x="19835" y="151692"/>
                    <a:pt x="22582" y="140811"/>
                    <a:pt x="25430" y="130037"/>
                  </a:cubicBezTo>
                  <a:cubicBezTo>
                    <a:pt x="28786" y="119903"/>
                    <a:pt x="32244" y="109662"/>
                    <a:pt x="35601" y="99528"/>
                  </a:cubicBezTo>
                  <a:cubicBezTo>
                    <a:pt x="39161" y="89927"/>
                    <a:pt x="42619" y="80220"/>
                    <a:pt x="46180" y="70619"/>
                  </a:cubicBezTo>
                  <a:cubicBezTo>
                    <a:pt x="50248" y="61872"/>
                    <a:pt x="54419" y="53231"/>
                    <a:pt x="58487" y="44484"/>
                  </a:cubicBezTo>
                  <a:lnTo>
                    <a:pt x="71608" y="20695"/>
                  </a:lnTo>
                  <a:lnTo>
                    <a:pt x="87374"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ko-KR" altLang="en-US" sz="1800"/>
            </a:p>
          </p:txBody>
        </p:sp>
        <p:grpSp>
          <p:nvGrpSpPr>
            <p:cNvPr id="66" name="그룹 126">
              <a:extLst>
                <a:ext uri="{FF2B5EF4-FFF2-40B4-BE49-F238E27FC236}">
                  <a16:creationId xmlns:a16="http://schemas.microsoft.com/office/drawing/2014/main" id="{AE95F352-4DD5-6047-B020-156A230B3E27}"/>
                </a:ext>
              </a:extLst>
            </p:cNvPr>
            <p:cNvGrpSpPr/>
            <p:nvPr/>
          </p:nvGrpSpPr>
          <p:grpSpPr>
            <a:xfrm>
              <a:off x="4041120" y="3338087"/>
              <a:ext cx="438446" cy="438446"/>
              <a:chOff x="2460435" y="1380960"/>
              <a:chExt cx="914400" cy="914400"/>
            </a:xfrm>
            <a:solidFill>
              <a:schemeClr val="accent3"/>
            </a:solidFill>
          </p:grpSpPr>
          <p:sp>
            <p:nvSpPr>
              <p:cNvPr id="71" name="타원 127">
                <a:extLst>
                  <a:ext uri="{FF2B5EF4-FFF2-40B4-BE49-F238E27FC236}">
                    <a16:creationId xmlns:a16="http://schemas.microsoft.com/office/drawing/2014/main" id="{BF49E4B1-C2C7-A74A-A821-0BD5BC426134}"/>
                  </a:ext>
                </a:extLst>
              </p:cNvPr>
              <p:cNvSpPr/>
              <p:nvPr/>
            </p:nvSpPr>
            <p:spPr>
              <a:xfrm>
                <a:off x="2460435" y="1380960"/>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타원 128">
                <a:extLst>
                  <a:ext uri="{FF2B5EF4-FFF2-40B4-BE49-F238E27FC236}">
                    <a16:creationId xmlns:a16="http://schemas.microsoft.com/office/drawing/2014/main" id="{368B13B5-205D-0942-AFF1-2F55CB092A29}"/>
                  </a:ext>
                </a:extLst>
              </p:cNvPr>
              <p:cNvSpPr/>
              <p:nvPr/>
            </p:nvSpPr>
            <p:spPr>
              <a:xfrm>
                <a:off x="2528509" y="1449034"/>
                <a:ext cx="778251" cy="77825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Block Arc 11">
                <a:extLst>
                  <a:ext uri="{FF2B5EF4-FFF2-40B4-BE49-F238E27FC236}">
                    <a16:creationId xmlns:a16="http://schemas.microsoft.com/office/drawing/2014/main" id="{1B9AABA7-CDD8-0E44-ADDB-45FE3560DC84}"/>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nvGrpSpPr>
            <p:cNvPr id="67" name="그룹 130">
              <a:extLst>
                <a:ext uri="{FF2B5EF4-FFF2-40B4-BE49-F238E27FC236}">
                  <a16:creationId xmlns:a16="http://schemas.microsoft.com/office/drawing/2014/main" id="{90AABEED-15D0-8F47-AA14-3C1E2D124DD1}"/>
                </a:ext>
              </a:extLst>
            </p:cNvPr>
            <p:cNvGrpSpPr/>
            <p:nvPr/>
          </p:nvGrpSpPr>
          <p:grpSpPr>
            <a:xfrm>
              <a:off x="4355615" y="3651586"/>
              <a:ext cx="438446" cy="438446"/>
              <a:chOff x="2460435" y="1380960"/>
              <a:chExt cx="914400" cy="914400"/>
            </a:xfrm>
            <a:solidFill>
              <a:schemeClr val="accent3"/>
            </a:solidFill>
          </p:grpSpPr>
          <p:sp>
            <p:nvSpPr>
              <p:cNvPr id="68" name="타원 131">
                <a:extLst>
                  <a:ext uri="{FF2B5EF4-FFF2-40B4-BE49-F238E27FC236}">
                    <a16:creationId xmlns:a16="http://schemas.microsoft.com/office/drawing/2014/main" id="{80E0CD12-B3D7-124C-98CA-6FA658AA05C5}"/>
                  </a:ext>
                </a:extLst>
              </p:cNvPr>
              <p:cNvSpPr/>
              <p:nvPr/>
            </p:nvSpPr>
            <p:spPr>
              <a:xfrm>
                <a:off x="2460435" y="1380960"/>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9" name="타원 132">
                <a:extLst>
                  <a:ext uri="{FF2B5EF4-FFF2-40B4-BE49-F238E27FC236}">
                    <a16:creationId xmlns:a16="http://schemas.microsoft.com/office/drawing/2014/main" id="{D780C67D-9B90-C142-A580-28C07C6F6D5B}"/>
                  </a:ext>
                </a:extLst>
              </p:cNvPr>
              <p:cNvSpPr/>
              <p:nvPr/>
            </p:nvSpPr>
            <p:spPr>
              <a:xfrm>
                <a:off x="2528509" y="1449034"/>
                <a:ext cx="778251" cy="778251"/>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0" name="Block Arc 11">
                <a:extLst>
                  <a:ext uri="{FF2B5EF4-FFF2-40B4-BE49-F238E27FC236}">
                    <a16:creationId xmlns:a16="http://schemas.microsoft.com/office/drawing/2014/main" id="{6C8DDFF7-C655-2240-9AE7-BA5D50C61FFC}"/>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grpSp>
      <p:sp>
        <p:nvSpPr>
          <p:cNvPr id="74" name="Freeform 7">
            <a:extLst>
              <a:ext uri="{FF2B5EF4-FFF2-40B4-BE49-F238E27FC236}">
                <a16:creationId xmlns:a16="http://schemas.microsoft.com/office/drawing/2014/main" id="{ED56362B-8342-6647-BF8F-420AED722AB1}"/>
              </a:ext>
            </a:extLst>
          </p:cNvPr>
          <p:cNvSpPr/>
          <p:nvPr/>
        </p:nvSpPr>
        <p:spPr>
          <a:xfrm rot="20035303">
            <a:off x="515917" y="2426746"/>
            <a:ext cx="1820244" cy="2561938"/>
          </a:xfrm>
          <a:custGeom>
            <a:avLst/>
            <a:gdLst>
              <a:gd name="connsiteX0" fmla="*/ 3404 w 1180796"/>
              <a:gd name="connsiteY0" fmla="*/ 196574 h 1438562"/>
              <a:gd name="connsiteX1" fmla="*/ 3657 w 1180796"/>
              <a:gd name="connsiteY1" fmla="*/ 197380 h 1438562"/>
              <a:gd name="connsiteX2" fmla="*/ 3404 w 1180796"/>
              <a:gd name="connsiteY2" fmla="*/ 196574 h 1438562"/>
              <a:gd name="connsiteX3" fmla="*/ 567269 w 1180796"/>
              <a:gd name="connsiteY3" fmla="*/ 0 h 1438562"/>
              <a:gd name="connsiteX4" fmla="*/ 568172 w 1180796"/>
              <a:gd name="connsiteY4" fmla="*/ 304800 h 1438562"/>
              <a:gd name="connsiteX5" fmla="*/ 779871 w 1180796"/>
              <a:gd name="connsiteY5" fmla="*/ 459344 h 1438562"/>
              <a:gd name="connsiteX6" fmla="*/ 930391 w 1180796"/>
              <a:gd name="connsiteY6" fmla="*/ 667912 h 1438562"/>
              <a:gd name="connsiteX7" fmla="*/ 929264 w 1180796"/>
              <a:gd name="connsiteY7" fmla="*/ 654877 h 1438562"/>
              <a:gd name="connsiteX8" fmla="*/ 1089331 w 1180796"/>
              <a:gd name="connsiteY8" fmla="*/ 830882 h 1438562"/>
              <a:gd name="connsiteX9" fmla="*/ 1176007 w 1180796"/>
              <a:gd name="connsiteY9" fmla="*/ 1299015 h 1438562"/>
              <a:gd name="connsiteX10" fmla="*/ 1106293 w 1180796"/>
              <a:gd name="connsiteY10" fmla="*/ 1261345 h 1438562"/>
              <a:gd name="connsiteX11" fmla="*/ 1093530 w 1180796"/>
              <a:gd name="connsiteY11" fmla="*/ 1409318 h 1438562"/>
              <a:gd name="connsiteX12" fmla="*/ 1016094 w 1180796"/>
              <a:gd name="connsiteY12" fmla="*/ 1334364 h 1438562"/>
              <a:gd name="connsiteX13" fmla="*/ 984981 w 1180796"/>
              <a:gd name="connsiteY13" fmla="*/ 1437195 h 1438562"/>
              <a:gd name="connsiteX14" fmla="*/ 873874 w 1180796"/>
              <a:gd name="connsiteY14" fmla="*/ 986314 h 1438562"/>
              <a:gd name="connsiteX15" fmla="*/ 541005 w 1180796"/>
              <a:gd name="connsiteY15" fmla="*/ 803357 h 1438562"/>
              <a:gd name="connsiteX16" fmla="*/ 504720 w 1180796"/>
              <a:gd name="connsiteY16" fmla="*/ 953956 h 1438562"/>
              <a:gd name="connsiteX17" fmla="*/ 541004 w 1180796"/>
              <a:gd name="connsiteY17" fmla="*/ 1175672 h 1438562"/>
              <a:gd name="connsiteX18" fmla="*/ 532632 w 1180796"/>
              <a:gd name="connsiteY18" fmla="*/ 1402288 h 1438562"/>
              <a:gd name="connsiteX19" fmla="*/ 243154 w 1180796"/>
              <a:gd name="connsiteY19" fmla="*/ 889736 h 1438562"/>
              <a:gd name="connsiteX20" fmla="*/ 174649 w 1180796"/>
              <a:gd name="connsiteY20" fmla="*/ 445938 h 1438562"/>
              <a:gd name="connsiteX21" fmla="*/ 0 w 1180796"/>
              <a:gd name="connsiteY21" fmla="*/ 74192 h 1438562"/>
              <a:gd name="connsiteX22" fmla="*/ 567269 w 1180796"/>
              <a:gd name="connsiteY22" fmla="*/ 0 h 1438562"/>
              <a:gd name="connsiteX0" fmla="*/ 567269 w 1180796"/>
              <a:gd name="connsiteY0" fmla="*/ 0 h 1438562"/>
              <a:gd name="connsiteX1" fmla="*/ 568172 w 1180796"/>
              <a:gd name="connsiteY1" fmla="*/ 304800 h 1438562"/>
              <a:gd name="connsiteX2" fmla="*/ 779871 w 1180796"/>
              <a:gd name="connsiteY2" fmla="*/ 459344 h 1438562"/>
              <a:gd name="connsiteX3" fmla="*/ 930391 w 1180796"/>
              <a:gd name="connsiteY3" fmla="*/ 667912 h 1438562"/>
              <a:gd name="connsiteX4" fmla="*/ 929264 w 1180796"/>
              <a:gd name="connsiteY4" fmla="*/ 654877 h 1438562"/>
              <a:gd name="connsiteX5" fmla="*/ 1089331 w 1180796"/>
              <a:gd name="connsiteY5" fmla="*/ 830882 h 1438562"/>
              <a:gd name="connsiteX6" fmla="*/ 1176007 w 1180796"/>
              <a:gd name="connsiteY6" fmla="*/ 1299015 h 1438562"/>
              <a:gd name="connsiteX7" fmla="*/ 1106293 w 1180796"/>
              <a:gd name="connsiteY7" fmla="*/ 1261345 h 1438562"/>
              <a:gd name="connsiteX8" fmla="*/ 1093530 w 1180796"/>
              <a:gd name="connsiteY8" fmla="*/ 1409318 h 1438562"/>
              <a:gd name="connsiteX9" fmla="*/ 1016094 w 1180796"/>
              <a:gd name="connsiteY9" fmla="*/ 1334364 h 1438562"/>
              <a:gd name="connsiteX10" fmla="*/ 984981 w 1180796"/>
              <a:gd name="connsiteY10" fmla="*/ 1437195 h 1438562"/>
              <a:gd name="connsiteX11" fmla="*/ 873874 w 1180796"/>
              <a:gd name="connsiteY11" fmla="*/ 986314 h 1438562"/>
              <a:gd name="connsiteX12" fmla="*/ 541005 w 1180796"/>
              <a:gd name="connsiteY12" fmla="*/ 803357 h 1438562"/>
              <a:gd name="connsiteX13" fmla="*/ 504720 w 1180796"/>
              <a:gd name="connsiteY13" fmla="*/ 953956 h 1438562"/>
              <a:gd name="connsiteX14" fmla="*/ 541004 w 1180796"/>
              <a:gd name="connsiteY14" fmla="*/ 1175672 h 1438562"/>
              <a:gd name="connsiteX15" fmla="*/ 532632 w 1180796"/>
              <a:gd name="connsiteY15" fmla="*/ 1402288 h 1438562"/>
              <a:gd name="connsiteX16" fmla="*/ 243154 w 1180796"/>
              <a:gd name="connsiteY16" fmla="*/ 889736 h 1438562"/>
              <a:gd name="connsiteX17" fmla="*/ 174649 w 1180796"/>
              <a:gd name="connsiteY17" fmla="*/ 445938 h 1438562"/>
              <a:gd name="connsiteX18" fmla="*/ 0 w 1180796"/>
              <a:gd name="connsiteY18" fmla="*/ 74192 h 1438562"/>
              <a:gd name="connsiteX19" fmla="*/ 567269 w 1180796"/>
              <a:gd name="connsiteY19" fmla="*/ 0 h 1438562"/>
              <a:gd name="connsiteX0" fmla="*/ 567269 w 1180796"/>
              <a:gd name="connsiteY0" fmla="*/ 0 h 1438562"/>
              <a:gd name="connsiteX1" fmla="*/ 568172 w 1180796"/>
              <a:gd name="connsiteY1" fmla="*/ 304800 h 1438562"/>
              <a:gd name="connsiteX2" fmla="*/ 779871 w 1180796"/>
              <a:gd name="connsiteY2" fmla="*/ 459344 h 1438562"/>
              <a:gd name="connsiteX3" fmla="*/ 929264 w 1180796"/>
              <a:gd name="connsiteY3" fmla="*/ 654877 h 1438562"/>
              <a:gd name="connsiteX4" fmla="*/ 1089331 w 1180796"/>
              <a:gd name="connsiteY4" fmla="*/ 830882 h 1438562"/>
              <a:gd name="connsiteX5" fmla="*/ 1176007 w 1180796"/>
              <a:gd name="connsiteY5" fmla="*/ 1299015 h 1438562"/>
              <a:gd name="connsiteX6" fmla="*/ 1106293 w 1180796"/>
              <a:gd name="connsiteY6" fmla="*/ 1261345 h 1438562"/>
              <a:gd name="connsiteX7" fmla="*/ 1093530 w 1180796"/>
              <a:gd name="connsiteY7" fmla="*/ 1409318 h 1438562"/>
              <a:gd name="connsiteX8" fmla="*/ 1016094 w 1180796"/>
              <a:gd name="connsiteY8" fmla="*/ 1334364 h 1438562"/>
              <a:gd name="connsiteX9" fmla="*/ 984981 w 1180796"/>
              <a:gd name="connsiteY9" fmla="*/ 1437195 h 1438562"/>
              <a:gd name="connsiteX10" fmla="*/ 873874 w 1180796"/>
              <a:gd name="connsiteY10" fmla="*/ 986314 h 1438562"/>
              <a:gd name="connsiteX11" fmla="*/ 541005 w 1180796"/>
              <a:gd name="connsiteY11" fmla="*/ 803357 h 1438562"/>
              <a:gd name="connsiteX12" fmla="*/ 504720 w 1180796"/>
              <a:gd name="connsiteY12" fmla="*/ 953956 h 1438562"/>
              <a:gd name="connsiteX13" fmla="*/ 541004 w 1180796"/>
              <a:gd name="connsiteY13" fmla="*/ 1175672 h 1438562"/>
              <a:gd name="connsiteX14" fmla="*/ 532632 w 1180796"/>
              <a:gd name="connsiteY14" fmla="*/ 1402288 h 1438562"/>
              <a:gd name="connsiteX15" fmla="*/ 243154 w 1180796"/>
              <a:gd name="connsiteY15" fmla="*/ 889736 h 1438562"/>
              <a:gd name="connsiteX16" fmla="*/ 174649 w 1180796"/>
              <a:gd name="connsiteY16" fmla="*/ 445938 h 1438562"/>
              <a:gd name="connsiteX17" fmla="*/ 0 w 1180796"/>
              <a:gd name="connsiteY17" fmla="*/ 74192 h 1438562"/>
              <a:gd name="connsiteX18" fmla="*/ 567269 w 1180796"/>
              <a:gd name="connsiteY18" fmla="*/ 0 h 1438562"/>
              <a:gd name="connsiteX0" fmla="*/ 567269 w 1180796"/>
              <a:gd name="connsiteY0" fmla="*/ 0 h 1438562"/>
              <a:gd name="connsiteX1" fmla="*/ 568172 w 1180796"/>
              <a:gd name="connsiteY1" fmla="*/ 304800 h 1438562"/>
              <a:gd name="connsiteX2" fmla="*/ 779871 w 1180796"/>
              <a:gd name="connsiteY2" fmla="*/ 459344 h 1438562"/>
              <a:gd name="connsiteX3" fmla="*/ 1089331 w 1180796"/>
              <a:gd name="connsiteY3" fmla="*/ 830882 h 1438562"/>
              <a:gd name="connsiteX4" fmla="*/ 1176007 w 1180796"/>
              <a:gd name="connsiteY4" fmla="*/ 1299015 h 1438562"/>
              <a:gd name="connsiteX5" fmla="*/ 1106293 w 1180796"/>
              <a:gd name="connsiteY5" fmla="*/ 1261345 h 1438562"/>
              <a:gd name="connsiteX6" fmla="*/ 1093530 w 1180796"/>
              <a:gd name="connsiteY6" fmla="*/ 1409318 h 1438562"/>
              <a:gd name="connsiteX7" fmla="*/ 1016094 w 1180796"/>
              <a:gd name="connsiteY7" fmla="*/ 1334364 h 1438562"/>
              <a:gd name="connsiteX8" fmla="*/ 984981 w 1180796"/>
              <a:gd name="connsiteY8" fmla="*/ 1437195 h 1438562"/>
              <a:gd name="connsiteX9" fmla="*/ 873874 w 1180796"/>
              <a:gd name="connsiteY9" fmla="*/ 986314 h 1438562"/>
              <a:gd name="connsiteX10" fmla="*/ 541005 w 1180796"/>
              <a:gd name="connsiteY10" fmla="*/ 803357 h 1438562"/>
              <a:gd name="connsiteX11" fmla="*/ 504720 w 1180796"/>
              <a:gd name="connsiteY11" fmla="*/ 953956 h 1438562"/>
              <a:gd name="connsiteX12" fmla="*/ 541004 w 1180796"/>
              <a:gd name="connsiteY12" fmla="*/ 1175672 h 1438562"/>
              <a:gd name="connsiteX13" fmla="*/ 532632 w 1180796"/>
              <a:gd name="connsiteY13" fmla="*/ 1402288 h 1438562"/>
              <a:gd name="connsiteX14" fmla="*/ 243154 w 1180796"/>
              <a:gd name="connsiteY14" fmla="*/ 889736 h 1438562"/>
              <a:gd name="connsiteX15" fmla="*/ 174649 w 1180796"/>
              <a:gd name="connsiteY15" fmla="*/ 445938 h 1438562"/>
              <a:gd name="connsiteX16" fmla="*/ 0 w 1180796"/>
              <a:gd name="connsiteY16" fmla="*/ 74192 h 1438562"/>
              <a:gd name="connsiteX17" fmla="*/ 567269 w 1180796"/>
              <a:gd name="connsiteY17" fmla="*/ 0 h 1438562"/>
              <a:gd name="connsiteX0" fmla="*/ 567269 w 1180796"/>
              <a:gd name="connsiteY0" fmla="*/ 0 h 1438562"/>
              <a:gd name="connsiteX1" fmla="*/ 568172 w 1180796"/>
              <a:gd name="connsiteY1" fmla="*/ 304800 h 1438562"/>
              <a:gd name="connsiteX2" fmla="*/ 779871 w 1180796"/>
              <a:gd name="connsiteY2" fmla="*/ 459344 h 1438562"/>
              <a:gd name="connsiteX3" fmla="*/ 1089331 w 1180796"/>
              <a:gd name="connsiteY3" fmla="*/ 830882 h 1438562"/>
              <a:gd name="connsiteX4" fmla="*/ 1176007 w 1180796"/>
              <a:gd name="connsiteY4" fmla="*/ 1299015 h 1438562"/>
              <a:gd name="connsiteX5" fmla="*/ 1106293 w 1180796"/>
              <a:gd name="connsiteY5" fmla="*/ 1261345 h 1438562"/>
              <a:gd name="connsiteX6" fmla="*/ 1093530 w 1180796"/>
              <a:gd name="connsiteY6" fmla="*/ 1409318 h 1438562"/>
              <a:gd name="connsiteX7" fmla="*/ 1016094 w 1180796"/>
              <a:gd name="connsiteY7" fmla="*/ 1334364 h 1438562"/>
              <a:gd name="connsiteX8" fmla="*/ 984981 w 1180796"/>
              <a:gd name="connsiteY8" fmla="*/ 1437195 h 1438562"/>
              <a:gd name="connsiteX9" fmla="*/ 873874 w 1180796"/>
              <a:gd name="connsiteY9" fmla="*/ 986314 h 1438562"/>
              <a:gd name="connsiteX10" fmla="*/ 541005 w 1180796"/>
              <a:gd name="connsiteY10" fmla="*/ 803357 h 1438562"/>
              <a:gd name="connsiteX11" fmla="*/ 504720 w 1180796"/>
              <a:gd name="connsiteY11" fmla="*/ 953956 h 1438562"/>
              <a:gd name="connsiteX12" fmla="*/ 541004 w 1180796"/>
              <a:gd name="connsiteY12" fmla="*/ 1175672 h 1438562"/>
              <a:gd name="connsiteX13" fmla="*/ 472223 w 1180796"/>
              <a:gd name="connsiteY13" fmla="*/ 1387555 h 1438562"/>
              <a:gd name="connsiteX14" fmla="*/ 243154 w 1180796"/>
              <a:gd name="connsiteY14" fmla="*/ 889736 h 1438562"/>
              <a:gd name="connsiteX15" fmla="*/ 174649 w 1180796"/>
              <a:gd name="connsiteY15" fmla="*/ 445938 h 1438562"/>
              <a:gd name="connsiteX16" fmla="*/ 0 w 1180796"/>
              <a:gd name="connsiteY16" fmla="*/ 74192 h 1438562"/>
              <a:gd name="connsiteX17" fmla="*/ 567269 w 1180796"/>
              <a:gd name="connsiteY17" fmla="*/ 0 h 1438562"/>
              <a:gd name="connsiteX0" fmla="*/ 0 w 1198834"/>
              <a:gd name="connsiteY0" fmla="*/ 0 h 2165917"/>
              <a:gd name="connsiteX1" fmla="*/ 586210 w 1198834"/>
              <a:gd name="connsiteY1" fmla="*/ 1032155 h 2165917"/>
              <a:gd name="connsiteX2" fmla="*/ 797909 w 1198834"/>
              <a:gd name="connsiteY2" fmla="*/ 1186699 h 2165917"/>
              <a:gd name="connsiteX3" fmla="*/ 1107369 w 1198834"/>
              <a:gd name="connsiteY3" fmla="*/ 1558237 h 2165917"/>
              <a:gd name="connsiteX4" fmla="*/ 1194045 w 1198834"/>
              <a:gd name="connsiteY4" fmla="*/ 2026370 h 2165917"/>
              <a:gd name="connsiteX5" fmla="*/ 1124331 w 1198834"/>
              <a:gd name="connsiteY5" fmla="*/ 1988700 h 2165917"/>
              <a:gd name="connsiteX6" fmla="*/ 1111568 w 1198834"/>
              <a:gd name="connsiteY6" fmla="*/ 2136673 h 2165917"/>
              <a:gd name="connsiteX7" fmla="*/ 1034132 w 1198834"/>
              <a:gd name="connsiteY7" fmla="*/ 2061719 h 2165917"/>
              <a:gd name="connsiteX8" fmla="*/ 1003019 w 1198834"/>
              <a:gd name="connsiteY8" fmla="*/ 2164550 h 2165917"/>
              <a:gd name="connsiteX9" fmla="*/ 891912 w 1198834"/>
              <a:gd name="connsiteY9" fmla="*/ 1713669 h 2165917"/>
              <a:gd name="connsiteX10" fmla="*/ 559043 w 1198834"/>
              <a:gd name="connsiteY10" fmla="*/ 1530712 h 2165917"/>
              <a:gd name="connsiteX11" fmla="*/ 522758 w 1198834"/>
              <a:gd name="connsiteY11" fmla="*/ 1681311 h 2165917"/>
              <a:gd name="connsiteX12" fmla="*/ 559042 w 1198834"/>
              <a:gd name="connsiteY12" fmla="*/ 1903027 h 2165917"/>
              <a:gd name="connsiteX13" fmla="*/ 490261 w 1198834"/>
              <a:gd name="connsiteY13" fmla="*/ 2114910 h 2165917"/>
              <a:gd name="connsiteX14" fmla="*/ 261192 w 1198834"/>
              <a:gd name="connsiteY14" fmla="*/ 1617091 h 2165917"/>
              <a:gd name="connsiteX15" fmla="*/ 192687 w 1198834"/>
              <a:gd name="connsiteY15" fmla="*/ 1173293 h 2165917"/>
              <a:gd name="connsiteX16" fmla="*/ 18038 w 1198834"/>
              <a:gd name="connsiteY16" fmla="*/ 801547 h 2165917"/>
              <a:gd name="connsiteX17" fmla="*/ 0 w 1198834"/>
              <a:gd name="connsiteY17" fmla="*/ 0 h 2165917"/>
              <a:gd name="connsiteX0" fmla="*/ 250021 w 1448855"/>
              <a:gd name="connsiteY0" fmla="*/ 0 h 2165917"/>
              <a:gd name="connsiteX1" fmla="*/ 836231 w 1448855"/>
              <a:gd name="connsiteY1" fmla="*/ 1032155 h 2165917"/>
              <a:gd name="connsiteX2" fmla="*/ 1047930 w 1448855"/>
              <a:gd name="connsiteY2" fmla="*/ 1186699 h 2165917"/>
              <a:gd name="connsiteX3" fmla="*/ 1357390 w 1448855"/>
              <a:gd name="connsiteY3" fmla="*/ 1558237 h 2165917"/>
              <a:gd name="connsiteX4" fmla="*/ 1444066 w 1448855"/>
              <a:gd name="connsiteY4" fmla="*/ 2026370 h 2165917"/>
              <a:gd name="connsiteX5" fmla="*/ 1374352 w 1448855"/>
              <a:gd name="connsiteY5" fmla="*/ 1988700 h 2165917"/>
              <a:gd name="connsiteX6" fmla="*/ 1361589 w 1448855"/>
              <a:gd name="connsiteY6" fmla="*/ 2136673 h 2165917"/>
              <a:gd name="connsiteX7" fmla="*/ 1284153 w 1448855"/>
              <a:gd name="connsiteY7" fmla="*/ 2061719 h 2165917"/>
              <a:gd name="connsiteX8" fmla="*/ 1253040 w 1448855"/>
              <a:gd name="connsiteY8" fmla="*/ 2164550 h 2165917"/>
              <a:gd name="connsiteX9" fmla="*/ 1141933 w 1448855"/>
              <a:gd name="connsiteY9" fmla="*/ 1713669 h 2165917"/>
              <a:gd name="connsiteX10" fmla="*/ 809064 w 1448855"/>
              <a:gd name="connsiteY10" fmla="*/ 1530712 h 2165917"/>
              <a:gd name="connsiteX11" fmla="*/ 772779 w 1448855"/>
              <a:gd name="connsiteY11" fmla="*/ 1681311 h 2165917"/>
              <a:gd name="connsiteX12" fmla="*/ 809063 w 1448855"/>
              <a:gd name="connsiteY12" fmla="*/ 1903027 h 2165917"/>
              <a:gd name="connsiteX13" fmla="*/ 740282 w 1448855"/>
              <a:gd name="connsiteY13" fmla="*/ 2114910 h 2165917"/>
              <a:gd name="connsiteX14" fmla="*/ 511213 w 1448855"/>
              <a:gd name="connsiteY14" fmla="*/ 1617091 h 2165917"/>
              <a:gd name="connsiteX15" fmla="*/ 442708 w 1448855"/>
              <a:gd name="connsiteY15" fmla="*/ 1173293 h 2165917"/>
              <a:gd name="connsiteX16" fmla="*/ 0 w 1448855"/>
              <a:gd name="connsiteY16" fmla="*/ 757085 h 2165917"/>
              <a:gd name="connsiteX17" fmla="*/ 250021 w 1448855"/>
              <a:gd name="connsiteY17" fmla="*/ 0 h 2165917"/>
              <a:gd name="connsiteX0" fmla="*/ 250021 w 1448855"/>
              <a:gd name="connsiteY0" fmla="*/ 0 h 2165917"/>
              <a:gd name="connsiteX1" fmla="*/ 836231 w 1448855"/>
              <a:gd name="connsiteY1" fmla="*/ 1032155 h 2165917"/>
              <a:gd name="connsiteX2" fmla="*/ 1047930 w 1448855"/>
              <a:gd name="connsiteY2" fmla="*/ 1186699 h 2165917"/>
              <a:gd name="connsiteX3" fmla="*/ 1357390 w 1448855"/>
              <a:gd name="connsiteY3" fmla="*/ 1558237 h 2165917"/>
              <a:gd name="connsiteX4" fmla="*/ 1444066 w 1448855"/>
              <a:gd name="connsiteY4" fmla="*/ 2026370 h 2165917"/>
              <a:gd name="connsiteX5" fmla="*/ 1374352 w 1448855"/>
              <a:gd name="connsiteY5" fmla="*/ 1988700 h 2165917"/>
              <a:gd name="connsiteX6" fmla="*/ 1361589 w 1448855"/>
              <a:gd name="connsiteY6" fmla="*/ 2136673 h 2165917"/>
              <a:gd name="connsiteX7" fmla="*/ 1284153 w 1448855"/>
              <a:gd name="connsiteY7" fmla="*/ 2061719 h 2165917"/>
              <a:gd name="connsiteX8" fmla="*/ 1253040 w 1448855"/>
              <a:gd name="connsiteY8" fmla="*/ 2164550 h 2165917"/>
              <a:gd name="connsiteX9" fmla="*/ 1141933 w 1448855"/>
              <a:gd name="connsiteY9" fmla="*/ 1713669 h 2165917"/>
              <a:gd name="connsiteX10" fmla="*/ 809064 w 1448855"/>
              <a:gd name="connsiteY10" fmla="*/ 1530712 h 2165917"/>
              <a:gd name="connsiteX11" fmla="*/ 772779 w 1448855"/>
              <a:gd name="connsiteY11" fmla="*/ 1681311 h 2165917"/>
              <a:gd name="connsiteX12" fmla="*/ 809063 w 1448855"/>
              <a:gd name="connsiteY12" fmla="*/ 1903027 h 2165917"/>
              <a:gd name="connsiteX13" fmla="*/ 740282 w 1448855"/>
              <a:gd name="connsiteY13" fmla="*/ 2114910 h 2165917"/>
              <a:gd name="connsiteX14" fmla="*/ 511213 w 1448855"/>
              <a:gd name="connsiteY14" fmla="*/ 1617091 h 2165917"/>
              <a:gd name="connsiteX15" fmla="*/ 442708 w 1448855"/>
              <a:gd name="connsiteY15" fmla="*/ 1173293 h 2165917"/>
              <a:gd name="connsiteX16" fmla="*/ 0 w 1448855"/>
              <a:gd name="connsiteY16" fmla="*/ 757085 h 2165917"/>
              <a:gd name="connsiteX17" fmla="*/ 250021 w 1448855"/>
              <a:gd name="connsiteY17" fmla="*/ 0 h 2165917"/>
              <a:gd name="connsiteX0" fmla="*/ 109668 w 1448855"/>
              <a:gd name="connsiteY0" fmla="*/ 0 h 2382353"/>
              <a:gd name="connsiteX1" fmla="*/ 836231 w 1448855"/>
              <a:gd name="connsiteY1" fmla="*/ 1248591 h 2382353"/>
              <a:gd name="connsiteX2" fmla="*/ 1047930 w 1448855"/>
              <a:gd name="connsiteY2" fmla="*/ 1403135 h 2382353"/>
              <a:gd name="connsiteX3" fmla="*/ 1357390 w 1448855"/>
              <a:gd name="connsiteY3" fmla="*/ 1774673 h 2382353"/>
              <a:gd name="connsiteX4" fmla="*/ 1444066 w 1448855"/>
              <a:gd name="connsiteY4" fmla="*/ 2242806 h 2382353"/>
              <a:gd name="connsiteX5" fmla="*/ 1374352 w 1448855"/>
              <a:gd name="connsiteY5" fmla="*/ 2205136 h 2382353"/>
              <a:gd name="connsiteX6" fmla="*/ 1361589 w 1448855"/>
              <a:gd name="connsiteY6" fmla="*/ 2353109 h 2382353"/>
              <a:gd name="connsiteX7" fmla="*/ 1284153 w 1448855"/>
              <a:gd name="connsiteY7" fmla="*/ 2278155 h 2382353"/>
              <a:gd name="connsiteX8" fmla="*/ 1253040 w 1448855"/>
              <a:gd name="connsiteY8" fmla="*/ 2380986 h 2382353"/>
              <a:gd name="connsiteX9" fmla="*/ 1141933 w 1448855"/>
              <a:gd name="connsiteY9" fmla="*/ 1930105 h 2382353"/>
              <a:gd name="connsiteX10" fmla="*/ 809064 w 1448855"/>
              <a:gd name="connsiteY10" fmla="*/ 1747148 h 2382353"/>
              <a:gd name="connsiteX11" fmla="*/ 772779 w 1448855"/>
              <a:gd name="connsiteY11" fmla="*/ 1897747 h 2382353"/>
              <a:gd name="connsiteX12" fmla="*/ 809063 w 1448855"/>
              <a:gd name="connsiteY12" fmla="*/ 2119463 h 2382353"/>
              <a:gd name="connsiteX13" fmla="*/ 740282 w 1448855"/>
              <a:gd name="connsiteY13" fmla="*/ 2331346 h 2382353"/>
              <a:gd name="connsiteX14" fmla="*/ 511213 w 1448855"/>
              <a:gd name="connsiteY14" fmla="*/ 1833527 h 2382353"/>
              <a:gd name="connsiteX15" fmla="*/ 442708 w 1448855"/>
              <a:gd name="connsiteY15" fmla="*/ 1389729 h 2382353"/>
              <a:gd name="connsiteX16" fmla="*/ 0 w 1448855"/>
              <a:gd name="connsiteY16" fmla="*/ 973521 h 2382353"/>
              <a:gd name="connsiteX17" fmla="*/ 109668 w 1448855"/>
              <a:gd name="connsiteY17" fmla="*/ 0 h 2382353"/>
              <a:gd name="connsiteX0" fmla="*/ 243702 w 1582889"/>
              <a:gd name="connsiteY0" fmla="*/ 0 h 2382353"/>
              <a:gd name="connsiteX1" fmla="*/ 970265 w 1582889"/>
              <a:gd name="connsiteY1" fmla="*/ 1248591 h 2382353"/>
              <a:gd name="connsiteX2" fmla="*/ 1181964 w 1582889"/>
              <a:gd name="connsiteY2" fmla="*/ 1403135 h 2382353"/>
              <a:gd name="connsiteX3" fmla="*/ 1491424 w 1582889"/>
              <a:gd name="connsiteY3" fmla="*/ 1774673 h 2382353"/>
              <a:gd name="connsiteX4" fmla="*/ 1578100 w 1582889"/>
              <a:gd name="connsiteY4" fmla="*/ 2242806 h 2382353"/>
              <a:gd name="connsiteX5" fmla="*/ 1508386 w 1582889"/>
              <a:gd name="connsiteY5" fmla="*/ 2205136 h 2382353"/>
              <a:gd name="connsiteX6" fmla="*/ 1495623 w 1582889"/>
              <a:gd name="connsiteY6" fmla="*/ 2353109 h 2382353"/>
              <a:gd name="connsiteX7" fmla="*/ 1418187 w 1582889"/>
              <a:gd name="connsiteY7" fmla="*/ 2278155 h 2382353"/>
              <a:gd name="connsiteX8" fmla="*/ 1387074 w 1582889"/>
              <a:gd name="connsiteY8" fmla="*/ 2380986 h 2382353"/>
              <a:gd name="connsiteX9" fmla="*/ 1275967 w 1582889"/>
              <a:gd name="connsiteY9" fmla="*/ 1930105 h 2382353"/>
              <a:gd name="connsiteX10" fmla="*/ 943098 w 1582889"/>
              <a:gd name="connsiteY10" fmla="*/ 1747148 h 2382353"/>
              <a:gd name="connsiteX11" fmla="*/ 906813 w 1582889"/>
              <a:gd name="connsiteY11" fmla="*/ 1897747 h 2382353"/>
              <a:gd name="connsiteX12" fmla="*/ 943097 w 1582889"/>
              <a:gd name="connsiteY12" fmla="*/ 2119463 h 2382353"/>
              <a:gd name="connsiteX13" fmla="*/ 874316 w 1582889"/>
              <a:gd name="connsiteY13" fmla="*/ 2331346 h 2382353"/>
              <a:gd name="connsiteX14" fmla="*/ 645247 w 1582889"/>
              <a:gd name="connsiteY14" fmla="*/ 1833527 h 2382353"/>
              <a:gd name="connsiteX15" fmla="*/ 576742 w 1582889"/>
              <a:gd name="connsiteY15" fmla="*/ 1389729 h 2382353"/>
              <a:gd name="connsiteX16" fmla="*/ 0 w 1582889"/>
              <a:gd name="connsiteY16" fmla="*/ 828153 h 2382353"/>
              <a:gd name="connsiteX17" fmla="*/ 243702 w 1582889"/>
              <a:gd name="connsiteY17" fmla="*/ 0 h 2382353"/>
              <a:gd name="connsiteX0" fmla="*/ 299308 w 1582889"/>
              <a:gd name="connsiteY0" fmla="*/ 0 h 2239083"/>
              <a:gd name="connsiteX1" fmla="*/ 970265 w 1582889"/>
              <a:gd name="connsiteY1" fmla="*/ 1105321 h 2239083"/>
              <a:gd name="connsiteX2" fmla="*/ 1181964 w 1582889"/>
              <a:gd name="connsiteY2" fmla="*/ 1259865 h 2239083"/>
              <a:gd name="connsiteX3" fmla="*/ 1491424 w 1582889"/>
              <a:gd name="connsiteY3" fmla="*/ 1631403 h 2239083"/>
              <a:gd name="connsiteX4" fmla="*/ 1578100 w 1582889"/>
              <a:gd name="connsiteY4" fmla="*/ 2099536 h 2239083"/>
              <a:gd name="connsiteX5" fmla="*/ 1508386 w 1582889"/>
              <a:gd name="connsiteY5" fmla="*/ 2061866 h 2239083"/>
              <a:gd name="connsiteX6" fmla="*/ 1495623 w 1582889"/>
              <a:gd name="connsiteY6" fmla="*/ 2209839 h 2239083"/>
              <a:gd name="connsiteX7" fmla="*/ 1418187 w 1582889"/>
              <a:gd name="connsiteY7" fmla="*/ 2134885 h 2239083"/>
              <a:gd name="connsiteX8" fmla="*/ 1387074 w 1582889"/>
              <a:gd name="connsiteY8" fmla="*/ 2237716 h 2239083"/>
              <a:gd name="connsiteX9" fmla="*/ 1275967 w 1582889"/>
              <a:gd name="connsiteY9" fmla="*/ 1786835 h 2239083"/>
              <a:gd name="connsiteX10" fmla="*/ 943098 w 1582889"/>
              <a:gd name="connsiteY10" fmla="*/ 1603878 h 2239083"/>
              <a:gd name="connsiteX11" fmla="*/ 906813 w 1582889"/>
              <a:gd name="connsiteY11" fmla="*/ 1754477 h 2239083"/>
              <a:gd name="connsiteX12" fmla="*/ 943097 w 1582889"/>
              <a:gd name="connsiteY12" fmla="*/ 1976193 h 2239083"/>
              <a:gd name="connsiteX13" fmla="*/ 874316 w 1582889"/>
              <a:gd name="connsiteY13" fmla="*/ 2188076 h 2239083"/>
              <a:gd name="connsiteX14" fmla="*/ 645247 w 1582889"/>
              <a:gd name="connsiteY14" fmla="*/ 1690257 h 2239083"/>
              <a:gd name="connsiteX15" fmla="*/ 576742 w 1582889"/>
              <a:gd name="connsiteY15" fmla="*/ 1246459 h 2239083"/>
              <a:gd name="connsiteX16" fmla="*/ 0 w 1582889"/>
              <a:gd name="connsiteY16" fmla="*/ 684883 h 2239083"/>
              <a:gd name="connsiteX17" fmla="*/ 299308 w 1582889"/>
              <a:gd name="connsiteY17" fmla="*/ 0 h 2239083"/>
              <a:gd name="connsiteX0" fmla="*/ 299308 w 1582889"/>
              <a:gd name="connsiteY0" fmla="*/ 0 h 2239083"/>
              <a:gd name="connsiteX1" fmla="*/ 970265 w 1582889"/>
              <a:gd name="connsiteY1" fmla="*/ 1105321 h 2239083"/>
              <a:gd name="connsiteX2" fmla="*/ 1181964 w 1582889"/>
              <a:gd name="connsiteY2" fmla="*/ 1259865 h 2239083"/>
              <a:gd name="connsiteX3" fmla="*/ 1491424 w 1582889"/>
              <a:gd name="connsiteY3" fmla="*/ 1631403 h 2239083"/>
              <a:gd name="connsiteX4" fmla="*/ 1578100 w 1582889"/>
              <a:gd name="connsiteY4" fmla="*/ 2099536 h 2239083"/>
              <a:gd name="connsiteX5" fmla="*/ 1508386 w 1582889"/>
              <a:gd name="connsiteY5" fmla="*/ 2061866 h 2239083"/>
              <a:gd name="connsiteX6" fmla="*/ 1495623 w 1582889"/>
              <a:gd name="connsiteY6" fmla="*/ 2209839 h 2239083"/>
              <a:gd name="connsiteX7" fmla="*/ 1418187 w 1582889"/>
              <a:gd name="connsiteY7" fmla="*/ 2134885 h 2239083"/>
              <a:gd name="connsiteX8" fmla="*/ 1387074 w 1582889"/>
              <a:gd name="connsiteY8" fmla="*/ 2237716 h 2239083"/>
              <a:gd name="connsiteX9" fmla="*/ 1275967 w 1582889"/>
              <a:gd name="connsiteY9" fmla="*/ 1786835 h 2239083"/>
              <a:gd name="connsiteX10" fmla="*/ 943098 w 1582889"/>
              <a:gd name="connsiteY10" fmla="*/ 1603878 h 2239083"/>
              <a:gd name="connsiteX11" fmla="*/ 906813 w 1582889"/>
              <a:gd name="connsiteY11" fmla="*/ 1754477 h 2239083"/>
              <a:gd name="connsiteX12" fmla="*/ 943097 w 1582889"/>
              <a:gd name="connsiteY12" fmla="*/ 1976193 h 2239083"/>
              <a:gd name="connsiteX13" fmla="*/ 874316 w 1582889"/>
              <a:gd name="connsiteY13" fmla="*/ 2188076 h 2239083"/>
              <a:gd name="connsiteX14" fmla="*/ 645247 w 1582889"/>
              <a:gd name="connsiteY14" fmla="*/ 1690257 h 2239083"/>
              <a:gd name="connsiteX15" fmla="*/ 576742 w 1582889"/>
              <a:gd name="connsiteY15" fmla="*/ 1246459 h 2239083"/>
              <a:gd name="connsiteX16" fmla="*/ 0 w 1582889"/>
              <a:gd name="connsiteY16" fmla="*/ 684883 h 2239083"/>
              <a:gd name="connsiteX17" fmla="*/ 299308 w 1582889"/>
              <a:gd name="connsiteY17" fmla="*/ 0 h 2239083"/>
              <a:gd name="connsiteX0" fmla="*/ 299308 w 1582889"/>
              <a:gd name="connsiteY0" fmla="*/ 0 h 2239083"/>
              <a:gd name="connsiteX1" fmla="*/ 970265 w 1582889"/>
              <a:gd name="connsiteY1" fmla="*/ 1105321 h 2239083"/>
              <a:gd name="connsiteX2" fmla="*/ 1181964 w 1582889"/>
              <a:gd name="connsiteY2" fmla="*/ 1259865 h 2239083"/>
              <a:gd name="connsiteX3" fmla="*/ 1491424 w 1582889"/>
              <a:gd name="connsiteY3" fmla="*/ 1631403 h 2239083"/>
              <a:gd name="connsiteX4" fmla="*/ 1578100 w 1582889"/>
              <a:gd name="connsiteY4" fmla="*/ 2099536 h 2239083"/>
              <a:gd name="connsiteX5" fmla="*/ 1508386 w 1582889"/>
              <a:gd name="connsiteY5" fmla="*/ 2061866 h 2239083"/>
              <a:gd name="connsiteX6" fmla="*/ 1495623 w 1582889"/>
              <a:gd name="connsiteY6" fmla="*/ 2209839 h 2239083"/>
              <a:gd name="connsiteX7" fmla="*/ 1418187 w 1582889"/>
              <a:gd name="connsiteY7" fmla="*/ 2134885 h 2239083"/>
              <a:gd name="connsiteX8" fmla="*/ 1387074 w 1582889"/>
              <a:gd name="connsiteY8" fmla="*/ 2237716 h 2239083"/>
              <a:gd name="connsiteX9" fmla="*/ 1275967 w 1582889"/>
              <a:gd name="connsiteY9" fmla="*/ 1786835 h 2239083"/>
              <a:gd name="connsiteX10" fmla="*/ 943098 w 1582889"/>
              <a:gd name="connsiteY10" fmla="*/ 1603878 h 2239083"/>
              <a:gd name="connsiteX11" fmla="*/ 906813 w 1582889"/>
              <a:gd name="connsiteY11" fmla="*/ 1754477 h 2239083"/>
              <a:gd name="connsiteX12" fmla="*/ 943097 w 1582889"/>
              <a:gd name="connsiteY12" fmla="*/ 1976193 h 2239083"/>
              <a:gd name="connsiteX13" fmla="*/ 874316 w 1582889"/>
              <a:gd name="connsiteY13" fmla="*/ 2188076 h 2239083"/>
              <a:gd name="connsiteX14" fmla="*/ 645247 w 1582889"/>
              <a:gd name="connsiteY14" fmla="*/ 1690257 h 2239083"/>
              <a:gd name="connsiteX15" fmla="*/ 576742 w 1582889"/>
              <a:gd name="connsiteY15" fmla="*/ 1246459 h 2239083"/>
              <a:gd name="connsiteX16" fmla="*/ 0 w 1582889"/>
              <a:gd name="connsiteY16" fmla="*/ 684883 h 2239083"/>
              <a:gd name="connsiteX17" fmla="*/ 299308 w 1582889"/>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951064 w 1590856"/>
              <a:gd name="connsiteY12" fmla="*/ 1976193 h 2239083"/>
              <a:gd name="connsiteX13" fmla="*/ 882283 w 1590856"/>
              <a:gd name="connsiteY13" fmla="*/ 2188076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37707 w 1590856"/>
              <a:gd name="connsiteY12" fmla="*/ 1952075 h 2239083"/>
              <a:gd name="connsiteX13" fmla="*/ 882283 w 1590856"/>
              <a:gd name="connsiteY13" fmla="*/ 2188076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37707 w 1590856"/>
              <a:gd name="connsiteY12" fmla="*/ 1952075 h 2239083"/>
              <a:gd name="connsiteX13" fmla="*/ 882283 w 1590856"/>
              <a:gd name="connsiteY13" fmla="*/ 2188076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37707 w 1590856"/>
              <a:gd name="connsiteY12" fmla="*/ 1952075 h 2239083"/>
              <a:gd name="connsiteX13" fmla="*/ 1012460 w 1590856"/>
              <a:gd name="connsiteY13" fmla="*/ 2176948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37707 w 1590856"/>
              <a:gd name="connsiteY12" fmla="*/ 1952075 h 2239083"/>
              <a:gd name="connsiteX13" fmla="*/ 1055852 w 1590856"/>
              <a:gd name="connsiteY13" fmla="*/ 2173239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37707 w 1590856"/>
              <a:gd name="connsiteY12" fmla="*/ 1952075 h 2239083"/>
              <a:gd name="connsiteX13" fmla="*/ 1055852 w 1590856"/>
              <a:gd name="connsiteY13" fmla="*/ 2173239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 name="connsiteX0" fmla="*/ 307275 w 1590856"/>
              <a:gd name="connsiteY0" fmla="*/ 0 h 2239083"/>
              <a:gd name="connsiteX1" fmla="*/ 978232 w 1590856"/>
              <a:gd name="connsiteY1" fmla="*/ 1105321 h 2239083"/>
              <a:gd name="connsiteX2" fmla="*/ 1189931 w 1590856"/>
              <a:gd name="connsiteY2" fmla="*/ 1259865 h 2239083"/>
              <a:gd name="connsiteX3" fmla="*/ 1499391 w 1590856"/>
              <a:gd name="connsiteY3" fmla="*/ 1631403 h 2239083"/>
              <a:gd name="connsiteX4" fmla="*/ 1586067 w 1590856"/>
              <a:gd name="connsiteY4" fmla="*/ 2099536 h 2239083"/>
              <a:gd name="connsiteX5" fmla="*/ 1516353 w 1590856"/>
              <a:gd name="connsiteY5" fmla="*/ 2061866 h 2239083"/>
              <a:gd name="connsiteX6" fmla="*/ 1503590 w 1590856"/>
              <a:gd name="connsiteY6" fmla="*/ 2209839 h 2239083"/>
              <a:gd name="connsiteX7" fmla="*/ 1426154 w 1590856"/>
              <a:gd name="connsiteY7" fmla="*/ 2134885 h 2239083"/>
              <a:gd name="connsiteX8" fmla="*/ 1395041 w 1590856"/>
              <a:gd name="connsiteY8" fmla="*/ 2237716 h 2239083"/>
              <a:gd name="connsiteX9" fmla="*/ 1283934 w 1590856"/>
              <a:gd name="connsiteY9" fmla="*/ 1786835 h 2239083"/>
              <a:gd name="connsiteX10" fmla="*/ 951065 w 1590856"/>
              <a:gd name="connsiteY10" fmla="*/ 1603878 h 2239083"/>
              <a:gd name="connsiteX11" fmla="*/ 914780 w 1590856"/>
              <a:gd name="connsiteY11" fmla="*/ 1754477 h 2239083"/>
              <a:gd name="connsiteX12" fmla="*/ 1064541 w 1590856"/>
              <a:gd name="connsiteY12" fmla="*/ 1965208 h 2239083"/>
              <a:gd name="connsiteX13" fmla="*/ 1055852 w 1590856"/>
              <a:gd name="connsiteY13" fmla="*/ 2173239 h 2239083"/>
              <a:gd name="connsiteX14" fmla="*/ 653214 w 1590856"/>
              <a:gd name="connsiteY14" fmla="*/ 1690257 h 2239083"/>
              <a:gd name="connsiteX15" fmla="*/ 584709 w 1590856"/>
              <a:gd name="connsiteY15" fmla="*/ 1246459 h 2239083"/>
              <a:gd name="connsiteX16" fmla="*/ 0 w 1590856"/>
              <a:gd name="connsiteY16" fmla="*/ 661642 h 2239083"/>
              <a:gd name="connsiteX17" fmla="*/ 307275 w 1590856"/>
              <a:gd name="connsiteY17" fmla="*/ 0 h 223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0856" h="2239083">
                <a:moveTo>
                  <a:pt x="307275" y="0"/>
                </a:moveTo>
                <a:cubicBezTo>
                  <a:pt x="502678" y="344052"/>
                  <a:pt x="782829" y="761269"/>
                  <a:pt x="978232" y="1105321"/>
                </a:cubicBezTo>
                <a:cubicBezTo>
                  <a:pt x="1050784" y="1151871"/>
                  <a:pt x="1075679" y="1171616"/>
                  <a:pt x="1189931" y="1259865"/>
                </a:cubicBezTo>
                <a:cubicBezTo>
                  <a:pt x="1276791" y="1347545"/>
                  <a:pt x="1433368" y="1491458"/>
                  <a:pt x="1499391" y="1631403"/>
                </a:cubicBezTo>
                <a:cubicBezTo>
                  <a:pt x="1532680" y="1799583"/>
                  <a:pt x="1610904" y="2065528"/>
                  <a:pt x="1586067" y="2099536"/>
                </a:cubicBezTo>
                <a:cubicBezTo>
                  <a:pt x="1574411" y="2111598"/>
                  <a:pt x="1547789" y="2095305"/>
                  <a:pt x="1516353" y="2061866"/>
                </a:cubicBezTo>
                <a:cubicBezTo>
                  <a:pt x="1518793" y="2138446"/>
                  <a:pt x="1516808" y="2197273"/>
                  <a:pt x="1503590" y="2209839"/>
                </a:cubicBezTo>
                <a:cubicBezTo>
                  <a:pt x="1487193" y="2221609"/>
                  <a:pt x="1456822" y="2189107"/>
                  <a:pt x="1426154" y="2134885"/>
                </a:cubicBezTo>
                <a:cubicBezTo>
                  <a:pt x="1417371" y="2189998"/>
                  <a:pt x="1407308" y="2229461"/>
                  <a:pt x="1395041" y="2237716"/>
                </a:cubicBezTo>
                <a:cubicBezTo>
                  <a:pt x="1347085" y="2261168"/>
                  <a:pt x="1281256" y="1977835"/>
                  <a:pt x="1283934" y="1786835"/>
                </a:cubicBezTo>
                <a:cubicBezTo>
                  <a:pt x="1209938" y="1641978"/>
                  <a:pt x="1013493" y="1604585"/>
                  <a:pt x="951065" y="1603878"/>
                </a:cubicBezTo>
                <a:cubicBezTo>
                  <a:pt x="890036" y="1615363"/>
                  <a:pt x="907830" y="1681504"/>
                  <a:pt x="914780" y="1754477"/>
                </a:cubicBezTo>
                <a:cubicBezTo>
                  <a:pt x="931157" y="1837897"/>
                  <a:pt x="1007725" y="1881210"/>
                  <a:pt x="1064541" y="1965208"/>
                </a:cubicBezTo>
                <a:cubicBezTo>
                  <a:pt x="1131741" y="2103968"/>
                  <a:pt x="1144235" y="2163803"/>
                  <a:pt x="1055852" y="2173239"/>
                </a:cubicBezTo>
                <a:cubicBezTo>
                  <a:pt x="1022185" y="2172465"/>
                  <a:pt x="790636" y="1931959"/>
                  <a:pt x="653214" y="1690257"/>
                </a:cubicBezTo>
                <a:cubicBezTo>
                  <a:pt x="585608" y="1542283"/>
                  <a:pt x="610343" y="1388340"/>
                  <a:pt x="584709" y="1246459"/>
                </a:cubicBezTo>
                <a:cubicBezTo>
                  <a:pt x="550141" y="1110536"/>
                  <a:pt x="169384" y="782819"/>
                  <a:pt x="0" y="661642"/>
                </a:cubicBezTo>
                <a:cubicBezTo>
                  <a:pt x="112443" y="400867"/>
                  <a:pt x="198981" y="291821"/>
                  <a:pt x="307275"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grpSp>
        <p:nvGrpSpPr>
          <p:cNvPr id="75" name="그룹 135">
            <a:extLst>
              <a:ext uri="{FF2B5EF4-FFF2-40B4-BE49-F238E27FC236}">
                <a16:creationId xmlns:a16="http://schemas.microsoft.com/office/drawing/2014/main" id="{617D47A2-458D-3446-864E-F35F9C8FF003}"/>
              </a:ext>
            </a:extLst>
          </p:cNvPr>
          <p:cNvGrpSpPr/>
          <p:nvPr/>
        </p:nvGrpSpPr>
        <p:grpSpPr>
          <a:xfrm>
            <a:off x="2202082" y="4364870"/>
            <a:ext cx="293525" cy="293525"/>
            <a:chOff x="2460435" y="1380960"/>
            <a:chExt cx="914400" cy="914400"/>
          </a:xfrm>
          <a:solidFill>
            <a:schemeClr val="accent3"/>
          </a:solidFill>
        </p:grpSpPr>
        <p:sp>
          <p:nvSpPr>
            <p:cNvPr id="76" name="타원 136">
              <a:extLst>
                <a:ext uri="{FF2B5EF4-FFF2-40B4-BE49-F238E27FC236}">
                  <a16:creationId xmlns:a16="http://schemas.microsoft.com/office/drawing/2014/main" id="{975094AD-22DF-014A-9377-A1EB4F0CB1FD}"/>
                </a:ext>
              </a:extLst>
            </p:cNvPr>
            <p:cNvSpPr/>
            <p:nvPr/>
          </p:nvSpPr>
          <p:spPr>
            <a:xfrm>
              <a:off x="2460435" y="138096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7" name="타원 137">
              <a:extLst>
                <a:ext uri="{FF2B5EF4-FFF2-40B4-BE49-F238E27FC236}">
                  <a16:creationId xmlns:a16="http://schemas.microsoft.com/office/drawing/2014/main" id="{CFC4C5AC-40C3-A54D-A741-FAE95B225BCC}"/>
                </a:ext>
              </a:extLst>
            </p:cNvPr>
            <p:cNvSpPr/>
            <p:nvPr/>
          </p:nvSpPr>
          <p:spPr>
            <a:xfrm>
              <a:off x="2528509" y="1449034"/>
              <a:ext cx="778251" cy="778251"/>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8" name="Block Arc 11">
              <a:extLst>
                <a:ext uri="{FF2B5EF4-FFF2-40B4-BE49-F238E27FC236}">
                  <a16:creationId xmlns:a16="http://schemas.microsoft.com/office/drawing/2014/main" id="{FC698A32-EF41-864D-BE94-C25F25390064}"/>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pic>
        <p:nvPicPr>
          <p:cNvPr id="79" name="Picture 5">
            <a:extLst>
              <a:ext uri="{FF2B5EF4-FFF2-40B4-BE49-F238E27FC236}">
                <a16:creationId xmlns:a16="http://schemas.microsoft.com/office/drawing/2014/main" id="{63BC04B8-423C-FA47-B771-4657C68D5E10}"/>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2424203" y="2496990"/>
            <a:ext cx="2213201" cy="1432071"/>
          </a:xfrm>
          <a:prstGeom prst="rect">
            <a:avLst/>
          </a:prstGeom>
        </p:spPr>
      </p:pic>
    </p:spTree>
    <p:extLst>
      <p:ext uri="{BB962C8B-B14F-4D97-AF65-F5344CB8AC3E}">
        <p14:creationId xmlns:p14="http://schemas.microsoft.com/office/powerpoint/2010/main" val="3399240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D6F4F2-6124-2F43-8F38-23BD87A2CCC5}"/>
              </a:ext>
            </a:extLst>
          </p:cNvPr>
          <p:cNvSpPr>
            <a:spLocks noGrp="1"/>
          </p:cNvSpPr>
          <p:nvPr>
            <p:ph type="sldNum" sz="quarter" idx="4"/>
          </p:nvPr>
        </p:nvSpPr>
        <p:spPr/>
        <p:txBody>
          <a:bodyPr/>
          <a:lstStyle/>
          <a:p>
            <a:fld id="{3D966009-6E5A-4F8C-8CA7-E37AFBF5FB92}" type="slidenum">
              <a:rPr lang="en-US" smtClean="0"/>
              <a:t>97</a:t>
            </a:fld>
            <a:endParaRPr lang="en-US"/>
          </a:p>
        </p:txBody>
      </p:sp>
      <p:sp>
        <p:nvSpPr>
          <p:cNvPr id="3" name="Title 2">
            <a:extLst>
              <a:ext uri="{FF2B5EF4-FFF2-40B4-BE49-F238E27FC236}">
                <a16:creationId xmlns:a16="http://schemas.microsoft.com/office/drawing/2014/main" id="{07706BC9-1B9B-4144-8F18-1E3055206804}"/>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B88B7950-23AC-2546-B704-A5DEA49A2438}"/>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AF66BC2B-E265-7347-A10D-D79A61C042C7}"/>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B13CBAC4-D1A0-5C42-B617-83BCDE341DFE}"/>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75AC9733-BE9A-9F4E-B76E-0491DE908E4B}"/>
              </a:ext>
            </a:extLst>
          </p:cNvPr>
          <p:cNvSpPr>
            <a:spLocks noGrp="1"/>
          </p:cNvSpPr>
          <p:nvPr>
            <p:ph sz="quarter" idx="14"/>
          </p:nvPr>
        </p:nvSpPr>
        <p:spPr/>
        <p:txBody>
          <a:bodyPr/>
          <a:lstStyle/>
          <a:p>
            <a:endParaRPr lang="en-GB"/>
          </a:p>
        </p:txBody>
      </p:sp>
      <p:sp>
        <p:nvSpPr>
          <p:cNvPr id="67" name="Content Placeholder 3">
            <a:extLst>
              <a:ext uri="{FF2B5EF4-FFF2-40B4-BE49-F238E27FC236}">
                <a16:creationId xmlns:a16="http://schemas.microsoft.com/office/drawing/2014/main" id="{68FC5CB6-9BDE-734E-BDF4-1132F518E2BF}"/>
              </a:ext>
            </a:extLst>
          </p:cNvPr>
          <p:cNvSpPr txBox="1">
            <a:spLocks/>
          </p:cNvSpPr>
          <p:nvPr/>
        </p:nvSpPr>
        <p:spPr>
          <a:xfrm>
            <a:off x="791023" y="2212835"/>
            <a:ext cx="2376618" cy="401952"/>
          </a:xfrm>
          <a:prstGeom prst="rect">
            <a:avLst/>
          </a:prstGeom>
          <a:ln>
            <a:noFill/>
          </a:ln>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altLang="ko-KR" sz="2400" b="1">
                <a:cs typeface="Arial" pitchFamily="34" charset="0"/>
              </a:rPr>
              <a:t>Content Here</a:t>
            </a:r>
            <a:endParaRPr lang="ko-KR" altLang="en-US" sz="2400" b="1">
              <a:cs typeface="Arial" pitchFamily="34" charset="0"/>
            </a:endParaRPr>
          </a:p>
        </p:txBody>
      </p:sp>
      <p:grpSp>
        <p:nvGrpSpPr>
          <p:cNvPr id="69" name="그룹 13">
            <a:extLst>
              <a:ext uri="{FF2B5EF4-FFF2-40B4-BE49-F238E27FC236}">
                <a16:creationId xmlns:a16="http://schemas.microsoft.com/office/drawing/2014/main" id="{4CE34435-97F9-524F-8208-9ECF9B8E4A90}"/>
              </a:ext>
            </a:extLst>
          </p:cNvPr>
          <p:cNvGrpSpPr/>
          <p:nvPr/>
        </p:nvGrpSpPr>
        <p:grpSpPr>
          <a:xfrm>
            <a:off x="6174009" y="2430334"/>
            <a:ext cx="1145945" cy="1726055"/>
            <a:chOff x="6150565" y="3254095"/>
            <a:chExt cx="979312" cy="1475068"/>
          </a:xfrm>
        </p:grpSpPr>
        <p:sp>
          <p:nvSpPr>
            <p:cNvPr id="70" name="자유형: 도형 14">
              <a:extLst>
                <a:ext uri="{FF2B5EF4-FFF2-40B4-BE49-F238E27FC236}">
                  <a16:creationId xmlns:a16="http://schemas.microsoft.com/office/drawing/2014/main" id="{E9EF8917-BDE4-904F-93C9-99B8E9611307}"/>
                </a:ext>
              </a:extLst>
            </p:cNvPr>
            <p:cNvSpPr/>
            <p:nvPr/>
          </p:nvSpPr>
          <p:spPr>
            <a:xfrm>
              <a:off x="6154072" y="3254095"/>
              <a:ext cx="734589" cy="517434"/>
            </a:xfrm>
            <a:custGeom>
              <a:avLst/>
              <a:gdLst>
                <a:gd name="connsiteX0" fmla="*/ 182319 w 931229"/>
                <a:gd name="connsiteY0" fmla="*/ 476834 h 617079"/>
                <a:gd name="connsiteX1" fmla="*/ 423541 w 931229"/>
                <a:gd name="connsiteY1" fmla="*/ 339394 h 617079"/>
                <a:gd name="connsiteX2" fmla="*/ 516103 w 931229"/>
                <a:gd name="connsiteY2" fmla="*/ 617079 h 617079"/>
                <a:gd name="connsiteX3" fmla="*/ 0 w 931229"/>
                <a:gd name="connsiteY3" fmla="*/ 448785 h 617079"/>
                <a:gd name="connsiteX4" fmla="*/ 274881 w 931229"/>
                <a:gd name="connsiteY4" fmla="*/ 0 h 617079"/>
                <a:gd name="connsiteX5" fmla="*/ 504883 w 931229"/>
                <a:gd name="connsiteY5" fmla="*/ 235612 h 617079"/>
                <a:gd name="connsiteX6" fmla="*/ 765740 w 931229"/>
                <a:gd name="connsiteY6" fmla="*/ 159879 h 617079"/>
                <a:gd name="connsiteX7" fmla="*/ 931229 w 931229"/>
                <a:gd name="connsiteY7" fmla="*/ 403906 h 617079"/>
                <a:gd name="connsiteX0" fmla="*/ 182319 w 931922"/>
                <a:gd name="connsiteY0" fmla="*/ 476834 h 617079"/>
                <a:gd name="connsiteX1" fmla="*/ 423541 w 931922"/>
                <a:gd name="connsiteY1" fmla="*/ 339394 h 617079"/>
                <a:gd name="connsiteX2" fmla="*/ 516103 w 931922"/>
                <a:gd name="connsiteY2" fmla="*/ 617079 h 617079"/>
                <a:gd name="connsiteX3" fmla="*/ 0 w 931922"/>
                <a:gd name="connsiteY3" fmla="*/ 448785 h 617079"/>
                <a:gd name="connsiteX4" fmla="*/ 274881 w 931922"/>
                <a:gd name="connsiteY4" fmla="*/ 0 h 617079"/>
                <a:gd name="connsiteX5" fmla="*/ 504883 w 931922"/>
                <a:gd name="connsiteY5" fmla="*/ 235612 h 617079"/>
                <a:gd name="connsiteX6" fmla="*/ 765740 w 931922"/>
                <a:gd name="connsiteY6" fmla="*/ 159879 h 617079"/>
                <a:gd name="connsiteX7" fmla="*/ 931229 w 931922"/>
                <a:gd name="connsiteY7" fmla="*/ 403906 h 617079"/>
                <a:gd name="connsiteX0" fmla="*/ 182319 w 931922"/>
                <a:gd name="connsiteY0" fmla="*/ 476834 h 617079"/>
                <a:gd name="connsiteX1" fmla="*/ 423541 w 931922"/>
                <a:gd name="connsiteY1" fmla="*/ 339394 h 617079"/>
                <a:gd name="connsiteX2" fmla="*/ 516103 w 931922"/>
                <a:gd name="connsiteY2" fmla="*/ 617079 h 617079"/>
                <a:gd name="connsiteX3" fmla="*/ 0 w 931922"/>
                <a:gd name="connsiteY3" fmla="*/ 448785 h 617079"/>
                <a:gd name="connsiteX4" fmla="*/ 274881 w 931922"/>
                <a:gd name="connsiteY4" fmla="*/ 0 h 617079"/>
                <a:gd name="connsiteX5" fmla="*/ 504883 w 931922"/>
                <a:gd name="connsiteY5" fmla="*/ 235612 h 617079"/>
                <a:gd name="connsiteX6" fmla="*/ 765740 w 931922"/>
                <a:gd name="connsiteY6" fmla="*/ 159879 h 617079"/>
                <a:gd name="connsiteX7" fmla="*/ 931229 w 931922"/>
                <a:gd name="connsiteY7" fmla="*/ 403906 h 617079"/>
                <a:gd name="connsiteX0" fmla="*/ 182319 w 931968"/>
                <a:gd name="connsiteY0" fmla="*/ 476834 h 617079"/>
                <a:gd name="connsiteX1" fmla="*/ 423541 w 931968"/>
                <a:gd name="connsiteY1" fmla="*/ 339394 h 617079"/>
                <a:gd name="connsiteX2" fmla="*/ 516103 w 931968"/>
                <a:gd name="connsiteY2" fmla="*/ 617079 h 617079"/>
                <a:gd name="connsiteX3" fmla="*/ 0 w 931968"/>
                <a:gd name="connsiteY3" fmla="*/ 448785 h 617079"/>
                <a:gd name="connsiteX4" fmla="*/ 274881 w 931968"/>
                <a:gd name="connsiteY4" fmla="*/ 0 h 617079"/>
                <a:gd name="connsiteX5" fmla="*/ 504883 w 931968"/>
                <a:gd name="connsiteY5" fmla="*/ 235612 h 617079"/>
                <a:gd name="connsiteX6" fmla="*/ 765740 w 931968"/>
                <a:gd name="connsiteY6" fmla="*/ 159879 h 617079"/>
                <a:gd name="connsiteX7" fmla="*/ 931229 w 93196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504883 w 932698"/>
                <a:gd name="connsiteY5" fmla="*/ 235612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504883 w 932698"/>
                <a:gd name="connsiteY5" fmla="*/ 235612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3062"/>
                <a:gd name="connsiteY0" fmla="*/ 476834 h 617079"/>
                <a:gd name="connsiteX1" fmla="*/ 423541 w 933062"/>
                <a:gd name="connsiteY1" fmla="*/ 339394 h 617079"/>
                <a:gd name="connsiteX2" fmla="*/ 516103 w 933062"/>
                <a:gd name="connsiteY2" fmla="*/ 617079 h 617079"/>
                <a:gd name="connsiteX3" fmla="*/ 0 w 933062"/>
                <a:gd name="connsiteY3" fmla="*/ 448785 h 617079"/>
                <a:gd name="connsiteX4" fmla="*/ 274881 w 933062"/>
                <a:gd name="connsiteY4" fmla="*/ 0 h 617079"/>
                <a:gd name="connsiteX5" fmla="*/ 477341 w 933062"/>
                <a:gd name="connsiteY5" fmla="*/ 243874 h 617079"/>
                <a:gd name="connsiteX6" fmla="*/ 765740 w 933062"/>
                <a:gd name="connsiteY6" fmla="*/ 159879 h 617079"/>
                <a:gd name="connsiteX7" fmla="*/ 931229 w 933062"/>
                <a:gd name="connsiteY7" fmla="*/ 403906 h 617079"/>
                <a:gd name="connsiteX0" fmla="*/ 182319 w 933062"/>
                <a:gd name="connsiteY0" fmla="*/ 476834 h 617079"/>
                <a:gd name="connsiteX1" fmla="*/ 423541 w 933062"/>
                <a:gd name="connsiteY1" fmla="*/ 339394 h 617079"/>
                <a:gd name="connsiteX2" fmla="*/ 516103 w 933062"/>
                <a:gd name="connsiteY2" fmla="*/ 617079 h 617079"/>
                <a:gd name="connsiteX3" fmla="*/ 0 w 933062"/>
                <a:gd name="connsiteY3" fmla="*/ 448785 h 617079"/>
                <a:gd name="connsiteX4" fmla="*/ 274881 w 933062"/>
                <a:gd name="connsiteY4" fmla="*/ 0 h 617079"/>
                <a:gd name="connsiteX5" fmla="*/ 477341 w 933062"/>
                <a:gd name="connsiteY5" fmla="*/ 243874 h 617079"/>
                <a:gd name="connsiteX6" fmla="*/ 765740 w 933062"/>
                <a:gd name="connsiteY6" fmla="*/ 159879 h 617079"/>
                <a:gd name="connsiteX7" fmla="*/ 931229 w 933062"/>
                <a:gd name="connsiteY7" fmla="*/ 403906 h 617079"/>
                <a:gd name="connsiteX0" fmla="*/ 182319 w 934161"/>
                <a:gd name="connsiteY0" fmla="*/ 476834 h 617079"/>
                <a:gd name="connsiteX1" fmla="*/ 423541 w 934161"/>
                <a:gd name="connsiteY1" fmla="*/ 339394 h 617079"/>
                <a:gd name="connsiteX2" fmla="*/ 516103 w 934161"/>
                <a:gd name="connsiteY2" fmla="*/ 617079 h 617079"/>
                <a:gd name="connsiteX3" fmla="*/ 0 w 934161"/>
                <a:gd name="connsiteY3" fmla="*/ 448785 h 617079"/>
                <a:gd name="connsiteX4" fmla="*/ 274881 w 934161"/>
                <a:gd name="connsiteY4" fmla="*/ 0 h 617079"/>
                <a:gd name="connsiteX5" fmla="*/ 477341 w 934161"/>
                <a:gd name="connsiteY5" fmla="*/ 243874 h 617079"/>
                <a:gd name="connsiteX6" fmla="*/ 787773 w 934161"/>
                <a:gd name="connsiteY6" fmla="*/ 162633 h 617079"/>
                <a:gd name="connsiteX7" fmla="*/ 931229 w 934161"/>
                <a:gd name="connsiteY7" fmla="*/ 403906 h 617079"/>
                <a:gd name="connsiteX0" fmla="*/ 182319 w 933800"/>
                <a:gd name="connsiteY0" fmla="*/ 476834 h 617079"/>
                <a:gd name="connsiteX1" fmla="*/ 423541 w 933800"/>
                <a:gd name="connsiteY1" fmla="*/ 339394 h 617079"/>
                <a:gd name="connsiteX2" fmla="*/ 516103 w 933800"/>
                <a:gd name="connsiteY2" fmla="*/ 617079 h 617079"/>
                <a:gd name="connsiteX3" fmla="*/ 0 w 933800"/>
                <a:gd name="connsiteY3" fmla="*/ 448785 h 617079"/>
                <a:gd name="connsiteX4" fmla="*/ 274881 w 933800"/>
                <a:gd name="connsiteY4" fmla="*/ 0 h 617079"/>
                <a:gd name="connsiteX5" fmla="*/ 477341 w 933800"/>
                <a:gd name="connsiteY5" fmla="*/ 243874 h 617079"/>
                <a:gd name="connsiteX6" fmla="*/ 782265 w 933800"/>
                <a:gd name="connsiteY6" fmla="*/ 143353 h 617079"/>
                <a:gd name="connsiteX7" fmla="*/ 931229 w 933800"/>
                <a:gd name="connsiteY7" fmla="*/ 403906 h 617079"/>
                <a:gd name="connsiteX0" fmla="*/ 182319 w 933800"/>
                <a:gd name="connsiteY0" fmla="*/ 476834 h 617079"/>
                <a:gd name="connsiteX1" fmla="*/ 423541 w 933800"/>
                <a:gd name="connsiteY1" fmla="*/ 339394 h 617079"/>
                <a:gd name="connsiteX2" fmla="*/ 516103 w 933800"/>
                <a:gd name="connsiteY2" fmla="*/ 617079 h 617079"/>
                <a:gd name="connsiteX3" fmla="*/ 0 w 933800"/>
                <a:gd name="connsiteY3" fmla="*/ 448785 h 617079"/>
                <a:gd name="connsiteX4" fmla="*/ 274881 w 933800"/>
                <a:gd name="connsiteY4" fmla="*/ 0 h 617079"/>
                <a:gd name="connsiteX5" fmla="*/ 477341 w 933800"/>
                <a:gd name="connsiteY5" fmla="*/ 243874 h 617079"/>
                <a:gd name="connsiteX6" fmla="*/ 782265 w 933800"/>
                <a:gd name="connsiteY6" fmla="*/ 143353 h 617079"/>
                <a:gd name="connsiteX7" fmla="*/ 931229 w 933800"/>
                <a:gd name="connsiteY7" fmla="*/ 403906 h 617079"/>
                <a:gd name="connsiteX0" fmla="*/ 182319 w 935016"/>
                <a:gd name="connsiteY0" fmla="*/ 476834 h 617079"/>
                <a:gd name="connsiteX1" fmla="*/ 423541 w 935016"/>
                <a:gd name="connsiteY1" fmla="*/ 339394 h 617079"/>
                <a:gd name="connsiteX2" fmla="*/ 516103 w 935016"/>
                <a:gd name="connsiteY2" fmla="*/ 617079 h 617079"/>
                <a:gd name="connsiteX3" fmla="*/ 0 w 935016"/>
                <a:gd name="connsiteY3" fmla="*/ 448785 h 617079"/>
                <a:gd name="connsiteX4" fmla="*/ 274881 w 935016"/>
                <a:gd name="connsiteY4" fmla="*/ 0 h 617079"/>
                <a:gd name="connsiteX5" fmla="*/ 477341 w 935016"/>
                <a:gd name="connsiteY5" fmla="*/ 243874 h 617079"/>
                <a:gd name="connsiteX6" fmla="*/ 782265 w 935016"/>
                <a:gd name="connsiteY6" fmla="*/ 143353 h 617079"/>
                <a:gd name="connsiteX7" fmla="*/ 931229 w 935016"/>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77341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8537 h 618782"/>
                <a:gd name="connsiteX1" fmla="*/ 423541 w 932773"/>
                <a:gd name="connsiteY1" fmla="*/ 341097 h 618782"/>
                <a:gd name="connsiteX2" fmla="*/ 516103 w 932773"/>
                <a:gd name="connsiteY2" fmla="*/ 618782 h 618782"/>
                <a:gd name="connsiteX3" fmla="*/ 0 w 932773"/>
                <a:gd name="connsiteY3" fmla="*/ 450488 h 618782"/>
                <a:gd name="connsiteX4" fmla="*/ 239076 w 932773"/>
                <a:gd name="connsiteY4" fmla="*/ 1703 h 618782"/>
                <a:gd name="connsiteX5" fmla="*/ 491112 w 932773"/>
                <a:gd name="connsiteY5" fmla="*/ 245577 h 618782"/>
                <a:gd name="connsiteX6" fmla="*/ 782265 w 932773"/>
                <a:gd name="connsiteY6" fmla="*/ 145056 h 618782"/>
                <a:gd name="connsiteX7" fmla="*/ 931229 w 932773"/>
                <a:gd name="connsiteY7" fmla="*/ 405609 h 618782"/>
                <a:gd name="connsiteX0" fmla="*/ 182319 w 932773"/>
                <a:gd name="connsiteY0" fmla="*/ 478537 h 618782"/>
                <a:gd name="connsiteX1" fmla="*/ 423541 w 932773"/>
                <a:gd name="connsiteY1" fmla="*/ 341097 h 618782"/>
                <a:gd name="connsiteX2" fmla="*/ 516103 w 932773"/>
                <a:gd name="connsiteY2" fmla="*/ 618782 h 618782"/>
                <a:gd name="connsiteX3" fmla="*/ 0 w 932773"/>
                <a:gd name="connsiteY3" fmla="*/ 450488 h 618782"/>
                <a:gd name="connsiteX4" fmla="*/ 239076 w 932773"/>
                <a:gd name="connsiteY4" fmla="*/ 1703 h 618782"/>
                <a:gd name="connsiteX5" fmla="*/ 491112 w 932773"/>
                <a:gd name="connsiteY5" fmla="*/ 245577 h 618782"/>
                <a:gd name="connsiteX6" fmla="*/ 782265 w 932773"/>
                <a:gd name="connsiteY6" fmla="*/ 145056 h 618782"/>
                <a:gd name="connsiteX7" fmla="*/ 931229 w 932773"/>
                <a:gd name="connsiteY7" fmla="*/ 405609 h 618782"/>
                <a:gd name="connsiteX0" fmla="*/ 160286 w 910740"/>
                <a:gd name="connsiteY0" fmla="*/ 478537 h 618782"/>
                <a:gd name="connsiteX1" fmla="*/ 401508 w 910740"/>
                <a:gd name="connsiteY1" fmla="*/ 341097 h 618782"/>
                <a:gd name="connsiteX2" fmla="*/ 494070 w 910740"/>
                <a:gd name="connsiteY2" fmla="*/ 618782 h 618782"/>
                <a:gd name="connsiteX3" fmla="*/ 0 w 910740"/>
                <a:gd name="connsiteY3" fmla="*/ 450488 h 618782"/>
                <a:gd name="connsiteX4" fmla="*/ 217043 w 910740"/>
                <a:gd name="connsiteY4" fmla="*/ 1703 h 618782"/>
                <a:gd name="connsiteX5" fmla="*/ 469079 w 910740"/>
                <a:gd name="connsiteY5" fmla="*/ 245577 h 618782"/>
                <a:gd name="connsiteX6" fmla="*/ 760232 w 910740"/>
                <a:gd name="connsiteY6" fmla="*/ 145056 h 618782"/>
                <a:gd name="connsiteX7" fmla="*/ 909196 w 910740"/>
                <a:gd name="connsiteY7" fmla="*/ 405609 h 618782"/>
                <a:gd name="connsiteX0" fmla="*/ 205095 w 955549"/>
                <a:gd name="connsiteY0" fmla="*/ 478537 h 618782"/>
                <a:gd name="connsiteX1" fmla="*/ 446317 w 955549"/>
                <a:gd name="connsiteY1" fmla="*/ 341097 h 618782"/>
                <a:gd name="connsiteX2" fmla="*/ 538879 w 955549"/>
                <a:gd name="connsiteY2" fmla="*/ 618782 h 618782"/>
                <a:gd name="connsiteX3" fmla="*/ 44809 w 955549"/>
                <a:gd name="connsiteY3" fmla="*/ 450488 h 618782"/>
                <a:gd name="connsiteX4" fmla="*/ 261852 w 955549"/>
                <a:gd name="connsiteY4" fmla="*/ 1703 h 618782"/>
                <a:gd name="connsiteX5" fmla="*/ 513888 w 955549"/>
                <a:gd name="connsiteY5" fmla="*/ 245577 h 618782"/>
                <a:gd name="connsiteX6" fmla="*/ 805041 w 955549"/>
                <a:gd name="connsiteY6" fmla="*/ 145056 h 618782"/>
                <a:gd name="connsiteX7" fmla="*/ 954005 w 955549"/>
                <a:gd name="connsiteY7" fmla="*/ 405609 h 618782"/>
                <a:gd name="connsiteX0" fmla="*/ 205095 w 955549"/>
                <a:gd name="connsiteY0" fmla="*/ 478537 h 618782"/>
                <a:gd name="connsiteX1" fmla="*/ 446317 w 955549"/>
                <a:gd name="connsiteY1" fmla="*/ 341097 h 618782"/>
                <a:gd name="connsiteX2" fmla="*/ 538879 w 955549"/>
                <a:gd name="connsiteY2" fmla="*/ 618782 h 618782"/>
                <a:gd name="connsiteX3" fmla="*/ 44809 w 955549"/>
                <a:gd name="connsiteY3" fmla="*/ 450488 h 618782"/>
                <a:gd name="connsiteX4" fmla="*/ 261852 w 955549"/>
                <a:gd name="connsiteY4" fmla="*/ 1703 h 618782"/>
                <a:gd name="connsiteX5" fmla="*/ 513888 w 955549"/>
                <a:gd name="connsiteY5" fmla="*/ 245577 h 618782"/>
                <a:gd name="connsiteX6" fmla="*/ 805041 w 955549"/>
                <a:gd name="connsiteY6" fmla="*/ 145056 h 618782"/>
                <a:gd name="connsiteX7" fmla="*/ 954005 w 955549"/>
                <a:gd name="connsiteY7" fmla="*/ 405609 h 618782"/>
                <a:gd name="connsiteX0" fmla="*/ 205095 w 955549"/>
                <a:gd name="connsiteY0" fmla="*/ 478537 h 607765"/>
                <a:gd name="connsiteX1" fmla="*/ 446317 w 955549"/>
                <a:gd name="connsiteY1" fmla="*/ 341097 h 607765"/>
                <a:gd name="connsiteX2" fmla="*/ 527862 w 955549"/>
                <a:gd name="connsiteY2" fmla="*/ 607765 h 607765"/>
                <a:gd name="connsiteX3" fmla="*/ 44809 w 955549"/>
                <a:gd name="connsiteY3" fmla="*/ 450488 h 607765"/>
                <a:gd name="connsiteX4" fmla="*/ 261852 w 955549"/>
                <a:gd name="connsiteY4" fmla="*/ 1703 h 607765"/>
                <a:gd name="connsiteX5" fmla="*/ 513888 w 955549"/>
                <a:gd name="connsiteY5" fmla="*/ 245577 h 607765"/>
                <a:gd name="connsiteX6" fmla="*/ 805041 w 955549"/>
                <a:gd name="connsiteY6" fmla="*/ 145056 h 607765"/>
                <a:gd name="connsiteX7" fmla="*/ 954005 w 955549"/>
                <a:gd name="connsiteY7" fmla="*/ 405609 h 607765"/>
                <a:gd name="connsiteX0" fmla="*/ 205095 w 955549"/>
                <a:gd name="connsiteY0" fmla="*/ 478537 h 664635"/>
                <a:gd name="connsiteX1" fmla="*/ 446317 w 955549"/>
                <a:gd name="connsiteY1" fmla="*/ 34109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46317 w 955549"/>
                <a:gd name="connsiteY1" fmla="*/ 34109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6793"/>
                <a:gd name="connsiteX1" fmla="*/ 396740 w 955549"/>
                <a:gd name="connsiteY1" fmla="*/ 327327 h 666793"/>
                <a:gd name="connsiteX2" fmla="*/ 478286 w 955549"/>
                <a:gd name="connsiteY2" fmla="*/ 610520 h 666793"/>
                <a:gd name="connsiteX3" fmla="*/ 44809 w 955549"/>
                <a:gd name="connsiteY3" fmla="*/ 450488 h 666793"/>
                <a:gd name="connsiteX4" fmla="*/ 261852 w 955549"/>
                <a:gd name="connsiteY4" fmla="*/ 1703 h 666793"/>
                <a:gd name="connsiteX5" fmla="*/ 513888 w 955549"/>
                <a:gd name="connsiteY5" fmla="*/ 245577 h 666793"/>
                <a:gd name="connsiteX6" fmla="*/ 805041 w 955549"/>
                <a:gd name="connsiteY6" fmla="*/ 145056 h 666793"/>
                <a:gd name="connsiteX7" fmla="*/ 954005 w 955549"/>
                <a:gd name="connsiteY7" fmla="*/ 405609 h 666793"/>
                <a:gd name="connsiteX0" fmla="*/ 221620 w 955549"/>
                <a:gd name="connsiteY0" fmla="*/ 500570 h 666793"/>
                <a:gd name="connsiteX1" fmla="*/ 396740 w 955549"/>
                <a:gd name="connsiteY1" fmla="*/ 327327 h 666793"/>
                <a:gd name="connsiteX2" fmla="*/ 478286 w 955549"/>
                <a:gd name="connsiteY2" fmla="*/ 610520 h 666793"/>
                <a:gd name="connsiteX3" fmla="*/ 44809 w 955549"/>
                <a:gd name="connsiteY3" fmla="*/ 450488 h 666793"/>
                <a:gd name="connsiteX4" fmla="*/ 261852 w 955549"/>
                <a:gd name="connsiteY4" fmla="*/ 1703 h 666793"/>
                <a:gd name="connsiteX5" fmla="*/ 513888 w 955549"/>
                <a:gd name="connsiteY5" fmla="*/ 245577 h 666793"/>
                <a:gd name="connsiteX6" fmla="*/ 805041 w 955549"/>
                <a:gd name="connsiteY6" fmla="*/ 145056 h 666793"/>
                <a:gd name="connsiteX7" fmla="*/ 954005 w 955549"/>
                <a:gd name="connsiteY7" fmla="*/ 405609 h 666793"/>
                <a:gd name="connsiteX0" fmla="*/ 228696 w 962625"/>
                <a:gd name="connsiteY0" fmla="*/ 500570 h 673975"/>
                <a:gd name="connsiteX1" fmla="*/ 403816 w 962625"/>
                <a:gd name="connsiteY1" fmla="*/ 327327 h 673975"/>
                <a:gd name="connsiteX2" fmla="*/ 485362 w 962625"/>
                <a:gd name="connsiteY2" fmla="*/ 610520 h 673975"/>
                <a:gd name="connsiteX3" fmla="*/ 43623 w 962625"/>
                <a:gd name="connsiteY3" fmla="*/ 480784 h 673975"/>
                <a:gd name="connsiteX4" fmla="*/ 268928 w 962625"/>
                <a:gd name="connsiteY4" fmla="*/ 1703 h 673975"/>
                <a:gd name="connsiteX5" fmla="*/ 520964 w 962625"/>
                <a:gd name="connsiteY5" fmla="*/ 245577 h 673975"/>
                <a:gd name="connsiteX6" fmla="*/ 812117 w 962625"/>
                <a:gd name="connsiteY6" fmla="*/ 145056 h 673975"/>
                <a:gd name="connsiteX7" fmla="*/ 961081 w 962625"/>
                <a:gd name="connsiteY7" fmla="*/ 405609 h 673975"/>
                <a:gd name="connsiteX0" fmla="*/ 238218 w 972147"/>
                <a:gd name="connsiteY0" fmla="*/ 500570 h 681004"/>
                <a:gd name="connsiteX1" fmla="*/ 413338 w 972147"/>
                <a:gd name="connsiteY1" fmla="*/ 327327 h 681004"/>
                <a:gd name="connsiteX2" fmla="*/ 494884 w 972147"/>
                <a:gd name="connsiteY2" fmla="*/ 610520 h 681004"/>
                <a:gd name="connsiteX3" fmla="*/ 42128 w 972147"/>
                <a:gd name="connsiteY3" fmla="*/ 505572 h 681004"/>
                <a:gd name="connsiteX4" fmla="*/ 278450 w 972147"/>
                <a:gd name="connsiteY4" fmla="*/ 1703 h 681004"/>
                <a:gd name="connsiteX5" fmla="*/ 530486 w 972147"/>
                <a:gd name="connsiteY5" fmla="*/ 245577 h 681004"/>
                <a:gd name="connsiteX6" fmla="*/ 821639 w 972147"/>
                <a:gd name="connsiteY6" fmla="*/ 145056 h 681004"/>
                <a:gd name="connsiteX7" fmla="*/ 970603 w 972147"/>
                <a:gd name="connsiteY7" fmla="*/ 405609 h 681004"/>
                <a:gd name="connsiteX0" fmla="*/ 238218 w 972147"/>
                <a:gd name="connsiteY0" fmla="*/ 500570 h 684851"/>
                <a:gd name="connsiteX1" fmla="*/ 413338 w 972147"/>
                <a:gd name="connsiteY1" fmla="*/ 327327 h 684851"/>
                <a:gd name="connsiteX2" fmla="*/ 483867 w 972147"/>
                <a:gd name="connsiteY2" fmla="*/ 616028 h 684851"/>
                <a:gd name="connsiteX3" fmla="*/ 42128 w 972147"/>
                <a:gd name="connsiteY3" fmla="*/ 505572 h 684851"/>
                <a:gd name="connsiteX4" fmla="*/ 278450 w 972147"/>
                <a:gd name="connsiteY4" fmla="*/ 1703 h 684851"/>
                <a:gd name="connsiteX5" fmla="*/ 530486 w 972147"/>
                <a:gd name="connsiteY5" fmla="*/ 245577 h 684851"/>
                <a:gd name="connsiteX6" fmla="*/ 821639 w 972147"/>
                <a:gd name="connsiteY6" fmla="*/ 145056 h 684851"/>
                <a:gd name="connsiteX7" fmla="*/ 970603 w 972147"/>
                <a:gd name="connsiteY7" fmla="*/ 405609 h 684851"/>
                <a:gd name="connsiteX0" fmla="*/ 238218 w 972147"/>
                <a:gd name="connsiteY0" fmla="*/ 500570 h 678763"/>
                <a:gd name="connsiteX1" fmla="*/ 413338 w 972147"/>
                <a:gd name="connsiteY1" fmla="*/ 327327 h 678763"/>
                <a:gd name="connsiteX2" fmla="*/ 483867 w 972147"/>
                <a:gd name="connsiteY2" fmla="*/ 616028 h 678763"/>
                <a:gd name="connsiteX3" fmla="*/ 42128 w 972147"/>
                <a:gd name="connsiteY3" fmla="*/ 505572 h 678763"/>
                <a:gd name="connsiteX4" fmla="*/ 278450 w 972147"/>
                <a:gd name="connsiteY4" fmla="*/ 1703 h 678763"/>
                <a:gd name="connsiteX5" fmla="*/ 530486 w 972147"/>
                <a:gd name="connsiteY5" fmla="*/ 245577 h 678763"/>
                <a:gd name="connsiteX6" fmla="*/ 821639 w 972147"/>
                <a:gd name="connsiteY6" fmla="*/ 145056 h 678763"/>
                <a:gd name="connsiteX7" fmla="*/ 970603 w 972147"/>
                <a:gd name="connsiteY7" fmla="*/ 405609 h 678763"/>
                <a:gd name="connsiteX0" fmla="*/ 238218 w 972147"/>
                <a:gd name="connsiteY0" fmla="*/ 501130 h 679323"/>
                <a:gd name="connsiteX1" fmla="*/ 413338 w 972147"/>
                <a:gd name="connsiteY1" fmla="*/ 327887 h 679323"/>
                <a:gd name="connsiteX2" fmla="*/ 483867 w 972147"/>
                <a:gd name="connsiteY2" fmla="*/ 616588 h 679323"/>
                <a:gd name="connsiteX3" fmla="*/ 42128 w 972147"/>
                <a:gd name="connsiteY3" fmla="*/ 506132 h 679323"/>
                <a:gd name="connsiteX4" fmla="*/ 278450 w 972147"/>
                <a:gd name="connsiteY4" fmla="*/ 2263 h 679323"/>
                <a:gd name="connsiteX5" fmla="*/ 535994 w 972147"/>
                <a:gd name="connsiteY5" fmla="*/ 210332 h 679323"/>
                <a:gd name="connsiteX6" fmla="*/ 821639 w 972147"/>
                <a:gd name="connsiteY6" fmla="*/ 145616 h 679323"/>
                <a:gd name="connsiteX7" fmla="*/ 970603 w 972147"/>
                <a:gd name="connsiteY7" fmla="*/ 406169 h 679323"/>
                <a:gd name="connsiteX0" fmla="*/ 238218 w 972147"/>
                <a:gd name="connsiteY0" fmla="*/ 501130 h 679323"/>
                <a:gd name="connsiteX1" fmla="*/ 413338 w 972147"/>
                <a:gd name="connsiteY1" fmla="*/ 327887 h 679323"/>
                <a:gd name="connsiteX2" fmla="*/ 483867 w 972147"/>
                <a:gd name="connsiteY2" fmla="*/ 616588 h 679323"/>
                <a:gd name="connsiteX3" fmla="*/ 42128 w 972147"/>
                <a:gd name="connsiteY3" fmla="*/ 506132 h 679323"/>
                <a:gd name="connsiteX4" fmla="*/ 278450 w 972147"/>
                <a:gd name="connsiteY4" fmla="*/ 2263 h 679323"/>
                <a:gd name="connsiteX5" fmla="*/ 535994 w 972147"/>
                <a:gd name="connsiteY5" fmla="*/ 210332 h 679323"/>
                <a:gd name="connsiteX6" fmla="*/ 821639 w 972147"/>
                <a:gd name="connsiteY6" fmla="*/ 145616 h 679323"/>
                <a:gd name="connsiteX7" fmla="*/ 970603 w 972147"/>
                <a:gd name="connsiteY7" fmla="*/ 406169 h 679323"/>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2590 h 680783"/>
                <a:gd name="connsiteX1" fmla="*/ 413338 w 972147"/>
                <a:gd name="connsiteY1" fmla="*/ 329347 h 680783"/>
                <a:gd name="connsiteX2" fmla="*/ 483867 w 972147"/>
                <a:gd name="connsiteY2" fmla="*/ 618048 h 680783"/>
                <a:gd name="connsiteX3" fmla="*/ 42128 w 972147"/>
                <a:gd name="connsiteY3" fmla="*/ 507592 h 680783"/>
                <a:gd name="connsiteX4" fmla="*/ 278450 w 972147"/>
                <a:gd name="connsiteY4" fmla="*/ 3723 h 680783"/>
                <a:gd name="connsiteX5" fmla="*/ 535994 w 972147"/>
                <a:gd name="connsiteY5" fmla="*/ 211792 h 680783"/>
                <a:gd name="connsiteX6" fmla="*/ 821639 w 972147"/>
                <a:gd name="connsiteY6" fmla="*/ 147076 h 680783"/>
                <a:gd name="connsiteX7" fmla="*/ 970603 w 972147"/>
                <a:gd name="connsiteY7" fmla="*/ 407629 h 680783"/>
                <a:gd name="connsiteX0" fmla="*/ 238218 w 972381"/>
                <a:gd name="connsiteY0" fmla="*/ 502590 h 680783"/>
                <a:gd name="connsiteX1" fmla="*/ 413338 w 972381"/>
                <a:gd name="connsiteY1" fmla="*/ 329347 h 680783"/>
                <a:gd name="connsiteX2" fmla="*/ 483867 w 972381"/>
                <a:gd name="connsiteY2" fmla="*/ 618048 h 680783"/>
                <a:gd name="connsiteX3" fmla="*/ 42128 w 972381"/>
                <a:gd name="connsiteY3" fmla="*/ 507592 h 680783"/>
                <a:gd name="connsiteX4" fmla="*/ 278450 w 972381"/>
                <a:gd name="connsiteY4" fmla="*/ 3723 h 680783"/>
                <a:gd name="connsiteX5" fmla="*/ 535994 w 972381"/>
                <a:gd name="connsiteY5" fmla="*/ 211792 h 680783"/>
                <a:gd name="connsiteX6" fmla="*/ 829902 w 972381"/>
                <a:gd name="connsiteY6" fmla="*/ 119534 h 680783"/>
                <a:gd name="connsiteX7" fmla="*/ 970603 w 972381"/>
                <a:gd name="connsiteY7" fmla="*/ 407629 h 680783"/>
                <a:gd name="connsiteX0" fmla="*/ 238218 w 972381"/>
                <a:gd name="connsiteY0" fmla="*/ 502590 h 680783"/>
                <a:gd name="connsiteX1" fmla="*/ 413338 w 972381"/>
                <a:gd name="connsiteY1" fmla="*/ 329347 h 680783"/>
                <a:gd name="connsiteX2" fmla="*/ 483867 w 972381"/>
                <a:gd name="connsiteY2" fmla="*/ 618048 h 680783"/>
                <a:gd name="connsiteX3" fmla="*/ 42128 w 972381"/>
                <a:gd name="connsiteY3" fmla="*/ 507592 h 680783"/>
                <a:gd name="connsiteX4" fmla="*/ 278450 w 972381"/>
                <a:gd name="connsiteY4" fmla="*/ 3723 h 680783"/>
                <a:gd name="connsiteX5" fmla="*/ 535994 w 972381"/>
                <a:gd name="connsiteY5" fmla="*/ 211792 h 680783"/>
                <a:gd name="connsiteX6" fmla="*/ 829902 w 972381"/>
                <a:gd name="connsiteY6" fmla="*/ 119534 h 680783"/>
                <a:gd name="connsiteX7" fmla="*/ 970603 w 972381"/>
                <a:gd name="connsiteY7" fmla="*/ 407629 h 680783"/>
                <a:gd name="connsiteX0" fmla="*/ 238218 w 973905"/>
                <a:gd name="connsiteY0" fmla="*/ 502590 h 680783"/>
                <a:gd name="connsiteX1" fmla="*/ 413338 w 973905"/>
                <a:gd name="connsiteY1" fmla="*/ 329347 h 680783"/>
                <a:gd name="connsiteX2" fmla="*/ 483867 w 973905"/>
                <a:gd name="connsiteY2" fmla="*/ 618048 h 680783"/>
                <a:gd name="connsiteX3" fmla="*/ 42128 w 973905"/>
                <a:gd name="connsiteY3" fmla="*/ 507592 h 680783"/>
                <a:gd name="connsiteX4" fmla="*/ 278450 w 973905"/>
                <a:gd name="connsiteY4" fmla="*/ 3723 h 680783"/>
                <a:gd name="connsiteX5" fmla="*/ 535994 w 973905"/>
                <a:gd name="connsiteY5" fmla="*/ 211792 h 680783"/>
                <a:gd name="connsiteX6" fmla="*/ 857444 w 973905"/>
                <a:gd name="connsiteY6" fmla="*/ 144322 h 680783"/>
                <a:gd name="connsiteX7" fmla="*/ 970603 w 973905"/>
                <a:gd name="connsiteY7" fmla="*/ 407629 h 680783"/>
                <a:gd name="connsiteX0" fmla="*/ 238218 w 973905"/>
                <a:gd name="connsiteY0" fmla="*/ 502590 h 680783"/>
                <a:gd name="connsiteX1" fmla="*/ 413338 w 973905"/>
                <a:gd name="connsiteY1" fmla="*/ 329347 h 680783"/>
                <a:gd name="connsiteX2" fmla="*/ 483867 w 973905"/>
                <a:gd name="connsiteY2" fmla="*/ 618048 h 680783"/>
                <a:gd name="connsiteX3" fmla="*/ 42128 w 973905"/>
                <a:gd name="connsiteY3" fmla="*/ 507592 h 680783"/>
                <a:gd name="connsiteX4" fmla="*/ 278450 w 973905"/>
                <a:gd name="connsiteY4" fmla="*/ 3723 h 680783"/>
                <a:gd name="connsiteX5" fmla="*/ 535994 w 973905"/>
                <a:gd name="connsiteY5" fmla="*/ 211792 h 680783"/>
                <a:gd name="connsiteX6" fmla="*/ 857444 w 973905"/>
                <a:gd name="connsiteY6" fmla="*/ 144322 h 680783"/>
                <a:gd name="connsiteX7" fmla="*/ 970603 w 973905"/>
                <a:gd name="connsiteY7" fmla="*/ 407629 h 680783"/>
                <a:gd name="connsiteX0" fmla="*/ 238218 w 975028"/>
                <a:gd name="connsiteY0" fmla="*/ 502590 h 680783"/>
                <a:gd name="connsiteX1" fmla="*/ 413338 w 975028"/>
                <a:gd name="connsiteY1" fmla="*/ 329347 h 680783"/>
                <a:gd name="connsiteX2" fmla="*/ 483867 w 975028"/>
                <a:gd name="connsiteY2" fmla="*/ 618048 h 680783"/>
                <a:gd name="connsiteX3" fmla="*/ 42128 w 975028"/>
                <a:gd name="connsiteY3" fmla="*/ 507592 h 680783"/>
                <a:gd name="connsiteX4" fmla="*/ 278450 w 975028"/>
                <a:gd name="connsiteY4" fmla="*/ 3723 h 680783"/>
                <a:gd name="connsiteX5" fmla="*/ 535994 w 975028"/>
                <a:gd name="connsiteY5" fmla="*/ 211792 h 680783"/>
                <a:gd name="connsiteX6" fmla="*/ 857444 w 975028"/>
                <a:gd name="connsiteY6" fmla="*/ 144322 h 680783"/>
                <a:gd name="connsiteX7" fmla="*/ 970603 w 975028"/>
                <a:gd name="connsiteY7" fmla="*/ 407629 h 680783"/>
                <a:gd name="connsiteX0" fmla="*/ 238218 w 975028"/>
                <a:gd name="connsiteY0" fmla="*/ 502590 h 680783"/>
                <a:gd name="connsiteX1" fmla="*/ 413338 w 975028"/>
                <a:gd name="connsiteY1" fmla="*/ 329347 h 680783"/>
                <a:gd name="connsiteX2" fmla="*/ 483867 w 975028"/>
                <a:gd name="connsiteY2" fmla="*/ 618048 h 680783"/>
                <a:gd name="connsiteX3" fmla="*/ 42128 w 975028"/>
                <a:gd name="connsiteY3" fmla="*/ 507592 h 680783"/>
                <a:gd name="connsiteX4" fmla="*/ 278450 w 975028"/>
                <a:gd name="connsiteY4" fmla="*/ 3723 h 680783"/>
                <a:gd name="connsiteX5" fmla="*/ 535994 w 975028"/>
                <a:gd name="connsiteY5" fmla="*/ 211792 h 680783"/>
                <a:gd name="connsiteX6" fmla="*/ 857444 w 975028"/>
                <a:gd name="connsiteY6" fmla="*/ 144322 h 680783"/>
                <a:gd name="connsiteX7" fmla="*/ 970603 w 975028"/>
                <a:gd name="connsiteY7" fmla="*/ 407629 h 680783"/>
                <a:gd name="connsiteX0" fmla="*/ 238218 w 975375"/>
                <a:gd name="connsiteY0" fmla="*/ 502590 h 680783"/>
                <a:gd name="connsiteX1" fmla="*/ 413338 w 975375"/>
                <a:gd name="connsiteY1" fmla="*/ 329347 h 680783"/>
                <a:gd name="connsiteX2" fmla="*/ 483867 w 975375"/>
                <a:gd name="connsiteY2" fmla="*/ 618048 h 680783"/>
                <a:gd name="connsiteX3" fmla="*/ 42128 w 975375"/>
                <a:gd name="connsiteY3" fmla="*/ 507592 h 680783"/>
                <a:gd name="connsiteX4" fmla="*/ 278450 w 975375"/>
                <a:gd name="connsiteY4" fmla="*/ 3723 h 680783"/>
                <a:gd name="connsiteX5" fmla="*/ 535994 w 975375"/>
                <a:gd name="connsiteY5" fmla="*/ 211792 h 680783"/>
                <a:gd name="connsiteX6" fmla="*/ 857444 w 975375"/>
                <a:gd name="connsiteY6" fmla="*/ 144322 h 680783"/>
                <a:gd name="connsiteX7" fmla="*/ 970603 w 975375"/>
                <a:gd name="connsiteY7" fmla="*/ 407629 h 680783"/>
                <a:gd name="connsiteX0" fmla="*/ 238218 w 975375"/>
                <a:gd name="connsiteY0" fmla="*/ 502590 h 680783"/>
                <a:gd name="connsiteX1" fmla="*/ 413338 w 975375"/>
                <a:gd name="connsiteY1" fmla="*/ 329347 h 680783"/>
                <a:gd name="connsiteX2" fmla="*/ 483867 w 975375"/>
                <a:gd name="connsiteY2" fmla="*/ 618048 h 680783"/>
                <a:gd name="connsiteX3" fmla="*/ 42128 w 975375"/>
                <a:gd name="connsiteY3" fmla="*/ 507592 h 680783"/>
                <a:gd name="connsiteX4" fmla="*/ 278450 w 975375"/>
                <a:gd name="connsiteY4" fmla="*/ 3723 h 680783"/>
                <a:gd name="connsiteX5" fmla="*/ 535994 w 975375"/>
                <a:gd name="connsiteY5" fmla="*/ 211792 h 680783"/>
                <a:gd name="connsiteX6" fmla="*/ 857444 w 975375"/>
                <a:gd name="connsiteY6" fmla="*/ 144322 h 680783"/>
                <a:gd name="connsiteX7" fmla="*/ 970603 w 975375"/>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35994 w 973301"/>
                <a:gd name="connsiteY5" fmla="*/ 211792 h 680783"/>
                <a:gd name="connsiteX6" fmla="*/ 857444 w 973301"/>
                <a:gd name="connsiteY6" fmla="*/ 144322 h 680783"/>
                <a:gd name="connsiteX7" fmla="*/ 970603 w 973301"/>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35994 w 973301"/>
                <a:gd name="connsiteY5" fmla="*/ 211792 h 680783"/>
                <a:gd name="connsiteX6" fmla="*/ 857444 w 973301"/>
                <a:gd name="connsiteY6" fmla="*/ 144322 h 680783"/>
                <a:gd name="connsiteX7" fmla="*/ 970603 w 973301"/>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58028 w 973301"/>
                <a:gd name="connsiteY5" fmla="*/ 211792 h 680783"/>
                <a:gd name="connsiteX6" fmla="*/ 857444 w 973301"/>
                <a:gd name="connsiteY6" fmla="*/ 144322 h 680783"/>
                <a:gd name="connsiteX7" fmla="*/ 970603 w 973301"/>
                <a:gd name="connsiteY7" fmla="*/ 407629 h 680783"/>
                <a:gd name="connsiteX0" fmla="*/ 238218 w 973301"/>
                <a:gd name="connsiteY0" fmla="*/ 503717 h 681910"/>
                <a:gd name="connsiteX1" fmla="*/ 413338 w 973301"/>
                <a:gd name="connsiteY1" fmla="*/ 330474 h 681910"/>
                <a:gd name="connsiteX2" fmla="*/ 483867 w 973301"/>
                <a:gd name="connsiteY2" fmla="*/ 619175 h 681910"/>
                <a:gd name="connsiteX3" fmla="*/ 42128 w 973301"/>
                <a:gd name="connsiteY3" fmla="*/ 508719 h 681910"/>
                <a:gd name="connsiteX4" fmla="*/ 278450 w 973301"/>
                <a:gd name="connsiteY4" fmla="*/ 4850 h 681910"/>
                <a:gd name="connsiteX5" fmla="*/ 558028 w 973301"/>
                <a:gd name="connsiteY5" fmla="*/ 212919 h 681910"/>
                <a:gd name="connsiteX6" fmla="*/ 857444 w 973301"/>
                <a:gd name="connsiteY6" fmla="*/ 145449 h 681910"/>
                <a:gd name="connsiteX7" fmla="*/ 970603 w 973301"/>
                <a:gd name="connsiteY7" fmla="*/ 408756 h 681910"/>
                <a:gd name="connsiteX0" fmla="*/ 238218 w 973301"/>
                <a:gd name="connsiteY0" fmla="*/ 503717 h 681910"/>
                <a:gd name="connsiteX1" fmla="*/ 413338 w 973301"/>
                <a:gd name="connsiteY1" fmla="*/ 330474 h 681910"/>
                <a:gd name="connsiteX2" fmla="*/ 483867 w 973301"/>
                <a:gd name="connsiteY2" fmla="*/ 619175 h 681910"/>
                <a:gd name="connsiteX3" fmla="*/ 42128 w 973301"/>
                <a:gd name="connsiteY3" fmla="*/ 508719 h 681910"/>
                <a:gd name="connsiteX4" fmla="*/ 278450 w 973301"/>
                <a:gd name="connsiteY4" fmla="*/ 4850 h 681910"/>
                <a:gd name="connsiteX5" fmla="*/ 558028 w 973301"/>
                <a:gd name="connsiteY5" fmla="*/ 212919 h 681910"/>
                <a:gd name="connsiteX6" fmla="*/ 857444 w 973301"/>
                <a:gd name="connsiteY6" fmla="*/ 145449 h 681910"/>
                <a:gd name="connsiteX7" fmla="*/ 970603 w 973301"/>
                <a:gd name="connsiteY7" fmla="*/ 408756 h 681910"/>
                <a:gd name="connsiteX0" fmla="*/ 238218 w 973301"/>
                <a:gd name="connsiteY0" fmla="*/ 506290 h 684483"/>
                <a:gd name="connsiteX1" fmla="*/ 413338 w 973301"/>
                <a:gd name="connsiteY1" fmla="*/ 333047 h 684483"/>
                <a:gd name="connsiteX2" fmla="*/ 483867 w 973301"/>
                <a:gd name="connsiteY2" fmla="*/ 621748 h 684483"/>
                <a:gd name="connsiteX3" fmla="*/ 42128 w 973301"/>
                <a:gd name="connsiteY3" fmla="*/ 511292 h 684483"/>
                <a:gd name="connsiteX4" fmla="*/ 278450 w 973301"/>
                <a:gd name="connsiteY4" fmla="*/ 7423 h 684483"/>
                <a:gd name="connsiteX5" fmla="*/ 549765 w 973301"/>
                <a:gd name="connsiteY5" fmla="*/ 190704 h 684483"/>
                <a:gd name="connsiteX6" fmla="*/ 857444 w 973301"/>
                <a:gd name="connsiteY6" fmla="*/ 148022 h 684483"/>
                <a:gd name="connsiteX7" fmla="*/ 970603 w 973301"/>
                <a:gd name="connsiteY7" fmla="*/ 411329 h 684483"/>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1535 h 679728"/>
                <a:gd name="connsiteX1" fmla="*/ 413338 w 973301"/>
                <a:gd name="connsiteY1" fmla="*/ 328292 h 679728"/>
                <a:gd name="connsiteX2" fmla="*/ 483867 w 973301"/>
                <a:gd name="connsiteY2" fmla="*/ 616993 h 679728"/>
                <a:gd name="connsiteX3" fmla="*/ 42128 w 973301"/>
                <a:gd name="connsiteY3" fmla="*/ 506537 h 679728"/>
                <a:gd name="connsiteX4" fmla="*/ 278450 w 973301"/>
                <a:gd name="connsiteY4" fmla="*/ 2668 h 679728"/>
                <a:gd name="connsiteX5" fmla="*/ 549765 w 973301"/>
                <a:gd name="connsiteY5" fmla="*/ 185949 h 679728"/>
                <a:gd name="connsiteX6" fmla="*/ 857444 w 973301"/>
                <a:gd name="connsiteY6" fmla="*/ 143267 h 679728"/>
                <a:gd name="connsiteX7" fmla="*/ 970603 w 973301"/>
                <a:gd name="connsiteY7" fmla="*/ 406574 h 679728"/>
                <a:gd name="connsiteX0" fmla="*/ 239713 w 974796"/>
                <a:gd name="connsiteY0" fmla="*/ 509581 h 687774"/>
                <a:gd name="connsiteX1" fmla="*/ 414833 w 974796"/>
                <a:gd name="connsiteY1" fmla="*/ 336338 h 687774"/>
                <a:gd name="connsiteX2" fmla="*/ 485362 w 974796"/>
                <a:gd name="connsiteY2" fmla="*/ 625039 h 687774"/>
                <a:gd name="connsiteX3" fmla="*/ 43623 w 974796"/>
                <a:gd name="connsiteY3" fmla="*/ 514583 h 687774"/>
                <a:gd name="connsiteX4" fmla="*/ 268928 w 974796"/>
                <a:gd name="connsiteY4" fmla="*/ 2452 h 687774"/>
                <a:gd name="connsiteX5" fmla="*/ 551260 w 974796"/>
                <a:gd name="connsiteY5" fmla="*/ 193995 h 687774"/>
                <a:gd name="connsiteX6" fmla="*/ 858939 w 974796"/>
                <a:gd name="connsiteY6" fmla="*/ 151313 h 687774"/>
                <a:gd name="connsiteX7" fmla="*/ 972098 w 974796"/>
                <a:gd name="connsiteY7" fmla="*/ 414620 h 687774"/>
                <a:gd name="connsiteX0" fmla="*/ 239713 w 974796"/>
                <a:gd name="connsiteY0" fmla="*/ 508440 h 686633"/>
                <a:gd name="connsiteX1" fmla="*/ 414833 w 974796"/>
                <a:gd name="connsiteY1" fmla="*/ 335197 h 686633"/>
                <a:gd name="connsiteX2" fmla="*/ 485362 w 974796"/>
                <a:gd name="connsiteY2" fmla="*/ 623898 h 686633"/>
                <a:gd name="connsiteX3" fmla="*/ 43623 w 974796"/>
                <a:gd name="connsiteY3" fmla="*/ 513442 h 686633"/>
                <a:gd name="connsiteX4" fmla="*/ 268928 w 974796"/>
                <a:gd name="connsiteY4" fmla="*/ 1311 h 686633"/>
                <a:gd name="connsiteX5" fmla="*/ 551260 w 974796"/>
                <a:gd name="connsiteY5" fmla="*/ 192854 h 686633"/>
                <a:gd name="connsiteX6" fmla="*/ 858939 w 974796"/>
                <a:gd name="connsiteY6" fmla="*/ 150172 h 686633"/>
                <a:gd name="connsiteX7" fmla="*/ 972098 w 974796"/>
                <a:gd name="connsiteY7" fmla="*/ 413479 h 68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4796" h="686633">
                  <a:moveTo>
                    <a:pt x="239713" y="508440"/>
                  </a:moveTo>
                  <a:cubicBezTo>
                    <a:pt x="220051" y="400199"/>
                    <a:pt x="313311" y="308483"/>
                    <a:pt x="414833" y="335197"/>
                  </a:cubicBezTo>
                  <a:cubicBezTo>
                    <a:pt x="568709" y="355231"/>
                    <a:pt x="571103" y="526747"/>
                    <a:pt x="485362" y="623898"/>
                  </a:cubicBezTo>
                  <a:cubicBezTo>
                    <a:pt x="359231" y="741315"/>
                    <a:pt x="103653" y="687971"/>
                    <a:pt x="43623" y="513442"/>
                  </a:cubicBezTo>
                  <a:cubicBezTo>
                    <a:pt x="-86006" y="165544"/>
                    <a:pt x="98347" y="15949"/>
                    <a:pt x="268928" y="1311"/>
                  </a:cubicBezTo>
                  <a:cubicBezTo>
                    <a:pt x="423631" y="-11041"/>
                    <a:pt x="534267" y="64743"/>
                    <a:pt x="551260" y="192854"/>
                  </a:cubicBezTo>
                  <a:cubicBezTo>
                    <a:pt x="632704" y="84983"/>
                    <a:pt x="783005" y="98296"/>
                    <a:pt x="858939" y="150172"/>
                  </a:cubicBezTo>
                  <a:cubicBezTo>
                    <a:pt x="963678" y="201219"/>
                    <a:pt x="983037" y="310103"/>
                    <a:pt x="972098" y="413479"/>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자유형: 도형 15">
              <a:extLst>
                <a:ext uri="{FF2B5EF4-FFF2-40B4-BE49-F238E27FC236}">
                  <a16:creationId xmlns:a16="http://schemas.microsoft.com/office/drawing/2014/main" id="{1DE41E73-B483-4147-A5C0-A71A151A23C1}"/>
                </a:ext>
              </a:extLst>
            </p:cNvPr>
            <p:cNvSpPr/>
            <p:nvPr/>
          </p:nvSpPr>
          <p:spPr>
            <a:xfrm>
              <a:off x="6646452" y="3560646"/>
              <a:ext cx="483425" cy="783120"/>
            </a:xfrm>
            <a:custGeom>
              <a:avLst/>
              <a:gdLst>
                <a:gd name="connsiteX0" fmla="*/ 0 w 647934"/>
                <a:gd name="connsiteY0" fmla="*/ 277685 h 1051840"/>
                <a:gd name="connsiteX1" fmla="*/ 330979 w 647934"/>
                <a:gd name="connsiteY1" fmla="*/ 0 h 1051840"/>
                <a:gd name="connsiteX2" fmla="*/ 560982 w 647934"/>
                <a:gd name="connsiteY2" fmla="*/ 171099 h 1051840"/>
                <a:gd name="connsiteX3" fmla="*/ 468420 w 647934"/>
                <a:gd name="connsiteY3" fmla="*/ 493663 h 1051840"/>
                <a:gd name="connsiteX4" fmla="*/ 647934 w 647934"/>
                <a:gd name="connsiteY4" fmla="*/ 793789 h 1051840"/>
                <a:gd name="connsiteX5" fmla="*/ 468420 w 647934"/>
                <a:gd name="connsiteY5" fmla="*/ 1051840 h 1051840"/>
                <a:gd name="connsiteX0" fmla="*/ 0 w 647934"/>
                <a:gd name="connsiteY0" fmla="*/ 277685 h 1051840"/>
                <a:gd name="connsiteX1" fmla="*/ 330979 w 647934"/>
                <a:gd name="connsiteY1" fmla="*/ 0 h 1051840"/>
                <a:gd name="connsiteX2" fmla="*/ 560982 w 647934"/>
                <a:gd name="connsiteY2" fmla="*/ 171099 h 1051840"/>
                <a:gd name="connsiteX3" fmla="*/ 468420 w 647934"/>
                <a:gd name="connsiteY3" fmla="*/ 493663 h 1051840"/>
                <a:gd name="connsiteX4" fmla="*/ 647934 w 647934"/>
                <a:gd name="connsiteY4" fmla="*/ 793789 h 1051840"/>
                <a:gd name="connsiteX5" fmla="*/ 468420 w 647934"/>
                <a:gd name="connsiteY5" fmla="*/ 1051840 h 1051840"/>
                <a:gd name="connsiteX0" fmla="*/ 0 w 647937"/>
                <a:gd name="connsiteY0" fmla="*/ 277685 h 1051840"/>
                <a:gd name="connsiteX1" fmla="*/ 330979 w 647937"/>
                <a:gd name="connsiteY1" fmla="*/ 0 h 1051840"/>
                <a:gd name="connsiteX2" fmla="*/ 560982 w 647937"/>
                <a:gd name="connsiteY2" fmla="*/ 171099 h 1051840"/>
                <a:gd name="connsiteX3" fmla="*/ 468420 w 647937"/>
                <a:gd name="connsiteY3" fmla="*/ 493663 h 1051840"/>
                <a:gd name="connsiteX4" fmla="*/ 647934 w 647937"/>
                <a:gd name="connsiteY4" fmla="*/ 793789 h 1051840"/>
                <a:gd name="connsiteX5" fmla="*/ 468420 w 647937"/>
                <a:gd name="connsiteY5" fmla="*/ 1051840 h 1051840"/>
                <a:gd name="connsiteX0" fmla="*/ 0 w 647937"/>
                <a:gd name="connsiteY0" fmla="*/ 277685 h 1051840"/>
                <a:gd name="connsiteX1" fmla="*/ 330979 w 647937"/>
                <a:gd name="connsiteY1" fmla="*/ 0 h 1051840"/>
                <a:gd name="connsiteX2" fmla="*/ 560982 w 647937"/>
                <a:gd name="connsiteY2" fmla="*/ 171099 h 1051840"/>
                <a:gd name="connsiteX3" fmla="*/ 468420 w 647937"/>
                <a:gd name="connsiteY3" fmla="*/ 493663 h 1051840"/>
                <a:gd name="connsiteX4" fmla="*/ 647934 w 647937"/>
                <a:gd name="connsiteY4" fmla="*/ 793789 h 1051840"/>
                <a:gd name="connsiteX5" fmla="*/ 468420 w 647937"/>
                <a:gd name="connsiteY5" fmla="*/ 1051840 h 1051840"/>
                <a:gd name="connsiteX0" fmla="*/ 0 w 647937"/>
                <a:gd name="connsiteY0" fmla="*/ 277685 h 1035314"/>
                <a:gd name="connsiteX1" fmla="*/ 330979 w 647937"/>
                <a:gd name="connsiteY1" fmla="*/ 0 h 1035314"/>
                <a:gd name="connsiteX2" fmla="*/ 560982 w 647937"/>
                <a:gd name="connsiteY2" fmla="*/ 171099 h 1035314"/>
                <a:gd name="connsiteX3" fmla="*/ 468420 w 647937"/>
                <a:gd name="connsiteY3" fmla="*/ 493663 h 1035314"/>
                <a:gd name="connsiteX4" fmla="*/ 647934 w 647937"/>
                <a:gd name="connsiteY4" fmla="*/ 793789 h 1035314"/>
                <a:gd name="connsiteX5" fmla="*/ 465665 w 647937"/>
                <a:gd name="connsiteY5" fmla="*/ 1035314 h 1035314"/>
                <a:gd name="connsiteX0" fmla="*/ 0 w 642428"/>
                <a:gd name="connsiteY0" fmla="*/ 277685 h 1035314"/>
                <a:gd name="connsiteX1" fmla="*/ 330979 w 642428"/>
                <a:gd name="connsiteY1" fmla="*/ 0 h 1035314"/>
                <a:gd name="connsiteX2" fmla="*/ 560982 w 642428"/>
                <a:gd name="connsiteY2" fmla="*/ 171099 h 1035314"/>
                <a:gd name="connsiteX3" fmla="*/ 468420 w 642428"/>
                <a:gd name="connsiteY3" fmla="*/ 493663 h 1035314"/>
                <a:gd name="connsiteX4" fmla="*/ 642425 w 642428"/>
                <a:gd name="connsiteY4" fmla="*/ 769001 h 1035314"/>
                <a:gd name="connsiteX5" fmla="*/ 465665 w 642428"/>
                <a:gd name="connsiteY5" fmla="*/ 1035314 h 1035314"/>
                <a:gd name="connsiteX0" fmla="*/ 0 w 642428"/>
                <a:gd name="connsiteY0" fmla="*/ 277685 h 1035314"/>
                <a:gd name="connsiteX1" fmla="*/ 330979 w 642428"/>
                <a:gd name="connsiteY1" fmla="*/ 0 h 1035314"/>
                <a:gd name="connsiteX2" fmla="*/ 560982 w 642428"/>
                <a:gd name="connsiteY2" fmla="*/ 171099 h 1035314"/>
                <a:gd name="connsiteX3" fmla="*/ 468420 w 642428"/>
                <a:gd name="connsiteY3" fmla="*/ 493663 h 1035314"/>
                <a:gd name="connsiteX4" fmla="*/ 642425 w 642428"/>
                <a:gd name="connsiteY4" fmla="*/ 769001 h 1035314"/>
                <a:gd name="connsiteX5" fmla="*/ 465665 w 642428"/>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489"/>
                <a:gd name="connsiteY0" fmla="*/ 277685 h 1035314"/>
                <a:gd name="connsiteX1" fmla="*/ 330979 w 642489"/>
                <a:gd name="connsiteY1" fmla="*/ 0 h 1035314"/>
                <a:gd name="connsiteX2" fmla="*/ 560982 w 642489"/>
                <a:gd name="connsiteY2" fmla="*/ 171099 h 1035314"/>
                <a:gd name="connsiteX3" fmla="*/ 446386 w 642489"/>
                <a:gd name="connsiteY3" fmla="*/ 490909 h 1035314"/>
                <a:gd name="connsiteX4" fmla="*/ 642425 w 642489"/>
                <a:gd name="connsiteY4" fmla="*/ 769001 h 1035314"/>
                <a:gd name="connsiteX5" fmla="*/ 465665 w 642489"/>
                <a:gd name="connsiteY5" fmla="*/ 1035314 h 1035314"/>
                <a:gd name="connsiteX0" fmla="*/ 0 w 642733"/>
                <a:gd name="connsiteY0" fmla="*/ 277685 h 1035314"/>
                <a:gd name="connsiteX1" fmla="*/ 330979 w 642733"/>
                <a:gd name="connsiteY1" fmla="*/ 0 h 1035314"/>
                <a:gd name="connsiteX2" fmla="*/ 560982 w 642733"/>
                <a:gd name="connsiteY2" fmla="*/ 171099 h 1035314"/>
                <a:gd name="connsiteX3" fmla="*/ 446386 w 642733"/>
                <a:gd name="connsiteY3" fmla="*/ 490909 h 1035314"/>
                <a:gd name="connsiteX4" fmla="*/ 642425 w 642733"/>
                <a:gd name="connsiteY4" fmla="*/ 769001 h 1035314"/>
                <a:gd name="connsiteX5" fmla="*/ 465665 w 642733"/>
                <a:gd name="connsiteY5" fmla="*/ 1035314 h 1035314"/>
                <a:gd name="connsiteX0" fmla="*/ 0 w 642733"/>
                <a:gd name="connsiteY0" fmla="*/ 277685 h 1035314"/>
                <a:gd name="connsiteX1" fmla="*/ 330979 w 642733"/>
                <a:gd name="connsiteY1" fmla="*/ 0 h 1035314"/>
                <a:gd name="connsiteX2" fmla="*/ 560982 w 642733"/>
                <a:gd name="connsiteY2" fmla="*/ 171099 h 1035314"/>
                <a:gd name="connsiteX3" fmla="*/ 446386 w 642733"/>
                <a:gd name="connsiteY3" fmla="*/ 490909 h 1035314"/>
                <a:gd name="connsiteX4" fmla="*/ 642425 w 642733"/>
                <a:gd name="connsiteY4" fmla="*/ 769001 h 1035314"/>
                <a:gd name="connsiteX5" fmla="*/ 465665 w 642733"/>
                <a:gd name="connsiteY5" fmla="*/ 1035314 h 1035314"/>
                <a:gd name="connsiteX0" fmla="*/ 0 w 642564"/>
                <a:gd name="connsiteY0" fmla="*/ 277685 h 1035314"/>
                <a:gd name="connsiteX1" fmla="*/ 330979 w 642564"/>
                <a:gd name="connsiteY1" fmla="*/ 0 h 1035314"/>
                <a:gd name="connsiteX2" fmla="*/ 560982 w 642564"/>
                <a:gd name="connsiteY2" fmla="*/ 171099 h 1035314"/>
                <a:gd name="connsiteX3" fmla="*/ 446386 w 642564"/>
                <a:gd name="connsiteY3" fmla="*/ 490909 h 1035314"/>
                <a:gd name="connsiteX4" fmla="*/ 642425 w 642564"/>
                <a:gd name="connsiteY4" fmla="*/ 769001 h 1035314"/>
                <a:gd name="connsiteX5" fmla="*/ 465665 w 642564"/>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80359 h 1037988"/>
                <a:gd name="connsiteX1" fmla="*/ 330979 w 639815"/>
                <a:gd name="connsiteY1" fmla="*/ 2674 h 1037988"/>
                <a:gd name="connsiteX2" fmla="*/ 560982 w 639815"/>
                <a:gd name="connsiteY2" fmla="*/ 173773 h 1037988"/>
                <a:gd name="connsiteX3" fmla="*/ 446386 w 639815"/>
                <a:gd name="connsiteY3" fmla="*/ 493583 h 1037988"/>
                <a:gd name="connsiteX4" fmla="*/ 639670 w 639815"/>
                <a:gd name="connsiteY4" fmla="*/ 763412 h 1037988"/>
                <a:gd name="connsiteX5" fmla="*/ 465665 w 639815"/>
                <a:gd name="connsiteY5" fmla="*/ 1037988 h 1037988"/>
                <a:gd name="connsiteX0" fmla="*/ 0 w 639815"/>
                <a:gd name="connsiteY0" fmla="*/ 284735 h 1042364"/>
                <a:gd name="connsiteX1" fmla="*/ 330979 w 639815"/>
                <a:gd name="connsiteY1" fmla="*/ 7050 h 1042364"/>
                <a:gd name="connsiteX2" fmla="*/ 560982 w 639815"/>
                <a:gd name="connsiteY2" fmla="*/ 178149 h 1042364"/>
                <a:gd name="connsiteX3" fmla="*/ 446386 w 639815"/>
                <a:gd name="connsiteY3" fmla="*/ 497959 h 1042364"/>
                <a:gd name="connsiteX4" fmla="*/ 639670 w 639815"/>
                <a:gd name="connsiteY4" fmla="*/ 767788 h 1042364"/>
                <a:gd name="connsiteX5" fmla="*/ 465665 w 639815"/>
                <a:gd name="connsiteY5" fmla="*/ 1042364 h 1042364"/>
                <a:gd name="connsiteX0" fmla="*/ 0 w 639815"/>
                <a:gd name="connsiteY0" fmla="*/ 284735 h 1042364"/>
                <a:gd name="connsiteX1" fmla="*/ 330979 w 639815"/>
                <a:gd name="connsiteY1" fmla="*/ 7050 h 1042364"/>
                <a:gd name="connsiteX2" fmla="*/ 560982 w 639815"/>
                <a:gd name="connsiteY2" fmla="*/ 178149 h 1042364"/>
                <a:gd name="connsiteX3" fmla="*/ 446386 w 639815"/>
                <a:gd name="connsiteY3" fmla="*/ 497959 h 1042364"/>
                <a:gd name="connsiteX4" fmla="*/ 639670 w 639815"/>
                <a:gd name="connsiteY4" fmla="*/ 767788 h 1042364"/>
                <a:gd name="connsiteX5" fmla="*/ 465665 w 639815"/>
                <a:gd name="connsiteY5" fmla="*/ 1042364 h 1042364"/>
                <a:gd name="connsiteX0" fmla="*/ 0 w 639815"/>
                <a:gd name="connsiteY0" fmla="*/ 278763 h 1036392"/>
                <a:gd name="connsiteX1" fmla="*/ 330979 w 639815"/>
                <a:gd name="connsiteY1" fmla="*/ 1078 h 1036392"/>
                <a:gd name="connsiteX2" fmla="*/ 560982 w 639815"/>
                <a:gd name="connsiteY2" fmla="*/ 172177 h 1036392"/>
                <a:gd name="connsiteX3" fmla="*/ 446386 w 639815"/>
                <a:gd name="connsiteY3" fmla="*/ 491987 h 1036392"/>
                <a:gd name="connsiteX4" fmla="*/ 639670 w 639815"/>
                <a:gd name="connsiteY4" fmla="*/ 761816 h 1036392"/>
                <a:gd name="connsiteX5" fmla="*/ 465665 w 639815"/>
                <a:gd name="connsiteY5" fmla="*/ 1036392 h 1036392"/>
                <a:gd name="connsiteX0" fmla="*/ 0 w 639815"/>
                <a:gd name="connsiteY0" fmla="*/ 280192 h 1037821"/>
                <a:gd name="connsiteX1" fmla="*/ 330979 w 639815"/>
                <a:gd name="connsiteY1" fmla="*/ 2507 h 1037821"/>
                <a:gd name="connsiteX2" fmla="*/ 560982 w 639815"/>
                <a:gd name="connsiteY2" fmla="*/ 173606 h 1037821"/>
                <a:gd name="connsiteX3" fmla="*/ 446386 w 639815"/>
                <a:gd name="connsiteY3" fmla="*/ 493416 h 1037821"/>
                <a:gd name="connsiteX4" fmla="*/ 639670 w 639815"/>
                <a:gd name="connsiteY4" fmla="*/ 763245 h 1037821"/>
                <a:gd name="connsiteX5" fmla="*/ 465665 w 639815"/>
                <a:gd name="connsiteY5" fmla="*/ 1037821 h 1037821"/>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26 w 639841"/>
                <a:gd name="connsiteY0" fmla="*/ 279060 h 1036689"/>
                <a:gd name="connsiteX1" fmla="*/ 331005 w 639841"/>
                <a:gd name="connsiteY1" fmla="*/ 1375 h 1036689"/>
                <a:gd name="connsiteX2" fmla="*/ 561008 w 639841"/>
                <a:gd name="connsiteY2" fmla="*/ 172474 h 1036689"/>
                <a:gd name="connsiteX3" fmla="*/ 446412 w 639841"/>
                <a:gd name="connsiteY3" fmla="*/ 492284 h 1036689"/>
                <a:gd name="connsiteX4" fmla="*/ 639696 w 639841"/>
                <a:gd name="connsiteY4" fmla="*/ 762113 h 1036689"/>
                <a:gd name="connsiteX5" fmla="*/ 465691 w 639841"/>
                <a:gd name="connsiteY5" fmla="*/ 1036689 h 1036689"/>
                <a:gd name="connsiteX0" fmla="*/ 26 w 639841"/>
                <a:gd name="connsiteY0" fmla="*/ 279103 h 1036732"/>
                <a:gd name="connsiteX1" fmla="*/ 331005 w 639841"/>
                <a:gd name="connsiteY1" fmla="*/ 1418 h 1036732"/>
                <a:gd name="connsiteX2" fmla="*/ 561008 w 639841"/>
                <a:gd name="connsiteY2" fmla="*/ 172517 h 1036732"/>
                <a:gd name="connsiteX3" fmla="*/ 446412 w 639841"/>
                <a:gd name="connsiteY3" fmla="*/ 492327 h 1036732"/>
                <a:gd name="connsiteX4" fmla="*/ 639696 w 639841"/>
                <a:gd name="connsiteY4" fmla="*/ 762156 h 1036732"/>
                <a:gd name="connsiteX5" fmla="*/ 465691 w 639841"/>
                <a:gd name="connsiteY5" fmla="*/ 1036732 h 1036732"/>
                <a:gd name="connsiteX0" fmla="*/ 26 w 639841"/>
                <a:gd name="connsiteY0" fmla="*/ 279060 h 1036689"/>
                <a:gd name="connsiteX1" fmla="*/ 331005 w 639841"/>
                <a:gd name="connsiteY1" fmla="*/ 1375 h 1036689"/>
                <a:gd name="connsiteX2" fmla="*/ 561008 w 639841"/>
                <a:gd name="connsiteY2" fmla="*/ 172474 h 1036689"/>
                <a:gd name="connsiteX3" fmla="*/ 446412 w 639841"/>
                <a:gd name="connsiteY3" fmla="*/ 492284 h 1036689"/>
                <a:gd name="connsiteX4" fmla="*/ 639696 w 639841"/>
                <a:gd name="connsiteY4" fmla="*/ 762113 h 1036689"/>
                <a:gd name="connsiteX5" fmla="*/ 465691 w 639841"/>
                <a:gd name="connsiteY5" fmla="*/ 1036689 h 1036689"/>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40 w 620576"/>
                <a:gd name="connsiteY0" fmla="*/ 296331 h 1037435"/>
                <a:gd name="connsiteX1" fmla="*/ 311740 w 620576"/>
                <a:gd name="connsiteY1" fmla="*/ 2121 h 1037435"/>
                <a:gd name="connsiteX2" fmla="*/ 541743 w 620576"/>
                <a:gd name="connsiteY2" fmla="*/ 173220 h 1037435"/>
                <a:gd name="connsiteX3" fmla="*/ 427147 w 620576"/>
                <a:gd name="connsiteY3" fmla="*/ 493030 h 1037435"/>
                <a:gd name="connsiteX4" fmla="*/ 620431 w 620576"/>
                <a:gd name="connsiteY4" fmla="*/ 762859 h 1037435"/>
                <a:gd name="connsiteX5" fmla="*/ 446426 w 620576"/>
                <a:gd name="connsiteY5" fmla="*/ 1037435 h 1037435"/>
                <a:gd name="connsiteX0" fmla="*/ 5008 w 625544"/>
                <a:gd name="connsiteY0" fmla="*/ 297012 h 1038116"/>
                <a:gd name="connsiteX1" fmla="*/ 316708 w 625544"/>
                <a:gd name="connsiteY1" fmla="*/ 2802 h 1038116"/>
                <a:gd name="connsiteX2" fmla="*/ 546711 w 625544"/>
                <a:gd name="connsiteY2" fmla="*/ 173901 h 1038116"/>
                <a:gd name="connsiteX3" fmla="*/ 432115 w 625544"/>
                <a:gd name="connsiteY3" fmla="*/ 493711 h 1038116"/>
                <a:gd name="connsiteX4" fmla="*/ 625399 w 625544"/>
                <a:gd name="connsiteY4" fmla="*/ 763540 h 1038116"/>
                <a:gd name="connsiteX5" fmla="*/ 451394 w 625544"/>
                <a:gd name="connsiteY5" fmla="*/ 1038116 h 1038116"/>
                <a:gd name="connsiteX0" fmla="*/ 5008 w 625544"/>
                <a:gd name="connsiteY0" fmla="*/ 299704 h 1040808"/>
                <a:gd name="connsiteX1" fmla="*/ 316708 w 625544"/>
                <a:gd name="connsiteY1" fmla="*/ 2739 h 1040808"/>
                <a:gd name="connsiteX2" fmla="*/ 546711 w 625544"/>
                <a:gd name="connsiteY2" fmla="*/ 176593 h 1040808"/>
                <a:gd name="connsiteX3" fmla="*/ 432115 w 625544"/>
                <a:gd name="connsiteY3" fmla="*/ 496403 h 1040808"/>
                <a:gd name="connsiteX4" fmla="*/ 625399 w 625544"/>
                <a:gd name="connsiteY4" fmla="*/ 766232 h 1040808"/>
                <a:gd name="connsiteX5" fmla="*/ 451394 w 625544"/>
                <a:gd name="connsiteY5" fmla="*/ 1040808 h 1040808"/>
                <a:gd name="connsiteX0" fmla="*/ 4206 w 624742"/>
                <a:gd name="connsiteY0" fmla="*/ 298093 h 1039197"/>
                <a:gd name="connsiteX1" fmla="*/ 315906 w 624742"/>
                <a:gd name="connsiteY1" fmla="*/ 1128 h 1039197"/>
                <a:gd name="connsiteX2" fmla="*/ 545909 w 624742"/>
                <a:gd name="connsiteY2" fmla="*/ 174982 h 1039197"/>
                <a:gd name="connsiteX3" fmla="*/ 431313 w 624742"/>
                <a:gd name="connsiteY3" fmla="*/ 494792 h 1039197"/>
                <a:gd name="connsiteX4" fmla="*/ 624597 w 624742"/>
                <a:gd name="connsiteY4" fmla="*/ 764621 h 1039197"/>
                <a:gd name="connsiteX5" fmla="*/ 450592 w 624742"/>
                <a:gd name="connsiteY5" fmla="*/ 1039197 h 1039197"/>
                <a:gd name="connsiteX0" fmla="*/ 4206 w 624742"/>
                <a:gd name="connsiteY0" fmla="*/ 298093 h 1039197"/>
                <a:gd name="connsiteX1" fmla="*/ 315906 w 624742"/>
                <a:gd name="connsiteY1" fmla="*/ 1128 h 1039197"/>
                <a:gd name="connsiteX2" fmla="*/ 545909 w 624742"/>
                <a:gd name="connsiteY2" fmla="*/ 174982 h 1039197"/>
                <a:gd name="connsiteX3" fmla="*/ 431313 w 624742"/>
                <a:gd name="connsiteY3" fmla="*/ 494792 h 1039197"/>
                <a:gd name="connsiteX4" fmla="*/ 624597 w 624742"/>
                <a:gd name="connsiteY4" fmla="*/ 764621 h 1039197"/>
                <a:gd name="connsiteX5" fmla="*/ 450592 w 624742"/>
                <a:gd name="connsiteY5" fmla="*/ 1039197 h 1039197"/>
                <a:gd name="connsiteX0" fmla="*/ 4206 w 625023"/>
                <a:gd name="connsiteY0" fmla="*/ 298093 h 1039197"/>
                <a:gd name="connsiteX1" fmla="*/ 315906 w 625023"/>
                <a:gd name="connsiteY1" fmla="*/ 1128 h 1039197"/>
                <a:gd name="connsiteX2" fmla="*/ 545909 w 625023"/>
                <a:gd name="connsiteY2" fmla="*/ 174982 h 1039197"/>
                <a:gd name="connsiteX3" fmla="*/ 431313 w 625023"/>
                <a:gd name="connsiteY3" fmla="*/ 494792 h 1039197"/>
                <a:gd name="connsiteX4" fmla="*/ 624597 w 625023"/>
                <a:gd name="connsiteY4" fmla="*/ 764621 h 1039197"/>
                <a:gd name="connsiteX5" fmla="*/ 450592 w 625023"/>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5059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5059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25804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417542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417542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399268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399268 w 641503"/>
                <a:gd name="connsiteY5" fmla="*/ 1039197 h 103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503" h="1039197">
                  <a:moveTo>
                    <a:pt x="4206" y="298093"/>
                  </a:moveTo>
                  <a:cubicBezTo>
                    <a:pt x="-31441" y="73328"/>
                    <a:pt x="167021" y="-10969"/>
                    <a:pt x="315906" y="1128"/>
                  </a:cubicBezTo>
                  <a:cubicBezTo>
                    <a:pt x="428380" y="8585"/>
                    <a:pt x="527080" y="95916"/>
                    <a:pt x="545909" y="174982"/>
                  </a:cubicBezTo>
                  <a:cubicBezTo>
                    <a:pt x="579319" y="262305"/>
                    <a:pt x="557648" y="418486"/>
                    <a:pt x="431313" y="494792"/>
                  </a:cubicBezTo>
                  <a:cubicBezTo>
                    <a:pt x="576532" y="548013"/>
                    <a:pt x="647384" y="650808"/>
                    <a:pt x="641122" y="764621"/>
                  </a:cubicBezTo>
                  <a:cubicBezTo>
                    <a:pt x="633615" y="919493"/>
                    <a:pt x="546235" y="1010014"/>
                    <a:pt x="399268" y="1039197"/>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자유형: 도형 16">
              <a:extLst>
                <a:ext uri="{FF2B5EF4-FFF2-40B4-BE49-F238E27FC236}">
                  <a16:creationId xmlns:a16="http://schemas.microsoft.com/office/drawing/2014/main" id="{C37D70E0-A20D-4148-B555-A2F602510291}"/>
                </a:ext>
              </a:extLst>
            </p:cNvPr>
            <p:cNvSpPr/>
            <p:nvPr/>
          </p:nvSpPr>
          <p:spPr>
            <a:xfrm>
              <a:off x="6153240" y="3948272"/>
              <a:ext cx="785355" cy="780891"/>
            </a:xfrm>
            <a:custGeom>
              <a:avLst/>
              <a:gdLst>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379321 w 970498"/>
                <a:gd name="connsiteY7" fmla="*/ 59964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379321 w 970498"/>
                <a:gd name="connsiteY7" fmla="*/ 599641 h 925619"/>
                <a:gd name="connsiteX0" fmla="*/ 344345 w 1031548"/>
                <a:gd name="connsiteY0" fmla="*/ 213173 h 925619"/>
                <a:gd name="connsiteX1" fmla="*/ 532274 w 1031548"/>
                <a:gd name="connsiteY1" fmla="*/ 0 h 925619"/>
                <a:gd name="connsiteX2" fmla="*/ 672519 w 1031548"/>
                <a:gd name="connsiteY2" fmla="*/ 311345 h 925619"/>
                <a:gd name="connsiteX3" fmla="*/ 1031548 w 1031548"/>
                <a:gd name="connsiteY3" fmla="*/ 535737 h 925619"/>
                <a:gd name="connsiteX4" fmla="*/ 599592 w 1031548"/>
                <a:gd name="connsiteY4" fmla="*/ 925619 h 925619"/>
                <a:gd name="connsiteX5" fmla="*/ 61050 w 1031548"/>
                <a:gd name="connsiteY5" fmla="*/ 852692 h 925619"/>
                <a:gd name="connsiteX6" fmla="*/ 102819 w 1031548"/>
                <a:gd name="connsiteY6" fmla="*/ 395289 h 925619"/>
                <a:gd name="connsiteX7" fmla="*/ 440371 w 1031548"/>
                <a:gd name="connsiteY7" fmla="*/ 599641 h 925619"/>
                <a:gd name="connsiteX0" fmla="*/ 344345 w 1031548"/>
                <a:gd name="connsiteY0" fmla="*/ 213173 h 925619"/>
                <a:gd name="connsiteX1" fmla="*/ 532274 w 1031548"/>
                <a:gd name="connsiteY1" fmla="*/ 0 h 925619"/>
                <a:gd name="connsiteX2" fmla="*/ 672519 w 1031548"/>
                <a:gd name="connsiteY2" fmla="*/ 311345 h 925619"/>
                <a:gd name="connsiteX3" fmla="*/ 1031548 w 1031548"/>
                <a:gd name="connsiteY3" fmla="*/ 535737 h 925619"/>
                <a:gd name="connsiteX4" fmla="*/ 599592 w 1031548"/>
                <a:gd name="connsiteY4" fmla="*/ 925619 h 925619"/>
                <a:gd name="connsiteX5" fmla="*/ 61050 w 1031548"/>
                <a:gd name="connsiteY5" fmla="*/ 852692 h 925619"/>
                <a:gd name="connsiteX6" fmla="*/ 102819 w 1031548"/>
                <a:gd name="connsiteY6" fmla="*/ 395289 h 925619"/>
                <a:gd name="connsiteX7" fmla="*/ 440371 w 1031548"/>
                <a:gd name="connsiteY7" fmla="*/ 599641 h 925619"/>
                <a:gd name="connsiteX0" fmla="*/ 347877 w 1035080"/>
                <a:gd name="connsiteY0" fmla="*/ 213173 h 925619"/>
                <a:gd name="connsiteX1" fmla="*/ 535806 w 1035080"/>
                <a:gd name="connsiteY1" fmla="*/ 0 h 925619"/>
                <a:gd name="connsiteX2" fmla="*/ 676051 w 1035080"/>
                <a:gd name="connsiteY2" fmla="*/ 311345 h 925619"/>
                <a:gd name="connsiteX3" fmla="*/ 1035080 w 1035080"/>
                <a:gd name="connsiteY3" fmla="*/ 535737 h 925619"/>
                <a:gd name="connsiteX4" fmla="*/ 603124 w 1035080"/>
                <a:gd name="connsiteY4" fmla="*/ 925619 h 925619"/>
                <a:gd name="connsiteX5" fmla="*/ 53565 w 1035080"/>
                <a:gd name="connsiteY5" fmla="*/ 871971 h 925619"/>
                <a:gd name="connsiteX6" fmla="*/ 106351 w 1035080"/>
                <a:gd name="connsiteY6" fmla="*/ 395289 h 925619"/>
                <a:gd name="connsiteX7" fmla="*/ 443903 w 1035080"/>
                <a:gd name="connsiteY7" fmla="*/ 599641 h 925619"/>
                <a:gd name="connsiteX0" fmla="*/ 375671 w 1062874"/>
                <a:gd name="connsiteY0" fmla="*/ 213173 h 925619"/>
                <a:gd name="connsiteX1" fmla="*/ 563600 w 1062874"/>
                <a:gd name="connsiteY1" fmla="*/ 0 h 925619"/>
                <a:gd name="connsiteX2" fmla="*/ 703845 w 1062874"/>
                <a:gd name="connsiteY2" fmla="*/ 311345 h 925619"/>
                <a:gd name="connsiteX3" fmla="*/ 1062874 w 1062874"/>
                <a:gd name="connsiteY3" fmla="*/ 535737 h 925619"/>
                <a:gd name="connsiteX4" fmla="*/ 630918 w 1062874"/>
                <a:gd name="connsiteY4" fmla="*/ 925619 h 925619"/>
                <a:gd name="connsiteX5" fmla="*/ 81359 w 1062874"/>
                <a:gd name="connsiteY5" fmla="*/ 871971 h 925619"/>
                <a:gd name="connsiteX6" fmla="*/ 134145 w 1062874"/>
                <a:gd name="connsiteY6" fmla="*/ 395289 h 925619"/>
                <a:gd name="connsiteX7" fmla="*/ 471697 w 1062874"/>
                <a:gd name="connsiteY7" fmla="*/ 599641 h 925619"/>
                <a:gd name="connsiteX0" fmla="*/ 375671 w 1062874"/>
                <a:gd name="connsiteY0" fmla="*/ 213173 h 973239"/>
                <a:gd name="connsiteX1" fmla="*/ 563600 w 1062874"/>
                <a:gd name="connsiteY1" fmla="*/ 0 h 973239"/>
                <a:gd name="connsiteX2" fmla="*/ 703845 w 1062874"/>
                <a:gd name="connsiteY2" fmla="*/ 311345 h 973239"/>
                <a:gd name="connsiteX3" fmla="*/ 1062874 w 1062874"/>
                <a:gd name="connsiteY3" fmla="*/ 535737 h 973239"/>
                <a:gd name="connsiteX4" fmla="*/ 630918 w 1062874"/>
                <a:gd name="connsiteY4" fmla="*/ 925619 h 973239"/>
                <a:gd name="connsiteX5" fmla="*/ 81359 w 1062874"/>
                <a:gd name="connsiteY5" fmla="*/ 871971 h 973239"/>
                <a:gd name="connsiteX6" fmla="*/ 134145 w 1062874"/>
                <a:gd name="connsiteY6" fmla="*/ 395289 h 973239"/>
                <a:gd name="connsiteX7" fmla="*/ 471697 w 1062874"/>
                <a:gd name="connsiteY7" fmla="*/ 599641 h 973239"/>
                <a:gd name="connsiteX0" fmla="*/ 375671 w 1062874"/>
                <a:gd name="connsiteY0" fmla="*/ 213173 h 973239"/>
                <a:gd name="connsiteX1" fmla="*/ 563600 w 1062874"/>
                <a:gd name="connsiteY1" fmla="*/ 0 h 973239"/>
                <a:gd name="connsiteX2" fmla="*/ 703845 w 1062874"/>
                <a:gd name="connsiteY2" fmla="*/ 311345 h 973239"/>
                <a:gd name="connsiteX3" fmla="*/ 1062874 w 1062874"/>
                <a:gd name="connsiteY3" fmla="*/ 535737 h 973239"/>
                <a:gd name="connsiteX4" fmla="*/ 606130 w 1062874"/>
                <a:gd name="connsiteY4" fmla="*/ 925619 h 973239"/>
                <a:gd name="connsiteX5" fmla="*/ 81359 w 1062874"/>
                <a:gd name="connsiteY5" fmla="*/ 871971 h 973239"/>
                <a:gd name="connsiteX6" fmla="*/ 134145 w 1062874"/>
                <a:gd name="connsiteY6" fmla="*/ 395289 h 973239"/>
                <a:gd name="connsiteX7" fmla="*/ 471697 w 1062874"/>
                <a:gd name="connsiteY7" fmla="*/ 599641 h 973239"/>
                <a:gd name="connsiteX0" fmla="*/ 375671 w 1062874"/>
                <a:gd name="connsiteY0" fmla="*/ 213173 h 979036"/>
                <a:gd name="connsiteX1" fmla="*/ 563600 w 1062874"/>
                <a:gd name="connsiteY1" fmla="*/ 0 h 979036"/>
                <a:gd name="connsiteX2" fmla="*/ 703845 w 1062874"/>
                <a:gd name="connsiteY2" fmla="*/ 311345 h 979036"/>
                <a:gd name="connsiteX3" fmla="*/ 1062874 w 1062874"/>
                <a:gd name="connsiteY3" fmla="*/ 535737 h 979036"/>
                <a:gd name="connsiteX4" fmla="*/ 597867 w 1062874"/>
                <a:gd name="connsiteY4" fmla="*/ 942144 h 979036"/>
                <a:gd name="connsiteX5" fmla="*/ 81359 w 1062874"/>
                <a:gd name="connsiteY5" fmla="*/ 871971 h 979036"/>
                <a:gd name="connsiteX6" fmla="*/ 134145 w 1062874"/>
                <a:gd name="connsiteY6" fmla="*/ 395289 h 979036"/>
                <a:gd name="connsiteX7" fmla="*/ 471697 w 1062874"/>
                <a:gd name="connsiteY7" fmla="*/ 599641 h 979036"/>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33999"/>
                <a:gd name="connsiteX1" fmla="*/ 563600 w 1062874"/>
                <a:gd name="connsiteY1" fmla="*/ 0 h 1033999"/>
                <a:gd name="connsiteX2" fmla="*/ 703845 w 1062874"/>
                <a:gd name="connsiteY2" fmla="*/ 311345 h 1033999"/>
                <a:gd name="connsiteX3" fmla="*/ 1062874 w 1062874"/>
                <a:gd name="connsiteY3" fmla="*/ 535737 h 1033999"/>
                <a:gd name="connsiteX4" fmla="*/ 597867 w 1062874"/>
                <a:gd name="connsiteY4" fmla="*/ 942144 h 1033999"/>
                <a:gd name="connsiteX5" fmla="*/ 81359 w 1062874"/>
                <a:gd name="connsiteY5" fmla="*/ 871971 h 1033999"/>
                <a:gd name="connsiteX6" fmla="*/ 134145 w 1062874"/>
                <a:gd name="connsiteY6" fmla="*/ 395289 h 1033999"/>
                <a:gd name="connsiteX7" fmla="*/ 471697 w 1062874"/>
                <a:gd name="connsiteY7" fmla="*/ 599641 h 1033999"/>
                <a:gd name="connsiteX0" fmla="*/ 363975 w 1051178"/>
                <a:gd name="connsiteY0" fmla="*/ 213173 h 1033999"/>
                <a:gd name="connsiteX1" fmla="*/ 551904 w 1051178"/>
                <a:gd name="connsiteY1" fmla="*/ 0 h 1033999"/>
                <a:gd name="connsiteX2" fmla="*/ 692149 w 1051178"/>
                <a:gd name="connsiteY2" fmla="*/ 311345 h 1033999"/>
                <a:gd name="connsiteX3" fmla="*/ 1051178 w 1051178"/>
                <a:gd name="connsiteY3" fmla="*/ 535737 h 1033999"/>
                <a:gd name="connsiteX4" fmla="*/ 586171 w 1051178"/>
                <a:gd name="connsiteY4" fmla="*/ 942144 h 1033999"/>
                <a:gd name="connsiteX5" fmla="*/ 69663 w 1051178"/>
                <a:gd name="connsiteY5" fmla="*/ 871971 h 1033999"/>
                <a:gd name="connsiteX6" fmla="*/ 122449 w 1051178"/>
                <a:gd name="connsiteY6" fmla="*/ 395289 h 1033999"/>
                <a:gd name="connsiteX7" fmla="*/ 460001 w 1051178"/>
                <a:gd name="connsiteY7" fmla="*/ 599641 h 1033999"/>
                <a:gd name="connsiteX0" fmla="*/ 363975 w 1051178"/>
                <a:gd name="connsiteY0" fmla="*/ 213173 h 1030327"/>
                <a:gd name="connsiteX1" fmla="*/ 551904 w 1051178"/>
                <a:gd name="connsiteY1" fmla="*/ 0 h 1030327"/>
                <a:gd name="connsiteX2" fmla="*/ 692149 w 1051178"/>
                <a:gd name="connsiteY2" fmla="*/ 311345 h 1030327"/>
                <a:gd name="connsiteX3" fmla="*/ 1051178 w 1051178"/>
                <a:gd name="connsiteY3" fmla="*/ 535737 h 1030327"/>
                <a:gd name="connsiteX4" fmla="*/ 613713 w 1051178"/>
                <a:gd name="connsiteY4" fmla="*/ 936636 h 1030327"/>
                <a:gd name="connsiteX5" fmla="*/ 69663 w 1051178"/>
                <a:gd name="connsiteY5" fmla="*/ 871971 h 1030327"/>
                <a:gd name="connsiteX6" fmla="*/ 122449 w 1051178"/>
                <a:gd name="connsiteY6" fmla="*/ 395289 h 1030327"/>
                <a:gd name="connsiteX7" fmla="*/ 460001 w 1051178"/>
                <a:gd name="connsiteY7" fmla="*/ 599641 h 1030327"/>
                <a:gd name="connsiteX0" fmla="*/ 363975 w 1051178"/>
                <a:gd name="connsiteY0" fmla="*/ 213173 h 1030327"/>
                <a:gd name="connsiteX1" fmla="*/ 551904 w 1051178"/>
                <a:gd name="connsiteY1" fmla="*/ 0 h 1030327"/>
                <a:gd name="connsiteX2" fmla="*/ 692149 w 1051178"/>
                <a:gd name="connsiteY2" fmla="*/ 311345 h 1030327"/>
                <a:gd name="connsiteX3" fmla="*/ 1051178 w 1051178"/>
                <a:gd name="connsiteY3" fmla="*/ 535737 h 1030327"/>
                <a:gd name="connsiteX4" fmla="*/ 613713 w 1051178"/>
                <a:gd name="connsiteY4" fmla="*/ 936636 h 1030327"/>
                <a:gd name="connsiteX5" fmla="*/ 69663 w 1051178"/>
                <a:gd name="connsiteY5" fmla="*/ 871971 h 1030327"/>
                <a:gd name="connsiteX6" fmla="*/ 122449 w 1051178"/>
                <a:gd name="connsiteY6" fmla="*/ 395289 h 1030327"/>
                <a:gd name="connsiteX7" fmla="*/ 460001 w 1051178"/>
                <a:gd name="connsiteY7" fmla="*/ 599641 h 1030327"/>
                <a:gd name="connsiteX0" fmla="*/ 363975 w 1034653"/>
                <a:gd name="connsiteY0" fmla="*/ 213173 h 1030327"/>
                <a:gd name="connsiteX1" fmla="*/ 551904 w 1034653"/>
                <a:gd name="connsiteY1" fmla="*/ 0 h 1030327"/>
                <a:gd name="connsiteX2" fmla="*/ 692149 w 1034653"/>
                <a:gd name="connsiteY2" fmla="*/ 311345 h 1030327"/>
                <a:gd name="connsiteX3" fmla="*/ 1034653 w 1034653"/>
                <a:gd name="connsiteY3" fmla="*/ 538491 h 1030327"/>
                <a:gd name="connsiteX4" fmla="*/ 613713 w 1034653"/>
                <a:gd name="connsiteY4" fmla="*/ 936636 h 1030327"/>
                <a:gd name="connsiteX5" fmla="*/ 69663 w 1034653"/>
                <a:gd name="connsiteY5" fmla="*/ 871971 h 1030327"/>
                <a:gd name="connsiteX6" fmla="*/ 122449 w 1034653"/>
                <a:gd name="connsiteY6" fmla="*/ 395289 h 1030327"/>
                <a:gd name="connsiteX7" fmla="*/ 460001 w 1034653"/>
                <a:gd name="connsiteY7" fmla="*/ 599641 h 1030327"/>
                <a:gd name="connsiteX0" fmla="*/ 363975 w 1037690"/>
                <a:gd name="connsiteY0" fmla="*/ 213173 h 1030327"/>
                <a:gd name="connsiteX1" fmla="*/ 551904 w 1037690"/>
                <a:gd name="connsiteY1" fmla="*/ 0 h 1030327"/>
                <a:gd name="connsiteX2" fmla="*/ 692149 w 1037690"/>
                <a:gd name="connsiteY2" fmla="*/ 311345 h 1030327"/>
                <a:gd name="connsiteX3" fmla="*/ 1034653 w 1037690"/>
                <a:gd name="connsiteY3" fmla="*/ 538491 h 1030327"/>
                <a:gd name="connsiteX4" fmla="*/ 613713 w 1037690"/>
                <a:gd name="connsiteY4" fmla="*/ 936636 h 1030327"/>
                <a:gd name="connsiteX5" fmla="*/ 69663 w 1037690"/>
                <a:gd name="connsiteY5" fmla="*/ 871971 h 1030327"/>
                <a:gd name="connsiteX6" fmla="*/ 122449 w 1037690"/>
                <a:gd name="connsiteY6" fmla="*/ 395289 h 1030327"/>
                <a:gd name="connsiteX7" fmla="*/ 460001 w 1037690"/>
                <a:gd name="connsiteY7" fmla="*/ 599641 h 1030327"/>
                <a:gd name="connsiteX0" fmla="*/ 363975 w 1037917"/>
                <a:gd name="connsiteY0" fmla="*/ 213173 h 1030327"/>
                <a:gd name="connsiteX1" fmla="*/ 551904 w 1037917"/>
                <a:gd name="connsiteY1" fmla="*/ 0 h 1030327"/>
                <a:gd name="connsiteX2" fmla="*/ 692149 w 1037917"/>
                <a:gd name="connsiteY2" fmla="*/ 311345 h 1030327"/>
                <a:gd name="connsiteX3" fmla="*/ 1034653 w 1037917"/>
                <a:gd name="connsiteY3" fmla="*/ 538491 h 1030327"/>
                <a:gd name="connsiteX4" fmla="*/ 613713 w 1037917"/>
                <a:gd name="connsiteY4" fmla="*/ 936636 h 1030327"/>
                <a:gd name="connsiteX5" fmla="*/ 69663 w 1037917"/>
                <a:gd name="connsiteY5" fmla="*/ 871971 h 1030327"/>
                <a:gd name="connsiteX6" fmla="*/ 122449 w 1037917"/>
                <a:gd name="connsiteY6" fmla="*/ 395289 h 1030327"/>
                <a:gd name="connsiteX7" fmla="*/ 460001 w 1037917"/>
                <a:gd name="connsiteY7" fmla="*/ 599641 h 1030327"/>
                <a:gd name="connsiteX0" fmla="*/ 363975 w 1046257"/>
                <a:gd name="connsiteY0" fmla="*/ 213173 h 1030327"/>
                <a:gd name="connsiteX1" fmla="*/ 551904 w 1046257"/>
                <a:gd name="connsiteY1" fmla="*/ 0 h 1030327"/>
                <a:gd name="connsiteX2" fmla="*/ 692149 w 1046257"/>
                <a:gd name="connsiteY2" fmla="*/ 311345 h 1030327"/>
                <a:gd name="connsiteX3" fmla="*/ 1034653 w 1046257"/>
                <a:gd name="connsiteY3" fmla="*/ 538491 h 1030327"/>
                <a:gd name="connsiteX4" fmla="*/ 613713 w 1046257"/>
                <a:gd name="connsiteY4" fmla="*/ 936636 h 1030327"/>
                <a:gd name="connsiteX5" fmla="*/ 69663 w 1046257"/>
                <a:gd name="connsiteY5" fmla="*/ 871971 h 1030327"/>
                <a:gd name="connsiteX6" fmla="*/ 122449 w 1046257"/>
                <a:gd name="connsiteY6" fmla="*/ 395289 h 1030327"/>
                <a:gd name="connsiteX7" fmla="*/ 460001 w 1046257"/>
                <a:gd name="connsiteY7" fmla="*/ 599641 h 1030327"/>
                <a:gd name="connsiteX0" fmla="*/ 363975 w 1046257"/>
                <a:gd name="connsiteY0" fmla="*/ 213173 h 1030327"/>
                <a:gd name="connsiteX1" fmla="*/ 551904 w 1046257"/>
                <a:gd name="connsiteY1" fmla="*/ 0 h 1030327"/>
                <a:gd name="connsiteX2" fmla="*/ 692149 w 1046257"/>
                <a:gd name="connsiteY2" fmla="*/ 311345 h 1030327"/>
                <a:gd name="connsiteX3" fmla="*/ 1034653 w 1046257"/>
                <a:gd name="connsiteY3" fmla="*/ 538491 h 1030327"/>
                <a:gd name="connsiteX4" fmla="*/ 613713 w 1046257"/>
                <a:gd name="connsiteY4" fmla="*/ 936636 h 1030327"/>
                <a:gd name="connsiteX5" fmla="*/ 69663 w 1046257"/>
                <a:gd name="connsiteY5" fmla="*/ 871971 h 1030327"/>
                <a:gd name="connsiteX6" fmla="*/ 122449 w 1046257"/>
                <a:gd name="connsiteY6" fmla="*/ 395289 h 1030327"/>
                <a:gd name="connsiteX7" fmla="*/ 460001 w 1046257"/>
                <a:gd name="connsiteY7" fmla="*/ 599641 h 1030327"/>
                <a:gd name="connsiteX0" fmla="*/ 363975 w 1041370"/>
                <a:gd name="connsiteY0" fmla="*/ 213173 h 1030327"/>
                <a:gd name="connsiteX1" fmla="*/ 551904 w 1041370"/>
                <a:gd name="connsiteY1" fmla="*/ 0 h 1030327"/>
                <a:gd name="connsiteX2" fmla="*/ 692149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92149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270 h 1030424"/>
                <a:gd name="connsiteX1" fmla="*/ 551904 w 1041370"/>
                <a:gd name="connsiteY1" fmla="*/ 97 h 1030424"/>
                <a:gd name="connsiteX2" fmla="*/ 675624 w 1041370"/>
                <a:gd name="connsiteY2" fmla="*/ 300425 h 1030424"/>
                <a:gd name="connsiteX3" fmla="*/ 1034653 w 1041370"/>
                <a:gd name="connsiteY3" fmla="*/ 538588 h 1030424"/>
                <a:gd name="connsiteX4" fmla="*/ 613713 w 1041370"/>
                <a:gd name="connsiteY4" fmla="*/ 936733 h 1030424"/>
                <a:gd name="connsiteX5" fmla="*/ 69663 w 1041370"/>
                <a:gd name="connsiteY5" fmla="*/ 872068 h 1030424"/>
                <a:gd name="connsiteX6" fmla="*/ 122449 w 1041370"/>
                <a:gd name="connsiteY6" fmla="*/ 395386 h 1030424"/>
                <a:gd name="connsiteX7" fmla="*/ 460001 w 1041370"/>
                <a:gd name="connsiteY7" fmla="*/ 599738 h 1030424"/>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266"/>
                <a:gd name="connsiteY0" fmla="*/ 237961 h 1016230"/>
                <a:gd name="connsiteX1" fmla="*/ 551904 w 1041266"/>
                <a:gd name="connsiteY1" fmla="*/ 0 h 1016230"/>
                <a:gd name="connsiteX2" fmla="*/ 675624 w 1041266"/>
                <a:gd name="connsiteY2" fmla="*/ 300328 h 1016230"/>
                <a:gd name="connsiteX3" fmla="*/ 1034653 w 1041266"/>
                <a:gd name="connsiteY3" fmla="*/ 538491 h 1016230"/>
                <a:gd name="connsiteX4" fmla="*/ 610959 w 1041266"/>
                <a:gd name="connsiteY4" fmla="*/ 914602 h 1016230"/>
                <a:gd name="connsiteX5" fmla="*/ 69663 w 1041266"/>
                <a:gd name="connsiteY5" fmla="*/ 871971 h 1016230"/>
                <a:gd name="connsiteX6" fmla="*/ 122449 w 1041266"/>
                <a:gd name="connsiteY6" fmla="*/ 395289 h 1016230"/>
                <a:gd name="connsiteX7" fmla="*/ 407671 w 1041266"/>
                <a:gd name="connsiteY7" fmla="*/ 709810 h 1016230"/>
                <a:gd name="connsiteX0" fmla="*/ 408043 w 1042386"/>
                <a:gd name="connsiteY0" fmla="*/ 237961 h 1016230"/>
                <a:gd name="connsiteX1" fmla="*/ 551904 w 1042386"/>
                <a:gd name="connsiteY1" fmla="*/ 0 h 1016230"/>
                <a:gd name="connsiteX2" fmla="*/ 675624 w 1042386"/>
                <a:gd name="connsiteY2" fmla="*/ 300328 h 1016230"/>
                <a:gd name="connsiteX3" fmla="*/ 1034653 w 1042386"/>
                <a:gd name="connsiteY3" fmla="*/ 538491 h 1016230"/>
                <a:gd name="connsiteX4" fmla="*/ 610959 w 1042386"/>
                <a:gd name="connsiteY4" fmla="*/ 914602 h 1016230"/>
                <a:gd name="connsiteX5" fmla="*/ 69663 w 1042386"/>
                <a:gd name="connsiteY5" fmla="*/ 871971 h 1016230"/>
                <a:gd name="connsiteX6" fmla="*/ 122449 w 1042386"/>
                <a:gd name="connsiteY6" fmla="*/ 395289 h 1016230"/>
                <a:gd name="connsiteX7" fmla="*/ 407671 w 1042386"/>
                <a:gd name="connsiteY7" fmla="*/ 709810 h 1016230"/>
                <a:gd name="connsiteX0" fmla="*/ 408043 w 1042386"/>
                <a:gd name="connsiteY0" fmla="*/ 237961 h 1031503"/>
                <a:gd name="connsiteX1" fmla="*/ 551904 w 1042386"/>
                <a:gd name="connsiteY1" fmla="*/ 0 h 1031503"/>
                <a:gd name="connsiteX2" fmla="*/ 675624 w 1042386"/>
                <a:gd name="connsiteY2" fmla="*/ 300328 h 1031503"/>
                <a:gd name="connsiteX3" fmla="*/ 1034653 w 1042386"/>
                <a:gd name="connsiteY3" fmla="*/ 538491 h 1031503"/>
                <a:gd name="connsiteX4" fmla="*/ 610959 w 1042386"/>
                <a:gd name="connsiteY4" fmla="*/ 914602 h 1031503"/>
                <a:gd name="connsiteX5" fmla="*/ 69663 w 1042386"/>
                <a:gd name="connsiteY5" fmla="*/ 871971 h 1031503"/>
                <a:gd name="connsiteX6" fmla="*/ 122449 w 1042386"/>
                <a:gd name="connsiteY6" fmla="*/ 395289 h 1031503"/>
                <a:gd name="connsiteX7" fmla="*/ 407671 w 1042386"/>
                <a:gd name="connsiteY7" fmla="*/ 709810 h 1031503"/>
                <a:gd name="connsiteX0" fmla="*/ 408043 w 1040983"/>
                <a:gd name="connsiteY0" fmla="*/ 237961 h 1031503"/>
                <a:gd name="connsiteX1" fmla="*/ 551904 w 1040983"/>
                <a:gd name="connsiteY1" fmla="*/ 0 h 1031503"/>
                <a:gd name="connsiteX2" fmla="*/ 675624 w 1040983"/>
                <a:gd name="connsiteY2" fmla="*/ 300328 h 1031503"/>
                <a:gd name="connsiteX3" fmla="*/ 1034653 w 1040983"/>
                <a:gd name="connsiteY3" fmla="*/ 538491 h 1031503"/>
                <a:gd name="connsiteX4" fmla="*/ 610959 w 1040983"/>
                <a:gd name="connsiteY4" fmla="*/ 914602 h 1031503"/>
                <a:gd name="connsiteX5" fmla="*/ 69663 w 1040983"/>
                <a:gd name="connsiteY5" fmla="*/ 871971 h 1031503"/>
                <a:gd name="connsiteX6" fmla="*/ 122449 w 1040983"/>
                <a:gd name="connsiteY6" fmla="*/ 395289 h 1031503"/>
                <a:gd name="connsiteX7" fmla="*/ 407671 w 1040983"/>
                <a:gd name="connsiteY7" fmla="*/ 709810 h 1031503"/>
                <a:gd name="connsiteX0" fmla="*/ 408043 w 1040983"/>
                <a:gd name="connsiteY0" fmla="*/ 237961 h 1036239"/>
                <a:gd name="connsiteX1" fmla="*/ 551904 w 1040983"/>
                <a:gd name="connsiteY1" fmla="*/ 0 h 1036239"/>
                <a:gd name="connsiteX2" fmla="*/ 675624 w 1040983"/>
                <a:gd name="connsiteY2" fmla="*/ 300328 h 1036239"/>
                <a:gd name="connsiteX3" fmla="*/ 1034653 w 1040983"/>
                <a:gd name="connsiteY3" fmla="*/ 538491 h 1036239"/>
                <a:gd name="connsiteX4" fmla="*/ 610959 w 1040983"/>
                <a:gd name="connsiteY4" fmla="*/ 914602 h 1036239"/>
                <a:gd name="connsiteX5" fmla="*/ 69663 w 1040983"/>
                <a:gd name="connsiteY5" fmla="*/ 871971 h 1036239"/>
                <a:gd name="connsiteX6" fmla="*/ 122449 w 1040983"/>
                <a:gd name="connsiteY6" fmla="*/ 395289 h 1036239"/>
                <a:gd name="connsiteX7" fmla="*/ 407671 w 1040983"/>
                <a:gd name="connsiteY7" fmla="*/ 709810 h 1036239"/>
                <a:gd name="connsiteX0" fmla="*/ 408043 w 1040106"/>
                <a:gd name="connsiteY0" fmla="*/ 237961 h 1036239"/>
                <a:gd name="connsiteX1" fmla="*/ 551904 w 1040106"/>
                <a:gd name="connsiteY1" fmla="*/ 0 h 1036239"/>
                <a:gd name="connsiteX2" fmla="*/ 675624 w 1040106"/>
                <a:gd name="connsiteY2" fmla="*/ 300328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2163"/>
                <a:gd name="connsiteY0" fmla="*/ 237961 h 1036239"/>
                <a:gd name="connsiteX1" fmla="*/ 551904 w 1042163"/>
                <a:gd name="connsiteY1" fmla="*/ 0 h 1036239"/>
                <a:gd name="connsiteX2" fmla="*/ 694904 w 1042163"/>
                <a:gd name="connsiteY2" fmla="*/ 308591 h 1036239"/>
                <a:gd name="connsiteX3" fmla="*/ 1034653 w 1042163"/>
                <a:gd name="connsiteY3" fmla="*/ 538491 h 1036239"/>
                <a:gd name="connsiteX4" fmla="*/ 610959 w 1042163"/>
                <a:gd name="connsiteY4" fmla="*/ 914602 h 1036239"/>
                <a:gd name="connsiteX5" fmla="*/ 69663 w 1042163"/>
                <a:gd name="connsiteY5" fmla="*/ 871971 h 1036239"/>
                <a:gd name="connsiteX6" fmla="*/ 122449 w 1042163"/>
                <a:gd name="connsiteY6" fmla="*/ 395289 h 1036239"/>
                <a:gd name="connsiteX7" fmla="*/ 407671 w 1042163"/>
                <a:gd name="connsiteY7" fmla="*/ 709810 h 103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163" h="1036239">
                  <a:moveTo>
                    <a:pt x="408043" y="237961"/>
                  </a:moveTo>
                  <a:cubicBezTo>
                    <a:pt x="343992" y="128344"/>
                    <a:pt x="425913" y="2202"/>
                    <a:pt x="551904" y="0"/>
                  </a:cubicBezTo>
                  <a:cubicBezTo>
                    <a:pt x="692297" y="9220"/>
                    <a:pt x="799637" y="145134"/>
                    <a:pt x="694904" y="308591"/>
                  </a:cubicBezTo>
                  <a:cubicBezTo>
                    <a:pt x="913733" y="254856"/>
                    <a:pt x="1005866" y="388412"/>
                    <a:pt x="1034653" y="538491"/>
                  </a:cubicBezTo>
                  <a:cubicBezTo>
                    <a:pt x="1080710" y="748323"/>
                    <a:pt x="911934" y="1029765"/>
                    <a:pt x="610959" y="914602"/>
                  </a:cubicBezTo>
                  <a:cubicBezTo>
                    <a:pt x="529678" y="1130828"/>
                    <a:pt x="156451" y="1022057"/>
                    <a:pt x="69663" y="871971"/>
                  </a:cubicBezTo>
                  <a:cubicBezTo>
                    <a:pt x="-4549" y="766325"/>
                    <a:pt x="-59482" y="489919"/>
                    <a:pt x="122449" y="395289"/>
                  </a:cubicBezTo>
                  <a:cubicBezTo>
                    <a:pt x="315758" y="274283"/>
                    <a:pt x="605462" y="514080"/>
                    <a:pt x="407671" y="709810"/>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자유형: 도형 17">
              <a:extLst>
                <a:ext uri="{FF2B5EF4-FFF2-40B4-BE49-F238E27FC236}">
                  <a16:creationId xmlns:a16="http://schemas.microsoft.com/office/drawing/2014/main" id="{400E8A4D-3A87-5D42-8A11-5ABF772A4B55}"/>
                </a:ext>
              </a:extLst>
            </p:cNvPr>
            <p:cNvSpPr/>
            <p:nvPr/>
          </p:nvSpPr>
          <p:spPr>
            <a:xfrm>
              <a:off x="6150565" y="3902140"/>
              <a:ext cx="223711" cy="335071"/>
            </a:xfrm>
            <a:custGeom>
              <a:avLst/>
              <a:gdLst>
                <a:gd name="connsiteX0" fmla="*/ 0 w 210368"/>
                <a:gd name="connsiteY0" fmla="*/ 692812 h 692812"/>
                <a:gd name="connsiteX1" fmla="*/ 145855 w 210368"/>
                <a:gd name="connsiteY1" fmla="*/ 0 h 692812"/>
                <a:gd name="connsiteX2" fmla="*/ 210368 w 210368"/>
                <a:gd name="connsiteY2" fmla="*/ 350614 h 692812"/>
                <a:gd name="connsiteX0" fmla="*/ 0 w 204758"/>
                <a:gd name="connsiteY0" fmla="*/ 692812 h 692812"/>
                <a:gd name="connsiteX1" fmla="*/ 145855 w 204758"/>
                <a:gd name="connsiteY1" fmla="*/ 0 h 692812"/>
                <a:gd name="connsiteX2" fmla="*/ 204758 w 204758"/>
                <a:gd name="connsiteY2" fmla="*/ 350614 h 692812"/>
                <a:gd name="connsiteX0" fmla="*/ 0 w 259110"/>
                <a:gd name="connsiteY0" fmla="*/ 692812 h 692812"/>
                <a:gd name="connsiteX1" fmla="*/ 145855 w 259110"/>
                <a:gd name="connsiteY1" fmla="*/ 0 h 692812"/>
                <a:gd name="connsiteX2" fmla="*/ 204758 w 259110"/>
                <a:gd name="connsiteY2" fmla="*/ 350614 h 692812"/>
                <a:gd name="connsiteX0" fmla="*/ 0 w 259110"/>
                <a:gd name="connsiteY0" fmla="*/ 670372 h 670372"/>
                <a:gd name="connsiteX1" fmla="*/ 145855 w 259110"/>
                <a:gd name="connsiteY1" fmla="*/ 0 h 670372"/>
                <a:gd name="connsiteX2" fmla="*/ 204758 w 259110"/>
                <a:gd name="connsiteY2" fmla="*/ 328174 h 670372"/>
                <a:gd name="connsiteX0" fmla="*/ 0 w 276458"/>
                <a:gd name="connsiteY0" fmla="*/ 670372 h 670372"/>
                <a:gd name="connsiteX1" fmla="*/ 145855 w 276458"/>
                <a:gd name="connsiteY1" fmla="*/ 0 h 670372"/>
                <a:gd name="connsiteX2" fmla="*/ 204758 w 276458"/>
                <a:gd name="connsiteY2" fmla="*/ 328174 h 670372"/>
                <a:gd name="connsiteX0" fmla="*/ 0 w 276458"/>
                <a:gd name="connsiteY0" fmla="*/ 670381 h 670381"/>
                <a:gd name="connsiteX1" fmla="*/ 145855 w 276458"/>
                <a:gd name="connsiteY1" fmla="*/ 9 h 670381"/>
                <a:gd name="connsiteX2" fmla="*/ 204758 w 276458"/>
                <a:gd name="connsiteY2" fmla="*/ 328183 h 670381"/>
                <a:gd name="connsiteX0" fmla="*/ 17567 w 294025"/>
                <a:gd name="connsiteY0" fmla="*/ 670381 h 670381"/>
                <a:gd name="connsiteX1" fmla="*/ 163422 w 294025"/>
                <a:gd name="connsiteY1" fmla="*/ 9 h 670381"/>
                <a:gd name="connsiteX2" fmla="*/ 222325 w 294025"/>
                <a:gd name="connsiteY2" fmla="*/ 328183 h 670381"/>
                <a:gd name="connsiteX0" fmla="*/ 17567 w 327330"/>
                <a:gd name="connsiteY0" fmla="*/ 671068 h 671068"/>
                <a:gd name="connsiteX1" fmla="*/ 163422 w 327330"/>
                <a:gd name="connsiteY1" fmla="*/ 696 h 671068"/>
                <a:gd name="connsiteX2" fmla="*/ 222325 w 327330"/>
                <a:gd name="connsiteY2" fmla="*/ 328870 h 671068"/>
                <a:gd name="connsiteX0" fmla="*/ 17567 w 321664"/>
                <a:gd name="connsiteY0" fmla="*/ 671068 h 671068"/>
                <a:gd name="connsiteX1" fmla="*/ 163422 w 321664"/>
                <a:gd name="connsiteY1" fmla="*/ 696 h 671068"/>
                <a:gd name="connsiteX2" fmla="*/ 222325 w 321664"/>
                <a:gd name="connsiteY2" fmla="*/ 328870 h 671068"/>
                <a:gd name="connsiteX0" fmla="*/ 18431 w 322528"/>
                <a:gd name="connsiteY0" fmla="*/ 671068 h 671068"/>
                <a:gd name="connsiteX1" fmla="*/ 164286 w 322528"/>
                <a:gd name="connsiteY1" fmla="*/ 696 h 671068"/>
                <a:gd name="connsiteX2" fmla="*/ 223189 w 322528"/>
                <a:gd name="connsiteY2" fmla="*/ 328870 h 671068"/>
                <a:gd name="connsiteX0" fmla="*/ 18431 w 311947"/>
                <a:gd name="connsiteY0" fmla="*/ 671151 h 671151"/>
                <a:gd name="connsiteX1" fmla="*/ 164286 w 311947"/>
                <a:gd name="connsiteY1" fmla="*/ 779 h 671151"/>
                <a:gd name="connsiteX2" fmla="*/ 203910 w 311947"/>
                <a:gd name="connsiteY2" fmla="*/ 312427 h 671151"/>
                <a:gd name="connsiteX0" fmla="*/ 18431 w 319515"/>
                <a:gd name="connsiteY0" fmla="*/ 670768 h 670768"/>
                <a:gd name="connsiteX1" fmla="*/ 164286 w 319515"/>
                <a:gd name="connsiteY1" fmla="*/ 396 h 670768"/>
                <a:gd name="connsiteX2" fmla="*/ 203910 w 319515"/>
                <a:gd name="connsiteY2" fmla="*/ 312044 h 670768"/>
                <a:gd name="connsiteX0" fmla="*/ 16717 w 317801"/>
                <a:gd name="connsiteY0" fmla="*/ 670768 h 670768"/>
                <a:gd name="connsiteX1" fmla="*/ 162572 w 317801"/>
                <a:gd name="connsiteY1" fmla="*/ 396 h 670768"/>
                <a:gd name="connsiteX2" fmla="*/ 202196 w 317801"/>
                <a:gd name="connsiteY2" fmla="*/ 312044 h 670768"/>
                <a:gd name="connsiteX0" fmla="*/ 16717 w 320719"/>
                <a:gd name="connsiteY0" fmla="*/ 670412 h 670412"/>
                <a:gd name="connsiteX1" fmla="*/ 162572 w 320719"/>
                <a:gd name="connsiteY1" fmla="*/ 40 h 670412"/>
                <a:gd name="connsiteX2" fmla="*/ 202196 w 320719"/>
                <a:gd name="connsiteY2" fmla="*/ 311688 h 670412"/>
                <a:gd name="connsiteX0" fmla="*/ 16717 w 314294"/>
                <a:gd name="connsiteY0" fmla="*/ 670412 h 670412"/>
                <a:gd name="connsiteX1" fmla="*/ 162572 w 314294"/>
                <a:gd name="connsiteY1" fmla="*/ 40 h 670412"/>
                <a:gd name="connsiteX2" fmla="*/ 202196 w 314294"/>
                <a:gd name="connsiteY2" fmla="*/ 311688 h 670412"/>
                <a:gd name="connsiteX0" fmla="*/ 20002 w 313692"/>
                <a:gd name="connsiteY0" fmla="*/ 684181 h 684181"/>
                <a:gd name="connsiteX1" fmla="*/ 157594 w 313692"/>
                <a:gd name="connsiteY1" fmla="*/ 38 h 684181"/>
                <a:gd name="connsiteX2" fmla="*/ 205481 w 313692"/>
                <a:gd name="connsiteY2" fmla="*/ 325457 h 684181"/>
                <a:gd name="connsiteX0" fmla="*/ 20002 w 335146"/>
                <a:gd name="connsiteY0" fmla="*/ 684143 h 684143"/>
                <a:gd name="connsiteX1" fmla="*/ 157594 w 335146"/>
                <a:gd name="connsiteY1" fmla="*/ 0 h 684143"/>
                <a:gd name="connsiteX2" fmla="*/ 205481 w 335146"/>
                <a:gd name="connsiteY2" fmla="*/ 325419 h 684143"/>
                <a:gd name="connsiteX0" fmla="*/ 20002 w 322593"/>
                <a:gd name="connsiteY0" fmla="*/ 684143 h 684143"/>
                <a:gd name="connsiteX1" fmla="*/ 157594 w 322593"/>
                <a:gd name="connsiteY1" fmla="*/ 0 h 684143"/>
                <a:gd name="connsiteX2" fmla="*/ 177939 w 322593"/>
                <a:gd name="connsiteY2" fmla="*/ 275843 h 684143"/>
                <a:gd name="connsiteX0" fmla="*/ 20002 w 322593"/>
                <a:gd name="connsiteY0" fmla="*/ 684143 h 684143"/>
                <a:gd name="connsiteX1" fmla="*/ 157594 w 322593"/>
                <a:gd name="connsiteY1" fmla="*/ 0 h 684143"/>
                <a:gd name="connsiteX2" fmla="*/ 177939 w 322593"/>
                <a:gd name="connsiteY2" fmla="*/ 275843 h 684143"/>
                <a:gd name="connsiteX0" fmla="*/ 20002 w 305016"/>
                <a:gd name="connsiteY0" fmla="*/ 684145 h 684145"/>
                <a:gd name="connsiteX1" fmla="*/ 157594 w 305016"/>
                <a:gd name="connsiteY1" fmla="*/ 2 h 684145"/>
                <a:gd name="connsiteX2" fmla="*/ 177939 w 305016"/>
                <a:gd name="connsiteY2" fmla="*/ 275845 h 684145"/>
                <a:gd name="connsiteX0" fmla="*/ 20002 w 305016"/>
                <a:gd name="connsiteY0" fmla="*/ 684145 h 684145"/>
                <a:gd name="connsiteX1" fmla="*/ 157594 w 305016"/>
                <a:gd name="connsiteY1" fmla="*/ 2 h 684145"/>
                <a:gd name="connsiteX2" fmla="*/ 177939 w 305016"/>
                <a:gd name="connsiteY2" fmla="*/ 275845 h 684145"/>
                <a:gd name="connsiteX0" fmla="*/ 11876 w 318923"/>
                <a:gd name="connsiteY0" fmla="*/ 463808 h 463808"/>
                <a:gd name="connsiteX1" fmla="*/ 171501 w 318923"/>
                <a:gd name="connsiteY1" fmla="*/ 2 h 463808"/>
                <a:gd name="connsiteX2" fmla="*/ 191846 w 318923"/>
                <a:gd name="connsiteY2" fmla="*/ 275845 h 463808"/>
                <a:gd name="connsiteX0" fmla="*/ 11876 w 318923"/>
                <a:gd name="connsiteY0" fmla="*/ 444528 h 444528"/>
                <a:gd name="connsiteX1" fmla="*/ 171501 w 318923"/>
                <a:gd name="connsiteY1" fmla="*/ 2 h 444528"/>
                <a:gd name="connsiteX2" fmla="*/ 191846 w 318923"/>
                <a:gd name="connsiteY2" fmla="*/ 275845 h 444528"/>
                <a:gd name="connsiteX0" fmla="*/ 1452 w 308499"/>
                <a:gd name="connsiteY0" fmla="*/ 444528 h 444528"/>
                <a:gd name="connsiteX1" fmla="*/ 161077 w 308499"/>
                <a:gd name="connsiteY1" fmla="*/ 2 h 444528"/>
                <a:gd name="connsiteX2" fmla="*/ 181422 w 308499"/>
                <a:gd name="connsiteY2" fmla="*/ 275845 h 444528"/>
                <a:gd name="connsiteX0" fmla="*/ 1452 w 296864"/>
                <a:gd name="connsiteY0" fmla="*/ 444638 h 444638"/>
                <a:gd name="connsiteX1" fmla="*/ 161077 w 296864"/>
                <a:gd name="connsiteY1" fmla="*/ 112 h 444638"/>
                <a:gd name="connsiteX2" fmla="*/ 181422 w 296864"/>
                <a:gd name="connsiteY2" fmla="*/ 275955 h 444638"/>
              </a:gdLst>
              <a:ahLst/>
              <a:cxnLst>
                <a:cxn ang="0">
                  <a:pos x="connsiteX0" y="connsiteY0"/>
                </a:cxn>
                <a:cxn ang="0">
                  <a:pos x="connsiteX1" y="connsiteY1"/>
                </a:cxn>
                <a:cxn ang="0">
                  <a:pos x="connsiteX2" y="connsiteY2"/>
                </a:cxn>
              </a:cxnLst>
              <a:rect l="l" t="t" r="r" b="b"/>
              <a:pathLst>
                <a:path w="296864" h="444638">
                  <a:moveTo>
                    <a:pt x="1452" y="444638"/>
                  </a:moveTo>
                  <a:cubicBezTo>
                    <a:pt x="-2260" y="204656"/>
                    <a:pt x="-11482" y="8739"/>
                    <a:pt x="161077" y="112"/>
                  </a:cubicBezTo>
                  <a:cubicBezTo>
                    <a:pt x="350238" y="-6281"/>
                    <a:pt x="327228" y="262274"/>
                    <a:pt x="181422" y="275955"/>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74" name="직선 연결선 18">
              <a:extLst>
                <a:ext uri="{FF2B5EF4-FFF2-40B4-BE49-F238E27FC236}">
                  <a16:creationId xmlns:a16="http://schemas.microsoft.com/office/drawing/2014/main" id="{06407C04-FE14-F246-9B67-D28291A4EAA6}"/>
                </a:ext>
              </a:extLst>
            </p:cNvPr>
            <p:cNvCxnSpPr>
              <a:cxnSpLocks/>
            </p:cNvCxnSpPr>
            <p:nvPr/>
          </p:nvCxnSpPr>
          <p:spPr>
            <a:xfrm flipH="1">
              <a:off x="6152008" y="3476077"/>
              <a:ext cx="1188" cy="974737"/>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75" name="그룹 19">
            <a:extLst>
              <a:ext uri="{FF2B5EF4-FFF2-40B4-BE49-F238E27FC236}">
                <a16:creationId xmlns:a16="http://schemas.microsoft.com/office/drawing/2014/main" id="{88ECE75D-9BB9-E34C-8A75-7F195A3C0791}"/>
              </a:ext>
            </a:extLst>
          </p:cNvPr>
          <p:cNvGrpSpPr/>
          <p:nvPr/>
        </p:nvGrpSpPr>
        <p:grpSpPr>
          <a:xfrm flipH="1">
            <a:off x="4867025" y="2430334"/>
            <a:ext cx="1145945" cy="1726055"/>
            <a:chOff x="6150565" y="3254095"/>
            <a:chExt cx="979312" cy="1475068"/>
          </a:xfrm>
        </p:grpSpPr>
        <p:sp>
          <p:nvSpPr>
            <p:cNvPr id="76" name="자유형: 도형 20">
              <a:extLst>
                <a:ext uri="{FF2B5EF4-FFF2-40B4-BE49-F238E27FC236}">
                  <a16:creationId xmlns:a16="http://schemas.microsoft.com/office/drawing/2014/main" id="{8A33B4CF-1095-774E-862E-51EC1620A075}"/>
                </a:ext>
              </a:extLst>
            </p:cNvPr>
            <p:cNvSpPr/>
            <p:nvPr/>
          </p:nvSpPr>
          <p:spPr>
            <a:xfrm>
              <a:off x="6154072" y="3254095"/>
              <a:ext cx="734589" cy="517434"/>
            </a:xfrm>
            <a:custGeom>
              <a:avLst/>
              <a:gdLst>
                <a:gd name="connsiteX0" fmla="*/ 182319 w 931229"/>
                <a:gd name="connsiteY0" fmla="*/ 476834 h 617079"/>
                <a:gd name="connsiteX1" fmla="*/ 423541 w 931229"/>
                <a:gd name="connsiteY1" fmla="*/ 339394 h 617079"/>
                <a:gd name="connsiteX2" fmla="*/ 516103 w 931229"/>
                <a:gd name="connsiteY2" fmla="*/ 617079 h 617079"/>
                <a:gd name="connsiteX3" fmla="*/ 0 w 931229"/>
                <a:gd name="connsiteY3" fmla="*/ 448785 h 617079"/>
                <a:gd name="connsiteX4" fmla="*/ 274881 w 931229"/>
                <a:gd name="connsiteY4" fmla="*/ 0 h 617079"/>
                <a:gd name="connsiteX5" fmla="*/ 504883 w 931229"/>
                <a:gd name="connsiteY5" fmla="*/ 235612 h 617079"/>
                <a:gd name="connsiteX6" fmla="*/ 765740 w 931229"/>
                <a:gd name="connsiteY6" fmla="*/ 159879 h 617079"/>
                <a:gd name="connsiteX7" fmla="*/ 931229 w 931229"/>
                <a:gd name="connsiteY7" fmla="*/ 403906 h 617079"/>
                <a:gd name="connsiteX0" fmla="*/ 182319 w 931922"/>
                <a:gd name="connsiteY0" fmla="*/ 476834 h 617079"/>
                <a:gd name="connsiteX1" fmla="*/ 423541 w 931922"/>
                <a:gd name="connsiteY1" fmla="*/ 339394 h 617079"/>
                <a:gd name="connsiteX2" fmla="*/ 516103 w 931922"/>
                <a:gd name="connsiteY2" fmla="*/ 617079 h 617079"/>
                <a:gd name="connsiteX3" fmla="*/ 0 w 931922"/>
                <a:gd name="connsiteY3" fmla="*/ 448785 h 617079"/>
                <a:gd name="connsiteX4" fmla="*/ 274881 w 931922"/>
                <a:gd name="connsiteY4" fmla="*/ 0 h 617079"/>
                <a:gd name="connsiteX5" fmla="*/ 504883 w 931922"/>
                <a:gd name="connsiteY5" fmla="*/ 235612 h 617079"/>
                <a:gd name="connsiteX6" fmla="*/ 765740 w 931922"/>
                <a:gd name="connsiteY6" fmla="*/ 159879 h 617079"/>
                <a:gd name="connsiteX7" fmla="*/ 931229 w 931922"/>
                <a:gd name="connsiteY7" fmla="*/ 403906 h 617079"/>
                <a:gd name="connsiteX0" fmla="*/ 182319 w 931922"/>
                <a:gd name="connsiteY0" fmla="*/ 476834 h 617079"/>
                <a:gd name="connsiteX1" fmla="*/ 423541 w 931922"/>
                <a:gd name="connsiteY1" fmla="*/ 339394 h 617079"/>
                <a:gd name="connsiteX2" fmla="*/ 516103 w 931922"/>
                <a:gd name="connsiteY2" fmla="*/ 617079 h 617079"/>
                <a:gd name="connsiteX3" fmla="*/ 0 w 931922"/>
                <a:gd name="connsiteY3" fmla="*/ 448785 h 617079"/>
                <a:gd name="connsiteX4" fmla="*/ 274881 w 931922"/>
                <a:gd name="connsiteY4" fmla="*/ 0 h 617079"/>
                <a:gd name="connsiteX5" fmla="*/ 504883 w 931922"/>
                <a:gd name="connsiteY5" fmla="*/ 235612 h 617079"/>
                <a:gd name="connsiteX6" fmla="*/ 765740 w 931922"/>
                <a:gd name="connsiteY6" fmla="*/ 159879 h 617079"/>
                <a:gd name="connsiteX7" fmla="*/ 931229 w 931922"/>
                <a:gd name="connsiteY7" fmla="*/ 403906 h 617079"/>
                <a:gd name="connsiteX0" fmla="*/ 182319 w 931968"/>
                <a:gd name="connsiteY0" fmla="*/ 476834 h 617079"/>
                <a:gd name="connsiteX1" fmla="*/ 423541 w 931968"/>
                <a:gd name="connsiteY1" fmla="*/ 339394 h 617079"/>
                <a:gd name="connsiteX2" fmla="*/ 516103 w 931968"/>
                <a:gd name="connsiteY2" fmla="*/ 617079 h 617079"/>
                <a:gd name="connsiteX3" fmla="*/ 0 w 931968"/>
                <a:gd name="connsiteY3" fmla="*/ 448785 h 617079"/>
                <a:gd name="connsiteX4" fmla="*/ 274881 w 931968"/>
                <a:gd name="connsiteY4" fmla="*/ 0 h 617079"/>
                <a:gd name="connsiteX5" fmla="*/ 504883 w 931968"/>
                <a:gd name="connsiteY5" fmla="*/ 235612 h 617079"/>
                <a:gd name="connsiteX6" fmla="*/ 765740 w 931968"/>
                <a:gd name="connsiteY6" fmla="*/ 159879 h 617079"/>
                <a:gd name="connsiteX7" fmla="*/ 931229 w 93196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504883 w 932698"/>
                <a:gd name="connsiteY5" fmla="*/ 235612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504883 w 932698"/>
                <a:gd name="connsiteY5" fmla="*/ 235612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2698"/>
                <a:gd name="connsiteY0" fmla="*/ 476834 h 617079"/>
                <a:gd name="connsiteX1" fmla="*/ 423541 w 932698"/>
                <a:gd name="connsiteY1" fmla="*/ 339394 h 617079"/>
                <a:gd name="connsiteX2" fmla="*/ 516103 w 932698"/>
                <a:gd name="connsiteY2" fmla="*/ 617079 h 617079"/>
                <a:gd name="connsiteX3" fmla="*/ 0 w 932698"/>
                <a:gd name="connsiteY3" fmla="*/ 448785 h 617079"/>
                <a:gd name="connsiteX4" fmla="*/ 274881 w 932698"/>
                <a:gd name="connsiteY4" fmla="*/ 0 h 617079"/>
                <a:gd name="connsiteX5" fmla="*/ 477341 w 932698"/>
                <a:gd name="connsiteY5" fmla="*/ 243874 h 617079"/>
                <a:gd name="connsiteX6" fmla="*/ 765740 w 932698"/>
                <a:gd name="connsiteY6" fmla="*/ 159879 h 617079"/>
                <a:gd name="connsiteX7" fmla="*/ 931229 w 932698"/>
                <a:gd name="connsiteY7" fmla="*/ 403906 h 617079"/>
                <a:gd name="connsiteX0" fmla="*/ 182319 w 933062"/>
                <a:gd name="connsiteY0" fmla="*/ 476834 h 617079"/>
                <a:gd name="connsiteX1" fmla="*/ 423541 w 933062"/>
                <a:gd name="connsiteY1" fmla="*/ 339394 h 617079"/>
                <a:gd name="connsiteX2" fmla="*/ 516103 w 933062"/>
                <a:gd name="connsiteY2" fmla="*/ 617079 h 617079"/>
                <a:gd name="connsiteX3" fmla="*/ 0 w 933062"/>
                <a:gd name="connsiteY3" fmla="*/ 448785 h 617079"/>
                <a:gd name="connsiteX4" fmla="*/ 274881 w 933062"/>
                <a:gd name="connsiteY4" fmla="*/ 0 h 617079"/>
                <a:gd name="connsiteX5" fmla="*/ 477341 w 933062"/>
                <a:gd name="connsiteY5" fmla="*/ 243874 h 617079"/>
                <a:gd name="connsiteX6" fmla="*/ 765740 w 933062"/>
                <a:gd name="connsiteY6" fmla="*/ 159879 h 617079"/>
                <a:gd name="connsiteX7" fmla="*/ 931229 w 933062"/>
                <a:gd name="connsiteY7" fmla="*/ 403906 h 617079"/>
                <a:gd name="connsiteX0" fmla="*/ 182319 w 933062"/>
                <a:gd name="connsiteY0" fmla="*/ 476834 h 617079"/>
                <a:gd name="connsiteX1" fmla="*/ 423541 w 933062"/>
                <a:gd name="connsiteY1" fmla="*/ 339394 h 617079"/>
                <a:gd name="connsiteX2" fmla="*/ 516103 w 933062"/>
                <a:gd name="connsiteY2" fmla="*/ 617079 h 617079"/>
                <a:gd name="connsiteX3" fmla="*/ 0 w 933062"/>
                <a:gd name="connsiteY3" fmla="*/ 448785 h 617079"/>
                <a:gd name="connsiteX4" fmla="*/ 274881 w 933062"/>
                <a:gd name="connsiteY4" fmla="*/ 0 h 617079"/>
                <a:gd name="connsiteX5" fmla="*/ 477341 w 933062"/>
                <a:gd name="connsiteY5" fmla="*/ 243874 h 617079"/>
                <a:gd name="connsiteX6" fmla="*/ 765740 w 933062"/>
                <a:gd name="connsiteY6" fmla="*/ 159879 h 617079"/>
                <a:gd name="connsiteX7" fmla="*/ 931229 w 933062"/>
                <a:gd name="connsiteY7" fmla="*/ 403906 h 617079"/>
                <a:gd name="connsiteX0" fmla="*/ 182319 w 934161"/>
                <a:gd name="connsiteY0" fmla="*/ 476834 h 617079"/>
                <a:gd name="connsiteX1" fmla="*/ 423541 w 934161"/>
                <a:gd name="connsiteY1" fmla="*/ 339394 h 617079"/>
                <a:gd name="connsiteX2" fmla="*/ 516103 w 934161"/>
                <a:gd name="connsiteY2" fmla="*/ 617079 h 617079"/>
                <a:gd name="connsiteX3" fmla="*/ 0 w 934161"/>
                <a:gd name="connsiteY3" fmla="*/ 448785 h 617079"/>
                <a:gd name="connsiteX4" fmla="*/ 274881 w 934161"/>
                <a:gd name="connsiteY4" fmla="*/ 0 h 617079"/>
                <a:gd name="connsiteX5" fmla="*/ 477341 w 934161"/>
                <a:gd name="connsiteY5" fmla="*/ 243874 h 617079"/>
                <a:gd name="connsiteX6" fmla="*/ 787773 w 934161"/>
                <a:gd name="connsiteY6" fmla="*/ 162633 h 617079"/>
                <a:gd name="connsiteX7" fmla="*/ 931229 w 934161"/>
                <a:gd name="connsiteY7" fmla="*/ 403906 h 617079"/>
                <a:gd name="connsiteX0" fmla="*/ 182319 w 933800"/>
                <a:gd name="connsiteY0" fmla="*/ 476834 h 617079"/>
                <a:gd name="connsiteX1" fmla="*/ 423541 w 933800"/>
                <a:gd name="connsiteY1" fmla="*/ 339394 h 617079"/>
                <a:gd name="connsiteX2" fmla="*/ 516103 w 933800"/>
                <a:gd name="connsiteY2" fmla="*/ 617079 h 617079"/>
                <a:gd name="connsiteX3" fmla="*/ 0 w 933800"/>
                <a:gd name="connsiteY3" fmla="*/ 448785 h 617079"/>
                <a:gd name="connsiteX4" fmla="*/ 274881 w 933800"/>
                <a:gd name="connsiteY4" fmla="*/ 0 h 617079"/>
                <a:gd name="connsiteX5" fmla="*/ 477341 w 933800"/>
                <a:gd name="connsiteY5" fmla="*/ 243874 h 617079"/>
                <a:gd name="connsiteX6" fmla="*/ 782265 w 933800"/>
                <a:gd name="connsiteY6" fmla="*/ 143353 h 617079"/>
                <a:gd name="connsiteX7" fmla="*/ 931229 w 933800"/>
                <a:gd name="connsiteY7" fmla="*/ 403906 h 617079"/>
                <a:gd name="connsiteX0" fmla="*/ 182319 w 933800"/>
                <a:gd name="connsiteY0" fmla="*/ 476834 h 617079"/>
                <a:gd name="connsiteX1" fmla="*/ 423541 w 933800"/>
                <a:gd name="connsiteY1" fmla="*/ 339394 h 617079"/>
                <a:gd name="connsiteX2" fmla="*/ 516103 w 933800"/>
                <a:gd name="connsiteY2" fmla="*/ 617079 h 617079"/>
                <a:gd name="connsiteX3" fmla="*/ 0 w 933800"/>
                <a:gd name="connsiteY3" fmla="*/ 448785 h 617079"/>
                <a:gd name="connsiteX4" fmla="*/ 274881 w 933800"/>
                <a:gd name="connsiteY4" fmla="*/ 0 h 617079"/>
                <a:gd name="connsiteX5" fmla="*/ 477341 w 933800"/>
                <a:gd name="connsiteY5" fmla="*/ 243874 h 617079"/>
                <a:gd name="connsiteX6" fmla="*/ 782265 w 933800"/>
                <a:gd name="connsiteY6" fmla="*/ 143353 h 617079"/>
                <a:gd name="connsiteX7" fmla="*/ 931229 w 933800"/>
                <a:gd name="connsiteY7" fmla="*/ 403906 h 617079"/>
                <a:gd name="connsiteX0" fmla="*/ 182319 w 935016"/>
                <a:gd name="connsiteY0" fmla="*/ 476834 h 617079"/>
                <a:gd name="connsiteX1" fmla="*/ 423541 w 935016"/>
                <a:gd name="connsiteY1" fmla="*/ 339394 h 617079"/>
                <a:gd name="connsiteX2" fmla="*/ 516103 w 935016"/>
                <a:gd name="connsiteY2" fmla="*/ 617079 h 617079"/>
                <a:gd name="connsiteX3" fmla="*/ 0 w 935016"/>
                <a:gd name="connsiteY3" fmla="*/ 448785 h 617079"/>
                <a:gd name="connsiteX4" fmla="*/ 274881 w 935016"/>
                <a:gd name="connsiteY4" fmla="*/ 0 h 617079"/>
                <a:gd name="connsiteX5" fmla="*/ 477341 w 935016"/>
                <a:gd name="connsiteY5" fmla="*/ 243874 h 617079"/>
                <a:gd name="connsiteX6" fmla="*/ 782265 w 935016"/>
                <a:gd name="connsiteY6" fmla="*/ 143353 h 617079"/>
                <a:gd name="connsiteX7" fmla="*/ 931229 w 935016"/>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77341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74881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6834 h 617079"/>
                <a:gd name="connsiteX1" fmla="*/ 423541 w 932773"/>
                <a:gd name="connsiteY1" fmla="*/ 339394 h 617079"/>
                <a:gd name="connsiteX2" fmla="*/ 516103 w 932773"/>
                <a:gd name="connsiteY2" fmla="*/ 617079 h 617079"/>
                <a:gd name="connsiteX3" fmla="*/ 0 w 932773"/>
                <a:gd name="connsiteY3" fmla="*/ 448785 h 617079"/>
                <a:gd name="connsiteX4" fmla="*/ 239076 w 932773"/>
                <a:gd name="connsiteY4" fmla="*/ 0 h 617079"/>
                <a:gd name="connsiteX5" fmla="*/ 491112 w 932773"/>
                <a:gd name="connsiteY5" fmla="*/ 243874 h 617079"/>
                <a:gd name="connsiteX6" fmla="*/ 782265 w 932773"/>
                <a:gd name="connsiteY6" fmla="*/ 143353 h 617079"/>
                <a:gd name="connsiteX7" fmla="*/ 931229 w 932773"/>
                <a:gd name="connsiteY7" fmla="*/ 403906 h 617079"/>
                <a:gd name="connsiteX0" fmla="*/ 182319 w 932773"/>
                <a:gd name="connsiteY0" fmla="*/ 478537 h 618782"/>
                <a:gd name="connsiteX1" fmla="*/ 423541 w 932773"/>
                <a:gd name="connsiteY1" fmla="*/ 341097 h 618782"/>
                <a:gd name="connsiteX2" fmla="*/ 516103 w 932773"/>
                <a:gd name="connsiteY2" fmla="*/ 618782 h 618782"/>
                <a:gd name="connsiteX3" fmla="*/ 0 w 932773"/>
                <a:gd name="connsiteY3" fmla="*/ 450488 h 618782"/>
                <a:gd name="connsiteX4" fmla="*/ 239076 w 932773"/>
                <a:gd name="connsiteY4" fmla="*/ 1703 h 618782"/>
                <a:gd name="connsiteX5" fmla="*/ 491112 w 932773"/>
                <a:gd name="connsiteY5" fmla="*/ 245577 h 618782"/>
                <a:gd name="connsiteX6" fmla="*/ 782265 w 932773"/>
                <a:gd name="connsiteY6" fmla="*/ 145056 h 618782"/>
                <a:gd name="connsiteX7" fmla="*/ 931229 w 932773"/>
                <a:gd name="connsiteY7" fmla="*/ 405609 h 618782"/>
                <a:gd name="connsiteX0" fmla="*/ 182319 w 932773"/>
                <a:gd name="connsiteY0" fmla="*/ 478537 h 618782"/>
                <a:gd name="connsiteX1" fmla="*/ 423541 w 932773"/>
                <a:gd name="connsiteY1" fmla="*/ 341097 h 618782"/>
                <a:gd name="connsiteX2" fmla="*/ 516103 w 932773"/>
                <a:gd name="connsiteY2" fmla="*/ 618782 h 618782"/>
                <a:gd name="connsiteX3" fmla="*/ 0 w 932773"/>
                <a:gd name="connsiteY3" fmla="*/ 450488 h 618782"/>
                <a:gd name="connsiteX4" fmla="*/ 239076 w 932773"/>
                <a:gd name="connsiteY4" fmla="*/ 1703 h 618782"/>
                <a:gd name="connsiteX5" fmla="*/ 491112 w 932773"/>
                <a:gd name="connsiteY5" fmla="*/ 245577 h 618782"/>
                <a:gd name="connsiteX6" fmla="*/ 782265 w 932773"/>
                <a:gd name="connsiteY6" fmla="*/ 145056 h 618782"/>
                <a:gd name="connsiteX7" fmla="*/ 931229 w 932773"/>
                <a:gd name="connsiteY7" fmla="*/ 405609 h 618782"/>
                <a:gd name="connsiteX0" fmla="*/ 160286 w 910740"/>
                <a:gd name="connsiteY0" fmla="*/ 478537 h 618782"/>
                <a:gd name="connsiteX1" fmla="*/ 401508 w 910740"/>
                <a:gd name="connsiteY1" fmla="*/ 341097 h 618782"/>
                <a:gd name="connsiteX2" fmla="*/ 494070 w 910740"/>
                <a:gd name="connsiteY2" fmla="*/ 618782 h 618782"/>
                <a:gd name="connsiteX3" fmla="*/ 0 w 910740"/>
                <a:gd name="connsiteY3" fmla="*/ 450488 h 618782"/>
                <a:gd name="connsiteX4" fmla="*/ 217043 w 910740"/>
                <a:gd name="connsiteY4" fmla="*/ 1703 h 618782"/>
                <a:gd name="connsiteX5" fmla="*/ 469079 w 910740"/>
                <a:gd name="connsiteY5" fmla="*/ 245577 h 618782"/>
                <a:gd name="connsiteX6" fmla="*/ 760232 w 910740"/>
                <a:gd name="connsiteY6" fmla="*/ 145056 h 618782"/>
                <a:gd name="connsiteX7" fmla="*/ 909196 w 910740"/>
                <a:gd name="connsiteY7" fmla="*/ 405609 h 618782"/>
                <a:gd name="connsiteX0" fmla="*/ 205095 w 955549"/>
                <a:gd name="connsiteY0" fmla="*/ 478537 h 618782"/>
                <a:gd name="connsiteX1" fmla="*/ 446317 w 955549"/>
                <a:gd name="connsiteY1" fmla="*/ 341097 h 618782"/>
                <a:gd name="connsiteX2" fmla="*/ 538879 w 955549"/>
                <a:gd name="connsiteY2" fmla="*/ 618782 h 618782"/>
                <a:gd name="connsiteX3" fmla="*/ 44809 w 955549"/>
                <a:gd name="connsiteY3" fmla="*/ 450488 h 618782"/>
                <a:gd name="connsiteX4" fmla="*/ 261852 w 955549"/>
                <a:gd name="connsiteY4" fmla="*/ 1703 h 618782"/>
                <a:gd name="connsiteX5" fmla="*/ 513888 w 955549"/>
                <a:gd name="connsiteY5" fmla="*/ 245577 h 618782"/>
                <a:gd name="connsiteX6" fmla="*/ 805041 w 955549"/>
                <a:gd name="connsiteY6" fmla="*/ 145056 h 618782"/>
                <a:gd name="connsiteX7" fmla="*/ 954005 w 955549"/>
                <a:gd name="connsiteY7" fmla="*/ 405609 h 618782"/>
                <a:gd name="connsiteX0" fmla="*/ 205095 w 955549"/>
                <a:gd name="connsiteY0" fmla="*/ 478537 h 618782"/>
                <a:gd name="connsiteX1" fmla="*/ 446317 w 955549"/>
                <a:gd name="connsiteY1" fmla="*/ 341097 h 618782"/>
                <a:gd name="connsiteX2" fmla="*/ 538879 w 955549"/>
                <a:gd name="connsiteY2" fmla="*/ 618782 h 618782"/>
                <a:gd name="connsiteX3" fmla="*/ 44809 w 955549"/>
                <a:gd name="connsiteY3" fmla="*/ 450488 h 618782"/>
                <a:gd name="connsiteX4" fmla="*/ 261852 w 955549"/>
                <a:gd name="connsiteY4" fmla="*/ 1703 h 618782"/>
                <a:gd name="connsiteX5" fmla="*/ 513888 w 955549"/>
                <a:gd name="connsiteY5" fmla="*/ 245577 h 618782"/>
                <a:gd name="connsiteX6" fmla="*/ 805041 w 955549"/>
                <a:gd name="connsiteY6" fmla="*/ 145056 h 618782"/>
                <a:gd name="connsiteX7" fmla="*/ 954005 w 955549"/>
                <a:gd name="connsiteY7" fmla="*/ 405609 h 618782"/>
                <a:gd name="connsiteX0" fmla="*/ 205095 w 955549"/>
                <a:gd name="connsiteY0" fmla="*/ 478537 h 607765"/>
                <a:gd name="connsiteX1" fmla="*/ 446317 w 955549"/>
                <a:gd name="connsiteY1" fmla="*/ 341097 h 607765"/>
                <a:gd name="connsiteX2" fmla="*/ 527862 w 955549"/>
                <a:gd name="connsiteY2" fmla="*/ 607765 h 607765"/>
                <a:gd name="connsiteX3" fmla="*/ 44809 w 955549"/>
                <a:gd name="connsiteY3" fmla="*/ 450488 h 607765"/>
                <a:gd name="connsiteX4" fmla="*/ 261852 w 955549"/>
                <a:gd name="connsiteY4" fmla="*/ 1703 h 607765"/>
                <a:gd name="connsiteX5" fmla="*/ 513888 w 955549"/>
                <a:gd name="connsiteY5" fmla="*/ 245577 h 607765"/>
                <a:gd name="connsiteX6" fmla="*/ 805041 w 955549"/>
                <a:gd name="connsiteY6" fmla="*/ 145056 h 607765"/>
                <a:gd name="connsiteX7" fmla="*/ 954005 w 955549"/>
                <a:gd name="connsiteY7" fmla="*/ 405609 h 607765"/>
                <a:gd name="connsiteX0" fmla="*/ 205095 w 955549"/>
                <a:gd name="connsiteY0" fmla="*/ 478537 h 664635"/>
                <a:gd name="connsiteX1" fmla="*/ 446317 w 955549"/>
                <a:gd name="connsiteY1" fmla="*/ 34109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46317 w 955549"/>
                <a:gd name="connsiteY1" fmla="*/ 34109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47853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402249 w 955549"/>
                <a:gd name="connsiteY1" fmla="*/ 352114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05095 w 955549"/>
                <a:gd name="connsiteY0" fmla="*/ 511587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4635"/>
                <a:gd name="connsiteX1" fmla="*/ 396740 w 955549"/>
                <a:gd name="connsiteY1" fmla="*/ 327327 h 664635"/>
                <a:gd name="connsiteX2" fmla="*/ 527862 w 955549"/>
                <a:gd name="connsiteY2" fmla="*/ 607765 h 664635"/>
                <a:gd name="connsiteX3" fmla="*/ 44809 w 955549"/>
                <a:gd name="connsiteY3" fmla="*/ 450488 h 664635"/>
                <a:gd name="connsiteX4" fmla="*/ 261852 w 955549"/>
                <a:gd name="connsiteY4" fmla="*/ 1703 h 664635"/>
                <a:gd name="connsiteX5" fmla="*/ 513888 w 955549"/>
                <a:gd name="connsiteY5" fmla="*/ 245577 h 664635"/>
                <a:gd name="connsiteX6" fmla="*/ 805041 w 955549"/>
                <a:gd name="connsiteY6" fmla="*/ 145056 h 664635"/>
                <a:gd name="connsiteX7" fmla="*/ 954005 w 955549"/>
                <a:gd name="connsiteY7" fmla="*/ 405609 h 664635"/>
                <a:gd name="connsiteX0" fmla="*/ 221620 w 955549"/>
                <a:gd name="connsiteY0" fmla="*/ 500570 h 666793"/>
                <a:gd name="connsiteX1" fmla="*/ 396740 w 955549"/>
                <a:gd name="connsiteY1" fmla="*/ 327327 h 666793"/>
                <a:gd name="connsiteX2" fmla="*/ 478286 w 955549"/>
                <a:gd name="connsiteY2" fmla="*/ 610520 h 666793"/>
                <a:gd name="connsiteX3" fmla="*/ 44809 w 955549"/>
                <a:gd name="connsiteY3" fmla="*/ 450488 h 666793"/>
                <a:gd name="connsiteX4" fmla="*/ 261852 w 955549"/>
                <a:gd name="connsiteY4" fmla="*/ 1703 h 666793"/>
                <a:gd name="connsiteX5" fmla="*/ 513888 w 955549"/>
                <a:gd name="connsiteY5" fmla="*/ 245577 h 666793"/>
                <a:gd name="connsiteX6" fmla="*/ 805041 w 955549"/>
                <a:gd name="connsiteY6" fmla="*/ 145056 h 666793"/>
                <a:gd name="connsiteX7" fmla="*/ 954005 w 955549"/>
                <a:gd name="connsiteY7" fmla="*/ 405609 h 666793"/>
                <a:gd name="connsiteX0" fmla="*/ 221620 w 955549"/>
                <a:gd name="connsiteY0" fmla="*/ 500570 h 666793"/>
                <a:gd name="connsiteX1" fmla="*/ 396740 w 955549"/>
                <a:gd name="connsiteY1" fmla="*/ 327327 h 666793"/>
                <a:gd name="connsiteX2" fmla="*/ 478286 w 955549"/>
                <a:gd name="connsiteY2" fmla="*/ 610520 h 666793"/>
                <a:gd name="connsiteX3" fmla="*/ 44809 w 955549"/>
                <a:gd name="connsiteY3" fmla="*/ 450488 h 666793"/>
                <a:gd name="connsiteX4" fmla="*/ 261852 w 955549"/>
                <a:gd name="connsiteY4" fmla="*/ 1703 h 666793"/>
                <a:gd name="connsiteX5" fmla="*/ 513888 w 955549"/>
                <a:gd name="connsiteY5" fmla="*/ 245577 h 666793"/>
                <a:gd name="connsiteX6" fmla="*/ 805041 w 955549"/>
                <a:gd name="connsiteY6" fmla="*/ 145056 h 666793"/>
                <a:gd name="connsiteX7" fmla="*/ 954005 w 955549"/>
                <a:gd name="connsiteY7" fmla="*/ 405609 h 666793"/>
                <a:gd name="connsiteX0" fmla="*/ 228696 w 962625"/>
                <a:gd name="connsiteY0" fmla="*/ 500570 h 673975"/>
                <a:gd name="connsiteX1" fmla="*/ 403816 w 962625"/>
                <a:gd name="connsiteY1" fmla="*/ 327327 h 673975"/>
                <a:gd name="connsiteX2" fmla="*/ 485362 w 962625"/>
                <a:gd name="connsiteY2" fmla="*/ 610520 h 673975"/>
                <a:gd name="connsiteX3" fmla="*/ 43623 w 962625"/>
                <a:gd name="connsiteY3" fmla="*/ 480784 h 673975"/>
                <a:gd name="connsiteX4" fmla="*/ 268928 w 962625"/>
                <a:gd name="connsiteY4" fmla="*/ 1703 h 673975"/>
                <a:gd name="connsiteX5" fmla="*/ 520964 w 962625"/>
                <a:gd name="connsiteY5" fmla="*/ 245577 h 673975"/>
                <a:gd name="connsiteX6" fmla="*/ 812117 w 962625"/>
                <a:gd name="connsiteY6" fmla="*/ 145056 h 673975"/>
                <a:gd name="connsiteX7" fmla="*/ 961081 w 962625"/>
                <a:gd name="connsiteY7" fmla="*/ 405609 h 673975"/>
                <a:gd name="connsiteX0" fmla="*/ 238218 w 972147"/>
                <a:gd name="connsiteY0" fmla="*/ 500570 h 681004"/>
                <a:gd name="connsiteX1" fmla="*/ 413338 w 972147"/>
                <a:gd name="connsiteY1" fmla="*/ 327327 h 681004"/>
                <a:gd name="connsiteX2" fmla="*/ 494884 w 972147"/>
                <a:gd name="connsiteY2" fmla="*/ 610520 h 681004"/>
                <a:gd name="connsiteX3" fmla="*/ 42128 w 972147"/>
                <a:gd name="connsiteY3" fmla="*/ 505572 h 681004"/>
                <a:gd name="connsiteX4" fmla="*/ 278450 w 972147"/>
                <a:gd name="connsiteY4" fmla="*/ 1703 h 681004"/>
                <a:gd name="connsiteX5" fmla="*/ 530486 w 972147"/>
                <a:gd name="connsiteY5" fmla="*/ 245577 h 681004"/>
                <a:gd name="connsiteX6" fmla="*/ 821639 w 972147"/>
                <a:gd name="connsiteY6" fmla="*/ 145056 h 681004"/>
                <a:gd name="connsiteX7" fmla="*/ 970603 w 972147"/>
                <a:gd name="connsiteY7" fmla="*/ 405609 h 681004"/>
                <a:gd name="connsiteX0" fmla="*/ 238218 w 972147"/>
                <a:gd name="connsiteY0" fmla="*/ 500570 h 684851"/>
                <a:gd name="connsiteX1" fmla="*/ 413338 w 972147"/>
                <a:gd name="connsiteY1" fmla="*/ 327327 h 684851"/>
                <a:gd name="connsiteX2" fmla="*/ 483867 w 972147"/>
                <a:gd name="connsiteY2" fmla="*/ 616028 h 684851"/>
                <a:gd name="connsiteX3" fmla="*/ 42128 w 972147"/>
                <a:gd name="connsiteY3" fmla="*/ 505572 h 684851"/>
                <a:gd name="connsiteX4" fmla="*/ 278450 w 972147"/>
                <a:gd name="connsiteY4" fmla="*/ 1703 h 684851"/>
                <a:gd name="connsiteX5" fmla="*/ 530486 w 972147"/>
                <a:gd name="connsiteY5" fmla="*/ 245577 h 684851"/>
                <a:gd name="connsiteX6" fmla="*/ 821639 w 972147"/>
                <a:gd name="connsiteY6" fmla="*/ 145056 h 684851"/>
                <a:gd name="connsiteX7" fmla="*/ 970603 w 972147"/>
                <a:gd name="connsiteY7" fmla="*/ 405609 h 684851"/>
                <a:gd name="connsiteX0" fmla="*/ 238218 w 972147"/>
                <a:gd name="connsiteY0" fmla="*/ 500570 h 678763"/>
                <a:gd name="connsiteX1" fmla="*/ 413338 w 972147"/>
                <a:gd name="connsiteY1" fmla="*/ 327327 h 678763"/>
                <a:gd name="connsiteX2" fmla="*/ 483867 w 972147"/>
                <a:gd name="connsiteY2" fmla="*/ 616028 h 678763"/>
                <a:gd name="connsiteX3" fmla="*/ 42128 w 972147"/>
                <a:gd name="connsiteY3" fmla="*/ 505572 h 678763"/>
                <a:gd name="connsiteX4" fmla="*/ 278450 w 972147"/>
                <a:gd name="connsiteY4" fmla="*/ 1703 h 678763"/>
                <a:gd name="connsiteX5" fmla="*/ 530486 w 972147"/>
                <a:gd name="connsiteY5" fmla="*/ 245577 h 678763"/>
                <a:gd name="connsiteX6" fmla="*/ 821639 w 972147"/>
                <a:gd name="connsiteY6" fmla="*/ 145056 h 678763"/>
                <a:gd name="connsiteX7" fmla="*/ 970603 w 972147"/>
                <a:gd name="connsiteY7" fmla="*/ 405609 h 678763"/>
                <a:gd name="connsiteX0" fmla="*/ 238218 w 972147"/>
                <a:gd name="connsiteY0" fmla="*/ 501130 h 679323"/>
                <a:gd name="connsiteX1" fmla="*/ 413338 w 972147"/>
                <a:gd name="connsiteY1" fmla="*/ 327887 h 679323"/>
                <a:gd name="connsiteX2" fmla="*/ 483867 w 972147"/>
                <a:gd name="connsiteY2" fmla="*/ 616588 h 679323"/>
                <a:gd name="connsiteX3" fmla="*/ 42128 w 972147"/>
                <a:gd name="connsiteY3" fmla="*/ 506132 h 679323"/>
                <a:gd name="connsiteX4" fmla="*/ 278450 w 972147"/>
                <a:gd name="connsiteY4" fmla="*/ 2263 h 679323"/>
                <a:gd name="connsiteX5" fmla="*/ 535994 w 972147"/>
                <a:gd name="connsiteY5" fmla="*/ 210332 h 679323"/>
                <a:gd name="connsiteX6" fmla="*/ 821639 w 972147"/>
                <a:gd name="connsiteY6" fmla="*/ 145616 h 679323"/>
                <a:gd name="connsiteX7" fmla="*/ 970603 w 972147"/>
                <a:gd name="connsiteY7" fmla="*/ 406169 h 679323"/>
                <a:gd name="connsiteX0" fmla="*/ 238218 w 972147"/>
                <a:gd name="connsiteY0" fmla="*/ 501130 h 679323"/>
                <a:gd name="connsiteX1" fmla="*/ 413338 w 972147"/>
                <a:gd name="connsiteY1" fmla="*/ 327887 h 679323"/>
                <a:gd name="connsiteX2" fmla="*/ 483867 w 972147"/>
                <a:gd name="connsiteY2" fmla="*/ 616588 h 679323"/>
                <a:gd name="connsiteX3" fmla="*/ 42128 w 972147"/>
                <a:gd name="connsiteY3" fmla="*/ 506132 h 679323"/>
                <a:gd name="connsiteX4" fmla="*/ 278450 w 972147"/>
                <a:gd name="connsiteY4" fmla="*/ 2263 h 679323"/>
                <a:gd name="connsiteX5" fmla="*/ 535994 w 972147"/>
                <a:gd name="connsiteY5" fmla="*/ 210332 h 679323"/>
                <a:gd name="connsiteX6" fmla="*/ 821639 w 972147"/>
                <a:gd name="connsiteY6" fmla="*/ 145616 h 679323"/>
                <a:gd name="connsiteX7" fmla="*/ 970603 w 972147"/>
                <a:gd name="connsiteY7" fmla="*/ 406169 h 679323"/>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1584 h 679777"/>
                <a:gd name="connsiteX1" fmla="*/ 413338 w 972147"/>
                <a:gd name="connsiteY1" fmla="*/ 328341 h 679777"/>
                <a:gd name="connsiteX2" fmla="*/ 483867 w 972147"/>
                <a:gd name="connsiteY2" fmla="*/ 617042 h 679777"/>
                <a:gd name="connsiteX3" fmla="*/ 42128 w 972147"/>
                <a:gd name="connsiteY3" fmla="*/ 506586 h 679777"/>
                <a:gd name="connsiteX4" fmla="*/ 278450 w 972147"/>
                <a:gd name="connsiteY4" fmla="*/ 2717 h 679777"/>
                <a:gd name="connsiteX5" fmla="*/ 535994 w 972147"/>
                <a:gd name="connsiteY5" fmla="*/ 210786 h 679777"/>
                <a:gd name="connsiteX6" fmla="*/ 821639 w 972147"/>
                <a:gd name="connsiteY6" fmla="*/ 146070 h 679777"/>
                <a:gd name="connsiteX7" fmla="*/ 970603 w 972147"/>
                <a:gd name="connsiteY7" fmla="*/ 406623 h 679777"/>
                <a:gd name="connsiteX0" fmla="*/ 238218 w 972147"/>
                <a:gd name="connsiteY0" fmla="*/ 502590 h 680783"/>
                <a:gd name="connsiteX1" fmla="*/ 413338 w 972147"/>
                <a:gd name="connsiteY1" fmla="*/ 329347 h 680783"/>
                <a:gd name="connsiteX2" fmla="*/ 483867 w 972147"/>
                <a:gd name="connsiteY2" fmla="*/ 618048 h 680783"/>
                <a:gd name="connsiteX3" fmla="*/ 42128 w 972147"/>
                <a:gd name="connsiteY3" fmla="*/ 507592 h 680783"/>
                <a:gd name="connsiteX4" fmla="*/ 278450 w 972147"/>
                <a:gd name="connsiteY4" fmla="*/ 3723 h 680783"/>
                <a:gd name="connsiteX5" fmla="*/ 535994 w 972147"/>
                <a:gd name="connsiteY5" fmla="*/ 211792 h 680783"/>
                <a:gd name="connsiteX6" fmla="*/ 821639 w 972147"/>
                <a:gd name="connsiteY6" fmla="*/ 147076 h 680783"/>
                <a:gd name="connsiteX7" fmla="*/ 970603 w 972147"/>
                <a:gd name="connsiteY7" fmla="*/ 407629 h 680783"/>
                <a:gd name="connsiteX0" fmla="*/ 238218 w 972381"/>
                <a:gd name="connsiteY0" fmla="*/ 502590 h 680783"/>
                <a:gd name="connsiteX1" fmla="*/ 413338 w 972381"/>
                <a:gd name="connsiteY1" fmla="*/ 329347 h 680783"/>
                <a:gd name="connsiteX2" fmla="*/ 483867 w 972381"/>
                <a:gd name="connsiteY2" fmla="*/ 618048 h 680783"/>
                <a:gd name="connsiteX3" fmla="*/ 42128 w 972381"/>
                <a:gd name="connsiteY3" fmla="*/ 507592 h 680783"/>
                <a:gd name="connsiteX4" fmla="*/ 278450 w 972381"/>
                <a:gd name="connsiteY4" fmla="*/ 3723 h 680783"/>
                <a:gd name="connsiteX5" fmla="*/ 535994 w 972381"/>
                <a:gd name="connsiteY5" fmla="*/ 211792 h 680783"/>
                <a:gd name="connsiteX6" fmla="*/ 829902 w 972381"/>
                <a:gd name="connsiteY6" fmla="*/ 119534 h 680783"/>
                <a:gd name="connsiteX7" fmla="*/ 970603 w 972381"/>
                <a:gd name="connsiteY7" fmla="*/ 407629 h 680783"/>
                <a:gd name="connsiteX0" fmla="*/ 238218 w 972381"/>
                <a:gd name="connsiteY0" fmla="*/ 502590 h 680783"/>
                <a:gd name="connsiteX1" fmla="*/ 413338 w 972381"/>
                <a:gd name="connsiteY1" fmla="*/ 329347 h 680783"/>
                <a:gd name="connsiteX2" fmla="*/ 483867 w 972381"/>
                <a:gd name="connsiteY2" fmla="*/ 618048 h 680783"/>
                <a:gd name="connsiteX3" fmla="*/ 42128 w 972381"/>
                <a:gd name="connsiteY3" fmla="*/ 507592 h 680783"/>
                <a:gd name="connsiteX4" fmla="*/ 278450 w 972381"/>
                <a:gd name="connsiteY4" fmla="*/ 3723 h 680783"/>
                <a:gd name="connsiteX5" fmla="*/ 535994 w 972381"/>
                <a:gd name="connsiteY5" fmla="*/ 211792 h 680783"/>
                <a:gd name="connsiteX6" fmla="*/ 829902 w 972381"/>
                <a:gd name="connsiteY6" fmla="*/ 119534 h 680783"/>
                <a:gd name="connsiteX7" fmla="*/ 970603 w 972381"/>
                <a:gd name="connsiteY7" fmla="*/ 407629 h 680783"/>
                <a:gd name="connsiteX0" fmla="*/ 238218 w 973905"/>
                <a:gd name="connsiteY0" fmla="*/ 502590 h 680783"/>
                <a:gd name="connsiteX1" fmla="*/ 413338 w 973905"/>
                <a:gd name="connsiteY1" fmla="*/ 329347 h 680783"/>
                <a:gd name="connsiteX2" fmla="*/ 483867 w 973905"/>
                <a:gd name="connsiteY2" fmla="*/ 618048 h 680783"/>
                <a:gd name="connsiteX3" fmla="*/ 42128 w 973905"/>
                <a:gd name="connsiteY3" fmla="*/ 507592 h 680783"/>
                <a:gd name="connsiteX4" fmla="*/ 278450 w 973905"/>
                <a:gd name="connsiteY4" fmla="*/ 3723 h 680783"/>
                <a:gd name="connsiteX5" fmla="*/ 535994 w 973905"/>
                <a:gd name="connsiteY5" fmla="*/ 211792 h 680783"/>
                <a:gd name="connsiteX6" fmla="*/ 857444 w 973905"/>
                <a:gd name="connsiteY6" fmla="*/ 144322 h 680783"/>
                <a:gd name="connsiteX7" fmla="*/ 970603 w 973905"/>
                <a:gd name="connsiteY7" fmla="*/ 407629 h 680783"/>
                <a:gd name="connsiteX0" fmla="*/ 238218 w 973905"/>
                <a:gd name="connsiteY0" fmla="*/ 502590 h 680783"/>
                <a:gd name="connsiteX1" fmla="*/ 413338 w 973905"/>
                <a:gd name="connsiteY1" fmla="*/ 329347 h 680783"/>
                <a:gd name="connsiteX2" fmla="*/ 483867 w 973905"/>
                <a:gd name="connsiteY2" fmla="*/ 618048 h 680783"/>
                <a:gd name="connsiteX3" fmla="*/ 42128 w 973905"/>
                <a:gd name="connsiteY3" fmla="*/ 507592 h 680783"/>
                <a:gd name="connsiteX4" fmla="*/ 278450 w 973905"/>
                <a:gd name="connsiteY4" fmla="*/ 3723 h 680783"/>
                <a:gd name="connsiteX5" fmla="*/ 535994 w 973905"/>
                <a:gd name="connsiteY5" fmla="*/ 211792 h 680783"/>
                <a:gd name="connsiteX6" fmla="*/ 857444 w 973905"/>
                <a:gd name="connsiteY6" fmla="*/ 144322 h 680783"/>
                <a:gd name="connsiteX7" fmla="*/ 970603 w 973905"/>
                <a:gd name="connsiteY7" fmla="*/ 407629 h 680783"/>
                <a:gd name="connsiteX0" fmla="*/ 238218 w 975028"/>
                <a:gd name="connsiteY0" fmla="*/ 502590 h 680783"/>
                <a:gd name="connsiteX1" fmla="*/ 413338 w 975028"/>
                <a:gd name="connsiteY1" fmla="*/ 329347 h 680783"/>
                <a:gd name="connsiteX2" fmla="*/ 483867 w 975028"/>
                <a:gd name="connsiteY2" fmla="*/ 618048 h 680783"/>
                <a:gd name="connsiteX3" fmla="*/ 42128 w 975028"/>
                <a:gd name="connsiteY3" fmla="*/ 507592 h 680783"/>
                <a:gd name="connsiteX4" fmla="*/ 278450 w 975028"/>
                <a:gd name="connsiteY4" fmla="*/ 3723 h 680783"/>
                <a:gd name="connsiteX5" fmla="*/ 535994 w 975028"/>
                <a:gd name="connsiteY5" fmla="*/ 211792 h 680783"/>
                <a:gd name="connsiteX6" fmla="*/ 857444 w 975028"/>
                <a:gd name="connsiteY6" fmla="*/ 144322 h 680783"/>
                <a:gd name="connsiteX7" fmla="*/ 970603 w 975028"/>
                <a:gd name="connsiteY7" fmla="*/ 407629 h 680783"/>
                <a:gd name="connsiteX0" fmla="*/ 238218 w 975028"/>
                <a:gd name="connsiteY0" fmla="*/ 502590 h 680783"/>
                <a:gd name="connsiteX1" fmla="*/ 413338 w 975028"/>
                <a:gd name="connsiteY1" fmla="*/ 329347 h 680783"/>
                <a:gd name="connsiteX2" fmla="*/ 483867 w 975028"/>
                <a:gd name="connsiteY2" fmla="*/ 618048 h 680783"/>
                <a:gd name="connsiteX3" fmla="*/ 42128 w 975028"/>
                <a:gd name="connsiteY3" fmla="*/ 507592 h 680783"/>
                <a:gd name="connsiteX4" fmla="*/ 278450 w 975028"/>
                <a:gd name="connsiteY4" fmla="*/ 3723 h 680783"/>
                <a:gd name="connsiteX5" fmla="*/ 535994 w 975028"/>
                <a:gd name="connsiteY5" fmla="*/ 211792 h 680783"/>
                <a:gd name="connsiteX6" fmla="*/ 857444 w 975028"/>
                <a:gd name="connsiteY6" fmla="*/ 144322 h 680783"/>
                <a:gd name="connsiteX7" fmla="*/ 970603 w 975028"/>
                <a:gd name="connsiteY7" fmla="*/ 407629 h 680783"/>
                <a:gd name="connsiteX0" fmla="*/ 238218 w 975375"/>
                <a:gd name="connsiteY0" fmla="*/ 502590 h 680783"/>
                <a:gd name="connsiteX1" fmla="*/ 413338 w 975375"/>
                <a:gd name="connsiteY1" fmla="*/ 329347 h 680783"/>
                <a:gd name="connsiteX2" fmla="*/ 483867 w 975375"/>
                <a:gd name="connsiteY2" fmla="*/ 618048 h 680783"/>
                <a:gd name="connsiteX3" fmla="*/ 42128 w 975375"/>
                <a:gd name="connsiteY3" fmla="*/ 507592 h 680783"/>
                <a:gd name="connsiteX4" fmla="*/ 278450 w 975375"/>
                <a:gd name="connsiteY4" fmla="*/ 3723 h 680783"/>
                <a:gd name="connsiteX5" fmla="*/ 535994 w 975375"/>
                <a:gd name="connsiteY5" fmla="*/ 211792 h 680783"/>
                <a:gd name="connsiteX6" fmla="*/ 857444 w 975375"/>
                <a:gd name="connsiteY6" fmla="*/ 144322 h 680783"/>
                <a:gd name="connsiteX7" fmla="*/ 970603 w 975375"/>
                <a:gd name="connsiteY7" fmla="*/ 407629 h 680783"/>
                <a:gd name="connsiteX0" fmla="*/ 238218 w 975375"/>
                <a:gd name="connsiteY0" fmla="*/ 502590 h 680783"/>
                <a:gd name="connsiteX1" fmla="*/ 413338 w 975375"/>
                <a:gd name="connsiteY1" fmla="*/ 329347 h 680783"/>
                <a:gd name="connsiteX2" fmla="*/ 483867 w 975375"/>
                <a:gd name="connsiteY2" fmla="*/ 618048 h 680783"/>
                <a:gd name="connsiteX3" fmla="*/ 42128 w 975375"/>
                <a:gd name="connsiteY3" fmla="*/ 507592 h 680783"/>
                <a:gd name="connsiteX4" fmla="*/ 278450 w 975375"/>
                <a:gd name="connsiteY4" fmla="*/ 3723 h 680783"/>
                <a:gd name="connsiteX5" fmla="*/ 535994 w 975375"/>
                <a:gd name="connsiteY5" fmla="*/ 211792 h 680783"/>
                <a:gd name="connsiteX6" fmla="*/ 857444 w 975375"/>
                <a:gd name="connsiteY6" fmla="*/ 144322 h 680783"/>
                <a:gd name="connsiteX7" fmla="*/ 970603 w 975375"/>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35994 w 973301"/>
                <a:gd name="connsiteY5" fmla="*/ 211792 h 680783"/>
                <a:gd name="connsiteX6" fmla="*/ 857444 w 973301"/>
                <a:gd name="connsiteY6" fmla="*/ 144322 h 680783"/>
                <a:gd name="connsiteX7" fmla="*/ 970603 w 973301"/>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35994 w 973301"/>
                <a:gd name="connsiteY5" fmla="*/ 211792 h 680783"/>
                <a:gd name="connsiteX6" fmla="*/ 857444 w 973301"/>
                <a:gd name="connsiteY6" fmla="*/ 144322 h 680783"/>
                <a:gd name="connsiteX7" fmla="*/ 970603 w 973301"/>
                <a:gd name="connsiteY7" fmla="*/ 407629 h 680783"/>
                <a:gd name="connsiteX0" fmla="*/ 238218 w 973301"/>
                <a:gd name="connsiteY0" fmla="*/ 502590 h 680783"/>
                <a:gd name="connsiteX1" fmla="*/ 413338 w 973301"/>
                <a:gd name="connsiteY1" fmla="*/ 329347 h 680783"/>
                <a:gd name="connsiteX2" fmla="*/ 483867 w 973301"/>
                <a:gd name="connsiteY2" fmla="*/ 618048 h 680783"/>
                <a:gd name="connsiteX3" fmla="*/ 42128 w 973301"/>
                <a:gd name="connsiteY3" fmla="*/ 507592 h 680783"/>
                <a:gd name="connsiteX4" fmla="*/ 278450 w 973301"/>
                <a:gd name="connsiteY4" fmla="*/ 3723 h 680783"/>
                <a:gd name="connsiteX5" fmla="*/ 558028 w 973301"/>
                <a:gd name="connsiteY5" fmla="*/ 211792 h 680783"/>
                <a:gd name="connsiteX6" fmla="*/ 857444 w 973301"/>
                <a:gd name="connsiteY6" fmla="*/ 144322 h 680783"/>
                <a:gd name="connsiteX7" fmla="*/ 970603 w 973301"/>
                <a:gd name="connsiteY7" fmla="*/ 407629 h 680783"/>
                <a:gd name="connsiteX0" fmla="*/ 238218 w 973301"/>
                <a:gd name="connsiteY0" fmla="*/ 503717 h 681910"/>
                <a:gd name="connsiteX1" fmla="*/ 413338 w 973301"/>
                <a:gd name="connsiteY1" fmla="*/ 330474 h 681910"/>
                <a:gd name="connsiteX2" fmla="*/ 483867 w 973301"/>
                <a:gd name="connsiteY2" fmla="*/ 619175 h 681910"/>
                <a:gd name="connsiteX3" fmla="*/ 42128 w 973301"/>
                <a:gd name="connsiteY3" fmla="*/ 508719 h 681910"/>
                <a:gd name="connsiteX4" fmla="*/ 278450 w 973301"/>
                <a:gd name="connsiteY4" fmla="*/ 4850 h 681910"/>
                <a:gd name="connsiteX5" fmla="*/ 558028 w 973301"/>
                <a:gd name="connsiteY5" fmla="*/ 212919 h 681910"/>
                <a:gd name="connsiteX6" fmla="*/ 857444 w 973301"/>
                <a:gd name="connsiteY6" fmla="*/ 145449 h 681910"/>
                <a:gd name="connsiteX7" fmla="*/ 970603 w 973301"/>
                <a:gd name="connsiteY7" fmla="*/ 408756 h 681910"/>
                <a:gd name="connsiteX0" fmla="*/ 238218 w 973301"/>
                <a:gd name="connsiteY0" fmla="*/ 503717 h 681910"/>
                <a:gd name="connsiteX1" fmla="*/ 413338 w 973301"/>
                <a:gd name="connsiteY1" fmla="*/ 330474 h 681910"/>
                <a:gd name="connsiteX2" fmla="*/ 483867 w 973301"/>
                <a:gd name="connsiteY2" fmla="*/ 619175 h 681910"/>
                <a:gd name="connsiteX3" fmla="*/ 42128 w 973301"/>
                <a:gd name="connsiteY3" fmla="*/ 508719 h 681910"/>
                <a:gd name="connsiteX4" fmla="*/ 278450 w 973301"/>
                <a:gd name="connsiteY4" fmla="*/ 4850 h 681910"/>
                <a:gd name="connsiteX5" fmla="*/ 558028 w 973301"/>
                <a:gd name="connsiteY5" fmla="*/ 212919 h 681910"/>
                <a:gd name="connsiteX6" fmla="*/ 857444 w 973301"/>
                <a:gd name="connsiteY6" fmla="*/ 145449 h 681910"/>
                <a:gd name="connsiteX7" fmla="*/ 970603 w 973301"/>
                <a:gd name="connsiteY7" fmla="*/ 408756 h 681910"/>
                <a:gd name="connsiteX0" fmla="*/ 238218 w 973301"/>
                <a:gd name="connsiteY0" fmla="*/ 506290 h 684483"/>
                <a:gd name="connsiteX1" fmla="*/ 413338 w 973301"/>
                <a:gd name="connsiteY1" fmla="*/ 333047 h 684483"/>
                <a:gd name="connsiteX2" fmla="*/ 483867 w 973301"/>
                <a:gd name="connsiteY2" fmla="*/ 621748 h 684483"/>
                <a:gd name="connsiteX3" fmla="*/ 42128 w 973301"/>
                <a:gd name="connsiteY3" fmla="*/ 511292 h 684483"/>
                <a:gd name="connsiteX4" fmla="*/ 278450 w 973301"/>
                <a:gd name="connsiteY4" fmla="*/ 7423 h 684483"/>
                <a:gd name="connsiteX5" fmla="*/ 549765 w 973301"/>
                <a:gd name="connsiteY5" fmla="*/ 190704 h 684483"/>
                <a:gd name="connsiteX6" fmla="*/ 857444 w 973301"/>
                <a:gd name="connsiteY6" fmla="*/ 148022 h 684483"/>
                <a:gd name="connsiteX7" fmla="*/ 970603 w 973301"/>
                <a:gd name="connsiteY7" fmla="*/ 411329 h 684483"/>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3104 h 681297"/>
                <a:gd name="connsiteX1" fmla="*/ 413338 w 973301"/>
                <a:gd name="connsiteY1" fmla="*/ 329861 h 681297"/>
                <a:gd name="connsiteX2" fmla="*/ 483867 w 973301"/>
                <a:gd name="connsiteY2" fmla="*/ 618562 h 681297"/>
                <a:gd name="connsiteX3" fmla="*/ 42128 w 973301"/>
                <a:gd name="connsiteY3" fmla="*/ 508106 h 681297"/>
                <a:gd name="connsiteX4" fmla="*/ 278450 w 973301"/>
                <a:gd name="connsiteY4" fmla="*/ 4237 h 681297"/>
                <a:gd name="connsiteX5" fmla="*/ 549765 w 973301"/>
                <a:gd name="connsiteY5" fmla="*/ 187518 h 681297"/>
                <a:gd name="connsiteX6" fmla="*/ 857444 w 973301"/>
                <a:gd name="connsiteY6" fmla="*/ 144836 h 681297"/>
                <a:gd name="connsiteX7" fmla="*/ 970603 w 973301"/>
                <a:gd name="connsiteY7" fmla="*/ 408143 h 681297"/>
                <a:gd name="connsiteX0" fmla="*/ 238218 w 973301"/>
                <a:gd name="connsiteY0" fmla="*/ 501535 h 679728"/>
                <a:gd name="connsiteX1" fmla="*/ 413338 w 973301"/>
                <a:gd name="connsiteY1" fmla="*/ 328292 h 679728"/>
                <a:gd name="connsiteX2" fmla="*/ 483867 w 973301"/>
                <a:gd name="connsiteY2" fmla="*/ 616993 h 679728"/>
                <a:gd name="connsiteX3" fmla="*/ 42128 w 973301"/>
                <a:gd name="connsiteY3" fmla="*/ 506537 h 679728"/>
                <a:gd name="connsiteX4" fmla="*/ 278450 w 973301"/>
                <a:gd name="connsiteY4" fmla="*/ 2668 h 679728"/>
                <a:gd name="connsiteX5" fmla="*/ 549765 w 973301"/>
                <a:gd name="connsiteY5" fmla="*/ 185949 h 679728"/>
                <a:gd name="connsiteX6" fmla="*/ 857444 w 973301"/>
                <a:gd name="connsiteY6" fmla="*/ 143267 h 679728"/>
                <a:gd name="connsiteX7" fmla="*/ 970603 w 973301"/>
                <a:gd name="connsiteY7" fmla="*/ 406574 h 679728"/>
                <a:gd name="connsiteX0" fmla="*/ 239713 w 974796"/>
                <a:gd name="connsiteY0" fmla="*/ 509581 h 687774"/>
                <a:gd name="connsiteX1" fmla="*/ 414833 w 974796"/>
                <a:gd name="connsiteY1" fmla="*/ 336338 h 687774"/>
                <a:gd name="connsiteX2" fmla="*/ 485362 w 974796"/>
                <a:gd name="connsiteY2" fmla="*/ 625039 h 687774"/>
                <a:gd name="connsiteX3" fmla="*/ 43623 w 974796"/>
                <a:gd name="connsiteY3" fmla="*/ 514583 h 687774"/>
                <a:gd name="connsiteX4" fmla="*/ 268928 w 974796"/>
                <a:gd name="connsiteY4" fmla="*/ 2452 h 687774"/>
                <a:gd name="connsiteX5" fmla="*/ 551260 w 974796"/>
                <a:gd name="connsiteY5" fmla="*/ 193995 h 687774"/>
                <a:gd name="connsiteX6" fmla="*/ 858939 w 974796"/>
                <a:gd name="connsiteY6" fmla="*/ 151313 h 687774"/>
                <a:gd name="connsiteX7" fmla="*/ 972098 w 974796"/>
                <a:gd name="connsiteY7" fmla="*/ 414620 h 687774"/>
                <a:gd name="connsiteX0" fmla="*/ 239713 w 974796"/>
                <a:gd name="connsiteY0" fmla="*/ 508440 h 686633"/>
                <a:gd name="connsiteX1" fmla="*/ 414833 w 974796"/>
                <a:gd name="connsiteY1" fmla="*/ 335197 h 686633"/>
                <a:gd name="connsiteX2" fmla="*/ 485362 w 974796"/>
                <a:gd name="connsiteY2" fmla="*/ 623898 h 686633"/>
                <a:gd name="connsiteX3" fmla="*/ 43623 w 974796"/>
                <a:gd name="connsiteY3" fmla="*/ 513442 h 686633"/>
                <a:gd name="connsiteX4" fmla="*/ 268928 w 974796"/>
                <a:gd name="connsiteY4" fmla="*/ 1311 h 686633"/>
                <a:gd name="connsiteX5" fmla="*/ 551260 w 974796"/>
                <a:gd name="connsiteY5" fmla="*/ 192854 h 686633"/>
                <a:gd name="connsiteX6" fmla="*/ 858939 w 974796"/>
                <a:gd name="connsiteY6" fmla="*/ 150172 h 686633"/>
                <a:gd name="connsiteX7" fmla="*/ 972098 w 974796"/>
                <a:gd name="connsiteY7" fmla="*/ 413479 h 68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4796" h="686633">
                  <a:moveTo>
                    <a:pt x="239713" y="508440"/>
                  </a:moveTo>
                  <a:cubicBezTo>
                    <a:pt x="220051" y="400199"/>
                    <a:pt x="313311" y="308483"/>
                    <a:pt x="414833" y="335197"/>
                  </a:cubicBezTo>
                  <a:cubicBezTo>
                    <a:pt x="568709" y="355231"/>
                    <a:pt x="571103" y="526747"/>
                    <a:pt x="485362" y="623898"/>
                  </a:cubicBezTo>
                  <a:cubicBezTo>
                    <a:pt x="359231" y="741315"/>
                    <a:pt x="103653" y="687971"/>
                    <a:pt x="43623" y="513442"/>
                  </a:cubicBezTo>
                  <a:cubicBezTo>
                    <a:pt x="-86006" y="165544"/>
                    <a:pt x="98347" y="15949"/>
                    <a:pt x="268928" y="1311"/>
                  </a:cubicBezTo>
                  <a:cubicBezTo>
                    <a:pt x="423631" y="-11041"/>
                    <a:pt x="534267" y="64743"/>
                    <a:pt x="551260" y="192854"/>
                  </a:cubicBezTo>
                  <a:cubicBezTo>
                    <a:pt x="632704" y="84983"/>
                    <a:pt x="783005" y="98296"/>
                    <a:pt x="858939" y="150172"/>
                  </a:cubicBezTo>
                  <a:cubicBezTo>
                    <a:pt x="963678" y="201219"/>
                    <a:pt x="983037" y="310103"/>
                    <a:pt x="972098" y="413479"/>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7" name="자유형: 도형 21">
              <a:extLst>
                <a:ext uri="{FF2B5EF4-FFF2-40B4-BE49-F238E27FC236}">
                  <a16:creationId xmlns:a16="http://schemas.microsoft.com/office/drawing/2014/main" id="{31483E16-21F8-6842-8DC0-8549A8AEB8EE}"/>
                </a:ext>
              </a:extLst>
            </p:cNvPr>
            <p:cNvSpPr/>
            <p:nvPr/>
          </p:nvSpPr>
          <p:spPr>
            <a:xfrm>
              <a:off x="6646452" y="3560646"/>
              <a:ext cx="483425" cy="783120"/>
            </a:xfrm>
            <a:custGeom>
              <a:avLst/>
              <a:gdLst>
                <a:gd name="connsiteX0" fmla="*/ 0 w 647934"/>
                <a:gd name="connsiteY0" fmla="*/ 277685 h 1051840"/>
                <a:gd name="connsiteX1" fmla="*/ 330979 w 647934"/>
                <a:gd name="connsiteY1" fmla="*/ 0 h 1051840"/>
                <a:gd name="connsiteX2" fmla="*/ 560982 w 647934"/>
                <a:gd name="connsiteY2" fmla="*/ 171099 h 1051840"/>
                <a:gd name="connsiteX3" fmla="*/ 468420 w 647934"/>
                <a:gd name="connsiteY3" fmla="*/ 493663 h 1051840"/>
                <a:gd name="connsiteX4" fmla="*/ 647934 w 647934"/>
                <a:gd name="connsiteY4" fmla="*/ 793789 h 1051840"/>
                <a:gd name="connsiteX5" fmla="*/ 468420 w 647934"/>
                <a:gd name="connsiteY5" fmla="*/ 1051840 h 1051840"/>
                <a:gd name="connsiteX0" fmla="*/ 0 w 647934"/>
                <a:gd name="connsiteY0" fmla="*/ 277685 h 1051840"/>
                <a:gd name="connsiteX1" fmla="*/ 330979 w 647934"/>
                <a:gd name="connsiteY1" fmla="*/ 0 h 1051840"/>
                <a:gd name="connsiteX2" fmla="*/ 560982 w 647934"/>
                <a:gd name="connsiteY2" fmla="*/ 171099 h 1051840"/>
                <a:gd name="connsiteX3" fmla="*/ 468420 w 647934"/>
                <a:gd name="connsiteY3" fmla="*/ 493663 h 1051840"/>
                <a:gd name="connsiteX4" fmla="*/ 647934 w 647934"/>
                <a:gd name="connsiteY4" fmla="*/ 793789 h 1051840"/>
                <a:gd name="connsiteX5" fmla="*/ 468420 w 647934"/>
                <a:gd name="connsiteY5" fmla="*/ 1051840 h 1051840"/>
                <a:gd name="connsiteX0" fmla="*/ 0 w 647937"/>
                <a:gd name="connsiteY0" fmla="*/ 277685 h 1051840"/>
                <a:gd name="connsiteX1" fmla="*/ 330979 w 647937"/>
                <a:gd name="connsiteY1" fmla="*/ 0 h 1051840"/>
                <a:gd name="connsiteX2" fmla="*/ 560982 w 647937"/>
                <a:gd name="connsiteY2" fmla="*/ 171099 h 1051840"/>
                <a:gd name="connsiteX3" fmla="*/ 468420 w 647937"/>
                <a:gd name="connsiteY3" fmla="*/ 493663 h 1051840"/>
                <a:gd name="connsiteX4" fmla="*/ 647934 w 647937"/>
                <a:gd name="connsiteY4" fmla="*/ 793789 h 1051840"/>
                <a:gd name="connsiteX5" fmla="*/ 468420 w 647937"/>
                <a:gd name="connsiteY5" fmla="*/ 1051840 h 1051840"/>
                <a:gd name="connsiteX0" fmla="*/ 0 w 647937"/>
                <a:gd name="connsiteY0" fmla="*/ 277685 h 1051840"/>
                <a:gd name="connsiteX1" fmla="*/ 330979 w 647937"/>
                <a:gd name="connsiteY1" fmla="*/ 0 h 1051840"/>
                <a:gd name="connsiteX2" fmla="*/ 560982 w 647937"/>
                <a:gd name="connsiteY2" fmla="*/ 171099 h 1051840"/>
                <a:gd name="connsiteX3" fmla="*/ 468420 w 647937"/>
                <a:gd name="connsiteY3" fmla="*/ 493663 h 1051840"/>
                <a:gd name="connsiteX4" fmla="*/ 647934 w 647937"/>
                <a:gd name="connsiteY4" fmla="*/ 793789 h 1051840"/>
                <a:gd name="connsiteX5" fmla="*/ 468420 w 647937"/>
                <a:gd name="connsiteY5" fmla="*/ 1051840 h 1051840"/>
                <a:gd name="connsiteX0" fmla="*/ 0 w 647937"/>
                <a:gd name="connsiteY0" fmla="*/ 277685 h 1035314"/>
                <a:gd name="connsiteX1" fmla="*/ 330979 w 647937"/>
                <a:gd name="connsiteY1" fmla="*/ 0 h 1035314"/>
                <a:gd name="connsiteX2" fmla="*/ 560982 w 647937"/>
                <a:gd name="connsiteY2" fmla="*/ 171099 h 1035314"/>
                <a:gd name="connsiteX3" fmla="*/ 468420 w 647937"/>
                <a:gd name="connsiteY3" fmla="*/ 493663 h 1035314"/>
                <a:gd name="connsiteX4" fmla="*/ 647934 w 647937"/>
                <a:gd name="connsiteY4" fmla="*/ 793789 h 1035314"/>
                <a:gd name="connsiteX5" fmla="*/ 465665 w 647937"/>
                <a:gd name="connsiteY5" fmla="*/ 1035314 h 1035314"/>
                <a:gd name="connsiteX0" fmla="*/ 0 w 642428"/>
                <a:gd name="connsiteY0" fmla="*/ 277685 h 1035314"/>
                <a:gd name="connsiteX1" fmla="*/ 330979 w 642428"/>
                <a:gd name="connsiteY1" fmla="*/ 0 h 1035314"/>
                <a:gd name="connsiteX2" fmla="*/ 560982 w 642428"/>
                <a:gd name="connsiteY2" fmla="*/ 171099 h 1035314"/>
                <a:gd name="connsiteX3" fmla="*/ 468420 w 642428"/>
                <a:gd name="connsiteY3" fmla="*/ 493663 h 1035314"/>
                <a:gd name="connsiteX4" fmla="*/ 642425 w 642428"/>
                <a:gd name="connsiteY4" fmla="*/ 769001 h 1035314"/>
                <a:gd name="connsiteX5" fmla="*/ 465665 w 642428"/>
                <a:gd name="connsiteY5" fmla="*/ 1035314 h 1035314"/>
                <a:gd name="connsiteX0" fmla="*/ 0 w 642428"/>
                <a:gd name="connsiteY0" fmla="*/ 277685 h 1035314"/>
                <a:gd name="connsiteX1" fmla="*/ 330979 w 642428"/>
                <a:gd name="connsiteY1" fmla="*/ 0 h 1035314"/>
                <a:gd name="connsiteX2" fmla="*/ 560982 w 642428"/>
                <a:gd name="connsiteY2" fmla="*/ 171099 h 1035314"/>
                <a:gd name="connsiteX3" fmla="*/ 468420 w 642428"/>
                <a:gd name="connsiteY3" fmla="*/ 493663 h 1035314"/>
                <a:gd name="connsiteX4" fmla="*/ 642425 w 642428"/>
                <a:gd name="connsiteY4" fmla="*/ 769001 h 1035314"/>
                <a:gd name="connsiteX5" fmla="*/ 465665 w 642428"/>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501"/>
                <a:gd name="connsiteY0" fmla="*/ 277685 h 1035314"/>
                <a:gd name="connsiteX1" fmla="*/ 330979 w 642501"/>
                <a:gd name="connsiteY1" fmla="*/ 0 h 1035314"/>
                <a:gd name="connsiteX2" fmla="*/ 560982 w 642501"/>
                <a:gd name="connsiteY2" fmla="*/ 171099 h 1035314"/>
                <a:gd name="connsiteX3" fmla="*/ 468420 w 642501"/>
                <a:gd name="connsiteY3" fmla="*/ 493663 h 1035314"/>
                <a:gd name="connsiteX4" fmla="*/ 642425 w 642501"/>
                <a:gd name="connsiteY4" fmla="*/ 769001 h 1035314"/>
                <a:gd name="connsiteX5" fmla="*/ 465665 w 642501"/>
                <a:gd name="connsiteY5" fmla="*/ 1035314 h 1035314"/>
                <a:gd name="connsiteX0" fmla="*/ 0 w 642489"/>
                <a:gd name="connsiteY0" fmla="*/ 277685 h 1035314"/>
                <a:gd name="connsiteX1" fmla="*/ 330979 w 642489"/>
                <a:gd name="connsiteY1" fmla="*/ 0 h 1035314"/>
                <a:gd name="connsiteX2" fmla="*/ 560982 w 642489"/>
                <a:gd name="connsiteY2" fmla="*/ 171099 h 1035314"/>
                <a:gd name="connsiteX3" fmla="*/ 446386 w 642489"/>
                <a:gd name="connsiteY3" fmla="*/ 490909 h 1035314"/>
                <a:gd name="connsiteX4" fmla="*/ 642425 w 642489"/>
                <a:gd name="connsiteY4" fmla="*/ 769001 h 1035314"/>
                <a:gd name="connsiteX5" fmla="*/ 465665 w 642489"/>
                <a:gd name="connsiteY5" fmla="*/ 1035314 h 1035314"/>
                <a:gd name="connsiteX0" fmla="*/ 0 w 642733"/>
                <a:gd name="connsiteY0" fmla="*/ 277685 h 1035314"/>
                <a:gd name="connsiteX1" fmla="*/ 330979 w 642733"/>
                <a:gd name="connsiteY1" fmla="*/ 0 h 1035314"/>
                <a:gd name="connsiteX2" fmla="*/ 560982 w 642733"/>
                <a:gd name="connsiteY2" fmla="*/ 171099 h 1035314"/>
                <a:gd name="connsiteX3" fmla="*/ 446386 w 642733"/>
                <a:gd name="connsiteY3" fmla="*/ 490909 h 1035314"/>
                <a:gd name="connsiteX4" fmla="*/ 642425 w 642733"/>
                <a:gd name="connsiteY4" fmla="*/ 769001 h 1035314"/>
                <a:gd name="connsiteX5" fmla="*/ 465665 w 642733"/>
                <a:gd name="connsiteY5" fmla="*/ 1035314 h 1035314"/>
                <a:gd name="connsiteX0" fmla="*/ 0 w 642733"/>
                <a:gd name="connsiteY0" fmla="*/ 277685 h 1035314"/>
                <a:gd name="connsiteX1" fmla="*/ 330979 w 642733"/>
                <a:gd name="connsiteY1" fmla="*/ 0 h 1035314"/>
                <a:gd name="connsiteX2" fmla="*/ 560982 w 642733"/>
                <a:gd name="connsiteY2" fmla="*/ 171099 h 1035314"/>
                <a:gd name="connsiteX3" fmla="*/ 446386 w 642733"/>
                <a:gd name="connsiteY3" fmla="*/ 490909 h 1035314"/>
                <a:gd name="connsiteX4" fmla="*/ 642425 w 642733"/>
                <a:gd name="connsiteY4" fmla="*/ 769001 h 1035314"/>
                <a:gd name="connsiteX5" fmla="*/ 465665 w 642733"/>
                <a:gd name="connsiteY5" fmla="*/ 1035314 h 1035314"/>
                <a:gd name="connsiteX0" fmla="*/ 0 w 642564"/>
                <a:gd name="connsiteY0" fmla="*/ 277685 h 1035314"/>
                <a:gd name="connsiteX1" fmla="*/ 330979 w 642564"/>
                <a:gd name="connsiteY1" fmla="*/ 0 h 1035314"/>
                <a:gd name="connsiteX2" fmla="*/ 560982 w 642564"/>
                <a:gd name="connsiteY2" fmla="*/ 171099 h 1035314"/>
                <a:gd name="connsiteX3" fmla="*/ 446386 w 642564"/>
                <a:gd name="connsiteY3" fmla="*/ 490909 h 1035314"/>
                <a:gd name="connsiteX4" fmla="*/ 642425 w 642564"/>
                <a:gd name="connsiteY4" fmla="*/ 769001 h 1035314"/>
                <a:gd name="connsiteX5" fmla="*/ 465665 w 642564"/>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77685 h 1035314"/>
                <a:gd name="connsiteX1" fmla="*/ 330979 w 639815"/>
                <a:gd name="connsiteY1" fmla="*/ 0 h 1035314"/>
                <a:gd name="connsiteX2" fmla="*/ 560982 w 639815"/>
                <a:gd name="connsiteY2" fmla="*/ 171099 h 1035314"/>
                <a:gd name="connsiteX3" fmla="*/ 446386 w 639815"/>
                <a:gd name="connsiteY3" fmla="*/ 490909 h 1035314"/>
                <a:gd name="connsiteX4" fmla="*/ 639670 w 639815"/>
                <a:gd name="connsiteY4" fmla="*/ 760738 h 1035314"/>
                <a:gd name="connsiteX5" fmla="*/ 465665 w 639815"/>
                <a:gd name="connsiteY5" fmla="*/ 1035314 h 1035314"/>
                <a:gd name="connsiteX0" fmla="*/ 0 w 639815"/>
                <a:gd name="connsiteY0" fmla="*/ 280359 h 1037988"/>
                <a:gd name="connsiteX1" fmla="*/ 330979 w 639815"/>
                <a:gd name="connsiteY1" fmla="*/ 2674 h 1037988"/>
                <a:gd name="connsiteX2" fmla="*/ 560982 w 639815"/>
                <a:gd name="connsiteY2" fmla="*/ 173773 h 1037988"/>
                <a:gd name="connsiteX3" fmla="*/ 446386 w 639815"/>
                <a:gd name="connsiteY3" fmla="*/ 493583 h 1037988"/>
                <a:gd name="connsiteX4" fmla="*/ 639670 w 639815"/>
                <a:gd name="connsiteY4" fmla="*/ 763412 h 1037988"/>
                <a:gd name="connsiteX5" fmla="*/ 465665 w 639815"/>
                <a:gd name="connsiteY5" fmla="*/ 1037988 h 1037988"/>
                <a:gd name="connsiteX0" fmla="*/ 0 w 639815"/>
                <a:gd name="connsiteY0" fmla="*/ 284735 h 1042364"/>
                <a:gd name="connsiteX1" fmla="*/ 330979 w 639815"/>
                <a:gd name="connsiteY1" fmla="*/ 7050 h 1042364"/>
                <a:gd name="connsiteX2" fmla="*/ 560982 w 639815"/>
                <a:gd name="connsiteY2" fmla="*/ 178149 h 1042364"/>
                <a:gd name="connsiteX3" fmla="*/ 446386 w 639815"/>
                <a:gd name="connsiteY3" fmla="*/ 497959 h 1042364"/>
                <a:gd name="connsiteX4" fmla="*/ 639670 w 639815"/>
                <a:gd name="connsiteY4" fmla="*/ 767788 h 1042364"/>
                <a:gd name="connsiteX5" fmla="*/ 465665 w 639815"/>
                <a:gd name="connsiteY5" fmla="*/ 1042364 h 1042364"/>
                <a:gd name="connsiteX0" fmla="*/ 0 w 639815"/>
                <a:gd name="connsiteY0" fmla="*/ 284735 h 1042364"/>
                <a:gd name="connsiteX1" fmla="*/ 330979 w 639815"/>
                <a:gd name="connsiteY1" fmla="*/ 7050 h 1042364"/>
                <a:gd name="connsiteX2" fmla="*/ 560982 w 639815"/>
                <a:gd name="connsiteY2" fmla="*/ 178149 h 1042364"/>
                <a:gd name="connsiteX3" fmla="*/ 446386 w 639815"/>
                <a:gd name="connsiteY3" fmla="*/ 497959 h 1042364"/>
                <a:gd name="connsiteX4" fmla="*/ 639670 w 639815"/>
                <a:gd name="connsiteY4" fmla="*/ 767788 h 1042364"/>
                <a:gd name="connsiteX5" fmla="*/ 465665 w 639815"/>
                <a:gd name="connsiteY5" fmla="*/ 1042364 h 1042364"/>
                <a:gd name="connsiteX0" fmla="*/ 0 w 639815"/>
                <a:gd name="connsiteY0" fmla="*/ 278763 h 1036392"/>
                <a:gd name="connsiteX1" fmla="*/ 330979 w 639815"/>
                <a:gd name="connsiteY1" fmla="*/ 1078 h 1036392"/>
                <a:gd name="connsiteX2" fmla="*/ 560982 w 639815"/>
                <a:gd name="connsiteY2" fmla="*/ 172177 h 1036392"/>
                <a:gd name="connsiteX3" fmla="*/ 446386 w 639815"/>
                <a:gd name="connsiteY3" fmla="*/ 491987 h 1036392"/>
                <a:gd name="connsiteX4" fmla="*/ 639670 w 639815"/>
                <a:gd name="connsiteY4" fmla="*/ 761816 h 1036392"/>
                <a:gd name="connsiteX5" fmla="*/ 465665 w 639815"/>
                <a:gd name="connsiteY5" fmla="*/ 1036392 h 1036392"/>
                <a:gd name="connsiteX0" fmla="*/ 0 w 639815"/>
                <a:gd name="connsiteY0" fmla="*/ 280192 h 1037821"/>
                <a:gd name="connsiteX1" fmla="*/ 330979 w 639815"/>
                <a:gd name="connsiteY1" fmla="*/ 2507 h 1037821"/>
                <a:gd name="connsiteX2" fmla="*/ 560982 w 639815"/>
                <a:gd name="connsiteY2" fmla="*/ 173606 h 1037821"/>
                <a:gd name="connsiteX3" fmla="*/ 446386 w 639815"/>
                <a:gd name="connsiteY3" fmla="*/ 493416 h 1037821"/>
                <a:gd name="connsiteX4" fmla="*/ 639670 w 639815"/>
                <a:gd name="connsiteY4" fmla="*/ 763245 h 1037821"/>
                <a:gd name="connsiteX5" fmla="*/ 465665 w 639815"/>
                <a:gd name="connsiteY5" fmla="*/ 1037821 h 1037821"/>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32 w 639847"/>
                <a:gd name="connsiteY0" fmla="*/ 279537 h 1037166"/>
                <a:gd name="connsiteX1" fmla="*/ 331011 w 639847"/>
                <a:gd name="connsiteY1" fmla="*/ 1852 h 1037166"/>
                <a:gd name="connsiteX2" fmla="*/ 561014 w 639847"/>
                <a:gd name="connsiteY2" fmla="*/ 172951 h 1037166"/>
                <a:gd name="connsiteX3" fmla="*/ 446418 w 639847"/>
                <a:gd name="connsiteY3" fmla="*/ 492761 h 1037166"/>
                <a:gd name="connsiteX4" fmla="*/ 639702 w 639847"/>
                <a:gd name="connsiteY4" fmla="*/ 762590 h 1037166"/>
                <a:gd name="connsiteX5" fmla="*/ 465697 w 639847"/>
                <a:gd name="connsiteY5" fmla="*/ 1037166 h 1037166"/>
                <a:gd name="connsiteX0" fmla="*/ 26 w 639841"/>
                <a:gd name="connsiteY0" fmla="*/ 279060 h 1036689"/>
                <a:gd name="connsiteX1" fmla="*/ 331005 w 639841"/>
                <a:gd name="connsiteY1" fmla="*/ 1375 h 1036689"/>
                <a:gd name="connsiteX2" fmla="*/ 561008 w 639841"/>
                <a:gd name="connsiteY2" fmla="*/ 172474 h 1036689"/>
                <a:gd name="connsiteX3" fmla="*/ 446412 w 639841"/>
                <a:gd name="connsiteY3" fmla="*/ 492284 h 1036689"/>
                <a:gd name="connsiteX4" fmla="*/ 639696 w 639841"/>
                <a:gd name="connsiteY4" fmla="*/ 762113 h 1036689"/>
                <a:gd name="connsiteX5" fmla="*/ 465691 w 639841"/>
                <a:gd name="connsiteY5" fmla="*/ 1036689 h 1036689"/>
                <a:gd name="connsiteX0" fmla="*/ 26 w 639841"/>
                <a:gd name="connsiteY0" fmla="*/ 279103 h 1036732"/>
                <a:gd name="connsiteX1" fmla="*/ 331005 w 639841"/>
                <a:gd name="connsiteY1" fmla="*/ 1418 h 1036732"/>
                <a:gd name="connsiteX2" fmla="*/ 561008 w 639841"/>
                <a:gd name="connsiteY2" fmla="*/ 172517 h 1036732"/>
                <a:gd name="connsiteX3" fmla="*/ 446412 w 639841"/>
                <a:gd name="connsiteY3" fmla="*/ 492327 h 1036732"/>
                <a:gd name="connsiteX4" fmla="*/ 639696 w 639841"/>
                <a:gd name="connsiteY4" fmla="*/ 762156 h 1036732"/>
                <a:gd name="connsiteX5" fmla="*/ 465691 w 639841"/>
                <a:gd name="connsiteY5" fmla="*/ 1036732 h 1036732"/>
                <a:gd name="connsiteX0" fmla="*/ 26 w 639841"/>
                <a:gd name="connsiteY0" fmla="*/ 279060 h 1036689"/>
                <a:gd name="connsiteX1" fmla="*/ 331005 w 639841"/>
                <a:gd name="connsiteY1" fmla="*/ 1375 h 1036689"/>
                <a:gd name="connsiteX2" fmla="*/ 561008 w 639841"/>
                <a:gd name="connsiteY2" fmla="*/ 172474 h 1036689"/>
                <a:gd name="connsiteX3" fmla="*/ 446412 w 639841"/>
                <a:gd name="connsiteY3" fmla="*/ 492284 h 1036689"/>
                <a:gd name="connsiteX4" fmla="*/ 639696 w 639841"/>
                <a:gd name="connsiteY4" fmla="*/ 762113 h 1036689"/>
                <a:gd name="connsiteX5" fmla="*/ 465691 w 639841"/>
                <a:gd name="connsiteY5" fmla="*/ 1036689 h 1036689"/>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34 w 639849"/>
                <a:gd name="connsiteY0" fmla="*/ 280063 h 1037692"/>
                <a:gd name="connsiteX1" fmla="*/ 331013 w 639849"/>
                <a:gd name="connsiteY1" fmla="*/ 2378 h 1037692"/>
                <a:gd name="connsiteX2" fmla="*/ 561016 w 639849"/>
                <a:gd name="connsiteY2" fmla="*/ 173477 h 1037692"/>
                <a:gd name="connsiteX3" fmla="*/ 446420 w 639849"/>
                <a:gd name="connsiteY3" fmla="*/ 493287 h 1037692"/>
                <a:gd name="connsiteX4" fmla="*/ 639704 w 639849"/>
                <a:gd name="connsiteY4" fmla="*/ 763116 h 1037692"/>
                <a:gd name="connsiteX5" fmla="*/ 465699 w 639849"/>
                <a:gd name="connsiteY5" fmla="*/ 1037692 h 1037692"/>
                <a:gd name="connsiteX0" fmla="*/ 40 w 620576"/>
                <a:gd name="connsiteY0" fmla="*/ 296331 h 1037435"/>
                <a:gd name="connsiteX1" fmla="*/ 311740 w 620576"/>
                <a:gd name="connsiteY1" fmla="*/ 2121 h 1037435"/>
                <a:gd name="connsiteX2" fmla="*/ 541743 w 620576"/>
                <a:gd name="connsiteY2" fmla="*/ 173220 h 1037435"/>
                <a:gd name="connsiteX3" fmla="*/ 427147 w 620576"/>
                <a:gd name="connsiteY3" fmla="*/ 493030 h 1037435"/>
                <a:gd name="connsiteX4" fmla="*/ 620431 w 620576"/>
                <a:gd name="connsiteY4" fmla="*/ 762859 h 1037435"/>
                <a:gd name="connsiteX5" fmla="*/ 446426 w 620576"/>
                <a:gd name="connsiteY5" fmla="*/ 1037435 h 1037435"/>
                <a:gd name="connsiteX0" fmla="*/ 5008 w 625544"/>
                <a:gd name="connsiteY0" fmla="*/ 297012 h 1038116"/>
                <a:gd name="connsiteX1" fmla="*/ 316708 w 625544"/>
                <a:gd name="connsiteY1" fmla="*/ 2802 h 1038116"/>
                <a:gd name="connsiteX2" fmla="*/ 546711 w 625544"/>
                <a:gd name="connsiteY2" fmla="*/ 173901 h 1038116"/>
                <a:gd name="connsiteX3" fmla="*/ 432115 w 625544"/>
                <a:gd name="connsiteY3" fmla="*/ 493711 h 1038116"/>
                <a:gd name="connsiteX4" fmla="*/ 625399 w 625544"/>
                <a:gd name="connsiteY4" fmla="*/ 763540 h 1038116"/>
                <a:gd name="connsiteX5" fmla="*/ 451394 w 625544"/>
                <a:gd name="connsiteY5" fmla="*/ 1038116 h 1038116"/>
                <a:gd name="connsiteX0" fmla="*/ 5008 w 625544"/>
                <a:gd name="connsiteY0" fmla="*/ 299704 h 1040808"/>
                <a:gd name="connsiteX1" fmla="*/ 316708 w 625544"/>
                <a:gd name="connsiteY1" fmla="*/ 2739 h 1040808"/>
                <a:gd name="connsiteX2" fmla="*/ 546711 w 625544"/>
                <a:gd name="connsiteY2" fmla="*/ 176593 h 1040808"/>
                <a:gd name="connsiteX3" fmla="*/ 432115 w 625544"/>
                <a:gd name="connsiteY3" fmla="*/ 496403 h 1040808"/>
                <a:gd name="connsiteX4" fmla="*/ 625399 w 625544"/>
                <a:gd name="connsiteY4" fmla="*/ 766232 h 1040808"/>
                <a:gd name="connsiteX5" fmla="*/ 451394 w 625544"/>
                <a:gd name="connsiteY5" fmla="*/ 1040808 h 1040808"/>
                <a:gd name="connsiteX0" fmla="*/ 4206 w 624742"/>
                <a:gd name="connsiteY0" fmla="*/ 298093 h 1039197"/>
                <a:gd name="connsiteX1" fmla="*/ 315906 w 624742"/>
                <a:gd name="connsiteY1" fmla="*/ 1128 h 1039197"/>
                <a:gd name="connsiteX2" fmla="*/ 545909 w 624742"/>
                <a:gd name="connsiteY2" fmla="*/ 174982 h 1039197"/>
                <a:gd name="connsiteX3" fmla="*/ 431313 w 624742"/>
                <a:gd name="connsiteY3" fmla="*/ 494792 h 1039197"/>
                <a:gd name="connsiteX4" fmla="*/ 624597 w 624742"/>
                <a:gd name="connsiteY4" fmla="*/ 764621 h 1039197"/>
                <a:gd name="connsiteX5" fmla="*/ 450592 w 624742"/>
                <a:gd name="connsiteY5" fmla="*/ 1039197 h 1039197"/>
                <a:gd name="connsiteX0" fmla="*/ 4206 w 624742"/>
                <a:gd name="connsiteY0" fmla="*/ 298093 h 1039197"/>
                <a:gd name="connsiteX1" fmla="*/ 315906 w 624742"/>
                <a:gd name="connsiteY1" fmla="*/ 1128 h 1039197"/>
                <a:gd name="connsiteX2" fmla="*/ 545909 w 624742"/>
                <a:gd name="connsiteY2" fmla="*/ 174982 h 1039197"/>
                <a:gd name="connsiteX3" fmla="*/ 431313 w 624742"/>
                <a:gd name="connsiteY3" fmla="*/ 494792 h 1039197"/>
                <a:gd name="connsiteX4" fmla="*/ 624597 w 624742"/>
                <a:gd name="connsiteY4" fmla="*/ 764621 h 1039197"/>
                <a:gd name="connsiteX5" fmla="*/ 450592 w 624742"/>
                <a:gd name="connsiteY5" fmla="*/ 1039197 h 1039197"/>
                <a:gd name="connsiteX0" fmla="*/ 4206 w 625023"/>
                <a:gd name="connsiteY0" fmla="*/ 298093 h 1039197"/>
                <a:gd name="connsiteX1" fmla="*/ 315906 w 625023"/>
                <a:gd name="connsiteY1" fmla="*/ 1128 h 1039197"/>
                <a:gd name="connsiteX2" fmla="*/ 545909 w 625023"/>
                <a:gd name="connsiteY2" fmla="*/ 174982 h 1039197"/>
                <a:gd name="connsiteX3" fmla="*/ 431313 w 625023"/>
                <a:gd name="connsiteY3" fmla="*/ 494792 h 1039197"/>
                <a:gd name="connsiteX4" fmla="*/ 624597 w 625023"/>
                <a:gd name="connsiteY4" fmla="*/ 764621 h 1039197"/>
                <a:gd name="connsiteX5" fmla="*/ 450592 w 625023"/>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5059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5059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25804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467"/>
                <a:gd name="connsiteY0" fmla="*/ 298093 h 1039197"/>
                <a:gd name="connsiteX1" fmla="*/ 315906 w 641467"/>
                <a:gd name="connsiteY1" fmla="*/ 1128 h 1039197"/>
                <a:gd name="connsiteX2" fmla="*/ 545909 w 641467"/>
                <a:gd name="connsiteY2" fmla="*/ 174982 h 1039197"/>
                <a:gd name="connsiteX3" fmla="*/ 431313 w 641467"/>
                <a:gd name="connsiteY3" fmla="*/ 494792 h 1039197"/>
                <a:gd name="connsiteX4" fmla="*/ 641122 w 641467"/>
                <a:gd name="connsiteY4" fmla="*/ 764621 h 1039197"/>
                <a:gd name="connsiteX5" fmla="*/ 417542 w 641467"/>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417542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417542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399268 w 641503"/>
                <a:gd name="connsiteY5" fmla="*/ 1039197 h 1039197"/>
                <a:gd name="connsiteX0" fmla="*/ 4206 w 641503"/>
                <a:gd name="connsiteY0" fmla="*/ 298093 h 1039197"/>
                <a:gd name="connsiteX1" fmla="*/ 315906 w 641503"/>
                <a:gd name="connsiteY1" fmla="*/ 1128 h 1039197"/>
                <a:gd name="connsiteX2" fmla="*/ 545909 w 641503"/>
                <a:gd name="connsiteY2" fmla="*/ 174982 h 1039197"/>
                <a:gd name="connsiteX3" fmla="*/ 431313 w 641503"/>
                <a:gd name="connsiteY3" fmla="*/ 494792 h 1039197"/>
                <a:gd name="connsiteX4" fmla="*/ 641122 w 641503"/>
                <a:gd name="connsiteY4" fmla="*/ 764621 h 1039197"/>
                <a:gd name="connsiteX5" fmla="*/ 399268 w 641503"/>
                <a:gd name="connsiteY5" fmla="*/ 1039197 h 103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503" h="1039197">
                  <a:moveTo>
                    <a:pt x="4206" y="298093"/>
                  </a:moveTo>
                  <a:cubicBezTo>
                    <a:pt x="-31441" y="73328"/>
                    <a:pt x="167021" y="-10969"/>
                    <a:pt x="315906" y="1128"/>
                  </a:cubicBezTo>
                  <a:cubicBezTo>
                    <a:pt x="428380" y="8585"/>
                    <a:pt x="527080" y="95916"/>
                    <a:pt x="545909" y="174982"/>
                  </a:cubicBezTo>
                  <a:cubicBezTo>
                    <a:pt x="579319" y="262305"/>
                    <a:pt x="557648" y="418486"/>
                    <a:pt x="431313" y="494792"/>
                  </a:cubicBezTo>
                  <a:cubicBezTo>
                    <a:pt x="576532" y="548013"/>
                    <a:pt x="647384" y="650808"/>
                    <a:pt x="641122" y="764621"/>
                  </a:cubicBezTo>
                  <a:cubicBezTo>
                    <a:pt x="633615" y="919493"/>
                    <a:pt x="546235" y="1010014"/>
                    <a:pt x="399268" y="1039197"/>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8" name="자유형: 도형 22">
              <a:extLst>
                <a:ext uri="{FF2B5EF4-FFF2-40B4-BE49-F238E27FC236}">
                  <a16:creationId xmlns:a16="http://schemas.microsoft.com/office/drawing/2014/main" id="{EC6FD50B-C7CA-4545-9DDD-4430A75773A1}"/>
                </a:ext>
              </a:extLst>
            </p:cNvPr>
            <p:cNvSpPr/>
            <p:nvPr/>
          </p:nvSpPr>
          <p:spPr>
            <a:xfrm>
              <a:off x="6153240" y="3948272"/>
              <a:ext cx="785355" cy="780891"/>
            </a:xfrm>
            <a:custGeom>
              <a:avLst/>
              <a:gdLst>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25244 w 970498"/>
                <a:gd name="connsiteY6" fmla="*/ 384272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415126 w 970498"/>
                <a:gd name="connsiteY7" fmla="*/ 56659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379321 w 970498"/>
                <a:gd name="connsiteY7" fmla="*/ 599641 h 925619"/>
                <a:gd name="connsiteX0" fmla="*/ 283295 w 970498"/>
                <a:gd name="connsiteY0" fmla="*/ 213173 h 925619"/>
                <a:gd name="connsiteX1" fmla="*/ 471224 w 970498"/>
                <a:gd name="connsiteY1" fmla="*/ 0 h 925619"/>
                <a:gd name="connsiteX2" fmla="*/ 611469 w 970498"/>
                <a:gd name="connsiteY2" fmla="*/ 311345 h 925619"/>
                <a:gd name="connsiteX3" fmla="*/ 970498 w 970498"/>
                <a:gd name="connsiteY3" fmla="*/ 535737 h 925619"/>
                <a:gd name="connsiteX4" fmla="*/ 538542 w 970498"/>
                <a:gd name="connsiteY4" fmla="*/ 925619 h 925619"/>
                <a:gd name="connsiteX5" fmla="*/ 0 w 970498"/>
                <a:gd name="connsiteY5" fmla="*/ 852692 h 925619"/>
                <a:gd name="connsiteX6" fmla="*/ 41769 w 970498"/>
                <a:gd name="connsiteY6" fmla="*/ 395289 h 925619"/>
                <a:gd name="connsiteX7" fmla="*/ 379321 w 970498"/>
                <a:gd name="connsiteY7" fmla="*/ 599641 h 925619"/>
                <a:gd name="connsiteX0" fmla="*/ 344345 w 1031548"/>
                <a:gd name="connsiteY0" fmla="*/ 213173 h 925619"/>
                <a:gd name="connsiteX1" fmla="*/ 532274 w 1031548"/>
                <a:gd name="connsiteY1" fmla="*/ 0 h 925619"/>
                <a:gd name="connsiteX2" fmla="*/ 672519 w 1031548"/>
                <a:gd name="connsiteY2" fmla="*/ 311345 h 925619"/>
                <a:gd name="connsiteX3" fmla="*/ 1031548 w 1031548"/>
                <a:gd name="connsiteY3" fmla="*/ 535737 h 925619"/>
                <a:gd name="connsiteX4" fmla="*/ 599592 w 1031548"/>
                <a:gd name="connsiteY4" fmla="*/ 925619 h 925619"/>
                <a:gd name="connsiteX5" fmla="*/ 61050 w 1031548"/>
                <a:gd name="connsiteY5" fmla="*/ 852692 h 925619"/>
                <a:gd name="connsiteX6" fmla="*/ 102819 w 1031548"/>
                <a:gd name="connsiteY6" fmla="*/ 395289 h 925619"/>
                <a:gd name="connsiteX7" fmla="*/ 440371 w 1031548"/>
                <a:gd name="connsiteY7" fmla="*/ 599641 h 925619"/>
                <a:gd name="connsiteX0" fmla="*/ 344345 w 1031548"/>
                <a:gd name="connsiteY0" fmla="*/ 213173 h 925619"/>
                <a:gd name="connsiteX1" fmla="*/ 532274 w 1031548"/>
                <a:gd name="connsiteY1" fmla="*/ 0 h 925619"/>
                <a:gd name="connsiteX2" fmla="*/ 672519 w 1031548"/>
                <a:gd name="connsiteY2" fmla="*/ 311345 h 925619"/>
                <a:gd name="connsiteX3" fmla="*/ 1031548 w 1031548"/>
                <a:gd name="connsiteY3" fmla="*/ 535737 h 925619"/>
                <a:gd name="connsiteX4" fmla="*/ 599592 w 1031548"/>
                <a:gd name="connsiteY4" fmla="*/ 925619 h 925619"/>
                <a:gd name="connsiteX5" fmla="*/ 61050 w 1031548"/>
                <a:gd name="connsiteY5" fmla="*/ 852692 h 925619"/>
                <a:gd name="connsiteX6" fmla="*/ 102819 w 1031548"/>
                <a:gd name="connsiteY6" fmla="*/ 395289 h 925619"/>
                <a:gd name="connsiteX7" fmla="*/ 440371 w 1031548"/>
                <a:gd name="connsiteY7" fmla="*/ 599641 h 925619"/>
                <a:gd name="connsiteX0" fmla="*/ 347877 w 1035080"/>
                <a:gd name="connsiteY0" fmla="*/ 213173 h 925619"/>
                <a:gd name="connsiteX1" fmla="*/ 535806 w 1035080"/>
                <a:gd name="connsiteY1" fmla="*/ 0 h 925619"/>
                <a:gd name="connsiteX2" fmla="*/ 676051 w 1035080"/>
                <a:gd name="connsiteY2" fmla="*/ 311345 h 925619"/>
                <a:gd name="connsiteX3" fmla="*/ 1035080 w 1035080"/>
                <a:gd name="connsiteY3" fmla="*/ 535737 h 925619"/>
                <a:gd name="connsiteX4" fmla="*/ 603124 w 1035080"/>
                <a:gd name="connsiteY4" fmla="*/ 925619 h 925619"/>
                <a:gd name="connsiteX5" fmla="*/ 53565 w 1035080"/>
                <a:gd name="connsiteY5" fmla="*/ 871971 h 925619"/>
                <a:gd name="connsiteX6" fmla="*/ 106351 w 1035080"/>
                <a:gd name="connsiteY6" fmla="*/ 395289 h 925619"/>
                <a:gd name="connsiteX7" fmla="*/ 443903 w 1035080"/>
                <a:gd name="connsiteY7" fmla="*/ 599641 h 925619"/>
                <a:gd name="connsiteX0" fmla="*/ 375671 w 1062874"/>
                <a:gd name="connsiteY0" fmla="*/ 213173 h 925619"/>
                <a:gd name="connsiteX1" fmla="*/ 563600 w 1062874"/>
                <a:gd name="connsiteY1" fmla="*/ 0 h 925619"/>
                <a:gd name="connsiteX2" fmla="*/ 703845 w 1062874"/>
                <a:gd name="connsiteY2" fmla="*/ 311345 h 925619"/>
                <a:gd name="connsiteX3" fmla="*/ 1062874 w 1062874"/>
                <a:gd name="connsiteY3" fmla="*/ 535737 h 925619"/>
                <a:gd name="connsiteX4" fmla="*/ 630918 w 1062874"/>
                <a:gd name="connsiteY4" fmla="*/ 925619 h 925619"/>
                <a:gd name="connsiteX5" fmla="*/ 81359 w 1062874"/>
                <a:gd name="connsiteY5" fmla="*/ 871971 h 925619"/>
                <a:gd name="connsiteX6" fmla="*/ 134145 w 1062874"/>
                <a:gd name="connsiteY6" fmla="*/ 395289 h 925619"/>
                <a:gd name="connsiteX7" fmla="*/ 471697 w 1062874"/>
                <a:gd name="connsiteY7" fmla="*/ 599641 h 925619"/>
                <a:gd name="connsiteX0" fmla="*/ 375671 w 1062874"/>
                <a:gd name="connsiteY0" fmla="*/ 213173 h 973239"/>
                <a:gd name="connsiteX1" fmla="*/ 563600 w 1062874"/>
                <a:gd name="connsiteY1" fmla="*/ 0 h 973239"/>
                <a:gd name="connsiteX2" fmla="*/ 703845 w 1062874"/>
                <a:gd name="connsiteY2" fmla="*/ 311345 h 973239"/>
                <a:gd name="connsiteX3" fmla="*/ 1062874 w 1062874"/>
                <a:gd name="connsiteY3" fmla="*/ 535737 h 973239"/>
                <a:gd name="connsiteX4" fmla="*/ 630918 w 1062874"/>
                <a:gd name="connsiteY4" fmla="*/ 925619 h 973239"/>
                <a:gd name="connsiteX5" fmla="*/ 81359 w 1062874"/>
                <a:gd name="connsiteY5" fmla="*/ 871971 h 973239"/>
                <a:gd name="connsiteX6" fmla="*/ 134145 w 1062874"/>
                <a:gd name="connsiteY6" fmla="*/ 395289 h 973239"/>
                <a:gd name="connsiteX7" fmla="*/ 471697 w 1062874"/>
                <a:gd name="connsiteY7" fmla="*/ 599641 h 973239"/>
                <a:gd name="connsiteX0" fmla="*/ 375671 w 1062874"/>
                <a:gd name="connsiteY0" fmla="*/ 213173 h 973239"/>
                <a:gd name="connsiteX1" fmla="*/ 563600 w 1062874"/>
                <a:gd name="connsiteY1" fmla="*/ 0 h 973239"/>
                <a:gd name="connsiteX2" fmla="*/ 703845 w 1062874"/>
                <a:gd name="connsiteY2" fmla="*/ 311345 h 973239"/>
                <a:gd name="connsiteX3" fmla="*/ 1062874 w 1062874"/>
                <a:gd name="connsiteY3" fmla="*/ 535737 h 973239"/>
                <a:gd name="connsiteX4" fmla="*/ 606130 w 1062874"/>
                <a:gd name="connsiteY4" fmla="*/ 925619 h 973239"/>
                <a:gd name="connsiteX5" fmla="*/ 81359 w 1062874"/>
                <a:gd name="connsiteY5" fmla="*/ 871971 h 973239"/>
                <a:gd name="connsiteX6" fmla="*/ 134145 w 1062874"/>
                <a:gd name="connsiteY6" fmla="*/ 395289 h 973239"/>
                <a:gd name="connsiteX7" fmla="*/ 471697 w 1062874"/>
                <a:gd name="connsiteY7" fmla="*/ 599641 h 973239"/>
                <a:gd name="connsiteX0" fmla="*/ 375671 w 1062874"/>
                <a:gd name="connsiteY0" fmla="*/ 213173 h 979036"/>
                <a:gd name="connsiteX1" fmla="*/ 563600 w 1062874"/>
                <a:gd name="connsiteY1" fmla="*/ 0 h 979036"/>
                <a:gd name="connsiteX2" fmla="*/ 703845 w 1062874"/>
                <a:gd name="connsiteY2" fmla="*/ 311345 h 979036"/>
                <a:gd name="connsiteX3" fmla="*/ 1062874 w 1062874"/>
                <a:gd name="connsiteY3" fmla="*/ 535737 h 979036"/>
                <a:gd name="connsiteX4" fmla="*/ 597867 w 1062874"/>
                <a:gd name="connsiteY4" fmla="*/ 942144 h 979036"/>
                <a:gd name="connsiteX5" fmla="*/ 81359 w 1062874"/>
                <a:gd name="connsiteY5" fmla="*/ 871971 h 979036"/>
                <a:gd name="connsiteX6" fmla="*/ 134145 w 1062874"/>
                <a:gd name="connsiteY6" fmla="*/ 395289 h 979036"/>
                <a:gd name="connsiteX7" fmla="*/ 471697 w 1062874"/>
                <a:gd name="connsiteY7" fmla="*/ 599641 h 979036"/>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49379"/>
                <a:gd name="connsiteX1" fmla="*/ 563600 w 1062874"/>
                <a:gd name="connsiteY1" fmla="*/ 0 h 1049379"/>
                <a:gd name="connsiteX2" fmla="*/ 703845 w 1062874"/>
                <a:gd name="connsiteY2" fmla="*/ 311345 h 1049379"/>
                <a:gd name="connsiteX3" fmla="*/ 1062874 w 1062874"/>
                <a:gd name="connsiteY3" fmla="*/ 535737 h 1049379"/>
                <a:gd name="connsiteX4" fmla="*/ 597867 w 1062874"/>
                <a:gd name="connsiteY4" fmla="*/ 942144 h 1049379"/>
                <a:gd name="connsiteX5" fmla="*/ 81359 w 1062874"/>
                <a:gd name="connsiteY5" fmla="*/ 871971 h 1049379"/>
                <a:gd name="connsiteX6" fmla="*/ 134145 w 1062874"/>
                <a:gd name="connsiteY6" fmla="*/ 395289 h 1049379"/>
                <a:gd name="connsiteX7" fmla="*/ 471697 w 1062874"/>
                <a:gd name="connsiteY7" fmla="*/ 599641 h 1049379"/>
                <a:gd name="connsiteX0" fmla="*/ 375671 w 1062874"/>
                <a:gd name="connsiteY0" fmla="*/ 213173 h 1033999"/>
                <a:gd name="connsiteX1" fmla="*/ 563600 w 1062874"/>
                <a:gd name="connsiteY1" fmla="*/ 0 h 1033999"/>
                <a:gd name="connsiteX2" fmla="*/ 703845 w 1062874"/>
                <a:gd name="connsiteY2" fmla="*/ 311345 h 1033999"/>
                <a:gd name="connsiteX3" fmla="*/ 1062874 w 1062874"/>
                <a:gd name="connsiteY3" fmla="*/ 535737 h 1033999"/>
                <a:gd name="connsiteX4" fmla="*/ 597867 w 1062874"/>
                <a:gd name="connsiteY4" fmla="*/ 942144 h 1033999"/>
                <a:gd name="connsiteX5" fmla="*/ 81359 w 1062874"/>
                <a:gd name="connsiteY5" fmla="*/ 871971 h 1033999"/>
                <a:gd name="connsiteX6" fmla="*/ 134145 w 1062874"/>
                <a:gd name="connsiteY6" fmla="*/ 395289 h 1033999"/>
                <a:gd name="connsiteX7" fmla="*/ 471697 w 1062874"/>
                <a:gd name="connsiteY7" fmla="*/ 599641 h 1033999"/>
                <a:gd name="connsiteX0" fmla="*/ 363975 w 1051178"/>
                <a:gd name="connsiteY0" fmla="*/ 213173 h 1033999"/>
                <a:gd name="connsiteX1" fmla="*/ 551904 w 1051178"/>
                <a:gd name="connsiteY1" fmla="*/ 0 h 1033999"/>
                <a:gd name="connsiteX2" fmla="*/ 692149 w 1051178"/>
                <a:gd name="connsiteY2" fmla="*/ 311345 h 1033999"/>
                <a:gd name="connsiteX3" fmla="*/ 1051178 w 1051178"/>
                <a:gd name="connsiteY3" fmla="*/ 535737 h 1033999"/>
                <a:gd name="connsiteX4" fmla="*/ 586171 w 1051178"/>
                <a:gd name="connsiteY4" fmla="*/ 942144 h 1033999"/>
                <a:gd name="connsiteX5" fmla="*/ 69663 w 1051178"/>
                <a:gd name="connsiteY5" fmla="*/ 871971 h 1033999"/>
                <a:gd name="connsiteX6" fmla="*/ 122449 w 1051178"/>
                <a:gd name="connsiteY6" fmla="*/ 395289 h 1033999"/>
                <a:gd name="connsiteX7" fmla="*/ 460001 w 1051178"/>
                <a:gd name="connsiteY7" fmla="*/ 599641 h 1033999"/>
                <a:gd name="connsiteX0" fmla="*/ 363975 w 1051178"/>
                <a:gd name="connsiteY0" fmla="*/ 213173 h 1030327"/>
                <a:gd name="connsiteX1" fmla="*/ 551904 w 1051178"/>
                <a:gd name="connsiteY1" fmla="*/ 0 h 1030327"/>
                <a:gd name="connsiteX2" fmla="*/ 692149 w 1051178"/>
                <a:gd name="connsiteY2" fmla="*/ 311345 h 1030327"/>
                <a:gd name="connsiteX3" fmla="*/ 1051178 w 1051178"/>
                <a:gd name="connsiteY3" fmla="*/ 535737 h 1030327"/>
                <a:gd name="connsiteX4" fmla="*/ 613713 w 1051178"/>
                <a:gd name="connsiteY4" fmla="*/ 936636 h 1030327"/>
                <a:gd name="connsiteX5" fmla="*/ 69663 w 1051178"/>
                <a:gd name="connsiteY5" fmla="*/ 871971 h 1030327"/>
                <a:gd name="connsiteX6" fmla="*/ 122449 w 1051178"/>
                <a:gd name="connsiteY6" fmla="*/ 395289 h 1030327"/>
                <a:gd name="connsiteX7" fmla="*/ 460001 w 1051178"/>
                <a:gd name="connsiteY7" fmla="*/ 599641 h 1030327"/>
                <a:gd name="connsiteX0" fmla="*/ 363975 w 1051178"/>
                <a:gd name="connsiteY0" fmla="*/ 213173 h 1030327"/>
                <a:gd name="connsiteX1" fmla="*/ 551904 w 1051178"/>
                <a:gd name="connsiteY1" fmla="*/ 0 h 1030327"/>
                <a:gd name="connsiteX2" fmla="*/ 692149 w 1051178"/>
                <a:gd name="connsiteY2" fmla="*/ 311345 h 1030327"/>
                <a:gd name="connsiteX3" fmla="*/ 1051178 w 1051178"/>
                <a:gd name="connsiteY3" fmla="*/ 535737 h 1030327"/>
                <a:gd name="connsiteX4" fmla="*/ 613713 w 1051178"/>
                <a:gd name="connsiteY4" fmla="*/ 936636 h 1030327"/>
                <a:gd name="connsiteX5" fmla="*/ 69663 w 1051178"/>
                <a:gd name="connsiteY5" fmla="*/ 871971 h 1030327"/>
                <a:gd name="connsiteX6" fmla="*/ 122449 w 1051178"/>
                <a:gd name="connsiteY6" fmla="*/ 395289 h 1030327"/>
                <a:gd name="connsiteX7" fmla="*/ 460001 w 1051178"/>
                <a:gd name="connsiteY7" fmla="*/ 599641 h 1030327"/>
                <a:gd name="connsiteX0" fmla="*/ 363975 w 1034653"/>
                <a:gd name="connsiteY0" fmla="*/ 213173 h 1030327"/>
                <a:gd name="connsiteX1" fmla="*/ 551904 w 1034653"/>
                <a:gd name="connsiteY1" fmla="*/ 0 h 1030327"/>
                <a:gd name="connsiteX2" fmla="*/ 692149 w 1034653"/>
                <a:gd name="connsiteY2" fmla="*/ 311345 h 1030327"/>
                <a:gd name="connsiteX3" fmla="*/ 1034653 w 1034653"/>
                <a:gd name="connsiteY3" fmla="*/ 538491 h 1030327"/>
                <a:gd name="connsiteX4" fmla="*/ 613713 w 1034653"/>
                <a:gd name="connsiteY4" fmla="*/ 936636 h 1030327"/>
                <a:gd name="connsiteX5" fmla="*/ 69663 w 1034653"/>
                <a:gd name="connsiteY5" fmla="*/ 871971 h 1030327"/>
                <a:gd name="connsiteX6" fmla="*/ 122449 w 1034653"/>
                <a:gd name="connsiteY6" fmla="*/ 395289 h 1030327"/>
                <a:gd name="connsiteX7" fmla="*/ 460001 w 1034653"/>
                <a:gd name="connsiteY7" fmla="*/ 599641 h 1030327"/>
                <a:gd name="connsiteX0" fmla="*/ 363975 w 1037690"/>
                <a:gd name="connsiteY0" fmla="*/ 213173 h 1030327"/>
                <a:gd name="connsiteX1" fmla="*/ 551904 w 1037690"/>
                <a:gd name="connsiteY1" fmla="*/ 0 h 1030327"/>
                <a:gd name="connsiteX2" fmla="*/ 692149 w 1037690"/>
                <a:gd name="connsiteY2" fmla="*/ 311345 h 1030327"/>
                <a:gd name="connsiteX3" fmla="*/ 1034653 w 1037690"/>
                <a:gd name="connsiteY3" fmla="*/ 538491 h 1030327"/>
                <a:gd name="connsiteX4" fmla="*/ 613713 w 1037690"/>
                <a:gd name="connsiteY4" fmla="*/ 936636 h 1030327"/>
                <a:gd name="connsiteX5" fmla="*/ 69663 w 1037690"/>
                <a:gd name="connsiteY5" fmla="*/ 871971 h 1030327"/>
                <a:gd name="connsiteX6" fmla="*/ 122449 w 1037690"/>
                <a:gd name="connsiteY6" fmla="*/ 395289 h 1030327"/>
                <a:gd name="connsiteX7" fmla="*/ 460001 w 1037690"/>
                <a:gd name="connsiteY7" fmla="*/ 599641 h 1030327"/>
                <a:gd name="connsiteX0" fmla="*/ 363975 w 1037917"/>
                <a:gd name="connsiteY0" fmla="*/ 213173 h 1030327"/>
                <a:gd name="connsiteX1" fmla="*/ 551904 w 1037917"/>
                <a:gd name="connsiteY1" fmla="*/ 0 h 1030327"/>
                <a:gd name="connsiteX2" fmla="*/ 692149 w 1037917"/>
                <a:gd name="connsiteY2" fmla="*/ 311345 h 1030327"/>
                <a:gd name="connsiteX3" fmla="*/ 1034653 w 1037917"/>
                <a:gd name="connsiteY3" fmla="*/ 538491 h 1030327"/>
                <a:gd name="connsiteX4" fmla="*/ 613713 w 1037917"/>
                <a:gd name="connsiteY4" fmla="*/ 936636 h 1030327"/>
                <a:gd name="connsiteX5" fmla="*/ 69663 w 1037917"/>
                <a:gd name="connsiteY5" fmla="*/ 871971 h 1030327"/>
                <a:gd name="connsiteX6" fmla="*/ 122449 w 1037917"/>
                <a:gd name="connsiteY6" fmla="*/ 395289 h 1030327"/>
                <a:gd name="connsiteX7" fmla="*/ 460001 w 1037917"/>
                <a:gd name="connsiteY7" fmla="*/ 599641 h 1030327"/>
                <a:gd name="connsiteX0" fmla="*/ 363975 w 1046257"/>
                <a:gd name="connsiteY0" fmla="*/ 213173 h 1030327"/>
                <a:gd name="connsiteX1" fmla="*/ 551904 w 1046257"/>
                <a:gd name="connsiteY1" fmla="*/ 0 h 1030327"/>
                <a:gd name="connsiteX2" fmla="*/ 692149 w 1046257"/>
                <a:gd name="connsiteY2" fmla="*/ 311345 h 1030327"/>
                <a:gd name="connsiteX3" fmla="*/ 1034653 w 1046257"/>
                <a:gd name="connsiteY3" fmla="*/ 538491 h 1030327"/>
                <a:gd name="connsiteX4" fmla="*/ 613713 w 1046257"/>
                <a:gd name="connsiteY4" fmla="*/ 936636 h 1030327"/>
                <a:gd name="connsiteX5" fmla="*/ 69663 w 1046257"/>
                <a:gd name="connsiteY5" fmla="*/ 871971 h 1030327"/>
                <a:gd name="connsiteX6" fmla="*/ 122449 w 1046257"/>
                <a:gd name="connsiteY6" fmla="*/ 395289 h 1030327"/>
                <a:gd name="connsiteX7" fmla="*/ 460001 w 1046257"/>
                <a:gd name="connsiteY7" fmla="*/ 599641 h 1030327"/>
                <a:gd name="connsiteX0" fmla="*/ 363975 w 1046257"/>
                <a:gd name="connsiteY0" fmla="*/ 213173 h 1030327"/>
                <a:gd name="connsiteX1" fmla="*/ 551904 w 1046257"/>
                <a:gd name="connsiteY1" fmla="*/ 0 h 1030327"/>
                <a:gd name="connsiteX2" fmla="*/ 692149 w 1046257"/>
                <a:gd name="connsiteY2" fmla="*/ 311345 h 1030327"/>
                <a:gd name="connsiteX3" fmla="*/ 1034653 w 1046257"/>
                <a:gd name="connsiteY3" fmla="*/ 538491 h 1030327"/>
                <a:gd name="connsiteX4" fmla="*/ 613713 w 1046257"/>
                <a:gd name="connsiteY4" fmla="*/ 936636 h 1030327"/>
                <a:gd name="connsiteX5" fmla="*/ 69663 w 1046257"/>
                <a:gd name="connsiteY5" fmla="*/ 871971 h 1030327"/>
                <a:gd name="connsiteX6" fmla="*/ 122449 w 1046257"/>
                <a:gd name="connsiteY6" fmla="*/ 395289 h 1030327"/>
                <a:gd name="connsiteX7" fmla="*/ 460001 w 1046257"/>
                <a:gd name="connsiteY7" fmla="*/ 599641 h 1030327"/>
                <a:gd name="connsiteX0" fmla="*/ 363975 w 1041370"/>
                <a:gd name="connsiteY0" fmla="*/ 213173 h 1030327"/>
                <a:gd name="connsiteX1" fmla="*/ 551904 w 1041370"/>
                <a:gd name="connsiteY1" fmla="*/ 0 h 1030327"/>
                <a:gd name="connsiteX2" fmla="*/ 692149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92149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2870 w 1041370"/>
                <a:gd name="connsiteY2" fmla="*/ 311345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830 h 1030984"/>
                <a:gd name="connsiteX1" fmla="*/ 551904 w 1041370"/>
                <a:gd name="connsiteY1" fmla="*/ 657 h 1030984"/>
                <a:gd name="connsiteX2" fmla="*/ 675624 w 1041370"/>
                <a:gd name="connsiteY2" fmla="*/ 300985 h 1030984"/>
                <a:gd name="connsiteX3" fmla="*/ 1034653 w 1041370"/>
                <a:gd name="connsiteY3" fmla="*/ 539148 h 1030984"/>
                <a:gd name="connsiteX4" fmla="*/ 613713 w 1041370"/>
                <a:gd name="connsiteY4" fmla="*/ 937293 h 1030984"/>
                <a:gd name="connsiteX5" fmla="*/ 69663 w 1041370"/>
                <a:gd name="connsiteY5" fmla="*/ 872628 h 1030984"/>
                <a:gd name="connsiteX6" fmla="*/ 122449 w 1041370"/>
                <a:gd name="connsiteY6" fmla="*/ 395946 h 1030984"/>
                <a:gd name="connsiteX7" fmla="*/ 460001 w 1041370"/>
                <a:gd name="connsiteY7" fmla="*/ 600298 h 1030984"/>
                <a:gd name="connsiteX0" fmla="*/ 363975 w 1041370"/>
                <a:gd name="connsiteY0" fmla="*/ 213270 h 1030424"/>
                <a:gd name="connsiteX1" fmla="*/ 551904 w 1041370"/>
                <a:gd name="connsiteY1" fmla="*/ 97 h 1030424"/>
                <a:gd name="connsiteX2" fmla="*/ 675624 w 1041370"/>
                <a:gd name="connsiteY2" fmla="*/ 300425 h 1030424"/>
                <a:gd name="connsiteX3" fmla="*/ 1034653 w 1041370"/>
                <a:gd name="connsiteY3" fmla="*/ 538588 h 1030424"/>
                <a:gd name="connsiteX4" fmla="*/ 613713 w 1041370"/>
                <a:gd name="connsiteY4" fmla="*/ 936733 h 1030424"/>
                <a:gd name="connsiteX5" fmla="*/ 69663 w 1041370"/>
                <a:gd name="connsiteY5" fmla="*/ 872068 h 1030424"/>
                <a:gd name="connsiteX6" fmla="*/ 122449 w 1041370"/>
                <a:gd name="connsiteY6" fmla="*/ 395386 h 1030424"/>
                <a:gd name="connsiteX7" fmla="*/ 460001 w 1041370"/>
                <a:gd name="connsiteY7" fmla="*/ 599738 h 1030424"/>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363975 w 1041370"/>
                <a:gd name="connsiteY0" fmla="*/ 213173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60001 w 1041370"/>
                <a:gd name="connsiteY7" fmla="*/ 599641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15934 w 1041370"/>
                <a:gd name="connsiteY7" fmla="*/ 693285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370"/>
                <a:gd name="connsiteY0" fmla="*/ 237961 h 1030327"/>
                <a:gd name="connsiteX1" fmla="*/ 551904 w 1041370"/>
                <a:gd name="connsiteY1" fmla="*/ 0 h 1030327"/>
                <a:gd name="connsiteX2" fmla="*/ 675624 w 1041370"/>
                <a:gd name="connsiteY2" fmla="*/ 300328 h 1030327"/>
                <a:gd name="connsiteX3" fmla="*/ 1034653 w 1041370"/>
                <a:gd name="connsiteY3" fmla="*/ 538491 h 1030327"/>
                <a:gd name="connsiteX4" fmla="*/ 613713 w 1041370"/>
                <a:gd name="connsiteY4" fmla="*/ 936636 h 1030327"/>
                <a:gd name="connsiteX5" fmla="*/ 69663 w 1041370"/>
                <a:gd name="connsiteY5" fmla="*/ 871971 h 1030327"/>
                <a:gd name="connsiteX6" fmla="*/ 122449 w 1041370"/>
                <a:gd name="connsiteY6" fmla="*/ 395289 h 1030327"/>
                <a:gd name="connsiteX7" fmla="*/ 407671 w 1041370"/>
                <a:gd name="connsiteY7" fmla="*/ 709810 h 1030327"/>
                <a:gd name="connsiteX0" fmla="*/ 408043 w 1041266"/>
                <a:gd name="connsiteY0" fmla="*/ 237961 h 1016230"/>
                <a:gd name="connsiteX1" fmla="*/ 551904 w 1041266"/>
                <a:gd name="connsiteY1" fmla="*/ 0 h 1016230"/>
                <a:gd name="connsiteX2" fmla="*/ 675624 w 1041266"/>
                <a:gd name="connsiteY2" fmla="*/ 300328 h 1016230"/>
                <a:gd name="connsiteX3" fmla="*/ 1034653 w 1041266"/>
                <a:gd name="connsiteY3" fmla="*/ 538491 h 1016230"/>
                <a:gd name="connsiteX4" fmla="*/ 610959 w 1041266"/>
                <a:gd name="connsiteY4" fmla="*/ 914602 h 1016230"/>
                <a:gd name="connsiteX5" fmla="*/ 69663 w 1041266"/>
                <a:gd name="connsiteY5" fmla="*/ 871971 h 1016230"/>
                <a:gd name="connsiteX6" fmla="*/ 122449 w 1041266"/>
                <a:gd name="connsiteY6" fmla="*/ 395289 h 1016230"/>
                <a:gd name="connsiteX7" fmla="*/ 407671 w 1041266"/>
                <a:gd name="connsiteY7" fmla="*/ 709810 h 1016230"/>
                <a:gd name="connsiteX0" fmla="*/ 408043 w 1042386"/>
                <a:gd name="connsiteY0" fmla="*/ 237961 h 1016230"/>
                <a:gd name="connsiteX1" fmla="*/ 551904 w 1042386"/>
                <a:gd name="connsiteY1" fmla="*/ 0 h 1016230"/>
                <a:gd name="connsiteX2" fmla="*/ 675624 w 1042386"/>
                <a:gd name="connsiteY2" fmla="*/ 300328 h 1016230"/>
                <a:gd name="connsiteX3" fmla="*/ 1034653 w 1042386"/>
                <a:gd name="connsiteY3" fmla="*/ 538491 h 1016230"/>
                <a:gd name="connsiteX4" fmla="*/ 610959 w 1042386"/>
                <a:gd name="connsiteY4" fmla="*/ 914602 h 1016230"/>
                <a:gd name="connsiteX5" fmla="*/ 69663 w 1042386"/>
                <a:gd name="connsiteY5" fmla="*/ 871971 h 1016230"/>
                <a:gd name="connsiteX6" fmla="*/ 122449 w 1042386"/>
                <a:gd name="connsiteY6" fmla="*/ 395289 h 1016230"/>
                <a:gd name="connsiteX7" fmla="*/ 407671 w 1042386"/>
                <a:gd name="connsiteY7" fmla="*/ 709810 h 1016230"/>
                <a:gd name="connsiteX0" fmla="*/ 408043 w 1042386"/>
                <a:gd name="connsiteY0" fmla="*/ 237961 h 1031503"/>
                <a:gd name="connsiteX1" fmla="*/ 551904 w 1042386"/>
                <a:gd name="connsiteY1" fmla="*/ 0 h 1031503"/>
                <a:gd name="connsiteX2" fmla="*/ 675624 w 1042386"/>
                <a:gd name="connsiteY2" fmla="*/ 300328 h 1031503"/>
                <a:gd name="connsiteX3" fmla="*/ 1034653 w 1042386"/>
                <a:gd name="connsiteY3" fmla="*/ 538491 h 1031503"/>
                <a:gd name="connsiteX4" fmla="*/ 610959 w 1042386"/>
                <a:gd name="connsiteY4" fmla="*/ 914602 h 1031503"/>
                <a:gd name="connsiteX5" fmla="*/ 69663 w 1042386"/>
                <a:gd name="connsiteY5" fmla="*/ 871971 h 1031503"/>
                <a:gd name="connsiteX6" fmla="*/ 122449 w 1042386"/>
                <a:gd name="connsiteY6" fmla="*/ 395289 h 1031503"/>
                <a:gd name="connsiteX7" fmla="*/ 407671 w 1042386"/>
                <a:gd name="connsiteY7" fmla="*/ 709810 h 1031503"/>
                <a:gd name="connsiteX0" fmla="*/ 408043 w 1040983"/>
                <a:gd name="connsiteY0" fmla="*/ 237961 h 1031503"/>
                <a:gd name="connsiteX1" fmla="*/ 551904 w 1040983"/>
                <a:gd name="connsiteY1" fmla="*/ 0 h 1031503"/>
                <a:gd name="connsiteX2" fmla="*/ 675624 w 1040983"/>
                <a:gd name="connsiteY2" fmla="*/ 300328 h 1031503"/>
                <a:gd name="connsiteX3" fmla="*/ 1034653 w 1040983"/>
                <a:gd name="connsiteY3" fmla="*/ 538491 h 1031503"/>
                <a:gd name="connsiteX4" fmla="*/ 610959 w 1040983"/>
                <a:gd name="connsiteY4" fmla="*/ 914602 h 1031503"/>
                <a:gd name="connsiteX5" fmla="*/ 69663 w 1040983"/>
                <a:gd name="connsiteY5" fmla="*/ 871971 h 1031503"/>
                <a:gd name="connsiteX6" fmla="*/ 122449 w 1040983"/>
                <a:gd name="connsiteY6" fmla="*/ 395289 h 1031503"/>
                <a:gd name="connsiteX7" fmla="*/ 407671 w 1040983"/>
                <a:gd name="connsiteY7" fmla="*/ 709810 h 1031503"/>
                <a:gd name="connsiteX0" fmla="*/ 408043 w 1040983"/>
                <a:gd name="connsiteY0" fmla="*/ 237961 h 1036239"/>
                <a:gd name="connsiteX1" fmla="*/ 551904 w 1040983"/>
                <a:gd name="connsiteY1" fmla="*/ 0 h 1036239"/>
                <a:gd name="connsiteX2" fmla="*/ 675624 w 1040983"/>
                <a:gd name="connsiteY2" fmla="*/ 300328 h 1036239"/>
                <a:gd name="connsiteX3" fmla="*/ 1034653 w 1040983"/>
                <a:gd name="connsiteY3" fmla="*/ 538491 h 1036239"/>
                <a:gd name="connsiteX4" fmla="*/ 610959 w 1040983"/>
                <a:gd name="connsiteY4" fmla="*/ 914602 h 1036239"/>
                <a:gd name="connsiteX5" fmla="*/ 69663 w 1040983"/>
                <a:gd name="connsiteY5" fmla="*/ 871971 h 1036239"/>
                <a:gd name="connsiteX6" fmla="*/ 122449 w 1040983"/>
                <a:gd name="connsiteY6" fmla="*/ 395289 h 1036239"/>
                <a:gd name="connsiteX7" fmla="*/ 407671 w 1040983"/>
                <a:gd name="connsiteY7" fmla="*/ 709810 h 1036239"/>
                <a:gd name="connsiteX0" fmla="*/ 408043 w 1040106"/>
                <a:gd name="connsiteY0" fmla="*/ 237961 h 1036239"/>
                <a:gd name="connsiteX1" fmla="*/ 551904 w 1040106"/>
                <a:gd name="connsiteY1" fmla="*/ 0 h 1036239"/>
                <a:gd name="connsiteX2" fmla="*/ 675624 w 1040106"/>
                <a:gd name="connsiteY2" fmla="*/ 300328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0106"/>
                <a:gd name="connsiteY0" fmla="*/ 237961 h 1036239"/>
                <a:gd name="connsiteX1" fmla="*/ 551904 w 1040106"/>
                <a:gd name="connsiteY1" fmla="*/ 0 h 1036239"/>
                <a:gd name="connsiteX2" fmla="*/ 694904 w 1040106"/>
                <a:gd name="connsiteY2" fmla="*/ 308591 h 1036239"/>
                <a:gd name="connsiteX3" fmla="*/ 1034653 w 1040106"/>
                <a:gd name="connsiteY3" fmla="*/ 538491 h 1036239"/>
                <a:gd name="connsiteX4" fmla="*/ 610959 w 1040106"/>
                <a:gd name="connsiteY4" fmla="*/ 914602 h 1036239"/>
                <a:gd name="connsiteX5" fmla="*/ 69663 w 1040106"/>
                <a:gd name="connsiteY5" fmla="*/ 871971 h 1036239"/>
                <a:gd name="connsiteX6" fmla="*/ 122449 w 1040106"/>
                <a:gd name="connsiteY6" fmla="*/ 395289 h 1036239"/>
                <a:gd name="connsiteX7" fmla="*/ 407671 w 1040106"/>
                <a:gd name="connsiteY7" fmla="*/ 709810 h 1036239"/>
                <a:gd name="connsiteX0" fmla="*/ 408043 w 1042163"/>
                <a:gd name="connsiteY0" fmla="*/ 237961 h 1036239"/>
                <a:gd name="connsiteX1" fmla="*/ 551904 w 1042163"/>
                <a:gd name="connsiteY1" fmla="*/ 0 h 1036239"/>
                <a:gd name="connsiteX2" fmla="*/ 694904 w 1042163"/>
                <a:gd name="connsiteY2" fmla="*/ 308591 h 1036239"/>
                <a:gd name="connsiteX3" fmla="*/ 1034653 w 1042163"/>
                <a:gd name="connsiteY3" fmla="*/ 538491 h 1036239"/>
                <a:gd name="connsiteX4" fmla="*/ 610959 w 1042163"/>
                <a:gd name="connsiteY4" fmla="*/ 914602 h 1036239"/>
                <a:gd name="connsiteX5" fmla="*/ 69663 w 1042163"/>
                <a:gd name="connsiteY5" fmla="*/ 871971 h 1036239"/>
                <a:gd name="connsiteX6" fmla="*/ 122449 w 1042163"/>
                <a:gd name="connsiteY6" fmla="*/ 395289 h 1036239"/>
                <a:gd name="connsiteX7" fmla="*/ 407671 w 1042163"/>
                <a:gd name="connsiteY7" fmla="*/ 709810 h 103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2163" h="1036239">
                  <a:moveTo>
                    <a:pt x="408043" y="237961"/>
                  </a:moveTo>
                  <a:cubicBezTo>
                    <a:pt x="343992" y="128344"/>
                    <a:pt x="425913" y="2202"/>
                    <a:pt x="551904" y="0"/>
                  </a:cubicBezTo>
                  <a:cubicBezTo>
                    <a:pt x="692297" y="9220"/>
                    <a:pt x="799637" y="145134"/>
                    <a:pt x="694904" y="308591"/>
                  </a:cubicBezTo>
                  <a:cubicBezTo>
                    <a:pt x="913733" y="254856"/>
                    <a:pt x="1005866" y="388412"/>
                    <a:pt x="1034653" y="538491"/>
                  </a:cubicBezTo>
                  <a:cubicBezTo>
                    <a:pt x="1080710" y="748323"/>
                    <a:pt x="911934" y="1029765"/>
                    <a:pt x="610959" y="914602"/>
                  </a:cubicBezTo>
                  <a:cubicBezTo>
                    <a:pt x="529678" y="1130828"/>
                    <a:pt x="156451" y="1022057"/>
                    <a:pt x="69663" y="871971"/>
                  </a:cubicBezTo>
                  <a:cubicBezTo>
                    <a:pt x="-4549" y="766325"/>
                    <a:pt x="-59482" y="489919"/>
                    <a:pt x="122449" y="395289"/>
                  </a:cubicBezTo>
                  <a:cubicBezTo>
                    <a:pt x="315758" y="274283"/>
                    <a:pt x="605462" y="514080"/>
                    <a:pt x="407671" y="709810"/>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9" name="자유형: 도형 23">
              <a:extLst>
                <a:ext uri="{FF2B5EF4-FFF2-40B4-BE49-F238E27FC236}">
                  <a16:creationId xmlns:a16="http://schemas.microsoft.com/office/drawing/2014/main" id="{BCC8B48E-E612-6940-ADA2-1B169F7EF747}"/>
                </a:ext>
              </a:extLst>
            </p:cNvPr>
            <p:cNvSpPr/>
            <p:nvPr/>
          </p:nvSpPr>
          <p:spPr>
            <a:xfrm>
              <a:off x="6150565" y="3902140"/>
              <a:ext cx="223711" cy="335071"/>
            </a:xfrm>
            <a:custGeom>
              <a:avLst/>
              <a:gdLst>
                <a:gd name="connsiteX0" fmla="*/ 0 w 210368"/>
                <a:gd name="connsiteY0" fmla="*/ 692812 h 692812"/>
                <a:gd name="connsiteX1" fmla="*/ 145855 w 210368"/>
                <a:gd name="connsiteY1" fmla="*/ 0 h 692812"/>
                <a:gd name="connsiteX2" fmla="*/ 210368 w 210368"/>
                <a:gd name="connsiteY2" fmla="*/ 350614 h 692812"/>
                <a:gd name="connsiteX0" fmla="*/ 0 w 204758"/>
                <a:gd name="connsiteY0" fmla="*/ 692812 h 692812"/>
                <a:gd name="connsiteX1" fmla="*/ 145855 w 204758"/>
                <a:gd name="connsiteY1" fmla="*/ 0 h 692812"/>
                <a:gd name="connsiteX2" fmla="*/ 204758 w 204758"/>
                <a:gd name="connsiteY2" fmla="*/ 350614 h 692812"/>
                <a:gd name="connsiteX0" fmla="*/ 0 w 259110"/>
                <a:gd name="connsiteY0" fmla="*/ 692812 h 692812"/>
                <a:gd name="connsiteX1" fmla="*/ 145855 w 259110"/>
                <a:gd name="connsiteY1" fmla="*/ 0 h 692812"/>
                <a:gd name="connsiteX2" fmla="*/ 204758 w 259110"/>
                <a:gd name="connsiteY2" fmla="*/ 350614 h 692812"/>
                <a:gd name="connsiteX0" fmla="*/ 0 w 259110"/>
                <a:gd name="connsiteY0" fmla="*/ 670372 h 670372"/>
                <a:gd name="connsiteX1" fmla="*/ 145855 w 259110"/>
                <a:gd name="connsiteY1" fmla="*/ 0 h 670372"/>
                <a:gd name="connsiteX2" fmla="*/ 204758 w 259110"/>
                <a:gd name="connsiteY2" fmla="*/ 328174 h 670372"/>
                <a:gd name="connsiteX0" fmla="*/ 0 w 276458"/>
                <a:gd name="connsiteY0" fmla="*/ 670372 h 670372"/>
                <a:gd name="connsiteX1" fmla="*/ 145855 w 276458"/>
                <a:gd name="connsiteY1" fmla="*/ 0 h 670372"/>
                <a:gd name="connsiteX2" fmla="*/ 204758 w 276458"/>
                <a:gd name="connsiteY2" fmla="*/ 328174 h 670372"/>
                <a:gd name="connsiteX0" fmla="*/ 0 w 276458"/>
                <a:gd name="connsiteY0" fmla="*/ 670381 h 670381"/>
                <a:gd name="connsiteX1" fmla="*/ 145855 w 276458"/>
                <a:gd name="connsiteY1" fmla="*/ 9 h 670381"/>
                <a:gd name="connsiteX2" fmla="*/ 204758 w 276458"/>
                <a:gd name="connsiteY2" fmla="*/ 328183 h 670381"/>
                <a:gd name="connsiteX0" fmla="*/ 17567 w 294025"/>
                <a:gd name="connsiteY0" fmla="*/ 670381 h 670381"/>
                <a:gd name="connsiteX1" fmla="*/ 163422 w 294025"/>
                <a:gd name="connsiteY1" fmla="*/ 9 h 670381"/>
                <a:gd name="connsiteX2" fmla="*/ 222325 w 294025"/>
                <a:gd name="connsiteY2" fmla="*/ 328183 h 670381"/>
                <a:gd name="connsiteX0" fmla="*/ 17567 w 327330"/>
                <a:gd name="connsiteY0" fmla="*/ 671068 h 671068"/>
                <a:gd name="connsiteX1" fmla="*/ 163422 w 327330"/>
                <a:gd name="connsiteY1" fmla="*/ 696 h 671068"/>
                <a:gd name="connsiteX2" fmla="*/ 222325 w 327330"/>
                <a:gd name="connsiteY2" fmla="*/ 328870 h 671068"/>
                <a:gd name="connsiteX0" fmla="*/ 17567 w 321664"/>
                <a:gd name="connsiteY0" fmla="*/ 671068 h 671068"/>
                <a:gd name="connsiteX1" fmla="*/ 163422 w 321664"/>
                <a:gd name="connsiteY1" fmla="*/ 696 h 671068"/>
                <a:gd name="connsiteX2" fmla="*/ 222325 w 321664"/>
                <a:gd name="connsiteY2" fmla="*/ 328870 h 671068"/>
                <a:gd name="connsiteX0" fmla="*/ 18431 w 322528"/>
                <a:gd name="connsiteY0" fmla="*/ 671068 h 671068"/>
                <a:gd name="connsiteX1" fmla="*/ 164286 w 322528"/>
                <a:gd name="connsiteY1" fmla="*/ 696 h 671068"/>
                <a:gd name="connsiteX2" fmla="*/ 223189 w 322528"/>
                <a:gd name="connsiteY2" fmla="*/ 328870 h 671068"/>
                <a:gd name="connsiteX0" fmla="*/ 18431 w 311947"/>
                <a:gd name="connsiteY0" fmla="*/ 671151 h 671151"/>
                <a:gd name="connsiteX1" fmla="*/ 164286 w 311947"/>
                <a:gd name="connsiteY1" fmla="*/ 779 h 671151"/>
                <a:gd name="connsiteX2" fmla="*/ 203910 w 311947"/>
                <a:gd name="connsiteY2" fmla="*/ 312427 h 671151"/>
                <a:gd name="connsiteX0" fmla="*/ 18431 w 319515"/>
                <a:gd name="connsiteY0" fmla="*/ 670768 h 670768"/>
                <a:gd name="connsiteX1" fmla="*/ 164286 w 319515"/>
                <a:gd name="connsiteY1" fmla="*/ 396 h 670768"/>
                <a:gd name="connsiteX2" fmla="*/ 203910 w 319515"/>
                <a:gd name="connsiteY2" fmla="*/ 312044 h 670768"/>
                <a:gd name="connsiteX0" fmla="*/ 16717 w 317801"/>
                <a:gd name="connsiteY0" fmla="*/ 670768 h 670768"/>
                <a:gd name="connsiteX1" fmla="*/ 162572 w 317801"/>
                <a:gd name="connsiteY1" fmla="*/ 396 h 670768"/>
                <a:gd name="connsiteX2" fmla="*/ 202196 w 317801"/>
                <a:gd name="connsiteY2" fmla="*/ 312044 h 670768"/>
                <a:gd name="connsiteX0" fmla="*/ 16717 w 320719"/>
                <a:gd name="connsiteY0" fmla="*/ 670412 h 670412"/>
                <a:gd name="connsiteX1" fmla="*/ 162572 w 320719"/>
                <a:gd name="connsiteY1" fmla="*/ 40 h 670412"/>
                <a:gd name="connsiteX2" fmla="*/ 202196 w 320719"/>
                <a:gd name="connsiteY2" fmla="*/ 311688 h 670412"/>
                <a:gd name="connsiteX0" fmla="*/ 16717 w 314294"/>
                <a:gd name="connsiteY0" fmla="*/ 670412 h 670412"/>
                <a:gd name="connsiteX1" fmla="*/ 162572 w 314294"/>
                <a:gd name="connsiteY1" fmla="*/ 40 h 670412"/>
                <a:gd name="connsiteX2" fmla="*/ 202196 w 314294"/>
                <a:gd name="connsiteY2" fmla="*/ 311688 h 670412"/>
                <a:gd name="connsiteX0" fmla="*/ 20002 w 313692"/>
                <a:gd name="connsiteY0" fmla="*/ 684181 h 684181"/>
                <a:gd name="connsiteX1" fmla="*/ 157594 w 313692"/>
                <a:gd name="connsiteY1" fmla="*/ 38 h 684181"/>
                <a:gd name="connsiteX2" fmla="*/ 205481 w 313692"/>
                <a:gd name="connsiteY2" fmla="*/ 325457 h 684181"/>
                <a:gd name="connsiteX0" fmla="*/ 20002 w 335146"/>
                <a:gd name="connsiteY0" fmla="*/ 684143 h 684143"/>
                <a:gd name="connsiteX1" fmla="*/ 157594 w 335146"/>
                <a:gd name="connsiteY1" fmla="*/ 0 h 684143"/>
                <a:gd name="connsiteX2" fmla="*/ 205481 w 335146"/>
                <a:gd name="connsiteY2" fmla="*/ 325419 h 684143"/>
                <a:gd name="connsiteX0" fmla="*/ 20002 w 322593"/>
                <a:gd name="connsiteY0" fmla="*/ 684143 h 684143"/>
                <a:gd name="connsiteX1" fmla="*/ 157594 w 322593"/>
                <a:gd name="connsiteY1" fmla="*/ 0 h 684143"/>
                <a:gd name="connsiteX2" fmla="*/ 177939 w 322593"/>
                <a:gd name="connsiteY2" fmla="*/ 275843 h 684143"/>
                <a:gd name="connsiteX0" fmla="*/ 20002 w 322593"/>
                <a:gd name="connsiteY0" fmla="*/ 684143 h 684143"/>
                <a:gd name="connsiteX1" fmla="*/ 157594 w 322593"/>
                <a:gd name="connsiteY1" fmla="*/ 0 h 684143"/>
                <a:gd name="connsiteX2" fmla="*/ 177939 w 322593"/>
                <a:gd name="connsiteY2" fmla="*/ 275843 h 684143"/>
                <a:gd name="connsiteX0" fmla="*/ 20002 w 305016"/>
                <a:gd name="connsiteY0" fmla="*/ 684145 h 684145"/>
                <a:gd name="connsiteX1" fmla="*/ 157594 w 305016"/>
                <a:gd name="connsiteY1" fmla="*/ 2 h 684145"/>
                <a:gd name="connsiteX2" fmla="*/ 177939 w 305016"/>
                <a:gd name="connsiteY2" fmla="*/ 275845 h 684145"/>
                <a:gd name="connsiteX0" fmla="*/ 20002 w 305016"/>
                <a:gd name="connsiteY0" fmla="*/ 684145 h 684145"/>
                <a:gd name="connsiteX1" fmla="*/ 157594 w 305016"/>
                <a:gd name="connsiteY1" fmla="*/ 2 h 684145"/>
                <a:gd name="connsiteX2" fmla="*/ 177939 w 305016"/>
                <a:gd name="connsiteY2" fmla="*/ 275845 h 684145"/>
                <a:gd name="connsiteX0" fmla="*/ 11876 w 318923"/>
                <a:gd name="connsiteY0" fmla="*/ 463808 h 463808"/>
                <a:gd name="connsiteX1" fmla="*/ 171501 w 318923"/>
                <a:gd name="connsiteY1" fmla="*/ 2 h 463808"/>
                <a:gd name="connsiteX2" fmla="*/ 191846 w 318923"/>
                <a:gd name="connsiteY2" fmla="*/ 275845 h 463808"/>
                <a:gd name="connsiteX0" fmla="*/ 11876 w 318923"/>
                <a:gd name="connsiteY0" fmla="*/ 444528 h 444528"/>
                <a:gd name="connsiteX1" fmla="*/ 171501 w 318923"/>
                <a:gd name="connsiteY1" fmla="*/ 2 h 444528"/>
                <a:gd name="connsiteX2" fmla="*/ 191846 w 318923"/>
                <a:gd name="connsiteY2" fmla="*/ 275845 h 444528"/>
                <a:gd name="connsiteX0" fmla="*/ 1452 w 308499"/>
                <a:gd name="connsiteY0" fmla="*/ 444528 h 444528"/>
                <a:gd name="connsiteX1" fmla="*/ 161077 w 308499"/>
                <a:gd name="connsiteY1" fmla="*/ 2 h 444528"/>
                <a:gd name="connsiteX2" fmla="*/ 181422 w 308499"/>
                <a:gd name="connsiteY2" fmla="*/ 275845 h 444528"/>
                <a:gd name="connsiteX0" fmla="*/ 1452 w 296864"/>
                <a:gd name="connsiteY0" fmla="*/ 444638 h 444638"/>
                <a:gd name="connsiteX1" fmla="*/ 161077 w 296864"/>
                <a:gd name="connsiteY1" fmla="*/ 112 h 444638"/>
                <a:gd name="connsiteX2" fmla="*/ 181422 w 296864"/>
                <a:gd name="connsiteY2" fmla="*/ 275955 h 444638"/>
              </a:gdLst>
              <a:ahLst/>
              <a:cxnLst>
                <a:cxn ang="0">
                  <a:pos x="connsiteX0" y="connsiteY0"/>
                </a:cxn>
                <a:cxn ang="0">
                  <a:pos x="connsiteX1" y="connsiteY1"/>
                </a:cxn>
                <a:cxn ang="0">
                  <a:pos x="connsiteX2" y="connsiteY2"/>
                </a:cxn>
              </a:cxnLst>
              <a:rect l="l" t="t" r="r" b="b"/>
              <a:pathLst>
                <a:path w="296864" h="444638">
                  <a:moveTo>
                    <a:pt x="1452" y="444638"/>
                  </a:moveTo>
                  <a:cubicBezTo>
                    <a:pt x="-2260" y="204656"/>
                    <a:pt x="-11482" y="8739"/>
                    <a:pt x="161077" y="112"/>
                  </a:cubicBezTo>
                  <a:cubicBezTo>
                    <a:pt x="350238" y="-6281"/>
                    <a:pt x="327228" y="262274"/>
                    <a:pt x="181422" y="275955"/>
                  </a:cubicBezTo>
                </a:path>
              </a:pathLst>
            </a:cu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80" name="직선 연결선 24">
              <a:extLst>
                <a:ext uri="{FF2B5EF4-FFF2-40B4-BE49-F238E27FC236}">
                  <a16:creationId xmlns:a16="http://schemas.microsoft.com/office/drawing/2014/main" id="{8EB627C4-E7ED-B94C-8C96-1128B4A3AA0E}"/>
                </a:ext>
              </a:extLst>
            </p:cNvPr>
            <p:cNvCxnSpPr>
              <a:cxnSpLocks/>
            </p:cNvCxnSpPr>
            <p:nvPr/>
          </p:nvCxnSpPr>
          <p:spPr>
            <a:xfrm flipH="1">
              <a:off x="6152008" y="3476077"/>
              <a:ext cx="1188" cy="974737"/>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1" name="그룹 25">
            <a:extLst>
              <a:ext uri="{FF2B5EF4-FFF2-40B4-BE49-F238E27FC236}">
                <a16:creationId xmlns:a16="http://schemas.microsoft.com/office/drawing/2014/main" id="{EA69F2AC-78FF-194B-9326-9D4A563D4EB6}"/>
              </a:ext>
            </a:extLst>
          </p:cNvPr>
          <p:cNvGrpSpPr/>
          <p:nvPr/>
        </p:nvGrpSpPr>
        <p:grpSpPr>
          <a:xfrm>
            <a:off x="9064356" y="2091382"/>
            <a:ext cx="2303626" cy="2356921"/>
            <a:chOff x="9087273" y="2875432"/>
            <a:chExt cx="2303626" cy="2356921"/>
          </a:xfrm>
        </p:grpSpPr>
        <p:sp>
          <p:nvSpPr>
            <p:cNvPr id="82" name="Rounded Rectangle 7">
              <a:extLst>
                <a:ext uri="{FF2B5EF4-FFF2-40B4-BE49-F238E27FC236}">
                  <a16:creationId xmlns:a16="http://schemas.microsoft.com/office/drawing/2014/main" id="{B746AB02-249C-2645-9533-F8C4A2D0E210}"/>
                </a:ext>
              </a:extLst>
            </p:cNvPr>
            <p:cNvSpPr/>
            <p:nvPr/>
          </p:nvSpPr>
          <p:spPr>
            <a:xfrm>
              <a:off x="10019157" y="4810446"/>
              <a:ext cx="433068" cy="74049"/>
            </a:xfrm>
            <a:prstGeom prst="roundRect">
              <a:avLst>
                <a:gd name="adj" fmla="val 50000"/>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3" name="Rounded Rectangle 8">
              <a:extLst>
                <a:ext uri="{FF2B5EF4-FFF2-40B4-BE49-F238E27FC236}">
                  <a16:creationId xmlns:a16="http://schemas.microsoft.com/office/drawing/2014/main" id="{150A76F5-A716-0742-8E7E-860367FBFD06}"/>
                </a:ext>
              </a:extLst>
            </p:cNvPr>
            <p:cNvSpPr/>
            <p:nvPr/>
          </p:nvSpPr>
          <p:spPr>
            <a:xfrm>
              <a:off x="10019157" y="4908581"/>
              <a:ext cx="433068" cy="74049"/>
            </a:xfrm>
            <a:prstGeom prst="roundRect">
              <a:avLst>
                <a:gd name="adj" fmla="val 50000"/>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4" name="Rounded Rectangle 9">
              <a:extLst>
                <a:ext uri="{FF2B5EF4-FFF2-40B4-BE49-F238E27FC236}">
                  <a16:creationId xmlns:a16="http://schemas.microsoft.com/office/drawing/2014/main" id="{2728B5E0-F468-8244-96FE-C506A904E0D6}"/>
                </a:ext>
              </a:extLst>
            </p:cNvPr>
            <p:cNvSpPr/>
            <p:nvPr/>
          </p:nvSpPr>
          <p:spPr>
            <a:xfrm>
              <a:off x="10019157" y="5006715"/>
              <a:ext cx="433068" cy="74049"/>
            </a:xfrm>
            <a:prstGeom prst="roundRect">
              <a:avLst>
                <a:gd name="adj" fmla="val 50000"/>
              </a:avLst>
            </a:pr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5" name="Chord 8">
              <a:extLst>
                <a:ext uri="{FF2B5EF4-FFF2-40B4-BE49-F238E27FC236}">
                  <a16:creationId xmlns:a16="http://schemas.microsoft.com/office/drawing/2014/main" id="{22E11395-43EF-E44D-A09C-C13E71A3AF53}"/>
                </a:ext>
              </a:extLst>
            </p:cNvPr>
            <p:cNvSpPr/>
            <p:nvPr/>
          </p:nvSpPr>
          <p:spPr>
            <a:xfrm rot="19366553">
              <a:off x="10104241" y="5001620"/>
              <a:ext cx="279977" cy="230733"/>
            </a:xfrm>
            <a:custGeom>
              <a:avLst/>
              <a:gdLst/>
              <a:ahLst/>
              <a:cxnLst/>
              <a:rect l="l" t="t" r="r" b="b"/>
              <a:pathLst>
                <a:path w="808567" h="666352">
                  <a:moveTo>
                    <a:pt x="11238" y="0"/>
                  </a:moveTo>
                  <a:lnTo>
                    <a:pt x="808567" y="605735"/>
                  </a:lnTo>
                  <a:cubicBezTo>
                    <a:pt x="631295" y="696452"/>
                    <a:pt x="413578" y="686352"/>
                    <a:pt x="241904" y="568647"/>
                  </a:cubicBezTo>
                  <a:cubicBezTo>
                    <a:pt x="54716" y="440307"/>
                    <a:pt x="-32876" y="214793"/>
                    <a:pt x="11238" y="0"/>
                  </a:cubicBezTo>
                  <a:close/>
                </a:path>
              </a:pathLst>
            </a:custGeom>
            <a:solidFill>
              <a:schemeClr val="bg1"/>
            </a:solidFill>
            <a:ln>
              <a:solidFill>
                <a:srgbClr val="00414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6" name="Freeform 19">
              <a:extLst>
                <a:ext uri="{FF2B5EF4-FFF2-40B4-BE49-F238E27FC236}">
                  <a16:creationId xmlns:a16="http://schemas.microsoft.com/office/drawing/2014/main" id="{7F60AA97-95EB-2947-B6BC-0496A64D1809}"/>
                </a:ext>
              </a:extLst>
            </p:cNvPr>
            <p:cNvSpPr>
              <a:spLocks/>
            </p:cNvSpPr>
            <p:nvPr/>
          </p:nvSpPr>
          <p:spPr bwMode="auto">
            <a:xfrm>
              <a:off x="9715953" y="3562517"/>
              <a:ext cx="1039477" cy="1222505"/>
            </a:xfrm>
            <a:custGeom>
              <a:avLst/>
              <a:gdLst>
                <a:gd name="T0" fmla="*/ 1239 w 2141"/>
                <a:gd name="T1" fmla="*/ 16 h 2665"/>
                <a:gd name="T2" fmla="*/ 1465 w 2141"/>
                <a:gd name="T3" fmla="*/ 82 h 2665"/>
                <a:gd name="T4" fmla="*/ 1673 w 2141"/>
                <a:gd name="T5" fmla="*/ 194 h 2665"/>
                <a:gd name="T6" fmla="*/ 1855 w 2141"/>
                <a:gd name="T7" fmla="*/ 349 h 2665"/>
                <a:gd name="T8" fmla="*/ 2000 w 2141"/>
                <a:gd name="T9" fmla="*/ 546 h 2665"/>
                <a:gd name="T10" fmla="*/ 2099 w 2141"/>
                <a:gd name="T11" fmla="*/ 777 h 2665"/>
                <a:gd name="T12" fmla="*/ 2141 w 2141"/>
                <a:gd name="T13" fmla="*/ 1039 h 2665"/>
                <a:gd name="T14" fmla="*/ 2119 w 2141"/>
                <a:gd name="T15" fmla="*/ 1331 h 2665"/>
                <a:gd name="T16" fmla="*/ 2051 w 2141"/>
                <a:gd name="T17" fmla="*/ 1562 h 2665"/>
                <a:gd name="T18" fmla="*/ 1959 w 2141"/>
                <a:gd name="T19" fmla="*/ 1722 h 2665"/>
                <a:gd name="T20" fmla="*/ 1853 w 2141"/>
                <a:gd name="T21" fmla="*/ 1859 h 2665"/>
                <a:gd name="T22" fmla="*/ 1743 w 2141"/>
                <a:gd name="T23" fmla="*/ 1990 h 2665"/>
                <a:gd name="T24" fmla="*/ 1644 w 2141"/>
                <a:gd name="T25" fmla="*/ 2133 h 2665"/>
                <a:gd name="T26" fmla="*/ 1578 w 2141"/>
                <a:gd name="T27" fmla="*/ 2265 h 2665"/>
                <a:gd name="T28" fmla="*/ 1542 w 2141"/>
                <a:gd name="T29" fmla="*/ 2384 h 2665"/>
                <a:gd name="T30" fmla="*/ 1535 w 2141"/>
                <a:gd name="T31" fmla="*/ 2512 h 2665"/>
                <a:gd name="T32" fmla="*/ 1495 w 2141"/>
                <a:gd name="T33" fmla="*/ 2608 h 2665"/>
                <a:gd name="T34" fmla="*/ 1430 w 2141"/>
                <a:gd name="T35" fmla="*/ 2661 h 2665"/>
                <a:gd name="T36" fmla="*/ 1302 w 2141"/>
                <a:gd name="T37" fmla="*/ 2665 h 2665"/>
                <a:gd name="T38" fmla="*/ 1103 w 2141"/>
                <a:gd name="T39" fmla="*/ 2664 h 2665"/>
                <a:gd name="T40" fmla="*/ 893 w 2141"/>
                <a:gd name="T41" fmla="*/ 2664 h 2665"/>
                <a:gd name="T42" fmla="*/ 736 w 2141"/>
                <a:gd name="T43" fmla="*/ 2664 h 2665"/>
                <a:gd name="T44" fmla="*/ 668 w 2141"/>
                <a:gd name="T45" fmla="*/ 2629 h 2665"/>
                <a:gd name="T46" fmla="*/ 633 w 2141"/>
                <a:gd name="T47" fmla="*/ 2573 h 2665"/>
                <a:gd name="T48" fmla="*/ 621 w 2141"/>
                <a:gd name="T49" fmla="*/ 2514 h 2665"/>
                <a:gd name="T50" fmla="*/ 621 w 2141"/>
                <a:gd name="T51" fmla="*/ 2441 h 2665"/>
                <a:gd name="T52" fmla="*/ 615 w 2141"/>
                <a:gd name="T53" fmla="*/ 2358 h 2665"/>
                <a:gd name="T54" fmla="*/ 589 w 2141"/>
                <a:gd name="T55" fmla="*/ 2258 h 2665"/>
                <a:gd name="T56" fmla="*/ 522 w 2141"/>
                <a:gd name="T57" fmla="*/ 2136 h 2665"/>
                <a:gd name="T58" fmla="*/ 429 w 2141"/>
                <a:gd name="T59" fmla="*/ 2015 h 2665"/>
                <a:gd name="T60" fmla="*/ 351 w 2141"/>
                <a:gd name="T61" fmla="*/ 1917 h 2665"/>
                <a:gd name="T62" fmla="*/ 250 w 2141"/>
                <a:gd name="T63" fmla="*/ 1794 h 2665"/>
                <a:gd name="T64" fmla="*/ 145 w 2141"/>
                <a:gd name="T65" fmla="*/ 1641 h 2665"/>
                <a:gd name="T66" fmla="*/ 58 w 2141"/>
                <a:gd name="T67" fmla="*/ 1458 h 2665"/>
                <a:gd name="T68" fmla="*/ 6 w 2141"/>
                <a:gd name="T69" fmla="*/ 1244 h 2665"/>
                <a:gd name="T70" fmla="*/ 7 w 2141"/>
                <a:gd name="T71" fmla="*/ 988 h 2665"/>
                <a:gd name="T72" fmla="*/ 58 w 2141"/>
                <a:gd name="T73" fmla="*/ 742 h 2665"/>
                <a:gd name="T74" fmla="*/ 145 w 2141"/>
                <a:gd name="T75" fmla="*/ 540 h 2665"/>
                <a:gd name="T76" fmla="*/ 260 w 2141"/>
                <a:gd name="T77" fmla="*/ 376 h 2665"/>
                <a:gd name="T78" fmla="*/ 394 w 2141"/>
                <a:gd name="T79" fmla="*/ 249 h 2665"/>
                <a:gd name="T80" fmla="*/ 537 w 2141"/>
                <a:gd name="T81" fmla="*/ 152 h 2665"/>
                <a:gd name="T82" fmla="*/ 679 w 2141"/>
                <a:gd name="T83" fmla="*/ 83 h 2665"/>
                <a:gd name="T84" fmla="*/ 813 w 2141"/>
                <a:gd name="T85" fmla="*/ 37 h 2665"/>
                <a:gd name="T86" fmla="*/ 928 w 2141"/>
                <a:gd name="T87" fmla="*/ 9 h 2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41" h="2665">
                  <a:moveTo>
                    <a:pt x="1084" y="0"/>
                  </a:moveTo>
                  <a:lnTo>
                    <a:pt x="1162" y="6"/>
                  </a:lnTo>
                  <a:lnTo>
                    <a:pt x="1239" y="16"/>
                  </a:lnTo>
                  <a:lnTo>
                    <a:pt x="1316" y="32"/>
                  </a:lnTo>
                  <a:lnTo>
                    <a:pt x="1391" y="54"/>
                  </a:lnTo>
                  <a:lnTo>
                    <a:pt x="1465" y="82"/>
                  </a:lnTo>
                  <a:lnTo>
                    <a:pt x="1537" y="114"/>
                  </a:lnTo>
                  <a:lnTo>
                    <a:pt x="1606" y="152"/>
                  </a:lnTo>
                  <a:lnTo>
                    <a:pt x="1673" y="194"/>
                  </a:lnTo>
                  <a:lnTo>
                    <a:pt x="1737" y="242"/>
                  </a:lnTo>
                  <a:lnTo>
                    <a:pt x="1798" y="293"/>
                  </a:lnTo>
                  <a:lnTo>
                    <a:pt x="1855" y="349"/>
                  </a:lnTo>
                  <a:lnTo>
                    <a:pt x="1907" y="410"/>
                  </a:lnTo>
                  <a:lnTo>
                    <a:pt x="1956" y="476"/>
                  </a:lnTo>
                  <a:lnTo>
                    <a:pt x="2000" y="546"/>
                  </a:lnTo>
                  <a:lnTo>
                    <a:pt x="2038" y="618"/>
                  </a:lnTo>
                  <a:lnTo>
                    <a:pt x="2071" y="696"/>
                  </a:lnTo>
                  <a:lnTo>
                    <a:pt x="2099" y="777"/>
                  </a:lnTo>
                  <a:lnTo>
                    <a:pt x="2119" y="861"/>
                  </a:lnTo>
                  <a:lnTo>
                    <a:pt x="2134" y="949"/>
                  </a:lnTo>
                  <a:lnTo>
                    <a:pt x="2141" y="1039"/>
                  </a:lnTo>
                  <a:lnTo>
                    <a:pt x="2141" y="1133"/>
                  </a:lnTo>
                  <a:lnTo>
                    <a:pt x="2135" y="1231"/>
                  </a:lnTo>
                  <a:lnTo>
                    <a:pt x="2119" y="1331"/>
                  </a:lnTo>
                  <a:lnTo>
                    <a:pt x="2096" y="1433"/>
                  </a:lnTo>
                  <a:lnTo>
                    <a:pt x="2076" y="1500"/>
                  </a:lnTo>
                  <a:lnTo>
                    <a:pt x="2051" y="1562"/>
                  </a:lnTo>
                  <a:lnTo>
                    <a:pt x="2023" y="1619"/>
                  </a:lnTo>
                  <a:lnTo>
                    <a:pt x="1993" y="1672"/>
                  </a:lnTo>
                  <a:lnTo>
                    <a:pt x="1959" y="1722"/>
                  </a:lnTo>
                  <a:lnTo>
                    <a:pt x="1926" y="1769"/>
                  </a:lnTo>
                  <a:lnTo>
                    <a:pt x="1889" y="1816"/>
                  </a:lnTo>
                  <a:lnTo>
                    <a:pt x="1853" y="1859"/>
                  </a:lnTo>
                  <a:lnTo>
                    <a:pt x="1815" y="1903"/>
                  </a:lnTo>
                  <a:lnTo>
                    <a:pt x="1779" y="1945"/>
                  </a:lnTo>
                  <a:lnTo>
                    <a:pt x="1743" y="1990"/>
                  </a:lnTo>
                  <a:lnTo>
                    <a:pt x="1708" y="2035"/>
                  </a:lnTo>
                  <a:lnTo>
                    <a:pt x="1676" y="2082"/>
                  </a:lnTo>
                  <a:lnTo>
                    <a:pt x="1644" y="2133"/>
                  </a:lnTo>
                  <a:lnTo>
                    <a:pt x="1616" y="2185"/>
                  </a:lnTo>
                  <a:lnTo>
                    <a:pt x="1597" y="2226"/>
                  </a:lnTo>
                  <a:lnTo>
                    <a:pt x="1578" y="2265"/>
                  </a:lnTo>
                  <a:lnTo>
                    <a:pt x="1564" y="2304"/>
                  </a:lnTo>
                  <a:lnTo>
                    <a:pt x="1551" y="2344"/>
                  </a:lnTo>
                  <a:lnTo>
                    <a:pt x="1542" y="2384"/>
                  </a:lnTo>
                  <a:lnTo>
                    <a:pt x="1536" y="2428"/>
                  </a:lnTo>
                  <a:lnTo>
                    <a:pt x="1536" y="2473"/>
                  </a:lnTo>
                  <a:lnTo>
                    <a:pt x="1535" y="2512"/>
                  </a:lnTo>
                  <a:lnTo>
                    <a:pt x="1526" y="2549"/>
                  </a:lnTo>
                  <a:lnTo>
                    <a:pt x="1513" y="2581"/>
                  </a:lnTo>
                  <a:lnTo>
                    <a:pt x="1495" y="2608"/>
                  </a:lnTo>
                  <a:lnTo>
                    <a:pt x="1475" y="2632"/>
                  </a:lnTo>
                  <a:lnTo>
                    <a:pt x="1453" y="2649"/>
                  </a:lnTo>
                  <a:lnTo>
                    <a:pt x="1430" y="2661"/>
                  </a:lnTo>
                  <a:lnTo>
                    <a:pt x="1408" y="2665"/>
                  </a:lnTo>
                  <a:lnTo>
                    <a:pt x="1359" y="2665"/>
                  </a:lnTo>
                  <a:lnTo>
                    <a:pt x="1302" y="2665"/>
                  </a:lnTo>
                  <a:lnTo>
                    <a:pt x="1239" y="2665"/>
                  </a:lnTo>
                  <a:lnTo>
                    <a:pt x="1172" y="2665"/>
                  </a:lnTo>
                  <a:lnTo>
                    <a:pt x="1103" y="2664"/>
                  </a:lnTo>
                  <a:lnTo>
                    <a:pt x="1031" y="2664"/>
                  </a:lnTo>
                  <a:lnTo>
                    <a:pt x="961" y="2664"/>
                  </a:lnTo>
                  <a:lnTo>
                    <a:pt x="893" y="2664"/>
                  </a:lnTo>
                  <a:lnTo>
                    <a:pt x="828" y="2664"/>
                  </a:lnTo>
                  <a:lnTo>
                    <a:pt x="768" y="2665"/>
                  </a:lnTo>
                  <a:lnTo>
                    <a:pt x="736" y="2664"/>
                  </a:lnTo>
                  <a:lnTo>
                    <a:pt x="708" y="2656"/>
                  </a:lnTo>
                  <a:lnTo>
                    <a:pt x="687" y="2645"/>
                  </a:lnTo>
                  <a:lnTo>
                    <a:pt x="668" y="2629"/>
                  </a:lnTo>
                  <a:lnTo>
                    <a:pt x="652" y="2611"/>
                  </a:lnTo>
                  <a:lnTo>
                    <a:pt x="640" y="2592"/>
                  </a:lnTo>
                  <a:lnTo>
                    <a:pt x="633" y="2573"/>
                  </a:lnTo>
                  <a:lnTo>
                    <a:pt x="627" y="2554"/>
                  </a:lnTo>
                  <a:lnTo>
                    <a:pt x="624" y="2537"/>
                  </a:lnTo>
                  <a:lnTo>
                    <a:pt x="621" y="2514"/>
                  </a:lnTo>
                  <a:lnTo>
                    <a:pt x="621" y="2490"/>
                  </a:lnTo>
                  <a:lnTo>
                    <a:pt x="621" y="2467"/>
                  </a:lnTo>
                  <a:lnTo>
                    <a:pt x="621" y="2441"/>
                  </a:lnTo>
                  <a:lnTo>
                    <a:pt x="621" y="2415"/>
                  </a:lnTo>
                  <a:lnTo>
                    <a:pt x="620" y="2387"/>
                  </a:lnTo>
                  <a:lnTo>
                    <a:pt x="615" y="2358"/>
                  </a:lnTo>
                  <a:lnTo>
                    <a:pt x="609" y="2326"/>
                  </a:lnTo>
                  <a:lnTo>
                    <a:pt x="601" y="2293"/>
                  </a:lnTo>
                  <a:lnTo>
                    <a:pt x="589" y="2258"/>
                  </a:lnTo>
                  <a:lnTo>
                    <a:pt x="572" y="2220"/>
                  </a:lnTo>
                  <a:lnTo>
                    <a:pt x="550" y="2179"/>
                  </a:lnTo>
                  <a:lnTo>
                    <a:pt x="522" y="2136"/>
                  </a:lnTo>
                  <a:lnTo>
                    <a:pt x="489" y="2090"/>
                  </a:lnTo>
                  <a:lnTo>
                    <a:pt x="448" y="2041"/>
                  </a:lnTo>
                  <a:lnTo>
                    <a:pt x="429" y="2015"/>
                  </a:lnTo>
                  <a:lnTo>
                    <a:pt x="407" y="1984"/>
                  </a:lnTo>
                  <a:lnTo>
                    <a:pt x="380" y="1952"/>
                  </a:lnTo>
                  <a:lnTo>
                    <a:pt x="351" y="1917"/>
                  </a:lnTo>
                  <a:lnTo>
                    <a:pt x="319" y="1878"/>
                  </a:lnTo>
                  <a:lnTo>
                    <a:pt x="285" y="1837"/>
                  </a:lnTo>
                  <a:lnTo>
                    <a:pt x="250" y="1794"/>
                  </a:lnTo>
                  <a:lnTo>
                    <a:pt x="214" y="1746"/>
                  </a:lnTo>
                  <a:lnTo>
                    <a:pt x="179" y="1695"/>
                  </a:lnTo>
                  <a:lnTo>
                    <a:pt x="145" y="1641"/>
                  </a:lnTo>
                  <a:lnTo>
                    <a:pt x="113" y="1583"/>
                  </a:lnTo>
                  <a:lnTo>
                    <a:pt x="84" y="1523"/>
                  </a:lnTo>
                  <a:lnTo>
                    <a:pt x="58" y="1458"/>
                  </a:lnTo>
                  <a:lnTo>
                    <a:pt x="36" y="1391"/>
                  </a:lnTo>
                  <a:lnTo>
                    <a:pt x="19" y="1318"/>
                  </a:lnTo>
                  <a:lnTo>
                    <a:pt x="6" y="1244"/>
                  </a:lnTo>
                  <a:lnTo>
                    <a:pt x="0" y="1164"/>
                  </a:lnTo>
                  <a:lnTo>
                    <a:pt x="0" y="1081"/>
                  </a:lnTo>
                  <a:lnTo>
                    <a:pt x="7" y="988"/>
                  </a:lnTo>
                  <a:lnTo>
                    <a:pt x="19" y="901"/>
                  </a:lnTo>
                  <a:lnTo>
                    <a:pt x="36" y="819"/>
                  </a:lnTo>
                  <a:lnTo>
                    <a:pt x="58" y="742"/>
                  </a:lnTo>
                  <a:lnTo>
                    <a:pt x="83" y="669"/>
                  </a:lnTo>
                  <a:lnTo>
                    <a:pt x="112" y="602"/>
                  </a:lnTo>
                  <a:lnTo>
                    <a:pt x="145" y="540"/>
                  </a:lnTo>
                  <a:lnTo>
                    <a:pt x="180" y="480"/>
                  </a:lnTo>
                  <a:lnTo>
                    <a:pt x="220" y="426"/>
                  </a:lnTo>
                  <a:lnTo>
                    <a:pt x="260" y="376"/>
                  </a:lnTo>
                  <a:lnTo>
                    <a:pt x="304" y="330"/>
                  </a:lnTo>
                  <a:lnTo>
                    <a:pt x="348" y="287"/>
                  </a:lnTo>
                  <a:lnTo>
                    <a:pt x="394" y="249"/>
                  </a:lnTo>
                  <a:lnTo>
                    <a:pt x="441" y="213"/>
                  </a:lnTo>
                  <a:lnTo>
                    <a:pt x="489" y="181"/>
                  </a:lnTo>
                  <a:lnTo>
                    <a:pt x="537" y="152"/>
                  </a:lnTo>
                  <a:lnTo>
                    <a:pt x="585" y="125"/>
                  </a:lnTo>
                  <a:lnTo>
                    <a:pt x="633" y="104"/>
                  </a:lnTo>
                  <a:lnTo>
                    <a:pt x="679" y="83"/>
                  </a:lnTo>
                  <a:lnTo>
                    <a:pt x="726" y="64"/>
                  </a:lnTo>
                  <a:lnTo>
                    <a:pt x="769" y="50"/>
                  </a:lnTo>
                  <a:lnTo>
                    <a:pt x="813" y="37"/>
                  </a:lnTo>
                  <a:lnTo>
                    <a:pt x="854" y="25"/>
                  </a:lnTo>
                  <a:lnTo>
                    <a:pt x="892" y="16"/>
                  </a:lnTo>
                  <a:lnTo>
                    <a:pt x="928" y="9"/>
                  </a:lnTo>
                  <a:lnTo>
                    <a:pt x="1007" y="2"/>
                  </a:lnTo>
                  <a:lnTo>
                    <a:pt x="1084" y="0"/>
                  </a:lnTo>
                  <a:close/>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ko-KR" altLang="en-US"/>
            </a:p>
          </p:txBody>
        </p:sp>
        <p:sp>
          <p:nvSpPr>
            <p:cNvPr id="87" name="Rectangle 4102">
              <a:extLst>
                <a:ext uri="{FF2B5EF4-FFF2-40B4-BE49-F238E27FC236}">
                  <a16:creationId xmlns:a16="http://schemas.microsoft.com/office/drawing/2014/main" id="{823971CB-CD08-6142-8A82-BBC36FE021BA}"/>
                </a:ext>
              </a:extLst>
            </p:cNvPr>
            <p:cNvSpPr/>
            <p:nvPr/>
          </p:nvSpPr>
          <p:spPr>
            <a:xfrm>
              <a:off x="10199168" y="2875432"/>
              <a:ext cx="73047" cy="486980"/>
            </a:xfrm>
            <a:prstGeom prst="rect">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8" name="Rectangle 116">
              <a:extLst>
                <a:ext uri="{FF2B5EF4-FFF2-40B4-BE49-F238E27FC236}">
                  <a16:creationId xmlns:a16="http://schemas.microsoft.com/office/drawing/2014/main" id="{D0AB7592-028B-6147-8036-B863D099ACC8}"/>
                </a:ext>
              </a:extLst>
            </p:cNvPr>
            <p:cNvSpPr/>
            <p:nvPr/>
          </p:nvSpPr>
          <p:spPr>
            <a:xfrm rot="8100000">
              <a:off x="9613374" y="3081280"/>
              <a:ext cx="73047" cy="486980"/>
            </a:xfrm>
            <a:prstGeom prst="rect">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9" name="Rectangle 118">
              <a:extLst>
                <a:ext uri="{FF2B5EF4-FFF2-40B4-BE49-F238E27FC236}">
                  <a16:creationId xmlns:a16="http://schemas.microsoft.com/office/drawing/2014/main" id="{D455E50E-5C63-1442-A196-79E797CBB5D7}"/>
                </a:ext>
              </a:extLst>
            </p:cNvPr>
            <p:cNvSpPr/>
            <p:nvPr/>
          </p:nvSpPr>
          <p:spPr>
            <a:xfrm rot="16800000">
              <a:off x="9294239" y="3582372"/>
              <a:ext cx="73047" cy="486980"/>
            </a:xfrm>
            <a:prstGeom prst="rect">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0" name="Freeform 4103">
              <a:extLst>
                <a:ext uri="{FF2B5EF4-FFF2-40B4-BE49-F238E27FC236}">
                  <a16:creationId xmlns:a16="http://schemas.microsoft.com/office/drawing/2014/main" id="{AE890A4D-2DF3-4747-85AF-B548D9EA29D9}"/>
                </a:ext>
              </a:extLst>
            </p:cNvPr>
            <p:cNvSpPr/>
            <p:nvPr/>
          </p:nvSpPr>
          <p:spPr>
            <a:xfrm rot="18900000" flipV="1">
              <a:off x="10108452" y="4097750"/>
              <a:ext cx="475605" cy="267050"/>
            </a:xfrm>
            <a:custGeom>
              <a:avLst/>
              <a:gdLst>
                <a:gd name="connsiteX0" fmla="*/ 447675 w 447675"/>
                <a:gd name="connsiteY0" fmla="*/ 266700 h 266700"/>
                <a:gd name="connsiteX1" fmla="*/ 0 w 447675"/>
                <a:gd name="connsiteY1" fmla="*/ 171450 h 266700"/>
                <a:gd name="connsiteX2" fmla="*/ 342900 w 447675"/>
                <a:gd name="connsiteY2" fmla="*/ 0 h 266700"/>
                <a:gd name="connsiteX3" fmla="*/ 447675 w 447675"/>
                <a:gd name="connsiteY3" fmla="*/ 266700 h 266700"/>
                <a:gd name="connsiteX0" fmla="*/ 447675 w 464732"/>
                <a:gd name="connsiteY0" fmla="*/ 266700 h 266700"/>
                <a:gd name="connsiteX1" fmla="*/ 0 w 464732"/>
                <a:gd name="connsiteY1" fmla="*/ 171450 h 266700"/>
                <a:gd name="connsiteX2" fmla="*/ 342900 w 464732"/>
                <a:gd name="connsiteY2" fmla="*/ 0 h 266700"/>
                <a:gd name="connsiteX3" fmla="*/ 447675 w 464732"/>
                <a:gd name="connsiteY3" fmla="*/ 266700 h 266700"/>
                <a:gd name="connsiteX0" fmla="*/ 447675 w 492584"/>
                <a:gd name="connsiteY0" fmla="*/ 266700 h 266700"/>
                <a:gd name="connsiteX1" fmla="*/ 0 w 492584"/>
                <a:gd name="connsiteY1" fmla="*/ 171450 h 266700"/>
                <a:gd name="connsiteX2" fmla="*/ 342900 w 492584"/>
                <a:gd name="connsiteY2" fmla="*/ 0 h 266700"/>
                <a:gd name="connsiteX3" fmla="*/ 447675 w 492584"/>
                <a:gd name="connsiteY3" fmla="*/ 266700 h 266700"/>
                <a:gd name="connsiteX0" fmla="*/ 447675 w 492584"/>
                <a:gd name="connsiteY0" fmla="*/ 266700 h 267320"/>
                <a:gd name="connsiteX1" fmla="*/ 0 w 492584"/>
                <a:gd name="connsiteY1" fmla="*/ 171450 h 267320"/>
                <a:gd name="connsiteX2" fmla="*/ 342900 w 492584"/>
                <a:gd name="connsiteY2" fmla="*/ 0 h 267320"/>
                <a:gd name="connsiteX3" fmla="*/ 447675 w 492584"/>
                <a:gd name="connsiteY3" fmla="*/ 266700 h 267320"/>
                <a:gd name="connsiteX0" fmla="*/ 447675 w 492584"/>
                <a:gd name="connsiteY0" fmla="*/ 266700 h 268027"/>
                <a:gd name="connsiteX1" fmla="*/ 0 w 492584"/>
                <a:gd name="connsiteY1" fmla="*/ 171450 h 268027"/>
                <a:gd name="connsiteX2" fmla="*/ 342900 w 492584"/>
                <a:gd name="connsiteY2" fmla="*/ 0 h 268027"/>
                <a:gd name="connsiteX3" fmla="*/ 447675 w 492584"/>
                <a:gd name="connsiteY3" fmla="*/ 266700 h 268027"/>
                <a:gd name="connsiteX0" fmla="*/ 447675 w 492584"/>
                <a:gd name="connsiteY0" fmla="*/ 266700 h 268027"/>
                <a:gd name="connsiteX1" fmla="*/ 0 w 492584"/>
                <a:gd name="connsiteY1" fmla="*/ 171450 h 268027"/>
                <a:gd name="connsiteX2" fmla="*/ 342900 w 492584"/>
                <a:gd name="connsiteY2" fmla="*/ 0 h 268027"/>
                <a:gd name="connsiteX3" fmla="*/ 447675 w 492584"/>
                <a:gd name="connsiteY3" fmla="*/ 266700 h 268027"/>
                <a:gd name="connsiteX0" fmla="*/ 447675 w 492584"/>
                <a:gd name="connsiteY0" fmla="*/ 268433 h 269760"/>
                <a:gd name="connsiteX1" fmla="*/ 0 w 492584"/>
                <a:gd name="connsiteY1" fmla="*/ 173183 h 269760"/>
                <a:gd name="connsiteX2" fmla="*/ 342900 w 492584"/>
                <a:gd name="connsiteY2" fmla="*/ 1733 h 269760"/>
                <a:gd name="connsiteX3" fmla="*/ 447675 w 492584"/>
                <a:gd name="connsiteY3" fmla="*/ 268433 h 269760"/>
                <a:gd name="connsiteX0" fmla="*/ 447675 w 475131"/>
                <a:gd name="connsiteY0" fmla="*/ 268433 h 269760"/>
                <a:gd name="connsiteX1" fmla="*/ 0 w 475131"/>
                <a:gd name="connsiteY1" fmla="*/ 173183 h 269760"/>
                <a:gd name="connsiteX2" fmla="*/ 342900 w 475131"/>
                <a:gd name="connsiteY2" fmla="*/ 1733 h 269760"/>
                <a:gd name="connsiteX3" fmla="*/ 447675 w 475131"/>
                <a:gd name="connsiteY3" fmla="*/ 268433 h 269760"/>
                <a:gd name="connsiteX0" fmla="*/ 447675 w 496136"/>
                <a:gd name="connsiteY0" fmla="*/ 268433 h 269760"/>
                <a:gd name="connsiteX1" fmla="*/ 0 w 496136"/>
                <a:gd name="connsiteY1" fmla="*/ 173183 h 269760"/>
                <a:gd name="connsiteX2" fmla="*/ 342900 w 496136"/>
                <a:gd name="connsiteY2" fmla="*/ 1733 h 269760"/>
                <a:gd name="connsiteX3" fmla="*/ 447675 w 496136"/>
                <a:gd name="connsiteY3" fmla="*/ 268433 h 269760"/>
                <a:gd name="connsiteX0" fmla="*/ 447675 w 496136"/>
                <a:gd name="connsiteY0" fmla="*/ 268433 h 282774"/>
                <a:gd name="connsiteX1" fmla="*/ 0 w 496136"/>
                <a:gd name="connsiteY1" fmla="*/ 173183 h 282774"/>
                <a:gd name="connsiteX2" fmla="*/ 342900 w 496136"/>
                <a:gd name="connsiteY2" fmla="*/ 1733 h 282774"/>
                <a:gd name="connsiteX3" fmla="*/ 447675 w 496136"/>
                <a:gd name="connsiteY3" fmla="*/ 268433 h 282774"/>
                <a:gd name="connsiteX0" fmla="*/ 566944 w 615405"/>
                <a:gd name="connsiteY0" fmla="*/ 269154 h 280541"/>
                <a:gd name="connsiteX1" fmla="*/ 0 w 615405"/>
                <a:gd name="connsiteY1" fmla="*/ 146074 h 280541"/>
                <a:gd name="connsiteX2" fmla="*/ 462169 w 615405"/>
                <a:gd name="connsiteY2" fmla="*/ 2454 h 280541"/>
                <a:gd name="connsiteX3" fmla="*/ 566944 w 615405"/>
                <a:gd name="connsiteY3" fmla="*/ 269154 h 280541"/>
                <a:gd name="connsiteX0" fmla="*/ 566944 w 615405"/>
                <a:gd name="connsiteY0" fmla="*/ 268907 h 280294"/>
                <a:gd name="connsiteX1" fmla="*/ 0 w 615405"/>
                <a:gd name="connsiteY1" fmla="*/ 145827 h 280294"/>
                <a:gd name="connsiteX2" fmla="*/ 462169 w 615405"/>
                <a:gd name="connsiteY2" fmla="*/ 2207 h 280294"/>
                <a:gd name="connsiteX3" fmla="*/ 566944 w 615405"/>
                <a:gd name="connsiteY3" fmla="*/ 268907 h 280294"/>
                <a:gd name="connsiteX0" fmla="*/ 586822 w 629800"/>
                <a:gd name="connsiteY0" fmla="*/ 316615 h 324962"/>
                <a:gd name="connsiteX1" fmla="*/ 0 w 629800"/>
                <a:gd name="connsiteY1" fmla="*/ 145827 h 324962"/>
                <a:gd name="connsiteX2" fmla="*/ 462169 w 629800"/>
                <a:gd name="connsiteY2" fmla="*/ 2207 h 324962"/>
                <a:gd name="connsiteX3" fmla="*/ 586822 w 629800"/>
                <a:gd name="connsiteY3" fmla="*/ 316615 h 324962"/>
                <a:gd name="connsiteX0" fmla="*/ 586822 w 635283"/>
                <a:gd name="connsiteY0" fmla="*/ 282677 h 291024"/>
                <a:gd name="connsiteX1" fmla="*/ 0 w 635283"/>
                <a:gd name="connsiteY1" fmla="*/ 111889 h 291024"/>
                <a:gd name="connsiteX2" fmla="*/ 482047 w 635283"/>
                <a:gd name="connsiteY2" fmla="*/ 4050 h 291024"/>
                <a:gd name="connsiteX3" fmla="*/ 586822 w 635283"/>
                <a:gd name="connsiteY3" fmla="*/ 282677 h 291024"/>
                <a:gd name="connsiteX0" fmla="*/ 622603 w 661839"/>
                <a:gd name="connsiteY0" fmla="*/ 342312 h 348542"/>
                <a:gd name="connsiteX1" fmla="*/ 0 w 661839"/>
                <a:gd name="connsiteY1" fmla="*/ 111889 h 348542"/>
                <a:gd name="connsiteX2" fmla="*/ 482047 w 661839"/>
                <a:gd name="connsiteY2" fmla="*/ 4050 h 348542"/>
                <a:gd name="connsiteX3" fmla="*/ 622603 w 661839"/>
                <a:gd name="connsiteY3" fmla="*/ 342312 h 348542"/>
                <a:gd name="connsiteX0" fmla="*/ 622603 w 639127"/>
                <a:gd name="connsiteY0" fmla="*/ 342312 h 348542"/>
                <a:gd name="connsiteX1" fmla="*/ 0 w 639127"/>
                <a:gd name="connsiteY1" fmla="*/ 111889 h 348542"/>
                <a:gd name="connsiteX2" fmla="*/ 482047 w 639127"/>
                <a:gd name="connsiteY2" fmla="*/ 4050 h 348542"/>
                <a:gd name="connsiteX3" fmla="*/ 622603 w 639127"/>
                <a:gd name="connsiteY3" fmla="*/ 342312 h 348542"/>
                <a:gd name="connsiteX0" fmla="*/ 622603 w 639127"/>
                <a:gd name="connsiteY0" fmla="*/ 342312 h 342312"/>
                <a:gd name="connsiteX1" fmla="*/ 0 w 639127"/>
                <a:gd name="connsiteY1" fmla="*/ 111889 h 342312"/>
                <a:gd name="connsiteX2" fmla="*/ 482047 w 639127"/>
                <a:gd name="connsiteY2" fmla="*/ 4050 h 342312"/>
                <a:gd name="connsiteX3" fmla="*/ 622603 w 639127"/>
                <a:gd name="connsiteY3" fmla="*/ 342312 h 342312"/>
                <a:gd name="connsiteX0" fmla="*/ 622603 w 639127"/>
                <a:gd name="connsiteY0" fmla="*/ 342312 h 342312"/>
                <a:gd name="connsiteX1" fmla="*/ 0 w 639127"/>
                <a:gd name="connsiteY1" fmla="*/ 111889 h 342312"/>
                <a:gd name="connsiteX2" fmla="*/ 482047 w 639127"/>
                <a:gd name="connsiteY2" fmla="*/ 4050 h 342312"/>
                <a:gd name="connsiteX3" fmla="*/ 622603 w 639127"/>
                <a:gd name="connsiteY3" fmla="*/ 342312 h 342312"/>
                <a:gd name="connsiteX0" fmla="*/ 622603 w 639127"/>
                <a:gd name="connsiteY0" fmla="*/ 342312 h 355031"/>
                <a:gd name="connsiteX1" fmla="*/ 0 w 639127"/>
                <a:gd name="connsiteY1" fmla="*/ 111889 h 355031"/>
                <a:gd name="connsiteX2" fmla="*/ 482047 w 639127"/>
                <a:gd name="connsiteY2" fmla="*/ 4050 h 355031"/>
                <a:gd name="connsiteX3" fmla="*/ 622603 w 639127"/>
                <a:gd name="connsiteY3" fmla="*/ 342312 h 355031"/>
                <a:gd name="connsiteX0" fmla="*/ 622603 w 644668"/>
                <a:gd name="connsiteY0" fmla="*/ 342312 h 355031"/>
                <a:gd name="connsiteX1" fmla="*/ 0 w 644668"/>
                <a:gd name="connsiteY1" fmla="*/ 111889 h 355031"/>
                <a:gd name="connsiteX2" fmla="*/ 482047 w 644668"/>
                <a:gd name="connsiteY2" fmla="*/ 4050 h 355031"/>
                <a:gd name="connsiteX3" fmla="*/ 622603 w 644668"/>
                <a:gd name="connsiteY3" fmla="*/ 342312 h 355031"/>
                <a:gd name="connsiteX0" fmla="*/ 622603 w 644668"/>
                <a:gd name="connsiteY0" fmla="*/ 342312 h 355031"/>
                <a:gd name="connsiteX1" fmla="*/ 0 w 644668"/>
                <a:gd name="connsiteY1" fmla="*/ 111889 h 355031"/>
                <a:gd name="connsiteX2" fmla="*/ 482047 w 644668"/>
                <a:gd name="connsiteY2" fmla="*/ 4050 h 355031"/>
                <a:gd name="connsiteX3" fmla="*/ 622603 w 644668"/>
                <a:gd name="connsiteY3" fmla="*/ 342312 h 355031"/>
                <a:gd name="connsiteX0" fmla="*/ 622603 w 642663"/>
                <a:gd name="connsiteY0" fmla="*/ 328262 h 340981"/>
                <a:gd name="connsiteX1" fmla="*/ 0 w 642663"/>
                <a:gd name="connsiteY1" fmla="*/ 97839 h 340981"/>
                <a:gd name="connsiteX2" fmla="*/ 474095 w 642663"/>
                <a:gd name="connsiteY2" fmla="*/ 5903 h 340981"/>
                <a:gd name="connsiteX3" fmla="*/ 622603 w 642663"/>
                <a:gd name="connsiteY3" fmla="*/ 328262 h 340981"/>
                <a:gd name="connsiteX0" fmla="*/ 622603 w 642663"/>
                <a:gd name="connsiteY0" fmla="*/ 341991 h 354710"/>
                <a:gd name="connsiteX1" fmla="*/ 0 w 642663"/>
                <a:gd name="connsiteY1" fmla="*/ 111568 h 354710"/>
                <a:gd name="connsiteX2" fmla="*/ 474095 w 642663"/>
                <a:gd name="connsiteY2" fmla="*/ 19632 h 354710"/>
                <a:gd name="connsiteX3" fmla="*/ 622603 w 642663"/>
                <a:gd name="connsiteY3" fmla="*/ 341991 h 354710"/>
                <a:gd name="connsiteX0" fmla="*/ 622603 w 631721"/>
                <a:gd name="connsiteY0" fmla="*/ 341991 h 354710"/>
                <a:gd name="connsiteX1" fmla="*/ 0 w 631721"/>
                <a:gd name="connsiteY1" fmla="*/ 111568 h 354710"/>
                <a:gd name="connsiteX2" fmla="*/ 474095 w 631721"/>
                <a:gd name="connsiteY2" fmla="*/ 19632 h 354710"/>
                <a:gd name="connsiteX3" fmla="*/ 622603 w 631721"/>
                <a:gd name="connsiteY3" fmla="*/ 341991 h 354710"/>
              </a:gdLst>
              <a:ahLst/>
              <a:cxnLst>
                <a:cxn ang="0">
                  <a:pos x="connsiteX0" y="connsiteY0"/>
                </a:cxn>
                <a:cxn ang="0">
                  <a:pos x="connsiteX1" y="connsiteY1"/>
                </a:cxn>
                <a:cxn ang="0">
                  <a:pos x="connsiteX2" y="connsiteY2"/>
                </a:cxn>
                <a:cxn ang="0">
                  <a:pos x="connsiteX3" y="connsiteY3"/>
                </a:cxn>
              </a:cxnLst>
              <a:rect l="l" t="t" r="r" b="b"/>
              <a:pathLst>
                <a:path w="631721" h="354710">
                  <a:moveTo>
                    <a:pt x="622603" y="341991"/>
                  </a:moveTo>
                  <a:cubicBezTo>
                    <a:pt x="453500" y="405656"/>
                    <a:pt x="248616" y="214880"/>
                    <a:pt x="0" y="111568"/>
                  </a:cubicBezTo>
                  <a:cubicBezTo>
                    <a:pt x="213691" y="10686"/>
                    <a:pt x="395576" y="-26586"/>
                    <a:pt x="474095" y="19632"/>
                  </a:cubicBezTo>
                  <a:cubicBezTo>
                    <a:pt x="580581" y="68776"/>
                    <a:pt x="659239" y="241164"/>
                    <a:pt x="622603" y="34199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Freeform 123">
              <a:extLst>
                <a:ext uri="{FF2B5EF4-FFF2-40B4-BE49-F238E27FC236}">
                  <a16:creationId xmlns:a16="http://schemas.microsoft.com/office/drawing/2014/main" id="{97520E63-1DB2-0E4D-9AD8-89F028C4362E}"/>
                </a:ext>
              </a:extLst>
            </p:cNvPr>
            <p:cNvSpPr/>
            <p:nvPr/>
          </p:nvSpPr>
          <p:spPr>
            <a:xfrm rot="13284775">
              <a:off x="9960891" y="4191599"/>
              <a:ext cx="350851" cy="197003"/>
            </a:xfrm>
            <a:custGeom>
              <a:avLst/>
              <a:gdLst>
                <a:gd name="connsiteX0" fmla="*/ 447675 w 447675"/>
                <a:gd name="connsiteY0" fmla="*/ 266700 h 266700"/>
                <a:gd name="connsiteX1" fmla="*/ 0 w 447675"/>
                <a:gd name="connsiteY1" fmla="*/ 171450 h 266700"/>
                <a:gd name="connsiteX2" fmla="*/ 342900 w 447675"/>
                <a:gd name="connsiteY2" fmla="*/ 0 h 266700"/>
                <a:gd name="connsiteX3" fmla="*/ 447675 w 447675"/>
                <a:gd name="connsiteY3" fmla="*/ 266700 h 266700"/>
                <a:gd name="connsiteX0" fmla="*/ 447675 w 464732"/>
                <a:gd name="connsiteY0" fmla="*/ 266700 h 266700"/>
                <a:gd name="connsiteX1" fmla="*/ 0 w 464732"/>
                <a:gd name="connsiteY1" fmla="*/ 171450 h 266700"/>
                <a:gd name="connsiteX2" fmla="*/ 342900 w 464732"/>
                <a:gd name="connsiteY2" fmla="*/ 0 h 266700"/>
                <a:gd name="connsiteX3" fmla="*/ 447675 w 464732"/>
                <a:gd name="connsiteY3" fmla="*/ 266700 h 266700"/>
                <a:gd name="connsiteX0" fmla="*/ 447675 w 492584"/>
                <a:gd name="connsiteY0" fmla="*/ 266700 h 266700"/>
                <a:gd name="connsiteX1" fmla="*/ 0 w 492584"/>
                <a:gd name="connsiteY1" fmla="*/ 171450 h 266700"/>
                <a:gd name="connsiteX2" fmla="*/ 342900 w 492584"/>
                <a:gd name="connsiteY2" fmla="*/ 0 h 266700"/>
                <a:gd name="connsiteX3" fmla="*/ 447675 w 492584"/>
                <a:gd name="connsiteY3" fmla="*/ 266700 h 266700"/>
                <a:gd name="connsiteX0" fmla="*/ 447675 w 492584"/>
                <a:gd name="connsiteY0" fmla="*/ 266700 h 267320"/>
                <a:gd name="connsiteX1" fmla="*/ 0 w 492584"/>
                <a:gd name="connsiteY1" fmla="*/ 171450 h 267320"/>
                <a:gd name="connsiteX2" fmla="*/ 342900 w 492584"/>
                <a:gd name="connsiteY2" fmla="*/ 0 h 267320"/>
                <a:gd name="connsiteX3" fmla="*/ 447675 w 492584"/>
                <a:gd name="connsiteY3" fmla="*/ 266700 h 267320"/>
                <a:gd name="connsiteX0" fmla="*/ 447675 w 492584"/>
                <a:gd name="connsiteY0" fmla="*/ 266700 h 268027"/>
                <a:gd name="connsiteX1" fmla="*/ 0 w 492584"/>
                <a:gd name="connsiteY1" fmla="*/ 171450 h 268027"/>
                <a:gd name="connsiteX2" fmla="*/ 342900 w 492584"/>
                <a:gd name="connsiteY2" fmla="*/ 0 h 268027"/>
                <a:gd name="connsiteX3" fmla="*/ 447675 w 492584"/>
                <a:gd name="connsiteY3" fmla="*/ 266700 h 268027"/>
                <a:gd name="connsiteX0" fmla="*/ 447675 w 492584"/>
                <a:gd name="connsiteY0" fmla="*/ 266700 h 268027"/>
                <a:gd name="connsiteX1" fmla="*/ 0 w 492584"/>
                <a:gd name="connsiteY1" fmla="*/ 171450 h 268027"/>
                <a:gd name="connsiteX2" fmla="*/ 342900 w 492584"/>
                <a:gd name="connsiteY2" fmla="*/ 0 h 268027"/>
                <a:gd name="connsiteX3" fmla="*/ 447675 w 492584"/>
                <a:gd name="connsiteY3" fmla="*/ 266700 h 268027"/>
                <a:gd name="connsiteX0" fmla="*/ 447675 w 492584"/>
                <a:gd name="connsiteY0" fmla="*/ 268433 h 269760"/>
                <a:gd name="connsiteX1" fmla="*/ 0 w 492584"/>
                <a:gd name="connsiteY1" fmla="*/ 173183 h 269760"/>
                <a:gd name="connsiteX2" fmla="*/ 342900 w 492584"/>
                <a:gd name="connsiteY2" fmla="*/ 1733 h 269760"/>
                <a:gd name="connsiteX3" fmla="*/ 447675 w 492584"/>
                <a:gd name="connsiteY3" fmla="*/ 268433 h 269760"/>
                <a:gd name="connsiteX0" fmla="*/ 447675 w 475131"/>
                <a:gd name="connsiteY0" fmla="*/ 268433 h 269760"/>
                <a:gd name="connsiteX1" fmla="*/ 0 w 475131"/>
                <a:gd name="connsiteY1" fmla="*/ 173183 h 269760"/>
                <a:gd name="connsiteX2" fmla="*/ 342900 w 475131"/>
                <a:gd name="connsiteY2" fmla="*/ 1733 h 269760"/>
                <a:gd name="connsiteX3" fmla="*/ 447675 w 475131"/>
                <a:gd name="connsiteY3" fmla="*/ 268433 h 269760"/>
                <a:gd name="connsiteX0" fmla="*/ 447675 w 496136"/>
                <a:gd name="connsiteY0" fmla="*/ 268433 h 269760"/>
                <a:gd name="connsiteX1" fmla="*/ 0 w 496136"/>
                <a:gd name="connsiteY1" fmla="*/ 173183 h 269760"/>
                <a:gd name="connsiteX2" fmla="*/ 342900 w 496136"/>
                <a:gd name="connsiteY2" fmla="*/ 1733 h 269760"/>
                <a:gd name="connsiteX3" fmla="*/ 447675 w 496136"/>
                <a:gd name="connsiteY3" fmla="*/ 268433 h 269760"/>
                <a:gd name="connsiteX0" fmla="*/ 447675 w 496136"/>
                <a:gd name="connsiteY0" fmla="*/ 268433 h 282774"/>
                <a:gd name="connsiteX1" fmla="*/ 0 w 496136"/>
                <a:gd name="connsiteY1" fmla="*/ 173183 h 282774"/>
                <a:gd name="connsiteX2" fmla="*/ 342900 w 496136"/>
                <a:gd name="connsiteY2" fmla="*/ 1733 h 282774"/>
                <a:gd name="connsiteX3" fmla="*/ 447675 w 496136"/>
                <a:gd name="connsiteY3" fmla="*/ 268433 h 282774"/>
                <a:gd name="connsiteX0" fmla="*/ 566944 w 615405"/>
                <a:gd name="connsiteY0" fmla="*/ 269154 h 280541"/>
                <a:gd name="connsiteX1" fmla="*/ 0 w 615405"/>
                <a:gd name="connsiteY1" fmla="*/ 146074 h 280541"/>
                <a:gd name="connsiteX2" fmla="*/ 462169 w 615405"/>
                <a:gd name="connsiteY2" fmla="*/ 2454 h 280541"/>
                <a:gd name="connsiteX3" fmla="*/ 566944 w 615405"/>
                <a:gd name="connsiteY3" fmla="*/ 269154 h 280541"/>
                <a:gd name="connsiteX0" fmla="*/ 566944 w 615405"/>
                <a:gd name="connsiteY0" fmla="*/ 268907 h 280294"/>
                <a:gd name="connsiteX1" fmla="*/ 0 w 615405"/>
                <a:gd name="connsiteY1" fmla="*/ 145827 h 280294"/>
                <a:gd name="connsiteX2" fmla="*/ 462169 w 615405"/>
                <a:gd name="connsiteY2" fmla="*/ 2207 h 280294"/>
                <a:gd name="connsiteX3" fmla="*/ 566944 w 615405"/>
                <a:gd name="connsiteY3" fmla="*/ 268907 h 280294"/>
                <a:gd name="connsiteX0" fmla="*/ 586822 w 629800"/>
                <a:gd name="connsiteY0" fmla="*/ 316615 h 324962"/>
                <a:gd name="connsiteX1" fmla="*/ 0 w 629800"/>
                <a:gd name="connsiteY1" fmla="*/ 145827 h 324962"/>
                <a:gd name="connsiteX2" fmla="*/ 462169 w 629800"/>
                <a:gd name="connsiteY2" fmla="*/ 2207 h 324962"/>
                <a:gd name="connsiteX3" fmla="*/ 586822 w 629800"/>
                <a:gd name="connsiteY3" fmla="*/ 316615 h 324962"/>
                <a:gd name="connsiteX0" fmla="*/ 586822 w 635283"/>
                <a:gd name="connsiteY0" fmla="*/ 282677 h 291024"/>
                <a:gd name="connsiteX1" fmla="*/ 0 w 635283"/>
                <a:gd name="connsiteY1" fmla="*/ 111889 h 291024"/>
                <a:gd name="connsiteX2" fmla="*/ 482047 w 635283"/>
                <a:gd name="connsiteY2" fmla="*/ 4050 h 291024"/>
                <a:gd name="connsiteX3" fmla="*/ 586822 w 635283"/>
                <a:gd name="connsiteY3" fmla="*/ 282677 h 291024"/>
                <a:gd name="connsiteX0" fmla="*/ 622603 w 661839"/>
                <a:gd name="connsiteY0" fmla="*/ 342312 h 348542"/>
                <a:gd name="connsiteX1" fmla="*/ 0 w 661839"/>
                <a:gd name="connsiteY1" fmla="*/ 111889 h 348542"/>
                <a:gd name="connsiteX2" fmla="*/ 482047 w 661839"/>
                <a:gd name="connsiteY2" fmla="*/ 4050 h 348542"/>
                <a:gd name="connsiteX3" fmla="*/ 622603 w 661839"/>
                <a:gd name="connsiteY3" fmla="*/ 342312 h 348542"/>
                <a:gd name="connsiteX0" fmla="*/ 622603 w 639127"/>
                <a:gd name="connsiteY0" fmla="*/ 342312 h 348542"/>
                <a:gd name="connsiteX1" fmla="*/ 0 w 639127"/>
                <a:gd name="connsiteY1" fmla="*/ 111889 h 348542"/>
                <a:gd name="connsiteX2" fmla="*/ 482047 w 639127"/>
                <a:gd name="connsiteY2" fmla="*/ 4050 h 348542"/>
                <a:gd name="connsiteX3" fmla="*/ 622603 w 639127"/>
                <a:gd name="connsiteY3" fmla="*/ 342312 h 348542"/>
                <a:gd name="connsiteX0" fmla="*/ 622603 w 639127"/>
                <a:gd name="connsiteY0" fmla="*/ 342312 h 342312"/>
                <a:gd name="connsiteX1" fmla="*/ 0 w 639127"/>
                <a:gd name="connsiteY1" fmla="*/ 111889 h 342312"/>
                <a:gd name="connsiteX2" fmla="*/ 482047 w 639127"/>
                <a:gd name="connsiteY2" fmla="*/ 4050 h 342312"/>
                <a:gd name="connsiteX3" fmla="*/ 622603 w 639127"/>
                <a:gd name="connsiteY3" fmla="*/ 342312 h 342312"/>
                <a:gd name="connsiteX0" fmla="*/ 622603 w 639127"/>
                <a:gd name="connsiteY0" fmla="*/ 342312 h 342312"/>
                <a:gd name="connsiteX1" fmla="*/ 0 w 639127"/>
                <a:gd name="connsiteY1" fmla="*/ 111889 h 342312"/>
                <a:gd name="connsiteX2" fmla="*/ 482047 w 639127"/>
                <a:gd name="connsiteY2" fmla="*/ 4050 h 342312"/>
                <a:gd name="connsiteX3" fmla="*/ 622603 w 639127"/>
                <a:gd name="connsiteY3" fmla="*/ 342312 h 342312"/>
                <a:gd name="connsiteX0" fmla="*/ 622603 w 639127"/>
                <a:gd name="connsiteY0" fmla="*/ 342312 h 355031"/>
                <a:gd name="connsiteX1" fmla="*/ 0 w 639127"/>
                <a:gd name="connsiteY1" fmla="*/ 111889 h 355031"/>
                <a:gd name="connsiteX2" fmla="*/ 482047 w 639127"/>
                <a:gd name="connsiteY2" fmla="*/ 4050 h 355031"/>
                <a:gd name="connsiteX3" fmla="*/ 622603 w 639127"/>
                <a:gd name="connsiteY3" fmla="*/ 342312 h 355031"/>
                <a:gd name="connsiteX0" fmla="*/ 622603 w 644668"/>
                <a:gd name="connsiteY0" fmla="*/ 342312 h 355031"/>
                <a:gd name="connsiteX1" fmla="*/ 0 w 644668"/>
                <a:gd name="connsiteY1" fmla="*/ 111889 h 355031"/>
                <a:gd name="connsiteX2" fmla="*/ 482047 w 644668"/>
                <a:gd name="connsiteY2" fmla="*/ 4050 h 355031"/>
                <a:gd name="connsiteX3" fmla="*/ 622603 w 644668"/>
                <a:gd name="connsiteY3" fmla="*/ 342312 h 355031"/>
                <a:gd name="connsiteX0" fmla="*/ 622603 w 644668"/>
                <a:gd name="connsiteY0" fmla="*/ 342312 h 355031"/>
                <a:gd name="connsiteX1" fmla="*/ 0 w 644668"/>
                <a:gd name="connsiteY1" fmla="*/ 111889 h 355031"/>
                <a:gd name="connsiteX2" fmla="*/ 482047 w 644668"/>
                <a:gd name="connsiteY2" fmla="*/ 4050 h 355031"/>
                <a:gd name="connsiteX3" fmla="*/ 622603 w 644668"/>
                <a:gd name="connsiteY3" fmla="*/ 342312 h 355031"/>
                <a:gd name="connsiteX0" fmla="*/ 622603 w 642663"/>
                <a:gd name="connsiteY0" fmla="*/ 328262 h 340981"/>
                <a:gd name="connsiteX1" fmla="*/ 0 w 642663"/>
                <a:gd name="connsiteY1" fmla="*/ 97839 h 340981"/>
                <a:gd name="connsiteX2" fmla="*/ 474095 w 642663"/>
                <a:gd name="connsiteY2" fmla="*/ 5903 h 340981"/>
                <a:gd name="connsiteX3" fmla="*/ 622603 w 642663"/>
                <a:gd name="connsiteY3" fmla="*/ 328262 h 340981"/>
                <a:gd name="connsiteX0" fmla="*/ 622603 w 642663"/>
                <a:gd name="connsiteY0" fmla="*/ 341991 h 354710"/>
                <a:gd name="connsiteX1" fmla="*/ 0 w 642663"/>
                <a:gd name="connsiteY1" fmla="*/ 111568 h 354710"/>
                <a:gd name="connsiteX2" fmla="*/ 474095 w 642663"/>
                <a:gd name="connsiteY2" fmla="*/ 19632 h 354710"/>
                <a:gd name="connsiteX3" fmla="*/ 622603 w 642663"/>
                <a:gd name="connsiteY3" fmla="*/ 341991 h 354710"/>
                <a:gd name="connsiteX0" fmla="*/ 622603 w 631721"/>
                <a:gd name="connsiteY0" fmla="*/ 341991 h 354710"/>
                <a:gd name="connsiteX1" fmla="*/ 0 w 631721"/>
                <a:gd name="connsiteY1" fmla="*/ 111568 h 354710"/>
                <a:gd name="connsiteX2" fmla="*/ 474095 w 631721"/>
                <a:gd name="connsiteY2" fmla="*/ 19632 h 354710"/>
                <a:gd name="connsiteX3" fmla="*/ 622603 w 631721"/>
                <a:gd name="connsiteY3" fmla="*/ 341991 h 354710"/>
              </a:gdLst>
              <a:ahLst/>
              <a:cxnLst>
                <a:cxn ang="0">
                  <a:pos x="connsiteX0" y="connsiteY0"/>
                </a:cxn>
                <a:cxn ang="0">
                  <a:pos x="connsiteX1" y="connsiteY1"/>
                </a:cxn>
                <a:cxn ang="0">
                  <a:pos x="connsiteX2" y="connsiteY2"/>
                </a:cxn>
                <a:cxn ang="0">
                  <a:pos x="connsiteX3" y="connsiteY3"/>
                </a:cxn>
              </a:cxnLst>
              <a:rect l="l" t="t" r="r" b="b"/>
              <a:pathLst>
                <a:path w="631721" h="354710">
                  <a:moveTo>
                    <a:pt x="622603" y="341991"/>
                  </a:moveTo>
                  <a:cubicBezTo>
                    <a:pt x="453500" y="405656"/>
                    <a:pt x="248616" y="214880"/>
                    <a:pt x="0" y="111568"/>
                  </a:cubicBezTo>
                  <a:cubicBezTo>
                    <a:pt x="213691" y="10686"/>
                    <a:pt x="395576" y="-26586"/>
                    <a:pt x="474095" y="19632"/>
                  </a:cubicBezTo>
                  <a:cubicBezTo>
                    <a:pt x="580581" y="68776"/>
                    <a:pt x="659239" y="241164"/>
                    <a:pt x="622603" y="34199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2" name="Rectangle 4104">
              <a:extLst>
                <a:ext uri="{FF2B5EF4-FFF2-40B4-BE49-F238E27FC236}">
                  <a16:creationId xmlns:a16="http://schemas.microsoft.com/office/drawing/2014/main" id="{28CD9D64-8C24-B643-8560-2EA7C0ED49F4}"/>
                </a:ext>
              </a:extLst>
            </p:cNvPr>
            <p:cNvSpPr/>
            <p:nvPr/>
          </p:nvSpPr>
          <p:spPr>
            <a:xfrm>
              <a:off x="10201256" y="4404900"/>
              <a:ext cx="61845" cy="2922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3" name="Rectangle 116">
              <a:extLst>
                <a:ext uri="{FF2B5EF4-FFF2-40B4-BE49-F238E27FC236}">
                  <a16:creationId xmlns:a16="http://schemas.microsoft.com/office/drawing/2014/main" id="{863DD0AA-64AA-B749-A4CB-524B37A41E83}"/>
                </a:ext>
              </a:extLst>
            </p:cNvPr>
            <p:cNvSpPr/>
            <p:nvPr/>
          </p:nvSpPr>
          <p:spPr>
            <a:xfrm rot="13500000" flipH="1">
              <a:off x="10791750" y="3081280"/>
              <a:ext cx="73047" cy="486980"/>
            </a:xfrm>
            <a:prstGeom prst="rect">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4" name="Rectangle 118">
              <a:extLst>
                <a:ext uri="{FF2B5EF4-FFF2-40B4-BE49-F238E27FC236}">
                  <a16:creationId xmlns:a16="http://schemas.microsoft.com/office/drawing/2014/main" id="{92A10AF3-7223-9C46-9168-0CAA00FE47B6}"/>
                </a:ext>
              </a:extLst>
            </p:cNvPr>
            <p:cNvSpPr/>
            <p:nvPr/>
          </p:nvSpPr>
          <p:spPr>
            <a:xfrm rot="4800000" flipH="1">
              <a:off x="11110885" y="3582372"/>
              <a:ext cx="73047" cy="486980"/>
            </a:xfrm>
            <a:prstGeom prst="rect">
              <a:avLst/>
            </a:prstGeom>
            <a:solidFill>
              <a:srgbClr val="8D8EA7"/>
            </a:solidFill>
            <a:ln>
              <a:solidFill>
                <a:srgbClr val="8D8E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95" name="그룹 39">
            <a:extLst>
              <a:ext uri="{FF2B5EF4-FFF2-40B4-BE49-F238E27FC236}">
                <a16:creationId xmlns:a16="http://schemas.microsoft.com/office/drawing/2014/main" id="{53E12E51-A668-924A-B47A-06AF23924D00}"/>
              </a:ext>
            </a:extLst>
          </p:cNvPr>
          <p:cNvGrpSpPr/>
          <p:nvPr/>
        </p:nvGrpSpPr>
        <p:grpSpPr>
          <a:xfrm>
            <a:off x="6319854" y="3389719"/>
            <a:ext cx="3956473" cy="2066287"/>
            <a:chOff x="6319854" y="4022016"/>
            <a:chExt cx="3956473" cy="2066287"/>
          </a:xfrm>
          <a:solidFill>
            <a:schemeClr val="tx1"/>
          </a:solidFill>
        </p:grpSpPr>
        <p:grpSp>
          <p:nvGrpSpPr>
            <p:cNvPr id="96" name="그룹 40">
              <a:extLst>
                <a:ext uri="{FF2B5EF4-FFF2-40B4-BE49-F238E27FC236}">
                  <a16:creationId xmlns:a16="http://schemas.microsoft.com/office/drawing/2014/main" id="{CD275D8C-DCB9-084A-BF1B-42298586D48D}"/>
                </a:ext>
              </a:extLst>
            </p:cNvPr>
            <p:cNvGrpSpPr/>
            <p:nvPr/>
          </p:nvGrpSpPr>
          <p:grpSpPr>
            <a:xfrm>
              <a:off x="9196326" y="5008303"/>
              <a:ext cx="1080001" cy="1080000"/>
              <a:chOff x="9196326" y="5008303"/>
              <a:chExt cx="1080001" cy="1080000"/>
            </a:xfrm>
            <a:grpFill/>
          </p:grpSpPr>
          <p:sp>
            <p:nvSpPr>
              <p:cNvPr id="105" name="Rectangle 32">
                <a:extLst>
                  <a:ext uri="{FF2B5EF4-FFF2-40B4-BE49-F238E27FC236}">
                    <a16:creationId xmlns:a16="http://schemas.microsoft.com/office/drawing/2014/main" id="{4E09858D-1F97-A44B-8DC3-B38DBF3EED29}"/>
                  </a:ext>
                </a:extLst>
              </p:cNvPr>
              <p:cNvSpPr/>
              <p:nvPr/>
            </p:nvSpPr>
            <p:spPr>
              <a:xfrm rot="10800000">
                <a:off x="10156012" y="5043828"/>
                <a:ext cx="120315" cy="540376"/>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6" name="Block Arc 83">
                <a:extLst>
                  <a:ext uri="{FF2B5EF4-FFF2-40B4-BE49-F238E27FC236}">
                    <a16:creationId xmlns:a16="http://schemas.microsoft.com/office/drawing/2014/main" id="{C10F7167-9600-4940-AAE7-CE570264BAED}"/>
                  </a:ext>
                </a:extLst>
              </p:cNvPr>
              <p:cNvSpPr/>
              <p:nvPr/>
            </p:nvSpPr>
            <p:spPr>
              <a:xfrm rot="10800000">
                <a:off x="9196327" y="5008303"/>
                <a:ext cx="1080000" cy="1080000"/>
              </a:xfrm>
              <a:prstGeom prst="blockArc">
                <a:avLst>
                  <a:gd name="adj1" fmla="val 10795309"/>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07" name="Rectangle 32">
                <a:extLst>
                  <a:ext uri="{FF2B5EF4-FFF2-40B4-BE49-F238E27FC236}">
                    <a16:creationId xmlns:a16="http://schemas.microsoft.com/office/drawing/2014/main" id="{A5B5CDAF-FCD8-1749-9A09-61F231F78C26}"/>
                  </a:ext>
                </a:extLst>
              </p:cNvPr>
              <p:cNvSpPr/>
              <p:nvPr/>
            </p:nvSpPr>
            <p:spPr>
              <a:xfrm rot="10800000">
                <a:off x="9196326" y="5043827"/>
                <a:ext cx="120315" cy="50996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97" name="그룹 41">
              <a:extLst>
                <a:ext uri="{FF2B5EF4-FFF2-40B4-BE49-F238E27FC236}">
                  <a16:creationId xmlns:a16="http://schemas.microsoft.com/office/drawing/2014/main" id="{BDF42CDB-6224-F24B-818D-E5E42C47E808}"/>
                </a:ext>
              </a:extLst>
            </p:cNvPr>
            <p:cNvGrpSpPr/>
            <p:nvPr/>
          </p:nvGrpSpPr>
          <p:grpSpPr>
            <a:xfrm rot="10800000">
              <a:off x="8236185" y="4022016"/>
              <a:ext cx="1080001" cy="1080000"/>
              <a:chOff x="9196326" y="5008303"/>
              <a:chExt cx="1080001" cy="1080000"/>
            </a:xfrm>
            <a:grpFill/>
          </p:grpSpPr>
          <p:sp>
            <p:nvSpPr>
              <p:cNvPr id="102" name="Rectangle 32">
                <a:extLst>
                  <a:ext uri="{FF2B5EF4-FFF2-40B4-BE49-F238E27FC236}">
                    <a16:creationId xmlns:a16="http://schemas.microsoft.com/office/drawing/2014/main" id="{6F67470D-BA1B-FA47-8BFC-62D23E3C31CB}"/>
                  </a:ext>
                </a:extLst>
              </p:cNvPr>
              <p:cNvSpPr/>
              <p:nvPr/>
            </p:nvSpPr>
            <p:spPr>
              <a:xfrm rot="10800000">
                <a:off x="10156012" y="5043828"/>
                <a:ext cx="120315" cy="540376"/>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3" name="Block Arc 83">
                <a:extLst>
                  <a:ext uri="{FF2B5EF4-FFF2-40B4-BE49-F238E27FC236}">
                    <a16:creationId xmlns:a16="http://schemas.microsoft.com/office/drawing/2014/main" id="{CFA99D5E-83D8-904D-9FED-9D6C73D7D170}"/>
                  </a:ext>
                </a:extLst>
              </p:cNvPr>
              <p:cNvSpPr/>
              <p:nvPr/>
            </p:nvSpPr>
            <p:spPr>
              <a:xfrm rot="10800000">
                <a:off x="9196327" y="5008303"/>
                <a:ext cx="1080000" cy="1080000"/>
              </a:xfrm>
              <a:prstGeom prst="blockArc">
                <a:avLst>
                  <a:gd name="adj1" fmla="val 10795309"/>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04" name="Rectangle 32">
                <a:extLst>
                  <a:ext uri="{FF2B5EF4-FFF2-40B4-BE49-F238E27FC236}">
                    <a16:creationId xmlns:a16="http://schemas.microsoft.com/office/drawing/2014/main" id="{09B4F705-D532-8F46-A5F2-700396A3621A}"/>
                  </a:ext>
                </a:extLst>
              </p:cNvPr>
              <p:cNvSpPr/>
              <p:nvPr/>
            </p:nvSpPr>
            <p:spPr>
              <a:xfrm rot="10800000">
                <a:off x="9196326" y="5043827"/>
                <a:ext cx="120315" cy="50996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98" name="Block Arc 83">
              <a:extLst>
                <a:ext uri="{FF2B5EF4-FFF2-40B4-BE49-F238E27FC236}">
                  <a16:creationId xmlns:a16="http://schemas.microsoft.com/office/drawing/2014/main" id="{EA3A98A0-6FFB-1E48-BDAF-3EAEE13B7BB6}"/>
                </a:ext>
              </a:extLst>
            </p:cNvPr>
            <p:cNvSpPr/>
            <p:nvPr/>
          </p:nvSpPr>
          <p:spPr>
            <a:xfrm rot="5400000">
              <a:off x="7276738" y="4503827"/>
              <a:ext cx="1080000" cy="1080000"/>
            </a:xfrm>
            <a:prstGeom prst="blockArc">
              <a:avLst>
                <a:gd name="adj1" fmla="val 16247493"/>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99" name="Rectangle 32">
              <a:extLst>
                <a:ext uri="{FF2B5EF4-FFF2-40B4-BE49-F238E27FC236}">
                  <a16:creationId xmlns:a16="http://schemas.microsoft.com/office/drawing/2014/main" id="{67921299-A49C-CD41-8BB0-4D4AAA4865DD}"/>
                </a:ext>
              </a:extLst>
            </p:cNvPr>
            <p:cNvSpPr/>
            <p:nvPr/>
          </p:nvSpPr>
          <p:spPr>
            <a:xfrm rot="16200000">
              <a:off x="7270818" y="5028315"/>
              <a:ext cx="120315" cy="99070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0" name="Block Arc 83">
              <a:extLst>
                <a:ext uri="{FF2B5EF4-FFF2-40B4-BE49-F238E27FC236}">
                  <a16:creationId xmlns:a16="http://schemas.microsoft.com/office/drawing/2014/main" id="{B2351C3E-1349-8342-B52A-A115EB2981A5}"/>
                </a:ext>
              </a:extLst>
            </p:cNvPr>
            <p:cNvSpPr/>
            <p:nvPr/>
          </p:nvSpPr>
          <p:spPr>
            <a:xfrm rot="16200000" flipH="1">
              <a:off x="6319854" y="4503827"/>
              <a:ext cx="1080000" cy="1080000"/>
            </a:xfrm>
            <a:prstGeom prst="blockArc">
              <a:avLst>
                <a:gd name="adj1" fmla="val 16247493"/>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01" name="Rectangle 32">
              <a:extLst>
                <a:ext uri="{FF2B5EF4-FFF2-40B4-BE49-F238E27FC236}">
                  <a16:creationId xmlns:a16="http://schemas.microsoft.com/office/drawing/2014/main" id="{4A065A7D-5F81-6B4C-814D-849DDC1BC0E8}"/>
                </a:ext>
              </a:extLst>
            </p:cNvPr>
            <p:cNvSpPr/>
            <p:nvPr/>
          </p:nvSpPr>
          <p:spPr>
            <a:xfrm>
              <a:off x="6319854" y="4877064"/>
              <a:ext cx="120315" cy="187815"/>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08" name="그룹 52">
            <a:extLst>
              <a:ext uri="{FF2B5EF4-FFF2-40B4-BE49-F238E27FC236}">
                <a16:creationId xmlns:a16="http://schemas.microsoft.com/office/drawing/2014/main" id="{B44A8BA7-DE76-364F-A698-328655CA83DE}"/>
              </a:ext>
            </a:extLst>
          </p:cNvPr>
          <p:cNvGrpSpPr/>
          <p:nvPr/>
        </p:nvGrpSpPr>
        <p:grpSpPr>
          <a:xfrm flipH="1">
            <a:off x="1910652" y="3389719"/>
            <a:ext cx="3956473" cy="2066287"/>
            <a:chOff x="6319854" y="4022016"/>
            <a:chExt cx="3956473" cy="2066287"/>
          </a:xfrm>
          <a:solidFill>
            <a:schemeClr val="tx1"/>
          </a:solidFill>
        </p:grpSpPr>
        <p:grpSp>
          <p:nvGrpSpPr>
            <p:cNvPr id="109" name="그룹 53">
              <a:extLst>
                <a:ext uri="{FF2B5EF4-FFF2-40B4-BE49-F238E27FC236}">
                  <a16:creationId xmlns:a16="http://schemas.microsoft.com/office/drawing/2014/main" id="{C717F9AA-C290-BF42-AF46-B47D99370A8C}"/>
                </a:ext>
              </a:extLst>
            </p:cNvPr>
            <p:cNvGrpSpPr/>
            <p:nvPr/>
          </p:nvGrpSpPr>
          <p:grpSpPr>
            <a:xfrm>
              <a:off x="9196326" y="4360204"/>
              <a:ext cx="1080001" cy="1728099"/>
              <a:chOff x="9196326" y="4360204"/>
              <a:chExt cx="1080001" cy="1728099"/>
            </a:xfrm>
            <a:grpFill/>
          </p:grpSpPr>
          <p:sp>
            <p:nvSpPr>
              <p:cNvPr id="118" name="Rectangle 32">
                <a:extLst>
                  <a:ext uri="{FF2B5EF4-FFF2-40B4-BE49-F238E27FC236}">
                    <a16:creationId xmlns:a16="http://schemas.microsoft.com/office/drawing/2014/main" id="{BD2E27C3-87D0-8145-A6D9-5EFE1968AA0E}"/>
                  </a:ext>
                </a:extLst>
              </p:cNvPr>
              <p:cNvSpPr/>
              <p:nvPr/>
            </p:nvSpPr>
            <p:spPr>
              <a:xfrm rot="10800000">
                <a:off x="10156012" y="4360204"/>
                <a:ext cx="120315" cy="1224000"/>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9" name="Block Arc 83">
                <a:extLst>
                  <a:ext uri="{FF2B5EF4-FFF2-40B4-BE49-F238E27FC236}">
                    <a16:creationId xmlns:a16="http://schemas.microsoft.com/office/drawing/2014/main" id="{E2B69070-C3D1-FB42-977B-37620E4C2C02}"/>
                  </a:ext>
                </a:extLst>
              </p:cNvPr>
              <p:cNvSpPr/>
              <p:nvPr/>
            </p:nvSpPr>
            <p:spPr>
              <a:xfrm rot="10800000">
                <a:off x="9196327" y="5008303"/>
                <a:ext cx="1080000" cy="1080000"/>
              </a:xfrm>
              <a:prstGeom prst="blockArc">
                <a:avLst>
                  <a:gd name="adj1" fmla="val 10795309"/>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20" name="Rectangle 32">
                <a:extLst>
                  <a:ext uri="{FF2B5EF4-FFF2-40B4-BE49-F238E27FC236}">
                    <a16:creationId xmlns:a16="http://schemas.microsoft.com/office/drawing/2014/main" id="{DCB2394A-F451-4A40-B5DD-7A2F4A7CC6CD}"/>
                  </a:ext>
                </a:extLst>
              </p:cNvPr>
              <p:cNvSpPr/>
              <p:nvPr/>
            </p:nvSpPr>
            <p:spPr>
              <a:xfrm rot="10800000">
                <a:off x="9196326" y="5043827"/>
                <a:ext cx="120315" cy="50996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10" name="그룹 54">
              <a:extLst>
                <a:ext uri="{FF2B5EF4-FFF2-40B4-BE49-F238E27FC236}">
                  <a16:creationId xmlns:a16="http://schemas.microsoft.com/office/drawing/2014/main" id="{5B0792A8-DD4D-3442-9EDB-0DF4B427577E}"/>
                </a:ext>
              </a:extLst>
            </p:cNvPr>
            <p:cNvGrpSpPr/>
            <p:nvPr/>
          </p:nvGrpSpPr>
          <p:grpSpPr>
            <a:xfrm rot="10800000">
              <a:off x="8236185" y="4022016"/>
              <a:ext cx="1080001" cy="1080000"/>
              <a:chOff x="9196326" y="5008303"/>
              <a:chExt cx="1080001" cy="1080000"/>
            </a:xfrm>
            <a:grpFill/>
          </p:grpSpPr>
          <p:sp>
            <p:nvSpPr>
              <p:cNvPr id="115" name="Rectangle 32">
                <a:extLst>
                  <a:ext uri="{FF2B5EF4-FFF2-40B4-BE49-F238E27FC236}">
                    <a16:creationId xmlns:a16="http://schemas.microsoft.com/office/drawing/2014/main" id="{1753DF52-9B87-0544-8456-B0FC836DA39F}"/>
                  </a:ext>
                </a:extLst>
              </p:cNvPr>
              <p:cNvSpPr/>
              <p:nvPr/>
            </p:nvSpPr>
            <p:spPr>
              <a:xfrm rot="10800000">
                <a:off x="10156012" y="5043828"/>
                <a:ext cx="120315" cy="540376"/>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6" name="Block Arc 83">
                <a:extLst>
                  <a:ext uri="{FF2B5EF4-FFF2-40B4-BE49-F238E27FC236}">
                    <a16:creationId xmlns:a16="http://schemas.microsoft.com/office/drawing/2014/main" id="{B1EE0163-0426-5446-93D6-7623B3E4BDCB}"/>
                  </a:ext>
                </a:extLst>
              </p:cNvPr>
              <p:cNvSpPr/>
              <p:nvPr/>
            </p:nvSpPr>
            <p:spPr>
              <a:xfrm rot="10800000">
                <a:off x="9196327" y="5008303"/>
                <a:ext cx="1080000" cy="1080000"/>
              </a:xfrm>
              <a:prstGeom prst="blockArc">
                <a:avLst>
                  <a:gd name="adj1" fmla="val 10795309"/>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17" name="Rectangle 32">
                <a:extLst>
                  <a:ext uri="{FF2B5EF4-FFF2-40B4-BE49-F238E27FC236}">
                    <a16:creationId xmlns:a16="http://schemas.microsoft.com/office/drawing/2014/main" id="{65A3DD92-8CCC-F446-87AE-9ED993E1E558}"/>
                  </a:ext>
                </a:extLst>
              </p:cNvPr>
              <p:cNvSpPr/>
              <p:nvPr/>
            </p:nvSpPr>
            <p:spPr>
              <a:xfrm rot="10800000">
                <a:off x="9196326" y="5043827"/>
                <a:ext cx="120315" cy="50996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111" name="Block Arc 83">
              <a:extLst>
                <a:ext uri="{FF2B5EF4-FFF2-40B4-BE49-F238E27FC236}">
                  <a16:creationId xmlns:a16="http://schemas.microsoft.com/office/drawing/2014/main" id="{3D76B283-30AB-8E48-B019-AC1F10C9CF9E}"/>
                </a:ext>
              </a:extLst>
            </p:cNvPr>
            <p:cNvSpPr/>
            <p:nvPr/>
          </p:nvSpPr>
          <p:spPr>
            <a:xfrm rot="5400000">
              <a:off x="7276738" y="4503827"/>
              <a:ext cx="1080000" cy="1080000"/>
            </a:xfrm>
            <a:prstGeom prst="blockArc">
              <a:avLst>
                <a:gd name="adj1" fmla="val 16247493"/>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12" name="Rectangle 32">
              <a:extLst>
                <a:ext uri="{FF2B5EF4-FFF2-40B4-BE49-F238E27FC236}">
                  <a16:creationId xmlns:a16="http://schemas.microsoft.com/office/drawing/2014/main" id="{F3B059E2-5FFC-EB40-A2C5-B0C70BC55AD1}"/>
                </a:ext>
              </a:extLst>
            </p:cNvPr>
            <p:cNvSpPr/>
            <p:nvPr/>
          </p:nvSpPr>
          <p:spPr>
            <a:xfrm rot="16200000">
              <a:off x="7270818" y="5028315"/>
              <a:ext cx="120315" cy="990707"/>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3" name="Block Arc 83">
              <a:extLst>
                <a:ext uri="{FF2B5EF4-FFF2-40B4-BE49-F238E27FC236}">
                  <a16:creationId xmlns:a16="http://schemas.microsoft.com/office/drawing/2014/main" id="{4273422E-C632-5E41-B499-A638BA83D3AA}"/>
                </a:ext>
              </a:extLst>
            </p:cNvPr>
            <p:cNvSpPr/>
            <p:nvPr/>
          </p:nvSpPr>
          <p:spPr>
            <a:xfrm rot="16200000" flipH="1">
              <a:off x="6319854" y="4503827"/>
              <a:ext cx="1080000" cy="1080000"/>
            </a:xfrm>
            <a:prstGeom prst="blockArc">
              <a:avLst>
                <a:gd name="adj1" fmla="val 16247493"/>
                <a:gd name="adj2" fmla="val 21580245"/>
                <a:gd name="adj3" fmla="val 11055"/>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14" name="Rectangle 32">
              <a:extLst>
                <a:ext uri="{FF2B5EF4-FFF2-40B4-BE49-F238E27FC236}">
                  <a16:creationId xmlns:a16="http://schemas.microsoft.com/office/drawing/2014/main" id="{E7A366AD-F481-AA43-8564-4ED2AF19A645}"/>
                </a:ext>
              </a:extLst>
            </p:cNvPr>
            <p:cNvSpPr/>
            <p:nvPr/>
          </p:nvSpPr>
          <p:spPr>
            <a:xfrm>
              <a:off x="6319854" y="4877064"/>
              <a:ext cx="120315" cy="187815"/>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21" name="그룹 65">
            <a:extLst>
              <a:ext uri="{FF2B5EF4-FFF2-40B4-BE49-F238E27FC236}">
                <a16:creationId xmlns:a16="http://schemas.microsoft.com/office/drawing/2014/main" id="{747F9A01-40CC-F846-9345-4F1A9D72EAC1}"/>
              </a:ext>
            </a:extLst>
          </p:cNvPr>
          <p:cNvGrpSpPr/>
          <p:nvPr/>
        </p:nvGrpSpPr>
        <p:grpSpPr>
          <a:xfrm>
            <a:off x="1440114" y="2704069"/>
            <a:ext cx="1039477" cy="1039477"/>
            <a:chOff x="2460435" y="1380960"/>
            <a:chExt cx="914400" cy="914400"/>
          </a:xfrm>
          <a:solidFill>
            <a:schemeClr val="accent3"/>
          </a:solidFill>
        </p:grpSpPr>
        <p:sp>
          <p:nvSpPr>
            <p:cNvPr id="122" name="타원 66">
              <a:extLst>
                <a:ext uri="{FF2B5EF4-FFF2-40B4-BE49-F238E27FC236}">
                  <a16:creationId xmlns:a16="http://schemas.microsoft.com/office/drawing/2014/main" id="{F648440D-54A4-F14A-8EA7-FE22D457CCE6}"/>
                </a:ext>
              </a:extLst>
            </p:cNvPr>
            <p:cNvSpPr/>
            <p:nvPr/>
          </p:nvSpPr>
          <p:spPr>
            <a:xfrm>
              <a:off x="2460435" y="1380960"/>
              <a:ext cx="914400" cy="91440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3" name="타원 67">
              <a:extLst>
                <a:ext uri="{FF2B5EF4-FFF2-40B4-BE49-F238E27FC236}">
                  <a16:creationId xmlns:a16="http://schemas.microsoft.com/office/drawing/2014/main" id="{03ADAA5C-DEC7-2C46-9550-E7C1BDDA9146}"/>
                </a:ext>
              </a:extLst>
            </p:cNvPr>
            <p:cNvSpPr/>
            <p:nvPr/>
          </p:nvSpPr>
          <p:spPr>
            <a:xfrm>
              <a:off x="2528509" y="1449034"/>
              <a:ext cx="778251" cy="778251"/>
            </a:xfrm>
            <a:prstGeom prst="ellipse">
              <a:avLst/>
            </a:prstGeom>
            <a:solidFill>
              <a:schemeClr val="bg1"/>
            </a:solid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4" name="Block Arc 11">
              <a:extLst>
                <a:ext uri="{FF2B5EF4-FFF2-40B4-BE49-F238E27FC236}">
                  <a16:creationId xmlns:a16="http://schemas.microsoft.com/office/drawing/2014/main" id="{3AEEEC51-0B2A-3B4C-87B9-9AC9BEE6ED0E}"/>
                </a:ext>
              </a:extLst>
            </p:cNvPr>
            <p:cNvSpPr/>
            <p:nvPr/>
          </p:nvSpPr>
          <p:spPr>
            <a:xfrm>
              <a:off x="2761961" y="1573266"/>
              <a:ext cx="311347" cy="506602"/>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Tree>
    <p:extLst>
      <p:ext uri="{BB962C8B-B14F-4D97-AF65-F5344CB8AC3E}">
        <p14:creationId xmlns:p14="http://schemas.microsoft.com/office/powerpoint/2010/main" val="27929888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67A263-C036-BB41-B406-1994B618D030}"/>
              </a:ext>
            </a:extLst>
          </p:cNvPr>
          <p:cNvSpPr>
            <a:spLocks noGrp="1"/>
          </p:cNvSpPr>
          <p:nvPr>
            <p:ph type="sldNum" sz="quarter" idx="4"/>
          </p:nvPr>
        </p:nvSpPr>
        <p:spPr/>
        <p:txBody>
          <a:bodyPr/>
          <a:lstStyle/>
          <a:p>
            <a:fld id="{3D966009-6E5A-4F8C-8CA7-E37AFBF5FB92}" type="slidenum">
              <a:rPr lang="en-US" smtClean="0"/>
              <a:t>98</a:t>
            </a:fld>
            <a:endParaRPr lang="en-US"/>
          </a:p>
        </p:txBody>
      </p:sp>
      <p:sp>
        <p:nvSpPr>
          <p:cNvPr id="3" name="Title 2">
            <a:extLst>
              <a:ext uri="{FF2B5EF4-FFF2-40B4-BE49-F238E27FC236}">
                <a16:creationId xmlns:a16="http://schemas.microsoft.com/office/drawing/2014/main" id="{A5397F7F-E132-BE4C-B2B8-8A3B2C37F9BF}"/>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2EB44A6D-BA0A-494C-8CDB-B189395CECE2}"/>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30940E9C-DD2E-1F44-B702-7D3350833ADD}"/>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CFFCF07E-BC3C-4A45-ACE5-F86702CA1C57}"/>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66191B6C-8A51-DC48-ABFF-D1F75A44B20B}"/>
              </a:ext>
            </a:extLst>
          </p:cNvPr>
          <p:cNvSpPr>
            <a:spLocks noGrp="1"/>
          </p:cNvSpPr>
          <p:nvPr>
            <p:ph sz="quarter" idx="14"/>
          </p:nvPr>
        </p:nvSpPr>
        <p:spPr/>
        <p:txBody>
          <a:bodyPr/>
          <a:lstStyle/>
          <a:p>
            <a:endParaRPr lang="en-GB"/>
          </a:p>
        </p:txBody>
      </p:sp>
      <p:sp>
        <p:nvSpPr>
          <p:cNvPr id="9" name="Rounded Rectangle 3">
            <a:extLst>
              <a:ext uri="{FF2B5EF4-FFF2-40B4-BE49-F238E27FC236}">
                <a16:creationId xmlns:a16="http://schemas.microsoft.com/office/drawing/2014/main" id="{B3D4A7EB-B417-A54F-8A65-BFB9D8A9ADF4}"/>
              </a:ext>
            </a:extLst>
          </p:cNvPr>
          <p:cNvSpPr/>
          <p:nvPr/>
        </p:nvSpPr>
        <p:spPr>
          <a:xfrm flipH="1">
            <a:off x="579549"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0" name="Rounded Rectangle 8">
            <a:extLst>
              <a:ext uri="{FF2B5EF4-FFF2-40B4-BE49-F238E27FC236}">
                <a16:creationId xmlns:a16="http://schemas.microsoft.com/office/drawing/2014/main" id="{270B1620-D591-6842-8EEC-4290D84FC9F6}"/>
              </a:ext>
            </a:extLst>
          </p:cNvPr>
          <p:cNvSpPr/>
          <p:nvPr/>
        </p:nvSpPr>
        <p:spPr>
          <a:xfrm flipH="1">
            <a:off x="579548"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 name="Rounded Rectangle 6">
            <a:extLst>
              <a:ext uri="{FF2B5EF4-FFF2-40B4-BE49-F238E27FC236}">
                <a16:creationId xmlns:a16="http://schemas.microsoft.com/office/drawing/2014/main" id="{6BE2710A-8335-0746-8D40-1655B25C3598}"/>
              </a:ext>
            </a:extLst>
          </p:cNvPr>
          <p:cNvSpPr/>
          <p:nvPr/>
        </p:nvSpPr>
        <p:spPr>
          <a:xfrm flipH="1">
            <a:off x="5040047"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2" name="Rounded Rectangle 8">
            <a:extLst>
              <a:ext uri="{FF2B5EF4-FFF2-40B4-BE49-F238E27FC236}">
                <a16:creationId xmlns:a16="http://schemas.microsoft.com/office/drawing/2014/main" id="{04A49980-2C48-AA42-96E7-FFEA8FC83482}"/>
              </a:ext>
            </a:extLst>
          </p:cNvPr>
          <p:cNvSpPr/>
          <p:nvPr/>
        </p:nvSpPr>
        <p:spPr>
          <a:xfrm flipH="1">
            <a:off x="5040046"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3" name="Rounded Rectangle 9">
            <a:extLst>
              <a:ext uri="{FF2B5EF4-FFF2-40B4-BE49-F238E27FC236}">
                <a16:creationId xmlns:a16="http://schemas.microsoft.com/office/drawing/2014/main" id="{B9509735-1518-364C-A3A7-2F1EA8932FBA}"/>
              </a:ext>
            </a:extLst>
          </p:cNvPr>
          <p:cNvSpPr/>
          <p:nvPr/>
        </p:nvSpPr>
        <p:spPr>
          <a:xfrm flipH="1">
            <a:off x="3553214"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4" name="Rounded Rectangle 8">
            <a:extLst>
              <a:ext uri="{FF2B5EF4-FFF2-40B4-BE49-F238E27FC236}">
                <a16:creationId xmlns:a16="http://schemas.microsoft.com/office/drawing/2014/main" id="{3A283CFC-309E-F74C-97C8-2A7AE709B0F1}"/>
              </a:ext>
            </a:extLst>
          </p:cNvPr>
          <p:cNvSpPr/>
          <p:nvPr/>
        </p:nvSpPr>
        <p:spPr>
          <a:xfrm flipH="1">
            <a:off x="3553213"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5" name="Rounded Rectangle 12">
            <a:extLst>
              <a:ext uri="{FF2B5EF4-FFF2-40B4-BE49-F238E27FC236}">
                <a16:creationId xmlns:a16="http://schemas.microsoft.com/office/drawing/2014/main" id="{7994647A-45AF-DA42-8991-2D70C078D5BF}"/>
              </a:ext>
            </a:extLst>
          </p:cNvPr>
          <p:cNvSpPr/>
          <p:nvPr/>
        </p:nvSpPr>
        <p:spPr>
          <a:xfrm flipH="1">
            <a:off x="8013711"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 name="Rounded Rectangle 8">
            <a:extLst>
              <a:ext uri="{FF2B5EF4-FFF2-40B4-BE49-F238E27FC236}">
                <a16:creationId xmlns:a16="http://schemas.microsoft.com/office/drawing/2014/main" id="{3F28FDE0-3026-0545-AB6D-CA97F22CA9CE}"/>
              </a:ext>
            </a:extLst>
          </p:cNvPr>
          <p:cNvSpPr/>
          <p:nvPr/>
        </p:nvSpPr>
        <p:spPr>
          <a:xfrm flipH="1">
            <a:off x="8013710"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7" name="TextBox 16">
            <a:extLst>
              <a:ext uri="{FF2B5EF4-FFF2-40B4-BE49-F238E27FC236}">
                <a16:creationId xmlns:a16="http://schemas.microsoft.com/office/drawing/2014/main" id="{0B4E5236-1E12-3848-9241-0C186C30A2C0}"/>
              </a:ext>
            </a:extLst>
          </p:cNvPr>
          <p:cNvSpPr txBox="1"/>
          <p:nvPr/>
        </p:nvSpPr>
        <p:spPr>
          <a:xfrm>
            <a:off x="683719" y="4440060"/>
            <a:ext cx="1120376" cy="775987"/>
          </a:xfrm>
          <a:prstGeom prst="rect">
            <a:avLst/>
          </a:prstGeom>
          <a:noFill/>
        </p:spPr>
        <p:txBody>
          <a:bodyPr wrap="square" rtlCol="0">
            <a:spAutoFit/>
          </a:bodyPr>
          <a:lstStyle/>
          <a:p>
            <a:pPr algn="ctr"/>
            <a:r>
              <a:rPr lang="en-US" altLang="ko-KR" sz="1200" dirty="0">
                <a:solidFill>
                  <a:schemeClr val="tx1">
                    <a:lumMod val="75000"/>
                    <a:lumOff val="25000"/>
                  </a:schemeClr>
                </a:solidFill>
                <a:cs typeface="Arial" pitchFamily="34" charset="0"/>
              </a:rPr>
              <a:t>Get a modern PowerPoint  Presentation that is beautifully designed.</a:t>
            </a:r>
            <a:endParaRPr lang="en-US" altLang="ko-KR" sz="1200" dirty="0">
              <a:solidFill>
                <a:schemeClr val="tx1">
                  <a:lumMod val="65000"/>
                  <a:lumOff val="35000"/>
                </a:schemeClr>
              </a:solidFill>
              <a:cs typeface="Arial" pitchFamily="34" charset="0"/>
            </a:endParaRPr>
          </a:p>
        </p:txBody>
      </p:sp>
      <p:sp>
        <p:nvSpPr>
          <p:cNvPr id="18" name="TextBox 17">
            <a:extLst>
              <a:ext uri="{FF2B5EF4-FFF2-40B4-BE49-F238E27FC236}">
                <a16:creationId xmlns:a16="http://schemas.microsoft.com/office/drawing/2014/main" id="{15FB6C15-157E-2547-8B42-20027EC66960}"/>
              </a:ext>
            </a:extLst>
          </p:cNvPr>
          <p:cNvSpPr txBox="1"/>
          <p:nvPr/>
        </p:nvSpPr>
        <p:spPr>
          <a:xfrm>
            <a:off x="5144217" y="4440060"/>
            <a:ext cx="1120376" cy="775987"/>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en-US" altLang="ko-KR" sz="1200">
              <a:solidFill>
                <a:schemeClr val="tx1">
                  <a:lumMod val="65000"/>
                  <a:lumOff val="35000"/>
                </a:schemeClr>
              </a:solidFill>
              <a:cs typeface="Arial" pitchFamily="34" charset="0"/>
            </a:endParaRPr>
          </a:p>
        </p:txBody>
      </p:sp>
      <p:sp>
        <p:nvSpPr>
          <p:cNvPr id="19" name="TextBox 18">
            <a:extLst>
              <a:ext uri="{FF2B5EF4-FFF2-40B4-BE49-F238E27FC236}">
                <a16:creationId xmlns:a16="http://schemas.microsoft.com/office/drawing/2014/main" id="{B6B1CB42-6BB8-5045-BC73-0F539FB7164A}"/>
              </a:ext>
            </a:extLst>
          </p:cNvPr>
          <p:cNvSpPr txBox="1"/>
          <p:nvPr/>
        </p:nvSpPr>
        <p:spPr>
          <a:xfrm>
            <a:off x="3657384" y="4440060"/>
            <a:ext cx="1120376" cy="775987"/>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en-US" altLang="ko-KR" sz="1200">
              <a:solidFill>
                <a:schemeClr val="tx1">
                  <a:lumMod val="65000"/>
                  <a:lumOff val="35000"/>
                </a:schemeClr>
              </a:solidFill>
              <a:cs typeface="Arial" pitchFamily="34" charset="0"/>
            </a:endParaRPr>
          </a:p>
        </p:txBody>
      </p:sp>
      <p:sp>
        <p:nvSpPr>
          <p:cNvPr id="20" name="TextBox 19">
            <a:extLst>
              <a:ext uri="{FF2B5EF4-FFF2-40B4-BE49-F238E27FC236}">
                <a16:creationId xmlns:a16="http://schemas.microsoft.com/office/drawing/2014/main" id="{6C9094DB-748B-D746-A479-1DCD08DA7D96}"/>
              </a:ext>
            </a:extLst>
          </p:cNvPr>
          <p:cNvSpPr txBox="1"/>
          <p:nvPr/>
        </p:nvSpPr>
        <p:spPr>
          <a:xfrm>
            <a:off x="8117880" y="4440060"/>
            <a:ext cx="1120376" cy="775987"/>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en-US" altLang="ko-KR" sz="1200">
              <a:solidFill>
                <a:schemeClr val="tx1">
                  <a:lumMod val="65000"/>
                  <a:lumOff val="35000"/>
                </a:schemeClr>
              </a:solidFill>
              <a:cs typeface="Arial" pitchFamily="34" charset="0"/>
            </a:endParaRPr>
          </a:p>
        </p:txBody>
      </p:sp>
      <p:sp>
        <p:nvSpPr>
          <p:cNvPr id="21" name="Rounded Rectangle 33">
            <a:extLst>
              <a:ext uri="{FF2B5EF4-FFF2-40B4-BE49-F238E27FC236}">
                <a16:creationId xmlns:a16="http://schemas.microsoft.com/office/drawing/2014/main" id="{9F5C82B7-448A-C242-A131-B05EF3A5A8FC}"/>
              </a:ext>
            </a:extLst>
          </p:cNvPr>
          <p:cNvSpPr/>
          <p:nvPr/>
        </p:nvSpPr>
        <p:spPr>
          <a:xfrm flipH="1">
            <a:off x="2066381"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2" name="Rounded Rectangle 8">
            <a:extLst>
              <a:ext uri="{FF2B5EF4-FFF2-40B4-BE49-F238E27FC236}">
                <a16:creationId xmlns:a16="http://schemas.microsoft.com/office/drawing/2014/main" id="{55A538B4-3862-F743-BF4D-FFF1DEDA13AA}"/>
              </a:ext>
            </a:extLst>
          </p:cNvPr>
          <p:cNvSpPr/>
          <p:nvPr/>
        </p:nvSpPr>
        <p:spPr>
          <a:xfrm flipH="1">
            <a:off x="2066381"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 name="TextBox 22">
            <a:extLst>
              <a:ext uri="{FF2B5EF4-FFF2-40B4-BE49-F238E27FC236}">
                <a16:creationId xmlns:a16="http://schemas.microsoft.com/office/drawing/2014/main" id="{3788D30C-5198-D743-A2CE-D91C94B7389B}"/>
              </a:ext>
            </a:extLst>
          </p:cNvPr>
          <p:cNvSpPr txBox="1"/>
          <p:nvPr/>
        </p:nvSpPr>
        <p:spPr>
          <a:xfrm>
            <a:off x="2170552" y="4440060"/>
            <a:ext cx="1120376" cy="775987"/>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en-US" altLang="ko-KR" sz="1200">
              <a:solidFill>
                <a:schemeClr val="tx1">
                  <a:lumMod val="65000"/>
                  <a:lumOff val="35000"/>
                </a:schemeClr>
              </a:solidFill>
              <a:cs typeface="Arial" pitchFamily="34" charset="0"/>
            </a:endParaRPr>
          </a:p>
        </p:txBody>
      </p:sp>
      <p:grpSp>
        <p:nvGrpSpPr>
          <p:cNvPr id="24" name="그룹 2">
            <a:extLst>
              <a:ext uri="{FF2B5EF4-FFF2-40B4-BE49-F238E27FC236}">
                <a16:creationId xmlns:a16="http://schemas.microsoft.com/office/drawing/2014/main" id="{CFDC8836-B684-C84F-A248-C18E98A0D29F}"/>
              </a:ext>
            </a:extLst>
          </p:cNvPr>
          <p:cNvGrpSpPr/>
          <p:nvPr/>
        </p:nvGrpSpPr>
        <p:grpSpPr>
          <a:xfrm>
            <a:off x="583418" y="2077371"/>
            <a:ext cx="8790591" cy="1680989"/>
            <a:chOff x="1287363" y="1734398"/>
            <a:chExt cx="9237350" cy="1966965"/>
          </a:xfrm>
        </p:grpSpPr>
        <p:sp>
          <p:nvSpPr>
            <p:cNvPr id="26" name="Oval 21">
              <a:extLst>
                <a:ext uri="{FF2B5EF4-FFF2-40B4-BE49-F238E27FC236}">
                  <a16:creationId xmlns:a16="http://schemas.microsoft.com/office/drawing/2014/main" id="{1ED25334-642D-E34B-9FA6-9EFEDEE4E914}"/>
                </a:ext>
              </a:extLst>
            </p:cNvPr>
            <p:cNvSpPr/>
            <p:nvPr/>
          </p:nvSpPr>
          <p:spPr>
            <a:xfrm rot="10800000">
              <a:off x="9095281" y="1749237"/>
              <a:ext cx="1429432" cy="1952126"/>
            </a:xfrm>
            <a:custGeom>
              <a:avLst/>
              <a:gdLst>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427338 w 1449013"/>
                <a:gd name="connsiteY16" fmla="*/ 719630 h 1952472"/>
                <a:gd name="connsiteX17" fmla="*/ 141381 w 1449013"/>
                <a:gd name="connsiteY17" fmla="*/ 433666 h 1952472"/>
                <a:gd name="connsiteX18" fmla="*/ 0 w 1449013"/>
                <a:gd name="connsiteY18" fmla="*/ 471352 h 1952472"/>
                <a:gd name="connsiteX19" fmla="*/ 0 w 1449013"/>
                <a:gd name="connsiteY19" fmla="*/ 0 h 1952472"/>
                <a:gd name="connsiteX20" fmla="*/ 1449013 w 1449013"/>
                <a:gd name="connsiteY20"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141381 w 1449013"/>
                <a:gd name="connsiteY16" fmla="*/ 433666 h 1952472"/>
                <a:gd name="connsiteX17" fmla="*/ 0 w 1449013"/>
                <a:gd name="connsiteY17" fmla="*/ 471352 h 1952472"/>
                <a:gd name="connsiteX18" fmla="*/ 0 w 1449013"/>
                <a:gd name="connsiteY18" fmla="*/ 0 h 1952472"/>
                <a:gd name="connsiteX19" fmla="*/ 1449013 w 1449013"/>
                <a:gd name="connsiteY19"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471352 h 1952472"/>
                <a:gd name="connsiteX17" fmla="*/ 0 w 1449013"/>
                <a:gd name="connsiteY17" fmla="*/ 0 h 1952472"/>
                <a:gd name="connsiteX18" fmla="*/ 1449013 w 1449013"/>
                <a:gd name="connsiteY18"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0 h 1952472"/>
                <a:gd name="connsiteX17" fmla="*/ 1449013 w 1449013"/>
                <a:gd name="connsiteY17"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0 h 1952472"/>
                <a:gd name="connsiteX16" fmla="*/ 1449013 w 1449013"/>
                <a:gd name="connsiteY16" fmla="*/ 0 h 195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0"/>
                  </a:lnTo>
                  <a:lnTo>
                    <a:pt x="1449013" y="0"/>
                  </a:lnTo>
                  <a:close/>
                </a:path>
              </a:pathLst>
            </a:custGeom>
            <a:solidFill>
              <a:schemeClr val="accent1"/>
            </a:soli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8" name="Oval 21">
              <a:extLst>
                <a:ext uri="{FF2B5EF4-FFF2-40B4-BE49-F238E27FC236}">
                  <a16:creationId xmlns:a16="http://schemas.microsoft.com/office/drawing/2014/main" id="{78910918-055B-DC49-A925-75E825B3009F}"/>
                </a:ext>
              </a:extLst>
            </p:cNvPr>
            <p:cNvSpPr/>
            <p:nvPr/>
          </p:nvSpPr>
          <p:spPr>
            <a:xfrm rot="16200000">
              <a:off x="1526029" y="2004312"/>
              <a:ext cx="1448756" cy="1926087"/>
            </a:xfrm>
            <a:custGeom>
              <a:avLst/>
              <a:gdLst/>
              <a:ahLst/>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967906"/>
                  </a:lnTo>
                  <a:cubicBezTo>
                    <a:pt x="41554" y="991976"/>
                    <a:pt x="89878" y="1005593"/>
                    <a:pt x="141381" y="1005593"/>
                  </a:cubicBezTo>
                  <a:cubicBezTo>
                    <a:pt x="299311" y="1005593"/>
                    <a:pt x="427338" y="877563"/>
                    <a:pt x="427338" y="719630"/>
                  </a:cubicBezTo>
                  <a:cubicBezTo>
                    <a:pt x="427338" y="561696"/>
                    <a:pt x="299311" y="433666"/>
                    <a:pt x="141381" y="433666"/>
                  </a:cubicBezTo>
                  <a:cubicBezTo>
                    <a:pt x="89878" y="433666"/>
                    <a:pt x="41554" y="447283"/>
                    <a:pt x="0" y="471352"/>
                  </a:cubicBezTo>
                  <a:lnTo>
                    <a:pt x="0" y="0"/>
                  </a:lnTo>
                  <a:close/>
                </a:path>
              </a:pathLst>
            </a:custGeom>
            <a:solidFill>
              <a:schemeClr val="accent6"/>
            </a:soli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29" name="Oval 21">
              <a:extLst>
                <a:ext uri="{FF2B5EF4-FFF2-40B4-BE49-F238E27FC236}">
                  <a16:creationId xmlns:a16="http://schemas.microsoft.com/office/drawing/2014/main" id="{10868902-6BDC-8742-B678-4F5017F8CF14}"/>
                </a:ext>
              </a:extLst>
            </p:cNvPr>
            <p:cNvSpPr/>
            <p:nvPr/>
          </p:nvSpPr>
          <p:spPr>
            <a:xfrm rot="10800000">
              <a:off x="2858124" y="1734398"/>
              <a:ext cx="1429432" cy="1952126"/>
            </a:xfrm>
            <a:custGeom>
              <a:avLst/>
              <a:gdLst/>
              <a:ahLst/>
              <a:cxnLst/>
              <a:rect l="l" t="t" r="r" b="b"/>
              <a:pathLst>
                <a:path w="1449013" h="1952472">
                  <a:moveTo>
                    <a:pt x="1449013" y="0"/>
                  </a:moveTo>
                  <a:lnTo>
                    <a:pt x="1449013" y="466741"/>
                  </a:lnTo>
                  <a:cubicBezTo>
                    <a:pt x="1410107" y="445266"/>
                    <a:pt x="1365278" y="433666"/>
                    <a:pt x="1317741" y="433666"/>
                  </a:cubicBezTo>
                  <a:cubicBezTo>
                    <a:pt x="1159811" y="433666"/>
                    <a:pt x="1031784" y="561696"/>
                    <a:pt x="1031784" y="719630"/>
                  </a:cubicBezTo>
                  <a:cubicBezTo>
                    <a:pt x="1031784" y="877563"/>
                    <a:pt x="1159811" y="1005593"/>
                    <a:pt x="1317741" y="1005593"/>
                  </a:cubicBezTo>
                  <a:cubicBezTo>
                    <a:pt x="1365278" y="1005593"/>
                    <a:pt x="1410107" y="993993"/>
                    <a:pt x="1449013" y="972519"/>
                  </a:cubicBez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967906"/>
                  </a:lnTo>
                  <a:cubicBezTo>
                    <a:pt x="41554" y="991976"/>
                    <a:pt x="89878" y="1005593"/>
                    <a:pt x="141381" y="1005593"/>
                  </a:cubicBezTo>
                  <a:cubicBezTo>
                    <a:pt x="299311" y="1005593"/>
                    <a:pt x="427338" y="877563"/>
                    <a:pt x="427338" y="719630"/>
                  </a:cubicBezTo>
                  <a:cubicBezTo>
                    <a:pt x="427338" y="561696"/>
                    <a:pt x="299311" y="433666"/>
                    <a:pt x="141381" y="433666"/>
                  </a:cubicBezTo>
                  <a:cubicBezTo>
                    <a:pt x="89878" y="433666"/>
                    <a:pt x="41554" y="447283"/>
                    <a:pt x="0" y="471352"/>
                  </a:cubicBezTo>
                  <a:lnTo>
                    <a:pt x="0" y="0"/>
                  </a:lnTo>
                  <a:close/>
                </a:path>
              </a:pathLst>
            </a:custGeom>
            <a:solidFill>
              <a:schemeClr val="accent1"/>
            </a:soli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31" name="TextBox 30">
              <a:extLst>
                <a:ext uri="{FF2B5EF4-FFF2-40B4-BE49-F238E27FC236}">
                  <a16:creationId xmlns:a16="http://schemas.microsoft.com/office/drawing/2014/main" id="{2E1278D7-518C-8848-95D6-E55BC2A8BD05}"/>
                </a:ext>
              </a:extLst>
            </p:cNvPr>
            <p:cNvSpPr txBox="1"/>
            <p:nvPr/>
          </p:nvSpPr>
          <p:spPr>
            <a:xfrm>
              <a:off x="1331323" y="2807707"/>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sp>
          <p:nvSpPr>
            <p:cNvPr id="32" name="TextBox 31">
              <a:extLst>
                <a:ext uri="{FF2B5EF4-FFF2-40B4-BE49-F238E27FC236}">
                  <a16:creationId xmlns:a16="http://schemas.microsoft.com/office/drawing/2014/main" id="{BD6D81B3-7D36-B442-AF16-1B3F2C4F9941}"/>
                </a:ext>
              </a:extLst>
            </p:cNvPr>
            <p:cNvSpPr txBox="1"/>
            <p:nvPr/>
          </p:nvSpPr>
          <p:spPr>
            <a:xfrm>
              <a:off x="2896441" y="3320012"/>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sp>
          <p:nvSpPr>
            <p:cNvPr id="33" name="TextBox 32">
              <a:extLst>
                <a:ext uri="{FF2B5EF4-FFF2-40B4-BE49-F238E27FC236}">
                  <a16:creationId xmlns:a16="http://schemas.microsoft.com/office/drawing/2014/main" id="{4C35A93C-BAFF-D841-829E-A511DCDA5149}"/>
                </a:ext>
              </a:extLst>
            </p:cNvPr>
            <p:cNvSpPr txBox="1"/>
            <p:nvPr/>
          </p:nvSpPr>
          <p:spPr>
            <a:xfrm>
              <a:off x="4461559" y="2807707"/>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sp>
          <p:nvSpPr>
            <p:cNvPr id="34" name="TextBox 33">
              <a:extLst>
                <a:ext uri="{FF2B5EF4-FFF2-40B4-BE49-F238E27FC236}">
                  <a16:creationId xmlns:a16="http://schemas.microsoft.com/office/drawing/2014/main" id="{B6A58DA1-94C4-D74B-9A9E-BA45CF9050EB}"/>
                </a:ext>
              </a:extLst>
            </p:cNvPr>
            <p:cNvSpPr txBox="1"/>
            <p:nvPr/>
          </p:nvSpPr>
          <p:spPr>
            <a:xfrm>
              <a:off x="7570001" y="2798077"/>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sp>
          <p:nvSpPr>
            <p:cNvPr id="35" name="TextBox 34">
              <a:extLst>
                <a:ext uri="{FF2B5EF4-FFF2-40B4-BE49-F238E27FC236}">
                  <a16:creationId xmlns:a16="http://schemas.microsoft.com/office/drawing/2014/main" id="{2D421599-EC57-EF4A-8CAA-0311FA145E8A}"/>
                </a:ext>
              </a:extLst>
            </p:cNvPr>
            <p:cNvSpPr txBox="1"/>
            <p:nvPr/>
          </p:nvSpPr>
          <p:spPr>
            <a:xfrm>
              <a:off x="6024812" y="3320012"/>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sp>
          <p:nvSpPr>
            <p:cNvPr id="36" name="TextBox 35">
              <a:extLst>
                <a:ext uri="{FF2B5EF4-FFF2-40B4-BE49-F238E27FC236}">
                  <a16:creationId xmlns:a16="http://schemas.microsoft.com/office/drawing/2014/main" id="{02422FE2-9CA4-C542-9E01-417B6492AE70}"/>
                </a:ext>
              </a:extLst>
            </p:cNvPr>
            <p:cNvSpPr txBox="1"/>
            <p:nvPr/>
          </p:nvSpPr>
          <p:spPr>
            <a:xfrm>
              <a:off x="9153183" y="3320012"/>
              <a:ext cx="1345760" cy="302667"/>
            </a:xfrm>
            <a:prstGeom prst="rect">
              <a:avLst/>
            </a:prstGeom>
            <a:noFill/>
          </p:spPr>
          <p:txBody>
            <a:bodyPr wrap="square" rtlCol="0">
              <a:spAutoFit/>
            </a:bodyPr>
            <a:lstStyle/>
            <a:p>
              <a:pPr algn="ctr"/>
              <a:r>
                <a:rPr lang="en-US" altLang="ko-KR" sz="1600" b="1">
                  <a:solidFill>
                    <a:schemeClr val="bg1"/>
                  </a:solidFill>
                  <a:cs typeface="Arial" pitchFamily="34" charset="0"/>
                </a:rPr>
                <a:t>Text  Here</a:t>
              </a:r>
              <a:endParaRPr lang="ko-KR" altLang="en-US" sz="1600" b="1">
                <a:solidFill>
                  <a:schemeClr val="bg1"/>
                </a:solidFill>
                <a:cs typeface="Arial" pitchFamily="34" charset="0"/>
              </a:endParaRPr>
            </a:p>
          </p:txBody>
        </p:sp>
      </p:grpSp>
      <p:sp>
        <p:nvSpPr>
          <p:cNvPr id="37" name="Rounded Rectangle 12">
            <a:extLst>
              <a:ext uri="{FF2B5EF4-FFF2-40B4-BE49-F238E27FC236}">
                <a16:creationId xmlns:a16="http://schemas.microsoft.com/office/drawing/2014/main" id="{4C2BDB96-EF68-604B-9CAA-FDC4E61067A7}"/>
              </a:ext>
            </a:extLst>
          </p:cNvPr>
          <p:cNvSpPr/>
          <p:nvPr/>
        </p:nvSpPr>
        <p:spPr>
          <a:xfrm flipH="1">
            <a:off x="6526879" y="3894475"/>
            <a:ext cx="1359854" cy="1457750"/>
          </a:xfrm>
          <a:prstGeom prst="roundRect">
            <a:avLst>
              <a:gd name="adj" fmla="val 608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8" name="Rounded Rectangle 8">
            <a:extLst>
              <a:ext uri="{FF2B5EF4-FFF2-40B4-BE49-F238E27FC236}">
                <a16:creationId xmlns:a16="http://schemas.microsoft.com/office/drawing/2014/main" id="{BF093033-4F3D-7F46-8D7C-BB5FAF185D1A}"/>
              </a:ext>
            </a:extLst>
          </p:cNvPr>
          <p:cNvSpPr/>
          <p:nvPr/>
        </p:nvSpPr>
        <p:spPr>
          <a:xfrm flipH="1">
            <a:off x="6526878" y="3836027"/>
            <a:ext cx="1359854" cy="467580"/>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9" name="TextBox 38">
            <a:extLst>
              <a:ext uri="{FF2B5EF4-FFF2-40B4-BE49-F238E27FC236}">
                <a16:creationId xmlns:a16="http://schemas.microsoft.com/office/drawing/2014/main" id="{E1772226-42D9-8949-B78E-6340098FC55B}"/>
              </a:ext>
            </a:extLst>
          </p:cNvPr>
          <p:cNvSpPr txBox="1"/>
          <p:nvPr/>
        </p:nvSpPr>
        <p:spPr>
          <a:xfrm>
            <a:off x="6631049" y="4440060"/>
            <a:ext cx="1120376" cy="775987"/>
          </a:xfrm>
          <a:prstGeom prst="rect">
            <a:avLst/>
          </a:prstGeom>
          <a:noFill/>
        </p:spPr>
        <p:txBody>
          <a:bodyPr wrap="square" rtlCol="0">
            <a:spAutoFit/>
          </a:bodyPr>
          <a:lstStyle/>
          <a:p>
            <a:pPr algn="ctr"/>
            <a:r>
              <a:rPr lang="en-US" altLang="ko-KR" sz="1200">
                <a:solidFill>
                  <a:schemeClr val="tx1">
                    <a:lumMod val="75000"/>
                    <a:lumOff val="25000"/>
                  </a:schemeClr>
                </a:solidFill>
                <a:cs typeface="Arial" pitchFamily="34" charset="0"/>
              </a:rPr>
              <a:t>Get a modern PowerPoint  Presentation that is beautifully designed.</a:t>
            </a:r>
            <a:endParaRPr lang="en-US" altLang="ko-KR" sz="1200">
              <a:solidFill>
                <a:schemeClr val="tx1">
                  <a:lumMod val="65000"/>
                  <a:lumOff val="35000"/>
                </a:schemeClr>
              </a:solidFill>
              <a:cs typeface="Arial" pitchFamily="34" charset="0"/>
            </a:endParaRPr>
          </a:p>
        </p:txBody>
      </p:sp>
      <p:sp>
        <p:nvSpPr>
          <p:cNvPr id="40" name="Rounded Rectangle 32">
            <a:extLst>
              <a:ext uri="{FF2B5EF4-FFF2-40B4-BE49-F238E27FC236}">
                <a16:creationId xmlns:a16="http://schemas.microsoft.com/office/drawing/2014/main" id="{44A608CB-4C4F-0049-B3CE-ABAEE111E171}"/>
              </a:ext>
            </a:extLst>
          </p:cNvPr>
          <p:cNvSpPr/>
          <p:nvPr/>
        </p:nvSpPr>
        <p:spPr>
          <a:xfrm>
            <a:off x="1101897" y="3947713"/>
            <a:ext cx="274487" cy="246501"/>
          </a:xfrm>
          <a:custGeom>
            <a:avLst/>
            <a:gdLst/>
            <a:ahLst/>
            <a:cxnLst/>
            <a:rect l="l" t="t" r="r" b="b"/>
            <a:pathLst>
              <a:path w="3240000" h="3240000">
                <a:moveTo>
                  <a:pt x="2019696" y="2510955"/>
                </a:moveTo>
                <a:lnTo>
                  <a:pt x="2019696" y="2797359"/>
                </a:lnTo>
                <a:lnTo>
                  <a:pt x="2914589" y="2797359"/>
                </a:lnTo>
                <a:lnTo>
                  <a:pt x="2914589" y="2510955"/>
                </a:lnTo>
                <a:close/>
                <a:moveTo>
                  <a:pt x="2019696" y="2081348"/>
                </a:moveTo>
                <a:lnTo>
                  <a:pt x="2019696" y="2367752"/>
                </a:lnTo>
                <a:lnTo>
                  <a:pt x="2914589" y="2367752"/>
                </a:lnTo>
                <a:lnTo>
                  <a:pt x="2914589" y="2081348"/>
                </a:lnTo>
                <a:close/>
                <a:moveTo>
                  <a:pt x="580710" y="2021703"/>
                </a:moveTo>
                <a:lnTo>
                  <a:pt x="378191" y="2224222"/>
                </a:lnTo>
                <a:lnTo>
                  <a:pt x="593323" y="2439354"/>
                </a:lnTo>
                <a:lnTo>
                  <a:pt x="378191" y="2654485"/>
                </a:lnTo>
                <a:lnTo>
                  <a:pt x="580710" y="2857004"/>
                </a:lnTo>
                <a:lnTo>
                  <a:pt x="795842" y="2641872"/>
                </a:lnTo>
                <a:lnTo>
                  <a:pt x="1010973" y="2857004"/>
                </a:lnTo>
                <a:lnTo>
                  <a:pt x="1213492" y="2654485"/>
                </a:lnTo>
                <a:lnTo>
                  <a:pt x="998360" y="2439354"/>
                </a:lnTo>
                <a:lnTo>
                  <a:pt x="1213492" y="2224222"/>
                </a:lnTo>
                <a:lnTo>
                  <a:pt x="1010973" y="2021703"/>
                </a:lnTo>
                <a:lnTo>
                  <a:pt x="795842" y="2236835"/>
                </a:lnTo>
                <a:close/>
                <a:moveTo>
                  <a:pt x="1656000" y="1656001"/>
                </a:moveTo>
                <a:lnTo>
                  <a:pt x="3240000" y="1656001"/>
                </a:lnTo>
                <a:lnTo>
                  <a:pt x="3240000" y="2699989"/>
                </a:lnTo>
                <a:cubicBezTo>
                  <a:pt x="3240000" y="2998229"/>
                  <a:pt x="2998229" y="3240000"/>
                  <a:pt x="2699989" y="3240000"/>
                </a:cubicBezTo>
                <a:lnTo>
                  <a:pt x="1656000" y="3240000"/>
                </a:lnTo>
                <a:close/>
                <a:moveTo>
                  <a:pt x="0" y="1656001"/>
                </a:moveTo>
                <a:lnTo>
                  <a:pt x="1584000" y="1656001"/>
                </a:lnTo>
                <a:lnTo>
                  <a:pt x="1584000" y="3240000"/>
                </a:lnTo>
                <a:lnTo>
                  <a:pt x="540011" y="3240000"/>
                </a:lnTo>
                <a:cubicBezTo>
                  <a:pt x="241771" y="3240000"/>
                  <a:pt x="0" y="2998229"/>
                  <a:pt x="0" y="2699989"/>
                </a:cubicBezTo>
                <a:close/>
                <a:moveTo>
                  <a:pt x="2467143" y="957859"/>
                </a:moveTo>
                <a:cubicBezTo>
                  <a:pt x="2388055" y="957859"/>
                  <a:pt x="2323941" y="1021973"/>
                  <a:pt x="2323941" y="1101061"/>
                </a:cubicBezTo>
                <a:cubicBezTo>
                  <a:pt x="2323941" y="1180149"/>
                  <a:pt x="2388055" y="1244263"/>
                  <a:pt x="2467143" y="1244263"/>
                </a:cubicBezTo>
                <a:cubicBezTo>
                  <a:pt x="2546231" y="1244263"/>
                  <a:pt x="2610345" y="1180149"/>
                  <a:pt x="2610345" y="1101061"/>
                </a:cubicBezTo>
                <a:cubicBezTo>
                  <a:pt x="2610345" y="1021973"/>
                  <a:pt x="2546231" y="957859"/>
                  <a:pt x="2467143" y="957859"/>
                </a:cubicBezTo>
                <a:close/>
                <a:moveTo>
                  <a:pt x="2019696" y="635775"/>
                </a:moveTo>
                <a:lnTo>
                  <a:pt x="2019696" y="922180"/>
                </a:lnTo>
                <a:lnTo>
                  <a:pt x="2914589" y="922180"/>
                </a:lnTo>
                <a:lnTo>
                  <a:pt x="2914589" y="635775"/>
                </a:lnTo>
                <a:close/>
                <a:moveTo>
                  <a:pt x="652639" y="331531"/>
                </a:moveTo>
                <a:lnTo>
                  <a:pt x="652639" y="635775"/>
                </a:lnTo>
                <a:lnTo>
                  <a:pt x="348395" y="635775"/>
                </a:lnTo>
                <a:lnTo>
                  <a:pt x="348395" y="922180"/>
                </a:lnTo>
                <a:lnTo>
                  <a:pt x="652639" y="922180"/>
                </a:lnTo>
                <a:lnTo>
                  <a:pt x="652639" y="1226424"/>
                </a:lnTo>
                <a:lnTo>
                  <a:pt x="939044" y="1226424"/>
                </a:lnTo>
                <a:lnTo>
                  <a:pt x="939044" y="922180"/>
                </a:lnTo>
                <a:lnTo>
                  <a:pt x="1243288" y="922180"/>
                </a:lnTo>
                <a:lnTo>
                  <a:pt x="1243288" y="635775"/>
                </a:lnTo>
                <a:lnTo>
                  <a:pt x="939044" y="635775"/>
                </a:lnTo>
                <a:lnTo>
                  <a:pt x="939044" y="331531"/>
                </a:lnTo>
                <a:close/>
                <a:moveTo>
                  <a:pt x="2467143" y="313692"/>
                </a:moveTo>
                <a:cubicBezTo>
                  <a:pt x="2388055" y="313692"/>
                  <a:pt x="2323941" y="377806"/>
                  <a:pt x="2323941" y="456894"/>
                </a:cubicBezTo>
                <a:cubicBezTo>
                  <a:pt x="2323941" y="535982"/>
                  <a:pt x="2388055" y="600096"/>
                  <a:pt x="2467143" y="600096"/>
                </a:cubicBezTo>
                <a:cubicBezTo>
                  <a:pt x="2546231" y="600096"/>
                  <a:pt x="2610345" y="535982"/>
                  <a:pt x="2610345" y="456894"/>
                </a:cubicBezTo>
                <a:cubicBezTo>
                  <a:pt x="2610345" y="377806"/>
                  <a:pt x="2546231" y="313692"/>
                  <a:pt x="2467143" y="313692"/>
                </a:cubicBezTo>
                <a:close/>
                <a:moveTo>
                  <a:pt x="540011" y="0"/>
                </a:moveTo>
                <a:lnTo>
                  <a:pt x="2699989" y="0"/>
                </a:lnTo>
                <a:cubicBezTo>
                  <a:pt x="2998229" y="0"/>
                  <a:pt x="3240000" y="241771"/>
                  <a:pt x="3240000" y="540011"/>
                </a:cubicBezTo>
                <a:lnTo>
                  <a:pt x="3240000" y="1584001"/>
                </a:lnTo>
                <a:lnTo>
                  <a:pt x="1656000" y="1584001"/>
                </a:lnTo>
                <a:lnTo>
                  <a:pt x="1656000" y="1"/>
                </a:lnTo>
                <a:lnTo>
                  <a:pt x="1584000" y="1"/>
                </a:lnTo>
                <a:lnTo>
                  <a:pt x="1584000" y="1584001"/>
                </a:lnTo>
                <a:lnTo>
                  <a:pt x="0" y="1584001"/>
                </a:lnTo>
                <a:lnTo>
                  <a:pt x="0" y="540011"/>
                </a:lnTo>
                <a:cubicBezTo>
                  <a:pt x="0" y="241771"/>
                  <a:pt x="241771" y="0"/>
                  <a:pt x="54001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1" name="Rectangle 16">
            <a:extLst>
              <a:ext uri="{FF2B5EF4-FFF2-40B4-BE49-F238E27FC236}">
                <a16:creationId xmlns:a16="http://schemas.microsoft.com/office/drawing/2014/main" id="{58B68AA9-1ECC-834F-95A8-042A0E29763B}"/>
              </a:ext>
            </a:extLst>
          </p:cNvPr>
          <p:cNvSpPr/>
          <p:nvPr/>
        </p:nvSpPr>
        <p:spPr>
          <a:xfrm rot="2700000">
            <a:off x="2674534" y="3846774"/>
            <a:ext cx="203168" cy="40559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2" name="Rounded Rectangle 5">
            <a:extLst>
              <a:ext uri="{FF2B5EF4-FFF2-40B4-BE49-F238E27FC236}">
                <a16:creationId xmlns:a16="http://schemas.microsoft.com/office/drawing/2014/main" id="{97BBE0E0-50EE-414D-B383-6DB0F384BBDB}"/>
              </a:ext>
            </a:extLst>
          </p:cNvPr>
          <p:cNvSpPr/>
          <p:nvPr/>
        </p:nvSpPr>
        <p:spPr>
          <a:xfrm flipH="1">
            <a:off x="5568726" y="3937859"/>
            <a:ext cx="333227" cy="246865"/>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3" name="Oval 7">
            <a:extLst>
              <a:ext uri="{FF2B5EF4-FFF2-40B4-BE49-F238E27FC236}">
                <a16:creationId xmlns:a16="http://schemas.microsoft.com/office/drawing/2014/main" id="{F12C9CFF-DCD6-6240-9AB3-87A075FFCBBA}"/>
              </a:ext>
            </a:extLst>
          </p:cNvPr>
          <p:cNvSpPr/>
          <p:nvPr/>
        </p:nvSpPr>
        <p:spPr>
          <a:xfrm>
            <a:off x="8542927" y="3937859"/>
            <a:ext cx="307360" cy="276023"/>
          </a:xfrm>
          <a:custGeom>
            <a:avLst/>
            <a:gdLst/>
            <a:ahLst/>
            <a:cxnLst/>
            <a:rect l="l" t="t" r="r" b="b"/>
            <a:pathLst>
              <a:path w="3240000" h="3240000">
                <a:moveTo>
                  <a:pt x="1415334" y="1947658"/>
                </a:moveTo>
                <a:lnTo>
                  <a:pt x="838053" y="2871852"/>
                </a:lnTo>
                <a:cubicBezTo>
                  <a:pt x="1312591" y="3168264"/>
                  <a:pt x="1913932" y="3170879"/>
                  <a:pt x="2391030" y="2878606"/>
                </a:cubicBezTo>
                <a:lnTo>
                  <a:pt x="1821709" y="1949263"/>
                </a:lnTo>
                <a:cubicBezTo>
                  <a:pt x="1763478" y="1986502"/>
                  <a:pt x="1694174" y="2007350"/>
                  <a:pt x="1620000" y="2007350"/>
                </a:cubicBezTo>
                <a:cubicBezTo>
                  <a:pt x="1544621" y="2007350"/>
                  <a:pt x="1474270" y="1985818"/>
                  <a:pt x="1415334" y="1947658"/>
                </a:cubicBezTo>
                <a:close/>
                <a:moveTo>
                  <a:pt x="1620001" y="1350973"/>
                </a:moveTo>
                <a:cubicBezTo>
                  <a:pt x="1471421" y="1350973"/>
                  <a:pt x="1350973" y="1471421"/>
                  <a:pt x="1350973" y="1620001"/>
                </a:cubicBezTo>
                <a:cubicBezTo>
                  <a:pt x="1350973" y="1768581"/>
                  <a:pt x="1471421" y="1889029"/>
                  <a:pt x="1620001" y="1889029"/>
                </a:cubicBezTo>
                <a:cubicBezTo>
                  <a:pt x="1768581" y="1889029"/>
                  <a:pt x="1889029" y="1768581"/>
                  <a:pt x="1889029" y="1620001"/>
                </a:cubicBezTo>
                <a:cubicBezTo>
                  <a:pt x="1889029" y="1471421"/>
                  <a:pt x="1768581" y="1350973"/>
                  <a:pt x="1620001" y="1350973"/>
                </a:cubicBezTo>
                <a:close/>
                <a:moveTo>
                  <a:pt x="2324470" y="322965"/>
                </a:moveTo>
                <a:lnTo>
                  <a:pt x="1804044" y="1281148"/>
                </a:lnTo>
                <a:cubicBezTo>
                  <a:pt x="1925507" y="1345192"/>
                  <a:pt x="2007350" y="1473038"/>
                  <a:pt x="2007350" y="1620000"/>
                </a:cubicBezTo>
                <a:lnTo>
                  <a:pt x="2005998" y="1633413"/>
                </a:lnTo>
                <a:lnTo>
                  <a:pt x="3095109" y="1671260"/>
                </a:lnTo>
                <a:cubicBezTo>
                  <a:pt x="3114541" y="1112092"/>
                  <a:pt x="2816135" y="590008"/>
                  <a:pt x="2324470" y="322965"/>
                </a:cubicBezTo>
                <a:close/>
                <a:moveTo>
                  <a:pt x="926838" y="316888"/>
                </a:moveTo>
                <a:cubicBezTo>
                  <a:pt x="432869" y="579644"/>
                  <a:pt x="129933" y="1099113"/>
                  <a:pt x="144500" y="1658429"/>
                </a:cubicBezTo>
                <a:lnTo>
                  <a:pt x="1233664" y="1630062"/>
                </a:lnTo>
                <a:cubicBezTo>
                  <a:pt x="1232693" y="1626734"/>
                  <a:pt x="1232650" y="1623372"/>
                  <a:pt x="1232650" y="1620000"/>
                </a:cubicBezTo>
                <a:cubicBezTo>
                  <a:pt x="1232650" y="1471836"/>
                  <a:pt x="1315838" y="1343102"/>
                  <a:pt x="1438904" y="1279548"/>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4" name="Rectangle 36">
            <a:extLst>
              <a:ext uri="{FF2B5EF4-FFF2-40B4-BE49-F238E27FC236}">
                <a16:creationId xmlns:a16="http://schemas.microsoft.com/office/drawing/2014/main" id="{9ED7A3F0-0FC4-4141-8B5B-30D695F26967}"/>
              </a:ext>
            </a:extLst>
          </p:cNvPr>
          <p:cNvSpPr/>
          <p:nvPr/>
        </p:nvSpPr>
        <p:spPr>
          <a:xfrm>
            <a:off x="4038077" y="3947713"/>
            <a:ext cx="331260" cy="248675"/>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5" name="자유형 151">
            <a:extLst>
              <a:ext uri="{FF2B5EF4-FFF2-40B4-BE49-F238E27FC236}">
                <a16:creationId xmlns:a16="http://schemas.microsoft.com/office/drawing/2014/main" id="{1730CAB0-C56A-C948-94AA-25AD41264700}"/>
              </a:ext>
            </a:extLst>
          </p:cNvPr>
          <p:cNvSpPr/>
          <p:nvPr/>
        </p:nvSpPr>
        <p:spPr>
          <a:xfrm>
            <a:off x="7045531" y="3921831"/>
            <a:ext cx="314009" cy="295972"/>
          </a:xfrm>
          <a:custGeom>
            <a:avLst/>
            <a:gdLst>
              <a:gd name="connsiteX0" fmla="*/ 1460984 w 2921968"/>
              <a:gd name="connsiteY0" fmla="*/ 233294 h 3066808"/>
              <a:gd name="connsiteX1" fmla="*/ 1320049 w 2921968"/>
              <a:gd name="connsiteY1" fmla="*/ 374229 h 3066808"/>
              <a:gd name="connsiteX2" fmla="*/ 1460984 w 2921968"/>
              <a:gd name="connsiteY2" fmla="*/ 515164 h 3066808"/>
              <a:gd name="connsiteX3" fmla="*/ 1601919 w 2921968"/>
              <a:gd name="connsiteY3" fmla="*/ 374229 h 3066808"/>
              <a:gd name="connsiteX4" fmla="*/ 1460984 w 2921968"/>
              <a:gd name="connsiteY4" fmla="*/ 233294 h 3066808"/>
              <a:gd name="connsiteX5" fmla="*/ 1460984 w 2921968"/>
              <a:gd name="connsiteY5" fmla="*/ 0 h 3066808"/>
              <a:gd name="connsiteX6" fmla="*/ 1835213 w 2921968"/>
              <a:gd name="connsiteY6" fmla="*/ 374229 h 3066808"/>
              <a:gd name="connsiteX7" fmla="*/ 1670219 w 2921968"/>
              <a:gd name="connsiteY7" fmla="*/ 684545 h 3066808"/>
              <a:gd name="connsiteX8" fmla="*/ 1626866 w 2921968"/>
              <a:gd name="connsiteY8" fmla="*/ 708077 h 3066808"/>
              <a:gd name="connsiteX9" fmla="*/ 1646248 w 2921968"/>
              <a:gd name="connsiteY9" fmla="*/ 873151 h 3066808"/>
              <a:gd name="connsiteX10" fmla="*/ 2235203 w 2921968"/>
              <a:gd name="connsiteY10" fmla="*/ 873151 h 3066808"/>
              <a:gd name="connsiteX11" fmla="*/ 2241832 w 2921968"/>
              <a:gd name="connsiteY11" fmla="*/ 851796 h 3066808"/>
              <a:gd name="connsiteX12" fmla="*/ 2430803 w 2921968"/>
              <a:gd name="connsiteY12" fmla="*/ 726537 h 3066808"/>
              <a:gd name="connsiteX13" fmla="*/ 2635891 w 2921968"/>
              <a:gd name="connsiteY13" fmla="*/ 931625 h 3066808"/>
              <a:gd name="connsiteX14" fmla="*/ 2430803 w 2921968"/>
              <a:gd name="connsiteY14" fmla="*/ 1136713 h 3066808"/>
              <a:gd name="connsiteX15" fmla="*/ 2241832 w 2921968"/>
              <a:gd name="connsiteY15" fmla="*/ 1011455 h 3066808"/>
              <a:gd name="connsiteX16" fmla="*/ 2233652 w 2921968"/>
              <a:gd name="connsiteY16" fmla="*/ 985105 h 3066808"/>
              <a:gd name="connsiteX17" fmla="*/ 1659393 w 2921968"/>
              <a:gd name="connsiteY17" fmla="*/ 985105 h 3066808"/>
              <a:gd name="connsiteX18" fmla="*/ 1835639 w 2921968"/>
              <a:gd name="connsiteY18" fmla="*/ 2486125 h 3066808"/>
              <a:gd name="connsiteX19" fmla="*/ 2605322 w 2921968"/>
              <a:gd name="connsiteY19" fmla="*/ 1804902 h 3066808"/>
              <a:gd name="connsiteX20" fmla="*/ 2437231 w 2921968"/>
              <a:gd name="connsiteY20" fmla="*/ 1828663 h 3066808"/>
              <a:gd name="connsiteX21" fmla="*/ 2679599 w 2921968"/>
              <a:gd name="connsiteY21" fmla="*/ 1472350 h 3066808"/>
              <a:gd name="connsiteX22" fmla="*/ 2921968 w 2921968"/>
              <a:gd name="connsiteY22" fmla="*/ 1828663 h 3066808"/>
              <a:gd name="connsiteX23" fmla="*/ 2749252 w 2921968"/>
              <a:gd name="connsiteY23" fmla="*/ 1804848 h 3066808"/>
              <a:gd name="connsiteX24" fmla="*/ 1665272 w 2921968"/>
              <a:gd name="connsiteY24" fmla="*/ 2905483 h 3066808"/>
              <a:gd name="connsiteX25" fmla="*/ 1462434 w 2921968"/>
              <a:gd name="connsiteY25" fmla="*/ 3066808 h 3066808"/>
              <a:gd name="connsiteX26" fmla="*/ 1265857 w 2921968"/>
              <a:gd name="connsiteY26" fmla="*/ 2910631 h 3066808"/>
              <a:gd name="connsiteX27" fmla="*/ 175466 w 2921968"/>
              <a:gd name="connsiteY27" fmla="*/ 1804523 h 3066808"/>
              <a:gd name="connsiteX28" fmla="*/ 0 w 2921968"/>
              <a:gd name="connsiteY28" fmla="*/ 1828663 h 3066808"/>
              <a:gd name="connsiteX29" fmla="*/ 242369 w 2921968"/>
              <a:gd name="connsiteY29" fmla="*/ 1472350 h 3066808"/>
              <a:gd name="connsiteX30" fmla="*/ 484739 w 2921968"/>
              <a:gd name="connsiteY30" fmla="*/ 1828663 h 3066808"/>
              <a:gd name="connsiteX31" fmla="*/ 319066 w 2921968"/>
              <a:gd name="connsiteY31" fmla="*/ 1805271 h 3066808"/>
              <a:gd name="connsiteX32" fmla="*/ 1095798 w 2921968"/>
              <a:gd name="connsiteY32" fmla="*/ 2488933 h 3066808"/>
              <a:gd name="connsiteX33" fmla="*/ 1266566 w 2921968"/>
              <a:gd name="connsiteY33" fmla="*/ 985105 h 3066808"/>
              <a:gd name="connsiteX34" fmla="*/ 728631 w 2921968"/>
              <a:gd name="connsiteY34" fmla="*/ 985105 h 3066808"/>
              <a:gd name="connsiteX35" fmla="*/ 727109 w 2921968"/>
              <a:gd name="connsiteY35" fmla="*/ 987221 h 3066808"/>
              <a:gd name="connsiteX36" fmla="*/ 719586 w 2921968"/>
              <a:gd name="connsiteY36" fmla="*/ 1011455 h 3066808"/>
              <a:gd name="connsiteX37" fmla="*/ 530615 w 2921968"/>
              <a:gd name="connsiteY37" fmla="*/ 1136713 h 3066808"/>
              <a:gd name="connsiteX38" fmla="*/ 325527 w 2921968"/>
              <a:gd name="connsiteY38" fmla="*/ 931625 h 3066808"/>
              <a:gd name="connsiteX39" fmla="*/ 530615 w 2921968"/>
              <a:gd name="connsiteY39" fmla="*/ 726537 h 3066808"/>
              <a:gd name="connsiteX40" fmla="*/ 719586 w 2921968"/>
              <a:gd name="connsiteY40" fmla="*/ 851796 h 3066808"/>
              <a:gd name="connsiteX41" fmla="*/ 724380 w 2921968"/>
              <a:gd name="connsiteY41" fmla="*/ 867240 h 3066808"/>
              <a:gd name="connsiteX42" fmla="*/ 728634 w 2921968"/>
              <a:gd name="connsiteY42" fmla="*/ 873151 h 3066808"/>
              <a:gd name="connsiteX43" fmla="*/ 1279279 w 2921968"/>
              <a:gd name="connsiteY43" fmla="*/ 873151 h 3066808"/>
              <a:gd name="connsiteX44" fmla="*/ 1297855 w 2921968"/>
              <a:gd name="connsiteY44" fmla="*/ 709571 h 3066808"/>
              <a:gd name="connsiteX45" fmla="*/ 1251749 w 2921968"/>
              <a:gd name="connsiteY45" fmla="*/ 684545 h 3066808"/>
              <a:gd name="connsiteX46" fmla="*/ 1086755 w 2921968"/>
              <a:gd name="connsiteY46" fmla="*/ 374229 h 3066808"/>
              <a:gd name="connsiteX47" fmla="*/ 1460984 w 2921968"/>
              <a:gd name="connsiteY47" fmla="*/ 0 h 306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921968" h="3066808">
                <a:moveTo>
                  <a:pt x="1460984" y="233294"/>
                </a:moveTo>
                <a:cubicBezTo>
                  <a:pt x="1383148" y="233294"/>
                  <a:pt x="1320049" y="296393"/>
                  <a:pt x="1320049" y="374229"/>
                </a:cubicBezTo>
                <a:cubicBezTo>
                  <a:pt x="1320049" y="452065"/>
                  <a:pt x="1383148" y="515164"/>
                  <a:pt x="1460984" y="515164"/>
                </a:cubicBezTo>
                <a:cubicBezTo>
                  <a:pt x="1538820" y="515164"/>
                  <a:pt x="1601919" y="452065"/>
                  <a:pt x="1601919" y="374229"/>
                </a:cubicBezTo>
                <a:cubicBezTo>
                  <a:pt x="1601919" y="296393"/>
                  <a:pt x="1538820" y="233294"/>
                  <a:pt x="1460984" y="233294"/>
                </a:cubicBezTo>
                <a:close/>
                <a:moveTo>
                  <a:pt x="1460984" y="0"/>
                </a:moveTo>
                <a:cubicBezTo>
                  <a:pt x="1667665" y="0"/>
                  <a:pt x="1835213" y="167548"/>
                  <a:pt x="1835213" y="374229"/>
                </a:cubicBezTo>
                <a:cubicBezTo>
                  <a:pt x="1835213" y="503404"/>
                  <a:pt x="1769765" y="617294"/>
                  <a:pt x="1670219" y="684545"/>
                </a:cubicBezTo>
                <a:lnTo>
                  <a:pt x="1626866" y="708077"/>
                </a:lnTo>
                <a:lnTo>
                  <a:pt x="1646248" y="873151"/>
                </a:lnTo>
                <a:lnTo>
                  <a:pt x="2235203" y="873151"/>
                </a:lnTo>
                <a:lnTo>
                  <a:pt x="2241832" y="851796"/>
                </a:lnTo>
                <a:cubicBezTo>
                  <a:pt x="2272966" y="778187"/>
                  <a:pt x="2345853" y="726537"/>
                  <a:pt x="2430803" y="726537"/>
                </a:cubicBezTo>
                <a:cubicBezTo>
                  <a:pt x="2544070" y="726537"/>
                  <a:pt x="2635891" y="818358"/>
                  <a:pt x="2635891" y="931625"/>
                </a:cubicBezTo>
                <a:cubicBezTo>
                  <a:pt x="2635891" y="1044892"/>
                  <a:pt x="2544070" y="1136713"/>
                  <a:pt x="2430803" y="1136713"/>
                </a:cubicBezTo>
                <a:cubicBezTo>
                  <a:pt x="2345853" y="1136713"/>
                  <a:pt x="2272966" y="1085064"/>
                  <a:pt x="2241832" y="1011455"/>
                </a:cubicBezTo>
                <a:lnTo>
                  <a:pt x="2233652" y="985105"/>
                </a:lnTo>
                <a:lnTo>
                  <a:pt x="1659393" y="985105"/>
                </a:lnTo>
                <a:lnTo>
                  <a:pt x="1835639" y="2486125"/>
                </a:lnTo>
                <a:cubicBezTo>
                  <a:pt x="2257126" y="2356235"/>
                  <a:pt x="2582425" y="2203368"/>
                  <a:pt x="2605322" y="1804902"/>
                </a:cubicBezTo>
                <a:cubicBezTo>
                  <a:pt x="2547615" y="1806965"/>
                  <a:pt x="2490707" y="1815307"/>
                  <a:pt x="2437231" y="1828663"/>
                </a:cubicBezTo>
                <a:cubicBezTo>
                  <a:pt x="2542844" y="1722240"/>
                  <a:pt x="2642253" y="1622871"/>
                  <a:pt x="2679599" y="1472350"/>
                </a:cubicBezTo>
                <a:cubicBezTo>
                  <a:pt x="2719016" y="1621107"/>
                  <a:pt x="2816355" y="1715183"/>
                  <a:pt x="2921968" y="1828663"/>
                </a:cubicBezTo>
                <a:cubicBezTo>
                  <a:pt x="2868630" y="1815688"/>
                  <a:pt x="2809977" y="1807008"/>
                  <a:pt x="2749252" y="1804848"/>
                </a:cubicBezTo>
                <a:cubicBezTo>
                  <a:pt x="2719427" y="2342499"/>
                  <a:pt x="2353693" y="2860207"/>
                  <a:pt x="1665272" y="2905483"/>
                </a:cubicBezTo>
                <a:cubicBezTo>
                  <a:pt x="1561523" y="2978866"/>
                  <a:pt x="1523475" y="3013033"/>
                  <a:pt x="1462434" y="3066808"/>
                </a:cubicBezTo>
                <a:cubicBezTo>
                  <a:pt x="1404574" y="3011016"/>
                  <a:pt x="1369708" y="2980430"/>
                  <a:pt x="1265857" y="2910631"/>
                </a:cubicBezTo>
                <a:cubicBezTo>
                  <a:pt x="648092" y="2849018"/>
                  <a:pt x="205460" y="2343748"/>
                  <a:pt x="175466" y="1804523"/>
                </a:cubicBezTo>
                <a:cubicBezTo>
                  <a:pt x="115256" y="1806261"/>
                  <a:pt x="55763" y="1814736"/>
                  <a:pt x="0" y="1828663"/>
                </a:cubicBezTo>
                <a:cubicBezTo>
                  <a:pt x="105615" y="1722240"/>
                  <a:pt x="205022" y="1622871"/>
                  <a:pt x="242369" y="1472350"/>
                </a:cubicBezTo>
                <a:cubicBezTo>
                  <a:pt x="281785" y="1621107"/>
                  <a:pt x="379124" y="1715183"/>
                  <a:pt x="484739" y="1828663"/>
                </a:cubicBezTo>
                <a:cubicBezTo>
                  <a:pt x="433473" y="1816193"/>
                  <a:pt x="377298" y="1807690"/>
                  <a:pt x="319066" y="1805271"/>
                </a:cubicBezTo>
                <a:cubicBezTo>
                  <a:pt x="342774" y="2204526"/>
                  <a:pt x="675270" y="2359301"/>
                  <a:pt x="1095798" y="2488933"/>
                </a:cubicBezTo>
                <a:lnTo>
                  <a:pt x="1266566" y="985105"/>
                </a:lnTo>
                <a:lnTo>
                  <a:pt x="728631" y="985105"/>
                </a:lnTo>
                <a:lnTo>
                  <a:pt x="727109" y="987221"/>
                </a:lnTo>
                <a:lnTo>
                  <a:pt x="719586" y="1011455"/>
                </a:lnTo>
                <a:cubicBezTo>
                  <a:pt x="688452" y="1085064"/>
                  <a:pt x="615566" y="1136713"/>
                  <a:pt x="530615" y="1136713"/>
                </a:cubicBezTo>
                <a:cubicBezTo>
                  <a:pt x="417348" y="1136713"/>
                  <a:pt x="325527" y="1044892"/>
                  <a:pt x="325527" y="931625"/>
                </a:cubicBezTo>
                <a:cubicBezTo>
                  <a:pt x="325527" y="818358"/>
                  <a:pt x="417348" y="726537"/>
                  <a:pt x="530615" y="726537"/>
                </a:cubicBezTo>
                <a:cubicBezTo>
                  <a:pt x="615566" y="726537"/>
                  <a:pt x="688452" y="778187"/>
                  <a:pt x="719586" y="851796"/>
                </a:cubicBezTo>
                <a:lnTo>
                  <a:pt x="724380" y="867240"/>
                </a:lnTo>
                <a:lnTo>
                  <a:pt x="728634" y="873151"/>
                </a:lnTo>
                <a:lnTo>
                  <a:pt x="1279279" y="873151"/>
                </a:lnTo>
                <a:lnTo>
                  <a:pt x="1297855" y="709571"/>
                </a:lnTo>
                <a:lnTo>
                  <a:pt x="1251749" y="684545"/>
                </a:lnTo>
                <a:cubicBezTo>
                  <a:pt x="1152204" y="617294"/>
                  <a:pt x="1086755" y="503404"/>
                  <a:pt x="1086755" y="374229"/>
                </a:cubicBezTo>
                <a:cubicBezTo>
                  <a:pt x="1086755" y="167548"/>
                  <a:pt x="1254303" y="0"/>
                  <a:pt x="14609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p>
        </p:txBody>
      </p:sp>
      <p:sp>
        <p:nvSpPr>
          <p:cNvPr id="47" name="Oval 21">
            <a:extLst>
              <a:ext uri="{FF2B5EF4-FFF2-40B4-BE49-F238E27FC236}">
                <a16:creationId xmlns:a16="http://schemas.microsoft.com/office/drawing/2014/main" id="{33DF326F-9DD6-5349-8B7D-038339F29E24}"/>
              </a:ext>
            </a:extLst>
          </p:cNvPr>
          <p:cNvSpPr/>
          <p:nvPr/>
        </p:nvSpPr>
        <p:spPr>
          <a:xfrm rot="5400000">
            <a:off x="4848680" y="2198763"/>
            <a:ext cx="1221608" cy="1857712"/>
          </a:xfrm>
          <a:custGeom>
            <a:avLst/>
            <a:gdLst>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427338 w 1449013"/>
              <a:gd name="connsiteY16" fmla="*/ 719630 h 1952472"/>
              <a:gd name="connsiteX17" fmla="*/ 141381 w 1449013"/>
              <a:gd name="connsiteY17" fmla="*/ 433666 h 1952472"/>
              <a:gd name="connsiteX18" fmla="*/ 0 w 1449013"/>
              <a:gd name="connsiteY18" fmla="*/ 471352 h 1952472"/>
              <a:gd name="connsiteX19" fmla="*/ 0 w 1449013"/>
              <a:gd name="connsiteY19" fmla="*/ 0 h 1952472"/>
              <a:gd name="connsiteX20" fmla="*/ 1449013 w 1449013"/>
              <a:gd name="connsiteY20"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141381 w 1449013"/>
              <a:gd name="connsiteY16" fmla="*/ 433666 h 1952472"/>
              <a:gd name="connsiteX17" fmla="*/ 0 w 1449013"/>
              <a:gd name="connsiteY17" fmla="*/ 471352 h 1952472"/>
              <a:gd name="connsiteX18" fmla="*/ 0 w 1449013"/>
              <a:gd name="connsiteY18" fmla="*/ 0 h 1952472"/>
              <a:gd name="connsiteX19" fmla="*/ 1449013 w 1449013"/>
              <a:gd name="connsiteY19"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471352 h 1952472"/>
              <a:gd name="connsiteX17" fmla="*/ 0 w 1449013"/>
              <a:gd name="connsiteY17" fmla="*/ 0 h 1952472"/>
              <a:gd name="connsiteX18" fmla="*/ 1449013 w 1449013"/>
              <a:gd name="connsiteY18"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967906 h 1952472"/>
              <a:gd name="connsiteX16" fmla="*/ 0 w 1449013"/>
              <a:gd name="connsiteY16" fmla="*/ 0 h 1952472"/>
              <a:gd name="connsiteX17" fmla="*/ 1449013 w 1449013"/>
              <a:gd name="connsiteY17"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031784 w 1449013"/>
              <a:gd name="connsiteY3" fmla="*/ 719630 h 1952472"/>
              <a:gd name="connsiteX4" fmla="*/ 1317741 w 1449013"/>
              <a:gd name="connsiteY4" fmla="*/ 1005593 h 1952472"/>
              <a:gd name="connsiteX5" fmla="*/ 1449013 w 1449013"/>
              <a:gd name="connsiteY5" fmla="*/ 972519 h 1952472"/>
              <a:gd name="connsiteX6" fmla="*/ 1449013 w 1449013"/>
              <a:gd name="connsiteY6" fmla="*/ 1444072 h 1952472"/>
              <a:gd name="connsiteX7" fmla="*/ 857954 w 1449013"/>
              <a:gd name="connsiteY7" fmla="*/ 1444072 h 1952472"/>
              <a:gd name="connsiteX8" fmla="*/ 857954 w 1449013"/>
              <a:gd name="connsiteY8" fmla="*/ 1542845 h 1952472"/>
              <a:gd name="connsiteX9" fmla="*/ 953273 w 1449013"/>
              <a:gd name="connsiteY9" fmla="*/ 1723701 h 1952472"/>
              <a:gd name="connsiteX10" fmla="*/ 724507 w 1449013"/>
              <a:gd name="connsiteY10" fmla="*/ 1952472 h 1952472"/>
              <a:gd name="connsiteX11" fmla="*/ 495741 w 1449013"/>
              <a:gd name="connsiteY11" fmla="*/ 1723701 h 1952472"/>
              <a:gd name="connsiteX12" fmla="*/ 591060 w 1449013"/>
              <a:gd name="connsiteY12" fmla="*/ 1542845 h 1952472"/>
              <a:gd name="connsiteX13" fmla="*/ 591060 w 1449013"/>
              <a:gd name="connsiteY13" fmla="*/ 1444072 h 1952472"/>
              <a:gd name="connsiteX14" fmla="*/ 0 w 1449013"/>
              <a:gd name="connsiteY14" fmla="*/ 1444072 h 1952472"/>
              <a:gd name="connsiteX15" fmla="*/ 0 w 1449013"/>
              <a:gd name="connsiteY15" fmla="*/ 0 h 1952472"/>
              <a:gd name="connsiteX16" fmla="*/ 1449013 w 1449013"/>
              <a:gd name="connsiteY16"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317741 w 1449013"/>
              <a:gd name="connsiteY3" fmla="*/ 1005593 h 1952472"/>
              <a:gd name="connsiteX4" fmla="*/ 1449013 w 1449013"/>
              <a:gd name="connsiteY4" fmla="*/ 972519 h 1952472"/>
              <a:gd name="connsiteX5" fmla="*/ 1449013 w 1449013"/>
              <a:gd name="connsiteY5" fmla="*/ 1444072 h 1952472"/>
              <a:gd name="connsiteX6" fmla="*/ 857954 w 1449013"/>
              <a:gd name="connsiteY6" fmla="*/ 1444072 h 1952472"/>
              <a:gd name="connsiteX7" fmla="*/ 857954 w 1449013"/>
              <a:gd name="connsiteY7" fmla="*/ 1542845 h 1952472"/>
              <a:gd name="connsiteX8" fmla="*/ 953273 w 1449013"/>
              <a:gd name="connsiteY8" fmla="*/ 1723701 h 1952472"/>
              <a:gd name="connsiteX9" fmla="*/ 724507 w 1449013"/>
              <a:gd name="connsiteY9" fmla="*/ 1952472 h 1952472"/>
              <a:gd name="connsiteX10" fmla="*/ 495741 w 1449013"/>
              <a:gd name="connsiteY10" fmla="*/ 1723701 h 1952472"/>
              <a:gd name="connsiteX11" fmla="*/ 591060 w 1449013"/>
              <a:gd name="connsiteY11" fmla="*/ 1542845 h 1952472"/>
              <a:gd name="connsiteX12" fmla="*/ 591060 w 1449013"/>
              <a:gd name="connsiteY12" fmla="*/ 1444072 h 1952472"/>
              <a:gd name="connsiteX13" fmla="*/ 0 w 1449013"/>
              <a:gd name="connsiteY13" fmla="*/ 1444072 h 1952472"/>
              <a:gd name="connsiteX14" fmla="*/ 0 w 1449013"/>
              <a:gd name="connsiteY14" fmla="*/ 0 h 1952472"/>
              <a:gd name="connsiteX15" fmla="*/ 1449013 w 1449013"/>
              <a:gd name="connsiteY15" fmla="*/ 0 h 1952472"/>
              <a:gd name="connsiteX0" fmla="*/ 1449013 w 1449013"/>
              <a:gd name="connsiteY0" fmla="*/ 0 h 1952472"/>
              <a:gd name="connsiteX1" fmla="*/ 1449013 w 1449013"/>
              <a:gd name="connsiteY1" fmla="*/ 466741 h 1952472"/>
              <a:gd name="connsiteX2" fmla="*/ 1317741 w 1449013"/>
              <a:gd name="connsiteY2" fmla="*/ 433666 h 1952472"/>
              <a:gd name="connsiteX3" fmla="*/ 1449013 w 1449013"/>
              <a:gd name="connsiteY3" fmla="*/ 972519 h 1952472"/>
              <a:gd name="connsiteX4" fmla="*/ 1449013 w 1449013"/>
              <a:gd name="connsiteY4" fmla="*/ 1444072 h 1952472"/>
              <a:gd name="connsiteX5" fmla="*/ 857954 w 1449013"/>
              <a:gd name="connsiteY5" fmla="*/ 1444072 h 1952472"/>
              <a:gd name="connsiteX6" fmla="*/ 857954 w 1449013"/>
              <a:gd name="connsiteY6" fmla="*/ 1542845 h 1952472"/>
              <a:gd name="connsiteX7" fmla="*/ 953273 w 1449013"/>
              <a:gd name="connsiteY7" fmla="*/ 1723701 h 1952472"/>
              <a:gd name="connsiteX8" fmla="*/ 724507 w 1449013"/>
              <a:gd name="connsiteY8" fmla="*/ 1952472 h 1952472"/>
              <a:gd name="connsiteX9" fmla="*/ 495741 w 1449013"/>
              <a:gd name="connsiteY9" fmla="*/ 1723701 h 1952472"/>
              <a:gd name="connsiteX10" fmla="*/ 591060 w 1449013"/>
              <a:gd name="connsiteY10" fmla="*/ 1542845 h 1952472"/>
              <a:gd name="connsiteX11" fmla="*/ 591060 w 1449013"/>
              <a:gd name="connsiteY11" fmla="*/ 1444072 h 1952472"/>
              <a:gd name="connsiteX12" fmla="*/ 0 w 1449013"/>
              <a:gd name="connsiteY12" fmla="*/ 1444072 h 1952472"/>
              <a:gd name="connsiteX13" fmla="*/ 0 w 1449013"/>
              <a:gd name="connsiteY13" fmla="*/ 0 h 1952472"/>
              <a:gd name="connsiteX14" fmla="*/ 1449013 w 1449013"/>
              <a:gd name="connsiteY14" fmla="*/ 0 h 1952472"/>
              <a:gd name="connsiteX0" fmla="*/ 1449013 w 1449013"/>
              <a:gd name="connsiteY0" fmla="*/ 0 h 1952472"/>
              <a:gd name="connsiteX1" fmla="*/ 1449013 w 1449013"/>
              <a:gd name="connsiteY1" fmla="*/ 466741 h 1952472"/>
              <a:gd name="connsiteX2" fmla="*/ 1449013 w 1449013"/>
              <a:gd name="connsiteY2" fmla="*/ 972519 h 1952472"/>
              <a:gd name="connsiteX3" fmla="*/ 1449013 w 1449013"/>
              <a:gd name="connsiteY3" fmla="*/ 1444072 h 1952472"/>
              <a:gd name="connsiteX4" fmla="*/ 857954 w 1449013"/>
              <a:gd name="connsiteY4" fmla="*/ 1444072 h 1952472"/>
              <a:gd name="connsiteX5" fmla="*/ 857954 w 1449013"/>
              <a:gd name="connsiteY5" fmla="*/ 1542845 h 1952472"/>
              <a:gd name="connsiteX6" fmla="*/ 953273 w 1449013"/>
              <a:gd name="connsiteY6" fmla="*/ 1723701 h 1952472"/>
              <a:gd name="connsiteX7" fmla="*/ 724507 w 1449013"/>
              <a:gd name="connsiteY7" fmla="*/ 1952472 h 1952472"/>
              <a:gd name="connsiteX8" fmla="*/ 495741 w 1449013"/>
              <a:gd name="connsiteY8" fmla="*/ 1723701 h 1952472"/>
              <a:gd name="connsiteX9" fmla="*/ 591060 w 1449013"/>
              <a:gd name="connsiteY9" fmla="*/ 1542845 h 1952472"/>
              <a:gd name="connsiteX10" fmla="*/ 591060 w 1449013"/>
              <a:gd name="connsiteY10" fmla="*/ 1444072 h 1952472"/>
              <a:gd name="connsiteX11" fmla="*/ 0 w 1449013"/>
              <a:gd name="connsiteY11" fmla="*/ 1444072 h 1952472"/>
              <a:gd name="connsiteX12" fmla="*/ 0 w 1449013"/>
              <a:gd name="connsiteY12" fmla="*/ 0 h 1952472"/>
              <a:gd name="connsiteX13" fmla="*/ 1449013 w 1449013"/>
              <a:gd name="connsiteY13" fmla="*/ 0 h 195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9013" h="1952472">
                <a:moveTo>
                  <a:pt x="1449013" y="0"/>
                </a:moveTo>
                <a:lnTo>
                  <a:pt x="1449013" y="466741"/>
                </a:lnTo>
                <a:lnTo>
                  <a:pt x="1449013" y="972519"/>
                </a:lnTo>
                <a:lnTo>
                  <a:pt x="1449013" y="1444072"/>
                </a:lnTo>
                <a:lnTo>
                  <a:pt x="857954" y="1444072"/>
                </a:lnTo>
                <a:lnTo>
                  <a:pt x="857954" y="1542845"/>
                </a:lnTo>
                <a:cubicBezTo>
                  <a:pt x="916718" y="1581276"/>
                  <a:pt x="953273" y="1648220"/>
                  <a:pt x="953273" y="1723701"/>
                </a:cubicBezTo>
                <a:cubicBezTo>
                  <a:pt x="953273" y="1850048"/>
                  <a:pt x="850851" y="1952472"/>
                  <a:pt x="724507" y="1952472"/>
                </a:cubicBezTo>
                <a:cubicBezTo>
                  <a:pt x="598162" y="1952472"/>
                  <a:pt x="495741" y="1850048"/>
                  <a:pt x="495741" y="1723701"/>
                </a:cubicBezTo>
                <a:cubicBezTo>
                  <a:pt x="495741" y="1648220"/>
                  <a:pt x="532295" y="1581276"/>
                  <a:pt x="591060" y="1542845"/>
                </a:cubicBezTo>
                <a:lnTo>
                  <a:pt x="591060" y="1444072"/>
                </a:lnTo>
                <a:lnTo>
                  <a:pt x="0" y="1444072"/>
                </a:lnTo>
                <a:lnTo>
                  <a:pt x="0" y="0"/>
                </a:lnTo>
                <a:lnTo>
                  <a:pt x="1449013" y="0"/>
                </a:lnTo>
                <a:close/>
              </a:path>
            </a:pathLst>
          </a:custGeom>
          <a:solidFill>
            <a:srgbClr val="4C4D6C"/>
          </a:solidFill>
          <a:ln w="6350" cap="flat" cmpd="sng" algn="ctr">
            <a:gradFill>
              <a:gsLst>
                <a:gs pos="0">
                  <a:srgbClr val="FFFFFF"/>
                </a:gs>
                <a:gs pos="100000">
                  <a:srgbClr val="9FD70D">
                    <a:tint val="23500"/>
                    <a:satMod val="160000"/>
                    <a:alpha val="0"/>
                  </a:srgbClr>
                </a:gs>
              </a:gsLst>
              <a:lin ang="15600000" scaled="0"/>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a:ln>
                <a:noFill/>
              </a:ln>
              <a:solidFill>
                <a:srgbClr val="000000">
                  <a:lumMod val="65000"/>
                  <a:lumOff val="35000"/>
                </a:srgbClr>
              </a:solidFill>
              <a:effectLst/>
              <a:uLnTx/>
              <a:uFillTx/>
              <a:latin typeface="Arial"/>
              <a:ea typeface="굴림" panose="020B0600000101010101" pitchFamily="34" charset="-127"/>
              <a:cs typeface="+mn-cs"/>
            </a:endParaRPr>
          </a:p>
        </p:txBody>
      </p:sp>
      <p:sp>
        <p:nvSpPr>
          <p:cNvPr id="30" name="Oval 29">
            <a:extLst>
              <a:ext uri="{FF2B5EF4-FFF2-40B4-BE49-F238E27FC236}">
                <a16:creationId xmlns:a16="http://schemas.microsoft.com/office/drawing/2014/main" id="{AA60399C-1DC1-574D-91CC-3152342793EF}"/>
              </a:ext>
            </a:extLst>
          </p:cNvPr>
          <p:cNvSpPr>
            <a:spLocks noChangeAspect="1"/>
          </p:cNvSpPr>
          <p:nvPr/>
        </p:nvSpPr>
        <p:spPr>
          <a:xfrm>
            <a:off x="6046811" y="2905800"/>
            <a:ext cx="433182" cy="4714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21">
            <a:extLst>
              <a:ext uri="{FF2B5EF4-FFF2-40B4-BE49-F238E27FC236}">
                <a16:creationId xmlns:a16="http://schemas.microsoft.com/office/drawing/2014/main" id="{76A0B4C1-7589-7045-ABD7-C835A8C3CD8F}"/>
              </a:ext>
            </a:extLst>
          </p:cNvPr>
          <p:cNvSpPr/>
          <p:nvPr/>
        </p:nvSpPr>
        <p:spPr>
          <a:xfrm rot="5400000">
            <a:off x="6607686" y="1996604"/>
            <a:ext cx="1238122" cy="2285388"/>
          </a:xfrm>
          <a:custGeom>
            <a:avLst/>
            <a:gdLst/>
            <a:ahLst/>
            <a:cxnLst/>
            <a:rect l="l" t="t" r="r" b="b"/>
            <a:pathLst>
              <a:path w="1368152" h="2298537">
                <a:moveTo>
                  <a:pt x="684076" y="0"/>
                </a:moveTo>
                <a:cubicBezTo>
                  <a:pt x="803370" y="0"/>
                  <a:pt x="900076" y="96706"/>
                  <a:pt x="900076" y="216000"/>
                </a:cubicBezTo>
                <a:cubicBezTo>
                  <a:pt x="900076" y="287268"/>
                  <a:pt x="865561" y="350475"/>
                  <a:pt x="810076" y="386760"/>
                </a:cubicBezTo>
                <a:lnTo>
                  <a:pt x="810076" y="450517"/>
                </a:lnTo>
                <a:lnTo>
                  <a:pt x="1368152" y="450517"/>
                </a:lnTo>
                <a:lnTo>
                  <a:pt x="1368152" y="895744"/>
                </a:lnTo>
                <a:cubicBezTo>
                  <a:pt x="1331417" y="875468"/>
                  <a:pt x="1289090" y="864516"/>
                  <a:pt x="1244206" y="864516"/>
                </a:cubicBezTo>
                <a:cubicBezTo>
                  <a:pt x="1095089" y="864516"/>
                  <a:pt x="974206" y="985399"/>
                  <a:pt x="974206" y="1134516"/>
                </a:cubicBezTo>
                <a:cubicBezTo>
                  <a:pt x="974206" y="1283633"/>
                  <a:pt x="1095089" y="1404516"/>
                  <a:pt x="1244206" y="1404516"/>
                </a:cubicBezTo>
                <a:cubicBezTo>
                  <a:pt x="1289090" y="1404516"/>
                  <a:pt x="1331417" y="1393563"/>
                  <a:pt x="1368152" y="1373288"/>
                </a:cubicBezTo>
                <a:lnTo>
                  <a:pt x="1368152" y="1818517"/>
                </a:lnTo>
                <a:lnTo>
                  <a:pt x="810076" y="1818517"/>
                </a:lnTo>
                <a:lnTo>
                  <a:pt x="810076" y="1911777"/>
                </a:lnTo>
                <a:cubicBezTo>
                  <a:pt x="865561" y="1948062"/>
                  <a:pt x="900076" y="2011269"/>
                  <a:pt x="900076" y="2082537"/>
                </a:cubicBezTo>
                <a:cubicBezTo>
                  <a:pt x="900076" y="2201831"/>
                  <a:pt x="803370" y="2298537"/>
                  <a:pt x="684076" y="2298537"/>
                </a:cubicBezTo>
                <a:cubicBezTo>
                  <a:pt x="564782" y="2298537"/>
                  <a:pt x="468076" y="2201831"/>
                  <a:pt x="468076" y="2082537"/>
                </a:cubicBezTo>
                <a:cubicBezTo>
                  <a:pt x="468076" y="2011269"/>
                  <a:pt x="502591" y="1948062"/>
                  <a:pt x="558076" y="1911777"/>
                </a:cubicBezTo>
                <a:lnTo>
                  <a:pt x="558076" y="1818517"/>
                </a:lnTo>
                <a:lnTo>
                  <a:pt x="0" y="1818517"/>
                </a:lnTo>
                <a:lnTo>
                  <a:pt x="0" y="1368933"/>
                </a:lnTo>
                <a:cubicBezTo>
                  <a:pt x="39235" y="1391659"/>
                  <a:pt x="84862" y="1404516"/>
                  <a:pt x="133491" y="1404516"/>
                </a:cubicBezTo>
                <a:cubicBezTo>
                  <a:pt x="282608" y="1404516"/>
                  <a:pt x="403491" y="1283633"/>
                  <a:pt x="403491" y="1134516"/>
                </a:cubicBezTo>
                <a:cubicBezTo>
                  <a:pt x="403491" y="985399"/>
                  <a:pt x="282608" y="864516"/>
                  <a:pt x="133491" y="864516"/>
                </a:cubicBezTo>
                <a:cubicBezTo>
                  <a:pt x="84862" y="864516"/>
                  <a:pt x="39235" y="877372"/>
                  <a:pt x="0" y="900098"/>
                </a:cubicBezTo>
                <a:lnTo>
                  <a:pt x="0" y="450517"/>
                </a:lnTo>
                <a:lnTo>
                  <a:pt x="558076" y="450517"/>
                </a:lnTo>
                <a:lnTo>
                  <a:pt x="558076" y="386760"/>
                </a:lnTo>
                <a:cubicBezTo>
                  <a:pt x="502591" y="350475"/>
                  <a:pt x="468076" y="287268"/>
                  <a:pt x="468076" y="216000"/>
                </a:cubicBezTo>
                <a:cubicBezTo>
                  <a:pt x="468076" y="96706"/>
                  <a:pt x="564782" y="0"/>
                  <a:pt x="684076" y="0"/>
                </a:cubicBezTo>
                <a:close/>
              </a:path>
            </a:pathLst>
          </a:custGeom>
          <a:solidFill>
            <a:srgbClr val="393838"/>
          </a:soli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
        <p:nvSpPr>
          <p:cNvPr id="52" name="Oval 51">
            <a:extLst>
              <a:ext uri="{FF2B5EF4-FFF2-40B4-BE49-F238E27FC236}">
                <a16:creationId xmlns:a16="http://schemas.microsoft.com/office/drawing/2014/main" id="{13689D99-8F56-444B-BEF7-0C88128D7BED}"/>
              </a:ext>
            </a:extLst>
          </p:cNvPr>
          <p:cNvSpPr>
            <a:spLocks noChangeAspect="1"/>
          </p:cNvSpPr>
          <p:nvPr/>
        </p:nvSpPr>
        <p:spPr>
          <a:xfrm>
            <a:off x="4903255" y="2905800"/>
            <a:ext cx="506593" cy="4714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21">
            <a:extLst>
              <a:ext uri="{FF2B5EF4-FFF2-40B4-BE49-F238E27FC236}">
                <a16:creationId xmlns:a16="http://schemas.microsoft.com/office/drawing/2014/main" id="{8352D5E7-985B-844D-B3FB-3CB0E0F0B706}"/>
              </a:ext>
            </a:extLst>
          </p:cNvPr>
          <p:cNvSpPr/>
          <p:nvPr/>
        </p:nvSpPr>
        <p:spPr>
          <a:xfrm rot="5400000">
            <a:off x="3600965" y="1996604"/>
            <a:ext cx="1238122" cy="2285388"/>
          </a:xfrm>
          <a:custGeom>
            <a:avLst/>
            <a:gdLst>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244206 w 1368152"/>
              <a:gd name="connsiteY6" fmla="*/ 864516 h 2298537"/>
              <a:gd name="connsiteX7" fmla="*/ 974206 w 1368152"/>
              <a:gd name="connsiteY7" fmla="*/ 1134516 h 2298537"/>
              <a:gd name="connsiteX8" fmla="*/ 1244206 w 1368152"/>
              <a:gd name="connsiteY8" fmla="*/ 1404516 h 2298537"/>
              <a:gd name="connsiteX9" fmla="*/ 1368152 w 1368152"/>
              <a:gd name="connsiteY9" fmla="*/ 1373288 h 2298537"/>
              <a:gd name="connsiteX10" fmla="*/ 1368152 w 1368152"/>
              <a:gd name="connsiteY10" fmla="*/ 1818517 h 2298537"/>
              <a:gd name="connsiteX11" fmla="*/ 810076 w 1368152"/>
              <a:gd name="connsiteY11" fmla="*/ 1818517 h 2298537"/>
              <a:gd name="connsiteX12" fmla="*/ 810076 w 1368152"/>
              <a:gd name="connsiteY12" fmla="*/ 1911777 h 2298537"/>
              <a:gd name="connsiteX13" fmla="*/ 900076 w 1368152"/>
              <a:gd name="connsiteY13" fmla="*/ 2082537 h 2298537"/>
              <a:gd name="connsiteX14" fmla="*/ 684076 w 1368152"/>
              <a:gd name="connsiteY14" fmla="*/ 2298537 h 2298537"/>
              <a:gd name="connsiteX15" fmla="*/ 468076 w 1368152"/>
              <a:gd name="connsiteY15" fmla="*/ 2082537 h 2298537"/>
              <a:gd name="connsiteX16" fmla="*/ 558076 w 1368152"/>
              <a:gd name="connsiteY16" fmla="*/ 1911777 h 2298537"/>
              <a:gd name="connsiteX17" fmla="*/ 558076 w 1368152"/>
              <a:gd name="connsiteY17" fmla="*/ 1818517 h 2298537"/>
              <a:gd name="connsiteX18" fmla="*/ 0 w 1368152"/>
              <a:gd name="connsiteY18" fmla="*/ 1818517 h 2298537"/>
              <a:gd name="connsiteX19" fmla="*/ 0 w 1368152"/>
              <a:gd name="connsiteY19" fmla="*/ 1368933 h 2298537"/>
              <a:gd name="connsiteX20" fmla="*/ 133491 w 1368152"/>
              <a:gd name="connsiteY20" fmla="*/ 1404516 h 2298537"/>
              <a:gd name="connsiteX21" fmla="*/ 133491 w 1368152"/>
              <a:gd name="connsiteY21" fmla="*/ 864516 h 2298537"/>
              <a:gd name="connsiteX22" fmla="*/ 0 w 1368152"/>
              <a:gd name="connsiteY22" fmla="*/ 900098 h 2298537"/>
              <a:gd name="connsiteX23" fmla="*/ 0 w 1368152"/>
              <a:gd name="connsiteY23" fmla="*/ 450517 h 2298537"/>
              <a:gd name="connsiteX24" fmla="*/ 558076 w 1368152"/>
              <a:gd name="connsiteY24" fmla="*/ 450517 h 2298537"/>
              <a:gd name="connsiteX25" fmla="*/ 558076 w 1368152"/>
              <a:gd name="connsiteY25" fmla="*/ 386760 h 2298537"/>
              <a:gd name="connsiteX26" fmla="*/ 468076 w 1368152"/>
              <a:gd name="connsiteY26" fmla="*/ 216000 h 2298537"/>
              <a:gd name="connsiteX27" fmla="*/ 684076 w 1368152"/>
              <a:gd name="connsiteY27" fmla="*/ 0 h 2298537"/>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244206 w 1368152"/>
              <a:gd name="connsiteY6" fmla="*/ 864516 h 2298537"/>
              <a:gd name="connsiteX7" fmla="*/ 974206 w 1368152"/>
              <a:gd name="connsiteY7" fmla="*/ 1134516 h 2298537"/>
              <a:gd name="connsiteX8" fmla="*/ 1244206 w 1368152"/>
              <a:gd name="connsiteY8" fmla="*/ 1404516 h 2298537"/>
              <a:gd name="connsiteX9" fmla="*/ 1368152 w 1368152"/>
              <a:gd name="connsiteY9" fmla="*/ 1373288 h 2298537"/>
              <a:gd name="connsiteX10" fmla="*/ 1368152 w 1368152"/>
              <a:gd name="connsiteY10" fmla="*/ 1818517 h 2298537"/>
              <a:gd name="connsiteX11" fmla="*/ 810076 w 1368152"/>
              <a:gd name="connsiteY11" fmla="*/ 1818517 h 2298537"/>
              <a:gd name="connsiteX12" fmla="*/ 810076 w 1368152"/>
              <a:gd name="connsiteY12" fmla="*/ 1911777 h 2298537"/>
              <a:gd name="connsiteX13" fmla="*/ 900076 w 1368152"/>
              <a:gd name="connsiteY13" fmla="*/ 2082537 h 2298537"/>
              <a:gd name="connsiteX14" fmla="*/ 684076 w 1368152"/>
              <a:gd name="connsiteY14" fmla="*/ 2298537 h 2298537"/>
              <a:gd name="connsiteX15" fmla="*/ 468076 w 1368152"/>
              <a:gd name="connsiteY15" fmla="*/ 2082537 h 2298537"/>
              <a:gd name="connsiteX16" fmla="*/ 558076 w 1368152"/>
              <a:gd name="connsiteY16" fmla="*/ 1911777 h 2298537"/>
              <a:gd name="connsiteX17" fmla="*/ 558076 w 1368152"/>
              <a:gd name="connsiteY17" fmla="*/ 1818517 h 2298537"/>
              <a:gd name="connsiteX18" fmla="*/ 0 w 1368152"/>
              <a:gd name="connsiteY18" fmla="*/ 1818517 h 2298537"/>
              <a:gd name="connsiteX19" fmla="*/ 0 w 1368152"/>
              <a:gd name="connsiteY19" fmla="*/ 1368933 h 2298537"/>
              <a:gd name="connsiteX20" fmla="*/ 133491 w 1368152"/>
              <a:gd name="connsiteY20" fmla="*/ 1404516 h 2298537"/>
              <a:gd name="connsiteX21" fmla="*/ 0 w 1368152"/>
              <a:gd name="connsiteY21" fmla="*/ 900098 h 2298537"/>
              <a:gd name="connsiteX22" fmla="*/ 0 w 1368152"/>
              <a:gd name="connsiteY22" fmla="*/ 450517 h 2298537"/>
              <a:gd name="connsiteX23" fmla="*/ 558076 w 1368152"/>
              <a:gd name="connsiteY23" fmla="*/ 450517 h 2298537"/>
              <a:gd name="connsiteX24" fmla="*/ 558076 w 1368152"/>
              <a:gd name="connsiteY24" fmla="*/ 386760 h 2298537"/>
              <a:gd name="connsiteX25" fmla="*/ 468076 w 1368152"/>
              <a:gd name="connsiteY25" fmla="*/ 216000 h 2298537"/>
              <a:gd name="connsiteX26" fmla="*/ 684076 w 1368152"/>
              <a:gd name="connsiteY26" fmla="*/ 0 h 2298537"/>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244206 w 1368152"/>
              <a:gd name="connsiteY6" fmla="*/ 864516 h 2298537"/>
              <a:gd name="connsiteX7" fmla="*/ 974206 w 1368152"/>
              <a:gd name="connsiteY7" fmla="*/ 1134516 h 2298537"/>
              <a:gd name="connsiteX8" fmla="*/ 1244206 w 1368152"/>
              <a:gd name="connsiteY8" fmla="*/ 1404516 h 2298537"/>
              <a:gd name="connsiteX9" fmla="*/ 1368152 w 1368152"/>
              <a:gd name="connsiteY9" fmla="*/ 1373288 h 2298537"/>
              <a:gd name="connsiteX10" fmla="*/ 1368152 w 1368152"/>
              <a:gd name="connsiteY10" fmla="*/ 1818517 h 2298537"/>
              <a:gd name="connsiteX11" fmla="*/ 810076 w 1368152"/>
              <a:gd name="connsiteY11" fmla="*/ 1818517 h 2298537"/>
              <a:gd name="connsiteX12" fmla="*/ 810076 w 1368152"/>
              <a:gd name="connsiteY12" fmla="*/ 1911777 h 2298537"/>
              <a:gd name="connsiteX13" fmla="*/ 900076 w 1368152"/>
              <a:gd name="connsiteY13" fmla="*/ 2082537 h 2298537"/>
              <a:gd name="connsiteX14" fmla="*/ 684076 w 1368152"/>
              <a:gd name="connsiteY14" fmla="*/ 2298537 h 2298537"/>
              <a:gd name="connsiteX15" fmla="*/ 468076 w 1368152"/>
              <a:gd name="connsiteY15" fmla="*/ 2082537 h 2298537"/>
              <a:gd name="connsiteX16" fmla="*/ 558076 w 1368152"/>
              <a:gd name="connsiteY16" fmla="*/ 1911777 h 2298537"/>
              <a:gd name="connsiteX17" fmla="*/ 558076 w 1368152"/>
              <a:gd name="connsiteY17" fmla="*/ 1818517 h 2298537"/>
              <a:gd name="connsiteX18" fmla="*/ 0 w 1368152"/>
              <a:gd name="connsiteY18" fmla="*/ 1818517 h 2298537"/>
              <a:gd name="connsiteX19" fmla="*/ 0 w 1368152"/>
              <a:gd name="connsiteY19" fmla="*/ 1368933 h 2298537"/>
              <a:gd name="connsiteX20" fmla="*/ 0 w 1368152"/>
              <a:gd name="connsiteY20" fmla="*/ 900098 h 2298537"/>
              <a:gd name="connsiteX21" fmla="*/ 0 w 1368152"/>
              <a:gd name="connsiteY21" fmla="*/ 450517 h 2298537"/>
              <a:gd name="connsiteX22" fmla="*/ 558076 w 1368152"/>
              <a:gd name="connsiteY22" fmla="*/ 450517 h 2298537"/>
              <a:gd name="connsiteX23" fmla="*/ 558076 w 1368152"/>
              <a:gd name="connsiteY23" fmla="*/ 386760 h 2298537"/>
              <a:gd name="connsiteX24" fmla="*/ 468076 w 1368152"/>
              <a:gd name="connsiteY24" fmla="*/ 216000 h 2298537"/>
              <a:gd name="connsiteX25" fmla="*/ 684076 w 1368152"/>
              <a:gd name="connsiteY25" fmla="*/ 0 h 2298537"/>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244206 w 1368152"/>
              <a:gd name="connsiteY6" fmla="*/ 864516 h 2298537"/>
              <a:gd name="connsiteX7" fmla="*/ 1244206 w 1368152"/>
              <a:gd name="connsiteY7" fmla="*/ 1404516 h 2298537"/>
              <a:gd name="connsiteX8" fmla="*/ 1368152 w 1368152"/>
              <a:gd name="connsiteY8" fmla="*/ 1373288 h 2298537"/>
              <a:gd name="connsiteX9" fmla="*/ 1368152 w 1368152"/>
              <a:gd name="connsiteY9" fmla="*/ 1818517 h 2298537"/>
              <a:gd name="connsiteX10" fmla="*/ 810076 w 1368152"/>
              <a:gd name="connsiteY10" fmla="*/ 1818517 h 2298537"/>
              <a:gd name="connsiteX11" fmla="*/ 810076 w 1368152"/>
              <a:gd name="connsiteY11" fmla="*/ 1911777 h 2298537"/>
              <a:gd name="connsiteX12" fmla="*/ 900076 w 1368152"/>
              <a:gd name="connsiteY12" fmla="*/ 2082537 h 2298537"/>
              <a:gd name="connsiteX13" fmla="*/ 684076 w 1368152"/>
              <a:gd name="connsiteY13" fmla="*/ 2298537 h 2298537"/>
              <a:gd name="connsiteX14" fmla="*/ 468076 w 1368152"/>
              <a:gd name="connsiteY14" fmla="*/ 2082537 h 2298537"/>
              <a:gd name="connsiteX15" fmla="*/ 558076 w 1368152"/>
              <a:gd name="connsiteY15" fmla="*/ 1911777 h 2298537"/>
              <a:gd name="connsiteX16" fmla="*/ 558076 w 1368152"/>
              <a:gd name="connsiteY16" fmla="*/ 1818517 h 2298537"/>
              <a:gd name="connsiteX17" fmla="*/ 0 w 1368152"/>
              <a:gd name="connsiteY17" fmla="*/ 1818517 h 2298537"/>
              <a:gd name="connsiteX18" fmla="*/ 0 w 1368152"/>
              <a:gd name="connsiteY18" fmla="*/ 1368933 h 2298537"/>
              <a:gd name="connsiteX19" fmla="*/ 0 w 1368152"/>
              <a:gd name="connsiteY19" fmla="*/ 900098 h 2298537"/>
              <a:gd name="connsiteX20" fmla="*/ 0 w 1368152"/>
              <a:gd name="connsiteY20" fmla="*/ 450517 h 2298537"/>
              <a:gd name="connsiteX21" fmla="*/ 558076 w 1368152"/>
              <a:gd name="connsiteY21" fmla="*/ 450517 h 2298537"/>
              <a:gd name="connsiteX22" fmla="*/ 558076 w 1368152"/>
              <a:gd name="connsiteY22" fmla="*/ 386760 h 2298537"/>
              <a:gd name="connsiteX23" fmla="*/ 468076 w 1368152"/>
              <a:gd name="connsiteY23" fmla="*/ 216000 h 2298537"/>
              <a:gd name="connsiteX24" fmla="*/ 684076 w 1368152"/>
              <a:gd name="connsiteY24" fmla="*/ 0 h 2298537"/>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244206 w 1368152"/>
              <a:gd name="connsiteY6" fmla="*/ 864516 h 2298537"/>
              <a:gd name="connsiteX7" fmla="*/ 1368152 w 1368152"/>
              <a:gd name="connsiteY7" fmla="*/ 1373288 h 2298537"/>
              <a:gd name="connsiteX8" fmla="*/ 1368152 w 1368152"/>
              <a:gd name="connsiteY8" fmla="*/ 1818517 h 2298537"/>
              <a:gd name="connsiteX9" fmla="*/ 810076 w 1368152"/>
              <a:gd name="connsiteY9" fmla="*/ 1818517 h 2298537"/>
              <a:gd name="connsiteX10" fmla="*/ 810076 w 1368152"/>
              <a:gd name="connsiteY10" fmla="*/ 1911777 h 2298537"/>
              <a:gd name="connsiteX11" fmla="*/ 900076 w 1368152"/>
              <a:gd name="connsiteY11" fmla="*/ 2082537 h 2298537"/>
              <a:gd name="connsiteX12" fmla="*/ 684076 w 1368152"/>
              <a:gd name="connsiteY12" fmla="*/ 2298537 h 2298537"/>
              <a:gd name="connsiteX13" fmla="*/ 468076 w 1368152"/>
              <a:gd name="connsiteY13" fmla="*/ 2082537 h 2298537"/>
              <a:gd name="connsiteX14" fmla="*/ 558076 w 1368152"/>
              <a:gd name="connsiteY14" fmla="*/ 1911777 h 2298537"/>
              <a:gd name="connsiteX15" fmla="*/ 558076 w 1368152"/>
              <a:gd name="connsiteY15" fmla="*/ 1818517 h 2298537"/>
              <a:gd name="connsiteX16" fmla="*/ 0 w 1368152"/>
              <a:gd name="connsiteY16" fmla="*/ 1818517 h 2298537"/>
              <a:gd name="connsiteX17" fmla="*/ 0 w 1368152"/>
              <a:gd name="connsiteY17" fmla="*/ 1368933 h 2298537"/>
              <a:gd name="connsiteX18" fmla="*/ 0 w 1368152"/>
              <a:gd name="connsiteY18" fmla="*/ 900098 h 2298537"/>
              <a:gd name="connsiteX19" fmla="*/ 0 w 1368152"/>
              <a:gd name="connsiteY19" fmla="*/ 450517 h 2298537"/>
              <a:gd name="connsiteX20" fmla="*/ 558076 w 1368152"/>
              <a:gd name="connsiteY20" fmla="*/ 450517 h 2298537"/>
              <a:gd name="connsiteX21" fmla="*/ 558076 w 1368152"/>
              <a:gd name="connsiteY21" fmla="*/ 386760 h 2298537"/>
              <a:gd name="connsiteX22" fmla="*/ 468076 w 1368152"/>
              <a:gd name="connsiteY22" fmla="*/ 216000 h 2298537"/>
              <a:gd name="connsiteX23" fmla="*/ 684076 w 1368152"/>
              <a:gd name="connsiteY23" fmla="*/ 0 h 2298537"/>
              <a:gd name="connsiteX0" fmla="*/ 684076 w 1368152"/>
              <a:gd name="connsiteY0" fmla="*/ 0 h 2298537"/>
              <a:gd name="connsiteX1" fmla="*/ 900076 w 1368152"/>
              <a:gd name="connsiteY1" fmla="*/ 216000 h 2298537"/>
              <a:gd name="connsiteX2" fmla="*/ 810076 w 1368152"/>
              <a:gd name="connsiteY2" fmla="*/ 386760 h 2298537"/>
              <a:gd name="connsiteX3" fmla="*/ 810076 w 1368152"/>
              <a:gd name="connsiteY3" fmla="*/ 450517 h 2298537"/>
              <a:gd name="connsiteX4" fmla="*/ 1368152 w 1368152"/>
              <a:gd name="connsiteY4" fmla="*/ 450517 h 2298537"/>
              <a:gd name="connsiteX5" fmla="*/ 1368152 w 1368152"/>
              <a:gd name="connsiteY5" fmla="*/ 895744 h 2298537"/>
              <a:gd name="connsiteX6" fmla="*/ 1368152 w 1368152"/>
              <a:gd name="connsiteY6" fmla="*/ 1373288 h 2298537"/>
              <a:gd name="connsiteX7" fmla="*/ 1368152 w 1368152"/>
              <a:gd name="connsiteY7" fmla="*/ 1818517 h 2298537"/>
              <a:gd name="connsiteX8" fmla="*/ 810076 w 1368152"/>
              <a:gd name="connsiteY8" fmla="*/ 1818517 h 2298537"/>
              <a:gd name="connsiteX9" fmla="*/ 810076 w 1368152"/>
              <a:gd name="connsiteY9" fmla="*/ 1911777 h 2298537"/>
              <a:gd name="connsiteX10" fmla="*/ 900076 w 1368152"/>
              <a:gd name="connsiteY10" fmla="*/ 2082537 h 2298537"/>
              <a:gd name="connsiteX11" fmla="*/ 684076 w 1368152"/>
              <a:gd name="connsiteY11" fmla="*/ 2298537 h 2298537"/>
              <a:gd name="connsiteX12" fmla="*/ 468076 w 1368152"/>
              <a:gd name="connsiteY12" fmla="*/ 2082537 h 2298537"/>
              <a:gd name="connsiteX13" fmla="*/ 558076 w 1368152"/>
              <a:gd name="connsiteY13" fmla="*/ 1911777 h 2298537"/>
              <a:gd name="connsiteX14" fmla="*/ 558076 w 1368152"/>
              <a:gd name="connsiteY14" fmla="*/ 1818517 h 2298537"/>
              <a:gd name="connsiteX15" fmla="*/ 0 w 1368152"/>
              <a:gd name="connsiteY15" fmla="*/ 1818517 h 2298537"/>
              <a:gd name="connsiteX16" fmla="*/ 0 w 1368152"/>
              <a:gd name="connsiteY16" fmla="*/ 1368933 h 2298537"/>
              <a:gd name="connsiteX17" fmla="*/ 0 w 1368152"/>
              <a:gd name="connsiteY17" fmla="*/ 900098 h 2298537"/>
              <a:gd name="connsiteX18" fmla="*/ 0 w 1368152"/>
              <a:gd name="connsiteY18" fmla="*/ 450517 h 2298537"/>
              <a:gd name="connsiteX19" fmla="*/ 558076 w 1368152"/>
              <a:gd name="connsiteY19" fmla="*/ 450517 h 2298537"/>
              <a:gd name="connsiteX20" fmla="*/ 558076 w 1368152"/>
              <a:gd name="connsiteY20" fmla="*/ 386760 h 2298537"/>
              <a:gd name="connsiteX21" fmla="*/ 468076 w 1368152"/>
              <a:gd name="connsiteY21" fmla="*/ 216000 h 2298537"/>
              <a:gd name="connsiteX22" fmla="*/ 684076 w 1368152"/>
              <a:gd name="connsiteY22" fmla="*/ 0 h 229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68152" h="2298537">
                <a:moveTo>
                  <a:pt x="684076" y="0"/>
                </a:moveTo>
                <a:cubicBezTo>
                  <a:pt x="803370" y="0"/>
                  <a:pt x="900076" y="96706"/>
                  <a:pt x="900076" y="216000"/>
                </a:cubicBezTo>
                <a:cubicBezTo>
                  <a:pt x="900076" y="287268"/>
                  <a:pt x="865561" y="350475"/>
                  <a:pt x="810076" y="386760"/>
                </a:cubicBezTo>
                <a:lnTo>
                  <a:pt x="810076" y="450517"/>
                </a:lnTo>
                <a:lnTo>
                  <a:pt x="1368152" y="450517"/>
                </a:lnTo>
                <a:lnTo>
                  <a:pt x="1368152" y="895744"/>
                </a:lnTo>
                <a:lnTo>
                  <a:pt x="1368152" y="1373288"/>
                </a:lnTo>
                <a:lnTo>
                  <a:pt x="1368152" y="1818517"/>
                </a:lnTo>
                <a:lnTo>
                  <a:pt x="810076" y="1818517"/>
                </a:lnTo>
                <a:lnTo>
                  <a:pt x="810076" y="1911777"/>
                </a:lnTo>
                <a:cubicBezTo>
                  <a:pt x="865561" y="1948062"/>
                  <a:pt x="900076" y="2011269"/>
                  <a:pt x="900076" y="2082537"/>
                </a:cubicBezTo>
                <a:cubicBezTo>
                  <a:pt x="900076" y="2201831"/>
                  <a:pt x="803370" y="2298537"/>
                  <a:pt x="684076" y="2298537"/>
                </a:cubicBezTo>
                <a:cubicBezTo>
                  <a:pt x="564782" y="2298537"/>
                  <a:pt x="468076" y="2201831"/>
                  <a:pt x="468076" y="2082537"/>
                </a:cubicBezTo>
                <a:cubicBezTo>
                  <a:pt x="468076" y="2011269"/>
                  <a:pt x="502591" y="1948062"/>
                  <a:pt x="558076" y="1911777"/>
                </a:cubicBezTo>
                <a:lnTo>
                  <a:pt x="558076" y="1818517"/>
                </a:lnTo>
                <a:lnTo>
                  <a:pt x="0" y="1818517"/>
                </a:lnTo>
                <a:lnTo>
                  <a:pt x="0" y="1368933"/>
                </a:lnTo>
                <a:lnTo>
                  <a:pt x="0" y="900098"/>
                </a:lnTo>
                <a:lnTo>
                  <a:pt x="0" y="450517"/>
                </a:lnTo>
                <a:lnTo>
                  <a:pt x="558076" y="450517"/>
                </a:lnTo>
                <a:lnTo>
                  <a:pt x="558076" y="386760"/>
                </a:lnTo>
                <a:cubicBezTo>
                  <a:pt x="502591" y="350475"/>
                  <a:pt x="468076" y="287268"/>
                  <a:pt x="468076" y="216000"/>
                </a:cubicBezTo>
                <a:cubicBezTo>
                  <a:pt x="468076" y="96706"/>
                  <a:pt x="564782" y="0"/>
                  <a:pt x="684076" y="0"/>
                </a:cubicBezTo>
                <a:close/>
              </a:path>
            </a:pathLst>
          </a:custGeom>
          <a:solidFill>
            <a:schemeClr val="accent2"/>
          </a:soli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a:solidFill>
                <a:schemeClr val="tx1">
                  <a:lumMod val="65000"/>
                  <a:lumOff val="35000"/>
                </a:schemeClr>
              </a:solidFill>
            </a:endParaRPr>
          </a:p>
        </p:txBody>
      </p:sp>
    </p:spTree>
    <p:extLst>
      <p:ext uri="{BB962C8B-B14F-4D97-AF65-F5344CB8AC3E}">
        <p14:creationId xmlns:p14="http://schemas.microsoft.com/office/powerpoint/2010/main" val="188006808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9D6C2F-5BDE-7E46-ADC6-37746DF15B56}"/>
              </a:ext>
            </a:extLst>
          </p:cNvPr>
          <p:cNvSpPr>
            <a:spLocks noGrp="1"/>
          </p:cNvSpPr>
          <p:nvPr>
            <p:ph type="sldNum" sz="quarter" idx="4"/>
          </p:nvPr>
        </p:nvSpPr>
        <p:spPr/>
        <p:txBody>
          <a:bodyPr/>
          <a:lstStyle/>
          <a:p>
            <a:fld id="{3D966009-6E5A-4F8C-8CA7-E37AFBF5FB92}" type="slidenum">
              <a:rPr lang="en-US" smtClean="0"/>
              <a:t>99</a:t>
            </a:fld>
            <a:endParaRPr lang="en-US"/>
          </a:p>
        </p:txBody>
      </p:sp>
      <p:sp>
        <p:nvSpPr>
          <p:cNvPr id="3" name="Title 2">
            <a:extLst>
              <a:ext uri="{FF2B5EF4-FFF2-40B4-BE49-F238E27FC236}">
                <a16:creationId xmlns:a16="http://schemas.microsoft.com/office/drawing/2014/main" id="{3B67964B-47BA-1344-BB0B-16010B9A0933}"/>
              </a:ext>
            </a:extLst>
          </p:cNvPr>
          <p:cNvSpPr>
            <a:spLocks noGrp="1"/>
          </p:cNvSpPr>
          <p:nvPr>
            <p:ph type="title"/>
          </p:nvPr>
        </p:nvSpPr>
        <p:spPr/>
        <p:txBody>
          <a:bodyPr/>
          <a:lstStyle/>
          <a:p>
            <a:endParaRPr lang="en-GB"/>
          </a:p>
        </p:txBody>
      </p:sp>
      <p:sp>
        <p:nvSpPr>
          <p:cNvPr id="4" name="Content Placeholder 3">
            <a:extLst>
              <a:ext uri="{FF2B5EF4-FFF2-40B4-BE49-F238E27FC236}">
                <a16:creationId xmlns:a16="http://schemas.microsoft.com/office/drawing/2014/main" id="{B515E166-156D-5B42-A400-BC9E6A8FC044}"/>
              </a:ext>
            </a:extLst>
          </p:cNvPr>
          <p:cNvSpPr>
            <a:spLocks noGrp="1"/>
          </p:cNvSpPr>
          <p:nvPr>
            <p:ph sz="quarter" idx="10"/>
          </p:nvPr>
        </p:nvSpPr>
        <p:spPr/>
        <p:txBody>
          <a:bodyPr/>
          <a:lstStyle/>
          <a:p>
            <a:endParaRPr lang="en-GB"/>
          </a:p>
        </p:txBody>
      </p:sp>
      <p:sp>
        <p:nvSpPr>
          <p:cNvPr id="6" name="Text Placeholder 5">
            <a:extLst>
              <a:ext uri="{FF2B5EF4-FFF2-40B4-BE49-F238E27FC236}">
                <a16:creationId xmlns:a16="http://schemas.microsoft.com/office/drawing/2014/main" id="{FCA81093-D903-EF46-B9C6-E75A485A32D6}"/>
              </a:ext>
            </a:extLst>
          </p:cNvPr>
          <p:cNvSpPr>
            <a:spLocks noGrp="1"/>
          </p:cNvSpPr>
          <p:nvPr>
            <p:ph type="body" sz="quarter" idx="12"/>
          </p:nvPr>
        </p:nvSpPr>
        <p:spPr/>
        <p:txBody>
          <a:bodyPr/>
          <a:lstStyle/>
          <a:p>
            <a:endParaRPr lang="en-GB"/>
          </a:p>
        </p:txBody>
      </p:sp>
      <p:sp>
        <p:nvSpPr>
          <p:cNvPr id="7" name="Text Placeholder 6">
            <a:extLst>
              <a:ext uri="{FF2B5EF4-FFF2-40B4-BE49-F238E27FC236}">
                <a16:creationId xmlns:a16="http://schemas.microsoft.com/office/drawing/2014/main" id="{88565DFB-5094-3B4E-AC26-288C3AFEBC80}"/>
              </a:ext>
            </a:extLst>
          </p:cNvPr>
          <p:cNvSpPr>
            <a:spLocks noGrp="1"/>
          </p:cNvSpPr>
          <p:nvPr>
            <p:ph type="body" sz="quarter" idx="13"/>
          </p:nvPr>
        </p:nvSpPr>
        <p:spPr/>
        <p:txBody>
          <a:bodyPr/>
          <a:lstStyle/>
          <a:p>
            <a:endParaRPr lang="en-GB"/>
          </a:p>
        </p:txBody>
      </p:sp>
      <p:sp>
        <p:nvSpPr>
          <p:cNvPr id="8" name="Content Placeholder 7">
            <a:extLst>
              <a:ext uri="{FF2B5EF4-FFF2-40B4-BE49-F238E27FC236}">
                <a16:creationId xmlns:a16="http://schemas.microsoft.com/office/drawing/2014/main" id="{396D04B1-D868-AF4E-9475-44487A550B3B}"/>
              </a:ext>
            </a:extLst>
          </p:cNvPr>
          <p:cNvSpPr>
            <a:spLocks noGrp="1"/>
          </p:cNvSpPr>
          <p:nvPr>
            <p:ph sz="quarter" idx="14"/>
          </p:nvPr>
        </p:nvSpPr>
        <p:spPr/>
        <p:txBody>
          <a:bodyPr/>
          <a:lstStyle/>
          <a:p>
            <a:endParaRPr lang="en-GB"/>
          </a:p>
        </p:txBody>
      </p:sp>
      <p:sp>
        <p:nvSpPr>
          <p:cNvPr id="9" name="Oval 8">
            <a:extLst>
              <a:ext uri="{FF2B5EF4-FFF2-40B4-BE49-F238E27FC236}">
                <a16:creationId xmlns:a16="http://schemas.microsoft.com/office/drawing/2014/main" id="{56C61D47-5D76-FF4F-83C5-4260B0A77304}"/>
              </a:ext>
            </a:extLst>
          </p:cNvPr>
          <p:cNvSpPr/>
          <p:nvPr/>
        </p:nvSpPr>
        <p:spPr>
          <a:xfrm>
            <a:off x="6440298" y="3010028"/>
            <a:ext cx="509349" cy="509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0" name="Oval 9">
            <a:extLst>
              <a:ext uri="{FF2B5EF4-FFF2-40B4-BE49-F238E27FC236}">
                <a16:creationId xmlns:a16="http://schemas.microsoft.com/office/drawing/2014/main" id="{F8E5ADE6-A412-9045-8A96-037F91034140}"/>
              </a:ext>
            </a:extLst>
          </p:cNvPr>
          <p:cNvSpPr/>
          <p:nvPr/>
        </p:nvSpPr>
        <p:spPr>
          <a:xfrm>
            <a:off x="6069172" y="3822402"/>
            <a:ext cx="509349" cy="50934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1" name="Oval 10">
            <a:extLst>
              <a:ext uri="{FF2B5EF4-FFF2-40B4-BE49-F238E27FC236}">
                <a16:creationId xmlns:a16="http://schemas.microsoft.com/office/drawing/2014/main" id="{02820F5E-7871-FC46-A56B-0121130C8993}"/>
              </a:ext>
            </a:extLst>
          </p:cNvPr>
          <p:cNvSpPr/>
          <p:nvPr/>
        </p:nvSpPr>
        <p:spPr>
          <a:xfrm>
            <a:off x="5698048" y="4634776"/>
            <a:ext cx="509349" cy="50934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2" name="Oval 11">
            <a:extLst>
              <a:ext uri="{FF2B5EF4-FFF2-40B4-BE49-F238E27FC236}">
                <a16:creationId xmlns:a16="http://schemas.microsoft.com/office/drawing/2014/main" id="{648B25A4-A107-2F4B-8602-18D8BF98B40B}"/>
              </a:ext>
            </a:extLst>
          </p:cNvPr>
          <p:cNvSpPr/>
          <p:nvPr/>
        </p:nvSpPr>
        <p:spPr>
          <a:xfrm>
            <a:off x="5326922" y="5447148"/>
            <a:ext cx="509349" cy="50934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3" name="Oval 12">
            <a:extLst>
              <a:ext uri="{FF2B5EF4-FFF2-40B4-BE49-F238E27FC236}">
                <a16:creationId xmlns:a16="http://schemas.microsoft.com/office/drawing/2014/main" id="{20EAA0CB-FFD5-FC4C-891B-328BB4EEE426}"/>
              </a:ext>
            </a:extLst>
          </p:cNvPr>
          <p:cNvSpPr/>
          <p:nvPr/>
        </p:nvSpPr>
        <p:spPr>
          <a:xfrm>
            <a:off x="6069172" y="2197654"/>
            <a:ext cx="509349" cy="50934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14" name="TextBox 13">
            <a:extLst>
              <a:ext uri="{FF2B5EF4-FFF2-40B4-BE49-F238E27FC236}">
                <a16:creationId xmlns:a16="http://schemas.microsoft.com/office/drawing/2014/main" id="{EB118AEC-4226-594F-B921-D03A4B4E6E41}"/>
              </a:ext>
            </a:extLst>
          </p:cNvPr>
          <p:cNvSpPr txBox="1"/>
          <p:nvPr/>
        </p:nvSpPr>
        <p:spPr>
          <a:xfrm>
            <a:off x="6163174" y="2252270"/>
            <a:ext cx="321341" cy="400110"/>
          </a:xfrm>
          <a:prstGeom prst="rect">
            <a:avLst/>
          </a:prstGeom>
          <a:noFill/>
        </p:spPr>
        <p:txBody>
          <a:bodyPr wrap="square" rtlCol="0">
            <a:spAutoFit/>
          </a:bodyPr>
          <a:lstStyle/>
          <a:p>
            <a:pPr algn="ctr"/>
            <a:r>
              <a:rPr lang="en-US" altLang="ko-KR" sz="2000" b="1">
                <a:solidFill>
                  <a:schemeClr val="bg1"/>
                </a:solidFill>
                <a:cs typeface="Arial" pitchFamily="34" charset="0"/>
              </a:rPr>
              <a:t>A</a:t>
            </a:r>
            <a:endParaRPr lang="ko-KR" altLang="en-US" sz="2000" b="1">
              <a:solidFill>
                <a:schemeClr val="bg1"/>
              </a:solidFill>
              <a:cs typeface="Arial" pitchFamily="34" charset="0"/>
            </a:endParaRPr>
          </a:p>
        </p:txBody>
      </p:sp>
      <p:sp>
        <p:nvSpPr>
          <p:cNvPr id="15" name="TextBox 14">
            <a:extLst>
              <a:ext uri="{FF2B5EF4-FFF2-40B4-BE49-F238E27FC236}">
                <a16:creationId xmlns:a16="http://schemas.microsoft.com/office/drawing/2014/main" id="{FE51B40C-4B7D-0C4C-9945-BAE60B8C5053}"/>
              </a:ext>
            </a:extLst>
          </p:cNvPr>
          <p:cNvSpPr txBox="1"/>
          <p:nvPr/>
        </p:nvSpPr>
        <p:spPr>
          <a:xfrm>
            <a:off x="6519926" y="3064643"/>
            <a:ext cx="370614" cy="400110"/>
          </a:xfrm>
          <a:prstGeom prst="rect">
            <a:avLst/>
          </a:prstGeom>
          <a:noFill/>
        </p:spPr>
        <p:txBody>
          <a:bodyPr wrap="square" rtlCol="0">
            <a:spAutoFit/>
          </a:bodyPr>
          <a:lstStyle/>
          <a:p>
            <a:pPr algn="ctr"/>
            <a:r>
              <a:rPr lang="en-US" altLang="ko-KR" sz="2000" b="1">
                <a:solidFill>
                  <a:schemeClr val="bg1"/>
                </a:solidFill>
                <a:cs typeface="Arial" pitchFamily="34" charset="0"/>
              </a:rPr>
              <a:t>B</a:t>
            </a:r>
            <a:endParaRPr lang="ko-KR" altLang="en-US" sz="2000" b="1">
              <a:solidFill>
                <a:schemeClr val="bg1"/>
              </a:solidFill>
              <a:cs typeface="Arial" pitchFamily="34" charset="0"/>
            </a:endParaRPr>
          </a:p>
        </p:txBody>
      </p:sp>
      <p:sp>
        <p:nvSpPr>
          <p:cNvPr id="16" name="TextBox 15">
            <a:extLst>
              <a:ext uri="{FF2B5EF4-FFF2-40B4-BE49-F238E27FC236}">
                <a16:creationId xmlns:a16="http://schemas.microsoft.com/office/drawing/2014/main" id="{8CBACC6B-8088-9547-A80C-6C34B1C3770A}"/>
              </a:ext>
            </a:extLst>
          </p:cNvPr>
          <p:cNvSpPr txBox="1"/>
          <p:nvPr/>
        </p:nvSpPr>
        <p:spPr>
          <a:xfrm>
            <a:off x="6144455" y="3877018"/>
            <a:ext cx="370614" cy="400110"/>
          </a:xfrm>
          <a:prstGeom prst="rect">
            <a:avLst/>
          </a:prstGeom>
          <a:noFill/>
        </p:spPr>
        <p:txBody>
          <a:bodyPr wrap="square" rtlCol="0">
            <a:spAutoFit/>
          </a:bodyPr>
          <a:lstStyle/>
          <a:p>
            <a:pPr algn="ctr"/>
            <a:r>
              <a:rPr lang="en-US" altLang="ko-KR" sz="2000" b="1">
                <a:solidFill>
                  <a:schemeClr val="bg1"/>
                </a:solidFill>
                <a:cs typeface="Arial" pitchFamily="34" charset="0"/>
              </a:rPr>
              <a:t>C</a:t>
            </a:r>
            <a:endParaRPr lang="ko-KR" altLang="en-US" sz="2000" b="1">
              <a:solidFill>
                <a:schemeClr val="bg1"/>
              </a:solidFill>
              <a:cs typeface="Arial" pitchFamily="34" charset="0"/>
            </a:endParaRPr>
          </a:p>
        </p:txBody>
      </p:sp>
      <p:sp>
        <p:nvSpPr>
          <p:cNvPr id="17" name="TextBox 16">
            <a:extLst>
              <a:ext uri="{FF2B5EF4-FFF2-40B4-BE49-F238E27FC236}">
                <a16:creationId xmlns:a16="http://schemas.microsoft.com/office/drawing/2014/main" id="{EFFFA77B-2681-6A49-9049-2E46EE318A86}"/>
              </a:ext>
            </a:extLst>
          </p:cNvPr>
          <p:cNvSpPr txBox="1"/>
          <p:nvPr/>
        </p:nvSpPr>
        <p:spPr>
          <a:xfrm>
            <a:off x="5407936" y="5501765"/>
            <a:ext cx="356189" cy="400110"/>
          </a:xfrm>
          <a:prstGeom prst="rect">
            <a:avLst/>
          </a:prstGeom>
          <a:noFill/>
        </p:spPr>
        <p:txBody>
          <a:bodyPr wrap="square" rtlCol="0">
            <a:spAutoFit/>
          </a:bodyPr>
          <a:lstStyle/>
          <a:p>
            <a:pPr algn="ctr"/>
            <a:r>
              <a:rPr lang="en-US" altLang="ko-KR" sz="2000" b="1">
                <a:solidFill>
                  <a:schemeClr val="bg1"/>
                </a:solidFill>
                <a:cs typeface="Arial" pitchFamily="34" charset="0"/>
              </a:rPr>
              <a:t>E</a:t>
            </a:r>
            <a:endParaRPr lang="ko-KR" altLang="en-US" sz="2000" b="1">
              <a:solidFill>
                <a:schemeClr val="bg1"/>
              </a:solidFill>
              <a:cs typeface="Arial" pitchFamily="34" charset="0"/>
            </a:endParaRPr>
          </a:p>
        </p:txBody>
      </p:sp>
      <p:sp>
        <p:nvSpPr>
          <p:cNvPr id="18" name="TextBox 17">
            <a:extLst>
              <a:ext uri="{FF2B5EF4-FFF2-40B4-BE49-F238E27FC236}">
                <a16:creationId xmlns:a16="http://schemas.microsoft.com/office/drawing/2014/main" id="{EEE4F555-CAE6-C149-B6C0-8913AD43466E}"/>
              </a:ext>
            </a:extLst>
          </p:cNvPr>
          <p:cNvSpPr txBox="1"/>
          <p:nvPr/>
        </p:nvSpPr>
        <p:spPr>
          <a:xfrm>
            <a:off x="5768984" y="4689392"/>
            <a:ext cx="370614" cy="400110"/>
          </a:xfrm>
          <a:prstGeom prst="rect">
            <a:avLst/>
          </a:prstGeom>
          <a:noFill/>
        </p:spPr>
        <p:txBody>
          <a:bodyPr wrap="square" rtlCol="0">
            <a:spAutoFit/>
          </a:bodyPr>
          <a:lstStyle/>
          <a:p>
            <a:pPr algn="ctr"/>
            <a:r>
              <a:rPr lang="en-US" altLang="ko-KR" sz="2000" b="1">
                <a:solidFill>
                  <a:schemeClr val="bg1"/>
                </a:solidFill>
                <a:cs typeface="Arial" pitchFamily="34" charset="0"/>
              </a:rPr>
              <a:t>D</a:t>
            </a:r>
            <a:endParaRPr lang="ko-KR" altLang="en-US" sz="2000" b="1">
              <a:solidFill>
                <a:schemeClr val="bg1"/>
              </a:solidFill>
              <a:cs typeface="Arial" pitchFamily="34" charset="0"/>
            </a:endParaRPr>
          </a:p>
        </p:txBody>
      </p:sp>
      <p:grpSp>
        <p:nvGrpSpPr>
          <p:cNvPr id="19" name="Group 18">
            <a:extLst>
              <a:ext uri="{FF2B5EF4-FFF2-40B4-BE49-F238E27FC236}">
                <a16:creationId xmlns:a16="http://schemas.microsoft.com/office/drawing/2014/main" id="{25DE5519-065F-314F-91EB-0C58CC9FD3AE}"/>
              </a:ext>
            </a:extLst>
          </p:cNvPr>
          <p:cNvGrpSpPr/>
          <p:nvPr/>
        </p:nvGrpSpPr>
        <p:grpSpPr>
          <a:xfrm>
            <a:off x="1587904" y="2132862"/>
            <a:ext cx="4340895" cy="638937"/>
            <a:chOff x="803640" y="3362835"/>
            <a:chExt cx="2059657" cy="638937"/>
          </a:xfrm>
        </p:grpSpPr>
        <p:sp>
          <p:nvSpPr>
            <p:cNvPr id="20" name="TextBox 19">
              <a:extLst>
                <a:ext uri="{FF2B5EF4-FFF2-40B4-BE49-F238E27FC236}">
                  <a16:creationId xmlns:a16="http://schemas.microsoft.com/office/drawing/2014/main" id="{C20031F0-CB91-824F-B949-818168B5F9DF}"/>
                </a:ext>
              </a:extLst>
            </p:cNvPr>
            <p:cNvSpPr txBox="1"/>
            <p:nvPr/>
          </p:nvSpPr>
          <p:spPr>
            <a:xfrm>
              <a:off x="803640" y="3540107"/>
              <a:ext cx="2059657" cy="461665"/>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1" name="TextBox 20">
              <a:extLst>
                <a:ext uri="{FF2B5EF4-FFF2-40B4-BE49-F238E27FC236}">
                  <a16:creationId xmlns:a16="http://schemas.microsoft.com/office/drawing/2014/main" id="{07B0BEAC-6637-BA46-9CC6-078D2EA54A35}"/>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2" name="Group 21">
            <a:extLst>
              <a:ext uri="{FF2B5EF4-FFF2-40B4-BE49-F238E27FC236}">
                <a16:creationId xmlns:a16="http://schemas.microsoft.com/office/drawing/2014/main" id="{AE948656-9E33-4945-BB4C-1E063B8D4AAD}"/>
              </a:ext>
            </a:extLst>
          </p:cNvPr>
          <p:cNvGrpSpPr/>
          <p:nvPr/>
        </p:nvGrpSpPr>
        <p:grpSpPr>
          <a:xfrm>
            <a:off x="1955871" y="2945236"/>
            <a:ext cx="4340895" cy="638937"/>
            <a:chOff x="803640" y="3362835"/>
            <a:chExt cx="2059657" cy="638937"/>
          </a:xfrm>
        </p:grpSpPr>
        <p:sp>
          <p:nvSpPr>
            <p:cNvPr id="23" name="TextBox 22">
              <a:extLst>
                <a:ext uri="{FF2B5EF4-FFF2-40B4-BE49-F238E27FC236}">
                  <a16:creationId xmlns:a16="http://schemas.microsoft.com/office/drawing/2014/main" id="{4903D51B-9B7C-DA45-9BD5-39112B4436C1}"/>
                </a:ext>
              </a:extLst>
            </p:cNvPr>
            <p:cNvSpPr txBox="1"/>
            <p:nvPr/>
          </p:nvSpPr>
          <p:spPr>
            <a:xfrm>
              <a:off x="803640" y="3540107"/>
              <a:ext cx="2059657" cy="461665"/>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4" name="TextBox 23">
              <a:extLst>
                <a:ext uri="{FF2B5EF4-FFF2-40B4-BE49-F238E27FC236}">
                  <a16:creationId xmlns:a16="http://schemas.microsoft.com/office/drawing/2014/main" id="{5AAED63E-9EC9-E048-A725-720117E8BB3E}"/>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5" name="Group 24">
            <a:extLst>
              <a:ext uri="{FF2B5EF4-FFF2-40B4-BE49-F238E27FC236}">
                <a16:creationId xmlns:a16="http://schemas.microsoft.com/office/drawing/2014/main" id="{5652AEEA-1E49-CD44-9DA8-11C7FA09566F}"/>
              </a:ext>
            </a:extLst>
          </p:cNvPr>
          <p:cNvGrpSpPr/>
          <p:nvPr/>
        </p:nvGrpSpPr>
        <p:grpSpPr>
          <a:xfrm>
            <a:off x="1585033" y="3757610"/>
            <a:ext cx="4340895" cy="638937"/>
            <a:chOff x="803640" y="3362835"/>
            <a:chExt cx="2059657" cy="638937"/>
          </a:xfrm>
        </p:grpSpPr>
        <p:sp>
          <p:nvSpPr>
            <p:cNvPr id="26" name="TextBox 25">
              <a:extLst>
                <a:ext uri="{FF2B5EF4-FFF2-40B4-BE49-F238E27FC236}">
                  <a16:creationId xmlns:a16="http://schemas.microsoft.com/office/drawing/2014/main" id="{2FD75115-96E8-1A41-88F6-B324F6EDCAEB}"/>
                </a:ext>
              </a:extLst>
            </p:cNvPr>
            <p:cNvSpPr txBox="1"/>
            <p:nvPr/>
          </p:nvSpPr>
          <p:spPr>
            <a:xfrm>
              <a:off x="803640" y="3540107"/>
              <a:ext cx="2059657" cy="461665"/>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27" name="TextBox 26">
              <a:extLst>
                <a:ext uri="{FF2B5EF4-FFF2-40B4-BE49-F238E27FC236}">
                  <a16:creationId xmlns:a16="http://schemas.microsoft.com/office/drawing/2014/main" id="{1494C6CE-F534-4F46-95F1-A84A668B4DB6}"/>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28" name="Group 27">
            <a:extLst>
              <a:ext uri="{FF2B5EF4-FFF2-40B4-BE49-F238E27FC236}">
                <a16:creationId xmlns:a16="http://schemas.microsoft.com/office/drawing/2014/main" id="{9977345F-8F50-004B-ADF3-95A836C0B21C}"/>
              </a:ext>
            </a:extLst>
          </p:cNvPr>
          <p:cNvGrpSpPr/>
          <p:nvPr/>
        </p:nvGrpSpPr>
        <p:grpSpPr>
          <a:xfrm>
            <a:off x="1213474" y="4569984"/>
            <a:ext cx="4340895" cy="638937"/>
            <a:chOff x="803640" y="3362835"/>
            <a:chExt cx="2059657" cy="638937"/>
          </a:xfrm>
        </p:grpSpPr>
        <p:sp>
          <p:nvSpPr>
            <p:cNvPr id="29" name="TextBox 28">
              <a:extLst>
                <a:ext uri="{FF2B5EF4-FFF2-40B4-BE49-F238E27FC236}">
                  <a16:creationId xmlns:a16="http://schemas.microsoft.com/office/drawing/2014/main" id="{15B15FB8-9A90-9B45-A8D4-8CC7D364FF11}"/>
                </a:ext>
              </a:extLst>
            </p:cNvPr>
            <p:cNvSpPr txBox="1"/>
            <p:nvPr/>
          </p:nvSpPr>
          <p:spPr>
            <a:xfrm>
              <a:off x="803640" y="3540107"/>
              <a:ext cx="2059657" cy="461665"/>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0" name="TextBox 29">
              <a:extLst>
                <a:ext uri="{FF2B5EF4-FFF2-40B4-BE49-F238E27FC236}">
                  <a16:creationId xmlns:a16="http://schemas.microsoft.com/office/drawing/2014/main" id="{54752959-C35E-0246-B423-16A5EBC165DD}"/>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grpSp>
        <p:nvGrpSpPr>
          <p:cNvPr id="31" name="Group 30">
            <a:extLst>
              <a:ext uri="{FF2B5EF4-FFF2-40B4-BE49-F238E27FC236}">
                <a16:creationId xmlns:a16="http://schemas.microsoft.com/office/drawing/2014/main" id="{3A76EADD-21E3-674E-A216-D5C3403A2F07}"/>
              </a:ext>
            </a:extLst>
          </p:cNvPr>
          <p:cNvGrpSpPr/>
          <p:nvPr/>
        </p:nvGrpSpPr>
        <p:grpSpPr>
          <a:xfrm>
            <a:off x="851031" y="5382357"/>
            <a:ext cx="4340895" cy="638937"/>
            <a:chOff x="803640" y="3362835"/>
            <a:chExt cx="2059657" cy="638937"/>
          </a:xfrm>
        </p:grpSpPr>
        <p:sp>
          <p:nvSpPr>
            <p:cNvPr id="32" name="TextBox 31">
              <a:extLst>
                <a:ext uri="{FF2B5EF4-FFF2-40B4-BE49-F238E27FC236}">
                  <a16:creationId xmlns:a16="http://schemas.microsoft.com/office/drawing/2014/main" id="{718FDFDE-881E-6A42-9170-E2E48E769428}"/>
                </a:ext>
              </a:extLst>
            </p:cNvPr>
            <p:cNvSpPr txBox="1"/>
            <p:nvPr/>
          </p:nvSpPr>
          <p:spPr>
            <a:xfrm>
              <a:off x="803640" y="3540107"/>
              <a:ext cx="2059657" cy="461665"/>
            </a:xfrm>
            <a:prstGeom prst="rect">
              <a:avLst/>
            </a:prstGeom>
            <a:noFill/>
          </p:spPr>
          <p:txBody>
            <a:bodyPr wrap="square" rtlCol="0">
              <a:spAutoFit/>
            </a:bodyPr>
            <a:lstStyle/>
            <a:p>
              <a:pPr algn="r"/>
              <a:r>
                <a:rPr lang="en-US" altLang="ko-KR" sz="1200">
                  <a:solidFill>
                    <a:schemeClr val="tx1">
                      <a:lumMod val="75000"/>
                      <a:lumOff val="25000"/>
                    </a:schemeClr>
                  </a:solidFill>
                  <a:cs typeface="Arial" pitchFamily="34" charset="0"/>
                </a:rPr>
                <a:t>You can simply impress your audience and add a unique zing and appeal to your Presentations.     </a:t>
              </a:r>
              <a:endParaRPr lang="ko-KR" altLang="en-US" sz="1200">
                <a:solidFill>
                  <a:schemeClr val="tx1">
                    <a:lumMod val="75000"/>
                    <a:lumOff val="25000"/>
                  </a:schemeClr>
                </a:solidFill>
                <a:cs typeface="Arial" pitchFamily="34" charset="0"/>
              </a:endParaRPr>
            </a:p>
          </p:txBody>
        </p:sp>
        <p:sp>
          <p:nvSpPr>
            <p:cNvPr id="33" name="TextBox 32">
              <a:extLst>
                <a:ext uri="{FF2B5EF4-FFF2-40B4-BE49-F238E27FC236}">
                  <a16:creationId xmlns:a16="http://schemas.microsoft.com/office/drawing/2014/main" id="{C1894620-2E4D-634C-B056-29090BFF59D0}"/>
                </a:ext>
              </a:extLst>
            </p:cNvPr>
            <p:cNvSpPr txBox="1"/>
            <p:nvPr/>
          </p:nvSpPr>
          <p:spPr>
            <a:xfrm>
              <a:off x="803640" y="3362835"/>
              <a:ext cx="2059657" cy="276999"/>
            </a:xfrm>
            <a:prstGeom prst="rect">
              <a:avLst/>
            </a:prstGeom>
            <a:noFill/>
          </p:spPr>
          <p:txBody>
            <a:bodyPr wrap="square" rtlCol="0">
              <a:spAutoFit/>
            </a:bodyPr>
            <a:lstStyle/>
            <a:p>
              <a:pPr algn="r"/>
              <a:r>
                <a:rPr lang="en-US" altLang="ko-KR" sz="1200" b="1">
                  <a:solidFill>
                    <a:schemeClr val="tx1">
                      <a:lumMod val="75000"/>
                      <a:lumOff val="25000"/>
                    </a:schemeClr>
                  </a:solidFill>
                  <a:cs typeface="Arial" pitchFamily="34" charset="0"/>
                </a:rPr>
                <a:t>Your Text  Here</a:t>
              </a:r>
              <a:endParaRPr lang="ko-KR" altLang="en-US" sz="1200" b="1">
                <a:solidFill>
                  <a:schemeClr val="tx1">
                    <a:lumMod val="75000"/>
                    <a:lumOff val="25000"/>
                  </a:schemeClr>
                </a:solidFill>
                <a:cs typeface="Arial" pitchFamily="34" charset="0"/>
              </a:endParaRPr>
            </a:p>
          </p:txBody>
        </p:sp>
      </p:grpSp>
      <p:sp>
        <p:nvSpPr>
          <p:cNvPr id="35" name="Isosceles Triangle 1">
            <a:extLst>
              <a:ext uri="{FF2B5EF4-FFF2-40B4-BE49-F238E27FC236}">
                <a16:creationId xmlns:a16="http://schemas.microsoft.com/office/drawing/2014/main" id="{E6E82663-6580-1347-82EE-BF39069929BD}"/>
              </a:ext>
            </a:extLst>
          </p:cNvPr>
          <p:cNvSpPr/>
          <p:nvPr/>
        </p:nvSpPr>
        <p:spPr>
          <a:xfrm>
            <a:off x="6954509" y="4667710"/>
            <a:ext cx="2159104" cy="1387841"/>
          </a:xfrm>
          <a:custGeom>
            <a:avLst/>
            <a:gdLst/>
            <a:ahLst/>
            <a:cxnLst/>
            <a:rect l="l" t="t" r="r" b="b"/>
            <a:pathLst>
              <a:path w="1512168" h="972000">
                <a:moveTo>
                  <a:pt x="504056" y="0"/>
                </a:moveTo>
                <a:lnTo>
                  <a:pt x="1512168" y="0"/>
                </a:lnTo>
                <a:lnTo>
                  <a:pt x="1512168" y="972000"/>
                </a:lnTo>
                <a:lnTo>
                  <a:pt x="0" y="972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7" name="Isosceles Triangle 4">
            <a:extLst>
              <a:ext uri="{FF2B5EF4-FFF2-40B4-BE49-F238E27FC236}">
                <a16:creationId xmlns:a16="http://schemas.microsoft.com/office/drawing/2014/main" id="{CC34A0B4-350D-024B-AF80-8ECE07448C95}"/>
              </a:ext>
            </a:extLst>
          </p:cNvPr>
          <p:cNvSpPr/>
          <p:nvPr/>
        </p:nvSpPr>
        <p:spPr>
          <a:xfrm>
            <a:off x="7685298" y="3278998"/>
            <a:ext cx="1439403" cy="1760275"/>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8" name="Isosceles Triangle 4">
            <a:extLst>
              <a:ext uri="{FF2B5EF4-FFF2-40B4-BE49-F238E27FC236}">
                <a16:creationId xmlns:a16="http://schemas.microsoft.com/office/drawing/2014/main" id="{FF79DEA3-FB38-9540-BAE7-079C67A99E2D}"/>
              </a:ext>
            </a:extLst>
          </p:cNvPr>
          <p:cNvSpPr/>
          <p:nvPr/>
        </p:nvSpPr>
        <p:spPr>
          <a:xfrm flipH="1">
            <a:off x="8751837" y="3278999"/>
            <a:ext cx="1795149" cy="1387841"/>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39" name="Isosceles Triangle 1">
            <a:extLst>
              <a:ext uri="{FF2B5EF4-FFF2-40B4-BE49-F238E27FC236}">
                <a16:creationId xmlns:a16="http://schemas.microsoft.com/office/drawing/2014/main" id="{8EBDE116-4B85-9A45-9569-4CF73B33679D}"/>
              </a:ext>
            </a:extLst>
          </p:cNvPr>
          <p:cNvSpPr/>
          <p:nvPr/>
        </p:nvSpPr>
        <p:spPr>
          <a:xfrm flipH="1">
            <a:off x="8716445" y="4286088"/>
            <a:ext cx="2546626" cy="1757775"/>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41" name="TextBox 40">
            <a:extLst>
              <a:ext uri="{FF2B5EF4-FFF2-40B4-BE49-F238E27FC236}">
                <a16:creationId xmlns:a16="http://schemas.microsoft.com/office/drawing/2014/main" id="{843ECFA9-5FAD-BA43-830E-B270237B4CF7}"/>
              </a:ext>
            </a:extLst>
          </p:cNvPr>
          <p:cNvSpPr txBox="1"/>
          <p:nvPr/>
        </p:nvSpPr>
        <p:spPr>
          <a:xfrm>
            <a:off x="8137504" y="3684879"/>
            <a:ext cx="415498" cy="584775"/>
          </a:xfrm>
          <a:prstGeom prst="rect">
            <a:avLst/>
          </a:prstGeom>
          <a:noFill/>
        </p:spPr>
        <p:txBody>
          <a:bodyPr wrap="none" rtlCol="0">
            <a:spAutoFit/>
          </a:bodyPr>
          <a:lstStyle/>
          <a:p>
            <a:r>
              <a:rPr lang="en-US" altLang="ko-KR" sz="3200" b="1">
                <a:solidFill>
                  <a:schemeClr val="bg1"/>
                </a:solidFill>
                <a:cs typeface="Arial" pitchFamily="34" charset="0"/>
              </a:rPr>
              <a:t>B</a:t>
            </a:r>
            <a:endParaRPr lang="ko-KR" altLang="en-US" sz="3200" b="1">
              <a:solidFill>
                <a:schemeClr val="bg1"/>
              </a:solidFill>
              <a:cs typeface="Arial" pitchFamily="34" charset="0"/>
            </a:endParaRPr>
          </a:p>
        </p:txBody>
      </p:sp>
      <p:sp>
        <p:nvSpPr>
          <p:cNvPr id="42" name="TextBox 41">
            <a:extLst>
              <a:ext uri="{FF2B5EF4-FFF2-40B4-BE49-F238E27FC236}">
                <a16:creationId xmlns:a16="http://schemas.microsoft.com/office/drawing/2014/main" id="{74B3C329-F428-1840-8B96-747D288B9155}"/>
              </a:ext>
            </a:extLst>
          </p:cNvPr>
          <p:cNvSpPr txBox="1"/>
          <p:nvPr/>
        </p:nvSpPr>
        <p:spPr>
          <a:xfrm>
            <a:off x="9381860" y="3684879"/>
            <a:ext cx="402675" cy="584775"/>
          </a:xfrm>
          <a:prstGeom prst="rect">
            <a:avLst/>
          </a:prstGeom>
          <a:noFill/>
        </p:spPr>
        <p:txBody>
          <a:bodyPr wrap="none" rtlCol="0">
            <a:spAutoFit/>
          </a:bodyPr>
          <a:lstStyle/>
          <a:p>
            <a:r>
              <a:rPr lang="en-US" altLang="ko-KR" sz="3200" b="1">
                <a:solidFill>
                  <a:schemeClr val="bg1"/>
                </a:solidFill>
                <a:cs typeface="Arial" pitchFamily="34" charset="0"/>
              </a:rPr>
              <a:t>C</a:t>
            </a:r>
            <a:endParaRPr lang="ko-KR" altLang="en-US" sz="3200" b="1">
              <a:solidFill>
                <a:schemeClr val="bg1"/>
              </a:solidFill>
              <a:cs typeface="Arial" pitchFamily="34" charset="0"/>
            </a:endParaRPr>
          </a:p>
        </p:txBody>
      </p:sp>
      <p:sp>
        <p:nvSpPr>
          <p:cNvPr id="43" name="TextBox 42">
            <a:extLst>
              <a:ext uri="{FF2B5EF4-FFF2-40B4-BE49-F238E27FC236}">
                <a16:creationId xmlns:a16="http://schemas.microsoft.com/office/drawing/2014/main" id="{759F0B4C-D362-BD4C-8C8D-2CB4D2D37739}"/>
              </a:ext>
            </a:extLst>
          </p:cNvPr>
          <p:cNvSpPr txBox="1"/>
          <p:nvPr/>
        </p:nvSpPr>
        <p:spPr>
          <a:xfrm>
            <a:off x="7869895" y="5039274"/>
            <a:ext cx="442750" cy="584775"/>
          </a:xfrm>
          <a:prstGeom prst="rect">
            <a:avLst/>
          </a:prstGeom>
          <a:noFill/>
        </p:spPr>
        <p:txBody>
          <a:bodyPr wrap="none" rtlCol="0">
            <a:spAutoFit/>
          </a:bodyPr>
          <a:lstStyle/>
          <a:p>
            <a:r>
              <a:rPr lang="en-US" altLang="ko-KR" sz="3200" b="1">
                <a:solidFill>
                  <a:schemeClr val="bg1"/>
                </a:solidFill>
                <a:cs typeface="Arial" pitchFamily="34" charset="0"/>
              </a:rPr>
              <a:t>D</a:t>
            </a:r>
            <a:endParaRPr lang="ko-KR" altLang="en-US" sz="3200" b="1">
              <a:solidFill>
                <a:schemeClr val="bg1"/>
              </a:solidFill>
              <a:cs typeface="Arial" pitchFamily="34" charset="0"/>
            </a:endParaRPr>
          </a:p>
        </p:txBody>
      </p:sp>
      <p:sp>
        <p:nvSpPr>
          <p:cNvPr id="44" name="TextBox 43">
            <a:extLst>
              <a:ext uri="{FF2B5EF4-FFF2-40B4-BE49-F238E27FC236}">
                <a16:creationId xmlns:a16="http://schemas.microsoft.com/office/drawing/2014/main" id="{6A57AC8E-A56E-1B46-8358-97C00E2B2081}"/>
              </a:ext>
            </a:extLst>
          </p:cNvPr>
          <p:cNvSpPr txBox="1"/>
          <p:nvPr/>
        </p:nvSpPr>
        <p:spPr>
          <a:xfrm>
            <a:off x="9738915" y="5039274"/>
            <a:ext cx="385042" cy="584775"/>
          </a:xfrm>
          <a:prstGeom prst="rect">
            <a:avLst/>
          </a:prstGeom>
          <a:noFill/>
        </p:spPr>
        <p:txBody>
          <a:bodyPr wrap="none" rtlCol="0">
            <a:spAutoFit/>
          </a:bodyPr>
          <a:lstStyle/>
          <a:p>
            <a:r>
              <a:rPr lang="en-US" altLang="ko-KR" sz="3200" b="1">
                <a:solidFill>
                  <a:schemeClr val="bg1"/>
                </a:solidFill>
                <a:cs typeface="Arial" pitchFamily="34" charset="0"/>
              </a:rPr>
              <a:t>E</a:t>
            </a:r>
            <a:endParaRPr lang="ko-KR" altLang="en-US" sz="3200" b="1">
              <a:solidFill>
                <a:schemeClr val="bg1"/>
              </a:solidFill>
              <a:cs typeface="Arial" pitchFamily="34" charset="0"/>
            </a:endParaRPr>
          </a:p>
        </p:txBody>
      </p:sp>
      <p:grpSp>
        <p:nvGrpSpPr>
          <p:cNvPr id="49" name="Group 48">
            <a:extLst>
              <a:ext uri="{FF2B5EF4-FFF2-40B4-BE49-F238E27FC236}">
                <a16:creationId xmlns:a16="http://schemas.microsoft.com/office/drawing/2014/main" id="{666A1015-76C1-2542-B5DB-CD02CAF33A55}"/>
              </a:ext>
            </a:extLst>
          </p:cNvPr>
          <p:cNvGrpSpPr/>
          <p:nvPr/>
        </p:nvGrpSpPr>
        <p:grpSpPr>
          <a:xfrm rot="883920">
            <a:off x="8867820" y="742686"/>
            <a:ext cx="3090995" cy="2739084"/>
            <a:chOff x="7899851" y="449239"/>
            <a:chExt cx="3090995" cy="2739084"/>
          </a:xfrm>
        </p:grpSpPr>
        <p:sp>
          <p:nvSpPr>
            <p:cNvPr id="36" name="Rectangle 16">
              <a:extLst>
                <a:ext uri="{FF2B5EF4-FFF2-40B4-BE49-F238E27FC236}">
                  <a16:creationId xmlns:a16="http://schemas.microsoft.com/office/drawing/2014/main" id="{03D331F2-00BC-BB4F-8E66-C2A1FCE1E36A}"/>
                </a:ext>
              </a:extLst>
            </p:cNvPr>
            <p:cNvSpPr/>
            <p:nvPr/>
          </p:nvSpPr>
          <p:spPr>
            <a:xfrm rot="19770014">
              <a:off x="7899851" y="1408170"/>
              <a:ext cx="1439403" cy="1780153"/>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rgbClr val="8D8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0" name="TextBox 39">
              <a:extLst>
                <a:ext uri="{FF2B5EF4-FFF2-40B4-BE49-F238E27FC236}">
                  <a16:creationId xmlns:a16="http://schemas.microsoft.com/office/drawing/2014/main" id="{996E997A-6F18-A84B-96CF-8F07E3A2F73F}"/>
                </a:ext>
              </a:extLst>
            </p:cNvPr>
            <p:cNvSpPr txBox="1"/>
            <p:nvPr/>
          </p:nvSpPr>
          <p:spPr>
            <a:xfrm rot="19792600">
              <a:off x="8411420" y="2039885"/>
              <a:ext cx="433132" cy="584775"/>
            </a:xfrm>
            <a:prstGeom prst="rect">
              <a:avLst/>
            </a:prstGeom>
            <a:noFill/>
          </p:spPr>
          <p:txBody>
            <a:bodyPr wrap="none" rtlCol="0">
              <a:spAutoFit/>
            </a:bodyPr>
            <a:lstStyle/>
            <a:p>
              <a:r>
                <a:rPr lang="en-US" altLang="ko-KR" sz="3200" b="1">
                  <a:solidFill>
                    <a:schemeClr val="bg1"/>
                  </a:solidFill>
                  <a:cs typeface="Arial" pitchFamily="34" charset="0"/>
                </a:rPr>
                <a:t>A</a:t>
              </a:r>
              <a:endParaRPr lang="ko-KR" altLang="en-US" sz="3200" b="1">
                <a:solidFill>
                  <a:schemeClr val="bg1"/>
                </a:solidFill>
                <a:cs typeface="Arial" pitchFamily="34" charset="0"/>
              </a:endParaRPr>
            </a:p>
          </p:txBody>
        </p:sp>
        <p:grpSp>
          <p:nvGrpSpPr>
            <p:cNvPr id="45" name="Group 44">
              <a:extLst>
                <a:ext uri="{FF2B5EF4-FFF2-40B4-BE49-F238E27FC236}">
                  <a16:creationId xmlns:a16="http://schemas.microsoft.com/office/drawing/2014/main" id="{A0D6404A-0B90-474E-A405-47FC653D6B8D}"/>
                </a:ext>
              </a:extLst>
            </p:cNvPr>
            <p:cNvGrpSpPr/>
            <p:nvPr/>
          </p:nvGrpSpPr>
          <p:grpSpPr>
            <a:xfrm rot="1968031">
              <a:off x="8852915" y="449239"/>
              <a:ext cx="2137931" cy="2674384"/>
              <a:chOff x="8578678" y="-245676"/>
              <a:chExt cx="2137931" cy="2674384"/>
            </a:xfrm>
          </p:grpSpPr>
          <p:sp>
            <p:nvSpPr>
              <p:cNvPr id="46" name="Freeform 15">
                <a:extLst>
                  <a:ext uri="{FF2B5EF4-FFF2-40B4-BE49-F238E27FC236}">
                    <a16:creationId xmlns:a16="http://schemas.microsoft.com/office/drawing/2014/main" id="{B4B1BDF9-8EEE-CD45-9544-A3961D3360CC}"/>
                  </a:ext>
                </a:extLst>
              </p:cNvPr>
              <p:cNvSpPr/>
              <p:nvPr/>
            </p:nvSpPr>
            <p:spPr>
              <a:xfrm flipH="1">
                <a:off x="8578678" y="413322"/>
                <a:ext cx="1740948" cy="2015386"/>
              </a:xfrm>
              <a:custGeom>
                <a:avLst/>
                <a:gdLst>
                  <a:gd name="connsiteX0" fmla="*/ 657277 w 1286167"/>
                  <a:gd name="connsiteY0" fmla="*/ 0 h 1635343"/>
                  <a:gd name="connsiteX1" fmla="*/ 0 w 1286167"/>
                  <a:gd name="connsiteY1" fmla="*/ 85964 h 1635343"/>
                  <a:gd name="connsiteX2" fmla="*/ 202361 w 1286167"/>
                  <a:gd name="connsiteY2" fmla="*/ 516695 h 1635343"/>
                  <a:gd name="connsiteX3" fmla="*/ 281735 w 1286167"/>
                  <a:gd name="connsiteY3" fmla="*/ 1030909 h 1635343"/>
                  <a:gd name="connsiteX4" fmla="*/ 617145 w 1286167"/>
                  <a:gd name="connsiteY4" fmla="*/ 1624788 h 1635343"/>
                  <a:gd name="connsiteX5" fmla="*/ 670736 w 1286167"/>
                  <a:gd name="connsiteY5" fmla="*/ 1347585 h 1635343"/>
                  <a:gd name="connsiteX6" fmla="*/ 584804 w 1286167"/>
                  <a:gd name="connsiteY6" fmla="*/ 1105319 h 1635343"/>
                  <a:gd name="connsiteX7" fmla="*/ 626846 w 1286167"/>
                  <a:gd name="connsiteY7" fmla="*/ 930825 h 1635343"/>
                  <a:gd name="connsiteX8" fmla="*/ 1012531 w 1286167"/>
                  <a:gd name="connsiteY8" fmla="*/ 1142811 h 1635343"/>
                  <a:gd name="connsiteX9" fmla="*/ 1015937 w 1286167"/>
                  <a:gd name="connsiteY9" fmla="*/ 1241005 h 1635343"/>
                  <a:gd name="connsiteX10" fmla="*/ 1286167 w 1286167"/>
                  <a:gd name="connsiteY10" fmla="*/ 1072342 h 1635343"/>
                  <a:gd name="connsiteX11" fmla="*/ 1262175 w 1286167"/>
                  <a:gd name="connsiteY11" fmla="*/ 962717 h 1635343"/>
                  <a:gd name="connsiteX12" fmla="*/ 903613 w 1286167"/>
                  <a:gd name="connsiteY12" fmla="*/ 532228 h 1635343"/>
                  <a:gd name="connsiteX13" fmla="*/ 658324 w 1286167"/>
                  <a:gd name="connsiteY13" fmla="*/ 353162 h 1635343"/>
                  <a:gd name="connsiteX14" fmla="*/ 657277 w 1286167"/>
                  <a:gd name="connsiteY14" fmla="*/ 0 h 1635343"/>
                  <a:gd name="connsiteX0" fmla="*/ 657277 w 1286167"/>
                  <a:gd name="connsiteY0" fmla="*/ 0 h 1567090"/>
                  <a:gd name="connsiteX1" fmla="*/ 0 w 1286167"/>
                  <a:gd name="connsiteY1" fmla="*/ 85964 h 1567090"/>
                  <a:gd name="connsiteX2" fmla="*/ 202361 w 1286167"/>
                  <a:gd name="connsiteY2" fmla="*/ 516695 h 1567090"/>
                  <a:gd name="connsiteX3" fmla="*/ 281735 w 1286167"/>
                  <a:gd name="connsiteY3" fmla="*/ 1030909 h 1567090"/>
                  <a:gd name="connsiteX4" fmla="*/ 785395 w 1286167"/>
                  <a:gd name="connsiteY4" fmla="*/ 1551636 h 1567090"/>
                  <a:gd name="connsiteX5" fmla="*/ 670736 w 1286167"/>
                  <a:gd name="connsiteY5" fmla="*/ 1347585 h 1567090"/>
                  <a:gd name="connsiteX6" fmla="*/ 584804 w 1286167"/>
                  <a:gd name="connsiteY6" fmla="*/ 1105319 h 1567090"/>
                  <a:gd name="connsiteX7" fmla="*/ 626846 w 1286167"/>
                  <a:gd name="connsiteY7" fmla="*/ 930825 h 1567090"/>
                  <a:gd name="connsiteX8" fmla="*/ 1012531 w 1286167"/>
                  <a:gd name="connsiteY8" fmla="*/ 1142811 h 1567090"/>
                  <a:gd name="connsiteX9" fmla="*/ 1015937 w 1286167"/>
                  <a:gd name="connsiteY9" fmla="*/ 1241005 h 1567090"/>
                  <a:gd name="connsiteX10" fmla="*/ 1286167 w 1286167"/>
                  <a:gd name="connsiteY10" fmla="*/ 1072342 h 1567090"/>
                  <a:gd name="connsiteX11" fmla="*/ 1262175 w 1286167"/>
                  <a:gd name="connsiteY11" fmla="*/ 962717 h 1567090"/>
                  <a:gd name="connsiteX12" fmla="*/ 903613 w 1286167"/>
                  <a:gd name="connsiteY12" fmla="*/ 532228 h 1567090"/>
                  <a:gd name="connsiteX13" fmla="*/ 658324 w 1286167"/>
                  <a:gd name="connsiteY13" fmla="*/ 353162 h 1567090"/>
                  <a:gd name="connsiteX14" fmla="*/ 657277 w 1286167"/>
                  <a:gd name="connsiteY14" fmla="*/ 0 h 1567090"/>
                  <a:gd name="connsiteX0" fmla="*/ 657277 w 1286167"/>
                  <a:gd name="connsiteY0" fmla="*/ 0 h 1561547"/>
                  <a:gd name="connsiteX1" fmla="*/ 0 w 1286167"/>
                  <a:gd name="connsiteY1" fmla="*/ 85964 h 1561547"/>
                  <a:gd name="connsiteX2" fmla="*/ 202361 w 1286167"/>
                  <a:gd name="connsiteY2" fmla="*/ 516695 h 1561547"/>
                  <a:gd name="connsiteX3" fmla="*/ 281735 w 1286167"/>
                  <a:gd name="connsiteY3" fmla="*/ 1030909 h 1561547"/>
                  <a:gd name="connsiteX4" fmla="*/ 785395 w 1286167"/>
                  <a:gd name="connsiteY4" fmla="*/ 1551636 h 1561547"/>
                  <a:gd name="connsiteX5" fmla="*/ 707312 w 1286167"/>
                  <a:gd name="connsiteY5" fmla="*/ 1259803 h 1561547"/>
                  <a:gd name="connsiteX6" fmla="*/ 584804 w 1286167"/>
                  <a:gd name="connsiteY6" fmla="*/ 1105319 h 1561547"/>
                  <a:gd name="connsiteX7" fmla="*/ 626846 w 1286167"/>
                  <a:gd name="connsiteY7" fmla="*/ 930825 h 1561547"/>
                  <a:gd name="connsiteX8" fmla="*/ 1012531 w 1286167"/>
                  <a:gd name="connsiteY8" fmla="*/ 1142811 h 1561547"/>
                  <a:gd name="connsiteX9" fmla="*/ 1015937 w 1286167"/>
                  <a:gd name="connsiteY9" fmla="*/ 1241005 h 1561547"/>
                  <a:gd name="connsiteX10" fmla="*/ 1286167 w 1286167"/>
                  <a:gd name="connsiteY10" fmla="*/ 1072342 h 1561547"/>
                  <a:gd name="connsiteX11" fmla="*/ 1262175 w 1286167"/>
                  <a:gd name="connsiteY11" fmla="*/ 962717 h 1561547"/>
                  <a:gd name="connsiteX12" fmla="*/ 903613 w 1286167"/>
                  <a:gd name="connsiteY12" fmla="*/ 532228 h 1561547"/>
                  <a:gd name="connsiteX13" fmla="*/ 658324 w 1286167"/>
                  <a:gd name="connsiteY13" fmla="*/ 353162 h 1561547"/>
                  <a:gd name="connsiteX14" fmla="*/ 657277 w 1286167"/>
                  <a:gd name="connsiteY14" fmla="*/ 0 h 1561547"/>
                  <a:gd name="connsiteX0" fmla="*/ 657277 w 1286167"/>
                  <a:gd name="connsiteY0" fmla="*/ 0 h 1563321"/>
                  <a:gd name="connsiteX1" fmla="*/ 0 w 1286167"/>
                  <a:gd name="connsiteY1" fmla="*/ 85964 h 1563321"/>
                  <a:gd name="connsiteX2" fmla="*/ 202361 w 1286167"/>
                  <a:gd name="connsiteY2" fmla="*/ 516695 h 1563321"/>
                  <a:gd name="connsiteX3" fmla="*/ 281735 w 1286167"/>
                  <a:gd name="connsiteY3" fmla="*/ 1030909 h 1563321"/>
                  <a:gd name="connsiteX4" fmla="*/ 785395 w 1286167"/>
                  <a:gd name="connsiteY4" fmla="*/ 1551636 h 1563321"/>
                  <a:gd name="connsiteX5" fmla="*/ 758519 w 1286167"/>
                  <a:gd name="connsiteY5" fmla="*/ 1296379 h 1563321"/>
                  <a:gd name="connsiteX6" fmla="*/ 584804 w 1286167"/>
                  <a:gd name="connsiteY6" fmla="*/ 1105319 h 1563321"/>
                  <a:gd name="connsiteX7" fmla="*/ 626846 w 1286167"/>
                  <a:gd name="connsiteY7" fmla="*/ 930825 h 1563321"/>
                  <a:gd name="connsiteX8" fmla="*/ 1012531 w 1286167"/>
                  <a:gd name="connsiteY8" fmla="*/ 1142811 h 1563321"/>
                  <a:gd name="connsiteX9" fmla="*/ 1015937 w 1286167"/>
                  <a:gd name="connsiteY9" fmla="*/ 1241005 h 1563321"/>
                  <a:gd name="connsiteX10" fmla="*/ 1286167 w 1286167"/>
                  <a:gd name="connsiteY10" fmla="*/ 1072342 h 1563321"/>
                  <a:gd name="connsiteX11" fmla="*/ 1262175 w 1286167"/>
                  <a:gd name="connsiteY11" fmla="*/ 962717 h 1563321"/>
                  <a:gd name="connsiteX12" fmla="*/ 903613 w 1286167"/>
                  <a:gd name="connsiteY12" fmla="*/ 532228 h 1563321"/>
                  <a:gd name="connsiteX13" fmla="*/ 658324 w 1286167"/>
                  <a:gd name="connsiteY13" fmla="*/ 353162 h 1563321"/>
                  <a:gd name="connsiteX14" fmla="*/ 657277 w 1286167"/>
                  <a:gd name="connsiteY14" fmla="*/ 0 h 1563321"/>
                  <a:gd name="connsiteX0" fmla="*/ 657277 w 1286167"/>
                  <a:gd name="connsiteY0" fmla="*/ 0 h 1563321"/>
                  <a:gd name="connsiteX1" fmla="*/ 0 w 1286167"/>
                  <a:gd name="connsiteY1" fmla="*/ 85964 h 1563321"/>
                  <a:gd name="connsiteX2" fmla="*/ 202361 w 1286167"/>
                  <a:gd name="connsiteY2" fmla="*/ 516695 h 1563321"/>
                  <a:gd name="connsiteX3" fmla="*/ 281735 w 1286167"/>
                  <a:gd name="connsiteY3" fmla="*/ 1030909 h 1563321"/>
                  <a:gd name="connsiteX4" fmla="*/ 785395 w 1286167"/>
                  <a:gd name="connsiteY4" fmla="*/ 1551636 h 1563321"/>
                  <a:gd name="connsiteX5" fmla="*/ 758519 w 1286167"/>
                  <a:gd name="connsiteY5" fmla="*/ 1296379 h 1563321"/>
                  <a:gd name="connsiteX6" fmla="*/ 599435 w 1286167"/>
                  <a:gd name="connsiteY6" fmla="*/ 1076058 h 1563321"/>
                  <a:gd name="connsiteX7" fmla="*/ 626846 w 1286167"/>
                  <a:gd name="connsiteY7" fmla="*/ 930825 h 1563321"/>
                  <a:gd name="connsiteX8" fmla="*/ 1012531 w 1286167"/>
                  <a:gd name="connsiteY8" fmla="*/ 1142811 h 1563321"/>
                  <a:gd name="connsiteX9" fmla="*/ 1015937 w 1286167"/>
                  <a:gd name="connsiteY9" fmla="*/ 1241005 h 1563321"/>
                  <a:gd name="connsiteX10" fmla="*/ 1286167 w 1286167"/>
                  <a:gd name="connsiteY10" fmla="*/ 1072342 h 1563321"/>
                  <a:gd name="connsiteX11" fmla="*/ 1262175 w 1286167"/>
                  <a:gd name="connsiteY11" fmla="*/ 962717 h 1563321"/>
                  <a:gd name="connsiteX12" fmla="*/ 903613 w 1286167"/>
                  <a:gd name="connsiteY12" fmla="*/ 532228 h 1563321"/>
                  <a:gd name="connsiteX13" fmla="*/ 658324 w 1286167"/>
                  <a:gd name="connsiteY13" fmla="*/ 353162 h 1563321"/>
                  <a:gd name="connsiteX14" fmla="*/ 657277 w 1286167"/>
                  <a:gd name="connsiteY14" fmla="*/ 0 h 1563321"/>
                  <a:gd name="connsiteX0" fmla="*/ 657277 w 1286167"/>
                  <a:gd name="connsiteY0" fmla="*/ 0 h 1563321"/>
                  <a:gd name="connsiteX1" fmla="*/ 0 w 1286167"/>
                  <a:gd name="connsiteY1" fmla="*/ 85964 h 1563321"/>
                  <a:gd name="connsiteX2" fmla="*/ 202361 w 1286167"/>
                  <a:gd name="connsiteY2" fmla="*/ 516695 h 1563321"/>
                  <a:gd name="connsiteX3" fmla="*/ 281735 w 1286167"/>
                  <a:gd name="connsiteY3" fmla="*/ 1030909 h 1563321"/>
                  <a:gd name="connsiteX4" fmla="*/ 785395 w 1286167"/>
                  <a:gd name="connsiteY4" fmla="*/ 1551636 h 1563321"/>
                  <a:gd name="connsiteX5" fmla="*/ 758519 w 1286167"/>
                  <a:gd name="connsiteY5" fmla="*/ 1296379 h 1563321"/>
                  <a:gd name="connsiteX6" fmla="*/ 599435 w 1286167"/>
                  <a:gd name="connsiteY6" fmla="*/ 1076058 h 1563321"/>
                  <a:gd name="connsiteX7" fmla="*/ 626846 w 1286167"/>
                  <a:gd name="connsiteY7" fmla="*/ 930825 h 1563321"/>
                  <a:gd name="connsiteX8" fmla="*/ 1012531 w 1286167"/>
                  <a:gd name="connsiteY8" fmla="*/ 1142811 h 1563321"/>
                  <a:gd name="connsiteX9" fmla="*/ 1015937 w 1286167"/>
                  <a:gd name="connsiteY9" fmla="*/ 1241005 h 1563321"/>
                  <a:gd name="connsiteX10" fmla="*/ 1286167 w 1286167"/>
                  <a:gd name="connsiteY10" fmla="*/ 1072342 h 1563321"/>
                  <a:gd name="connsiteX11" fmla="*/ 1262175 w 1286167"/>
                  <a:gd name="connsiteY11" fmla="*/ 962717 h 1563321"/>
                  <a:gd name="connsiteX12" fmla="*/ 903613 w 1286167"/>
                  <a:gd name="connsiteY12" fmla="*/ 532228 h 1563321"/>
                  <a:gd name="connsiteX13" fmla="*/ 658324 w 1286167"/>
                  <a:gd name="connsiteY13" fmla="*/ 353162 h 1563321"/>
                  <a:gd name="connsiteX14" fmla="*/ 657277 w 1286167"/>
                  <a:gd name="connsiteY14" fmla="*/ 0 h 1563321"/>
                  <a:gd name="connsiteX0" fmla="*/ 657277 w 1286167"/>
                  <a:gd name="connsiteY0" fmla="*/ 0 h 1562240"/>
                  <a:gd name="connsiteX1" fmla="*/ 0 w 1286167"/>
                  <a:gd name="connsiteY1" fmla="*/ 85964 h 1562240"/>
                  <a:gd name="connsiteX2" fmla="*/ 202361 w 1286167"/>
                  <a:gd name="connsiteY2" fmla="*/ 516695 h 1562240"/>
                  <a:gd name="connsiteX3" fmla="*/ 281735 w 1286167"/>
                  <a:gd name="connsiteY3" fmla="*/ 1030909 h 1562240"/>
                  <a:gd name="connsiteX4" fmla="*/ 785395 w 1286167"/>
                  <a:gd name="connsiteY4" fmla="*/ 1551636 h 1562240"/>
                  <a:gd name="connsiteX5" fmla="*/ 758519 w 1286167"/>
                  <a:gd name="connsiteY5" fmla="*/ 1296379 h 1562240"/>
                  <a:gd name="connsiteX6" fmla="*/ 599435 w 1286167"/>
                  <a:gd name="connsiteY6" fmla="*/ 1076058 h 1562240"/>
                  <a:gd name="connsiteX7" fmla="*/ 626846 w 1286167"/>
                  <a:gd name="connsiteY7" fmla="*/ 930825 h 1562240"/>
                  <a:gd name="connsiteX8" fmla="*/ 1012531 w 1286167"/>
                  <a:gd name="connsiteY8" fmla="*/ 1142811 h 1562240"/>
                  <a:gd name="connsiteX9" fmla="*/ 1015937 w 1286167"/>
                  <a:gd name="connsiteY9" fmla="*/ 1241005 h 1562240"/>
                  <a:gd name="connsiteX10" fmla="*/ 1286167 w 1286167"/>
                  <a:gd name="connsiteY10" fmla="*/ 1072342 h 1562240"/>
                  <a:gd name="connsiteX11" fmla="*/ 1262175 w 1286167"/>
                  <a:gd name="connsiteY11" fmla="*/ 962717 h 1562240"/>
                  <a:gd name="connsiteX12" fmla="*/ 903613 w 1286167"/>
                  <a:gd name="connsiteY12" fmla="*/ 532228 h 1562240"/>
                  <a:gd name="connsiteX13" fmla="*/ 658324 w 1286167"/>
                  <a:gd name="connsiteY13" fmla="*/ 353162 h 1562240"/>
                  <a:gd name="connsiteX14" fmla="*/ 657277 w 1286167"/>
                  <a:gd name="connsiteY14" fmla="*/ 0 h 1562240"/>
                  <a:gd name="connsiteX0" fmla="*/ 657277 w 1286167"/>
                  <a:gd name="connsiteY0" fmla="*/ 0 h 1562240"/>
                  <a:gd name="connsiteX1" fmla="*/ 0 w 1286167"/>
                  <a:gd name="connsiteY1" fmla="*/ 85964 h 1562240"/>
                  <a:gd name="connsiteX2" fmla="*/ 202361 w 1286167"/>
                  <a:gd name="connsiteY2" fmla="*/ 516695 h 1562240"/>
                  <a:gd name="connsiteX3" fmla="*/ 281735 w 1286167"/>
                  <a:gd name="connsiteY3" fmla="*/ 1104061 h 1562240"/>
                  <a:gd name="connsiteX4" fmla="*/ 785395 w 1286167"/>
                  <a:gd name="connsiteY4" fmla="*/ 1551636 h 1562240"/>
                  <a:gd name="connsiteX5" fmla="*/ 758519 w 1286167"/>
                  <a:gd name="connsiteY5" fmla="*/ 1296379 h 1562240"/>
                  <a:gd name="connsiteX6" fmla="*/ 599435 w 1286167"/>
                  <a:gd name="connsiteY6" fmla="*/ 1076058 h 1562240"/>
                  <a:gd name="connsiteX7" fmla="*/ 626846 w 1286167"/>
                  <a:gd name="connsiteY7" fmla="*/ 930825 h 1562240"/>
                  <a:gd name="connsiteX8" fmla="*/ 1012531 w 1286167"/>
                  <a:gd name="connsiteY8" fmla="*/ 1142811 h 1562240"/>
                  <a:gd name="connsiteX9" fmla="*/ 1015937 w 1286167"/>
                  <a:gd name="connsiteY9" fmla="*/ 1241005 h 1562240"/>
                  <a:gd name="connsiteX10" fmla="*/ 1286167 w 1286167"/>
                  <a:gd name="connsiteY10" fmla="*/ 1072342 h 1562240"/>
                  <a:gd name="connsiteX11" fmla="*/ 1262175 w 1286167"/>
                  <a:gd name="connsiteY11" fmla="*/ 962717 h 1562240"/>
                  <a:gd name="connsiteX12" fmla="*/ 903613 w 1286167"/>
                  <a:gd name="connsiteY12" fmla="*/ 532228 h 1562240"/>
                  <a:gd name="connsiteX13" fmla="*/ 658324 w 1286167"/>
                  <a:gd name="connsiteY13" fmla="*/ 353162 h 1562240"/>
                  <a:gd name="connsiteX14" fmla="*/ 657277 w 1286167"/>
                  <a:gd name="connsiteY14" fmla="*/ 0 h 1562240"/>
                  <a:gd name="connsiteX0" fmla="*/ 671907 w 1300797"/>
                  <a:gd name="connsiteY0" fmla="*/ 1818 h 1564058"/>
                  <a:gd name="connsiteX1" fmla="*/ 0 w 1300797"/>
                  <a:gd name="connsiteY1" fmla="*/ 0 h 1564058"/>
                  <a:gd name="connsiteX2" fmla="*/ 216991 w 1300797"/>
                  <a:gd name="connsiteY2" fmla="*/ 518513 h 1564058"/>
                  <a:gd name="connsiteX3" fmla="*/ 296365 w 1300797"/>
                  <a:gd name="connsiteY3" fmla="*/ 1105879 h 1564058"/>
                  <a:gd name="connsiteX4" fmla="*/ 800025 w 1300797"/>
                  <a:gd name="connsiteY4" fmla="*/ 1553454 h 1564058"/>
                  <a:gd name="connsiteX5" fmla="*/ 773149 w 1300797"/>
                  <a:gd name="connsiteY5" fmla="*/ 1298197 h 1564058"/>
                  <a:gd name="connsiteX6" fmla="*/ 614065 w 1300797"/>
                  <a:gd name="connsiteY6" fmla="*/ 1077876 h 1564058"/>
                  <a:gd name="connsiteX7" fmla="*/ 641476 w 1300797"/>
                  <a:gd name="connsiteY7" fmla="*/ 932643 h 1564058"/>
                  <a:gd name="connsiteX8" fmla="*/ 1027161 w 1300797"/>
                  <a:gd name="connsiteY8" fmla="*/ 1144629 h 1564058"/>
                  <a:gd name="connsiteX9" fmla="*/ 1030567 w 1300797"/>
                  <a:gd name="connsiteY9" fmla="*/ 1242823 h 1564058"/>
                  <a:gd name="connsiteX10" fmla="*/ 1300797 w 1300797"/>
                  <a:gd name="connsiteY10" fmla="*/ 1074160 h 1564058"/>
                  <a:gd name="connsiteX11" fmla="*/ 1276805 w 1300797"/>
                  <a:gd name="connsiteY11" fmla="*/ 964535 h 1564058"/>
                  <a:gd name="connsiteX12" fmla="*/ 918243 w 1300797"/>
                  <a:gd name="connsiteY12" fmla="*/ 534046 h 1564058"/>
                  <a:gd name="connsiteX13" fmla="*/ 672954 w 1300797"/>
                  <a:gd name="connsiteY13" fmla="*/ 354980 h 1564058"/>
                  <a:gd name="connsiteX14" fmla="*/ 671907 w 1300797"/>
                  <a:gd name="connsiteY14" fmla="*/ 1818 h 1564058"/>
                  <a:gd name="connsiteX0" fmla="*/ 423190 w 1300797"/>
                  <a:gd name="connsiteY0" fmla="*/ 0 h 1569555"/>
                  <a:gd name="connsiteX1" fmla="*/ 0 w 1300797"/>
                  <a:gd name="connsiteY1" fmla="*/ 5497 h 1569555"/>
                  <a:gd name="connsiteX2" fmla="*/ 216991 w 1300797"/>
                  <a:gd name="connsiteY2" fmla="*/ 524010 h 1569555"/>
                  <a:gd name="connsiteX3" fmla="*/ 296365 w 1300797"/>
                  <a:gd name="connsiteY3" fmla="*/ 1111376 h 1569555"/>
                  <a:gd name="connsiteX4" fmla="*/ 800025 w 1300797"/>
                  <a:gd name="connsiteY4" fmla="*/ 1558951 h 1569555"/>
                  <a:gd name="connsiteX5" fmla="*/ 773149 w 1300797"/>
                  <a:gd name="connsiteY5" fmla="*/ 1303694 h 1569555"/>
                  <a:gd name="connsiteX6" fmla="*/ 614065 w 1300797"/>
                  <a:gd name="connsiteY6" fmla="*/ 1083373 h 1569555"/>
                  <a:gd name="connsiteX7" fmla="*/ 641476 w 1300797"/>
                  <a:gd name="connsiteY7" fmla="*/ 938140 h 1569555"/>
                  <a:gd name="connsiteX8" fmla="*/ 1027161 w 1300797"/>
                  <a:gd name="connsiteY8" fmla="*/ 1150126 h 1569555"/>
                  <a:gd name="connsiteX9" fmla="*/ 1030567 w 1300797"/>
                  <a:gd name="connsiteY9" fmla="*/ 1248320 h 1569555"/>
                  <a:gd name="connsiteX10" fmla="*/ 1300797 w 1300797"/>
                  <a:gd name="connsiteY10" fmla="*/ 1079657 h 1569555"/>
                  <a:gd name="connsiteX11" fmla="*/ 1276805 w 1300797"/>
                  <a:gd name="connsiteY11" fmla="*/ 970032 h 1569555"/>
                  <a:gd name="connsiteX12" fmla="*/ 918243 w 1300797"/>
                  <a:gd name="connsiteY12" fmla="*/ 539543 h 1569555"/>
                  <a:gd name="connsiteX13" fmla="*/ 672954 w 1300797"/>
                  <a:gd name="connsiteY13" fmla="*/ 360477 h 1569555"/>
                  <a:gd name="connsiteX14" fmla="*/ 423190 w 1300797"/>
                  <a:gd name="connsiteY14" fmla="*/ 0 h 1569555"/>
                  <a:gd name="connsiteX0" fmla="*/ 576810 w 1454417"/>
                  <a:gd name="connsiteY0" fmla="*/ 0 h 1569555"/>
                  <a:gd name="connsiteX1" fmla="*/ 0 w 1454417"/>
                  <a:gd name="connsiteY1" fmla="*/ 137170 h 1569555"/>
                  <a:gd name="connsiteX2" fmla="*/ 370611 w 1454417"/>
                  <a:gd name="connsiteY2" fmla="*/ 524010 h 1569555"/>
                  <a:gd name="connsiteX3" fmla="*/ 449985 w 1454417"/>
                  <a:gd name="connsiteY3" fmla="*/ 1111376 h 1569555"/>
                  <a:gd name="connsiteX4" fmla="*/ 953645 w 1454417"/>
                  <a:gd name="connsiteY4" fmla="*/ 1558951 h 1569555"/>
                  <a:gd name="connsiteX5" fmla="*/ 926769 w 1454417"/>
                  <a:gd name="connsiteY5" fmla="*/ 1303694 h 1569555"/>
                  <a:gd name="connsiteX6" fmla="*/ 767685 w 1454417"/>
                  <a:gd name="connsiteY6" fmla="*/ 1083373 h 1569555"/>
                  <a:gd name="connsiteX7" fmla="*/ 795096 w 1454417"/>
                  <a:gd name="connsiteY7" fmla="*/ 938140 h 1569555"/>
                  <a:gd name="connsiteX8" fmla="*/ 1180781 w 1454417"/>
                  <a:gd name="connsiteY8" fmla="*/ 1150126 h 1569555"/>
                  <a:gd name="connsiteX9" fmla="*/ 1184187 w 1454417"/>
                  <a:gd name="connsiteY9" fmla="*/ 1248320 h 1569555"/>
                  <a:gd name="connsiteX10" fmla="*/ 1454417 w 1454417"/>
                  <a:gd name="connsiteY10" fmla="*/ 1079657 h 1569555"/>
                  <a:gd name="connsiteX11" fmla="*/ 1430425 w 1454417"/>
                  <a:gd name="connsiteY11" fmla="*/ 970032 h 1569555"/>
                  <a:gd name="connsiteX12" fmla="*/ 1071863 w 1454417"/>
                  <a:gd name="connsiteY12" fmla="*/ 539543 h 1569555"/>
                  <a:gd name="connsiteX13" fmla="*/ 826574 w 1454417"/>
                  <a:gd name="connsiteY13" fmla="*/ 360477 h 1569555"/>
                  <a:gd name="connsiteX14" fmla="*/ 576810 w 1454417"/>
                  <a:gd name="connsiteY14" fmla="*/ 0 h 1569555"/>
                  <a:gd name="connsiteX0" fmla="*/ 576810 w 1454417"/>
                  <a:gd name="connsiteY0" fmla="*/ 0 h 1569555"/>
                  <a:gd name="connsiteX1" fmla="*/ 0 w 1454417"/>
                  <a:gd name="connsiteY1" fmla="*/ 137170 h 1569555"/>
                  <a:gd name="connsiteX2" fmla="*/ 370611 w 1454417"/>
                  <a:gd name="connsiteY2" fmla="*/ 524010 h 1569555"/>
                  <a:gd name="connsiteX3" fmla="*/ 449985 w 1454417"/>
                  <a:gd name="connsiteY3" fmla="*/ 1111376 h 1569555"/>
                  <a:gd name="connsiteX4" fmla="*/ 953645 w 1454417"/>
                  <a:gd name="connsiteY4" fmla="*/ 1558951 h 1569555"/>
                  <a:gd name="connsiteX5" fmla="*/ 926769 w 1454417"/>
                  <a:gd name="connsiteY5" fmla="*/ 1303694 h 1569555"/>
                  <a:gd name="connsiteX6" fmla="*/ 767685 w 1454417"/>
                  <a:gd name="connsiteY6" fmla="*/ 1083373 h 1569555"/>
                  <a:gd name="connsiteX7" fmla="*/ 795096 w 1454417"/>
                  <a:gd name="connsiteY7" fmla="*/ 938140 h 1569555"/>
                  <a:gd name="connsiteX8" fmla="*/ 1180781 w 1454417"/>
                  <a:gd name="connsiteY8" fmla="*/ 1150126 h 1569555"/>
                  <a:gd name="connsiteX9" fmla="*/ 1184187 w 1454417"/>
                  <a:gd name="connsiteY9" fmla="*/ 1248320 h 1569555"/>
                  <a:gd name="connsiteX10" fmla="*/ 1454417 w 1454417"/>
                  <a:gd name="connsiteY10" fmla="*/ 1079657 h 1569555"/>
                  <a:gd name="connsiteX11" fmla="*/ 1430425 w 1454417"/>
                  <a:gd name="connsiteY11" fmla="*/ 970032 h 1569555"/>
                  <a:gd name="connsiteX12" fmla="*/ 1071863 w 1454417"/>
                  <a:gd name="connsiteY12" fmla="*/ 539543 h 1569555"/>
                  <a:gd name="connsiteX13" fmla="*/ 826574 w 1454417"/>
                  <a:gd name="connsiteY13" fmla="*/ 360477 h 1569555"/>
                  <a:gd name="connsiteX14" fmla="*/ 576810 w 1454417"/>
                  <a:gd name="connsiteY14"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85683 w 1359319"/>
                  <a:gd name="connsiteY8" fmla="*/ 1150126 h 1569555"/>
                  <a:gd name="connsiteX9" fmla="*/ 1089089 w 1359319"/>
                  <a:gd name="connsiteY9" fmla="*/ 1248320 h 1569555"/>
                  <a:gd name="connsiteX10" fmla="*/ 1359319 w 1359319"/>
                  <a:gd name="connsiteY10" fmla="*/ 1079657 h 1569555"/>
                  <a:gd name="connsiteX11" fmla="*/ 1335327 w 1359319"/>
                  <a:gd name="connsiteY11" fmla="*/ 970032 h 1569555"/>
                  <a:gd name="connsiteX12" fmla="*/ 976765 w 1359319"/>
                  <a:gd name="connsiteY12" fmla="*/ 539543 h 1569555"/>
                  <a:gd name="connsiteX13" fmla="*/ 731476 w 1359319"/>
                  <a:gd name="connsiteY13" fmla="*/ 360477 h 1569555"/>
                  <a:gd name="connsiteX14" fmla="*/ 481712 w 1359319"/>
                  <a:gd name="connsiteY14"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85683 w 1359319"/>
                  <a:gd name="connsiteY8" fmla="*/ 1150126 h 1569555"/>
                  <a:gd name="connsiteX9" fmla="*/ 1359319 w 1359319"/>
                  <a:gd name="connsiteY9" fmla="*/ 1079657 h 1569555"/>
                  <a:gd name="connsiteX10" fmla="*/ 1335327 w 1359319"/>
                  <a:gd name="connsiteY10" fmla="*/ 970032 h 1569555"/>
                  <a:gd name="connsiteX11" fmla="*/ 976765 w 1359319"/>
                  <a:gd name="connsiteY11" fmla="*/ 539543 h 1569555"/>
                  <a:gd name="connsiteX12" fmla="*/ 731476 w 1359319"/>
                  <a:gd name="connsiteY12" fmla="*/ 360477 h 1569555"/>
                  <a:gd name="connsiteX13" fmla="*/ 481712 w 1359319"/>
                  <a:gd name="connsiteY13"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71742 w 1359319"/>
                  <a:gd name="connsiteY8" fmla="*/ 1108558 h 1569555"/>
                  <a:gd name="connsiteX9" fmla="*/ 1359319 w 1359319"/>
                  <a:gd name="connsiteY9" fmla="*/ 1079657 h 1569555"/>
                  <a:gd name="connsiteX10" fmla="*/ 1335327 w 1359319"/>
                  <a:gd name="connsiteY10" fmla="*/ 970032 h 1569555"/>
                  <a:gd name="connsiteX11" fmla="*/ 976765 w 1359319"/>
                  <a:gd name="connsiteY11" fmla="*/ 539543 h 1569555"/>
                  <a:gd name="connsiteX12" fmla="*/ 731476 w 1359319"/>
                  <a:gd name="connsiteY12" fmla="*/ 360477 h 1569555"/>
                  <a:gd name="connsiteX13" fmla="*/ 481712 w 1359319"/>
                  <a:gd name="connsiteY13"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71742 w 1359319"/>
                  <a:gd name="connsiteY8" fmla="*/ 1108558 h 1569555"/>
                  <a:gd name="connsiteX9" fmla="*/ 1359319 w 1359319"/>
                  <a:gd name="connsiteY9" fmla="*/ 1079657 h 1569555"/>
                  <a:gd name="connsiteX10" fmla="*/ 1335327 w 1359319"/>
                  <a:gd name="connsiteY10" fmla="*/ 970032 h 1569555"/>
                  <a:gd name="connsiteX11" fmla="*/ 976765 w 1359319"/>
                  <a:gd name="connsiteY11" fmla="*/ 539543 h 1569555"/>
                  <a:gd name="connsiteX12" fmla="*/ 731476 w 1359319"/>
                  <a:gd name="connsiteY12" fmla="*/ 360477 h 1569555"/>
                  <a:gd name="connsiteX13" fmla="*/ 481712 w 1359319"/>
                  <a:gd name="connsiteY13"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71742 w 1359319"/>
                  <a:gd name="connsiteY8" fmla="*/ 1108558 h 1569555"/>
                  <a:gd name="connsiteX9" fmla="*/ 1359319 w 1359319"/>
                  <a:gd name="connsiteY9" fmla="*/ 1079657 h 1569555"/>
                  <a:gd name="connsiteX10" fmla="*/ 1335327 w 1359319"/>
                  <a:gd name="connsiteY10" fmla="*/ 970032 h 1569555"/>
                  <a:gd name="connsiteX11" fmla="*/ 976765 w 1359319"/>
                  <a:gd name="connsiteY11" fmla="*/ 539543 h 1569555"/>
                  <a:gd name="connsiteX12" fmla="*/ 731476 w 1359319"/>
                  <a:gd name="connsiteY12" fmla="*/ 360477 h 1569555"/>
                  <a:gd name="connsiteX13" fmla="*/ 481712 w 1359319"/>
                  <a:gd name="connsiteY13" fmla="*/ 0 h 1569555"/>
                  <a:gd name="connsiteX0" fmla="*/ 481712 w 1359319"/>
                  <a:gd name="connsiteY0" fmla="*/ 0 h 1569555"/>
                  <a:gd name="connsiteX1" fmla="*/ 0 w 1359319"/>
                  <a:gd name="connsiteY1" fmla="*/ 173746 h 1569555"/>
                  <a:gd name="connsiteX2" fmla="*/ 275513 w 1359319"/>
                  <a:gd name="connsiteY2" fmla="*/ 524010 h 1569555"/>
                  <a:gd name="connsiteX3" fmla="*/ 354887 w 1359319"/>
                  <a:gd name="connsiteY3" fmla="*/ 1111376 h 1569555"/>
                  <a:gd name="connsiteX4" fmla="*/ 858547 w 1359319"/>
                  <a:gd name="connsiteY4" fmla="*/ 1558951 h 1569555"/>
                  <a:gd name="connsiteX5" fmla="*/ 831671 w 1359319"/>
                  <a:gd name="connsiteY5" fmla="*/ 1303694 h 1569555"/>
                  <a:gd name="connsiteX6" fmla="*/ 672587 w 1359319"/>
                  <a:gd name="connsiteY6" fmla="*/ 1083373 h 1569555"/>
                  <a:gd name="connsiteX7" fmla="*/ 699998 w 1359319"/>
                  <a:gd name="connsiteY7" fmla="*/ 938140 h 1569555"/>
                  <a:gd name="connsiteX8" fmla="*/ 1071742 w 1359319"/>
                  <a:gd name="connsiteY8" fmla="*/ 1108558 h 1569555"/>
                  <a:gd name="connsiteX9" fmla="*/ 1359319 w 1359319"/>
                  <a:gd name="connsiteY9" fmla="*/ 1079657 h 1569555"/>
                  <a:gd name="connsiteX10" fmla="*/ 1335327 w 1359319"/>
                  <a:gd name="connsiteY10" fmla="*/ 970032 h 1569555"/>
                  <a:gd name="connsiteX11" fmla="*/ 976765 w 1359319"/>
                  <a:gd name="connsiteY11" fmla="*/ 539543 h 1569555"/>
                  <a:gd name="connsiteX12" fmla="*/ 731476 w 1359319"/>
                  <a:gd name="connsiteY12" fmla="*/ 360477 h 1569555"/>
                  <a:gd name="connsiteX13" fmla="*/ 481712 w 1359319"/>
                  <a:gd name="connsiteY13" fmla="*/ 0 h 1569555"/>
                  <a:gd name="connsiteX0" fmla="*/ 481712 w 1355827"/>
                  <a:gd name="connsiteY0" fmla="*/ 0 h 1569555"/>
                  <a:gd name="connsiteX1" fmla="*/ 0 w 1355827"/>
                  <a:gd name="connsiteY1" fmla="*/ 173746 h 1569555"/>
                  <a:gd name="connsiteX2" fmla="*/ 275513 w 1355827"/>
                  <a:gd name="connsiteY2" fmla="*/ 524010 h 1569555"/>
                  <a:gd name="connsiteX3" fmla="*/ 354887 w 1355827"/>
                  <a:gd name="connsiteY3" fmla="*/ 1111376 h 1569555"/>
                  <a:gd name="connsiteX4" fmla="*/ 858547 w 1355827"/>
                  <a:gd name="connsiteY4" fmla="*/ 1558951 h 1569555"/>
                  <a:gd name="connsiteX5" fmla="*/ 831671 w 1355827"/>
                  <a:gd name="connsiteY5" fmla="*/ 1303694 h 1569555"/>
                  <a:gd name="connsiteX6" fmla="*/ 672587 w 1355827"/>
                  <a:gd name="connsiteY6" fmla="*/ 1083373 h 1569555"/>
                  <a:gd name="connsiteX7" fmla="*/ 699998 w 1355827"/>
                  <a:gd name="connsiteY7" fmla="*/ 938140 h 1569555"/>
                  <a:gd name="connsiteX8" fmla="*/ 1071742 w 1355827"/>
                  <a:gd name="connsiteY8" fmla="*/ 1108558 h 1569555"/>
                  <a:gd name="connsiteX9" fmla="*/ 1355827 w 1355827"/>
                  <a:gd name="connsiteY9" fmla="*/ 1093292 h 1569555"/>
                  <a:gd name="connsiteX10" fmla="*/ 1335327 w 1355827"/>
                  <a:gd name="connsiteY10" fmla="*/ 970032 h 1569555"/>
                  <a:gd name="connsiteX11" fmla="*/ 976765 w 1355827"/>
                  <a:gd name="connsiteY11" fmla="*/ 539543 h 1569555"/>
                  <a:gd name="connsiteX12" fmla="*/ 731476 w 1355827"/>
                  <a:gd name="connsiteY12" fmla="*/ 360477 h 1569555"/>
                  <a:gd name="connsiteX13" fmla="*/ 481712 w 1355827"/>
                  <a:gd name="connsiteY13" fmla="*/ 0 h 1569555"/>
                  <a:gd name="connsiteX0" fmla="*/ 481712 w 1355827"/>
                  <a:gd name="connsiteY0" fmla="*/ 0 h 1569555"/>
                  <a:gd name="connsiteX1" fmla="*/ 0 w 1355827"/>
                  <a:gd name="connsiteY1" fmla="*/ 173746 h 1569555"/>
                  <a:gd name="connsiteX2" fmla="*/ 275513 w 1355827"/>
                  <a:gd name="connsiteY2" fmla="*/ 524010 h 1569555"/>
                  <a:gd name="connsiteX3" fmla="*/ 354887 w 1355827"/>
                  <a:gd name="connsiteY3" fmla="*/ 1111376 h 1569555"/>
                  <a:gd name="connsiteX4" fmla="*/ 858547 w 1355827"/>
                  <a:gd name="connsiteY4" fmla="*/ 1558951 h 1569555"/>
                  <a:gd name="connsiteX5" fmla="*/ 831671 w 1355827"/>
                  <a:gd name="connsiteY5" fmla="*/ 1303694 h 1569555"/>
                  <a:gd name="connsiteX6" fmla="*/ 672587 w 1355827"/>
                  <a:gd name="connsiteY6" fmla="*/ 1083373 h 1569555"/>
                  <a:gd name="connsiteX7" fmla="*/ 699998 w 1355827"/>
                  <a:gd name="connsiteY7" fmla="*/ 938140 h 1569555"/>
                  <a:gd name="connsiteX8" fmla="*/ 1063469 w 1355827"/>
                  <a:gd name="connsiteY8" fmla="*/ 1092637 h 1569555"/>
                  <a:gd name="connsiteX9" fmla="*/ 1355827 w 1355827"/>
                  <a:gd name="connsiteY9" fmla="*/ 1093292 h 1569555"/>
                  <a:gd name="connsiteX10" fmla="*/ 1335327 w 1355827"/>
                  <a:gd name="connsiteY10" fmla="*/ 970032 h 1569555"/>
                  <a:gd name="connsiteX11" fmla="*/ 976765 w 1355827"/>
                  <a:gd name="connsiteY11" fmla="*/ 539543 h 1569555"/>
                  <a:gd name="connsiteX12" fmla="*/ 731476 w 1355827"/>
                  <a:gd name="connsiteY12" fmla="*/ 360477 h 1569555"/>
                  <a:gd name="connsiteX13" fmla="*/ 481712 w 1355827"/>
                  <a:gd name="connsiteY13" fmla="*/ 0 h 1569555"/>
                  <a:gd name="connsiteX0" fmla="*/ 481712 w 1355827"/>
                  <a:gd name="connsiteY0" fmla="*/ 0 h 1569555"/>
                  <a:gd name="connsiteX1" fmla="*/ 0 w 1355827"/>
                  <a:gd name="connsiteY1" fmla="*/ 173746 h 1569555"/>
                  <a:gd name="connsiteX2" fmla="*/ 275513 w 1355827"/>
                  <a:gd name="connsiteY2" fmla="*/ 524010 h 1569555"/>
                  <a:gd name="connsiteX3" fmla="*/ 354887 w 1355827"/>
                  <a:gd name="connsiteY3" fmla="*/ 1111376 h 1569555"/>
                  <a:gd name="connsiteX4" fmla="*/ 858547 w 1355827"/>
                  <a:gd name="connsiteY4" fmla="*/ 1558951 h 1569555"/>
                  <a:gd name="connsiteX5" fmla="*/ 831671 w 1355827"/>
                  <a:gd name="connsiteY5" fmla="*/ 1303694 h 1569555"/>
                  <a:gd name="connsiteX6" fmla="*/ 672587 w 1355827"/>
                  <a:gd name="connsiteY6" fmla="*/ 1083373 h 1569555"/>
                  <a:gd name="connsiteX7" fmla="*/ 699998 w 1355827"/>
                  <a:gd name="connsiteY7" fmla="*/ 938140 h 1569555"/>
                  <a:gd name="connsiteX8" fmla="*/ 1063469 w 1355827"/>
                  <a:gd name="connsiteY8" fmla="*/ 1092637 h 1569555"/>
                  <a:gd name="connsiteX9" fmla="*/ 1355827 w 1355827"/>
                  <a:gd name="connsiteY9" fmla="*/ 1093292 h 1569555"/>
                  <a:gd name="connsiteX10" fmla="*/ 1335327 w 1355827"/>
                  <a:gd name="connsiteY10" fmla="*/ 970032 h 1569555"/>
                  <a:gd name="connsiteX11" fmla="*/ 976765 w 1355827"/>
                  <a:gd name="connsiteY11" fmla="*/ 539543 h 1569555"/>
                  <a:gd name="connsiteX12" fmla="*/ 731476 w 1355827"/>
                  <a:gd name="connsiteY12" fmla="*/ 360477 h 1569555"/>
                  <a:gd name="connsiteX13" fmla="*/ 481712 w 1355827"/>
                  <a:gd name="connsiteY13" fmla="*/ 0 h 156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827" h="1569555">
                    <a:moveTo>
                      <a:pt x="481712" y="0"/>
                    </a:moveTo>
                    <a:lnTo>
                      <a:pt x="0" y="173746"/>
                    </a:lnTo>
                    <a:cubicBezTo>
                      <a:pt x="156408" y="327895"/>
                      <a:pt x="235460" y="366520"/>
                      <a:pt x="275513" y="524010"/>
                    </a:cubicBezTo>
                    <a:cubicBezTo>
                      <a:pt x="305214" y="688403"/>
                      <a:pt x="276554" y="939924"/>
                      <a:pt x="354887" y="1111376"/>
                    </a:cubicBezTo>
                    <a:cubicBezTo>
                      <a:pt x="514114" y="1391429"/>
                      <a:pt x="819538" y="1558054"/>
                      <a:pt x="858547" y="1558951"/>
                    </a:cubicBezTo>
                    <a:cubicBezTo>
                      <a:pt x="918941" y="1614168"/>
                      <a:pt x="990000" y="1442526"/>
                      <a:pt x="831671" y="1303694"/>
                    </a:cubicBezTo>
                    <a:cubicBezTo>
                      <a:pt x="783217" y="1229194"/>
                      <a:pt x="691562" y="1180029"/>
                      <a:pt x="672587" y="1083373"/>
                    </a:cubicBezTo>
                    <a:cubicBezTo>
                      <a:pt x="664534" y="998822"/>
                      <a:pt x="629286" y="951447"/>
                      <a:pt x="699998" y="938140"/>
                    </a:cubicBezTo>
                    <a:cubicBezTo>
                      <a:pt x="772331" y="938959"/>
                      <a:pt x="977732" y="924796"/>
                      <a:pt x="1063469" y="1092637"/>
                    </a:cubicBezTo>
                    <a:lnTo>
                      <a:pt x="1355827" y="1093292"/>
                    </a:lnTo>
                    <a:cubicBezTo>
                      <a:pt x="1346784" y="1054688"/>
                      <a:pt x="1353241" y="1011071"/>
                      <a:pt x="1335327" y="970032"/>
                    </a:cubicBezTo>
                    <a:cubicBezTo>
                      <a:pt x="1258828" y="807882"/>
                      <a:pt x="1077407" y="641135"/>
                      <a:pt x="976765" y="539543"/>
                    </a:cubicBezTo>
                    <a:cubicBezTo>
                      <a:pt x="844384" y="437291"/>
                      <a:pt x="815539" y="414413"/>
                      <a:pt x="731476" y="360477"/>
                    </a:cubicBezTo>
                    <a:lnTo>
                      <a:pt x="481712" y="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1"/>
              </a:p>
            </p:txBody>
          </p:sp>
          <p:sp>
            <p:nvSpPr>
              <p:cNvPr id="47" name="Rectangle 46">
                <a:extLst>
                  <a:ext uri="{FF2B5EF4-FFF2-40B4-BE49-F238E27FC236}">
                    <a16:creationId xmlns:a16="http://schemas.microsoft.com/office/drawing/2014/main" id="{B1F34F70-20E3-DA4C-A816-63B9D339B017}"/>
                  </a:ext>
                </a:extLst>
              </p:cNvPr>
              <p:cNvSpPr/>
              <p:nvPr/>
            </p:nvSpPr>
            <p:spPr>
              <a:xfrm rot="2072551">
                <a:off x="9359267" y="578459"/>
                <a:ext cx="869183" cy="3429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sp>
            <p:nvSpPr>
              <p:cNvPr id="48" name="Rectangle 42">
                <a:extLst>
                  <a:ext uri="{FF2B5EF4-FFF2-40B4-BE49-F238E27FC236}">
                    <a16:creationId xmlns:a16="http://schemas.microsoft.com/office/drawing/2014/main" id="{9DE57C9A-4051-CE4B-8753-2BCF1CD7CAE4}"/>
                  </a:ext>
                </a:extLst>
              </p:cNvPr>
              <p:cNvSpPr/>
              <p:nvPr/>
            </p:nvSpPr>
            <p:spPr>
              <a:xfrm rot="2072551">
                <a:off x="9643114" y="-245676"/>
                <a:ext cx="1073495" cy="972758"/>
              </a:xfrm>
              <a:custGeom>
                <a:avLst/>
                <a:gdLst>
                  <a:gd name="connsiteX0" fmla="*/ 0 w 777759"/>
                  <a:gd name="connsiteY0" fmla="*/ 0 h 968130"/>
                  <a:gd name="connsiteX1" fmla="*/ 777759 w 777759"/>
                  <a:gd name="connsiteY1" fmla="*/ 0 h 968130"/>
                  <a:gd name="connsiteX2" fmla="*/ 777759 w 777759"/>
                  <a:gd name="connsiteY2" fmla="*/ 968130 h 968130"/>
                  <a:gd name="connsiteX3" fmla="*/ 0 w 777759"/>
                  <a:gd name="connsiteY3" fmla="*/ 968130 h 968130"/>
                  <a:gd name="connsiteX4" fmla="*/ 0 w 777759"/>
                  <a:gd name="connsiteY4" fmla="*/ 0 h 968130"/>
                  <a:gd name="connsiteX0" fmla="*/ 0 w 789458"/>
                  <a:gd name="connsiteY0" fmla="*/ 500269 h 968130"/>
                  <a:gd name="connsiteX1" fmla="*/ 789458 w 789458"/>
                  <a:gd name="connsiteY1" fmla="*/ 0 h 968130"/>
                  <a:gd name="connsiteX2" fmla="*/ 789458 w 789458"/>
                  <a:gd name="connsiteY2" fmla="*/ 968130 h 968130"/>
                  <a:gd name="connsiteX3" fmla="*/ 11699 w 789458"/>
                  <a:gd name="connsiteY3" fmla="*/ 968130 h 968130"/>
                  <a:gd name="connsiteX4" fmla="*/ 0 w 789458"/>
                  <a:gd name="connsiteY4" fmla="*/ 500269 h 968130"/>
                  <a:gd name="connsiteX0" fmla="*/ 0 w 788533"/>
                  <a:gd name="connsiteY0" fmla="*/ 562468 h 968130"/>
                  <a:gd name="connsiteX1" fmla="*/ 788533 w 788533"/>
                  <a:gd name="connsiteY1" fmla="*/ 0 h 968130"/>
                  <a:gd name="connsiteX2" fmla="*/ 788533 w 788533"/>
                  <a:gd name="connsiteY2" fmla="*/ 968130 h 968130"/>
                  <a:gd name="connsiteX3" fmla="*/ 10774 w 788533"/>
                  <a:gd name="connsiteY3" fmla="*/ 968130 h 968130"/>
                  <a:gd name="connsiteX4" fmla="*/ 0 w 788533"/>
                  <a:gd name="connsiteY4" fmla="*/ 562468 h 968130"/>
                  <a:gd name="connsiteX0" fmla="*/ 0 w 788995"/>
                  <a:gd name="connsiteY0" fmla="*/ 531368 h 968130"/>
                  <a:gd name="connsiteX1" fmla="*/ 788995 w 788995"/>
                  <a:gd name="connsiteY1" fmla="*/ 0 h 968130"/>
                  <a:gd name="connsiteX2" fmla="*/ 788995 w 788995"/>
                  <a:gd name="connsiteY2" fmla="*/ 968130 h 968130"/>
                  <a:gd name="connsiteX3" fmla="*/ 11236 w 788995"/>
                  <a:gd name="connsiteY3" fmla="*/ 968130 h 968130"/>
                  <a:gd name="connsiteX4" fmla="*/ 0 w 788995"/>
                  <a:gd name="connsiteY4" fmla="*/ 531368 h 968130"/>
                  <a:gd name="connsiteX0" fmla="*/ 0 w 791382"/>
                  <a:gd name="connsiteY0" fmla="*/ 370911 h 968130"/>
                  <a:gd name="connsiteX1" fmla="*/ 791382 w 791382"/>
                  <a:gd name="connsiteY1" fmla="*/ 0 h 968130"/>
                  <a:gd name="connsiteX2" fmla="*/ 791382 w 791382"/>
                  <a:gd name="connsiteY2" fmla="*/ 968130 h 968130"/>
                  <a:gd name="connsiteX3" fmla="*/ 13623 w 791382"/>
                  <a:gd name="connsiteY3" fmla="*/ 968130 h 968130"/>
                  <a:gd name="connsiteX4" fmla="*/ 0 w 791382"/>
                  <a:gd name="connsiteY4" fmla="*/ 370911 h 968130"/>
                  <a:gd name="connsiteX0" fmla="*/ 0 w 797009"/>
                  <a:gd name="connsiteY0" fmla="*/ 545890 h 1143109"/>
                  <a:gd name="connsiteX1" fmla="*/ 797009 w 797009"/>
                  <a:gd name="connsiteY1" fmla="*/ 0 h 1143109"/>
                  <a:gd name="connsiteX2" fmla="*/ 791382 w 797009"/>
                  <a:gd name="connsiteY2" fmla="*/ 1143109 h 1143109"/>
                  <a:gd name="connsiteX3" fmla="*/ 13623 w 797009"/>
                  <a:gd name="connsiteY3" fmla="*/ 1143109 h 1143109"/>
                  <a:gd name="connsiteX4" fmla="*/ 0 w 797009"/>
                  <a:gd name="connsiteY4" fmla="*/ 545890 h 1143109"/>
                  <a:gd name="connsiteX0" fmla="*/ 0 w 789665"/>
                  <a:gd name="connsiteY0" fmla="*/ 805888 h 1143109"/>
                  <a:gd name="connsiteX1" fmla="*/ 789665 w 789665"/>
                  <a:gd name="connsiteY1" fmla="*/ 0 h 1143109"/>
                  <a:gd name="connsiteX2" fmla="*/ 784038 w 789665"/>
                  <a:gd name="connsiteY2" fmla="*/ 1143109 h 1143109"/>
                  <a:gd name="connsiteX3" fmla="*/ 6279 w 789665"/>
                  <a:gd name="connsiteY3" fmla="*/ 1143109 h 1143109"/>
                  <a:gd name="connsiteX4" fmla="*/ 0 w 789665"/>
                  <a:gd name="connsiteY4" fmla="*/ 805888 h 1143109"/>
                  <a:gd name="connsiteX0" fmla="*/ 0 w 786044"/>
                  <a:gd name="connsiteY0" fmla="*/ 537896 h 875117"/>
                  <a:gd name="connsiteX1" fmla="*/ 786044 w 786044"/>
                  <a:gd name="connsiteY1" fmla="*/ 0 h 875117"/>
                  <a:gd name="connsiteX2" fmla="*/ 784038 w 786044"/>
                  <a:gd name="connsiteY2" fmla="*/ 875117 h 875117"/>
                  <a:gd name="connsiteX3" fmla="*/ 6279 w 786044"/>
                  <a:gd name="connsiteY3" fmla="*/ 875117 h 875117"/>
                  <a:gd name="connsiteX4" fmla="*/ 0 w 786044"/>
                  <a:gd name="connsiteY4" fmla="*/ 537896 h 875117"/>
                  <a:gd name="connsiteX0" fmla="*/ 0 w 784222"/>
                  <a:gd name="connsiteY0" fmla="*/ 555319 h 892540"/>
                  <a:gd name="connsiteX1" fmla="*/ 774722 w 784222"/>
                  <a:gd name="connsiteY1" fmla="*/ 0 h 892540"/>
                  <a:gd name="connsiteX2" fmla="*/ 784038 w 784222"/>
                  <a:gd name="connsiteY2" fmla="*/ 892540 h 892540"/>
                  <a:gd name="connsiteX3" fmla="*/ 6279 w 784222"/>
                  <a:gd name="connsiteY3" fmla="*/ 892540 h 892540"/>
                  <a:gd name="connsiteX4" fmla="*/ 0 w 784222"/>
                  <a:gd name="connsiteY4" fmla="*/ 555319 h 892540"/>
                  <a:gd name="connsiteX0" fmla="*/ 0 w 784249"/>
                  <a:gd name="connsiteY0" fmla="*/ 248835 h 586056"/>
                  <a:gd name="connsiteX1" fmla="*/ 776513 w 784249"/>
                  <a:gd name="connsiteY1" fmla="*/ 0 h 586056"/>
                  <a:gd name="connsiteX2" fmla="*/ 784038 w 784249"/>
                  <a:gd name="connsiteY2" fmla="*/ 586056 h 586056"/>
                  <a:gd name="connsiteX3" fmla="*/ 6279 w 784249"/>
                  <a:gd name="connsiteY3" fmla="*/ 586056 h 586056"/>
                  <a:gd name="connsiteX4" fmla="*/ 0 w 784249"/>
                  <a:gd name="connsiteY4" fmla="*/ 248835 h 586056"/>
                  <a:gd name="connsiteX0" fmla="*/ 0 w 784249"/>
                  <a:gd name="connsiteY0" fmla="*/ 276687 h 613908"/>
                  <a:gd name="connsiteX1" fmla="*/ 776513 w 784249"/>
                  <a:gd name="connsiteY1" fmla="*/ 27852 h 613908"/>
                  <a:gd name="connsiteX2" fmla="*/ 784038 w 784249"/>
                  <a:gd name="connsiteY2" fmla="*/ 613908 h 613908"/>
                  <a:gd name="connsiteX3" fmla="*/ 6279 w 784249"/>
                  <a:gd name="connsiteY3" fmla="*/ 613908 h 613908"/>
                  <a:gd name="connsiteX4" fmla="*/ 0 w 784249"/>
                  <a:gd name="connsiteY4" fmla="*/ 276687 h 613908"/>
                  <a:gd name="connsiteX0" fmla="*/ 0 w 784198"/>
                  <a:gd name="connsiteY0" fmla="*/ 128066 h 465287"/>
                  <a:gd name="connsiteX1" fmla="*/ 772581 w 784198"/>
                  <a:gd name="connsiteY1" fmla="*/ 80973 h 465287"/>
                  <a:gd name="connsiteX2" fmla="*/ 784038 w 784198"/>
                  <a:gd name="connsiteY2" fmla="*/ 465287 h 465287"/>
                  <a:gd name="connsiteX3" fmla="*/ 6279 w 784198"/>
                  <a:gd name="connsiteY3" fmla="*/ 465287 h 465287"/>
                  <a:gd name="connsiteX4" fmla="*/ 0 w 784198"/>
                  <a:gd name="connsiteY4" fmla="*/ 128066 h 465287"/>
                  <a:gd name="connsiteX0" fmla="*/ 0 w 806852"/>
                  <a:gd name="connsiteY0" fmla="*/ 157682 h 494903"/>
                  <a:gd name="connsiteX1" fmla="*/ 806852 w 806852"/>
                  <a:gd name="connsiteY1" fmla="*/ 59020 h 494903"/>
                  <a:gd name="connsiteX2" fmla="*/ 784038 w 806852"/>
                  <a:gd name="connsiteY2" fmla="*/ 494903 h 494903"/>
                  <a:gd name="connsiteX3" fmla="*/ 6279 w 806852"/>
                  <a:gd name="connsiteY3" fmla="*/ 494903 h 494903"/>
                  <a:gd name="connsiteX4" fmla="*/ 0 w 806852"/>
                  <a:gd name="connsiteY4" fmla="*/ 157682 h 494903"/>
                  <a:gd name="connsiteX0" fmla="*/ 0 w 806852"/>
                  <a:gd name="connsiteY0" fmla="*/ 157682 h 494903"/>
                  <a:gd name="connsiteX1" fmla="*/ 806852 w 806852"/>
                  <a:gd name="connsiteY1" fmla="*/ 59020 h 494903"/>
                  <a:gd name="connsiteX2" fmla="*/ 784038 w 806852"/>
                  <a:gd name="connsiteY2" fmla="*/ 494903 h 494903"/>
                  <a:gd name="connsiteX3" fmla="*/ 6279 w 806852"/>
                  <a:gd name="connsiteY3" fmla="*/ 494903 h 494903"/>
                  <a:gd name="connsiteX4" fmla="*/ 0 w 806852"/>
                  <a:gd name="connsiteY4" fmla="*/ 157682 h 494903"/>
                  <a:gd name="connsiteX0" fmla="*/ 0 w 806852"/>
                  <a:gd name="connsiteY0" fmla="*/ 157682 h 494903"/>
                  <a:gd name="connsiteX1" fmla="*/ 806852 w 806852"/>
                  <a:gd name="connsiteY1" fmla="*/ 59020 h 494903"/>
                  <a:gd name="connsiteX2" fmla="*/ 784038 w 806852"/>
                  <a:gd name="connsiteY2" fmla="*/ 494903 h 494903"/>
                  <a:gd name="connsiteX3" fmla="*/ 6279 w 806852"/>
                  <a:gd name="connsiteY3" fmla="*/ 494903 h 494903"/>
                  <a:gd name="connsiteX4" fmla="*/ 0 w 806852"/>
                  <a:gd name="connsiteY4" fmla="*/ 157682 h 494903"/>
                  <a:gd name="connsiteX0" fmla="*/ 0 w 791444"/>
                  <a:gd name="connsiteY0" fmla="*/ 82883 h 420104"/>
                  <a:gd name="connsiteX1" fmla="*/ 791444 w 791444"/>
                  <a:gd name="connsiteY1" fmla="*/ 160914 h 420104"/>
                  <a:gd name="connsiteX2" fmla="*/ 784038 w 791444"/>
                  <a:gd name="connsiteY2" fmla="*/ 420104 h 420104"/>
                  <a:gd name="connsiteX3" fmla="*/ 6279 w 791444"/>
                  <a:gd name="connsiteY3" fmla="*/ 420104 h 420104"/>
                  <a:gd name="connsiteX4" fmla="*/ 0 w 791444"/>
                  <a:gd name="connsiteY4" fmla="*/ 82883 h 420104"/>
                  <a:gd name="connsiteX0" fmla="*/ 0 w 802464"/>
                  <a:gd name="connsiteY0" fmla="*/ 84260 h 421481"/>
                  <a:gd name="connsiteX1" fmla="*/ 802464 w 802464"/>
                  <a:gd name="connsiteY1" fmla="*/ 156828 h 421481"/>
                  <a:gd name="connsiteX2" fmla="*/ 784038 w 802464"/>
                  <a:gd name="connsiteY2" fmla="*/ 421481 h 421481"/>
                  <a:gd name="connsiteX3" fmla="*/ 6279 w 802464"/>
                  <a:gd name="connsiteY3" fmla="*/ 421481 h 421481"/>
                  <a:gd name="connsiteX4" fmla="*/ 0 w 802464"/>
                  <a:gd name="connsiteY4" fmla="*/ 84260 h 421481"/>
                  <a:gd name="connsiteX0" fmla="*/ 0 w 802464"/>
                  <a:gd name="connsiteY0" fmla="*/ 69955 h 407176"/>
                  <a:gd name="connsiteX1" fmla="*/ 802464 w 802464"/>
                  <a:gd name="connsiteY1" fmla="*/ 142523 h 407176"/>
                  <a:gd name="connsiteX2" fmla="*/ 784038 w 802464"/>
                  <a:gd name="connsiteY2" fmla="*/ 407176 h 407176"/>
                  <a:gd name="connsiteX3" fmla="*/ 6279 w 802464"/>
                  <a:gd name="connsiteY3" fmla="*/ 407176 h 407176"/>
                  <a:gd name="connsiteX4" fmla="*/ 0 w 802464"/>
                  <a:gd name="connsiteY4" fmla="*/ 69955 h 407176"/>
                  <a:gd name="connsiteX0" fmla="*/ 0 w 802464"/>
                  <a:gd name="connsiteY0" fmla="*/ 0 h 337221"/>
                  <a:gd name="connsiteX1" fmla="*/ 802464 w 802464"/>
                  <a:gd name="connsiteY1" fmla="*/ 72568 h 337221"/>
                  <a:gd name="connsiteX2" fmla="*/ 784038 w 802464"/>
                  <a:gd name="connsiteY2" fmla="*/ 337221 h 337221"/>
                  <a:gd name="connsiteX3" fmla="*/ 6279 w 802464"/>
                  <a:gd name="connsiteY3" fmla="*/ 337221 h 337221"/>
                  <a:gd name="connsiteX4" fmla="*/ 0 w 802464"/>
                  <a:gd name="connsiteY4" fmla="*/ 0 h 337221"/>
                  <a:gd name="connsiteX0" fmla="*/ 0 w 789264"/>
                  <a:gd name="connsiteY0" fmla="*/ 0 h 337221"/>
                  <a:gd name="connsiteX1" fmla="*/ 789264 w 789264"/>
                  <a:gd name="connsiteY1" fmla="*/ 71428 h 337221"/>
                  <a:gd name="connsiteX2" fmla="*/ 784038 w 789264"/>
                  <a:gd name="connsiteY2" fmla="*/ 337221 h 337221"/>
                  <a:gd name="connsiteX3" fmla="*/ 6279 w 789264"/>
                  <a:gd name="connsiteY3" fmla="*/ 337221 h 337221"/>
                  <a:gd name="connsiteX4" fmla="*/ 0 w 789264"/>
                  <a:gd name="connsiteY4" fmla="*/ 0 h 337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264" h="337221">
                    <a:moveTo>
                      <a:pt x="0" y="0"/>
                    </a:moveTo>
                    <a:cubicBezTo>
                      <a:pt x="522159" y="41377"/>
                      <a:pt x="563020" y="52405"/>
                      <a:pt x="789264" y="71428"/>
                    </a:cubicBezTo>
                    <a:cubicBezTo>
                      <a:pt x="785475" y="184461"/>
                      <a:pt x="785914" y="-43815"/>
                      <a:pt x="784038" y="337221"/>
                    </a:cubicBezTo>
                    <a:lnTo>
                      <a:pt x="6279" y="337221"/>
                    </a:lnTo>
                    <a:lnTo>
                      <a:pt x="0" y="0"/>
                    </a:lnTo>
                    <a:close/>
                  </a:path>
                </a:pathLst>
              </a:cu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1"/>
              </a:p>
            </p:txBody>
          </p:sp>
        </p:grpSp>
      </p:grpSp>
    </p:spTree>
    <p:extLst>
      <p:ext uri="{BB962C8B-B14F-4D97-AF65-F5344CB8AC3E}">
        <p14:creationId xmlns:p14="http://schemas.microsoft.com/office/powerpoint/2010/main" val="3819898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81000000000000005329E+00&quot;&gt;&lt;m_msothmcolidx val=&quot;0&quot;/&gt;&lt;m_rgb r=&quot;9F&quot; g=&quot;D8&quot; b=&quot;0E&quot;/&gt;&lt;m_nBrightness tagver0=&quot;26206&quot; tagname0=&quot;m_nBrightnessUNRECOGNIZED&quot; val=&quot;0&quot;/&gt;&lt;/elem&gt;&lt;elem m_fUsage=&quot;9.00000000000000022204E-01&quot;&gt;&lt;m_msothmcolidx val=&quot;0&quot;/&gt;&lt;m_rgb r=&quot;CD&quot; g=&quot;CD&quot; b=&quot;CD&quot;/&gt;&lt;m_nBrightness tagver0=&quot;26206&quot; tagname0=&quot;m_nBrightnessUNRECOGNIZED&quot; val=&quot;0&quot;/&gt;&lt;/elem&gt;&lt;elem m_fUsage=&quot;7.29000000000000092371E-01&quot;&gt;&lt;m_msothmcolidx val=&quot;0&quot;/&gt;&lt;m_rgb r=&quot;6D&quot; g=&quot;E2&quot; b=&quot;41&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MIOWBpUT0eJzVNcJ4jG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tXe.UKRGqUlkFtY0FX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MIOWBpUT0eJzVNcJ4jGb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7Kr2SfJSy2G5o8HW8Stt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7Kr2SfJSy2G5o8HW8St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NVRfqAz5Uehz5729ht67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NVRfqAz5Uehz5729ht6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cO.IjTVik.vJtIGJTWp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7mCijiSpW4PZl01j9Q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RNeDeZQWqQKkproyqv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YdP6po4QTipA3fGd54P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JlA3NtLREyK3A80C4y.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ltAwPL5QgmTh4khA6a.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MIOWBpUT0eJzVNcJ4jG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MIOWBpUT0eJzVNcJ4jG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MIOWBpUT0eJzVNcJ4jG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B3QSuMiRrORRk0qYPWI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aqCvFKxRYSg_Vbk9cCXXQ"/>
</p:tagLst>
</file>

<file path=ppt/theme/theme1.xml><?xml version="1.0" encoding="utf-8"?>
<a:theme xmlns:a="http://schemas.openxmlformats.org/drawingml/2006/main" name="Master">
  <a:themeElements>
    <a:clrScheme name="ML Reply 1">
      <a:dk1>
        <a:srgbClr val="252625"/>
      </a:dk1>
      <a:lt1>
        <a:srgbClr val="FFFFFF"/>
      </a:lt1>
      <a:dk2>
        <a:srgbClr val="323556"/>
      </a:dk2>
      <a:lt2>
        <a:srgbClr val="C9C9E0"/>
      </a:lt2>
      <a:accent1>
        <a:srgbClr val="8B8DA8"/>
      </a:accent1>
      <a:accent2>
        <a:srgbClr val="919191"/>
      </a:accent2>
      <a:accent3>
        <a:srgbClr val="515373"/>
      </a:accent3>
      <a:accent4>
        <a:srgbClr val="3A3838"/>
      </a:accent4>
      <a:accent5>
        <a:srgbClr val="AEABAB"/>
      </a:accent5>
      <a:accent6>
        <a:srgbClr val="323555"/>
      </a:accent6>
      <a:hlink>
        <a:srgbClr val="252625"/>
      </a:hlink>
      <a:folHlink>
        <a:srgbClr val="32355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40DA48F075C5B4A97888B7494D83B0A" ma:contentTypeVersion="16" ma:contentTypeDescription="Ein neues Dokument erstellen." ma:contentTypeScope="" ma:versionID="55d89ee7cf9cecf4b6d79ddbfb7f969b">
  <xsd:schema xmlns:xsd="http://www.w3.org/2001/XMLSchema" xmlns:xs="http://www.w3.org/2001/XMLSchema" xmlns:p="http://schemas.microsoft.com/office/2006/metadata/properties" xmlns:ns2="3ed6e455-ac74-4dac-a85f-281444f13a89" xmlns:ns3="93dfb1fd-9939-48e8-b7f9-906c8dec5f83" targetNamespace="http://schemas.microsoft.com/office/2006/metadata/properties" ma:root="true" ma:fieldsID="6ed475055c095119b49f3dc8bc99bdfa" ns2:_="" ns3:_="">
    <xsd:import namespace="3ed6e455-ac74-4dac-a85f-281444f13a89"/>
    <xsd:import namespace="93dfb1fd-9939-48e8-b7f9-906c8dec5f8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d6e455-ac74-4dac-a85f-281444f13a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fa14d781-0189-441e-87ef-c208f41383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3dfb1fd-9939-48e8-b7f9-906c8dec5f83" elementFormDefault="qualified">
    <xsd:import namespace="http://schemas.microsoft.com/office/2006/documentManagement/types"/>
    <xsd:import namespace="http://schemas.microsoft.com/office/infopath/2007/PartnerControls"/>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3fae4711-15c2-4032-ae7d-782264aaa624}" ma:internalName="TaxCatchAll" ma:showField="CatchAllData" ma:web="93dfb1fd-9939-48e8-b7f9-906c8dec5f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ed6e455-ac74-4dac-a85f-281444f13a89">
      <Terms xmlns="http://schemas.microsoft.com/office/infopath/2007/PartnerControls"/>
    </lcf76f155ced4ddcb4097134ff3c332f>
    <TaxCatchAll xmlns="93dfb1fd-9939-48e8-b7f9-906c8dec5f83" xsi:nil="true"/>
  </documentManagement>
</p:properties>
</file>

<file path=customXml/itemProps1.xml><?xml version="1.0" encoding="utf-8"?>
<ds:datastoreItem xmlns:ds="http://schemas.openxmlformats.org/officeDocument/2006/customXml" ds:itemID="{2E225052-F2B8-49FC-A412-5D27ABF2318D}">
  <ds:schemaRefs>
    <ds:schemaRef ds:uri="http://schemas.microsoft.com/sharepoint/v3/contenttype/forms"/>
  </ds:schemaRefs>
</ds:datastoreItem>
</file>

<file path=customXml/itemProps2.xml><?xml version="1.0" encoding="utf-8"?>
<ds:datastoreItem xmlns:ds="http://schemas.openxmlformats.org/officeDocument/2006/customXml" ds:itemID="{8A9ABF1E-2E26-42AA-A243-3A1C081D27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d6e455-ac74-4dac-a85f-281444f13a89"/>
    <ds:schemaRef ds:uri="93dfb1fd-9939-48e8-b7f9-906c8dec5f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7C53C13-48C7-4544-93BF-9003A9BB3E88}">
  <ds:schemaRefs>
    <ds:schemaRef ds:uri="http://purl.org/dc/dcmitype/"/>
    <ds:schemaRef ds:uri="http://purl.org/dc/elements/1.1/"/>
    <ds:schemaRef ds:uri="http://schemas.microsoft.com/office/2006/documentManagement/types"/>
    <ds:schemaRef ds:uri="http://schemas.microsoft.com/office/2006/metadata/properties"/>
    <ds:schemaRef ds:uri="http://purl.org/dc/terms/"/>
    <ds:schemaRef ds:uri="http://schemas.microsoft.com/office/infopath/2007/PartnerControls"/>
    <ds:schemaRef ds:uri="3ed6e455-ac74-4dac-a85f-281444f13a89"/>
    <ds:schemaRef ds:uri="http://schemas.openxmlformats.org/package/2006/metadata/core-properties"/>
    <ds:schemaRef ds:uri="93dfb1fd-9939-48e8-b7f9-906c8dec5f8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3</TotalTime>
  <Words>14917</Words>
  <Application>Microsoft Macintosh PowerPoint</Application>
  <PresentationFormat>Widescreen</PresentationFormat>
  <Paragraphs>3554</Paragraphs>
  <Slides>188</Slides>
  <Notes>8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8</vt:i4>
      </vt:variant>
    </vt:vector>
  </HeadingPairs>
  <TitlesOfParts>
    <vt:vector size="199" baseType="lpstr">
      <vt:lpstr>Arial</vt:lpstr>
      <vt:lpstr>Arial Black</vt:lpstr>
      <vt:lpstr>Arial Narrow</vt:lpstr>
      <vt:lpstr>Bebas Neue</vt:lpstr>
      <vt:lpstr>Calibri</vt:lpstr>
      <vt:lpstr>Calibri Light</vt:lpstr>
      <vt:lpstr>Century Gothic</vt:lpstr>
      <vt:lpstr>VWAG TheSans (Headings)</vt:lpstr>
      <vt:lpstr>Wingdings</vt:lpstr>
      <vt:lpstr>Master</vt:lpstr>
      <vt:lpstr>think-cell Folie</vt:lpstr>
      <vt:lpstr>Fancy Slidemaster</vt:lpstr>
      <vt:lpstr>This slide deck includes multiple templates and ideas to create slides</vt:lpstr>
      <vt:lpstr>Icons</vt:lpstr>
      <vt:lpstr>AGENDAS</vt:lpstr>
      <vt:lpstr>PowerPoint Presentation</vt:lpstr>
      <vt:lpstr>PowerPoint Presentation</vt:lpstr>
      <vt:lpstr>PowerPoint Presentation</vt:lpstr>
      <vt:lpstr>PowerPoint Presentation</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Process</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Enumeration</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Lorem ipsum dolor sit amet, consetetur sadipscing elitr, sed diam nonumy eirmod tempor invidunt ut labore et</vt:lpstr>
      <vt:lpstr>Illust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r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er Satisfaction KPI Dashboard</vt:lpstr>
      <vt:lpstr>Process Automation</vt:lpstr>
      <vt:lpstr>3. BCG Growth-Share Matrix</vt:lpstr>
      <vt:lpstr>PowerPoint Presentation</vt:lpstr>
      <vt:lpstr>10. Growth Model</vt:lpstr>
      <vt:lpstr>PowerPoint Presentation</vt:lpstr>
      <vt:lpstr>PowerPoint Presentation</vt:lpstr>
      <vt:lpstr>44. Six Steps of Kaize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subject/>
  <dc:creator>Laura Woljem</dc:creator>
  <cp:keywords/>
  <dc:description/>
  <cp:lastModifiedBy>Temiloluwa Adeoti</cp:lastModifiedBy>
  <cp:revision>21</cp:revision>
  <dcterms:created xsi:type="dcterms:W3CDTF">2017-04-28T20:36:13Z</dcterms:created>
  <dcterms:modified xsi:type="dcterms:W3CDTF">2022-06-20T21:06: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0DA48F075C5B4A97888B7494D83B0A</vt:lpwstr>
  </property>
  <property fmtid="{D5CDD505-2E9C-101B-9397-08002B2CF9AE}" pid="3" name="AuthorIds_UIVersion_512">
    <vt:lpwstr>6</vt:lpwstr>
  </property>
  <property fmtid="{D5CDD505-2E9C-101B-9397-08002B2CF9AE}" pid="4" name="MediaServiceImageTags">
    <vt:lpwstr/>
  </property>
</Properties>
</file>